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4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notesSlides/notesSlide1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1"/>
    <p:sldMasterId id="2147483671" r:id="rId2"/>
    <p:sldMasterId id="2147483672" r:id="rId3"/>
  </p:sldMasterIdLst>
  <p:notesMasterIdLst>
    <p:notesMasterId r:id="rId92"/>
  </p:notesMasterIdLst>
  <p:sldIdLst>
    <p:sldId id="256" r:id="rId4"/>
    <p:sldId id="326" r:id="rId5"/>
    <p:sldId id="327" r:id="rId6"/>
    <p:sldId id="303" r:id="rId7"/>
    <p:sldId id="305" r:id="rId8"/>
    <p:sldId id="322" r:id="rId9"/>
    <p:sldId id="307" r:id="rId10"/>
    <p:sldId id="309" r:id="rId11"/>
    <p:sldId id="366" r:id="rId12"/>
    <p:sldId id="340" r:id="rId13"/>
    <p:sldId id="341" r:id="rId14"/>
    <p:sldId id="342" r:id="rId15"/>
    <p:sldId id="311" r:id="rId16"/>
    <p:sldId id="319" r:id="rId17"/>
    <p:sldId id="338" r:id="rId18"/>
    <p:sldId id="343" r:id="rId19"/>
    <p:sldId id="344" r:id="rId20"/>
    <p:sldId id="328" r:id="rId21"/>
    <p:sldId id="315" r:id="rId22"/>
    <p:sldId id="317" r:id="rId23"/>
    <p:sldId id="318" r:id="rId24"/>
    <p:sldId id="313" r:id="rId25"/>
    <p:sldId id="360" r:id="rId26"/>
    <p:sldId id="324" r:id="rId27"/>
    <p:sldId id="355" r:id="rId28"/>
    <p:sldId id="356" r:id="rId29"/>
    <p:sldId id="357" r:id="rId30"/>
    <p:sldId id="358" r:id="rId31"/>
    <p:sldId id="331" r:id="rId32"/>
    <p:sldId id="330" r:id="rId33"/>
    <p:sldId id="345" r:id="rId34"/>
    <p:sldId id="347" r:id="rId35"/>
    <p:sldId id="348" r:id="rId36"/>
    <p:sldId id="349" r:id="rId37"/>
    <p:sldId id="350" r:id="rId38"/>
    <p:sldId id="351" r:id="rId39"/>
    <p:sldId id="352" r:id="rId40"/>
    <p:sldId id="367" r:id="rId41"/>
    <p:sldId id="332" r:id="rId42"/>
    <p:sldId id="361" r:id="rId43"/>
    <p:sldId id="359" r:id="rId44"/>
    <p:sldId id="362" r:id="rId45"/>
    <p:sldId id="363" r:id="rId46"/>
    <p:sldId id="364" r:id="rId47"/>
    <p:sldId id="365" r:id="rId48"/>
    <p:sldId id="354" r:id="rId49"/>
    <p:sldId id="333" r:id="rId50"/>
    <p:sldId id="302" r:id="rId51"/>
    <p:sldId id="306" r:id="rId52"/>
    <p:sldId id="304" r:id="rId53"/>
    <p:sldId id="257" r:id="rId54"/>
    <p:sldId id="258" r:id="rId55"/>
    <p:sldId id="260" r:id="rId56"/>
    <p:sldId id="261" r:id="rId57"/>
    <p:sldId id="262" r:id="rId58"/>
    <p:sldId id="263" r:id="rId59"/>
    <p:sldId id="264" r:id="rId60"/>
    <p:sldId id="265" r:id="rId61"/>
    <p:sldId id="266" r:id="rId62"/>
    <p:sldId id="267" r:id="rId63"/>
    <p:sldId id="268" r:id="rId64"/>
    <p:sldId id="269" r:id="rId65"/>
    <p:sldId id="270" r:id="rId66"/>
    <p:sldId id="271" r:id="rId67"/>
    <p:sldId id="272" r:id="rId68"/>
    <p:sldId id="273" r:id="rId69"/>
    <p:sldId id="274" r:id="rId70"/>
    <p:sldId id="275" r:id="rId71"/>
    <p:sldId id="276" r:id="rId72"/>
    <p:sldId id="277" r:id="rId73"/>
    <p:sldId id="278" r:id="rId74"/>
    <p:sldId id="279" r:id="rId75"/>
    <p:sldId id="280" r:id="rId76"/>
    <p:sldId id="281" r:id="rId77"/>
    <p:sldId id="282" r:id="rId78"/>
    <p:sldId id="283" r:id="rId79"/>
    <p:sldId id="284" r:id="rId80"/>
    <p:sldId id="285" r:id="rId81"/>
    <p:sldId id="286" r:id="rId82"/>
    <p:sldId id="287" r:id="rId83"/>
    <p:sldId id="288" r:id="rId84"/>
    <p:sldId id="289" r:id="rId85"/>
    <p:sldId id="290" r:id="rId86"/>
    <p:sldId id="291" r:id="rId87"/>
    <p:sldId id="292" r:id="rId88"/>
    <p:sldId id="293" r:id="rId89"/>
    <p:sldId id="294" r:id="rId90"/>
    <p:sldId id="295" r:id="rId91"/>
  </p:sldIdLst>
  <p:sldSz cx="9144000" cy="5143500" type="screen16x9"/>
  <p:notesSz cx="6858000" cy="9144000"/>
  <p:embeddedFontLst>
    <p:embeddedFont>
      <p:font typeface="Advent Pro Medium" panose="020B0604020202020204" charset="0"/>
      <p:regular r:id="rId93"/>
      <p:bold r:id="rId94"/>
      <p:italic r:id="rId95"/>
      <p:boldItalic r:id="rId96"/>
    </p:embeddedFont>
    <p:embeddedFont>
      <p:font typeface="Advent Pro SemiBold" panose="020B0604020202020204" charset="0"/>
      <p:regular r:id="rId97"/>
      <p:bold r:id="rId98"/>
      <p:italic r:id="rId99"/>
      <p:boldItalic r:id="rId100"/>
    </p:embeddedFont>
    <p:embeddedFont>
      <p:font typeface="Amatic SC" panose="00000500000000000000" pitchFamily="2" charset="-79"/>
      <p:regular r:id="rId101"/>
      <p:bold r:id="rId102"/>
    </p:embeddedFont>
    <p:embeddedFont>
      <p:font typeface="Calibri" panose="020F0502020204030204" pitchFamily="34" charset="0"/>
      <p:regular r:id="rId103"/>
      <p:bold r:id="rId104"/>
      <p:italic r:id="rId105"/>
      <p:boldItalic r:id="rId106"/>
    </p:embeddedFont>
    <p:embeddedFont>
      <p:font typeface="Fira Sans Condensed Medium" panose="020B0603050000020004" pitchFamily="34" charset="0"/>
      <p:regular r:id="rId107"/>
      <p:bold r:id="rId108"/>
      <p:italic r:id="rId109"/>
      <p:boldItalic r:id="rId110"/>
    </p:embeddedFont>
    <p:embeddedFont>
      <p:font typeface="Fira Sans Extra Condensed Medium" panose="020B0604020202020204" charset="0"/>
      <p:regular r:id="rId111"/>
      <p:bold r:id="rId112"/>
      <p:italic r:id="rId113"/>
      <p:boldItalic r:id="rId114"/>
    </p:embeddedFont>
    <p:embeddedFont>
      <p:font typeface="Livvic Light" pitchFamily="2" charset="0"/>
      <p:regular r:id="rId115"/>
      <p:italic r:id="rId116"/>
    </p:embeddedFont>
    <p:embeddedFont>
      <p:font typeface="Maven Pro" panose="020B0604020202020204" charset="0"/>
      <p:regular r:id="rId117"/>
      <p:bold r:id="rId118"/>
    </p:embeddedFont>
    <p:embeddedFont>
      <p:font typeface="Maven Pro SemiBold" panose="020B0604020202020204" charset="0"/>
      <p:regular r:id="rId119"/>
      <p:bold r:id="rId120"/>
    </p:embeddedFont>
    <p:embeddedFont>
      <p:font typeface="Nunito Light" pitchFamily="2" charset="0"/>
      <p:regular r:id="rId121"/>
      <p:italic r:id="rId122"/>
    </p:embeddedFont>
    <p:embeddedFont>
      <p:font typeface="Proxima Nova" panose="020B0604020202020204" charset="0"/>
      <p:regular r:id="rId123"/>
      <p:bold r:id="rId124"/>
      <p:italic r:id="rId125"/>
      <p:boldItalic r:id="rId126"/>
    </p:embeddedFont>
    <p:embeddedFont>
      <p:font typeface="Proxima Nova Semibold" panose="020B0604020202020204" charset="0"/>
      <p:regular r:id="rId127"/>
      <p:bold r:id="rId128"/>
      <p:boldItalic r:id="rId129"/>
    </p:embeddedFont>
    <p:embeddedFont>
      <p:font typeface="Roboto" panose="02000000000000000000" pitchFamily="2" charset="0"/>
      <p:regular r:id="rId130"/>
      <p:bold r:id="rId131"/>
      <p:italic r:id="rId132"/>
      <p:boldItalic r:id="rId133"/>
    </p:embeddedFont>
    <p:embeddedFont>
      <p:font typeface="Roboto Medium" panose="02000000000000000000" pitchFamily="2" charset="0"/>
      <p:regular r:id="rId134"/>
      <p:bold r:id="rId135"/>
      <p:italic r:id="rId136"/>
      <p:boldItalic r:id="rId137"/>
    </p:embeddedFont>
    <p:embeddedFont>
      <p:font typeface="Share Tech" panose="020B0604020202020204" charset="0"/>
      <p:regular r:id="rId138"/>
    </p:embeddedFont>
  </p:embeddedFontLst>
  <p:custDataLst>
    <p:tags r:id="rId13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F6A91F38-76B5-4A2A-86BB-26D7551FAD3A}">
          <p14:sldIdLst>
            <p14:sldId id="256"/>
            <p14:sldId id="326"/>
            <p14:sldId id="327"/>
            <p14:sldId id="303"/>
            <p14:sldId id="305"/>
            <p14:sldId id="322"/>
            <p14:sldId id="307"/>
            <p14:sldId id="309"/>
            <p14:sldId id="366"/>
            <p14:sldId id="340"/>
            <p14:sldId id="341"/>
            <p14:sldId id="342"/>
            <p14:sldId id="311"/>
            <p14:sldId id="319"/>
            <p14:sldId id="338"/>
            <p14:sldId id="343"/>
            <p14:sldId id="344"/>
            <p14:sldId id="328"/>
            <p14:sldId id="315"/>
            <p14:sldId id="317"/>
            <p14:sldId id="318"/>
            <p14:sldId id="313"/>
            <p14:sldId id="360"/>
            <p14:sldId id="324"/>
            <p14:sldId id="355"/>
            <p14:sldId id="356"/>
            <p14:sldId id="357"/>
            <p14:sldId id="358"/>
            <p14:sldId id="331"/>
            <p14:sldId id="330"/>
            <p14:sldId id="345"/>
            <p14:sldId id="347"/>
            <p14:sldId id="348"/>
            <p14:sldId id="349"/>
            <p14:sldId id="350"/>
            <p14:sldId id="351"/>
            <p14:sldId id="352"/>
            <p14:sldId id="367"/>
            <p14:sldId id="332"/>
            <p14:sldId id="361"/>
            <p14:sldId id="359"/>
            <p14:sldId id="362"/>
            <p14:sldId id="363"/>
            <p14:sldId id="364"/>
            <p14:sldId id="365"/>
            <p14:sldId id="354"/>
            <p14:sldId id="333"/>
            <p14:sldId id="302"/>
          </p14:sldIdLst>
        </p14:section>
        <p14:section name="Backup" id="{86263A84-ECB4-43C8-BE9E-24714A83158F}">
          <p14:sldIdLst>
            <p14:sldId id="306"/>
            <p14:sldId id="304"/>
            <p14:sldId id="257"/>
            <p14:sldId id="258"/>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Lst>
        </p14:section>
      </p14:sectionLst>
    </p:ext>
    <p:ext uri="{EFAFB233-063F-42B5-8137-9DF3F51BA10A}">
      <p15:sldGuideLst xmlns:p15="http://schemas.microsoft.com/office/powerpoint/2012/main">
        <p15:guide id="1" orient="horz" pos="1620" userDrawn="1">
          <p15:clr>
            <a:srgbClr val="A4A3A4"/>
          </p15:clr>
        </p15:guide>
        <p15:guide id="2" pos="489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FCC"/>
    <a:srgbClr val="000000"/>
    <a:srgbClr val="2A2A2A"/>
    <a:srgbClr val="E47452"/>
    <a:srgbClr val="1A5E8F"/>
    <a:srgbClr val="809AAC"/>
    <a:srgbClr val="A6CBC2"/>
    <a:srgbClr val="9FAEB9"/>
    <a:srgbClr val="5EFFFD"/>
    <a:srgbClr val="E89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23F757-1103-4035-A6BF-FC693B604208}">
  <a:tblStyle styleId="{E723F757-1103-4035-A6BF-FC693B60420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79" autoAdjust="0"/>
  </p:normalViewPr>
  <p:slideViewPr>
    <p:cSldViewPr snapToGrid="0">
      <p:cViewPr varScale="1">
        <p:scale>
          <a:sx n="188" d="100"/>
          <a:sy n="188" d="100"/>
        </p:scale>
        <p:origin x="1014" y="168"/>
      </p:cViewPr>
      <p:guideLst>
        <p:guide orient="horz" pos="1620"/>
        <p:guide pos="489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25.fntdata"/><Relationship Id="rId21" Type="http://schemas.openxmlformats.org/officeDocument/2006/relationships/slide" Target="slides/slide18.xml"/><Relationship Id="rId42" Type="http://schemas.openxmlformats.org/officeDocument/2006/relationships/slide" Target="slides/slide39.xml"/><Relationship Id="rId63" Type="http://schemas.openxmlformats.org/officeDocument/2006/relationships/slide" Target="slides/slide60.xml"/><Relationship Id="rId84" Type="http://schemas.openxmlformats.org/officeDocument/2006/relationships/slide" Target="slides/slide81.xml"/><Relationship Id="rId138" Type="http://schemas.openxmlformats.org/officeDocument/2006/relationships/font" Target="fonts/font46.fntdata"/><Relationship Id="rId107" Type="http://schemas.openxmlformats.org/officeDocument/2006/relationships/font" Target="fonts/font15.fntdata"/><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font" Target="fonts/font10.fntdata"/><Relationship Id="rId123" Type="http://schemas.openxmlformats.org/officeDocument/2006/relationships/font" Target="fonts/font31.fntdata"/><Relationship Id="rId128" Type="http://schemas.openxmlformats.org/officeDocument/2006/relationships/font" Target="fonts/font36.fntdata"/><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font" Target="fonts/font3.fntdata"/><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113" Type="http://schemas.openxmlformats.org/officeDocument/2006/relationships/font" Target="fonts/font21.fntdata"/><Relationship Id="rId118" Type="http://schemas.openxmlformats.org/officeDocument/2006/relationships/font" Target="fonts/font26.fntdata"/><Relationship Id="rId134" Type="http://schemas.openxmlformats.org/officeDocument/2006/relationships/font" Target="fonts/font42.fntdata"/><Relationship Id="rId139" Type="http://schemas.openxmlformats.org/officeDocument/2006/relationships/tags" Target="tags/tag1.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font" Target="fonts/font11.fntdata"/><Relationship Id="rId108" Type="http://schemas.openxmlformats.org/officeDocument/2006/relationships/font" Target="fonts/font16.fntdata"/><Relationship Id="rId124" Type="http://schemas.openxmlformats.org/officeDocument/2006/relationships/font" Target="fonts/font32.fntdata"/><Relationship Id="rId129" Type="http://schemas.openxmlformats.org/officeDocument/2006/relationships/font" Target="fonts/font37.fntdata"/><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font" Target="fonts/font4.fntdata"/><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font" Target="fonts/font22.fntdata"/><Relationship Id="rId119" Type="http://schemas.openxmlformats.org/officeDocument/2006/relationships/font" Target="fonts/font27.fntdata"/><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slide" Target="slides/slide83.xml"/><Relationship Id="rId130" Type="http://schemas.openxmlformats.org/officeDocument/2006/relationships/font" Target="fonts/font38.fntdata"/><Relationship Id="rId135" Type="http://schemas.openxmlformats.org/officeDocument/2006/relationships/font" Target="fonts/font43.fntdata"/><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font" Target="fonts/font17.fntdata"/><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font" Target="fonts/font5.fntdata"/><Relationship Id="rId104" Type="http://schemas.openxmlformats.org/officeDocument/2006/relationships/font" Target="fonts/font12.fntdata"/><Relationship Id="rId120" Type="http://schemas.openxmlformats.org/officeDocument/2006/relationships/font" Target="fonts/font28.fntdata"/><Relationship Id="rId125" Type="http://schemas.openxmlformats.org/officeDocument/2006/relationships/font" Target="fonts/font33.fntdata"/><Relationship Id="rId141"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font" Target="fonts/font18.fntdata"/><Relationship Id="rId115" Type="http://schemas.openxmlformats.org/officeDocument/2006/relationships/font" Target="fonts/font23.fntdata"/><Relationship Id="rId131" Type="http://schemas.openxmlformats.org/officeDocument/2006/relationships/font" Target="fonts/font39.fntdata"/><Relationship Id="rId136" Type="http://schemas.openxmlformats.org/officeDocument/2006/relationships/font" Target="fonts/font44.fntdata"/><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font" Target="fonts/font8.fntdata"/><Relationship Id="rId105" Type="http://schemas.openxmlformats.org/officeDocument/2006/relationships/font" Target="fonts/font13.fntdata"/><Relationship Id="rId126" Type="http://schemas.openxmlformats.org/officeDocument/2006/relationships/font" Target="fonts/font34.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font" Target="fonts/font1.fntdata"/><Relationship Id="rId98" Type="http://schemas.openxmlformats.org/officeDocument/2006/relationships/font" Target="fonts/font6.fntdata"/><Relationship Id="rId121" Type="http://schemas.openxmlformats.org/officeDocument/2006/relationships/font" Target="fonts/font29.fntdata"/><Relationship Id="rId142"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font" Target="fonts/font24.fntdata"/><Relationship Id="rId137" Type="http://schemas.openxmlformats.org/officeDocument/2006/relationships/font" Target="fonts/font45.fntdata"/><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font" Target="fonts/font19.fntdata"/><Relationship Id="rId132" Type="http://schemas.openxmlformats.org/officeDocument/2006/relationships/font" Target="fonts/font40.fntdata"/><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106" Type="http://schemas.openxmlformats.org/officeDocument/2006/relationships/font" Target="fonts/font14.fntdata"/><Relationship Id="rId127" Type="http://schemas.openxmlformats.org/officeDocument/2006/relationships/font" Target="fonts/font35.fntdata"/><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94" Type="http://schemas.openxmlformats.org/officeDocument/2006/relationships/font" Target="fonts/font2.fntdata"/><Relationship Id="rId99" Type="http://schemas.openxmlformats.org/officeDocument/2006/relationships/font" Target="fonts/font7.fntdata"/><Relationship Id="rId101" Type="http://schemas.openxmlformats.org/officeDocument/2006/relationships/font" Target="fonts/font9.fntdata"/><Relationship Id="rId122" Type="http://schemas.openxmlformats.org/officeDocument/2006/relationships/font" Target="fonts/font30.fntdata"/><Relationship Id="rId143"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26" Type="http://schemas.openxmlformats.org/officeDocument/2006/relationships/slide" Target="slides/slide23.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font" Target="fonts/font20.fntdata"/><Relationship Id="rId133" Type="http://schemas.openxmlformats.org/officeDocument/2006/relationships/font" Target="fonts/font41.fntdata"/><Relationship Id="rId16"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lex_\Desktop\hier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lex_\Desktop\items%20pro%20monat.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lex_\Desktop\top%205%20pro%20stunde.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lex_\Desktop\xmas.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lex_\Desktop\newyear.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rtikel</a:t>
            </a:r>
            <a:r>
              <a:rPr lang="en-US" baseline="0" dirty="0"/>
              <a:t> pro </a:t>
            </a:r>
            <a:r>
              <a:rPr lang="en-US" baseline="0" dirty="0" err="1"/>
              <a:t>Einkauf</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Anteil der Einkäufe</c:v>
                </c:pt>
              </c:strCache>
            </c:strRef>
          </c:tx>
          <c:spPr>
            <a:solidFill>
              <a:schemeClr val="accent1"/>
            </a:solidFill>
            <a:ln>
              <a:noFill/>
            </a:ln>
            <a:effectLst/>
          </c:spPr>
          <c:invertIfNegative val="0"/>
          <c:cat>
            <c:numRef>
              <c:f>Tabelle1!$A$2:$A$12</c:f>
              <c:numCache>
                <c:formatCode>#</c:formatCode>
                <c:ptCount val="11"/>
                <c:pt idx="0">
                  <c:v>1</c:v>
                </c:pt>
                <c:pt idx="1">
                  <c:v>2</c:v>
                </c:pt>
                <c:pt idx="2">
                  <c:v>3</c:v>
                </c:pt>
                <c:pt idx="3">
                  <c:v>4</c:v>
                </c:pt>
                <c:pt idx="4">
                  <c:v>5</c:v>
                </c:pt>
                <c:pt idx="5">
                  <c:v>6</c:v>
                </c:pt>
                <c:pt idx="6">
                  <c:v>7</c:v>
                </c:pt>
                <c:pt idx="7">
                  <c:v>8</c:v>
                </c:pt>
                <c:pt idx="8">
                  <c:v>9</c:v>
                </c:pt>
                <c:pt idx="9">
                  <c:v>10</c:v>
                </c:pt>
                <c:pt idx="10">
                  <c:v>11</c:v>
                </c:pt>
              </c:numCache>
            </c:numRef>
          </c:cat>
          <c:val>
            <c:numRef>
              <c:f>Tabelle1!$B$2:$B$12</c:f>
              <c:numCache>
                <c:formatCode>0%</c:formatCode>
                <c:ptCount val="11"/>
                <c:pt idx="0">
                  <c:v>0.38362387744321186</c:v>
                </c:pt>
                <c:pt idx="1">
                  <c:v>0.30723718964606445</c:v>
                </c:pt>
                <c:pt idx="2">
                  <c:v>0.16143687268885368</c:v>
                </c:pt>
                <c:pt idx="3">
                  <c:v>8.980454305335446E-2</c:v>
                </c:pt>
                <c:pt idx="4">
                  <c:v>3.6027469624933965E-2</c:v>
                </c:pt>
                <c:pt idx="5">
                  <c:v>1.4263074484944533E-2</c:v>
                </c:pt>
                <c:pt idx="6">
                  <c:v>4.0147913365029056E-3</c:v>
                </c:pt>
                <c:pt idx="7">
                  <c:v>2.2187004754358162E-3</c:v>
                </c:pt>
                <c:pt idx="8">
                  <c:v>7.3956682514527208E-4</c:v>
                </c:pt>
                <c:pt idx="9">
                  <c:v>2.1130480718436345E-4</c:v>
                </c:pt>
                <c:pt idx="10">
                  <c:v>4.226096143687269E-4</c:v>
                </c:pt>
              </c:numCache>
            </c:numRef>
          </c:val>
          <c:extLst>
            <c:ext xmlns:c16="http://schemas.microsoft.com/office/drawing/2014/chart" uri="{C3380CC4-5D6E-409C-BE32-E72D297353CC}">
              <c16:uniqueId val="{00000000-E6C2-4204-AA33-4AABD9483959}"/>
            </c:ext>
          </c:extLst>
        </c:ser>
        <c:dLbls>
          <c:showLegendKey val="0"/>
          <c:showVal val="0"/>
          <c:showCatName val="0"/>
          <c:showSerName val="0"/>
          <c:showPercent val="0"/>
          <c:showBubbleSize val="0"/>
        </c:dLbls>
        <c:gapWidth val="219"/>
        <c:overlap val="-27"/>
        <c:axId val="1357602192"/>
        <c:axId val="300386368"/>
      </c:barChart>
      <c:catAx>
        <c:axId val="135760219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0386368"/>
        <c:crosses val="autoZero"/>
        <c:auto val="1"/>
        <c:lblAlgn val="ctr"/>
        <c:lblOffset val="100"/>
        <c:noMultiLvlLbl val="0"/>
      </c:catAx>
      <c:valAx>
        <c:axId val="3003863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5760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de-DE" sz="1800" dirty="0"/>
              <a:t>Durchschnittstemperaturen </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29</c:f>
              <c:strCache>
                <c:ptCount val="1"/>
                <c:pt idx="0">
                  <c:v>Items</c:v>
                </c:pt>
              </c:strCache>
            </c:strRef>
          </c:tx>
          <c:spPr>
            <a:solidFill>
              <a:schemeClr val="accent1"/>
            </a:solidFill>
            <a:ln>
              <a:noFill/>
            </a:ln>
            <a:effectLst/>
          </c:spPr>
          <c:invertIfNegative val="0"/>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30:$F$53</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2E5E-4E38-8E66-7C681CE2024D}"/>
            </c:ext>
          </c:extLst>
        </c:ser>
        <c:dLbls>
          <c:showLegendKey val="0"/>
          <c:showVal val="0"/>
          <c:showCatName val="0"/>
          <c:showSerName val="0"/>
          <c:showPercent val="0"/>
          <c:showBubbleSize val="0"/>
        </c:dLbls>
        <c:gapWidth val="150"/>
        <c:axId val="1379587680"/>
        <c:axId val="1379593504"/>
      </c:barChart>
      <c:lineChart>
        <c:grouping val="standard"/>
        <c:varyColors val="0"/>
        <c:ser>
          <c:idx val="0"/>
          <c:order val="0"/>
          <c:tx>
            <c:strRef>
              <c:f>'Aggregate (2)'!$D$29</c:f>
              <c:strCache>
                <c:ptCount val="1"/>
                <c:pt idx="0">
                  <c:v>Minimale Durschschnittstemperatur</c:v>
                </c:pt>
              </c:strCache>
            </c:strRef>
          </c:tx>
          <c:spPr>
            <a:ln w="28575" cap="rnd">
              <a:solidFill>
                <a:schemeClr val="accent5"/>
              </a:solidFill>
              <a:round/>
            </a:ln>
            <a:effectLst/>
          </c:spPr>
          <c:marker>
            <c:symbol val="none"/>
          </c:marker>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30:$D$53</c:f>
              <c:numCache>
                <c:formatCode>General</c:formatCode>
                <c:ptCount val="24"/>
                <c:pt idx="0">
                  <c:v>1.3</c:v>
                </c:pt>
                <c:pt idx="1">
                  <c:v>-0.3</c:v>
                </c:pt>
                <c:pt idx="2">
                  <c:v>1.9</c:v>
                </c:pt>
                <c:pt idx="3">
                  <c:v>2.6</c:v>
                </c:pt>
                <c:pt idx="4">
                  <c:v>7</c:v>
                </c:pt>
                <c:pt idx="5">
                  <c:v>9.1</c:v>
                </c:pt>
                <c:pt idx="6">
                  <c:v>10.7</c:v>
                </c:pt>
                <c:pt idx="7">
                  <c:v>10.9</c:v>
                </c:pt>
                <c:pt idx="8">
                  <c:v>10.6</c:v>
                </c:pt>
                <c:pt idx="9">
                  <c:v>6.1</c:v>
                </c:pt>
                <c:pt idx="10">
                  <c:v>0.6</c:v>
                </c:pt>
                <c:pt idx="11">
                  <c:v>2.9</c:v>
                </c:pt>
                <c:pt idx="12">
                  <c:v>0.4</c:v>
                </c:pt>
                <c:pt idx="13">
                  <c:v>2.1</c:v>
                </c:pt>
                <c:pt idx="14">
                  <c:v>2.2999999999999998</c:v>
                </c:pt>
                <c:pt idx="15">
                  <c:v>3.8</c:v>
                </c:pt>
                <c:pt idx="16">
                  <c:v>7</c:v>
                </c:pt>
                <c:pt idx="17">
                  <c:v>11</c:v>
                </c:pt>
                <c:pt idx="18">
                  <c:v>10.7</c:v>
                </c:pt>
                <c:pt idx="19">
                  <c:v>10.199999999999999</c:v>
                </c:pt>
                <c:pt idx="20">
                  <c:v>9.1</c:v>
                </c:pt>
                <c:pt idx="21">
                  <c:v>7.9</c:v>
                </c:pt>
                <c:pt idx="22">
                  <c:v>1.7</c:v>
                </c:pt>
                <c:pt idx="23">
                  <c:v>0.4</c:v>
                </c:pt>
              </c:numCache>
            </c:numRef>
          </c:val>
          <c:smooth val="0"/>
          <c:extLst>
            <c:ext xmlns:c16="http://schemas.microsoft.com/office/drawing/2014/chart" uri="{C3380CC4-5D6E-409C-BE32-E72D297353CC}">
              <c16:uniqueId val="{00000001-2E5E-4E38-8E66-7C681CE2024D}"/>
            </c:ext>
          </c:extLst>
        </c:ser>
        <c:ser>
          <c:idx val="1"/>
          <c:order val="1"/>
          <c:tx>
            <c:strRef>
              <c:f>'Aggregate (2)'!$E$29</c:f>
              <c:strCache>
                <c:ptCount val="1"/>
                <c:pt idx="0">
                  <c:v>Maximale Durschschnittstemperatur</c:v>
                </c:pt>
              </c:strCache>
            </c:strRef>
          </c:tx>
          <c:spPr>
            <a:ln w="28575" cap="rnd">
              <a:solidFill>
                <a:schemeClr val="accent4"/>
              </a:solidFill>
              <a:round/>
            </a:ln>
            <a:effectLst/>
          </c:spPr>
          <c:marker>
            <c:symbol val="none"/>
          </c:marker>
          <c:dPt>
            <c:idx val="7"/>
            <c:marker>
              <c:symbol val="none"/>
            </c:marker>
            <c:bubble3D val="0"/>
            <c:extLst>
              <c:ext xmlns:c16="http://schemas.microsoft.com/office/drawing/2014/chart" uri="{C3380CC4-5D6E-409C-BE32-E72D297353CC}">
                <c16:uniqueId val="{00000003-2E5E-4E38-8E66-7C681CE2024D}"/>
              </c:ext>
            </c:extLst>
          </c:dPt>
          <c:cat>
            <c:numRef>
              <c:f>'Aggregate (2)'!$C$30:$C$53</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30:$E$53</c:f>
              <c:numCache>
                <c:formatCode>General</c:formatCode>
                <c:ptCount val="24"/>
                <c:pt idx="0">
                  <c:v>6.8</c:v>
                </c:pt>
                <c:pt idx="1">
                  <c:v>7</c:v>
                </c:pt>
                <c:pt idx="2">
                  <c:v>9.6999999999999993</c:v>
                </c:pt>
                <c:pt idx="3">
                  <c:v>10.199999999999999</c:v>
                </c:pt>
                <c:pt idx="4">
                  <c:v>14.6</c:v>
                </c:pt>
                <c:pt idx="5">
                  <c:v>16</c:v>
                </c:pt>
                <c:pt idx="6">
                  <c:v>19.600000000000001</c:v>
                </c:pt>
                <c:pt idx="7">
                  <c:v>19.2</c:v>
                </c:pt>
                <c:pt idx="8">
                  <c:v>18.8</c:v>
                </c:pt>
                <c:pt idx="9">
                  <c:v>13.5</c:v>
                </c:pt>
                <c:pt idx="10">
                  <c:v>8</c:v>
                </c:pt>
                <c:pt idx="11">
                  <c:v>9.6</c:v>
                </c:pt>
                <c:pt idx="12">
                  <c:v>7.1</c:v>
                </c:pt>
                <c:pt idx="13">
                  <c:v>8.6</c:v>
                </c:pt>
                <c:pt idx="14">
                  <c:v>11</c:v>
                </c:pt>
                <c:pt idx="15">
                  <c:v>13.2</c:v>
                </c:pt>
                <c:pt idx="16">
                  <c:v>16.3</c:v>
                </c:pt>
                <c:pt idx="17">
                  <c:v>18.3</c:v>
                </c:pt>
                <c:pt idx="18">
                  <c:v>17.899999999999999</c:v>
                </c:pt>
                <c:pt idx="19">
                  <c:v>18.899999999999999</c:v>
                </c:pt>
                <c:pt idx="20">
                  <c:v>16.399999999999999</c:v>
                </c:pt>
                <c:pt idx="21">
                  <c:v>15</c:v>
                </c:pt>
                <c:pt idx="22">
                  <c:v>8.5</c:v>
                </c:pt>
                <c:pt idx="23">
                  <c:v>6.9</c:v>
                </c:pt>
              </c:numCache>
            </c:numRef>
          </c:val>
          <c:smooth val="0"/>
          <c:extLst>
            <c:ext xmlns:c16="http://schemas.microsoft.com/office/drawing/2014/chart" uri="{C3380CC4-5D6E-409C-BE32-E72D297353CC}">
              <c16:uniqueId val="{00000002-2E5E-4E38-8E66-7C681CE2024D}"/>
            </c:ext>
          </c:extLst>
        </c:ser>
        <c:dLbls>
          <c:showLegendKey val="0"/>
          <c:showVal val="0"/>
          <c:showCatName val="0"/>
          <c:showSerName val="0"/>
          <c:showPercent val="0"/>
          <c:showBubbleSize val="0"/>
        </c:dLbls>
        <c:marker val="1"/>
        <c:smooth val="0"/>
        <c:axId val="1488349984"/>
        <c:axId val="1488354144"/>
      </c:lineChart>
      <c:dateAx>
        <c:axId val="1379587680"/>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93504"/>
        <c:crosses val="autoZero"/>
        <c:auto val="1"/>
        <c:lblOffset val="100"/>
        <c:baseTimeUnit val="months"/>
      </c:dateAx>
      <c:valAx>
        <c:axId val="1379593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79587680"/>
        <c:crosses val="autoZero"/>
        <c:crossBetween val="between"/>
      </c:valAx>
      <c:valAx>
        <c:axId val="148835414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88349984"/>
        <c:crosses val="max"/>
        <c:crossBetween val="between"/>
      </c:valAx>
      <c:dateAx>
        <c:axId val="1488349984"/>
        <c:scaling>
          <c:orientation val="minMax"/>
        </c:scaling>
        <c:delete val="1"/>
        <c:axPos val="b"/>
        <c:numFmt formatCode="[$-407]mmm/\ yy;@" sourceLinked="1"/>
        <c:majorTickMark val="out"/>
        <c:minorTickMark val="none"/>
        <c:tickLblPos val="nextTo"/>
        <c:crossAx val="14883541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Niederschlag und Sonnenstund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2"/>
          <c:order val="2"/>
          <c:tx>
            <c:strRef>
              <c:f>'Aggregate (2)'!$F$62</c:f>
              <c:strCache>
                <c:ptCount val="1"/>
                <c:pt idx="0">
                  <c:v>Items</c:v>
                </c:pt>
              </c:strCache>
            </c:strRef>
          </c:tx>
          <c:spPr>
            <a:solidFill>
              <a:schemeClr val="accent1"/>
            </a:solidFill>
            <a:ln>
              <a:noFill/>
            </a:ln>
            <a:effectLst/>
          </c:spPr>
          <c:invertIfNegative val="0"/>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F$63:$F$86</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512</c:v>
                </c:pt>
                <c:pt idx="18">
                  <c:v>432</c:v>
                </c:pt>
                <c:pt idx="19">
                  <c:v>488</c:v>
                </c:pt>
                <c:pt idx="20">
                  <c:v>378</c:v>
                </c:pt>
                <c:pt idx="21">
                  <c:v>353</c:v>
                </c:pt>
                <c:pt idx="22">
                  <c:v>483</c:v>
                </c:pt>
                <c:pt idx="23">
                  <c:v>331</c:v>
                </c:pt>
              </c:numCache>
            </c:numRef>
          </c:val>
          <c:extLst>
            <c:ext xmlns:c16="http://schemas.microsoft.com/office/drawing/2014/chart" uri="{C3380CC4-5D6E-409C-BE32-E72D297353CC}">
              <c16:uniqueId val="{00000000-039B-4A60-B75E-18F5F2B4235A}"/>
            </c:ext>
          </c:extLst>
        </c:ser>
        <c:dLbls>
          <c:showLegendKey val="0"/>
          <c:showVal val="0"/>
          <c:showCatName val="0"/>
          <c:showSerName val="0"/>
          <c:showPercent val="0"/>
          <c:showBubbleSize val="0"/>
        </c:dLbls>
        <c:gapWidth val="219"/>
        <c:axId val="1652680927"/>
        <c:axId val="1614496863"/>
      </c:barChart>
      <c:lineChart>
        <c:grouping val="standard"/>
        <c:varyColors val="0"/>
        <c:ser>
          <c:idx val="0"/>
          <c:order val="0"/>
          <c:tx>
            <c:strRef>
              <c:f>'Aggregate (2)'!$D$62</c:f>
              <c:strCache>
                <c:ptCount val="1"/>
                <c:pt idx="0">
                  <c:v>Regen [mm]</c:v>
                </c:pt>
              </c:strCache>
            </c:strRef>
          </c:tx>
          <c:spPr>
            <a:ln w="28575" cap="rnd">
              <a:solidFill>
                <a:schemeClr val="accent5"/>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D$63:$D$86</c:f>
              <c:numCache>
                <c:formatCode>General</c:formatCode>
                <c:ptCount val="24"/>
                <c:pt idx="0">
                  <c:v>157.6</c:v>
                </c:pt>
                <c:pt idx="1">
                  <c:v>30.4</c:v>
                </c:pt>
                <c:pt idx="2">
                  <c:v>35.4</c:v>
                </c:pt>
                <c:pt idx="3">
                  <c:v>22.8</c:v>
                </c:pt>
                <c:pt idx="4">
                  <c:v>34.6</c:v>
                </c:pt>
                <c:pt idx="5">
                  <c:v>37.799999999999997</c:v>
                </c:pt>
                <c:pt idx="6">
                  <c:v>60</c:v>
                </c:pt>
                <c:pt idx="7">
                  <c:v>44.6</c:v>
                </c:pt>
                <c:pt idx="8">
                  <c:v>23.6</c:v>
                </c:pt>
                <c:pt idx="9">
                  <c:v>83</c:v>
                </c:pt>
                <c:pt idx="10">
                  <c:v>42.6</c:v>
                </c:pt>
                <c:pt idx="11">
                  <c:v>6.2</c:v>
                </c:pt>
                <c:pt idx="12">
                  <c:v>51.2</c:v>
                </c:pt>
                <c:pt idx="13">
                  <c:v>19</c:v>
                </c:pt>
                <c:pt idx="14">
                  <c:v>41.4</c:v>
                </c:pt>
                <c:pt idx="15">
                  <c:v>89.8</c:v>
                </c:pt>
                <c:pt idx="16">
                  <c:v>39.6</c:v>
                </c:pt>
                <c:pt idx="17">
                  <c:v>63.8</c:v>
                </c:pt>
                <c:pt idx="18">
                  <c:v>148.4</c:v>
                </c:pt>
                <c:pt idx="19">
                  <c:v>50.2</c:v>
                </c:pt>
                <c:pt idx="20">
                  <c:v>40</c:v>
                </c:pt>
                <c:pt idx="21">
                  <c:v>72.400000000000006</c:v>
                </c:pt>
                <c:pt idx="22">
                  <c:v>32</c:v>
                </c:pt>
                <c:pt idx="23">
                  <c:v>57.2</c:v>
                </c:pt>
              </c:numCache>
            </c:numRef>
          </c:val>
          <c:smooth val="0"/>
          <c:extLst>
            <c:ext xmlns:c16="http://schemas.microsoft.com/office/drawing/2014/chart" uri="{C3380CC4-5D6E-409C-BE32-E72D297353CC}">
              <c16:uniqueId val="{00000001-039B-4A60-B75E-18F5F2B4235A}"/>
            </c:ext>
          </c:extLst>
        </c:ser>
        <c:ser>
          <c:idx val="1"/>
          <c:order val="1"/>
          <c:tx>
            <c:strRef>
              <c:f>'Aggregate (2)'!$E$62</c:f>
              <c:strCache>
                <c:ptCount val="1"/>
                <c:pt idx="0">
                  <c:v>Sonnenstunden [h]</c:v>
                </c:pt>
              </c:strCache>
            </c:strRef>
          </c:tx>
          <c:spPr>
            <a:ln w="28575" cap="rnd">
              <a:solidFill>
                <a:schemeClr val="accent4"/>
              </a:solidFill>
              <a:round/>
            </a:ln>
            <a:effectLst/>
          </c:spPr>
          <c:marker>
            <c:symbol val="none"/>
          </c:marker>
          <c:cat>
            <c:numRef>
              <c:f>'Aggregate (2)'!$C$63:$C$86</c:f>
              <c:numCache>
                <c:formatCode>[$-407]mmm/\ 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917</c:v>
                </c:pt>
                <c:pt idx="18">
                  <c:v>42887</c:v>
                </c:pt>
                <c:pt idx="19">
                  <c:v>42948</c:v>
                </c:pt>
                <c:pt idx="20">
                  <c:v>42979</c:v>
                </c:pt>
                <c:pt idx="21">
                  <c:v>43009</c:v>
                </c:pt>
                <c:pt idx="22">
                  <c:v>43040</c:v>
                </c:pt>
                <c:pt idx="23">
                  <c:v>43070</c:v>
                </c:pt>
              </c:numCache>
            </c:numRef>
          </c:cat>
          <c:val>
            <c:numRef>
              <c:f>'Aggregate (2)'!$E$63:$E$86</c:f>
              <c:numCache>
                <c:formatCode>General</c:formatCode>
                <c:ptCount val="24"/>
                <c:pt idx="0">
                  <c:v>29.8</c:v>
                </c:pt>
                <c:pt idx="1">
                  <c:v>57.7</c:v>
                </c:pt>
                <c:pt idx="2">
                  <c:v>90.3</c:v>
                </c:pt>
                <c:pt idx="3">
                  <c:v>73.5</c:v>
                </c:pt>
                <c:pt idx="4">
                  <c:v>95.8</c:v>
                </c:pt>
                <c:pt idx="5">
                  <c:v>90.4</c:v>
                </c:pt>
                <c:pt idx="6">
                  <c:v>70.2</c:v>
                </c:pt>
                <c:pt idx="7">
                  <c:v>29.3</c:v>
                </c:pt>
                <c:pt idx="8">
                  <c:v>111.3</c:v>
                </c:pt>
                <c:pt idx="9">
                  <c:v>143.1</c:v>
                </c:pt>
                <c:pt idx="10">
                  <c:v>133.5</c:v>
                </c:pt>
                <c:pt idx="11">
                  <c:v>197.5</c:v>
                </c:pt>
                <c:pt idx="12">
                  <c:v>94.6</c:v>
                </c:pt>
                <c:pt idx="13">
                  <c:v>196.8</c:v>
                </c:pt>
                <c:pt idx="14">
                  <c:v>81.2</c:v>
                </c:pt>
                <c:pt idx="15">
                  <c:v>140.69999999999999</c:v>
                </c:pt>
                <c:pt idx="16">
                  <c:v>212.6</c:v>
                </c:pt>
                <c:pt idx="17">
                  <c:v>115.8</c:v>
                </c:pt>
                <c:pt idx="18">
                  <c:v>129.9</c:v>
                </c:pt>
                <c:pt idx="19">
                  <c:v>164.8</c:v>
                </c:pt>
                <c:pt idx="20">
                  <c:v>113.8</c:v>
                </c:pt>
                <c:pt idx="21">
                  <c:v>165.1</c:v>
                </c:pt>
                <c:pt idx="22">
                  <c:v>158.1</c:v>
                </c:pt>
                <c:pt idx="23">
                  <c:v>166</c:v>
                </c:pt>
              </c:numCache>
            </c:numRef>
          </c:val>
          <c:smooth val="0"/>
          <c:extLst>
            <c:ext xmlns:c16="http://schemas.microsoft.com/office/drawing/2014/chart" uri="{C3380CC4-5D6E-409C-BE32-E72D297353CC}">
              <c16:uniqueId val="{00000002-039B-4A60-B75E-18F5F2B4235A}"/>
            </c:ext>
          </c:extLst>
        </c:ser>
        <c:dLbls>
          <c:showLegendKey val="0"/>
          <c:showVal val="0"/>
          <c:showCatName val="0"/>
          <c:showSerName val="0"/>
          <c:showPercent val="0"/>
          <c:showBubbleSize val="0"/>
        </c:dLbls>
        <c:marker val="1"/>
        <c:smooth val="0"/>
        <c:axId val="1656323183"/>
        <c:axId val="1621253295"/>
      </c:lineChart>
      <c:dateAx>
        <c:axId val="1652680927"/>
        <c:scaling>
          <c:orientation val="minMax"/>
        </c:scaling>
        <c:delete val="0"/>
        <c:axPos val="b"/>
        <c:numFmt formatCode="[$-407]mmm/\ 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14496863"/>
        <c:crosses val="autoZero"/>
        <c:auto val="1"/>
        <c:lblOffset val="100"/>
        <c:baseTimeUnit val="months"/>
      </c:dateAx>
      <c:valAx>
        <c:axId val="1614496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2680927"/>
        <c:crosses val="autoZero"/>
        <c:crossBetween val="between"/>
      </c:valAx>
      <c:valAx>
        <c:axId val="162125329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323183"/>
        <c:crosses val="max"/>
        <c:crossBetween val="between"/>
      </c:valAx>
      <c:dateAx>
        <c:axId val="1656323183"/>
        <c:scaling>
          <c:orientation val="minMax"/>
        </c:scaling>
        <c:delete val="1"/>
        <c:axPos val="b"/>
        <c:numFmt formatCode="[$-407]mmm/\ yy;@" sourceLinked="1"/>
        <c:majorTickMark val="out"/>
        <c:minorTickMark val="none"/>
        <c:tickLblPos val="nextTo"/>
        <c:crossAx val="1621253295"/>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und Transaktionen pro Mon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areaChart>
        <c:grouping val="standard"/>
        <c:varyColors val="0"/>
        <c:ser>
          <c:idx val="0"/>
          <c:order val="0"/>
          <c:tx>
            <c:strRef>
              <c:f>'Items per Month (2)'!$K$3</c:f>
              <c:strCache>
                <c:ptCount val="1"/>
                <c:pt idx="0">
                  <c:v>Items</c:v>
                </c:pt>
              </c:strCache>
            </c:strRef>
          </c:tx>
          <c:spPr>
            <a:solidFill>
              <a:schemeClr val="accent1"/>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K$4:$K$27</c:f>
              <c:numCache>
                <c:formatCode>General</c:formatCode>
                <c:ptCount val="24"/>
                <c:pt idx="0">
                  <c:v>233</c:v>
                </c:pt>
                <c:pt idx="1">
                  <c:v>268</c:v>
                </c:pt>
                <c:pt idx="2">
                  <c:v>380</c:v>
                </c:pt>
                <c:pt idx="3">
                  <c:v>308</c:v>
                </c:pt>
                <c:pt idx="4">
                  <c:v>392</c:v>
                </c:pt>
                <c:pt idx="5">
                  <c:v>307</c:v>
                </c:pt>
                <c:pt idx="6">
                  <c:v>229</c:v>
                </c:pt>
                <c:pt idx="7">
                  <c:v>212</c:v>
                </c:pt>
                <c:pt idx="8">
                  <c:v>218</c:v>
                </c:pt>
                <c:pt idx="9">
                  <c:v>688</c:v>
                </c:pt>
                <c:pt idx="10">
                  <c:v>2593</c:v>
                </c:pt>
                <c:pt idx="11">
                  <c:v>2316</c:v>
                </c:pt>
                <c:pt idx="12">
                  <c:v>2794</c:v>
                </c:pt>
                <c:pt idx="13">
                  <c:v>2480</c:v>
                </c:pt>
                <c:pt idx="14">
                  <c:v>2840</c:v>
                </c:pt>
                <c:pt idx="15">
                  <c:v>740</c:v>
                </c:pt>
                <c:pt idx="16">
                  <c:v>532</c:v>
                </c:pt>
                <c:pt idx="17">
                  <c:v>432</c:v>
                </c:pt>
                <c:pt idx="18">
                  <c:v>512</c:v>
                </c:pt>
                <c:pt idx="19">
                  <c:v>488</c:v>
                </c:pt>
                <c:pt idx="20">
                  <c:v>378</c:v>
                </c:pt>
                <c:pt idx="21">
                  <c:v>353</c:v>
                </c:pt>
                <c:pt idx="22">
                  <c:v>483</c:v>
                </c:pt>
                <c:pt idx="23">
                  <c:v>331</c:v>
                </c:pt>
              </c:numCache>
            </c:numRef>
          </c:val>
          <c:extLst>
            <c:ext xmlns:c16="http://schemas.microsoft.com/office/drawing/2014/chart" uri="{C3380CC4-5D6E-409C-BE32-E72D297353CC}">
              <c16:uniqueId val="{00000000-E551-4AA8-BA49-CAA8CA4CAD95}"/>
            </c:ext>
          </c:extLst>
        </c:ser>
        <c:ser>
          <c:idx val="1"/>
          <c:order val="1"/>
          <c:tx>
            <c:strRef>
              <c:f>'Items per Month (2)'!$L$3</c:f>
              <c:strCache>
                <c:ptCount val="1"/>
                <c:pt idx="0">
                  <c:v>Transactions</c:v>
                </c:pt>
              </c:strCache>
            </c:strRef>
          </c:tx>
          <c:spPr>
            <a:solidFill>
              <a:schemeClr val="accent2"/>
            </a:solidFill>
            <a:ln>
              <a:noFill/>
            </a:ln>
            <a:effectLst/>
          </c:spPr>
          <c:cat>
            <c:numRef>
              <c:f>'Items per Month (2)'!$J$4:$J$27</c:f>
              <c:numCache>
                <c:formatCode>mmm\-yy</c:formatCode>
                <c:ptCount val="2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numCache>
            </c:numRef>
          </c:cat>
          <c:val>
            <c:numRef>
              <c:f>'Items per Month (2)'!$L$4:$L$27</c:f>
              <c:numCache>
                <c:formatCode>General</c:formatCode>
                <c:ptCount val="24"/>
                <c:pt idx="0">
                  <c:v>124</c:v>
                </c:pt>
                <c:pt idx="1">
                  <c:v>144</c:v>
                </c:pt>
                <c:pt idx="2">
                  <c:v>183</c:v>
                </c:pt>
                <c:pt idx="3">
                  <c:v>136</c:v>
                </c:pt>
                <c:pt idx="4">
                  <c:v>173</c:v>
                </c:pt>
                <c:pt idx="5">
                  <c:v>148</c:v>
                </c:pt>
                <c:pt idx="6">
                  <c:v>118</c:v>
                </c:pt>
                <c:pt idx="7">
                  <c:v>112</c:v>
                </c:pt>
                <c:pt idx="8">
                  <c:v>108</c:v>
                </c:pt>
                <c:pt idx="9">
                  <c:v>325</c:v>
                </c:pt>
                <c:pt idx="10">
                  <c:v>1279</c:v>
                </c:pt>
                <c:pt idx="11">
                  <c:v>1137</c:v>
                </c:pt>
                <c:pt idx="12">
                  <c:v>1263</c:v>
                </c:pt>
                <c:pt idx="13">
                  <c:v>1016</c:v>
                </c:pt>
                <c:pt idx="14">
                  <c:v>1302</c:v>
                </c:pt>
                <c:pt idx="15">
                  <c:v>328</c:v>
                </c:pt>
                <c:pt idx="16">
                  <c:v>215</c:v>
                </c:pt>
                <c:pt idx="17">
                  <c:v>207</c:v>
                </c:pt>
                <c:pt idx="18">
                  <c:v>241</c:v>
                </c:pt>
                <c:pt idx="19">
                  <c:v>214</c:v>
                </c:pt>
                <c:pt idx="20">
                  <c:v>168</c:v>
                </c:pt>
                <c:pt idx="21">
                  <c:v>172</c:v>
                </c:pt>
                <c:pt idx="22">
                  <c:v>201</c:v>
                </c:pt>
                <c:pt idx="23">
                  <c:v>151</c:v>
                </c:pt>
              </c:numCache>
            </c:numRef>
          </c:val>
          <c:extLst>
            <c:ext xmlns:c16="http://schemas.microsoft.com/office/drawing/2014/chart" uri="{C3380CC4-5D6E-409C-BE32-E72D297353CC}">
              <c16:uniqueId val="{00000001-E551-4AA8-BA49-CAA8CA4CAD95}"/>
            </c:ext>
          </c:extLst>
        </c:ser>
        <c:dLbls>
          <c:showLegendKey val="0"/>
          <c:showVal val="0"/>
          <c:showCatName val="0"/>
          <c:showSerName val="0"/>
          <c:showPercent val="0"/>
          <c:showBubbleSize val="0"/>
        </c:dLbls>
        <c:axId val="1621339887"/>
        <c:axId val="1271214079"/>
      </c:areaChart>
      <c:dateAx>
        <c:axId val="1621339887"/>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71214079"/>
        <c:crosses val="autoZero"/>
        <c:auto val="1"/>
        <c:lblOffset val="100"/>
        <c:baseTimeUnit val="months"/>
      </c:dateAx>
      <c:valAx>
        <c:axId val="12712140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2133988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a:t>Verkaufte</a:t>
            </a:r>
            <a:r>
              <a:rPr lang="en-US" baseline="0" dirty="0"/>
              <a:t> Artikel </a:t>
            </a:r>
            <a:r>
              <a:rPr lang="en-US" baseline="0" dirty="0" err="1"/>
              <a:t>nach</a:t>
            </a:r>
            <a:r>
              <a:rPr lang="en-US" baseline="0" dirty="0"/>
              <a:t> </a:t>
            </a:r>
            <a:r>
              <a:rPr lang="en-US" baseline="0" dirty="0" err="1"/>
              <a:t>Wochentag</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Wochentag</c:v>
                </c:pt>
              </c:strCache>
            </c:strRef>
          </c:tx>
          <c:spPr>
            <a:solidFill>
              <a:schemeClr val="accent1"/>
            </a:solidFill>
            <a:ln>
              <a:noFill/>
            </a:ln>
            <a:effectLst/>
          </c:spPr>
          <c:invertIfNegative val="0"/>
          <c:dPt>
            <c:idx val="5"/>
            <c:invertIfNegative val="0"/>
            <c:bubble3D val="0"/>
            <c:spPr>
              <a:solidFill>
                <a:srgbClr val="00CFCC"/>
              </a:solidFill>
              <a:ln>
                <a:noFill/>
              </a:ln>
              <a:effectLst/>
            </c:spPr>
            <c:extLst>
              <c:ext xmlns:c16="http://schemas.microsoft.com/office/drawing/2014/chart" uri="{C3380CC4-5D6E-409C-BE32-E72D297353CC}">
                <c16:uniqueId val="{00000000-C0C4-4B78-9FAE-8999CCA80188}"/>
              </c:ext>
            </c:extLst>
          </c:dPt>
          <c:dPt>
            <c:idx val="6"/>
            <c:invertIfNegative val="0"/>
            <c:bubble3D val="0"/>
            <c:spPr>
              <a:solidFill>
                <a:srgbClr val="00CFCC"/>
              </a:solidFill>
              <a:ln>
                <a:noFill/>
              </a:ln>
              <a:effectLst/>
            </c:spPr>
            <c:extLst>
              <c:ext xmlns:c16="http://schemas.microsoft.com/office/drawing/2014/chart" uri="{C3380CC4-5D6E-409C-BE32-E72D297353CC}">
                <c16:uniqueId val="{00000001-C0C4-4B78-9FAE-8999CCA80188}"/>
              </c:ext>
            </c:extLst>
          </c:dPt>
          <c:cat>
            <c:strRef>
              <c:f>Tabelle1!$A$2:$A$8</c:f>
              <c:strCache>
                <c:ptCount val="7"/>
                <c:pt idx="0">
                  <c:v>Montag</c:v>
                </c:pt>
                <c:pt idx="1">
                  <c:v>Dienstag</c:v>
                </c:pt>
                <c:pt idx="2">
                  <c:v>Mittwoch</c:v>
                </c:pt>
                <c:pt idx="3">
                  <c:v>Donnerstag</c:v>
                </c:pt>
                <c:pt idx="4">
                  <c:v>Freitag</c:v>
                </c:pt>
                <c:pt idx="5">
                  <c:v>Samstag</c:v>
                </c:pt>
                <c:pt idx="6">
                  <c:v>Sonntag</c:v>
                </c:pt>
              </c:strCache>
            </c:strRef>
          </c:cat>
          <c:val>
            <c:numRef>
              <c:f>Tabelle1!$B$2:$B$8</c:f>
              <c:numCache>
                <c:formatCode>General</c:formatCode>
                <c:ptCount val="7"/>
                <c:pt idx="0">
                  <c:v>3035</c:v>
                </c:pt>
                <c:pt idx="1">
                  <c:v>2645</c:v>
                </c:pt>
                <c:pt idx="2">
                  <c:v>2288</c:v>
                </c:pt>
                <c:pt idx="3">
                  <c:v>2601</c:v>
                </c:pt>
                <c:pt idx="4">
                  <c:v>3266</c:v>
                </c:pt>
                <c:pt idx="5">
                  <c:v>3554</c:v>
                </c:pt>
                <c:pt idx="6">
                  <c:v>3118</c:v>
                </c:pt>
              </c:numCache>
            </c:numRef>
          </c:val>
          <c:extLst>
            <c:ext xmlns:c16="http://schemas.microsoft.com/office/drawing/2014/chart" uri="{C3380CC4-5D6E-409C-BE32-E72D297353CC}">
              <c16:uniqueId val="{00000000-9C48-4AAA-972B-CDC3F608482B}"/>
            </c:ext>
          </c:extLst>
        </c:ser>
        <c:dLbls>
          <c:showLegendKey val="0"/>
          <c:showVal val="0"/>
          <c:showCatName val="0"/>
          <c:showSerName val="0"/>
          <c:showPercent val="0"/>
          <c:showBubbleSize val="0"/>
        </c:dLbls>
        <c:gapWidth val="219"/>
        <c:overlap val="-27"/>
        <c:axId val="1042621376"/>
        <c:axId val="431140176"/>
      </c:barChart>
      <c:catAx>
        <c:axId val="104262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31140176"/>
        <c:crosses val="autoZero"/>
        <c:auto val="1"/>
        <c:lblAlgn val="ctr"/>
        <c:lblOffset val="100"/>
        <c:noMultiLvlLbl val="0"/>
      </c:catAx>
      <c:valAx>
        <c:axId val="43114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042621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Artik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rgbClr val="00CFCC"/>
              </a:solidFill>
              <a:ln w="19050">
                <a:solidFill>
                  <a:schemeClr val="lt1"/>
                </a:solidFill>
              </a:ln>
              <a:effectLst/>
            </c:spPr>
            <c:extLst>
              <c:ext xmlns:c16="http://schemas.microsoft.com/office/drawing/2014/chart" uri="{C3380CC4-5D6E-409C-BE32-E72D297353CC}">
                <c16:uniqueId val="{00000001-ECE9-4B55-9EDC-A7DBE7A2CCB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ECE9-4B55-9EDC-A7DBE7A2CCB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7:$C$8</c:f>
              <c:strCache>
                <c:ptCount val="2"/>
                <c:pt idx="0">
                  <c:v>Weekend</c:v>
                </c:pt>
                <c:pt idx="1">
                  <c:v>Workday</c:v>
                </c:pt>
              </c:strCache>
            </c:strRef>
          </c:cat>
          <c:val>
            <c:numRef>
              <c:f>Tabelle2!$E$7:$E$8</c:f>
              <c:numCache>
                <c:formatCode>0.00</c:formatCode>
                <c:ptCount val="2"/>
                <c:pt idx="0">
                  <c:v>32.534999999999997</c:v>
                </c:pt>
                <c:pt idx="1">
                  <c:v>67.465000000000003</c:v>
                </c:pt>
              </c:numCache>
            </c:numRef>
          </c:val>
          <c:extLst>
            <c:ext xmlns:c16="http://schemas.microsoft.com/office/drawing/2014/chart" uri="{C3380CC4-5D6E-409C-BE32-E72D297353CC}">
              <c16:uniqueId val="{00000004-ECE9-4B55-9EDC-A7DBE7A2CCB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Transaktione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F9C-434C-81FD-112FD5BE352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F9C-434C-81FD-112FD5BE35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de-DE"/>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2!$C$17:$C$18</c:f>
              <c:strCache>
                <c:ptCount val="2"/>
                <c:pt idx="0">
                  <c:v>Weekend</c:v>
                </c:pt>
                <c:pt idx="1">
                  <c:v>Workday</c:v>
                </c:pt>
              </c:strCache>
            </c:strRef>
          </c:cat>
          <c:val>
            <c:numRef>
              <c:f>Tabelle2!$E$17:$E$18</c:f>
              <c:numCache>
                <c:formatCode>0.00</c:formatCode>
                <c:ptCount val="2"/>
                <c:pt idx="0">
                  <c:v>31.294241944004199</c:v>
                </c:pt>
                <c:pt idx="1">
                  <c:v>68.705758055995702</c:v>
                </c:pt>
              </c:numCache>
            </c:numRef>
          </c:val>
          <c:extLst>
            <c:ext xmlns:c16="http://schemas.microsoft.com/office/drawing/2014/chart" uri="{C3380CC4-5D6E-409C-BE32-E72D297353CC}">
              <c16:uniqueId val="{00000004-6F9C-434C-81FD-112FD5BE352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r>
              <a:rPr lang="de-DE" sz="1800" b="0" i="0" dirty="0">
                <a:effectLst/>
              </a:rPr>
              <a:t>Meistverkaufte Produkte</a:t>
            </a:r>
            <a:endParaRPr lang="de-DE" dirty="0">
              <a:effectLst/>
            </a:endParaRPr>
          </a:p>
        </c:rich>
      </c:tx>
      <c:layout>
        <c:manualLayout>
          <c:xMode val="edge"/>
          <c:yMode val="edge"/>
          <c:x val="0.28163055555555555"/>
          <c:y val="2.316934182649994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1A5E8F">
                  <a:lumMod val="65000"/>
                  <a:lumOff val="35000"/>
                </a:srgb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Count</c:v>
                </c:pt>
              </c:strCache>
            </c:strRef>
          </c:tx>
          <c:spPr>
            <a:solidFill>
              <a:schemeClr val="accent1"/>
            </a:solidFill>
            <a:ln>
              <a:noFill/>
            </a:ln>
            <a:effectLst/>
          </c:spPr>
          <c:invertIfNegative val="0"/>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B$2:$B$11</c:f>
              <c:numCache>
                <c:formatCode>General</c:formatCode>
                <c:ptCount val="10"/>
                <c:pt idx="0">
                  <c:v>379</c:v>
                </c:pt>
                <c:pt idx="1">
                  <c:v>540</c:v>
                </c:pt>
                <c:pt idx="2">
                  <c:v>590</c:v>
                </c:pt>
                <c:pt idx="3">
                  <c:v>616</c:v>
                </c:pt>
                <c:pt idx="4">
                  <c:v>771</c:v>
                </c:pt>
                <c:pt idx="5">
                  <c:v>856</c:v>
                </c:pt>
                <c:pt idx="6">
                  <c:v>1025</c:v>
                </c:pt>
                <c:pt idx="7">
                  <c:v>1435</c:v>
                </c:pt>
                <c:pt idx="8">
                  <c:v>3325</c:v>
                </c:pt>
                <c:pt idx="9">
                  <c:v>5471</c:v>
                </c:pt>
              </c:numCache>
            </c:numRef>
          </c:val>
          <c:extLst>
            <c:ext xmlns:c16="http://schemas.microsoft.com/office/drawing/2014/chart" uri="{C3380CC4-5D6E-409C-BE32-E72D297353CC}">
              <c16:uniqueId val="{00000000-78FA-49BE-809B-093ED12ABBC2}"/>
            </c:ext>
          </c:extLst>
        </c:ser>
        <c:dLbls>
          <c:showLegendKey val="0"/>
          <c:showVal val="0"/>
          <c:showCatName val="0"/>
          <c:showSerName val="0"/>
          <c:showPercent val="0"/>
          <c:showBubbleSize val="0"/>
        </c:dLbls>
        <c:gapWidth val="247"/>
        <c:axId val="1127693296"/>
        <c:axId val="214589248"/>
      </c:barChart>
      <c:lineChart>
        <c:grouping val="standard"/>
        <c:varyColors val="0"/>
        <c:ser>
          <c:idx val="1"/>
          <c:order val="1"/>
          <c:tx>
            <c:strRef>
              <c:f>Tabelle1!$C$1</c:f>
              <c:strCache>
                <c:ptCount val="1"/>
                <c:pt idx="0">
                  <c:v>Share</c:v>
                </c:pt>
              </c:strCache>
            </c:strRef>
          </c:tx>
          <c:spPr>
            <a:ln w="28575" cap="rnd">
              <a:solidFill>
                <a:schemeClr val="accent2"/>
              </a:solidFill>
              <a:round/>
            </a:ln>
            <a:effectLst/>
          </c:spPr>
          <c:marker>
            <c:symbol val="none"/>
          </c:marker>
          <c:cat>
            <c:strRef>
              <c:f>Tabelle1!$A$2:$A$11</c:f>
              <c:strCache>
                <c:ptCount val="10"/>
                <c:pt idx="0">
                  <c:v>Brownie</c:v>
                </c:pt>
                <c:pt idx="1">
                  <c:v>Cookies</c:v>
                </c:pt>
                <c:pt idx="2">
                  <c:v>Hot Chocolate</c:v>
                </c:pt>
                <c:pt idx="3">
                  <c:v>Medialuna</c:v>
                </c:pt>
                <c:pt idx="4">
                  <c:v>Sandwich</c:v>
                </c:pt>
                <c:pt idx="5">
                  <c:v>Pastry</c:v>
                </c:pt>
                <c:pt idx="6">
                  <c:v>Cake</c:v>
                </c:pt>
                <c:pt idx="7">
                  <c:v>Tea</c:v>
                </c:pt>
                <c:pt idx="8">
                  <c:v>Bread</c:v>
                </c:pt>
                <c:pt idx="9">
                  <c:v>Coffee</c:v>
                </c:pt>
              </c:strCache>
            </c:strRef>
          </c:cat>
          <c:val>
            <c:numRef>
              <c:f>Tabelle1!$C$2:$C$11</c:f>
              <c:numCache>
                <c:formatCode>0%</c:formatCode>
                <c:ptCount val="10"/>
                <c:pt idx="0">
                  <c:v>1.7999999999999999E-2</c:v>
                </c:pt>
                <c:pt idx="1">
                  <c:v>2.5999999999999999E-2</c:v>
                </c:pt>
                <c:pt idx="2">
                  <c:v>2.9000000000000001E-2</c:v>
                </c:pt>
                <c:pt idx="3">
                  <c:v>0.03</c:v>
                </c:pt>
                <c:pt idx="4">
                  <c:v>3.7999999999999999E-2</c:v>
                </c:pt>
                <c:pt idx="5">
                  <c:v>4.2000000000000003E-2</c:v>
                </c:pt>
                <c:pt idx="6">
                  <c:v>0.05</c:v>
                </c:pt>
                <c:pt idx="7">
                  <c:v>7.0000000000000007E-2</c:v>
                </c:pt>
                <c:pt idx="8">
                  <c:v>0.16200000000000001</c:v>
                </c:pt>
                <c:pt idx="9">
                  <c:v>0.26700000000000002</c:v>
                </c:pt>
              </c:numCache>
            </c:numRef>
          </c:val>
          <c:smooth val="0"/>
          <c:extLst>
            <c:ext xmlns:c16="http://schemas.microsoft.com/office/drawing/2014/chart" uri="{C3380CC4-5D6E-409C-BE32-E72D297353CC}">
              <c16:uniqueId val="{00000001-78FA-49BE-809B-093ED12ABBC2}"/>
            </c:ext>
          </c:extLst>
        </c:ser>
        <c:dLbls>
          <c:showLegendKey val="0"/>
          <c:showVal val="0"/>
          <c:showCatName val="0"/>
          <c:showSerName val="0"/>
          <c:showPercent val="0"/>
          <c:showBubbleSize val="0"/>
        </c:dLbls>
        <c:marker val="1"/>
        <c:smooth val="0"/>
        <c:axId val="1267238544"/>
        <c:axId val="1061972912"/>
      </c:lineChart>
      <c:catAx>
        <c:axId val="112769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589248"/>
        <c:crosses val="autoZero"/>
        <c:auto val="1"/>
        <c:lblAlgn val="ctr"/>
        <c:lblOffset val="100"/>
        <c:noMultiLvlLbl val="0"/>
      </c:catAx>
      <c:valAx>
        <c:axId val="21458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127693296"/>
        <c:crosses val="autoZero"/>
        <c:crossBetween val="between"/>
      </c:valAx>
      <c:valAx>
        <c:axId val="106197291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67238544"/>
        <c:crosses val="max"/>
        <c:crossBetween val="between"/>
      </c:valAx>
      <c:catAx>
        <c:axId val="1267238544"/>
        <c:scaling>
          <c:orientation val="minMax"/>
        </c:scaling>
        <c:delete val="1"/>
        <c:axPos val="b"/>
        <c:numFmt formatCode="General" sourceLinked="1"/>
        <c:majorTickMark val="out"/>
        <c:minorTickMark val="none"/>
        <c:tickLblPos val="nextTo"/>
        <c:crossAx val="1061972912"/>
        <c:crosses val="autoZero"/>
        <c:auto val="1"/>
        <c:lblAlgn val="ctr"/>
        <c:lblOffset val="100"/>
        <c:noMultiLvlLbl val="0"/>
      </c:catAx>
      <c:spPr>
        <a:noFill/>
        <a:ln>
          <a:noFill/>
        </a:ln>
        <a:effectLst/>
      </c:spPr>
    </c:plotArea>
    <c:legend>
      <c:legendPos val="b"/>
      <c:layout>
        <c:manualLayout>
          <c:xMode val="edge"/>
          <c:yMode val="edge"/>
          <c:x val="0.34539027777777775"/>
          <c:y val="0.88907121431360858"/>
          <c:w val="0.29599027777777775"/>
          <c:h val="6.420278558442452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Verkäufe nach Uhrze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ransactionsPerHour!$I$5</c:f>
              <c:strCache>
                <c:ptCount val="1"/>
                <c:pt idx="0">
                  <c:v>Bread</c:v>
                </c:pt>
              </c:strCache>
            </c:strRef>
          </c:tx>
          <c:spPr>
            <a:ln w="28575" cap="rnd">
              <a:solidFill>
                <a:schemeClr val="accent1"/>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I$6:$I$20</c:f>
              <c:numCache>
                <c:formatCode>General</c:formatCode>
                <c:ptCount val="15"/>
                <c:pt idx="0">
                  <c:v>1</c:v>
                </c:pt>
                <c:pt idx="1">
                  <c:v>2</c:v>
                </c:pt>
                <c:pt idx="2">
                  <c:v>171</c:v>
                </c:pt>
                <c:pt idx="3">
                  <c:v>400</c:v>
                </c:pt>
                <c:pt idx="4">
                  <c:v>508</c:v>
                </c:pt>
                <c:pt idx="5">
                  <c:v>528</c:v>
                </c:pt>
                <c:pt idx="6">
                  <c:v>474</c:v>
                </c:pt>
                <c:pt idx="7">
                  <c:v>340</c:v>
                </c:pt>
                <c:pt idx="8">
                  <c:v>341</c:v>
                </c:pt>
                <c:pt idx="9">
                  <c:v>310</c:v>
                </c:pt>
                <c:pt idx="10">
                  <c:v>196</c:v>
                </c:pt>
                <c:pt idx="11">
                  <c:v>46</c:v>
                </c:pt>
                <c:pt idx="12">
                  <c:v>6</c:v>
                </c:pt>
                <c:pt idx="13">
                  <c:v>2</c:v>
                </c:pt>
              </c:numCache>
            </c:numRef>
          </c:val>
          <c:smooth val="0"/>
          <c:extLst>
            <c:ext xmlns:c16="http://schemas.microsoft.com/office/drawing/2014/chart" uri="{C3380CC4-5D6E-409C-BE32-E72D297353CC}">
              <c16:uniqueId val="{00000000-F1E2-4E84-AB26-9224BFBA0D48}"/>
            </c:ext>
          </c:extLst>
        </c:ser>
        <c:ser>
          <c:idx val="1"/>
          <c:order val="1"/>
          <c:tx>
            <c:strRef>
              <c:f>TransactionsPerHour!$J$5</c:f>
              <c:strCache>
                <c:ptCount val="1"/>
                <c:pt idx="0">
                  <c:v>Cake</c:v>
                </c:pt>
              </c:strCache>
            </c:strRef>
          </c:tx>
          <c:spPr>
            <a:ln w="28575" cap="rnd">
              <a:solidFill>
                <a:schemeClr val="accent2"/>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J$6:$J$20</c:f>
              <c:numCache>
                <c:formatCode>General</c:formatCode>
                <c:ptCount val="15"/>
                <c:pt idx="2">
                  <c:v>8</c:v>
                </c:pt>
                <c:pt idx="3">
                  <c:v>40</c:v>
                </c:pt>
                <c:pt idx="4">
                  <c:v>83</c:v>
                </c:pt>
                <c:pt idx="5">
                  <c:v>133</c:v>
                </c:pt>
                <c:pt idx="6">
                  <c:v>127</c:v>
                </c:pt>
                <c:pt idx="7">
                  <c:v>124</c:v>
                </c:pt>
                <c:pt idx="8">
                  <c:v>182</c:v>
                </c:pt>
                <c:pt idx="9">
                  <c:v>174</c:v>
                </c:pt>
                <c:pt idx="10">
                  <c:v>124</c:v>
                </c:pt>
                <c:pt idx="11">
                  <c:v>30</c:v>
                </c:pt>
              </c:numCache>
            </c:numRef>
          </c:val>
          <c:smooth val="0"/>
          <c:extLst>
            <c:ext xmlns:c16="http://schemas.microsoft.com/office/drawing/2014/chart" uri="{C3380CC4-5D6E-409C-BE32-E72D297353CC}">
              <c16:uniqueId val="{00000001-F1E2-4E84-AB26-9224BFBA0D48}"/>
            </c:ext>
          </c:extLst>
        </c:ser>
        <c:ser>
          <c:idx val="2"/>
          <c:order val="2"/>
          <c:tx>
            <c:strRef>
              <c:f>TransactionsPerHour!$K$5</c:f>
              <c:strCache>
                <c:ptCount val="1"/>
                <c:pt idx="0">
                  <c:v>Coffee</c:v>
                </c:pt>
              </c:strCache>
            </c:strRef>
          </c:tx>
          <c:spPr>
            <a:ln w="28575" cap="rnd">
              <a:solidFill>
                <a:schemeClr val="accent3"/>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K$6:$K$20</c:f>
              <c:numCache>
                <c:formatCode>General</c:formatCode>
                <c:ptCount val="15"/>
                <c:pt idx="1">
                  <c:v>13</c:v>
                </c:pt>
                <c:pt idx="2">
                  <c:v>199</c:v>
                </c:pt>
                <c:pt idx="3">
                  <c:v>583</c:v>
                </c:pt>
                <c:pt idx="4">
                  <c:v>820</c:v>
                </c:pt>
                <c:pt idx="5">
                  <c:v>946</c:v>
                </c:pt>
                <c:pt idx="6">
                  <c:v>740</c:v>
                </c:pt>
                <c:pt idx="7">
                  <c:v>607</c:v>
                </c:pt>
                <c:pt idx="8">
                  <c:v>636</c:v>
                </c:pt>
                <c:pt idx="9">
                  <c:v>519</c:v>
                </c:pt>
                <c:pt idx="10">
                  <c:v>321</c:v>
                </c:pt>
                <c:pt idx="11">
                  <c:v>69</c:v>
                </c:pt>
                <c:pt idx="12">
                  <c:v>11</c:v>
                </c:pt>
                <c:pt idx="13">
                  <c:v>6</c:v>
                </c:pt>
                <c:pt idx="14">
                  <c:v>1</c:v>
                </c:pt>
              </c:numCache>
            </c:numRef>
          </c:val>
          <c:smooth val="0"/>
          <c:extLst>
            <c:ext xmlns:c16="http://schemas.microsoft.com/office/drawing/2014/chart" uri="{C3380CC4-5D6E-409C-BE32-E72D297353CC}">
              <c16:uniqueId val="{00000002-F1E2-4E84-AB26-9224BFBA0D48}"/>
            </c:ext>
          </c:extLst>
        </c:ser>
        <c:ser>
          <c:idx val="3"/>
          <c:order val="3"/>
          <c:tx>
            <c:strRef>
              <c:f>TransactionsPerHour!$L$5</c:f>
              <c:strCache>
                <c:ptCount val="1"/>
                <c:pt idx="0">
                  <c:v>Pastry</c:v>
                </c:pt>
              </c:strCache>
            </c:strRef>
          </c:tx>
          <c:spPr>
            <a:ln w="28575" cap="rnd">
              <a:solidFill>
                <a:schemeClr val="accent4"/>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L$6:$L$20</c:f>
              <c:numCache>
                <c:formatCode>General</c:formatCode>
                <c:ptCount val="15"/>
                <c:pt idx="1">
                  <c:v>2</c:v>
                </c:pt>
                <c:pt idx="2">
                  <c:v>57</c:v>
                </c:pt>
                <c:pt idx="3">
                  <c:v>191</c:v>
                </c:pt>
                <c:pt idx="4">
                  <c:v>203</c:v>
                </c:pt>
                <c:pt idx="5">
                  <c:v>151</c:v>
                </c:pt>
                <c:pt idx="6">
                  <c:v>97</c:v>
                </c:pt>
                <c:pt idx="7">
                  <c:v>48</c:v>
                </c:pt>
                <c:pt idx="8">
                  <c:v>49</c:v>
                </c:pt>
                <c:pt idx="9">
                  <c:v>32</c:v>
                </c:pt>
                <c:pt idx="10">
                  <c:v>16</c:v>
                </c:pt>
                <c:pt idx="11">
                  <c:v>8</c:v>
                </c:pt>
                <c:pt idx="12">
                  <c:v>2</c:v>
                </c:pt>
              </c:numCache>
            </c:numRef>
          </c:val>
          <c:smooth val="0"/>
          <c:extLst>
            <c:ext xmlns:c16="http://schemas.microsoft.com/office/drawing/2014/chart" uri="{C3380CC4-5D6E-409C-BE32-E72D297353CC}">
              <c16:uniqueId val="{00000003-F1E2-4E84-AB26-9224BFBA0D48}"/>
            </c:ext>
          </c:extLst>
        </c:ser>
        <c:ser>
          <c:idx val="4"/>
          <c:order val="4"/>
          <c:tx>
            <c:strRef>
              <c:f>TransactionsPerHour!$M$5</c:f>
              <c:strCache>
                <c:ptCount val="1"/>
                <c:pt idx="0">
                  <c:v>Tea</c:v>
                </c:pt>
              </c:strCache>
            </c:strRef>
          </c:tx>
          <c:spPr>
            <a:ln w="28575" cap="rnd">
              <a:solidFill>
                <a:schemeClr val="accent5"/>
              </a:solidFill>
              <a:round/>
            </a:ln>
            <a:effectLst/>
          </c:spPr>
          <c:marker>
            <c:symbol val="none"/>
          </c:marker>
          <c:cat>
            <c:strRef>
              <c:f>TransactionsPerHour!$H$6:$H$20</c:f>
              <c:strCache>
                <c:ptCount val="15"/>
                <c:pt idx="0">
                  <c:v>01</c:v>
                </c:pt>
                <c:pt idx="1">
                  <c:v>07</c:v>
                </c:pt>
                <c:pt idx="2">
                  <c:v>08</c:v>
                </c:pt>
                <c:pt idx="3">
                  <c:v>09</c:v>
                </c:pt>
                <c:pt idx="4">
                  <c:v>10</c:v>
                </c:pt>
                <c:pt idx="5">
                  <c:v>11</c:v>
                </c:pt>
                <c:pt idx="6">
                  <c:v>12</c:v>
                </c:pt>
                <c:pt idx="7">
                  <c:v>13</c:v>
                </c:pt>
                <c:pt idx="8">
                  <c:v>14</c:v>
                </c:pt>
                <c:pt idx="9">
                  <c:v>15</c:v>
                </c:pt>
                <c:pt idx="10">
                  <c:v>16</c:v>
                </c:pt>
                <c:pt idx="11">
                  <c:v>17</c:v>
                </c:pt>
                <c:pt idx="12">
                  <c:v>18</c:v>
                </c:pt>
                <c:pt idx="13">
                  <c:v>19</c:v>
                </c:pt>
                <c:pt idx="14">
                  <c:v>20</c:v>
                </c:pt>
              </c:strCache>
            </c:strRef>
          </c:cat>
          <c:val>
            <c:numRef>
              <c:f>TransactionsPerHour!$M$6:$M$20</c:f>
              <c:numCache>
                <c:formatCode>General</c:formatCode>
                <c:ptCount val="15"/>
                <c:pt idx="2">
                  <c:v>21</c:v>
                </c:pt>
                <c:pt idx="3">
                  <c:v>103</c:v>
                </c:pt>
                <c:pt idx="4">
                  <c:v>156</c:v>
                </c:pt>
                <c:pt idx="5">
                  <c:v>176</c:v>
                </c:pt>
                <c:pt idx="6">
                  <c:v>183</c:v>
                </c:pt>
                <c:pt idx="7">
                  <c:v>181</c:v>
                </c:pt>
                <c:pt idx="8">
                  <c:v>233</c:v>
                </c:pt>
                <c:pt idx="9">
                  <c:v>207</c:v>
                </c:pt>
                <c:pt idx="10">
                  <c:v>126</c:v>
                </c:pt>
                <c:pt idx="11">
                  <c:v>41</c:v>
                </c:pt>
                <c:pt idx="12">
                  <c:v>5</c:v>
                </c:pt>
                <c:pt idx="13">
                  <c:v>3</c:v>
                </c:pt>
              </c:numCache>
            </c:numRef>
          </c:val>
          <c:smooth val="0"/>
          <c:extLst>
            <c:ext xmlns:c16="http://schemas.microsoft.com/office/drawing/2014/chart" uri="{C3380CC4-5D6E-409C-BE32-E72D297353CC}">
              <c16:uniqueId val="{00000004-F1E2-4E84-AB26-9224BFBA0D48}"/>
            </c:ext>
          </c:extLst>
        </c:ser>
        <c:dLbls>
          <c:showLegendKey val="0"/>
          <c:showVal val="0"/>
          <c:showCatName val="0"/>
          <c:showSerName val="0"/>
          <c:showPercent val="0"/>
          <c:showBubbleSize val="0"/>
        </c:dLbls>
        <c:smooth val="0"/>
        <c:axId val="1155384336"/>
        <c:axId val="1155388080"/>
      </c:lineChart>
      <c:catAx>
        <c:axId val="115538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8080"/>
        <c:crosses val="autoZero"/>
        <c:auto val="1"/>
        <c:lblAlgn val="ctr"/>
        <c:lblOffset val="100"/>
        <c:noMultiLvlLbl val="0"/>
      </c:catAx>
      <c:valAx>
        <c:axId val="1155388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155384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xmas.xlsx]Tabelle1!PivotTable5</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800" dirty="0"/>
              <a:t>Anzahl an Ite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1!$C$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CCC1-40F4-BAD8-C6CF70A5E013}"/>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CCC1-40F4-BAD8-C6CF70A5E01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CCC1-40F4-BAD8-C6CF70A5E013}"/>
              </c:ext>
            </c:extLst>
          </c:dPt>
          <c:dPt>
            <c:idx val="4"/>
            <c:invertIfNegative val="0"/>
            <c:bubble3D val="0"/>
            <c:spPr>
              <a:solidFill>
                <a:srgbClr val="5EFFFD"/>
              </a:solidFill>
              <a:ln>
                <a:noFill/>
              </a:ln>
              <a:effectLst/>
            </c:spPr>
            <c:extLst>
              <c:ext xmlns:c16="http://schemas.microsoft.com/office/drawing/2014/chart" uri="{C3380CC4-5D6E-409C-BE32-E72D297353CC}">
                <c16:uniqueId val="{00000006-CCC1-40F4-BAD8-C6CF70A5E013}"/>
              </c:ext>
            </c:extLst>
          </c:dPt>
          <c:dPt>
            <c:idx val="6"/>
            <c:invertIfNegative val="0"/>
            <c:bubble3D val="0"/>
            <c:spPr>
              <a:solidFill>
                <a:srgbClr val="00CFCC"/>
              </a:solidFill>
              <a:ln>
                <a:noFill/>
              </a:ln>
              <a:effectLst/>
            </c:spPr>
            <c:extLst>
              <c:ext xmlns:c16="http://schemas.microsoft.com/office/drawing/2014/chart" uri="{C3380CC4-5D6E-409C-BE32-E72D297353CC}">
                <c16:uniqueId val="{00000002-CCC1-40F4-BAD8-C6CF70A5E013}"/>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CCC1-40F4-BAD8-C6CF70A5E013}"/>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CCC1-40F4-BAD8-C6CF70A5E013}"/>
              </c:ext>
            </c:extLst>
          </c:dPt>
          <c:dPt>
            <c:idx val="9"/>
            <c:invertIfNegative val="0"/>
            <c:bubble3D val="0"/>
            <c:spPr>
              <a:solidFill>
                <a:srgbClr val="5EFFFD"/>
              </a:solidFill>
              <a:ln>
                <a:noFill/>
              </a:ln>
              <a:effectLst/>
            </c:spPr>
            <c:extLst>
              <c:ext xmlns:c16="http://schemas.microsoft.com/office/drawing/2014/chart" uri="{C3380CC4-5D6E-409C-BE32-E72D297353CC}">
                <c16:uniqueId val="{00000008-CCC1-40F4-BAD8-C6CF70A5E013}"/>
              </c:ext>
            </c:extLst>
          </c:dPt>
          <c:dPt>
            <c:idx val="11"/>
            <c:invertIfNegative val="0"/>
            <c:bubble3D val="0"/>
            <c:spPr>
              <a:solidFill>
                <a:srgbClr val="00CFCC"/>
              </a:solidFill>
              <a:ln>
                <a:noFill/>
              </a:ln>
              <a:effectLst/>
            </c:spPr>
            <c:extLst>
              <c:ext xmlns:c16="http://schemas.microsoft.com/office/drawing/2014/chart" uri="{C3380CC4-5D6E-409C-BE32-E72D297353CC}">
                <c16:uniqueId val="{00000003-CCC1-40F4-BAD8-C6CF70A5E013}"/>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CCC1-40F4-BAD8-C6CF70A5E013}"/>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D-CCC1-40F4-BAD8-C6CF70A5E013}"/>
              </c:ext>
            </c:extLst>
          </c:dPt>
          <c:dPt>
            <c:idx val="14"/>
            <c:invertIfNegative val="0"/>
            <c:bubble3D val="0"/>
            <c:spPr>
              <a:solidFill>
                <a:srgbClr val="5EFFFD"/>
              </a:solidFill>
              <a:ln>
                <a:noFill/>
              </a:ln>
              <a:effectLst/>
            </c:spPr>
            <c:extLst>
              <c:ext xmlns:c16="http://schemas.microsoft.com/office/drawing/2014/chart" uri="{C3380CC4-5D6E-409C-BE32-E72D297353CC}">
                <c16:uniqueId val="{00000007-CCC1-40F4-BAD8-C6CF70A5E013}"/>
              </c:ext>
            </c:extLst>
          </c:dPt>
          <c:dPt>
            <c:idx val="16"/>
            <c:invertIfNegative val="0"/>
            <c:bubble3D val="0"/>
            <c:spPr>
              <a:solidFill>
                <a:srgbClr val="00CFCC"/>
              </a:solidFill>
              <a:ln>
                <a:noFill/>
              </a:ln>
              <a:effectLst/>
            </c:spPr>
            <c:extLst>
              <c:ext xmlns:c16="http://schemas.microsoft.com/office/drawing/2014/chart" uri="{C3380CC4-5D6E-409C-BE32-E72D297353CC}">
                <c16:uniqueId val="{00000004-CCC1-40F4-BAD8-C6CF70A5E013}"/>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3-CCC1-40F4-BAD8-C6CF70A5E013}"/>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E-CCC1-40F4-BAD8-C6CF70A5E013}"/>
              </c:ext>
            </c:extLst>
          </c:dPt>
          <c:dPt>
            <c:idx val="19"/>
            <c:invertIfNegative val="0"/>
            <c:bubble3D val="0"/>
            <c:spPr>
              <a:solidFill>
                <a:srgbClr val="5EFFFD"/>
              </a:solidFill>
              <a:ln>
                <a:noFill/>
              </a:ln>
              <a:effectLst/>
            </c:spPr>
            <c:extLst>
              <c:ext xmlns:c16="http://schemas.microsoft.com/office/drawing/2014/chart" uri="{C3380CC4-5D6E-409C-BE32-E72D297353CC}">
                <c16:uniqueId val="{00000009-CCC1-40F4-BAD8-C6CF70A5E013}"/>
              </c:ext>
            </c:extLst>
          </c:dPt>
          <c:dPt>
            <c:idx val="21"/>
            <c:invertIfNegative val="0"/>
            <c:bubble3D val="0"/>
            <c:spPr>
              <a:solidFill>
                <a:srgbClr val="00CFCC"/>
              </a:solidFill>
              <a:ln>
                <a:noFill/>
              </a:ln>
              <a:effectLst/>
            </c:spPr>
            <c:extLst>
              <c:ext xmlns:c16="http://schemas.microsoft.com/office/drawing/2014/chart" uri="{C3380CC4-5D6E-409C-BE32-E72D297353CC}">
                <c16:uniqueId val="{00000005-CCC1-40F4-BAD8-C6CF70A5E013}"/>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4-CCC1-40F4-BAD8-C6CF70A5E013}"/>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F-CCC1-40F4-BAD8-C6CF70A5E013}"/>
              </c:ext>
            </c:extLst>
          </c:dPt>
          <c:dPt>
            <c:idx val="24"/>
            <c:invertIfNegative val="0"/>
            <c:bubble3D val="0"/>
            <c:spPr>
              <a:solidFill>
                <a:srgbClr val="5EFFFD"/>
              </a:solidFill>
              <a:ln>
                <a:noFill/>
              </a:ln>
              <a:effectLst/>
            </c:spPr>
            <c:extLst>
              <c:ext xmlns:c16="http://schemas.microsoft.com/office/drawing/2014/chart" uri="{C3380CC4-5D6E-409C-BE32-E72D297353CC}">
                <c16:uniqueId val="{0000000A-CCC1-40F4-BAD8-C6CF70A5E013}"/>
              </c:ext>
            </c:extLst>
          </c:dPt>
          <c:cat>
            <c:multiLvlStrRef>
              <c:f>Tabelle1!$A$4:$B$28</c:f>
              <c:multiLvlStrCache>
                <c:ptCount val="25"/>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lvl>
                <c:lvl>
                  <c:pt idx="0">
                    <c:v>23.12.16</c:v>
                  </c:pt>
                  <c:pt idx="5">
                    <c:v>24.12.16</c:v>
                  </c:pt>
                  <c:pt idx="10">
                    <c:v>27.12.16</c:v>
                  </c:pt>
                  <c:pt idx="15">
                    <c:v>28.12.16</c:v>
                  </c:pt>
                  <c:pt idx="20">
                    <c:v>29.12.16</c:v>
                  </c:pt>
                </c:lvl>
              </c:multiLvlStrCache>
            </c:multiLvlStrRef>
          </c:cat>
          <c:val>
            <c:numRef>
              <c:f>Tabelle1!$C$4:$C$28</c:f>
              <c:numCache>
                <c:formatCode>General</c:formatCode>
                <c:ptCount val="25"/>
                <c:pt idx="0">
                  <c:v>26</c:v>
                </c:pt>
                <c:pt idx="1">
                  <c:v>10</c:v>
                </c:pt>
                <c:pt idx="2">
                  <c:v>33</c:v>
                </c:pt>
                <c:pt idx="3">
                  <c:v>5</c:v>
                </c:pt>
                <c:pt idx="4">
                  <c:v>9</c:v>
                </c:pt>
                <c:pt idx="5">
                  <c:v>27</c:v>
                </c:pt>
                <c:pt idx="6">
                  <c:v>8</c:v>
                </c:pt>
                <c:pt idx="7">
                  <c:v>38</c:v>
                </c:pt>
                <c:pt idx="8">
                  <c:v>9</c:v>
                </c:pt>
                <c:pt idx="9">
                  <c:v>9</c:v>
                </c:pt>
                <c:pt idx="10">
                  <c:v>2</c:v>
                </c:pt>
                <c:pt idx="11">
                  <c:v>2</c:v>
                </c:pt>
                <c:pt idx="12">
                  <c:v>25</c:v>
                </c:pt>
                <c:pt idx="13">
                  <c:v>3</c:v>
                </c:pt>
                <c:pt idx="14">
                  <c:v>2</c:v>
                </c:pt>
                <c:pt idx="15">
                  <c:v>24</c:v>
                </c:pt>
                <c:pt idx="16">
                  <c:v>5</c:v>
                </c:pt>
                <c:pt idx="17">
                  <c:v>34</c:v>
                </c:pt>
                <c:pt idx="18">
                  <c:v>2</c:v>
                </c:pt>
                <c:pt idx="19">
                  <c:v>5</c:v>
                </c:pt>
                <c:pt idx="20">
                  <c:v>38</c:v>
                </c:pt>
                <c:pt idx="21">
                  <c:v>8</c:v>
                </c:pt>
                <c:pt idx="22">
                  <c:v>43</c:v>
                </c:pt>
                <c:pt idx="23">
                  <c:v>5</c:v>
                </c:pt>
                <c:pt idx="24">
                  <c:v>5</c:v>
                </c:pt>
              </c:numCache>
            </c:numRef>
          </c:val>
          <c:extLst>
            <c:ext xmlns:c16="http://schemas.microsoft.com/office/drawing/2014/chart" uri="{C3380CC4-5D6E-409C-BE32-E72D297353CC}">
              <c16:uniqueId val="{00000000-CCC1-40F4-BAD8-C6CF70A5E013}"/>
            </c:ext>
          </c:extLst>
        </c:ser>
        <c:dLbls>
          <c:showLegendKey val="0"/>
          <c:showVal val="0"/>
          <c:showCatName val="0"/>
          <c:showSerName val="0"/>
          <c:showPercent val="0"/>
          <c:showBubbleSize val="0"/>
        </c:dLbls>
        <c:gapWidth val="219"/>
        <c:overlap val="-27"/>
        <c:axId val="1500785295"/>
        <c:axId val="1433296111"/>
      </c:barChart>
      <c:catAx>
        <c:axId val="1500785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33296111"/>
        <c:crosses val="autoZero"/>
        <c:auto val="1"/>
        <c:lblAlgn val="ctr"/>
        <c:lblOffset val="100"/>
        <c:noMultiLvlLbl val="0"/>
      </c:catAx>
      <c:valAx>
        <c:axId val="14332961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5007852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pivotSource>
    <c:name>[newyear.xlsx]Tabelle3!PivotTable34</c:name>
    <c:fmtId val="5"/>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r>
              <a:rPr lang="de-DE" sz="1800" b="0" i="0" baseline="0" dirty="0">
                <a:effectLst/>
              </a:rPr>
              <a:t>Anzahl an Items</a:t>
            </a:r>
            <a:endParaRPr lang="de-DE" dirty="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1A5E8F">
                  <a:lumMod val="65000"/>
                  <a:lumOff val="35000"/>
                </a:srgbClr>
              </a:solidFill>
              <a:latin typeface="+mn-lt"/>
              <a:ea typeface="+mn-ea"/>
              <a:cs typeface="+mn-cs"/>
            </a:defRPr>
          </a:pPr>
          <a:endParaRPr lang="de-DE"/>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belle3!$B$3</c:f>
              <c:strCache>
                <c:ptCount val="1"/>
                <c:pt idx="0">
                  <c:v>Ergebnis</c:v>
                </c:pt>
              </c:strCache>
            </c:strRef>
          </c:tx>
          <c:spPr>
            <a:solidFill>
              <a:schemeClr val="accent1"/>
            </a:solidFill>
            <a:ln>
              <a:noFill/>
            </a:ln>
            <a:effectLst/>
          </c:spPr>
          <c:invertIfNegative val="0"/>
          <c:dPt>
            <c:idx val="1"/>
            <c:invertIfNegative val="0"/>
            <c:bubble3D val="0"/>
            <c:spPr>
              <a:solidFill>
                <a:srgbClr val="00CFCC"/>
              </a:solidFill>
              <a:ln>
                <a:noFill/>
              </a:ln>
              <a:effectLst/>
            </c:spPr>
            <c:extLst>
              <c:ext xmlns:c16="http://schemas.microsoft.com/office/drawing/2014/chart" uri="{C3380CC4-5D6E-409C-BE32-E72D297353CC}">
                <c16:uniqueId val="{00000001-61BA-4F1F-9F8C-6F7B905D5C55}"/>
              </c:ext>
            </c:extLst>
          </c:dPt>
          <c:dPt>
            <c:idx val="2"/>
            <c:invertIfNegative val="0"/>
            <c:bubble3D val="0"/>
            <c:spPr>
              <a:solidFill>
                <a:schemeClr val="accent3"/>
              </a:solidFill>
              <a:ln>
                <a:noFill/>
              </a:ln>
              <a:effectLst/>
            </c:spPr>
            <c:extLst>
              <c:ext xmlns:c16="http://schemas.microsoft.com/office/drawing/2014/chart" uri="{C3380CC4-5D6E-409C-BE32-E72D297353CC}">
                <c16:uniqueId val="{00000010-61BA-4F1F-9F8C-6F7B905D5C5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B-61BA-4F1F-9F8C-6F7B905D5C55}"/>
              </c:ext>
            </c:extLst>
          </c:dPt>
          <c:dPt>
            <c:idx val="4"/>
            <c:invertIfNegative val="0"/>
            <c:bubble3D val="0"/>
            <c:spPr>
              <a:solidFill>
                <a:srgbClr val="5EFFFD"/>
              </a:solidFill>
              <a:ln>
                <a:noFill/>
              </a:ln>
              <a:effectLst/>
            </c:spPr>
            <c:extLst>
              <c:ext xmlns:c16="http://schemas.microsoft.com/office/drawing/2014/chart" uri="{C3380CC4-5D6E-409C-BE32-E72D297353CC}">
                <c16:uniqueId val="{00000006-61BA-4F1F-9F8C-6F7B905D5C55}"/>
              </c:ext>
            </c:extLst>
          </c:dPt>
          <c:dPt>
            <c:idx val="6"/>
            <c:invertIfNegative val="0"/>
            <c:bubble3D val="0"/>
            <c:spPr>
              <a:solidFill>
                <a:srgbClr val="00CFCC"/>
              </a:solidFill>
              <a:ln>
                <a:noFill/>
              </a:ln>
              <a:effectLst/>
            </c:spPr>
            <c:extLst>
              <c:ext xmlns:c16="http://schemas.microsoft.com/office/drawing/2014/chart" uri="{C3380CC4-5D6E-409C-BE32-E72D297353CC}">
                <c16:uniqueId val="{00000002-61BA-4F1F-9F8C-6F7B905D5C55}"/>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1BA-4F1F-9F8C-6F7B905D5C55}"/>
              </c:ext>
            </c:extLst>
          </c:dPt>
          <c:dPt>
            <c:idx val="8"/>
            <c:invertIfNegative val="0"/>
            <c:bubble3D val="0"/>
            <c:spPr>
              <a:solidFill>
                <a:schemeClr val="accent4"/>
              </a:solidFill>
              <a:ln>
                <a:noFill/>
              </a:ln>
              <a:effectLst/>
            </c:spPr>
            <c:extLst>
              <c:ext xmlns:c16="http://schemas.microsoft.com/office/drawing/2014/chart" uri="{C3380CC4-5D6E-409C-BE32-E72D297353CC}">
                <c16:uniqueId val="{0000000C-61BA-4F1F-9F8C-6F7B905D5C55}"/>
              </c:ext>
            </c:extLst>
          </c:dPt>
          <c:dPt>
            <c:idx val="9"/>
            <c:invertIfNegative val="0"/>
            <c:bubble3D val="0"/>
            <c:spPr>
              <a:solidFill>
                <a:srgbClr val="5EFFFD"/>
              </a:solidFill>
              <a:ln>
                <a:noFill/>
              </a:ln>
              <a:effectLst/>
            </c:spPr>
            <c:extLst>
              <c:ext xmlns:c16="http://schemas.microsoft.com/office/drawing/2014/chart" uri="{C3380CC4-5D6E-409C-BE32-E72D297353CC}">
                <c16:uniqueId val="{00000007-61BA-4F1F-9F8C-6F7B905D5C55}"/>
              </c:ext>
            </c:extLst>
          </c:dPt>
          <c:dPt>
            <c:idx val="16"/>
            <c:invertIfNegative val="0"/>
            <c:bubble3D val="0"/>
            <c:spPr>
              <a:solidFill>
                <a:srgbClr val="00CFCC"/>
              </a:solidFill>
              <a:ln>
                <a:noFill/>
              </a:ln>
              <a:effectLst/>
            </c:spPr>
            <c:extLst>
              <c:ext xmlns:c16="http://schemas.microsoft.com/office/drawing/2014/chart" uri="{C3380CC4-5D6E-409C-BE32-E72D297353CC}">
                <c16:uniqueId val="{00000003-61BA-4F1F-9F8C-6F7B905D5C55}"/>
              </c:ext>
            </c:extLst>
          </c:dPt>
          <c:dPt>
            <c:idx val="17"/>
            <c:invertIfNegative val="0"/>
            <c:bubble3D val="0"/>
            <c:spPr>
              <a:solidFill>
                <a:schemeClr val="accent3"/>
              </a:solidFill>
              <a:ln>
                <a:noFill/>
              </a:ln>
              <a:effectLst/>
            </c:spPr>
            <c:extLst>
              <c:ext xmlns:c16="http://schemas.microsoft.com/office/drawing/2014/chart" uri="{C3380CC4-5D6E-409C-BE32-E72D297353CC}">
                <c16:uniqueId val="{00000012-61BA-4F1F-9F8C-6F7B905D5C55}"/>
              </c:ext>
            </c:extLst>
          </c:dPt>
          <c:dPt>
            <c:idx val="18"/>
            <c:invertIfNegative val="0"/>
            <c:bubble3D val="0"/>
            <c:spPr>
              <a:solidFill>
                <a:schemeClr val="accent4"/>
              </a:solidFill>
              <a:ln>
                <a:noFill/>
              </a:ln>
              <a:effectLst/>
            </c:spPr>
            <c:extLst>
              <c:ext xmlns:c16="http://schemas.microsoft.com/office/drawing/2014/chart" uri="{C3380CC4-5D6E-409C-BE32-E72D297353CC}">
                <c16:uniqueId val="{0000000D-61BA-4F1F-9F8C-6F7B905D5C55}"/>
              </c:ext>
            </c:extLst>
          </c:dPt>
          <c:dPt>
            <c:idx val="19"/>
            <c:invertIfNegative val="0"/>
            <c:bubble3D val="0"/>
            <c:spPr>
              <a:solidFill>
                <a:srgbClr val="5EFFFD"/>
              </a:solidFill>
              <a:ln>
                <a:noFill/>
              </a:ln>
              <a:effectLst/>
            </c:spPr>
            <c:extLst>
              <c:ext xmlns:c16="http://schemas.microsoft.com/office/drawing/2014/chart" uri="{C3380CC4-5D6E-409C-BE32-E72D297353CC}">
                <c16:uniqueId val="{00000008-61BA-4F1F-9F8C-6F7B905D5C55}"/>
              </c:ext>
            </c:extLst>
          </c:dPt>
          <c:dPt>
            <c:idx val="21"/>
            <c:invertIfNegative val="0"/>
            <c:bubble3D val="0"/>
            <c:spPr>
              <a:solidFill>
                <a:srgbClr val="00CFCC"/>
              </a:solidFill>
              <a:ln>
                <a:noFill/>
              </a:ln>
              <a:effectLst/>
            </c:spPr>
            <c:extLst>
              <c:ext xmlns:c16="http://schemas.microsoft.com/office/drawing/2014/chart" uri="{C3380CC4-5D6E-409C-BE32-E72D297353CC}">
                <c16:uniqueId val="{00000004-61BA-4F1F-9F8C-6F7B905D5C55}"/>
              </c:ext>
            </c:extLst>
          </c:dPt>
          <c:dPt>
            <c:idx val="22"/>
            <c:invertIfNegative val="0"/>
            <c:bubble3D val="0"/>
            <c:spPr>
              <a:solidFill>
                <a:schemeClr val="accent3"/>
              </a:solidFill>
              <a:ln>
                <a:noFill/>
              </a:ln>
              <a:effectLst/>
            </c:spPr>
            <c:extLst>
              <c:ext xmlns:c16="http://schemas.microsoft.com/office/drawing/2014/chart" uri="{C3380CC4-5D6E-409C-BE32-E72D297353CC}">
                <c16:uniqueId val="{00000013-61BA-4F1F-9F8C-6F7B905D5C55}"/>
              </c:ext>
            </c:extLst>
          </c:dPt>
          <c:dPt>
            <c:idx val="23"/>
            <c:invertIfNegative val="0"/>
            <c:bubble3D val="0"/>
            <c:spPr>
              <a:solidFill>
                <a:schemeClr val="accent4"/>
              </a:solidFill>
              <a:ln>
                <a:noFill/>
              </a:ln>
              <a:effectLst/>
            </c:spPr>
            <c:extLst>
              <c:ext xmlns:c16="http://schemas.microsoft.com/office/drawing/2014/chart" uri="{C3380CC4-5D6E-409C-BE32-E72D297353CC}">
                <c16:uniqueId val="{0000000E-61BA-4F1F-9F8C-6F7B905D5C55}"/>
              </c:ext>
            </c:extLst>
          </c:dPt>
          <c:dPt>
            <c:idx val="24"/>
            <c:invertIfNegative val="0"/>
            <c:bubble3D val="0"/>
            <c:spPr>
              <a:solidFill>
                <a:srgbClr val="5EFFFD"/>
              </a:solidFill>
              <a:ln>
                <a:noFill/>
              </a:ln>
              <a:effectLst/>
            </c:spPr>
            <c:extLst>
              <c:ext xmlns:c16="http://schemas.microsoft.com/office/drawing/2014/chart" uri="{C3380CC4-5D6E-409C-BE32-E72D297353CC}">
                <c16:uniqueId val="{00000009-61BA-4F1F-9F8C-6F7B905D5C55}"/>
              </c:ext>
            </c:extLst>
          </c:dPt>
          <c:dPt>
            <c:idx val="26"/>
            <c:invertIfNegative val="0"/>
            <c:bubble3D val="0"/>
            <c:spPr>
              <a:solidFill>
                <a:srgbClr val="00CFCC"/>
              </a:solidFill>
              <a:ln>
                <a:noFill/>
              </a:ln>
              <a:effectLst/>
            </c:spPr>
            <c:extLst>
              <c:ext xmlns:c16="http://schemas.microsoft.com/office/drawing/2014/chart" uri="{C3380CC4-5D6E-409C-BE32-E72D297353CC}">
                <c16:uniqueId val="{00000005-61BA-4F1F-9F8C-6F7B905D5C55}"/>
              </c:ext>
            </c:extLst>
          </c:dPt>
          <c:dPt>
            <c:idx val="27"/>
            <c:invertIfNegative val="0"/>
            <c:bubble3D val="0"/>
            <c:spPr>
              <a:solidFill>
                <a:schemeClr val="accent3"/>
              </a:solidFill>
              <a:ln>
                <a:noFill/>
              </a:ln>
              <a:effectLst/>
            </c:spPr>
            <c:extLst>
              <c:ext xmlns:c16="http://schemas.microsoft.com/office/drawing/2014/chart" uri="{C3380CC4-5D6E-409C-BE32-E72D297353CC}">
                <c16:uniqueId val="{00000014-61BA-4F1F-9F8C-6F7B905D5C55}"/>
              </c:ext>
            </c:extLst>
          </c:dPt>
          <c:dPt>
            <c:idx val="28"/>
            <c:invertIfNegative val="0"/>
            <c:bubble3D val="0"/>
            <c:spPr>
              <a:solidFill>
                <a:schemeClr val="accent4"/>
              </a:solidFill>
              <a:ln>
                <a:noFill/>
              </a:ln>
              <a:effectLst/>
            </c:spPr>
            <c:extLst>
              <c:ext xmlns:c16="http://schemas.microsoft.com/office/drawing/2014/chart" uri="{C3380CC4-5D6E-409C-BE32-E72D297353CC}">
                <c16:uniqueId val="{0000000F-61BA-4F1F-9F8C-6F7B905D5C55}"/>
              </c:ext>
            </c:extLst>
          </c:dPt>
          <c:dPt>
            <c:idx val="29"/>
            <c:invertIfNegative val="0"/>
            <c:bubble3D val="0"/>
            <c:spPr>
              <a:solidFill>
                <a:srgbClr val="5EFFFD"/>
              </a:solidFill>
              <a:ln>
                <a:noFill/>
              </a:ln>
              <a:effectLst/>
            </c:spPr>
            <c:extLst>
              <c:ext xmlns:c16="http://schemas.microsoft.com/office/drawing/2014/chart" uri="{C3380CC4-5D6E-409C-BE32-E72D297353CC}">
                <c16:uniqueId val="{0000000A-61BA-4F1F-9F8C-6F7B905D5C55}"/>
              </c:ext>
            </c:extLst>
          </c:dPt>
          <c:cat>
            <c:multiLvlStrRef>
              <c:f>Tabelle3!$A$4:$A$40</c:f>
              <c:multiLvlStrCache>
                <c:ptCount val="30"/>
                <c:lvl>
                  <c:pt idx="0">
                    <c:v>Bread</c:v>
                  </c:pt>
                  <c:pt idx="1">
                    <c:v>Cake</c:v>
                  </c:pt>
                  <c:pt idx="2">
                    <c:v>Coffee</c:v>
                  </c:pt>
                  <c:pt idx="3">
                    <c:v>Pastry</c:v>
                  </c:pt>
                  <c:pt idx="4">
                    <c:v>Tea</c:v>
                  </c:pt>
                  <c:pt idx="5">
                    <c:v>Bread</c:v>
                  </c:pt>
                  <c:pt idx="6">
                    <c:v>Cake</c:v>
                  </c:pt>
                  <c:pt idx="7">
                    <c:v>Coffee</c:v>
                  </c:pt>
                  <c:pt idx="8">
                    <c:v>Pastry</c:v>
                  </c:pt>
                  <c:pt idx="9">
                    <c:v>Tea</c:v>
                  </c:pt>
                  <c:pt idx="10">
                    <c:v>Bread</c:v>
                  </c:pt>
                  <c:pt idx="11">
                    <c:v>Cake</c:v>
                  </c:pt>
                  <c:pt idx="12">
                    <c:v>Coffee</c:v>
                  </c:pt>
                  <c:pt idx="13">
                    <c:v>Pastry</c:v>
                  </c:pt>
                  <c:pt idx="14">
                    <c:v>Tea</c:v>
                  </c:pt>
                  <c:pt idx="15">
                    <c:v>Bread</c:v>
                  </c:pt>
                  <c:pt idx="16">
                    <c:v>Cake</c:v>
                  </c:pt>
                  <c:pt idx="17">
                    <c:v>Coffee</c:v>
                  </c:pt>
                  <c:pt idx="18">
                    <c:v>Pastry</c:v>
                  </c:pt>
                  <c:pt idx="19">
                    <c:v>Tea</c:v>
                  </c:pt>
                  <c:pt idx="20">
                    <c:v>Bread</c:v>
                  </c:pt>
                  <c:pt idx="21">
                    <c:v>Cake</c:v>
                  </c:pt>
                  <c:pt idx="22">
                    <c:v>Coffee</c:v>
                  </c:pt>
                  <c:pt idx="23">
                    <c:v>Pastry</c:v>
                  </c:pt>
                  <c:pt idx="24">
                    <c:v>Tea</c:v>
                  </c:pt>
                  <c:pt idx="25">
                    <c:v>Bread</c:v>
                  </c:pt>
                  <c:pt idx="26">
                    <c:v>Cake</c:v>
                  </c:pt>
                  <c:pt idx="27">
                    <c:v>Coffee</c:v>
                  </c:pt>
                  <c:pt idx="28">
                    <c:v>Pastry</c:v>
                  </c:pt>
                  <c:pt idx="29">
                    <c:v>Tea</c:v>
                  </c:pt>
                </c:lvl>
                <c:lvl>
                  <c:pt idx="0">
                    <c:v>30.12.16</c:v>
                  </c:pt>
                  <c:pt idx="5">
                    <c:v>31.12.16</c:v>
                  </c:pt>
                  <c:pt idx="10">
                    <c:v>01.01.17</c:v>
                  </c:pt>
                  <c:pt idx="15">
                    <c:v>02.01.17</c:v>
                  </c:pt>
                  <c:pt idx="20">
                    <c:v>03.01.17</c:v>
                  </c:pt>
                  <c:pt idx="25">
                    <c:v>04.01.17</c:v>
                  </c:pt>
                </c:lvl>
              </c:multiLvlStrCache>
            </c:multiLvlStrRef>
          </c:cat>
          <c:val>
            <c:numRef>
              <c:f>Tabelle3!$B$4:$B$40</c:f>
              <c:numCache>
                <c:formatCode>General</c:formatCode>
                <c:ptCount val="30"/>
                <c:pt idx="0">
                  <c:v>22</c:v>
                </c:pt>
                <c:pt idx="1">
                  <c:v>4</c:v>
                </c:pt>
                <c:pt idx="2">
                  <c:v>29</c:v>
                </c:pt>
                <c:pt idx="3">
                  <c:v>3</c:v>
                </c:pt>
                <c:pt idx="4">
                  <c:v>9</c:v>
                </c:pt>
                <c:pt idx="5">
                  <c:v>26</c:v>
                </c:pt>
                <c:pt idx="6">
                  <c:v>3</c:v>
                </c:pt>
                <c:pt idx="7">
                  <c:v>27</c:v>
                </c:pt>
                <c:pt idx="8">
                  <c:v>3</c:v>
                </c:pt>
                <c:pt idx="9">
                  <c:v>12</c:v>
                </c:pt>
                <c:pt idx="10">
                  <c:v>1</c:v>
                </c:pt>
                <c:pt idx="15">
                  <c:v>33</c:v>
                </c:pt>
                <c:pt idx="16">
                  <c:v>9</c:v>
                </c:pt>
                <c:pt idx="17">
                  <c:v>33</c:v>
                </c:pt>
                <c:pt idx="18">
                  <c:v>5</c:v>
                </c:pt>
                <c:pt idx="19">
                  <c:v>6</c:v>
                </c:pt>
                <c:pt idx="20">
                  <c:v>14</c:v>
                </c:pt>
                <c:pt idx="21">
                  <c:v>6</c:v>
                </c:pt>
                <c:pt idx="22">
                  <c:v>23</c:v>
                </c:pt>
                <c:pt idx="23">
                  <c:v>6</c:v>
                </c:pt>
                <c:pt idx="24">
                  <c:v>10</c:v>
                </c:pt>
                <c:pt idx="25">
                  <c:v>36</c:v>
                </c:pt>
                <c:pt idx="26">
                  <c:v>10</c:v>
                </c:pt>
                <c:pt idx="27">
                  <c:v>39</c:v>
                </c:pt>
                <c:pt idx="28">
                  <c:v>6</c:v>
                </c:pt>
                <c:pt idx="29">
                  <c:v>5</c:v>
                </c:pt>
              </c:numCache>
            </c:numRef>
          </c:val>
          <c:extLst>
            <c:ext xmlns:c16="http://schemas.microsoft.com/office/drawing/2014/chart" uri="{C3380CC4-5D6E-409C-BE32-E72D297353CC}">
              <c16:uniqueId val="{00000000-61BA-4F1F-9F8C-6F7B905D5C55}"/>
            </c:ext>
          </c:extLst>
        </c:ser>
        <c:dLbls>
          <c:showLegendKey val="0"/>
          <c:showVal val="0"/>
          <c:showCatName val="0"/>
          <c:showSerName val="0"/>
          <c:showPercent val="0"/>
          <c:showBubbleSize val="0"/>
        </c:dLbls>
        <c:gapWidth val="219"/>
        <c:overlap val="-27"/>
        <c:axId val="1603083039"/>
        <c:axId val="1423957519"/>
      </c:barChart>
      <c:catAx>
        <c:axId val="160308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423957519"/>
        <c:crosses val="autoZero"/>
        <c:auto val="1"/>
        <c:lblAlgn val="ctr"/>
        <c:lblOffset val="100"/>
        <c:noMultiLvlLbl val="0"/>
      </c:catAx>
      <c:valAx>
        <c:axId val="1423957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030830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abelle1!$A$2:$A$23</cx:f>
        <cx:lvl ptCount="22"/>
      </cx:strDim>
      <cx:numDim type="val">
        <cx:f>Tabelle1!$B$2:$B$9466</cx:f>
        <cx:lvl ptCount="9465" formatCode="#,0">
          <cx:pt idx="0">1</cx:pt>
          <cx:pt idx="1">2</cx:pt>
          <cx:pt idx="2">3</cx:pt>
          <cx:pt idx="3">1</cx:pt>
          <cx:pt idx="4">3</cx:pt>
          <cx:pt idx="5">3</cx:pt>
          <cx:pt idx="6">4</cx:pt>
          <cx:pt idx="7">2</cx:pt>
          <cx:pt idx="8">2</cx:pt>
          <cx:pt idx="9">2</cx:pt>
          <cx:pt idx="10">3</cx:pt>
          <cx:pt idx="11">5</cx:pt>
          <cx:pt idx="12">3</cx:pt>
          <cx:pt idx="13">3</cx:pt>
          <cx:pt idx="14">2</cx:pt>
          <cx:pt idx="15">3</cx:pt>
          <cx:pt idx="16">1</cx:pt>
          <cx:pt idx="17">1</cx:pt>
          <cx:pt idx="18">2</cx:pt>
          <cx:pt idx="19">2</cx:pt>
          <cx:pt idx="20">4</cx:pt>
          <cx:pt idx="21">1</cx:pt>
          <cx:pt idx="22">2</cx:pt>
          <cx:pt idx="23">1</cx:pt>
          <cx:pt idx="24">1</cx:pt>
          <cx:pt idx="25">1</cx:pt>
          <cx:pt idx="26">1</cx:pt>
          <cx:pt idx="27">2</cx:pt>
          <cx:pt idx="28">2</cx:pt>
          <cx:pt idx="29">1</cx:pt>
          <cx:pt idx="30">1</cx:pt>
          <cx:pt idx="31">2</cx:pt>
          <cx:pt idx="32">1</cx:pt>
          <cx:pt idx="33">2</cx:pt>
          <cx:pt idx="34">2</cx:pt>
          <cx:pt idx="35">2</cx:pt>
          <cx:pt idx="36">2</cx:pt>
          <cx:pt idx="37">2</cx:pt>
          <cx:pt idx="38">1</cx:pt>
          <cx:pt idx="39">4</cx:pt>
          <cx:pt idx="40">1</cx:pt>
          <cx:pt idx="41">2</cx:pt>
          <cx:pt idx="42">2</cx:pt>
          <cx:pt idx="43">2</cx:pt>
          <cx:pt idx="44">3</cx:pt>
          <cx:pt idx="45">1</cx:pt>
          <cx:pt idx="46">5</cx:pt>
          <cx:pt idx="47">1</cx:pt>
          <cx:pt idx="48">3</cx:pt>
          <cx:pt idx="49">2</cx:pt>
          <cx:pt idx="50">1</cx:pt>
          <cx:pt idx="51">1</cx:pt>
          <cx:pt idx="52">1</cx:pt>
          <cx:pt idx="53">4</cx:pt>
          <cx:pt idx="54">2</cx:pt>
          <cx:pt idx="55">1</cx:pt>
          <cx:pt idx="56">4</cx:pt>
          <cx:pt idx="57">1</cx:pt>
          <cx:pt idx="58">4</cx:pt>
          <cx:pt idx="59">1</cx:pt>
          <cx:pt idx="60">6</cx:pt>
          <cx:pt idx="61">1</cx:pt>
          <cx:pt idx="62">1</cx:pt>
          <cx:pt idx="63">4</cx:pt>
          <cx:pt idx="64">3</cx:pt>
          <cx:pt idx="65">3</cx:pt>
          <cx:pt idx="66">5</cx:pt>
          <cx:pt idx="67">3</cx:pt>
          <cx:pt idx="68">1</cx:pt>
          <cx:pt idx="69">1</cx:pt>
          <cx:pt idx="70">2</cx:pt>
          <cx:pt idx="71">1</cx:pt>
          <cx:pt idx="72">2</cx:pt>
          <cx:pt idx="73">2</cx:pt>
          <cx:pt idx="74">1</cx:pt>
          <cx:pt idx="75">1</cx:pt>
          <cx:pt idx="76">1</cx:pt>
          <cx:pt idx="77">4</cx:pt>
          <cx:pt idx="78">3</cx:pt>
          <cx:pt idx="79">2</cx:pt>
          <cx:pt idx="80">2</cx:pt>
          <cx:pt idx="81">2</cx:pt>
          <cx:pt idx="82">1</cx:pt>
          <cx:pt idx="83">4</cx:pt>
          <cx:pt idx="84">1</cx:pt>
          <cx:pt idx="85">1</cx:pt>
          <cx:pt idx="86">3</cx:pt>
          <cx:pt idx="87">1</cx:pt>
          <cx:pt idx="88">2</cx:pt>
          <cx:pt idx="89">1</cx:pt>
          <cx:pt idx="90">1</cx:pt>
          <cx:pt idx="91">2</cx:pt>
          <cx:pt idx="92">2</cx:pt>
          <cx:pt idx="93">3</cx:pt>
          <cx:pt idx="94">4</cx:pt>
          <cx:pt idx="95">3</cx:pt>
          <cx:pt idx="96">1</cx:pt>
          <cx:pt idx="97">4</cx:pt>
          <cx:pt idx="98">1</cx:pt>
          <cx:pt idx="99">2</cx:pt>
          <cx:pt idx="100">1</cx:pt>
          <cx:pt idx="101">1</cx:pt>
          <cx:pt idx="102">5</cx:pt>
          <cx:pt idx="103">3</cx:pt>
          <cx:pt idx="104">4</cx:pt>
          <cx:pt idx="105">2</cx:pt>
          <cx:pt idx="106">2</cx:pt>
          <cx:pt idx="107">3</cx:pt>
          <cx:pt idx="108">1</cx:pt>
          <cx:pt idx="109">1</cx:pt>
          <cx:pt idx="110">1</cx:pt>
          <cx:pt idx="111">2</cx:pt>
          <cx:pt idx="112">1</cx:pt>
          <cx:pt idx="113">1</cx:pt>
          <cx:pt idx="114">1</cx:pt>
          <cx:pt idx="115">4</cx:pt>
          <cx:pt idx="116">4</cx:pt>
          <cx:pt idx="117">3</cx:pt>
          <cx:pt idx="118">1</cx:pt>
          <cx:pt idx="119">2</cx:pt>
          <cx:pt idx="120">1</cx:pt>
          <cx:pt idx="121">4</cx:pt>
          <cx:pt idx="122">2</cx:pt>
          <cx:pt idx="123">1</cx:pt>
          <cx:pt idx="124">2</cx:pt>
          <cx:pt idx="125">1</cx:pt>
          <cx:pt idx="126">3</cx:pt>
          <cx:pt idx="127">3</cx:pt>
          <cx:pt idx="128">3</cx:pt>
          <cx:pt idx="129">2</cx:pt>
          <cx:pt idx="130">4</cx:pt>
          <cx:pt idx="131">2</cx:pt>
          <cx:pt idx="132">3</cx:pt>
          <cx:pt idx="133">1</cx:pt>
          <cx:pt idx="134">2</cx:pt>
          <cx:pt idx="135">1</cx:pt>
          <cx:pt idx="136">3</cx:pt>
          <cx:pt idx="137">3</cx:pt>
          <cx:pt idx="138">3</cx:pt>
          <cx:pt idx="139">1</cx:pt>
          <cx:pt idx="140">2</cx:pt>
          <cx:pt idx="141">1</cx:pt>
          <cx:pt idx="142">2</cx:pt>
          <cx:pt idx="143">3</cx:pt>
          <cx:pt idx="144">1</cx:pt>
          <cx:pt idx="145">2</cx:pt>
          <cx:pt idx="146">3</cx:pt>
          <cx:pt idx="147">1</cx:pt>
          <cx:pt idx="148">1</cx:pt>
          <cx:pt idx="149">2</cx:pt>
          <cx:pt idx="150">1</cx:pt>
          <cx:pt idx="151">4</cx:pt>
          <cx:pt idx="152">4</cx:pt>
          <cx:pt idx="153">3</cx:pt>
          <cx:pt idx="154">2</cx:pt>
          <cx:pt idx="155">2</cx:pt>
          <cx:pt idx="156">2</cx:pt>
          <cx:pt idx="157">3</cx:pt>
          <cx:pt idx="158">2</cx:pt>
          <cx:pt idx="159">1</cx:pt>
          <cx:pt idx="160">1</cx:pt>
          <cx:pt idx="161">2</cx:pt>
          <cx:pt idx="162">2</cx:pt>
          <cx:pt idx="163">1</cx:pt>
          <cx:pt idx="164">2</cx:pt>
          <cx:pt idx="165">4</cx:pt>
          <cx:pt idx="166">2</cx:pt>
          <cx:pt idx="167">1</cx:pt>
          <cx:pt idx="168">1</cx:pt>
          <cx:pt idx="169">2</cx:pt>
          <cx:pt idx="170">2</cx:pt>
          <cx:pt idx="171">2</cx:pt>
          <cx:pt idx="172">1</cx:pt>
          <cx:pt idx="173">1</cx:pt>
          <cx:pt idx="174">2</cx:pt>
          <cx:pt idx="175">2</cx:pt>
          <cx:pt idx="176">2</cx:pt>
          <cx:pt idx="177">2</cx:pt>
          <cx:pt idx="178">2</cx:pt>
          <cx:pt idx="179">3</cx:pt>
          <cx:pt idx="180">1</cx:pt>
          <cx:pt idx="181">2</cx:pt>
          <cx:pt idx="182">2</cx:pt>
          <cx:pt idx="183">2</cx:pt>
          <cx:pt idx="184">1</cx:pt>
          <cx:pt idx="185">1</cx:pt>
          <cx:pt idx="186">2</cx:pt>
          <cx:pt idx="187">3</cx:pt>
          <cx:pt idx="188">2</cx:pt>
          <cx:pt idx="189">1</cx:pt>
          <cx:pt idx="190">1</cx:pt>
          <cx:pt idx="191">2</cx:pt>
          <cx:pt idx="192">2</cx:pt>
          <cx:pt idx="193">3</cx:pt>
          <cx:pt idx="194">3</cx:pt>
          <cx:pt idx="195">2</cx:pt>
          <cx:pt idx="196">1</cx:pt>
          <cx:pt idx="197">1</cx:pt>
          <cx:pt idx="198">2</cx:pt>
          <cx:pt idx="199">2</cx:pt>
          <cx:pt idx="200">1</cx:pt>
          <cx:pt idx="201">2</cx:pt>
          <cx:pt idx="202">3</cx:pt>
          <cx:pt idx="203">3</cx:pt>
          <cx:pt idx="204">3</cx:pt>
          <cx:pt idx="205">1</cx:pt>
          <cx:pt idx="206">1</cx:pt>
          <cx:pt idx="207">1</cx:pt>
          <cx:pt idx="208">2</cx:pt>
          <cx:pt idx="209">3</cx:pt>
          <cx:pt idx="210">1</cx:pt>
          <cx:pt idx="211">3</cx:pt>
          <cx:pt idx="212">2</cx:pt>
          <cx:pt idx="213">2</cx:pt>
          <cx:pt idx="214">2</cx:pt>
          <cx:pt idx="215">1</cx:pt>
          <cx:pt idx="216">1</cx:pt>
          <cx:pt idx="217">2</cx:pt>
          <cx:pt idx="218">2</cx:pt>
          <cx:pt idx="219">1</cx:pt>
          <cx:pt idx="220">2</cx:pt>
          <cx:pt idx="221">1</cx:pt>
          <cx:pt idx="222">3</cx:pt>
          <cx:pt idx="223">1</cx:pt>
          <cx:pt idx="224">3</cx:pt>
          <cx:pt idx="225">1</cx:pt>
          <cx:pt idx="226">2</cx:pt>
          <cx:pt idx="227">1</cx:pt>
          <cx:pt idx="228">1</cx:pt>
          <cx:pt idx="229">3</cx:pt>
          <cx:pt idx="230">4</cx:pt>
          <cx:pt idx="231">2</cx:pt>
          <cx:pt idx="232">1</cx:pt>
          <cx:pt idx="233">1</cx:pt>
          <cx:pt idx="234">2</cx:pt>
          <cx:pt idx="235">4</cx:pt>
          <cx:pt idx="236">1</cx:pt>
          <cx:pt idx="237">1</cx:pt>
          <cx:pt idx="238">2</cx:pt>
          <cx:pt idx="239">3</cx:pt>
          <cx:pt idx="240">4</cx:pt>
          <cx:pt idx="241">3</cx:pt>
          <cx:pt idx="242">2</cx:pt>
          <cx:pt idx="243">2</cx:pt>
          <cx:pt idx="244">5</cx:pt>
          <cx:pt idx="245">3</cx:pt>
          <cx:pt idx="246">1</cx:pt>
          <cx:pt idx="247">1</cx:pt>
          <cx:pt idx="248">2</cx:pt>
          <cx:pt idx="249">2</cx:pt>
          <cx:pt idx="250">1</cx:pt>
          <cx:pt idx="251">1</cx:pt>
          <cx:pt idx="252">3</cx:pt>
          <cx:pt idx="253">2</cx:pt>
          <cx:pt idx="254">3</cx:pt>
          <cx:pt idx="255">2</cx:pt>
          <cx:pt idx="256">1</cx:pt>
          <cx:pt idx="257">1</cx:pt>
          <cx:pt idx="258">1</cx:pt>
          <cx:pt idx="259">3</cx:pt>
          <cx:pt idx="260">1</cx:pt>
          <cx:pt idx="261">2</cx:pt>
          <cx:pt idx="262">1</cx:pt>
          <cx:pt idx="263">2</cx:pt>
          <cx:pt idx="264">3</cx:pt>
          <cx:pt idx="265">2</cx:pt>
          <cx:pt idx="266">1</cx:pt>
          <cx:pt idx="267">2</cx:pt>
          <cx:pt idx="268">4</cx:pt>
          <cx:pt idx="269">1</cx:pt>
          <cx:pt idx="270">3</cx:pt>
          <cx:pt idx="271">1</cx:pt>
          <cx:pt idx="272">3</cx:pt>
          <cx:pt idx="273">1</cx:pt>
          <cx:pt idx="274">2</cx:pt>
          <cx:pt idx="275">1</cx:pt>
          <cx:pt idx="276">2</cx:pt>
          <cx:pt idx="277">2</cx:pt>
          <cx:pt idx="278">3</cx:pt>
          <cx:pt idx="279">2</cx:pt>
          <cx:pt idx="280">2</cx:pt>
          <cx:pt idx="281">3</cx:pt>
          <cx:pt idx="282">3</cx:pt>
          <cx:pt idx="283">2</cx:pt>
          <cx:pt idx="284">2</cx:pt>
          <cx:pt idx="285">1</cx:pt>
          <cx:pt idx="286">2</cx:pt>
          <cx:pt idx="287">1</cx:pt>
          <cx:pt idx="288">1</cx:pt>
          <cx:pt idx="289">1</cx:pt>
          <cx:pt idx="290">1</cx:pt>
          <cx:pt idx="291">3</cx:pt>
          <cx:pt idx="292">2</cx:pt>
          <cx:pt idx="293">4</cx:pt>
          <cx:pt idx="294">4</cx:pt>
          <cx:pt idx="295">1</cx:pt>
          <cx:pt idx="296">5</cx:pt>
          <cx:pt idx="297">3</cx:pt>
          <cx:pt idx="298">2</cx:pt>
          <cx:pt idx="299">4</cx:pt>
          <cx:pt idx="300">2</cx:pt>
          <cx:pt idx="301">1</cx:pt>
          <cx:pt idx="302">4</cx:pt>
          <cx:pt idx="303">1</cx:pt>
          <cx:pt idx="304">2</cx:pt>
          <cx:pt idx="305">2</cx:pt>
          <cx:pt idx="306">3</cx:pt>
          <cx:pt idx="307">2</cx:pt>
          <cx:pt idx="308">3</cx:pt>
          <cx:pt idx="309">1</cx:pt>
          <cx:pt idx="310">1</cx:pt>
          <cx:pt idx="311">1</cx:pt>
          <cx:pt idx="312">2</cx:pt>
          <cx:pt idx="313">3</cx:pt>
          <cx:pt idx="314">1</cx:pt>
          <cx:pt idx="315">1</cx:pt>
          <cx:pt idx="316">2</cx:pt>
          <cx:pt idx="317">1</cx:pt>
          <cx:pt idx="318">1</cx:pt>
          <cx:pt idx="319">2</cx:pt>
          <cx:pt idx="320">1</cx:pt>
          <cx:pt idx="321">1</cx:pt>
          <cx:pt idx="322">1</cx:pt>
          <cx:pt idx="323">2</cx:pt>
          <cx:pt idx="324">1</cx:pt>
          <cx:pt idx="325">1</cx:pt>
          <cx:pt idx="326">1</cx:pt>
          <cx:pt idx="327">2</cx:pt>
          <cx:pt idx="328">5</cx:pt>
          <cx:pt idx="329">2</cx:pt>
          <cx:pt idx="330">1</cx:pt>
          <cx:pt idx="331">2</cx:pt>
          <cx:pt idx="332">3</cx:pt>
          <cx:pt idx="333">2</cx:pt>
          <cx:pt idx="334">1</cx:pt>
          <cx:pt idx="335">2</cx:pt>
          <cx:pt idx="336">2</cx:pt>
          <cx:pt idx="337">2</cx:pt>
          <cx:pt idx="338">1</cx:pt>
          <cx:pt idx="339">2</cx:pt>
          <cx:pt idx="340">1</cx:pt>
          <cx:pt idx="341">5</cx:pt>
          <cx:pt idx="342">1</cx:pt>
          <cx:pt idx="343">3</cx:pt>
          <cx:pt idx="344">1</cx:pt>
          <cx:pt idx="345">3</cx:pt>
          <cx:pt idx="346">1</cx:pt>
          <cx:pt idx="347">1</cx:pt>
          <cx:pt idx="348">4</cx:pt>
          <cx:pt idx="349">2</cx:pt>
          <cx:pt idx="350">2</cx:pt>
          <cx:pt idx="351">2</cx:pt>
          <cx:pt idx="352">2</cx:pt>
          <cx:pt idx="353">1</cx:pt>
          <cx:pt idx="354">2</cx:pt>
          <cx:pt idx="355">3</cx:pt>
          <cx:pt idx="356">1</cx:pt>
          <cx:pt idx="357">3</cx:pt>
          <cx:pt idx="358">1</cx:pt>
          <cx:pt idx="359">1</cx:pt>
          <cx:pt idx="360">1</cx:pt>
          <cx:pt idx="361">2</cx:pt>
          <cx:pt idx="362">1</cx:pt>
          <cx:pt idx="363">1</cx:pt>
          <cx:pt idx="364">1</cx:pt>
          <cx:pt idx="365">4</cx:pt>
          <cx:pt idx="366">3</cx:pt>
          <cx:pt idx="367">1</cx:pt>
          <cx:pt idx="368">1</cx:pt>
          <cx:pt idx="369">4</cx:pt>
          <cx:pt idx="370">2</cx:pt>
          <cx:pt idx="371">4</cx:pt>
          <cx:pt idx="372">2</cx:pt>
          <cx:pt idx="373">2</cx:pt>
          <cx:pt idx="374">2</cx:pt>
          <cx:pt idx="375">2</cx:pt>
          <cx:pt idx="376">7</cx:pt>
          <cx:pt idx="377">1</cx:pt>
          <cx:pt idx="378">3</cx:pt>
          <cx:pt idx="379">2</cx:pt>
          <cx:pt idx="380">1</cx:pt>
          <cx:pt idx="381">1</cx:pt>
          <cx:pt idx="382">3</cx:pt>
          <cx:pt idx="383">2</cx:pt>
          <cx:pt idx="384">1</cx:pt>
          <cx:pt idx="385">3</cx:pt>
          <cx:pt idx="386">4</cx:pt>
          <cx:pt idx="387">2</cx:pt>
          <cx:pt idx="388">3</cx:pt>
          <cx:pt idx="389">1</cx:pt>
          <cx:pt idx="390">1</cx:pt>
          <cx:pt idx="391">3</cx:pt>
          <cx:pt idx="392">1</cx:pt>
          <cx:pt idx="393">2</cx:pt>
          <cx:pt idx="394">2</cx:pt>
          <cx:pt idx="395">3</cx:pt>
          <cx:pt idx="396">3</cx:pt>
          <cx:pt idx="397">3</cx:pt>
          <cx:pt idx="398">3</cx:pt>
          <cx:pt idx="399">2</cx:pt>
          <cx:pt idx="400">2</cx:pt>
          <cx:pt idx="401">2</cx:pt>
          <cx:pt idx="402">1</cx:pt>
          <cx:pt idx="403">1</cx:pt>
          <cx:pt idx="404">4</cx:pt>
          <cx:pt idx="405">1</cx:pt>
          <cx:pt idx="406">2</cx:pt>
          <cx:pt idx="407">2</cx:pt>
          <cx:pt idx="408">1</cx:pt>
          <cx:pt idx="409">1</cx:pt>
          <cx:pt idx="410">1</cx:pt>
          <cx:pt idx="411">1</cx:pt>
          <cx:pt idx="412">1</cx:pt>
          <cx:pt idx="413">5</cx:pt>
          <cx:pt idx="414">1</cx:pt>
          <cx:pt idx="415">5</cx:pt>
          <cx:pt idx="416">2</cx:pt>
          <cx:pt idx="417">1</cx:pt>
          <cx:pt idx="418">1</cx:pt>
          <cx:pt idx="419">1</cx:pt>
          <cx:pt idx="420">1</cx:pt>
          <cx:pt idx="421">1</cx:pt>
          <cx:pt idx="422">2</cx:pt>
          <cx:pt idx="423">1</cx:pt>
          <cx:pt idx="424">4</cx:pt>
          <cx:pt idx="425">1</cx:pt>
          <cx:pt idx="426">1</cx:pt>
          <cx:pt idx="427">1</cx:pt>
          <cx:pt idx="428">1</cx:pt>
          <cx:pt idx="429">1</cx:pt>
          <cx:pt idx="430">1</cx:pt>
          <cx:pt idx="431">3</cx:pt>
          <cx:pt idx="432">1</cx:pt>
          <cx:pt idx="433">1</cx:pt>
          <cx:pt idx="434">1</cx:pt>
          <cx:pt idx="435">2</cx:pt>
          <cx:pt idx="436">1</cx:pt>
          <cx:pt idx="437">3</cx:pt>
          <cx:pt idx="438">3</cx:pt>
          <cx:pt idx="439">2</cx:pt>
          <cx:pt idx="440">2</cx:pt>
          <cx:pt idx="441">1</cx:pt>
          <cx:pt idx="442">1</cx:pt>
          <cx:pt idx="443">2</cx:pt>
          <cx:pt idx="444">2</cx:pt>
          <cx:pt idx="445">2</cx:pt>
          <cx:pt idx="446">2</cx:pt>
          <cx:pt idx="447">2</cx:pt>
          <cx:pt idx="448">3</cx:pt>
          <cx:pt idx="449">2</cx:pt>
          <cx:pt idx="450">2</cx:pt>
          <cx:pt idx="451">1</cx:pt>
          <cx:pt idx="452">2</cx:pt>
          <cx:pt idx="453">1</cx:pt>
          <cx:pt idx="454">1</cx:pt>
          <cx:pt idx="455">4</cx:pt>
          <cx:pt idx="456">1</cx:pt>
          <cx:pt idx="457">1</cx:pt>
          <cx:pt idx="458">1</cx:pt>
          <cx:pt idx="459">2</cx:pt>
          <cx:pt idx="460">1</cx:pt>
          <cx:pt idx="461">1</cx:pt>
          <cx:pt idx="462">2</cx:pt>
          <cx:pt idx="463">1</cx:pt>
          <cx:pt idx="464">2</cx:pt>
          <cx:pt idx="465">2</cx:pt>
          <cx:pt idx="466">2</cx:pt>
          <cx:pt idx="467">2</cx:pt>
          <cx:pt idx="468">2</cx:pt>
          <cx:pt idx="469">1</cx:pt>
          <cx:pt idx="470">2</cx:pt>
          <cx:pt idx="471">4</cx:pt>
          <cx:pt idx="472">2</cx:pt>
          <cx:pt idx="473">2</cx:pt>
          <cx:pt idx="474">8</cx:pt>
          <cx:pt idx="475">1</cx:pt>
          <cx:pt idx="476">2</cx:pt>
          <cx:pt idx="477">2</cx:pt>
          <cx:pt idx="478">2</cx:pt>
          <cx:pt idx="479">4</cx:pt>
          <cx:pt idx="480">4</cx:pt>
          <cx:pt idx="481">3</cx:pt>
          <cx:pt idx="482">4</cx:pt>
          <cx:pt idx="483">4</cx:pt>
          <cx:pt idx="484">4</cx:pt>
          <cx:pt idx="485">2</cx:pt>
          <cx:pt idx="486">3</cx:pt>
          <cx:pt idx="487">2</cx:pt>
          <cx:pt idx="488">2</cx:pt>
          <cx:pt idx="489">4</cx:pt>
          <cx:pt idx="490">2</cx:pt>
          <cx:pt idx="491">2</cx:pt>
          <cx:pt idx="492">2</cx:pt>
          <cx:pt idx="493">2</cx:pt>
          <cx:pt idx="494">5</cx:pt>
          <cx:pt idx="495">2</cx:pt>
          <cx:pt idx="496">1</cx:pt>
          <cx:pt idx="497">3</cx:pt>
          <cx:pt idx="498">4</cx:pt>
          <cx:pt idx="499">2</cx:pt>
          <cx:pt idx="500">2</cx:pt>
          <cx:pt idx="501">2</cx:pt>
          <cx:pt idx="502">1</cx:pt>
          <cx:pt idx="503">3</cx:pt>
          <cx:pt idx="504">3</cx:pt>
          <cx:pt idx="505">1</cx:pt>
          <cx:pt idx="506">3</cx:pt>
          <cx:pt idx="507">1</cx:pt>
          <cx:pt idx="508">3</cx:pt>
          <cx:pt idx="509">3</cx:pt>
          <cx:pt idx="510">4</cx:pt>
          <cx:pt idx="511">1</cx:pt>
          <cx:pt idx="512">1</cx:pt>
          <cx:pt idx="513">2</cx:pt>
          <cx:pt idx="514">2</cx:pt>
          <cx:pt idx="515">6</cx:pt>
          <cx:pt idx="516">2</cx:pt>
          <cx:pt idx="517">4</cx:pt>
          <cx:pt idx="518">1</cx:pt>
          <cx:pt idx="519">2</cx:pt>
          <cx:pt idx="520">4</cx:pt>
          <cx:pt idx="521">3</cx:pt>
          <cx:pt idx="522">3</cx:pt>
          <cx:pt idx="523">1</cx:pt>
          <cx:pt idx="524">2</cx:pt>
          <cx:pt idx="525">3</cx:pt>
          <cx:pt idx="526">1</cx:pt>
          <cx:pt idx="527">1</cx:pt>
          <cx:pt idx="528">4</cx:pt>
          <cx:pt idx="529">1</cx:pt>
          <cx:pt idx="530">2</cx:pt>
          <cx:pt idx="531">1</cx:pt>
          <cx:pt idx="532">3</cx:pt>
          <cx:pt idx="533">3</cx:pt>
          <cx:pt idx="534">1</cx:pt>
          <cx:pt idx="535">2</cx:pt>
          <cx:pt idx="536">3</cx:pt>
          <cx:pt idx="537">2</cx:pt>
          <cx:pt idx="538">4</cx:pt>
          <cx:pt idx="539">1</cx:pt>
          <cx:pt idx="540">1</cx:pt>
          <cx:pt idx="541">5</cx:pt>
          <cx:pt idx="542">3</cx:pt>
          <cx:pt idx="543">2</cx:pt>
          <cx:pt idx="544">2</cx:pt>
          <cx:pt idx="545">2</cx:pt>
          <cx:pt idx="546">2</cx:pt>
          <cx:pt idx="547">5</cx:pt>
          <cx:pt idx="548">5</cx:pt>
          <cx:pt idx="549">3</cx:pt>
          <cx:pt idx="550">2</cx:pt>
          <cx:pt idx="551">2</cx:pt>
          <cx:pt idx="552">2</cx:pt>
          <cx:pt idx="553">2</cx:pt>
          <cx:pt idx="554">3</cx:pt>
          <cx:pt idx="555">3</cx:pt>
          <cx:pt idx="556">3</cx:pt>
          <cx:pt idx="557">1</cx:pt>
          <cx:pt idx="558">2</cx:pt>
          <cx:pt idx="559">3</cx:pt>
          <cx:pt idx="560">2</cx:pt>
          <cx:pt idx="561">1</cx:pt>
          <cx:pt idx="562">2</cx:pt>
          <cx:pt idx="563">1</cx:pt>
          <cx:pt idx="564">1</cx:pt>
          <cx:pt idx="565">2</cx:pt>
          <cx:pt idx="566">3</cx:pt>
          <cx:pt idx="567">4</cx:pt>
          <cx:pt idx="568">3</cx:pt>
          <cx:pt idx="569">2</cx:pt>
          <cx:pt idx="570">1</cx:pt>
          <cx:pt idx="571">1</cx:pt>
          <cx:pt idx="572">5</cx:pt>
          <cx:pt idx="573">1</cx:pt>
          <cx:pt idx="574">1</cx:pt>
          <cx:pt idx="575">3</cx:pt>
          <cx:pt idx="576">2</cx:pt>
          <cx:pt idx="577">2</cx:pt>
          <cx:pt idx="578">2</cx:pt>
          <cx:pt idx="579">1</cx:pt>
          <cx:pt idx="580">1</cx:pt>
          <cx:pt idx="581">4</cx:pt>
          <cx:pt idx="582">2</cx:pt>
          <cx:pt idx="583">3</cx:pt>
          <cx:pt idx="584">4</cx:pt>
          <cx:pt idx="585">2</cx:pt>
          <cx:pt idx="586">2</cx:pt>
          <cx:pt idx="587">1</cx:pt>
          <cx:pt idx="588">1</cx:pt>
          <cx:pt idx="589">1</cx:pt>
          <cx:pt idx="590">1</cx:pt>
          <cx:pt idx="591">4</cx:pt>
          <cx:pt idx="592">3</cx:pt>
          <cx:pt idx="593">1</cx:pt>
          <cx:pt idx="594">2</cx:pt>
          <cx:pt idx="595">1</cx:pt>
          <cx:pt idx="596">3</cx:pt>
          <cx:pt idx="597">2</cx:pt>
          <cx:pt idx="598">2</cx:pt>
          <cx:pt idx="599">1</cx:pt>
          <cx:pt idx="600">3</cx:pt>
          <cx:pt idx="601">1</cx:pt>
          <cx:pt idx="602">2</cx:pt>
          <cx:pt idx="603">4</cx:pt>
          <cx:pt idx="604">3</cx:pt>
          <cx:pt idx="605">2</cx:pt>
          <cx:pt idx="606">4</cx:pt>
          <cx:pt idx="607">1</cx:pt>
          <cx:pt idx="608">3</cx:pt>
          <cx:pt idx="609">2</cx:pt>
          <cx:pt idx="610">1</cx:pt>
          <cx:pt idx="611">3</cx:pt>
          <cx:pt idx="612">5</cx:pt>
          <cx:pt idx="613">2</cx:pt>
          <cx:pt idx="614">3</cx:pt>
          <cx:pt idx="615">4</cx:pt>
          <cx:pt idx="616">1</cx:pt>
          <cx:pt idx="617">1</cx:pt>
          <cx:pt idx="618">1</cx:pt>
          <cx:pt idx="619">1</cx:pt>
          <cx:pt idx="620">1</cx:pt>
          <cx:pt idx="621">6</cx:pt>
          <cx:pt idx="622">3</cx:pt>
          <cx:pt idx="623">3</cx:pt>
          <cx:pt idx="624">3</cx:pt>
          <cx:pt idx="625">2</cx:pt>
          <cx:pt idx="626">3</cx:pt>
          <cx:pt idx="627">1</cx:pt>
          <cx:pt idx="628">2</cx:pt>
          <cx:pt idx="629">3</cx:pt>
          <cx:pt idx="630">2</cx:pt>
          <cx:pt idx="631">1</cx:pt>
          <cx:pt idx="632">2</cx:pt>
          <cx:pt idx="633">2</cx:pt>
          <cx:pt idx="634">1</cx:pt>
          <cx:pt idx="635">3</cx:pt>
          <cx:pt idx="636">2</cx:pt>
          <cx:pt idx="637">3</cx:pt>
          <cx:pt idx="638">1</cx:pt>
          <cx:pt idx="639">1</cx:pt>
          <cx:pt idx="640">4</cx:pt>
          <cx:pt idx="641">3</cx:pt>
          <cx:pt idx="642">5</cx:pt>
          <cx:pt idx="643">4</cx:pt>
          <cx:pt idx="644">1</cx:pt>
          <cx:pt idx="645">4</cx:pt>
          <cx:pt idx="646">3</cx:pt>
          <cx:pt idx="647">4</cx:pt>
          <cx:pt idx="648">2</cx:pt>
          <cx:pt idx="649">3</cx:pt>
          <cx:pt idx="650">3</cx:pt>
          <cx:pt idx="651">1</cx:pt>
          <cx:pt idx="652">3</cx:pt>
          <cx:pt idx="653">2</cx:pt>
          <cx:pt idx="654">1</cx:pt>
          <cx:pt idx="655">1</cx:pt>
          <cx:pt idx="656">4</cx:pt>
          <cx:pt idx="657">1</cx:pt>
          <cx:pt idx="658">3</cx:pt>
          <cx:pt idx="659">1</cx:pt>
          <cx:pt idx="660">3</cx:pt>
          <cx:pt idx="661">2</cx:pt>
          <cx:pt idx="662">1</cx:pt>
          <cx:pt idx="663">3</cx:pt>
          <cx:pt idx="664">1</cx:pt>
          <cx:pt idx="665">1</cx:pt>
          <cx:pt idx="666">1</cx:pt>
          <cx:pt idx="667">1</cx:pt>
          <cx:pt idx="668">3</cx:pt>
          <cx:pt idx="669">2</cx:pt>
          <cx:pt idx="670">1</cx:pt>
          <cx:pt idx="671">1</cx:pt>
          <cx:pt idx="672">1</cx:pt>
          <cx:pt idx="673">2</cx:pt>
          <cx:pt idx="674">1</cx:pt>
          <cx:pt idx="675">2</cx:pt>
          <cx:pt idx="676">2</cx:pt>
          <cx:pt idx="677">5</cx:pt>
          <cx:pt idx="678">1</cx:pt>
          <cx:pt idx="679">1</cx:pt>
          <cx:pt idx="680">2</cx:pt>
          <cx:pt idx="681">6</cx:pt>
          <cx:pt idx="682">3</cx:pt>
          <cx:pt idx="683">3</cx:pt>
          <cx:pt idx="684">1</cx:pt>
          <cx:pt idx="685">1</cx:pt>
          <cx:pt idx="686">4</cx:pt>
          <cx:pt idx="687">2</cx:pt>
          <cx:pt idx="688">3</cx:pt>
          <cx:pt idx="689">1</cx:pt>
          <cx:pt idx="690">2</cx:pt>
          <cx:pt idx="691">3</cx:pt>
          <cx:pt idx="692">3</cx:pt>
          <cx:pt idx="693">2</cx:pt>
          <cx:pt idx="694">2</cx:pt>
          <cx:pt idx="695">4</cx:pt>
          <cx:pt idx="696">1</cx:pt>
          <cx:pt idx="697">2</cx:pt>
          <cx:pt idx="698">3</cx:pt>
          <cx:pt idx="699">3</cx:pt>
          <cx:pt idx="700">1</cx:pt>
          <cx:pt idx="701">2</cx:pt>
          <cx:pt idx="702">3</cx:pt>
          <cx:pt idx="703">1</cx:pt>
          <cx:pt idx="704">3</cx:pt>
          <cx:pt idx="705">2</cx:pt>
          <cx:pt idx="706">2</cx:pt>
          <cx:pt idx="707">3</cx:pt>
          <cx:pt idx="708">2</cx:pt>
          <cx:pt idx="709">2</cx:pt>
          <cx:pt idx="710">4</cx:pt>
          <cx:pt idx="711">3</cx:pt>
          <cx:pt idx="712">2</cx:pt>
          <cx:pt idx="713">2</cx:pt>
          <cx:pt idx="714">1</cx:pt>
          <cx:pt idx="715">4</cx:pt>
          <cx:pt idx="716">2</cx:pt>
          <cx:pt idx="717">2</cx:pt>
          <cx:pt idx="718">3</cx:pt>
          <cx:pt idx="719">1</cx:pt>
          <cx:pt idx="720">2</cx:pt>
          <cx:pt idx="721">2</cx:pt>
          <cx:pt idx="722">2</cx:pt>
          <cx:pt idx="723">3</cx:pt>
          <cx:pt idx="724">1</cx:pt>
          <cx:pt idx="725">3</cx:pt>
          <cx:pt idx="726">2</cx:pt>
          <cx:pt idx="727">4</cx:pt>
          <cx:pt idx="728">2</cx:pt>
          <cx:pt idx="729">1</cx:pt>
          <cx:pt idx="730">2</cx:pt>
          <cx:pt idx="731">2</cx:pt>
          <cx:pt idx="732">3</cx:pt>
          <cx:pt idx="733">5</cx:pt>
          <cx:pt idx="734">1</cx:pt>
          <cx:pt idx="735">1</cx:pt>
          <cx:pt idx="736">1</cx:pt>
          <cx:pt idx="737">1</cx:pt>
          <cx:pt idx="738">1</cx:pt>
          <cx:pt idx="739">4</cx:pt>
          <cx:pt idx="740">2</cx:pt>
          <cx:pt idx="741">1</cx:pt>
          <cx:pt idx="742">2</cx:pt>
          <cx:pt idx="743">4</cx:pt>
          <cx:pt idx="744">3</cx:pt>
          <cx:pt idx="745">4</cx:pt>
          <cx:pt idx="746">1</cx:pt>
          <cx:pt idx="747">1</cx:pt>
          <cx:pt idx="748">1</cx:pt>
          <cx:pt idx="749">1</cx:pt>
          <cx:pt idx="750">3</cx:pt>
          <cx:pt idx="751">2</cx:pt>
          <cx:pt idx="752">1</cx:pt>
          <cx:pt idx="753">3</cx:pt>
          <cx:pt idx="754">2</cx:pt>
          <cx:pt idx="755">1</cx:pt>
          <cx:pt idx="756">2</cx:pt>
          <cx:pt idx="757">2</cx:pt>
          <cx:pt idx="758">1</cx:pt>
          <cx:pt idx="759">2</cx:pt>
          <cx:pt idx="760">2</cx:pt>
          <cx:pt idx="761">6</cx:pt>
          <cx:pt idx="762">1</cx:pt>
          <cx:pt idx="763">1</cx:pt>
          <cx:pt idx="764">2</cx:pt>
          <cx:pt idx="765">1</cx:pt>
          <cx:pt idx="766">1</cx:pt>
          <cx:pt idx="767">2</cx:pt>
          <cx:pt idx="768">2</cx:pt>
          <cx:pt idx="769">3</cx:pt>
          <cx:pt idx="770">1</cx:pt>
          <cx:pt idx="771">3</cx:pt>
          <cx:pt idx="772">3</cx:pt>
          <cx:pt idx="773">1</cx:pt>
          <cx:pt idx="774">2</cx:pt>
          <cx:pt idx="775">5</cx:pt>
          <cx:pt idx="776">3</cx:pt>
          <cx:pt idx="777">1</cx:pt>
          <cx:pt idx="778">1</cx:pt>
          <cx:pt idx="779">2</cx:pt>
          <cx:pt idx="780">1</cx:pt>
          <cx:pt idx="781">1</cx:pt>
          <cx:pt idx="782">1</cx:pt>
          <cx:pt idx="783">3</cx:pt>
          <cx:pt idx="784">2</cx:pt>
          <cx:pt idx="785">1</cx:pt>
          <cx:pt idx="786">1</cx:pt>
          <cx:pt idx="787">1</cx:pt>
          <cx:pt idx="788">2</cx:pt>
          <cx:pt idx="789">1</cx:pt>
          <cx:pt idx="790">1</cx:pt>
          <cx:pt idx="791">1</cx:pt>
          <cx:pt idx="792">1</cx:pt>
          <cx:pt idx="793">2</cx:pt>
          <cx:pt idx="794">2</cx:pt>
          <cx:pt idx="795">4</cx:pt>
          <cx:pt idx="796">2</cx:pt>
          <cx:pt idx="797">1</cx:pt>
          <cx:pt idx="798">2</cx:pt>
          <cx:pt idx="799">3</cx:pt>
          <cx:pt idx="800">2</cx:pt>
          <cx:pt idx="801">2</cx:pt>
          <cx:pt idx="802">1</cx:pt>
          <cx:pt idx="803">3</cx:pt>
          <cx:pt idx="804">4</cx:pt>
          <cx:pt idx="805">2</cx:pt>
          <cx:pt idx="806">1</cx:pt>
          <cx:pt idx="807">3</cx:pt>
          <cx:pt idx="808">1</cx:pt>
          <cx:pt idx="809">3</cx:pt>
          <cx:pt idx="810">1</cx:pt>
          <cx:pt idx="811">3</cx:pt>
          <cx:pt idx="812">2</cx:pt>
          <cx:pt idx="813">3</cx:pt>
          <cx:pt idx="814">2</cx:pt>
          <cx:pt idx="815">2</cx:pt>
          <cx:pt idx="816">1</cx:pt>
          <cx:pt idx="817">1</cx:pt>
          <cx:pt idx="818">3</cx:pt>
          <cx:pt idx="819">2</cx:pt>
          <cx:pt idx="820">2</cx:pt>
          <cx:pt idx="821">2</cx:pt>
          <cx:pt idx="822">2</cx:pt>
          <cx:pt idx="823">1</cx:pt>
          <cx:pt idx="824">2</cx:pt>
          <cx:pt idx="825">1</cx:pt>
          <cx:pt idx="826">1</cx:pt>
          <cx:pt idx="827">2</cx:pt>
          <cx:pt idx="828">1</cx:pt>
          <cx:pt idx="829">4</cx:pt>
          <cx:pt idx="830">1</cx:pt>
          <cx:pt idx="831">1</cx:pt>
          <cx:pt idx="832">4</cx:pt>
          <cx:pt idx="833">2</cx:pt>
          <cx:pt idx="834">1</cx:pt>
          <cx:pt idx="835">1</cx:pt>
          <cx:pt idx="836">2</cx:pt>
          <cx:pt idx="837">1</cx:pt>
          <cx:pt idx="838">1</cx:pt>
          <cx:pt idx="839">1</cx:pt>
          <cx:pt idx="840">3</cx:pt>
          <cx:pt idx="841">1</cx:pt>
          <cx:pt idx="842">3</cx:pt>
          <cx:pt idx="843">4</cx:pt>
          <cx:pt idx="844">2</cx:pt>
          <cx:pt idx="845">3</cx:pt>
          <cx:pt idx="846">5</cx:pt>
          <cx:pt idx="847">2</cx:pt>
          <cx:pt idx="848">1</cx:pt>
          <cx:pt idx="849">1</cx:pt>
          <cx:pt idx="850">3</cx:pt>
          <cx:pt idx="851">1</cx:pt>
          <cx:pt idx="852">5</cx:pt>
          <cx:pt idx="853">1</cx:pt>
          <cx:pt idx="854">4</cx:pt>
          <cx:pt idx="855">2</cx:pt>
          <cx:pt idx="856">2</cx:pt>
          <cx:pt idx="857">3</cx:pt>
          <cx:pt idx="858">2</cx:pt>
          <cx:pt idx="859">3</cx:pt>
          <cx:pt idx="860">1</cx:pt>
          <cx:pt idx="861">1</cx:pt>
          <cx:pt idx="862">1</cx:pt>
          <cx:pt idx="863">1</cx:pt>
          <cx:pt idx="864">2</cx:pt>
          <cx:pt idx="865">2</cx:pt>
          <cx:pt idx="866">1</cx:pt>
          <cx:pt idx="867">3</cx:pt>
          <cx:pt idx="868">2</cx:pt>
          <cx:pt idx="869">1</cx:pt>
          <cx:pt idx="870">2</cx:pt>
          <cx:pt idx="871">2</cx:pt>
          <cx:pt idx="872">2</cx:pt>
          <cx:pt idx="873">1</cx:pt>
          <cx:pt idx="874">1</cx:pt>
          <cx:pt idx="875">2</cx:pt>
          <cx:pt idx="876">1</cx:pt>
          <cx:pt idx="877">5</cx:pt>
          <cx:pt idx="878">1</cx:pt>
          <cx:pt idx="879">2</cx:pt>
          <cx:pt idx="880">2</cx:pt>
          <cx:pt idx="881">1</cx:pt>
          <cx:pt idx="882">2</cx:pt>
          <cx:pt idx="883">1</cx:pt>
          <cx:pt idx="884">3</cx:pt>
          <cx:pt idx="885">3</cx:pt>
          <cx:pt idx="886">2</cx:pt>
          <cx:pt idx="887">3</cx:pt>
          <cx:pt idx="888">2</cx:pt>
          <cx:pt idx="889">2</cx:pt>
          <cx:pt idx="890">1</cx:pt>
          <cx:pt idx="891">3</cx:pt>
          <cx:pt idx="892">1</cx:pt>
          <cx:pt idx="893">1</cx:pt>
          <cx:pt idx="894">3</cx:pt>
          <cx:pt idx="895">4</cx:pt>
          <cx:pt idx="896">3</cx:pt>
          <cx:pt idx="897">1</cx:pt>
          <cx:pt idx="898">2</cx:pt>
          <cx:pt idx="899">2</cx:pt>
          <cx:pt idx="900">1</cx:pt>
          <cx:pt idx="901">2</cx:pt>
          <cx:pt idx="902">1</cx:pt>
          <cx:pt idx="903">2</cx:pt>
          <cx:pt idx="904">2</cx:pt>
          <cx:pt idx="905">5</cx:pt>
          <cx:pt idx="906">3</cx:pt>
          <cx:pt idx="907">2</cx:pt>
          <cx:pt idx="908">3</cx:pt>
          <cx:pt idx="909">1</cx:pt>
          <cx:pt idx="910">1</cx:pt>
          <cx:pt idx="911">3</cx:pt>
          <cx:pt idx="912">3</cx:pt>
          <cx:pt idx="913">3</cx:pt>
          <cx:pt idx="914">2</cx:pt>
          <cx:pt idx="915">3</cx:pt>
          <cx:pt idx="916">1</cx:pt>
          <cx:pt idx="917">1</cx:pt>
          <cx:pt idx="918">1</cx:pt>
          <cx:pt idx="919">2</cx:pt>
          <cx:pt idx="920">1</cx:pt>
          <cx:pt idx="921">1</cx:pt>
          <cx:pt idx="922">2</cx:pt>
          <cx:pt idx="923">1</cx:pt>
          <cx:pt idx="924">2</cx:pt>
          <cx:pt idx="925">3</cx:pt>
          <cx:pt idx="926">3</cx:pt>
          <cx:pt idx="927">2</cx:pt>
          <cx:pt idx="928">4</cx:pt>
          <cx:pt idx="929">3</cx:pt>
          <cx:pt idx="930">2</cx:pt>
          <cx:pt idx="931">1</cx:pt>
          <cx:pt idx="932">2</cx:pt>
          <cx:pt idx="933">2</cx:pt>
          <cx:pt idx="934">1</cx:pt>
          <cx:pt idx="935">4</cx:pt>
          <cx:pt idx="936">3</cx:pt>
          <cx:pt idx="937">1</cx:pt>
          <cx:pt idx="938">6</cx:pt>
          <cx:pt idx="939">3</cx:pt>
          <cx:pt idx="940">3</cx:pt>
          <cx:pt idx="941">3</cx:pt>
          <cx:pt idx="942">1</cx:pt>
          <cx:pt idx="943">1</cx:pt>
          <cx:pt idx="944">5</cx:pt>
          <cx:pt idx="945">2</cx:pt>
          <cx:pt idx="946">1</cx:pt>
          <cx:pt idx="947">1</cx:pt>
          <cx:pt idx="948">2</cx:pt>
          <cx:pt idx="949">1</cx:pt>
          <cx:pt idx="950">3</cx:pt>
          <cx:pt idx="951">2</cx:pt>
          <cx:pt idx="952">2</cx:pt>
          <cx:pt idx="953">1</cx:pt>
          <cx:pt idx="954">4</cx:pt>
          <cx:pt idx="955">3</cx:pt>
          <cx:pt idx="956">2</cx:pt>
          <cx:pt idx="957">1</cx:pt>
          <cx:pt idx="958">1</cx:pt>
          <cx:pt idx="959">3</cx:pt>
          <cx:pt idx="960">3</cx:pt>
          <cx:pt idx="961">5</cx:pt>
          <cx:pt idx="962">6</cx:pt>
          <cx:pt idx="963">2</cx:pt>
          <cx:pt idx="964">2</cx:pt>
          <cx:pt idx="965">4</cx:pt>
          <cx:pt idx="966">2</cx:pt>
          <cx:pt idx="967">2</cx:pt>
          <cx:pt idx="968">2</cx:pt>
          <cx:pt idx="969">1</cx:pt>
          <cx:pt idx="970">2</cx:pt>
          <cx:pt idx="971">1</cx:pt>
          <cx:pt idx="972">2</cx:pt>
          <cx:pt idx="973">1</cx:pt>
          <cx:pt idx="974">2</cx:pt>
          <cx:pt idx="975">4</cx:pt>
          <cx:pt idx="976">2</cx:pt>
          <cx:pt idx="977">1</cx:pt>
          <cx:pt idx="978">1</cx:pt>
          <cx:pt idx="979">2</cx:pt>
          <cx:pt idx="980">2</cx:pt>
          <cx:pt idx="981">2</cx:pt>
          <cx:pt idx="982">2</cx:pt>
          <cx:pt idx="983">4</cx:pt>
          <cx:pt idx="984">1</cx:pt>
          <cx:pt idx="985">1</cx:pt>
          <cx:pt idx="986">4</cx:pt>
          <cx:pt idx="987">1</cx:pt>
          <cx:pt idx="988">1</cx:pt>
          <cx:pt idx="989">4</cx:pt>
          <cx:pt idx="990">1</cx:pt>
          <cx:pt idx="991">2</cx:pt>
          <cx:pt idx="992">1</cx:pt>
          <cx:pt idx="993">2</cx:pt>
          <cx:pt idx="994">4</cx:pt>
          <cx:pt idx="995">1</cx:pt>
          <cx:pt idx="996">1</cx:pt>
          <cx:pt idx="997">2</cx:pt>
          <cx:pt idx="998">1</cx:pt>
          <cx:pt idx="999">2</cx:pt>
          <cx:pt idx="1000">2</cx:pt>
          <cx:pt idx="1001">1</cx:pt>
          <cx:pt idx="1002">4</cx:pt>
          <cx:pt idx="1003">1</cx:pt>
          <cx:pt idx="1004">1</cx:pt>
          <cx:pt idx="1005">1</cx:pt>
          <cx:pt idx="1006">2</cx:pt>
          <cx:pt idx="1007">1</cx:pt>
          <cx:pt idx="1008">3</cx:pt>
          <cx:pt idx="1009">2</cx:pt>
          <cx:pt idx="1010">1</cx:pt>
          <cx:pt idx="1011">2</cx:pt>
          <cx:pt idx="1012">1</cx:pt>
          <cx:pt idx="1013">2</cx:pt>
          <cx:pt idx="1014">1</cx:pt>
          <cx:pt idx="1015">4</cx:pt>
          <cx:pt idx="1016">2</cx:pt>
          <cx:pt idx="1017">1</cx:pt>
          <cx:pt idx="1018">2</cx:pt>
          <cx:pt idx="1019">5</cx:pt>
          <cx:pt idx="1020">1</cx:pt>
          <cx:pt idx="1021">1</cx:pt>
          <cx:pt idx="1022">1</cx:pt>
          <cx:pt idx="1023">3</cx:pt>
          <cx:pt idx="1024">3</cx:pt>
          <cx:pt idx="1025">1</cx:pt>
          <cx:pt idx="1026">2</cx:pt>
          <cx:pt idx="1027">2</cx:pt>
          <cx:pt idx="1028">2</cx:pt>
          <cx:pt idx="1029">2</cx:pt>
          <cx:pt idx="1030">2</cx:pt>
          <cx:pt idx="1031">3</cx:pt>
          <cx:pt idx="1032">1</cx:pt>
          <cx:pt idx="1033">1</cx:pt>
          <cx:pt idx="1034">2</cx:pt>
          <cx:pt idx="1035">1</cx:pt>
          <cx:pt idx="1036">2</cx:pt>
          <cx:pt idx="1037">1</cx:pt>
          <cx:pt idx="1038">1</cx:pt>
          <cx:pt idx="1039">1</cx:pt>
          <cx:pt idx="1040">1</cx:pt>
          <cx:pt idx="1041">2</cx:pt>
          <cx:pt idx="1042">1</cx:pt>
          <cx:pt idx="1043">5</cx:pt>
          <cx:pt idx="1044">1</cx:pt>
          <cx:pt idx="1045">2</cx:pt>
          <cx:pt idx="1046">1</cx:pt>
          <cx:pt idx="1047">1</cx:pt>
          <cx:pt idx="1048">2</cx:pt>
          <cx:pt idx="1049">4</cx:pt>
          <cx:pt idx="1050">2</cx:pt>
          <cx:pt idx="1051">2</cx:pt>
          <cx:pt idx="1052">3</cx:pt>
          <cx:pt idx="1053">2</cx:pt>
          <cx:pt idx="1054">2</cx:pt>
          <cx:pt idx="1055">2</cx:pt>
          <cx:pt idx="1056">1</cx:pt>
          <cx:pt idx="1057">3</cx:pt>
          <cx:pt idx="1058">1</cx:pt>
          <cx:pt idx="1059">1</cx:pt>
          <cx:pt idx="1060">3</cx:pt>
          <cx:pt idx="1061">1</cx:pt>
          <cx:pt idx="1062">2</cx:pt>
          <cx:pt idx="1063">4</cx:pt>
          <cx:pt idx="1064">3</cx:pt>
          <cx:pt idx="1065">2</cx:pt>
          <cx:pt idx="1066">5</cx:pt>
          <cx:pt idx="1067">1</cx:pt>
          <cx:pt idx="1068">1</cx:pt>
          <cx:pt idx="1069">3</cx:pt>
          <cx:pt idx="1070">5</cx:pt>
          <cx:pt idx="1071">1</cx:pt>
          <cx:pt idx="1072">1</cx:pt>
          <cx:pt idx="1073">1</cx:pt>
          <cx:pt idx="1074">1</cx:pt>
          <cx:pt idx="1075">1</cx:pt>
          <cx:pt idx="1076">1</cx:pt>
          <cx:pt idx="1077">1</cx:pt>
          <cx:pt idx="1078">1</cx:pt>
          <cx:pt idx="1079">1</cx:pt>
          <cx:pt idx="1080">2</cx:pt>
          <cx:pt idx="1081">1</cx:pt>
          <cx:pt idx="1082">4</cx:pt>
          <cx:pt idx="1083">2</cx:pt>
          <cx:pt idx="1084">6</cx:pt>
          <cx:pt idx="1085">1</cx:pt>
          <cx:pt idx="1086">2</cx:pt>
          <cx:pt idx="1087">1</cx:pt>
          <cx:pt idx="1088">3</cx:pt>
          <cx:pt idx="1089">1</cx:pt>
          <cx:pt idx="1090">1</cx:pt>
          <cx:pt idx="1091">1</cx:pt>
          <cx:pt idx="1092">2</cx:pt>
          <cx:pt idx="1093">2</cx:pt>
          <cx:pt idx="1094">1</cx:pt>
          <cx:pt idx="1095">2</cx:pt>
          <cx:pt idx="1096">3</cx:pt>
          <cx:pt idx="1097">2</cx:pt>
          <cx:pt idx="1098">1</cx:pt>
          <cx:pt idx="1099">2</cx:pt>
          <cx:pt idx="1100">1</cx:pt>
          <cx:pt idx="1101">1</cx:pt>
          <cx:pt idx="1102">2</cx:pt>
          <cx:pt idx="1103">1</cx:pt>
          <cx:pt idx="1104">1</cx:pt>
          <cx:pt idx="1105">3</cx:pt>
          <cx:pt idx="1106">1</cx:pt>
          <cx:pt idx="1107">1</cx:pt>
          <cx:pt idx="1108">1</cx:pt>
          <cx:pt idx="1109">2</cx:pt>
          <cx:pt idx="1110">5</cx:pt>
          <cx:pt idx="1111">2</cx:pt>
          <cx:pt idx="1112">2</cx:pt>
          <cx:pt idx="1113">2</cx:pt>
          <cx:pt idx="1114">3</cx:pt>
          <cx:pt idx="1115">3</cx:pt>
          <cx:pt idx="1116">5</cx:pt>
          <cx:pt idx="1117">4</cx:pt>
          <cx:pt idx="1118">2</cx:pt>
          <cx:pt idx="1119">3</cx:pt>
          <cx:pt idx="1120">4</cx:pt>
          <cx:pt idx="1121">2</cx:pt>
          <cx:pt idx="1122">4</cx:pt>
          <cx:pt idx="1123">1</cx:pt>
          <cx:pt idx="1124">1</cx:pt>
          <cx:pt idx="1125">4</cx:pt>
          <cx:pt idx="1126">4</cx:pt>
          <cx:pt idx="1127">1</cx:pt>
          <cx:pt idx="1128">4</cx:pt>
          <cx:pt idx="1129">1</cx:pt>
          <cx:pt idx="1130">4</cx:pt>
          <cx:pt idx="1131">5</cx:pt>
          <cx:pt idx="1132">4</cx:pt>
          <cx:pt idx="1133">5</cx:pt>
          <cx:pt idx="1134">1</cx:pt>
          <cx:pt idx="1135">1</cx:pt>
          <cx:pt idx="1136">1</cx:pt>
          <cx:pt idx="1137">1</cx:pt>
          <cx:pt idx="1138">4</cx:pt>
          <cx:pt idx="1139">3</cx:pt>
          <cx:pt idx="1140">3</cx:pt>
          <cx:pt idx="1141">3</cx:pt>
          <cx:pt idx="1142">1</cx:pt>
          <cx:pt idx="1143">3</cx:pt>
          <cx:pt idx="1144">1</cx:pt>
          <cx:pt idx="1145">4</cx:pt>
          <cx:pt idx="1146">2</cx:pt>
          <cx:pt idx="1147">2</cx:pt>
          <cx:pt idx="1148">3</cx:pt>
          <cx:pt idx="1149">3</cx:pt>
          <cx:pt idx="1150">3</cx:pt>
          <cx:pt idx="1151">4</cx:pt>
          <cx:pt idx="1152">5</cx:pt>
          <cx:pt idx="1153">4</cx:pt>
          <cx:pt idx="1154">3</cx:pt>
          <cx:pt idx="1155">4</cx:pt>
          <cx:pt idx="1156">2</cx:pt>
          <cx:pt idx="1157">1</cx:pt>
          <cx:pt idx="1158">3</cx:pt>
          <cx:pt idx="1159">1</cx:pt>
          <cx:pt idx="1160">2</cx:pt>
          <cx:pt idx="1161">1</cx:pt>
          <cx:pt idx="1162">3</cx:pt>
          <cx:pt idx="1163">3</cx:pt>
          <cx:pt idx="1164">2</cx:pt>
          <cx:pt idx="1165">3</cx:pt>
          <cx:pt idx="1166">2</cx:pt>
          <cx:pt idx="1167">1</cx:pt>
          <cx:pt idx="1168">1</cx:pt>
          <cx:pt idx="1169">2</cx:pt>
          <cx:pt idx="1170">1</cx:pt>
          <cx:pt idx="1171">1</cx:pt>
          <cx:pt idx="1172">1</cx:pt>
          <cx:pt idx="1173">1</cx:pt>
          <cx:pt idx="1174">1</cx:pt>
          <cx:pt idx="1175">1</cx:pt>
          <cx:pt idx="1176">3</cx:pt>
          <cx:pt idx="1177">1</cx:pt>
          <cx:pt idx="1178">2</cx:pt>
          <cx:pt idx="1179">2</cx:pt>
          <cx:pt idx="1180">5</cx:pt>
          <cx:pt idx="1181">3</cx:pt>
          <cx:pt idx="1182">3</cx:pt>
          <cx:pt idx="1183">1</cx:pt>
          <cx:pt idx="1184">1</cx:pt>
          <cx:pt idx="1185">3</cx:pt>
          <cx:pt idx="1186">2</cx:pt>
          <cx:pt idx="1187">4</cx:pt>
          <cx:pt idx="1188">1</cx:pt>
          <cx:pt idx="1189">2</cx:pt>
          <cx:pt idx="1190">1</cx:pt>
          <cx:pt idx="1191">2</cx:pt>
          <cx:pt idx="1192">2</cx:pt>
          <cx:pt idx="1193">1</cx:pt>
          <cx:pt idx="1194">1</cx:pt>
          <cx:pt idx="1195">3</cx:pt>
          <cx:pt idx="1196">2</cx:pt>
          <cx:pt idx="1197">2</cx:pt>
          <cx:pt idx="1198">3</cx:pt>
          <cx:pt idx="1199">3</cx:pt>
          <cx:pt idx="1200">1</cx:pt>
          <cx:pt idx="1201">1</cx:pt>
          <cx:pt idx="1202">1</cx:pt>
          <cx:pt idx="1203">1</cx:pt>
          <cx:pt idx="1204">2</cx:pt>
          <cx:pt idx="1205">2</cx:pt>
          <cx:pt idx="1206">4</cx:pt>
          <cx:pt idx="1207">1</cx:pt>
          <cx:pt idx="1208">1</cx:pt>
          <cx:pt idx="1209">4</cx:pt>
          <cx:pt idx="1210">2</cx:pt>
          <cx:pt idx="1211">1</cx:pt>
          <cx:pt idx="1212">3</cx:pt>
          <cx:pt idx="1213">3</cx:pt>
          <cx:pt idx="1214">3</cx:pt>
          <cx:pt idx="1215">4</cx:pt>
          <cx:pt idx="1216">1</cx:pt>
          <cx:pt idx="1217">2</cx:pt>
          <cx:pt idx="1218">2</cx:pt>
          <cx:pt idx="1219">1</cx:pt>
          <cx:pt idx="1220">1</cx:pt>
          <cx:pt idx="1221">1</cx:pt>
          <cx:pt idx="1222">1</cx:pt>
          <cx:pt idx="1223">5</cx:pt>
          <cx:pt idx="1224">1</cx:pt>
          <cx:pt idx="1225">1</cx:pt>
          <cx:pt idx="1226">3</cx:pt>
          <cx:pt idx="1227">3</cx:pt>
          <cx:pt idx="1228">1</cx:pt>
          <cx:pt idx="1229">5</cx:pt>
          <cx:pt idx="1230">4</cx:pt>
          <cx:pt idx="1231">3</cx:pt>
          <cx:pt idx="1232">1</cx:pt>
          <cx:pt idx="1233">2</cx:pt>
          <cx:pt idx="1234">5</cx:pt>
          <cx:pt idx="1235">5</cx:pt>
          <cx:pt idx="1236">3</cx:pt>
          <cx:pt idx="1237">1</cx:pt>
          <cx:pt idx="1238">1</cx:pt>
          <cx:pt idx="1239">6</cx:pt>
          <cx:pt idx="1240">1</cx:pt>
          <cx:pt idx="1241">2</cx:pt>
          <cx:pt idx="1242">4</cx:pt>
          <cx:pt idx="1243">1</cx:pt>
          <cx:pt idx="1244">2</cx:pt>
          <cx:pt idx="1245">3</cx:pt>
          <cx:pt idx="1246">1</cx:pt>
          <cx:pt idx="1247">1</cx:pt>
          <cx:pt idx="1248">2</cx:pt>
          <cx:pt idx="1249">4</cx:pt>
          <cx:pt idx="1250">1</cx:pt>
          <cx:pt idx="1251">1</cx:pt>
          <cx:pt idx="1252">2</cx:pt>
          <cx:pt idx="1253">2</cx:pt>
          <cx:pt idx="1254">1</cx:pt>
          <cx:pt idx="1255">2</cx:pt>
          <cx:pt idx="1256">2</cx:pt>
          <cx:pt idx="1257">4</cx:pt>
          <cx:pt idx="1258">1</cx:pt>
          <cx:pt idx="1259">2</cx:pt>
          <cx:pt idx="1260">1</cx:pt>
          <cx:pt idx="1261">2</cx:pt>
          <cx:pt idx="1262">3</cx:pt>
          <cx:pt idx="1263">2</cx:pt>
          <cx:pt idx="1264">3</cx:pt>
          <cx:pt idx="1265">1</cx:pt>
          <cx:pt idx="1266">2</cx:pt>
          <cx:pt idx="1267">2</cx:pt>
          <cx:pt idx="1268">2</cx:pt>
          <cx:pt idx="1269">3</cx:pt>
          <cx:pt idx="1270">2</cx:pt>
          <cx:pt idx="1271">2</cx:pt>
          <cx:pt idx="1272">2</cx:pt>
          <cx:pt idx="1273">1</cx:pt>
          <cx:pt idx="1274">1</cx:pt>
          <cx:pt idx="1275">1</cx:pt>
          <cx:pt idx="1276">2</cx:pt>
          <cx:pt idx="1277">4</cx:pt>
          <cx:pt idx="1278">1</cx:pt>
          <cx:pt idx="1279">2</cx:pt>
          <cx:pt idx="1280">3</cx:pt>
          <cx:pt idx="1281">4</cx:pt>
          <cx:pt idx="1282">2</cx:pt>
          <cx:pt idx="1283">3</cx:pt>
          <cx:pt idx="1284">1</cx:pt>
          <cx:pt idx="1285">3</cx:pt>
          <cx:pt idx="1286">1</cx:pt>
          <cx:pt idx="1287">2</cx:pt>
          <cx:pt idx="1288">4</cx:pt>
          <cx:pt idx="1289">4</cx:pt>
          <cx:pt idx="1290">5</cx:pt>
          <cx:pt idx="1291">3</cx:pt>
          <cx:pt idx="1292">1</cx:pt>
          <cx:pt idx="1293">2</cx:pt>
          <cx:pt idx="1294">2</cx:pt>
          <cx:pt idx="1295">4</cx:pt>
          <cx:pt idx="1296">1</cx:pt>
          <cx:pt idx="1297">2</cx:pt>
          <cx:pt idx="1298">4</cx:pt>
          <cx:pt idx="1299">1</cx:pt>
          <cx:pt idx="1300">2</cx:pt>
          <cx:pt idx="1301">3</cx:pt>
          <cx:pt idx="1302">3</cx:pt>
          <cx:pt idx="1303">2</cx:pt>
          <cx:pt idx="1304">1</cx:pt>
          <cx:pt idx="1305">1</cx:pt>
          <cx:pt idx="1306">3</cx:pt>
          <cx:pt idx="1307">3</cx:pt>
          <cx:pt idx="1308">2</cx:pt>
          <cx:pt idx="1309">5</cx:pt>
          <cx:pt idx="1310">4</cx:pt>
          <cx:pt idx="1311">5</cx:pt>
          <cx:pt idx="1312">2</cx:pt>
          <cx:pt idx="1313">1</cx:pt>
          <cx:pt idx="1314">2</cx:pt>
          <cx:pt idx="1315">2</cx:pt>
          <cx:pt idx="1316">2</cx:pt>
          <cx:pt idx="1317">1</cx:pt>
          <cx:pt idx="1318">1</cx:pt>
          <cx:pt idx="1319">3</cx:pt>
          <cx:pt idx="1320">1</cx:pt>
          <cx:pt idx="1321">1</cx:pt>
          <cx:pt idx="1322">1</cx:pt>
          <cx:pt idx="1323">1</cx:pt>
          <cx:pt idx="1324">1</cx:pt>
          <cx:pt idx="1325">4</cx:pt>
          <cx:pt idx="1326">2</cx:pt>
          <cx:pt idx="1327">1</cx:pt>
          <cx:pt idx="1328">3</cx:pt>
          <cx:pt idx="1329">2</cx:pt>
          <cx:pt idx="1330">2</cx:pt>
          <cx:pt idx="1331">1</cx:pt>
          <cx:pt idx="1332">1</cx:pt>
          <cx:pt idx="1333">2</cx:pt>
          <cx:pt idx="1334">1</cx:pt>
          <cx:pt idx="1335">1</cx:pt>
          <cx:pt idx="1336">1</cx:pt>
          <cx:pt idx="1337">2</cx:pt>
          <cx:pt idx="1338">2</cx:pt>
          <cx:pt idx="1339">1</cx:pt>
          <cx:pt idx="1340">2</cx:pt>
          <cx:pt idx="1341">3</cx:pt>
          <cx:pt idx="1342">3</cx:pt>
          <cx:pt idx="1343">2</cx:pt>
          <cx:pt idx="1344">3</cx:pt>
          <cx:pt idx="1345">2</cx:pt>
          <cx:pt idx="1346">3</cx:pt>
          <cx:pt idx="1347">3</cx:pt>
          <cx:pt idx="1348">2</cx:pt>
          <cx:pt idx="1349">5</cx:pt>
          <cx:pt idx="1350">1</cx:pt>
          <cx:pt idx="1351">2</cx:pt>
          <cx:pt idx="1352">2</cx:pt>
          <cx:pt idx="1353">3</cx:pt>
          <cx:pt idx="1354">1</cx:pt>
          <cx:pt idx="1355">1</cx:pt>
          <cx:pt idx="1356">3</cx:pt>
          <cx:pt idx="1357">3</cx:pt>
          <cx:pt idx="1358">4</cx:pt>
          <cx:pt idx="1359">1</cx:pt>
          <cx:pt idx="1360">4</cx:pt>
          <cx:pt idx="1361">3</cx:pt>
          <cx:pt idx="1362">1</cx:pt>
          <cx:pt idx="1363">1</cx:pt>
          <cx:pt idx="1364">1</cx:pt>
          <cx:pt idx="1365">1</cx:pt>
          <cx:pt idx="1366">2</cx:pt>
          <cx:pt idx="1367">4</cx:pt>
          <cx:pt idx="1368">1</cx:pt>
          <cx:pt idx="1369">2</cx:pt>
          <cx:pt idx="1370">1</cx:pt>
          <cx:pt idx="1371">2</cx:pt>
          <cx:pt idx="1372">1</cx:pt>
          <cx:pt idx="1373">1</cx:pt>
          <cx:pt idx="1374">1</cx:pt>
          <cx:pt idx="1375">2</cx:pt>
          <cx:pt idx="1376">4</cx:pt>
          <cx:pt idx="1377">1</cx:pt>
          <cx:pt idx="1378">2</cx:pt>
          <cx:pt idx="1379">1</cx:pt>
          <cx:pt idx="1380">2</cx:pt>
          <cx:pt idx="1381">1</cx:pt>
          <cx:pt idx="1382">2</cx:pt>
          <cx:pt idx="1383">3</cx:pt>
          <cx:pt idx="1384">2</cx:pt>
          <cx:pt idx="1385">1</cx:pt>
          <cx:pt idx="1386">1</cx:pt>
          <cx:pt idx="1387">2</cx:pt>
          <cx:pt idx="1388">1</cx:pt>
          <cx:pt idx="1389">1</cx:pt>
          <cx:pt idx="1390">2</cx:pt>
          <cx:pt idx="1391">2</cx:pt>
          <cx:pt idx="1392">3</cx:pt>
          <cx:pt idx="1393">2</cx:pt>
          <cx:pt idx="1394">2</cx:pt>
          <cx:pt idx="1395">1</cx:pt>
          <cx:pt idx="1396">3</cx:pt>
          <cx:pt idx="1397">3</cx:pt>
          <cx:pt idx="1398">1</cx:pt>
          <cx:pt idx="1399">2</cx:pt>
          <cx:pt idx="1400">1</cx:pt>
          <cx:pt idx="1401">4</cx:pt>
          <cx:pt idx="1402">1</cx:pt>
          <cx:pt idx="1403">1</cx:pt>
          <cx:pt idx="1404">1</cx:pt>
          <cx:pt idx="1405">2</cx:pt>
          <cx:pt idx="1406">1</cx:pt>
          <cx:pt idx="1407">1</cx:pt>
          <cx:pt idx="1408">2</cx:pt>
          <cx:pt idx="1409">2</cx:pt>
          <cx:pt idx="1410">4</cx:pt>
          <cx:pt idx="1411">3</cx:pt>
          <cx:pt idx="1412">1</cx:pt>
          <cx:pt idx="1413">1</cx:pt>
          <cx:pt idx="1414">3</cx:pt>
          <cx:pt idx="1415">1</cx:pt>
          <cx:pt idx="1416">1</cx:pt>
          <cx:pt idx="1417">5</cx:pt>
          <cx:pt idx="1418">2</cx:pt>
          <cx:pt idx="1419">3</cx:pt>
          <cx:pt idx="1420">2</cx:pt>
          <cx:pt idx="1421">2</cx:pt>
          <cx:pt idx="1422">2</cx:pt>
          <cx:pt idx="1423">1</cx:pt>
          <cx:pt idx="1424">4</cx:pt>
          <cx:pt idx="1425">1</cx:pt>
          <cx:pt idx="1426">2</cx:pt>
          <cx:pt idx="1427">2</cx:pt>
          <cx:pt idx="1428">2</cx:pt>
          <cx:pt idx="1429">3</cx:pt>
          <cx:pt idx="1430">2</cx:pt>
          <cx:pt idx="1431">1</cx:pt>
          <cx:pt idx="1432">3</cx:pt>
          <cx:pt idx="1433">1</cx:pt>
          <cx:pt idx="1434">3</cx:pt>
          <cx:pt idx="1435">2</cx:pt>
          <cx:pt idx="1436">2</cx:pt>
          <cx:pt idx="1437">1</cx:pt>
          <cx:pt idx="1438">3</cx:pt>
          <cx:pt idx="1439">1</cx:pt>
          <cx:pt idx="1440">1</cx:pt>
          <cx:pt idx="1441">1</cx:pt>
          <cx:pt idx="1442">3</cx:pt>
          <cx:pt idx="1443">2</cx:pt>
          <cx:pt idx="1444">1</cx:pt>
          <cx:pt idx="1445">2</cx:pt>
          <cx:pt idx="1446">1</cx:pt>
          <cx:pt idx="1447">2</cx:pt>
          <cx:pt idx="1448">1</cx:pt>
          <cx:pt idx="1449">1</cx:pt>
          <cx:pt idx="1450">2</cx:pt>
          <cx:pt idx="1451">2</cx:pt>
          <cx:pt idx="1452">2</cx:pt>
          <cx:pt idx="1453">1</cx:pt>
          <cx:pt idx="1454">1</cx:pt>
          <cx:pt idx="1455">1</cx:pt>
          <cx:pt idx="1456">1</cx:pt>
          <cx:pt idx="1457">2</cx:pt>
          <cx:pt idx="1458">2</cx:pt>
          <cx:pt idx="1459">1</cx:pt>
          <cx:pt idx="1460">1</cx:pt>
          <cx:pt idx="1461">4</cx:pt>
          <cx:pt idx="1462">1</cx:pt>
          <cx:pt idx="1463">2</cx:pt>
          <cx:pt idx="1464">1</cx:pt>
          <cx:pt idx="1465">1</cx:pt>
          <cx:pt idx="1466">4</cx:pt>
          <cx:pt idx="1467">2</cx:pt>
          <cx:pt idx="1468">1</cx:pt>
          <cx:pt idx="1469">1</cx:pt>
          <cx:pt idx="1470">2</cx:pt>
          <cx:pt idx="1471">3</cx:pt>
          <cx:pt idx="1472">3</cx:pt>
          <cx:pt idx="1473">1</cx:pt>
          <cx:pt idx="1474">1</cx:pt>
          <cx:pt idx="1475">1</cx:pt>
          <cx:pt idx="1476">2</cx:pt>
          <cx:pt idx="1477">1</cx:pt>
          <cx:pt idx="1478">1</cx:pt>
          <cx:pt idx="1479">1</cx:pt>
          <cx:pt idx="1480">1</cx:pt>
          <cx:pt idx="1481">4</cx:pt>
          <cx:pt idx="1482">3</cx:pt>
          <cx:pt idx="1483">1</cx:pt>
          <cx:pt idx="1484">7</cx:pt>
          <cx:pt idx="1485">1</cx:pt>
          <cx:pt idx="1486">1</cx:pt>
          <cx:pt idx="1487">1</cx:pt>
          <cx:pt idx="1488">1</cx:pt>
          <cx:pt idx="1489">1</cx:pt>
          <cx:pt idx="1490">1</cx:pt>
          <cx:pt idx="1491">2</cx:pt>
          <cx:pt idx="1492">4</cx:pt>
          <cx:pt idx="1493">2</cx:pt>
          <cx:pt idx="1494">3</cx:pt>
          <cx:pt idx="1495">1</cx:pt>
          <cx:pt idx="1496">2</cx:pt>
          <cx:pt idx="1497">1</cx:pt>
          <cx:pt idx="1498">2</cx:pt>
          <cx:pt idx="1499">1</cx:pt>
          <cx:pt idx="1500">2</cx:pt>
          <cx:pt idx="1501">2</cx:pt>
          <cx:pt idx="1502">1</cx:pt>
          <cx:pt idx="1503">1</cx:pt>
          <cx:pt idx="1504">3</cx:pt>
          <cx:pt idx="1505">2</cx:pt>
          <cx:pt idx="1506">1</cx:pt>
          <cx:pt idx="1507">1</cx:pt>
          <cx:pt idx="1508">2</cx:pt>
          <cx:pt idx="1509">3</cx:pt>
          <cx:pt idx="1510">2</cx:pt>
          <cx:pt idx="1511">4</cx:pt>
          <cx:pt idx="1512">1</cx:pt>
          <cx:pt idx="1513">1</cx:pt>
          <cx:pt idx="1514">6</cx:pt>
          <cx:pt idx="1515">4</cx:pt>
          <cx:pt idx="1516">1</cx:pt>
          <cx:pt idx="1517">1</cx:pt>
          <cx:pt idx="1518">2</cx:pt>
          <cx:pt idx="1519">2</cx:pt>
          <cx:pt idx="1520">2</cx:pt>
          <cx:pt idx="1521">2</cx:pt>
          <cx:pt idx="1522">2</cx:pt>
          <cx:pt idx="1523">1</cx:pt>
          <cx:pt idx="1524">2</cx:pt>
          <cx:pt idx="1525">4</cx:pt>
          <cx:pt idx="1526">2</cx:pt>
          <cx:pt idx="1527">3</cx:pt>
          <cx:pt idx="1528">3</cx:pt>
          <cx:pt idx="1529">2</cx:pt>
          <cx:pt idx="1530">1</cx:pt>
          <cx:pt idx="1531">1</cx:pt>
          <cx:pt idx="1532">2</cx:pt>
          <cx:pt idx="1533">1</cx:pt>
          <cx:pt idx="1534">3</cx:pt>
          <cx:pt idx="1535">2</cx:pt>
          <cx:pt idx="1536">2</cx:pt>
          <cx:pt idx="1537">1</cx:pt>
          <cx:pt idx="1538">1</cx:pt>
          <cx:pt idx="1539">2</cx:pt>
          <cx:pt idx="1540">4</cx:pt>
          <cx:pt idx="1541">1</cx:pt>
          <cx:pt idx="1542">2</cx:pt>
          <cx:pt idx="1543">2</cx:pt>
          <cx:pt idx="1544">3</cx:pt>
          <cx:pt idx="1545">1</cx:pt>
          <cx:pt idx="1546">1</cx:pt>
          <cx:pt idx="1547">1</cx:pt>
          <cx:pt idx="1548">1</cx:pt>
          <cx:pt idx="1549">1</cx:pt>
          <cx:pt idx="1550">2</cx:pt>
          <cx:pt idx="1551">1</cx:pt>
          <cx:pt idx="1552">1</cx:pt>
          <cx:pt idx="1553">2</cx:pt>
          <cx:pt idx="1554">1</cx:pt>
          <cx:pt idx="1555">2</cx:pt>
          <cx:pt idx="1556">1</cx:pt>
          <cx:pt idx="1557">1</cx:pt>
          <cx:pt idx="1558">3</cx:pt>
          <cx:pt idx="1559">3</cx:pt>
          <cx:pt idx="1560">1</cx:pt>
          <cx:pt idx="1561">4</cx:pt>
          <cx:pt idx="1562">5</cx:pt>
          <cx:pt idx="1563">2</cx:pt>
          <cx:pt idx="1564">2</cx:pt>
          <cx:pt idx="1565">2</cx:pt>
          <cx:pt idx="1566">1</cx:pt>
          <cx:pt idx="1567">5</cx:pt>
          <cx:pt idx="1568">3</cx:pt>
          <cx:pt idx="1569">2</cx:pt>
          <cx:pt idx="1570">5</cx:pt>
          <cx:pt idx="1571">1</cx:pt>
          <cx:pt idx="1572">1</cx:pt>
          <cx:pt idx="1573">1</cx:pt>
          <cx:pt idx="1574">1</cx:pt>
          <cx:pt idx="1575">3</cx:pt>
          <cx:pt idx="1576">4</cx:pt>
          <cx:pt idx="1577">3</cx:pt>
          <cx:pt idx="1578">1</cx:pt>
          <cx:pt idx="1579">2</cx:pt>
          <cx:pt idx="1580">3</cx:pt>
          <cx:pt idx="1581">1</cx:pt>
          <cx:pt idx="1582">2</cx:pt>
          <cx:pt idx="1583">1</cx:pt>
          <cx:pt idx="1584">1</cx:pt>
          <cx:pt idx="1585">4</cx:pt>
          <cx:pt idx="1586">5</cx:pt>
          <cx:pt idx="1587">2</cx:pt>
          <cx:pt idx="1588">1</cx:pt>
          <cx:pt idx="1589">3</cx:pt>
          <cx:pt idx="1590">3</cx:pt>
          <cx:pt idx="1591">2</cx:pt>
          <cx:pt idx="1592">1</cx:pt>
          <cx:pt idx="1593">1</cx:pt>
          <cx:pt idx="1594">2</cx:pt>
          <cx:pt idx="1595">2</cx:pt>
          <cx:pt idx="1596">2</cx:pt>
          <cx:pt idx="1597">2</cx:pt>
          <cx:pt idx="1598">2</cx:pt>
          <cx:pt idx="1599">1</cx:pt>
          <cx:pt idx="1600">1</cx:pt>
          <cx:pt idx="1601">1</cx:pt>
          <cx:pt idx="1602">3</cx:pt>
          <cx:pt idx="1603">3</cx:pt>
          <cx:pt idx="1604">3</cx:pt>
          <cx:pt idx="1605">2</cx:pt>
          <cx:pt idx="1606">1</cx:pt>
          <cx:pt idx="1607">1</cx:pt>
          <cx:pt idx="1608">3</cx:pt>
          <cx:pt idx="1609">3</cx:pt>
          <cx:pt idx="1610">1</cx:pt>
          <cx:pt idx="1611">2</cx:pt>
          <cx:pt idx="1612">4</cx:pt>
          <cx:pt idx="1613">4</cx:pt>
          <cx:pt idx="1614">4</cx:pt>
          <cx:pt idx="1615">1</cx:pt>
          <cx:pt idx="1616">1</cx:pt>
          <cx:pt idx="1617">3</cx:pt>
          <cx:pt idx="1618">2</cx:pt>
          <cx:pt idx="1619">2</cx:pt>
          <cx:pt idx="1620">1</cx:pt>
          <cx:pt idx="1621">1</cx:pt>
          <cx:pt idx="1622">2</cx:pt>
          <cx:pt idx="1623">1</cx:pt>
          <cx:pt idx="1624">1</cx:pt>
          <cx:pt idx="1625">2</cx:pt>
          <cx:pt idx="1626">2</cx:pt>
          <cx:pt idx="1627">1</cx:pt>
          <cx:pt idx="1628">2</cx:pt>
          <cx:pt idx="1629">3</cx:pt>
          <cx:pt idx="1630">2</cx:pt>
          <cx:pt idx="1631">1</cx:pt>
          <cx:pt idx="1632">1</cx:pt>
          <cx:pt idx="1633">3</cx:pt>
          <cx:pt idx="1634">3</cx:pt>
          <cx:pt idx="1635">1</cx:pt>
          <cx:pt idx="1636">4</cx:pt>
          <cx:pt idx="1637">1</cx:pt>
          <cx:pt idx="1638">1</cx:pt>
          <cx:pt idx="1639">3</cx:pt>
          <cx:pt idx="1640">2</cx:pt>
          <cx:pt idx="1641">2</cx:pt>
          <cx:pt idx="1642">1</cx:pt>
          <cx:pt idx="1643">1</cx:pt>
          <cx:pt idx="1644">1</cx:pt>
          <cx:pt idx="1645">2</cx:pt>
          <cx:pt idx="1646">2</cx:pt>
          <cx:pt idx="1647">2</cx:pt>
          <cx:pt idx="1648">1</cx:pt>
          <cx:pt idx="1649">1</cx:pt>
          <cx:pt idx="1650">1</cx:pt>
          <cx:pt idx="1651">6</cx:pt>
          <cx:pt idx="1652">1</cx:pt>
          <cx:pt idx="1653">1</cx:pt>
          <cx:pt idx="1654">4</cx:pt>
          <cx:pt idx="1655">1</cx:pt>
          <cx:pt idx="1656">1</cx:pt>
          <cx:pt idx="1657">2</cx:pt>
          <cx:pt idx="1658">3</cx:pt>
          <cx:pt idx="1659">3</cx:pt>
          <cx:pt idx="1660">1</cx:pt>
          <cx:pt idx="1661">1</cx:pt>
          <cx:pt idx="1662">5</cx:pt>
          <cx:pt idx="1663">2</cx:pt>
          <cx:pt idx="1664">2</cx:pt>
          <cx:pt idx="1665">3</cx:pt>
          <cx:pt idx="1666">2</cx:pt>
          <cx:pt idx="1667">1</cx:pt>
          <cx:pt idx="1668">1</cx:pt>
          <cx:pt idx="1669">4</cx:pt>
          <cx:pt idx="1670">3</cx:pt>
          <cx:pt idx="1671">2</cx:pt>
          <cx:pt idx="1672">1</cx:pt>
          <cx:pt idx="1673">2</cx:pt>
          <cx:pt idx="1674">2</cx:pt>
          <cx:pt idx="1675">1</cx:pt>
          <cx:pt idx="1676">1</cx:pt>
          <cx:pt idx="1677">1</cx:pt>
          <cx:pt idx="1678">1</cx:pt>
          <cx:pt idx="1679">2</cx:pt>
          <cx:pt idx="1680">4</cx:pt>
          <cx:pt idx="1681">1</cx:pt>
          <cx:pt idx="1682">3</cx:pt>
          <cx:pt idx="1683">3</cx:pt>
          <cx:pt idx="1684">5</cx:pt>
          <cx:pt idx="1685">4</cx:pt>
          <cx:pt idx="1686">1</cx:pt>
          <cx:pt idx="1687">4</cx:pt>
          <cx:pt idx="1688">2</cx:pt>
          <cx:pt idx="1689">4</cx:pt>
          <cx:pt idx="1690">1</cx:pt>
          <cx:pt idx="1691">3</cx:pt>
          <cx:pt idx="1692">1</cx:pt>
          <cx:pt idx="1693">4</cx:pt>
          <cx:pt idx="1694">3</cx:pt>
          <cx:pt idx="1695">2</cx:pt>
          <cx:pt idx="1696">2</cx:pt>
          <cx:pt idx="1697">2</cx:pt>
          <cx:pt idx="1698">1</cx:pt>
          <cx:pt idx="1699">3</cx:pt>
          <cx:pt idx="1700">2</cx:pt>
          <cx:pt idx="1701">3</cx:pt>
          <cx:pt idx="1702">2</cx:pt>
          <cx:pt idx="1703">1</cx:pt>
          <cx:pt idx="1704">4</cx:pt>
          <cx:pt idx="1705">4</cx:pt>
          <cx:pt idx="1706">1</cx:pt>
          <cx:pt idx="1707">3</cx:pt>
          <cx:pt idx="1708">5</cx:pt>
          <cx:pt idx="1709">1</cx:pt>
          <cx:pt idx="1710">2</cx:pt>
          <cx:pt idx="1711">2</cx:pt>
          <cx:pt idx="1712">3</cx:pt>
          <cx:pt idx="1713">2</cx:pt>
          <cx:pt idx="1714">2</cx:pt>
          <cx:pt idx="1715">2</cx:pt>
          <cx:pt idx="1716">2</cx:pt>
          <cx:pt idx="1717">5</cx:pt>
          <cx:pt idx="1718">3</cx:pt>
          <cx:pt idx="1719">1</cx:pt>
          <cx:pt idx="1720">6</cx:pt>
          <cx:pt idx="1721">1</cx:pt>
          <cx:pt idx="1722">1</cx:pt>
          <cx:pt idx="1723">3</cx:pt>
          <cx:pt idx="1724">2</cx:pt>
          <cx:pt idx="1725">1</cx:pt>
          <cx:pt idx="1726">3</cx:pt>
          <cx:pt idx="1727">3</cx:pt>
          <cx:pt idx="1728">5</cx:pt>
          <cx:pt idx="1729">1</cx:pt>
          <cx:pt idx="1730">2</cx:pt>
          <cx:pt idx="1731">2</cx:pt>
          <cx:pt idx="1732">1</cx:pt>
          <cx:pt idx="1733">3</cx:pt>
          <cx:pt idx="1734">2</cx:pt>
          <cx:pt idx="1735">1</cx:pt>
          <cx:pt idx="1736">2</cx:pt>
          <cx:pt idx="1737">1</cx:pt>
          <cx:pt idx="1738">2</cx:pt>
          <cx:pt idx="1739">5</cx:pt>
          <cx:pt idx="1740">1</cx:pt>
          <cx:pt idx="1741">3</cx:pt>
          <cx:pt idx="1742">4</cx:pt>
          <cx:pt idx="1743">1</cx:pt>
          <cx:pt idx="1744">5</cx:pt>
          <cx:pt idx="1745">3</cx:pt>
          <cx:pt idx="1746">3</cx:pt>
          <cx:pt idx="1747">3</cx:pt>
          <cx:pt idx="1748">1</cx:pt>
          <cx:pt idx="1749">2</cx:pt>
          <cx:pt idx="1750">4</cx:pt>
          <cx:pt idx="1751">1</cx:pt>
          <cx:pt idx="1752">2</cx:pt>
          <cx:pt idx="1753">2</cx:pt>
          <cx:pt idx="1754">3</cx:pt>
          <cx:pt idx="1755">2</cx:pt>
          <cx:pt idx="1756">5</cx:pt>
          <cx:pt idx="1757">3</cx:pt>
          <cx:pt idx="1758">3</cx:pt>
          <cx:pt idx="1759">2</cx:pt>
          <cx:pt idx="1760">4</cx:pt>
          <cx:pt idx="1761">1</cx:pt>
          <cx:pt idx="1762">1</cx:pt>
          <cx:pt idx="1763">2</cx:pt>
          <cx:pt idx="1764">3</cx:pt>
          <cx:pt idx="1765">1</cx:pt>
          <cx:pt idx="1766">1</cx:pt>
          <cx:pt idx="1767">1</cx:pt>
          <cx:pt idx="1768">1</cx:pt>
          <cx:pt idx="1769">1</cx:pt>
          <cx:pt idx="1770">1</cx:pt>
          <cx:pt idx="1771">1</cx:pt>
          <cx:pt idx="1772">2</cx:pt>
          <cx:pt idx="1773">1</cx:pt>
          <cx:pt idx="1774">2</cx:pt>
          <cx:pt idx="1775">3</cx:pt>
          <cx:pt idx="1776">2</cx:pt>
          <cx:pt idx="1777">1</cx:pt>
          <cx:pt idx="1778">2</cx:pt>
          <cx:pt idx="1779">1</cx:pt>
          <cx:pt idx="1780">2</cx:pt>
          <cx:pt idx="1781">3</cx:pt>
          <cx:pt idx="1782">3</cx:pt>
          <cx:pt idx="1783">1</cx:pt>
          <cx:pt idx="1784">1</cx:pt>
          <cx:pt idx="1785">1</cx:pt>
          <cx:pt idx="1786">4</cx:pt>
          <cx:pt idx="1787">1</cx:pt>
          <cx:pt idx="1788">4</cx:pt>
          <cx:pt idx="1789">1</cx:pt>
          <cx:pt idx="1790">2</cx:pt>
          <cx:pt idx="1791">1</cx:pt>
          <cx:pt idx="1792">1</cx:pt>
          <cx:pt idx="1793">1</cx:pt>
          <cx:pt idx="1794">2</cx:pt>
          <cx:pt idx="1795">1</cx:pt>
          <cx:pt idx="1796">2</cx:pt>
          <cx:pt idx="1797">2</cx:pt>
          <cx:pt idx="1798">1</cx:pt>
          <cx:pt idx="1799">4</cx:pt>
          <cx:pt idx="1800">1</cx:pt>
          <cx:pt idx="1801">3</cx:pt>
          <cx:pt idx="1802">2</cx:pt>
          <cx:pt idx="1803">2</cx:pt>
          <cx:pt idx="1804">5</cx:pt>
          <cx:pt idx="1805">1</cx:pt>
          <cx:pt idx="1806">2</cx:pt>
          <cx:pt idx="1807">4</cx:pt>
          <cx:pt idx="1808">4</cx:pt>
          <cx:pt idx="1809">1</cx:pt>
          <cx:pt idx="1810">1</cx:pt>
          <cx:pt idx="1811">3</cx:pt>
          <cx:pt idx="1812">1</cx:pt>
          <cx:pt idx="1813">1</cx:pt>
          <cx:pt idx="1814">2</cx:pt>
          <cx:pt idx="1815">2</cx:pt>
          <cx:pt idx="1816">1</cx:pt>
          <cx:pt idx="1817">2</cx:pt>
          <cx:pt idx="1818">2</cx:pt>
          <cx:pt idx="1819">2</cx:pt>
          <cx:pt idx="1820">4</cx:pt>
          <cx:pt idx="1821">1</cx:pt>
          <cx:pt idx="1822">1</cx:pt>
          <cx:pt idx="1823">1</cx:pt>
          <cx:pt idx="1824">2</cx:pt>
          <cx:pt idx="1825">3</cx:pt>
          <cx:pt idx="1826">1</cx:pt>
          <cx:pt idx="1827">3</cx:pt>
          <cx:pt idx="1828">2</cx:pt>
          <cx:pt idx="1829">4</cx:pt>
          <cx:pt idx="1830">1</cx:pt>
          <cx:pt idx="1831">3</cx:pt>
          <cx:pt idx="1832">1</cx:pt>
          <cx:pt idx="1833">1</cx:pt>
          <cx:pt idx="1834">1</cx:pt>
          <cx:pt idx="1835">3</cx:pt>
          <cx:pt idx="1836">2</cx:pt>
          <cx:pt idx="1837">2</cx:pt>
          <cx:pt idx="1838">1</cx:pt>
          <cx:pt idx="1839">4</cx:pt>
          <cx:pt idx="1840">1</cx:pt>
          <cx:pt idx="1841">2</cx:pt>
          <cx:pt idx="1842">6</cx:pt>
          <cx:pt idx="1843">4</cx:pt>
          <cx:pt idx="1844">2</cx:pt>
          <cx:pt idx="1845">1</cx:pt>
          <cx:pt idx="1846">2</cx:pt>
          <cx:pt idx="1847">2</cx:pt>
          <cx:pt idx="1848">1</cx:pt>
          <cx:pt idx="1849">1</cx:pt>
          <cx:pt idx="1850">3</cx:pt>
          <cx:pt idx="1851">3</cx:pt>
          <cx:pt idx="1852">1</cx:pt>
          <cx:pt idx="1853">2</cx:pt>
          <cx:pt idx="1854">2</cx:pt>
          <cx:pt idx="1855">2</cx:pt>
          <cx:pt idx="1856">3</cx:pt>
          <cx:pt idx="1857">3</cx:pt>
          <cx:pt idx="1858">3</cx:pt>
          <cx:pt idx="1859">3</cx:pt>
          <cx:pt idx="1860">1</cx:pt>
          <cx:pt idx="1861">1</cx:pt>
          <cx:pt idx="1862">1</cx:pt>
          <cx:pt idx="1863">2</cx:pt>
          <cx:pt idx="1864">2</cx:pt>
          <cx:pt idx="1865">3</cx:pt>
          <cx:pt idx="1866">1</cx:pt>
          <cx:pt idx="1867">2</cx:pt>
          <cx:pt idx="1868">1</cx:pt>
          <cx:pt idx="1869">2</cx:pt>
          <cx:pt idx="1870">2</cx:pt>
          <cx:pt idx="1871">1</cx:pt>
          <cx:pt idx="1872">4</cx:pt>
          <cx:pt idx="1873">2</cx:pt>
          <cx:pt idx="1874">1</cx:pt>
          <cx:pt idx="1875">6</cx:pt>
          <cx:pt idx="1876">1</cx:pt>
          <cx:pt idx="1877">1</cx:pt>
          <cx:pt idx="1878">1</cx:pt>
          <cx:pt idx="1879">1</cx:pt>
          <cx:pt idx="1880">2</cx:pt>
          <cx:pt idx="1881">1</cx:pt>
          <cx:pt idx="1882">2</cx:pt>
          <cx:pt idx="1883">1</cx:pt>
          <cx:pt idx="1884">2</cx:pt>
          <cx:pt idx="1885">1</cx:pt>
          <cx:pt idx="1886">2</cx:pt>
          <cx:pt idx="1887">2</cx:pt>
          <cx:pt idx="1888">1</cx:pt>
          <cx:pt idx="1889">2</cx:pt>
          <cx:pt idx="1890">3</cx:pt>
          <cx:pt idx="1891">1</cx:pt>
          <cx:pt idx="1892">1</cx:pt>
          <cx:pt idx="1893">1</cx:pt>
          <cx:pt idx="1894">2</cx:pt>
          <cx:pt idx="1895">2</cx:pt>
          <cx:pt idx="1896">1</cx:pt>
          <cx:pt idx="1897">1</cx:pt>
          <cx:pt idx="1898">1</cx:pt>
          <cx:pt idx="1899">1</cx:pt>
          <cx:pt idx="1900">1</cx:pt>
          <cx:pt idx="1901">1</cx:pt>
          <cx:pt idx="1902">1</cx:pt>
          <cx:pt idx="1903">1</cx:pt>
          <cx:pt idx="1904">2</cx:pt>
          <cx:pt idx="1905">2</cx:pt>
          <cx:pt idx="1906">2</cx:pt>
          <cx:pt idx="1907">1</cx:pt>
          <cx:pt idx="1908">1</cx:pt>
          <cx:pt idx="1909">2</cx:pt>
          <cx:pt idx="1910">2</cx:pt>
          <cx:pt idx="1911">4</cx:pt>
          <cx:pt idx="1912">1</cx:pt>
          <cx:pt idx="1913">1</cx:pt>
          <cx:pt idx="1914">2</cx:pt>
          <cx:pt idx="1915">2</cx:pt>
          <cx:pt idx="1916">1</cx:pt>
          <cx:pt idx="1917">3</cx:pt>
          <cx:pt idx="1918">3</cx:pt>
          <cx:pt idx="1919">2</cx:pt>
          <cx:pt idx="1920">1</cx:pt>
          <cx:pt idx="1921">2</cx:pt>
          <cx:pt idx="1922">3</cx:pt>
          <cx:pt idx="1923">1</cx:pt>
          <cx:pt idx="1924">3</cx:pt>
          <cx:pt idx="1925">1</cx:pt>
          <cx:pt idx="1926">2</cx:pt>
          <cx:pt idx="1927">1</cx:pt>
          <cx:pt idx="1928">2</cx:pt>
          <cx:pt idx="1929">2</cx:pt>
          <cx:pt idx="1930">3</cx:pt>
          <cx:pt idx="1931">2</cx:pt>
          <cx:pt idx="1932">1</cx:pt>
          <cx:pt idx="1933">1</cx:pt>
          <cx:pt idx="1934">2</cx:pt>
          <cx:pt idx="1935">2</cx:pt>
          <cx:pt idx="1936">4</cx:pt>
          <cx:pt idx="1937">1</cx:pt>
          <cx:pt idx="1938">2</cx:pt>
          <cx:pt idx="1939">1</cx:pt>
          <cx:pt idx="1940">2</cx:pt>
          <cx:pt idx="1941">1</cx:pt>
          <cx:pt idx="1942">3</cx:pt>
          <cx:pt idx="1943">1</cx:pt>
          <cx:pt idx="1944">2</cx:pt>
          <cx:pt idx="1945">2</cx:pt>
          <cx:pt idx="1946">2</cx:pt>
          <cx:pt idx="1947">1</cx:pt>
          <cx:pt idx="1948">1</cx:pt>
          <cx:pt idx="1949">2</cx:pt>
          <cx:pt idx="1950">2</cx:pt>
          <cx:pt idx="1951">2</cx:pt>
          <cx:pt idx="1952">1</cx:pt>
          <cx:pt idx="1953">2</cx:pt>
          <cx:pt idx="1954">2</cx:pt>
          <cx:pt idx="1955">3</cx:pt>
          <cx:pt idx="1956">1</cx:pt>
          <cx:pt idx="1957">2</cx:pt>
          <cx:pt idx="1958">2</cx:pt>
          <cx:pt idx="1959">4</cx:pt>
          <cx:pt idx="1960">1</cx:pt>
          <cx:pt idx="1961">2</cx:pt>
          <cx:pt idx="1962">1</cx:pt>
          <cx:pt idx="1963">2</cx:pt>
          <cx:pt idx="1964">2</cx:pt>
          <cx:pt idx="1965">2</cx:pt>
          <cx:pt idx="1966">1</cx:pt>
          <cx:pt idx="1967">1</cx:pt>
          <cx:pt idx="1968">3</cx:pt>
          <cx:pt idx="1969">2</cx:pt>
          <cx:pt idx="1970">1</cx:pt>
          <cx:pt idx="1971">3</cx:pt>
          <cx:pt idx="1972">1</cx:pt>
          <cx:pt idx="1973">2</cx:pt>
          <cx:pt idx="1974">4</cx:pt>
          <cx:pt idx="1975">2</cx:pt>
          <cx:pt idx="1976">1</cx:pt>
          <cx:pt idx="1977">2</cx:pt>
          <cx:pt idx="1978">2</cx:pt>
          <cx:pt idx="1979">1</cx:pt>
          <cx:pt idx="1980">2</cx:pt>
          <cx:pt idx="1981">2</cx:pt>
          <cx:pt idx="1982">2</cx:pt>
          <cx:pt idx="1983">1</cx:pt>
          <cx:pt idx="1984">2</cx:pt>
          <cx:pt idx="1985">1</cx:pt>
          <cx:pt idx="1986">1</cx:pt>
          <cx:pt idx="1987">1</cx:pt>
          <cx:pt idx="1988">2</cx:pt>
          <cx:pt idx="1989">4</cx:pt>
          <cx:pt idx="1990">2</cx:pt>
          <cx:pt idx="1991">2</cx:pt>
          <cx:pt idx="1992">1</cx:pt>
          <cx:pt idx="1993">2</cx:pt>
          <cx:pt idx="1994">1</cx:pt>
          <cx:pt idx="1995">2</cx:pt>
          <cx:pt idx="1996">1</cx:pt>
          <cx:pt idx="1997">1</cx:pt>
          <cx:pt idx="1998">2</cx:pt>
          <cx:pt idx="1999">2</cx:pt>
          <cx:pt idx="2000">1</cx:pt>
          <cx:pt idx="2001">2</cx:pt>
          <cx:pt idx="2002">2</cx:pt>
          <cx:pt idx="2003">1</cx:pt>
          <cx:pt idx="2004">1</cx:pt>
          <cx:pt idx="2005">1</cx:pt>
          <cx:pt idx="2006">2</cx:pt>
          <cx:pt idx="2007">1</cx:pt>
          <cx:pt idx="2008">3</cx:pt>
          <cx:pt idx="2009">1</cx:pt>
          <cx:pt idx="2010">1</cx:pt>
          <cx:pt idx="2011">1</cx:pt>
          <cx:pt idx="2012">3</cx:pt>
          <cx:pt idx="2013">3</cx:pt>
          <cx:pt idx="2014">1</cx:pt>
          <cx:pt idx="2015">1</cx:pt>
          <cx:pt idx="2016">2</cx:pt>
          <cx:pt idx="2017">2</cx:pt>
          <cx:pt idx="2018">2</cx:pt>
          <cx:pt idx="2019">3</cx:pt>
          <cx:pt idx="2020">2</cx:pt>
          <cx:pt idx="2021">1</cx:pt>
          <cx:pt idx="2022">4</cx:pt>
          <cx:pt idx="2023">3</cx:pt>
          <cx:pt idx="2024">5</cx:pt>
          <cx:pt idx="2025">2</cx:pt>
          <cx:pt idx="2026">1</cx:pt>
          <cx:pt idx="2027">1</cx:pt>
          <cx:pt idx="2028">1</cx:pt>
          <cx:pt idx="2029">3</cx:pt>
          <cx:pt idx="2030">1</cx:pt>
          <cx:pt idx="2031">3</cx:pt>
          <cx:pt idx="2032">1</cx:pt>
          <cx:pt idx="2033">1</cx:pt>
          <cx:pt idx="2034">1</cx:pt>
          <cx:pt idx="2035">1</cx:pt>
          <cx:pt idx="2036">1</cx:pt>
          <cx:pt idx="2037">3</cx:pt>
          <cx:pt idx="2038">1</cx:pt>
          <cx:pt idx="2039">1</cx:pt>
          <cx:pt idx="2040">2</cx:pt>
          <cx:pt idx="2041">1</cx:pt>
          <cx:pt idx="2042">2</cx:pt>
          <cx:pt idx="2043">1</cx:pt>
          <cx:pt idx="2044">1</cx:pt>
          <cx:pt idx="2045">1</cx:pt>
          <cx:pt idx="2046">1</cx:pt>
          <cx:pt idx="2047">1</cx:pt>
          <cx:pt idx="2048">1</cx:pt>
          <cx:pt idx="2049">1</cx:pt>
          <cx:pt idx="2050">2</cx:pt>
          <cx:pt idx="2051">1</cx:pt>
          <cx:pt idx="2052">4</cx:pt>
          <cx:pt idx="2053">1</cx:pt>
          <cx:pt idx="2054">4</cx:pt>
          <cx:pt idx="2055">2</cx:pt>
          <cx:pt idx="2056">1</cx:pt>
          <cx:pt idx="2057">1</cx:pt>
          <cx:pt idx="2058">1</cx:pt>
          <cx:pt idx="2059">1</cx:pt>
          <cx:pt idx="2060">3</cx:pt>
          <cx:pt idx="2061">4</cx:pt>
          <cx:pt idx="2062">2</cx:pt>
          <cx:pt idx="2063">3</cx:pt>
          <cx:pt idx="2064">1</cx:pt>
          <cx:pt idx="2065">1</cx:pt>
          <cx:pt idx="2066">2</cx:pt>
          <cx:pt idx="2067">6</cx:pt>
          <cx:pt idx="2068">1</cx:pt>
          <cx:pt idx="2069">1</cx:pt>
          <cx:pt idx="2070">4</cx:pt>
          <cx:pt idx="2071">2</cx:pt>
          <cx:pt idx="2072">2</cx:pt>
          <cx:pt idx="2073">1</cx:pt>
          <cx:pt idx="2074">2</cx:pt>
          <cx:pt idx="2075">2</cx:pt>
          <cx:pt idx="2076">3</cx:pt>
          <cx:pt idx="2077">1</cx:pt>
          <cx:pt idx="2078">2</cx:pt>
          <cx:pt idx="2079">2</cx:pt>
          <cx:pt idx="2080">2</cx:pt>
          <cx:pt idx="2081">3</cx:pt>
          <cx:pt idx="2082">3</cx:pt>
          <cx:pt idx="2083">2</cx:pt>
          <cx:pt idx="2084">2</cx:pt>
          <cx:pt idx="2085">1</cx:pt>
          <cx:pt idx="2086">1</cx:pt>
          <cx:pt idx="2087">1</cx:pt>
          <cx:pt idx="2088">3</cx:pt>
          <cx:pt idx="2089">1</cx:pt>
          <cx:pt idx="2090">1</cx:pt>
          <cx:pt idx="2091">1</cx:pt>
          <cx:pt idx="2092">1</cx:pt>
          <cx:pt idx="2093">3</cx:pt>
          <cx:pt idx="2094">2</cx:pt>
          <cx:pt idx="2095">1</cx:pt>
          <cx:pt idx="2096">2</cx:pt>
          <cx:pt idx="2097">1</cx:pt>
          <cx:pt idx="2098">2</cx:pt>
          <cx:pt idx="2099">4</cx:pt>
          <cx:pt idx="2100">4</cx:pt>
          <cx:pt idx="2101">1</cx:pt>
          <cx:pt idx="2102">2</cx:pt>
          <cx:pt idx="2103">2</cx:pt>
          <cx:pt idx="2104">3</cx:pt>
          <cx:pt idx="2105">4</cx:pt>
          <cx:pt idx="2106">4</cx:pt>
          <cx:pt idx="2107">3</cx:pt>
          <cx:pt idx="2108">5</cx:pt>
          <cx:pt idx="2109">2</cx:pt>
          <cx:pt idx="2110">2</cx:pt>
          <cx:pt idx="2111">1</cx:pt>
          <cx:pt idx="2112">3</cx:pt>
          <cx:pt idx="2113">5</cx:pt>
          <cx:pt idx="2114">2</cx:pt>
          <cx:pt idx="2115">3</cx:pt>
          <cx:pt idx="2116">1</cx:pt>
          <cx:pt idx="2117">3</cx:pt>
          <cx:pt idx="2118">1</cx:pt>
          <cx:pt idx="2119">8</cx:pt>
          <cx:pt idx="2120">2</cx:pt>
          <cx:pt idx="2121">2</cx:pt>
          <cx:pt idx="2122">2</cx:pt>
          <cx:pt idx="2123">1</cx:pt>
          <cx:pt idx="2124">2</cx:pt>
          <cx:pt idx="2125">3</cx:pt>
          <cx:pt idx="2126">4</cx:pt>
          <cx:pt idx="2127">3</cx:pt>
          <cx:pt idx="2128">3</cx:pt>
          <cx:pt idx="2129">2</cx:pt>
          <cx:pt idx="2130">1</cx:pt>
          <cx:pt idx="2131">3</cx:pt>
          <cx:pt idx="2132">5</cx:pt>
          <cx:pt idx="2133">3</cx:pt>
          <cx:pt idx="2134">2</cx:pt>
          <cx:pt idx="2135">1</cx:pt>
          <cx:pt idx="2136">1</cx:pt>
          <cx:pt idx="2137">1</cx:pt>
          <cx:pt idx="2138">2</cx:pt>
          <cx:pt idx="2139">3</cx:pt>
          <cx:pt idx="2140">5</cx:pt>
          <cx:pt idx="2141">1</cx:pt>
          <cx:pt idx="2142">2</cx:pt>
          <cx:pt idx="2143">3</cx:pt>
          <cx:pt idx="2144">3</cx:pt>
          <cx:pt idx="2145">1</cx:pt>
          <cx:pt idx="2146">1</cx:pt>
          <cx:pt idx="2147">7</cx:pt>
          <cx:pt idx="2148">1</cx:pt>
          <cx:pt idx="2149">2</cx:pt>
          <cx:pt idx="2150">1</cx:pt>
          <cx:pt idx="2151">2</cx:pt>
          <cx:pt idx="2152">5</cx:pt>
          <cx:pt idx="2153">5</cx:pt>
          <cx:pt idx="2154">4</cx:pt>
          <cx:pt idx="2155">3</cx:pt>
          <cx:pt idx="2156">1</cx:pt>
          <cx:pt idx="2157">3</cx:pt>
          <cx:pt idx="2158">2</cx:pt>
          <cx:pt idx="2159">3</cx:pt>
          <cx:pt idx="2160">2</cx:pt>
          <cx:pt idx="2161">2</cx:pt>
          <cx:pt idx="2162">2</cx:pt>
          <cx:pt idx="2163">2</cx:pt>
          <cx:pt idx="2164">6</cx:pt>
          <cx:pt idx="2165">1</cx:pt>
          <cx:pt idx="2166">1</cx:pt>
          <cx:pt idx="2167">4</cx:pt>
          <cx:pt idx="2168">4</cx:pt>
          <cx:pt idx="2169">1</cx:pt>
          <cx:pt idx="2170">1</cx:pt>
          <cx:pt idx="2171">4</cx:pt>
          <cx:pt idx="2172">2</cx:pt>
          <cx:pt idx="2173">1</cx:pt>
          <cx:pt idx="2174">2</cx:pt>
          <cx:pt idx="2175">1</cx:pt>
          <cx:pt idx="2176">1</cx:pt>
          <cx:pt idx="2177">2</cx:pt>
          <cx:pt idx="2178">1</cx:pt>
          <cx:pt idx="2179">2</cx:pt>
          <cx:pt idx="2180">2</cx:pt>
          <cx:pt idx="2181">1</cx:pt>
          <cx:pt idx="2182">2</cx:pt>
          <cx:pt idx="2183">1</cx:pt>
          <cx:pt idx="2184">1</cx:pt>
          <cx:pt idx="2185">2</cx:pt>
          <cx:pt idx="2186">4</cx:pt>
          <cx:pt idx="2187">2</cx:pt>
          <cx:pt idx="2188">2</cx:pt>
          <cx:pt idx="2189">3</cx:pt>
          <cx:pt idx="2190">5</cx:pt>
          <cx:pt idx="2191">4</cx:pt>
          <cx:pt idx="2192">2</cx:pt>
          <cx:pt idx="2193">1</cx:pt>
          <cx:pt idx="2194">3</cx:pt>
          <cx:pt idx="2195">1</cx:pt>
          <cx:pt idx="2196">1</cx:pt>
          <cx:pt idx="2197">4</cx:pt>
          <cx:pt idx="2198">1</cx:pt>
          <cx:pt idx="2199">4</cx:pt>
          <cx:pt idx="2200">1</cx:pt>
          <cx:pt idx="2201">2</cx:pt>
          <cx:pt idx="2202">1</cx:pt>
          <cx:pt idx="2203">1</cx:pt>
          <cx:pt idx="2204">1</cx:pt>
          <cx:pt idx="2205">4</cx:pt>
          <cx:pt idx="2206">1</cx:pt>
          <cx:pt idx="2207">1</cx:pt>
          <cx:pt idx="2208">1</cx:pt>
          <cx:pt idx="2209">2</cx:pt>
          <cx:pt idx="2210">4</cx:pt>
          <cx:pt idx="2211">4</cx:pt>
          <cx:pt idx="2212">1</cx:pt>
          <cx:pt idx="2213">5</cx:pt>
          <cx:pt idx="2214">1</cx:pt>
          <cx:pt idx="2215">2</cx:pt>
          <cx:pt idx="2216">3</cx:pt>
          <cx:pt idx="2217">2</cx:pt>
          <cx:pt idx="2218">1</cx:pt>
          <cx:pt idx="2219">2</cx:pt>
          <cx:pt idx="2220">1</cx:pt>
          <cx:pt idx="2221">3</cx:pt>
          <cx:pt idx="2222">2</cx:pt>
          <cx:pt idx="2223">1</cx:pt>
          <cx:pt idx="2224">2</cx:pt>
          <cx:pt idx="2225">1</cx:pt>
          <cx:pt idx="2226">1</cx:pt>
          <cx:pt idx="2227">1</cx:pt>
          <cx:pt idx="2228">2</cx:pt>
          <cx:pt idx="2229">4</cx:pt>
          <cx:pt idx="2230">2</cx:pt>
          <cx:pt idx="2231">2</cx:pt>
          <cx:pt idx="2232">2</cx:pt>
          <cx:pt idx="2233">1</cx:pt>
          <cx:pt idx="2234">2</cx:pt>
          <cx:pt idx="2235">3</cx:pt>
          <cx:pt idx="2236">1</cx:pt>
          <cx:pt idx="2237">1</cx:pt>
          <cx:pt idx="2238">2</cx:pt>
          <cx:pt idx="2239">1</cx:pt>
          <cx:pt idx="2240">1</cx:pt>
          <cx:pt idx="2241">2</cx:pt>
          <cx:pt idx="2242">1</cx:pt>
          <cx:pt idx="2243">2</cx:pt>
          <cx:pt idx="2244">1</cx:pt>
          <cx:pt idx="2245">2</cx:pt>
          <cx:pt idx="2246">1</cx:pt>
          <cx:pt idx="2247">2</cx:pt>
          <cx:pt idx="2248">2</cx:pt>
          <cx:pt idx="2249">3</cx:pt>
          <cx:pt idx="2250">1</cx:pt>
          <cx:pt idx="2251">1</cx:pt>
          <cx:pt idx="2252">1</cx:pt>
          <cx:pt idx="2253">1</cx:pt>
          <cx:pt idx="2254">2</cx:pt>
          <cx:pt idx="2255">4</cx:pt>
          <cx:pt idx="2256">3</cx:pt>
          <cx:pt idx="2257">5</cx:pt>
          <cx:pt idx="2258">3</cx:pt>
          <cx:pt idx="2259">3</cx:pt>
          <cx:pt idx="2260">1</cx:pt>
          <cx:pt idx="2261">2</cx:pt>
          <cx:pt idx="2262">1</cx:pt>
          <cx:pt idx="2263">2</cx:pt>
          <cx:pt idx="2264">1</cx:pt>
          <cx:pt idx="2265">1</cx:pt>
          <cx:pt idx="2266">2</cx:pt>
          <cx:pt idx="2267">2</cx:pt>
          <cx:pt idx="2268">1</cx:pt>
          <cx:pt idx="2269">1</cx:pt>
          <cx:pt idx="2270">2</cx:pt>
          <cx:pt idx="2271">3</cx:pt>
          <cx:pt idx="2272">2</cx:pt>
          <cx:pt idx="2273">3</cx:pt>
          <cx:pt idx="2274">1</cx:pt>
          <cx:pt idx="2275">2</cx:pt>
          <cx:pt idx="2276">1</cx:pt>
          <cx:pt idx="2277">1</cx:pt>
          <cx:pt idx="2278">2</cx:pt>
          <cx:pt idx="2279">2</cx:pt>
          <cx:pt idx="2280">2</cx:pt>
          <cx:pt idx="2281">2</cx:pt>
          <cx:pt idx="2282">2</cx:pt>
          <cx:pt idx="2283">1</cx:pt>
          <cx:pt idx="2284">1</cx:pt>
          <cx:pt idx="2285">2</cx:pt>
          <cx:pt idx="2286">1</cx:pt>
          <cx:pt idx="2287">1</cx:pt>
          <cx:pt idx="2288">4</cx:pt>
          <cx:pt idx="2289">5</cx:pt>
          <cx:pt idx="2290">1</cx:pt>
          <cx:pt idx="2291">2</cx:pt>
          <cx:pt idx="2292">3</cx:pt>
          <cx:pt idx="2293">2</cx:pt>
          <cx:pt idx="2294">4</cx:pt>
          <cx:pt idx="2295">3</cx:pt>
          <cx:pt idx="2296">3</cx:pt>
          <cx:pt idx="2297">1</cx:pt>
          <cx:pt idx="2298">1</cx:pt>
          <cx:pt idx="2299">3</cx:pt>
          <cx:pt idx="2300">1</cx:pt>
          <cx:pt idx="2301">1</cx:pt>
          <cx:pt idx="2302">6</cx:pt>
          <cx:pt idx="2303">2</cx:pt>
          <cx:pt idx="2304">1</cx:pt>
          <cx:pt idx="2305">3</cx:pt>
          <cx:pt idx="2306">2</cx:pt>
          <cx:pt idx="2307">2</cx:pt>
          <cx:pt idx="2308">3</cx:pt>
          <cx:pt idx="2309">1</cx:pt>
          <cx:pt idx="2310">2</cx:pt>
          <cx:pt idx="2311">2</cx:pt>
          <cx:pt idx="2312">1</cx:pt>
          <cx:pt idx="2313">2</cx:pt>
          <cx:pt idx="2314">3</cx:pt>
          <cx:pt idx="2315">1</cx:pt>
          <cx:pt idx="2316">3</cx:pt>
          <cx:pt idx="2317">1</cx:pt>
          <cx:pt idx="2318">4</cx:pt>
          <cx:pt idx="2319">2</cx:pt>
          <cx:pt idx="2320">4</cx:pt>
          <cx:pt idx="2321">3</cx:pt>
          <cx:pt idx="2322">2</cx:pt>
          <cx:pt idx="2323">1</cx:pt>
          <cx:pt idx="2324">1</cx:pt>
          <cx:pt idx="2325">2</cx:pt>
          <cx:pt idx="2326">1</cx:pt>
          <cx:pt idx="2327">1</cx:pt>
          <cx:pt idx="2328">1</cx:pt>
          <cx:pt idx="2329">1</cx:pt>
          <cx:pt idx="2330">2</cx:pt>
          <cx:pt idx="2331">1</cx:pt>
          <cx:pt idx="2332">4</cx:pt>
          <cx:pt idx="2333">2</cx:pt>
          <cx:pt idx="2334">1</cx:pt>
          <cx:pt idx="2335">1</cx:pt>
          <cx:pt idx="2336">1</cx:pt>
          <cx:pt idx="2337">1</cx:pt>
          <cx:pt idx="2338">3</cx:pt>
          <cx:pt idx="2339">4</cx:pt>
          <cx:pt idx="2340">1</cx:pt>
          <cx:pt idx="2341">1</cx:pt>
          <cx:pt idx="2342">2</cx:pt>
          <cx:pt idx="2343">3</cx:pt>
          <cx:pt idx="2344">2</cx:pt>
          <cx:pt idx="2345">1</cx:pt>
          <cx:pt idx="2346">2</cx:pt>
          <cx:pt idx="2347">1</cx:pt>
          <cx:pt idx="2348">2</cx:pt>
          <cx:pt idx="2349">1</cx:pt>
          <cx:pt idx="2350">2</cx:pt>
          <cx:pt idx="2351">1</cx:pt>
          <cx:pt idx="2352">3</cx:pt>
          <cx:pt idx="2353">2</cx:pt>
          <cx:pt idx="2354">1</cx:pt>
          <cx:pt idx="2355">1</cx:pt>
          <cx:pt idx="2356">1</cx:pt>
          <cx:pt idx="2357">1</cx:pt>
          <cx:pt idx="2358">3</cx:pt>
          <cx:pt idx="2359">2</cx:pt>
          <cx:pt idx="2360">1</cx:pt>
          <cx:pt idx="2361">1</cx:pt>
          <cx:pt idx="2362">2</cx:pt>
          <cx:pt idx="2363">1</cx:pt>
          <cx:pt idx="2364">1</cx:pt>
          <cx:pt idx="2365">1</cx:pt>
          <cx:pt idx="2366">2</cx:pt>
          <cx:pt idx="2367">1</cx:pt>
          <cx:pt idx="2368">1</cx:pt>
          <cx:pt idx="2369">1</cx:pt>
          <cx:pt idx="2370">1</cx:pt>
          <cx:pt idx="2371">2</cx:pt>
          <cx:pt idx="2372">2</cx:pt>
          <cx:pt idx="2373">1</cx:pt>
          <cx:pt idx="2374">2</cx:pt>
          <cx:pt idx="2375">1</cx:pt>
          <cx:pt idx="2376">1</cx:pt>
          <cx:pt idx="2377">2</cx:pt>
          <cx:pt idx="2378">2</cx:pt>
          <cx:pt idx="2379">3</cx:pt>
          <cx:pt idx="2380">2</cx:pt>
          <cx:pt idx="2381">2</cx:pt>
          <cx:pt idx="2382">1</cx:pt>
          <cx:pt idx="2383">1</cx:pt>
          <cx:pt idx="2384">5</cx:pt>
          <cx:pt idx="2385">2</cx:pt>
          <cx:pt idx="2386">2</cx:pt>
          <cx:pt idx="2387">1</cx:pt>
          <cx:pt idx="2388">1</cx:pt>
          <cx:pt idx="2389">1</cx:pt>
          <cx:pt idx="2390">2</cx:pt>
          <cx:pt idx="2391">2</cx:pt>
          <cx:pt idx="2392">2</cx:pt>
          <cx:pt idx="2393">2</cx:pt>
          <cx:pt idx="2394">3</cx:pt>
          <cx:pt idx="2395">3</cx:pt>
          <cx:pt idx="2396">2</cx:pt>
          <cx:pt idx="2397">2</cx:pt>
          <cx:pt idx="2398">1</cx:pt>
          <cx:pt idx="2399">1</cx:pt>
          <cx:pt idx="2400">3</cx:pt>
          <cx:pt idx="2401">2</cx:pt>
          <cx:pt idx="2402">2</cx:pt>
          <cx:pt idx="2403">1</cx:pt>
          <cx:pt idx="2404">2</cx:pt>
          <cx:pt idx="2405">1</cx:pt>
          <cx:pt idx="2406">2</cx:pt>
          <cx:pt idx="2407">1</cx:pt>
          <cx:pt idx="2408">1</cx:pt>
          <cx:pt idx="2409">1</cx:pt>
          <cx:pt idx="2410">2</cx:pt>
          <cx:pt idx="2411">2</cx:pt>
          <cx:pt idx="2412">2</cx:pt>
          <cx:pt idx="2413">2</cx:pt>
          <cx:pt idx="2414">1</cx:pt>
          <cx:pt idx="2415">1</cx:pt>
          <cx:pt idx="2416">2</cx:pt>
          <cx:pt idx="2417">1</cx:pt>
          <cx:pt idx="2418">4</cx:pt>
          <cx:pt idx="2419">3</cx:pt>
          <cx:pt idx="2420">1</cx:pt>
          <cx:pt idx="2421">1</cx:pt>
          <cx:pt idx="2422">1</cx:pt>
          <cx:pt idx="2423">3</cx:pt>
          <cx:pt idx="2424">3</cx:pt>
          <cx:pt idx="2425">2</cx:pt>
          <cx:pt idx="2426">2</cx:pt>
          <cx:pt idx="2427">1</cx:pt>
          <cx:pt idx="2428">1</cx:pt>
          <cx:pt idx="2429">4</cx:pt>
          <cx:pt idx="2430">5</cx:pt>
          <cx:pt idx="2431">1</cx:pt>
          <cx:pt idx="2432">3</cx:pt>
          <cx:pt idx="2433">2</cx:pt>
          <cx:pt idx="2434">1</cx:pt>
          <cx:pt idx="2435">3</cx:pt>
          <cx:pt idx="2436">2</cx:pt>
          <cx:pt idx="2437">2</cx:pt>
          <cx:pt idx="2438">1</cx:pt>
          <cx:pt idx="2439">1</cx:pt>
          <cx:pt idx="2440">2</cx:pt>
          <cx:pt idx="2441">2</cx:pt>
          <cx:pt idx="2442">1</cx:pt>
          <cx:pt idx="2443">1</cx:pt>
          <cx:pt idx="2444">1</cx:pt>
          <cx:pt idx="2445">2</cx:pt>
          <cx:pt idx="2446">1</cx:pt>
          <cx:pt idx="2447">1</cx:pt>
          <cx:pt idx="2448">2</cx:pt>
          <cx:pt idx="2449">3</cx:pt>
          <cx:pt idx="2450">2</cx:pt>
          <cx:pt idx="2451">1</cx:pt>
          <cx:pt idx="2452">3</cx:pt>
          <cx:pt idx="2453">1</cx:pt>
          <cx:pt idx="2454">2</cx:pt>
          <cx:pt idx="2455">3</cx:pt>
          <cx:pt idx="2456">4</cx:pt>
          <cx:pt idx="2457">1</cx:pt>
          <cx:pt idx="2458">2</cx:pt>
          <cx:pt idx="2459">3</cx:pt>
          <cx:pt idx="2460">1</cx:pt>
          <cx:pt idx="2461">2</cx:pt>
          <cx:pt idx="2462">1</cx:pt>
          <cx:pt idx="2463">2</cx:pt>
          <cx:pt idx="2464">5</cx:pt>
          <cx:pt idx="2465">1</cx:pt>
          <cx:pt idx="2466">1</cx:pt>
          <cx:pt idx="2467">3</cx:pt>
          <cx:pt idx="2468">3</cx:pt>
          <cx:pt idx="2469">2</cx:pt>
          <cx:pt idx="2470">1</cx:pt>
          <cx:pt idx="2471">2</cx:pt>
          <cx:pt idx="2472">2</cx:pt>
          <cx:pt idx="2473">3</cx:pt>
          <cx:pt idx="2474">2</cx:pt>
          <cx:pt idx="2475">2</cx:pt>
          <cx:pt idx="2476">3</cx:pt>
          <cx:pt idx="2477">2</cx:pt>
          <cx:pt idx="2478">2</cx:pt>
          <cx:pt idx="2479">4</cx:pt>
          <cx:pt idx="2480">1</cx:pt>
          <cx:pt idx="2481">4</cx:pt>
          <cx:pt idx="2482">2</cx:pt>
          <cx:pt idx="2483">2</cx:pt>
          <cx:pt idx="2484">2</cx:pt>
          <cx:pt idx="2485">2</cx:pt>
          <cx:pt idx="2486">7</cx:pt>
          <cx:pt idx="2487">1</cx:pt>
          <cx:pt idx="2488">3</cx:pt>
          <cx:pt idx="2489">4</cx:pt>
          <cx:pt idx="2490">4</cx:pt>
          <cx:pt idx="2491">1</cx:pt>
          <cx:pt idx="2492">1</cx:pt>
          <cx:pt idx="2493">2</cx:pt>
          <cx:pt idx="2494">1</cx:pt>
          <cx:pt idx="2495">2</cx:pt>
          <cx:pt idx="2496">1</cx:pt>
          <cx:pt idx="2497">2</cx:pt>
          <cx:pt idx="2498">4</cx:pt>
          <cx:pt idx="2499">1</cx:pt>
          <cx:pt idx="2500">2</cx:pt>
          <cx:pt idx="2501">1</cx:pt>
          <cx:pt idx="2502">1</cx:pt>
          <cx:pt idx="2503">4</cx:pt>
          <cx:pt idx="2504">3</cx:pt>
          <cx:pt idx="2505">3</cx:pt>
          <cx:pt idx="2506">2</cx:pt>
          <cx:pt idx="2507">3</cx:pt>
          <cx:pt idx="2508">1</cx:pt>
          <cx:pt idx="2509">3</cx:pt>
          <cx:pt idx="2510">2</cx:pt>
          <cx:pt idx="2511">2</cx:pt>
          <cx:pt idx="2512">1</cx:pt>
          <cx:pt idx="2513">2</cx:pt>
          <cx:pt idx="2514">2</cx:pt>
          <cx:pt idx="2515">3</cx:pt>
          <cx:pt idx="2516">3</cx:pt>
          <cx:pt idx="2517">4</cx:pt>
          <cx:pt idx="2518">2</cx:pt>
          <cx:pt idx="2519">4</cx:pt>
          <cx:pt idx="2520">2</cx:pt>
          <cx:pt idx="2521">2</cx:pt>
          <cx:pt idx="2522">2</cx:pt>
          <cx:pt idx="2523">2</cx:pt>
          <cx:pt idx="2524">2</cx:pt>
          <cx:pt idx="2525">3</cx:pt>
          <cx:pt idx="2526">1</cx:pt>
          <cx:pt idx="2527">2</cx:pt>
          <cx:pt idx="2528">3</cx:pt>
          <cx:pt idx="2529">4</cx:pt>
          <cx:pt idx="2530">2</cx:pt>
          <cx:pt idx="2531">1</cx:pt>
          <cx:pt idx="2532">2</cx:pt>
          <cx:pt idx="2533">4</cx:pt>
          <cx:pt idx="2534">1</cx:pt>
          <cx:pt idx="2535">2</cx:pt>
          <cx:pt idx="2536">1</cx:pt>
          <cx:pt idx="2537">4</cx:pt>
          <cx:pt idx="2538">3</cx:pt>
          <cx:pt idx="2539">4</cx:pt>
          <cx:pt idx="2540">1</cx:pt>
          <cx:pt idx="2541">1</cx:pt>
          <cx:pt idx="2542">1</cx:pt>
          <cx:pt idx="2543">1</cx:pt>
          <cx:pt idx="2544">2</cx:pt>
          <cx:pt idx="2545">5</cx:pt>
          <cx:pt idx="2546">3</cx:pt>
          <cx:pt idx="2547">3</cx:pt>
          <cx:pt idx="2548">5</cx:pt>
          <cx:pt idx="2549">2</cx:pt>
          <cx:pt idx="2550">5</cx:pt>
          <cx:pt idx="2551">1</cx:pt>
          <cx:pt idx="2552">3</cx:pt>
          <cx:pt idx="2553">2</cx:pt>
          <cx:pt idx="2554">1</cx:pt>
          <cx:pt idx="2555">2</cx:pt>
          <cx:pt idx="2556">1</cx:pt>
          <cx:pt idx="2557">1</cx:pt>
          <cx:pt idx="2558">3</cx:pt>
          <cx:pt idx="2559">4</cx:pt>
          <cx:pt idx="2560">2</cx:pt>
          <cx:pt idx="2561">2</cx:pt>
          <cx:pt idx="2562">1</cx:pt>
          <cx:pt idx="2563">1</cx:pt>
          <cx:pt idx="2564">4</cx:pt>
          <cx:pt idx="2565">1</cx:pt>
          <cx:pt idx="2566">1</cx:pt>
          <cx:pt idx="2567">1</cx:pt>
          <cx:pt idx="2568">1</cx:pt>
          <cx:pt idx="2569">1</cx:pt>
          <cx:pt idx="2570">1</cx:pt>
          <cx:pt idx="2571">1</cx:pt>
          <cx:pt idx="2572">4</cx:pt>
          <cx:pt idx="2573">4</cx:pt>
          <cx:pt idx="2574">1</cx:pt>
          <cx:pt idx="2575">4</cx:pt>
          <cx:pt idx="2576">3</cx:pt>
          <cx:pt idx="2577">2</cx:pt>
          <cx:pt idx="2578">1</cx:pt>
          <cx:pt idx="2579">2</cx:pt>
          <cx:pt idx="2580">1</cx:pt>
          <cx:pt idx="2581">3</cx:pt>
          <cx:pt idx="2582">1</cx:pt>
          <cx:pt idx="2583">2</cx:pt>
          <cx:pt idx="2584">2</cx:pt>
          <cx:pt idx="2585">5</cx:pt>
          <cx:pt idx="2586">1</cx:pt>
          <cx:pt idx="2587">3</cx:pt>
          <cx:pt idx="2588">3</cx:pt>
          <cx:pt idx="2589">1</cx:pt>
          <cx:pt idx="2590">1</cx:pt>
          <cx:pt idx="2591">1</cx:pt>
          <cx:pt idx="2592">2</cx:pt>
          <cx:pt idx="2593">2</cx:pt>
          <cx:pt idx="2594">3</cx:pt>
          <cx:pt idx="2595">2</cx:pt>
          <cx:pt idx="2596">1</cx:pt>
          <cx:pt idx="2597">1</cx:pt>
          <cx:pt idx="2598">3</cx:pt>
          <cx:pt idx="2599">2</cx:pt>
          <cx:pt idx="2600">2</cx:pt>
          <cx:pt idx="2601">2</cx:pt>
          <cx:pt idx="2602">2</cx:pt>
          <cx:pt idx="2603">4</cx:pt>
          <cx:pt idx="2604">1</cx:pt>
          <cx:pt idx="2605">1</cx:pt>
          <cx:pt idx="2606">2</cx:pt>
          <cx:pt idx="2607">4</cx:pt>
          <cx:pt idx="2608">1</cx:pt>
          <cx:pt idx="2609">3</cx:pt>
          <cx:pt idx="2610">1</cx:pt>
          <cx:pt idx="2611">4</cx:pt>
          <cx:pt idx="2612">1</cx:pt>
          <cx:pt idx="2613">3</cx:pt>
          <cx:pt idx="2614">6</cx:pt>
          <cx:pt idx="2615">6</cx:pt>
          <cx:pt idx="2616">2</cx:pt>
          <cx:pt idx="2617">1</cx:pt>
          <cx:pt idx="2618">1</cx:pt>
          <cx:pt idx="2619">1</cx:pt>
          <cx:pt idx="2620">2</cx:pt>
          <cx:pt idx="2621">2</cx:pt>
          <cx:pt idx="2622">1</cx:pt>
          <cx:pt idx="2623">4</cx:pt>
          <cx:pt idx="2624">1</cx:pt>
          <cx:pt idx="2625">1</cx:pt>
          <cx:pt idx="2626">2</cx:pt>
          <cx:pt idx="2627">3</cx:pt>
          <cx:pt idx="2628">1</cx:pt>
          <cx:pt idx="2629">3</cx:pt>
          <cx:pt idx="2630">3</cx:pt>
          <cx:pt idx="2631">1</cx:pt>
          <cx:pt idx="2632">1</cx:pt>
          <cx:pt idx="2633">2</cx:pt>
          <cx:pt idx="2634">2</cx:pt>
          <cx:pt idx="2635">3</cx:pt>
          <cx:pt idx="2636">2</cx:pt>
          <cx:pt idx="2637">3</cx:pt>
          <cx:pt idx="2638">2</cx:pt>
          <cx:pt idx="2639">1</cx:pt>
          <cx:pt idx="2640">1</cx:pt>
          <cx:pt idx="2641">1</cx:pt>
          <cx:pt idx="2642">2</cx:pt>
          <cx:pt idx="2643">2</cx:pt>
          <cx:pt idx="2644">1</cx:pt>
          <cx:pt idx="2645">2</cx:pt>
          <cx:pt idx="2646">2</cx:pt>
          <cx:pt idx="2647">3</cx:pt>
          <cx:pt idx="2648">1</cx:pt>
          <cx:pt idx="2649">1</cx:pt>
          <cx:pt idx="2650">1</cx:pt>
          <cx:pt idx="2651">2</cx:pt>
          <cx:pt idx="2652">1</cx:pt>
          <cx:pt idx="2653">1</cx:pt>
          <cx:pt idx="2654">1</cx:pt>
          <cx:pt idx="2655">2</cx:pt>
          <cx:pt idx="2656">2</cx:pt>
          <cx:pt idx="2657">2</cx:pt>
          <cx:pt idx="2658">1</cx:pt>
          <cx:pt idx="2659">1</cx:pt>
          <cx:pt idx="2660">1</cx:pt>
          <cx:pt idx="2661">4</cx:pt>
          <cx:pt idx="2662">3</cx:pt>
          <cx:pt idx="2663">1</cx:pt>
          <cx:pt idx="2664">1</cx:pt>
          <cx:pt idx="2665">2</cx:pt>
          <cx:pt idx="2666">1</cx:pt>
          <cx:pt idx="2667">3</cx:pt>
          <cx:pt idx="2668">5</cx:pt>
          <cx:pt idx="2669">2</cx:pt>
          <cx:pt idx="2670">1</cx:pt>
          <cx:pt idx="2671">2</cx:pt>
          <cx:pt idx="2672">1</cx:pt>
          <cx:pt idx="2673">1</cx:pt>
          <cx:pt idx="2674">2</cx:pt>
          <cx:pt idx="2675">4</cx:pt>
          <cx:pt idx="2676">1</cx:pt>
          <cx:pt idx="2677">1</cx:pt>
          <cx:pt idx="2678">1</cx:pt>
          <cx:pt idx="2679">4</cx:pt>
          <cx:pt idx="2680">3</cx:pt>
          <cx:pt idx="2681">2</cx:pt>
          <cx:pt idx="2682">2</cx:pt>
          <cx:pt idx="2683">1</cx:pt>
          <cx:pt idx="2684">3</cx:pt>
          <cx:pt idx="2685">1</cx:pt>
          <cx:pt idx="2686">2</cx:pt>
          <cx:pt idx="2687">1</cx:pt>
          <cx:pt idx="2688">2</cx:pt>
          <cx:pt idx="2689">2</cx:pt>
          <cx:pt idx="2690">1</cx:pt>
          <cx:pt idx="2691">1</cx:pt>
          <cx:pt idx="2692">3</cx:pt>
          <cx:pt idx="2693">2</cx:pt>
          <cx:pt idx="2694">1</cx:pt>
          <cx:pt idx="2695">2</cx:pt>
          <cx:pt idx="2696">2</cx:pt>
          <cx:pt idx="2697">2</cx:pt>
          <cx:pt idx="2698">1</cx:pt>
          <cx:pt idx="2699">1</cx:pt>
          <cx:pt idx="2700">2</cx:pt>
          <cx:pt idx="2701">1</cx:pt>
          <cx:pt idx="2702">1</cx:pt>
          <cx:pt idx="2703">4</cx:pt>
          <cx:pt idx="2704">1</cx:pt>
          <cx:pt idx="2705">2</cx:pt>
          <cx:pt idx="2706">1</cx:pt>
          <cx:pt idx="2707">1</cx:pt>
          <cx:pt idx="2708">1</cx:pt>
          <cx:pt idx="2709">3</cx:pt>
          <cx:pt idx="2710">1</cx:pt>
          <cx:pt idx="2711">3</cx:pt>
          <cx:pt idx="2712">2</cx:pt>
          <cx:pt idx="2713">3</cx:pt>
          <cx:pt idx="2714">2</cx:pt>
          <cx:pt idx="2715">2</cx:pt>
          <cx:pt idx="2716">2</cx:pt>
          <cx:pt idx="2717">1</cx:pt>
          <cx:pt idx="2718">3</cx:pt>
          <cx:pt idx="2719">4</cx:pt>
          <cx:pt idx="2720">1</cx:pt>
          <cx:pt idx="2721">2</cx:pt>
          <cx:pt idx="2722">2</cx:pt>
          <cx:pt idx="2723">2</cx:pt>
          <cx:pt idx="2724">2</cx:pt>
          <cx:pt idx="2725">2</cx:pt>
          <cx:pt idx="2726">1</cx:pt>
          <cx:pt idx="2727">1</cx:pt>
          <cx:pt idx="2728">5</cx:pt>
          <cx:pt idx="2729">2</cx:pt>
          <cx:pt idx="2730">2</cx:pt>
          <cx:pt idx="2731">2</cx:pt>
          <cx:pt idx="2732">1</cx:pt>
          <cx:pt idx="2733">1</cx:pt>
          <cx:pt idx="2734">3</cx:pt>
          <cx:pt idx="2735">4</cx:pt>
          <cx:pt idx="2736">2</cx:pt>
          <cx:pt idx="2737">1</cx:pt>
          <cx:pt idx="2738">2</cx:pt>
          <cx:pt idx="2739">1</cx:pt>
          <cx:pt idx="2740">1</cx:pt>
          <cx:pt idx="2741">1</cx:pt>
          <cx:pt idx="2742">1</cx:pt>
          <cx:pt idx="2743">1</cx:pt>
          <cx:pt idx="2744">2</cx:pt>
          <cx:pt idx="2745">2</cx:pt>
          <cx:pt idx="2746">1</cx:pt>
          <cx:pt idx="2747">2</cx:pt>
          <cx:pt idx="2748">1</cx:pt>
          <cx:pt idx="2749">1</cx:pt>
          <cx:pt idx="2750">2</cx:pt>
          <cx:pt idx="2751">1</cx:pt>
          <cx:pt idx="2752">1</cx:pt>
          <cx:pt idx="2753">1</cx:pt>
          <cx:pt idx="2754">1</cx:pt>
          <cx:pt idx="2755">2</cx:pt>
          <cx:pt idx="2756">1</cx:pt>
          <cx:pt idx="2757">3</cx:pt>
          <cx:pt idx="2758">1</cx:pt>
          <cx:pt idx="2759">1</cx:pt>
          <cx:pt idx="2760">2</cx:pt>
          <cx:pt idx="2761">2</cx:pt>
          <cx:pt idx="2762">4</cx:pt>
          <cx:pt idx="2763">3</cx:pt>
          <cx:pt idx="2764">3</cx:pt>
          <cx:pt idx="2765">3</cx:pt>
          <cx:pt idx="2766">1</cx:pt>
          <cx:pt idx="2767">2</cx:pt>
          <cx:pt idx="2768">1</cx:pt>
          <cx:pt idx="2769">4</cx:pt>
          <cx:pt idx="2770">1</cx:pt>
          <cx:pt idx="2771">1</cx:pt>
          <cx:pt idx="2772">2</cx:pt>
          <cx:pt idx="2773">1</cx:pt>
          <cx:pt idx="2774">2</cx:pt>
          <cx:pt idx="2775">1</cx:pt>
          <cx:pt idx="2776">2</cx:pt>
          <cx:pt idx="2777">1</cx:pt>
          <cx:pt idx="2778">2</cx:pt>
          <cx:pt idx="2779">1</cx:pt>
          <cx:pt idx="2780">2</cx:pt>
          <cx:pt idx="2781">1</cx:pt>
          <cx:pt idx="2782">2</cx:pt>
          <cx:pt idx="2783">2</cx:pt>
          <cx:pt idx="2784">1</cx:pt>
          <cx:pt idx="2785">2</cx:pt>
          <cx:pt idx="2786">1</cx:pt>
          <cx:pt idx="2787">1</cx:pt>
          <cx:pt idx="2788">1</cx:pt>
          <cx:pt idx="2789">1</cx:pt>
          <cx:pt idx="2790">1</cx:pt>
          <cx:pt idx="2791">1</cx:pt>
          <cx:pt idx="2792">2</cx:pt>
          <cx:pt idx="2793">2</cx:pt>
          <cx:pt idx="2794">2</cx:pt>
          <cx:pt idx="2795">6</cx:pt>
          <cx:pt idx="2796">2</cx:pt>
          <cx:pt idx="2797">1</cx:pt>
          <cx:pt idx="2798">5</cx:pt>
          <cx:pt idx="2799">3</cx:pt>
          <cx:pt idx="2800">1</cx:pt>
          <cx:pt idx="2801">2</cx:pt>
          <cx:pt idx="2802">3</cx:pt>
          <cx:pt idx="2803">2</cx:pt>
          <cx:pt idx="2804">2</cx:pt>
          <cx:pt idx="2805">2</cx:pt>
          <cx:pt idx="2806">2</cx:pt>
          <cx:pt idx="2807">4</cx:pt>
          <cx:pt idx="2808">1</cx:pt>
          <cx:pt idx="2809">1</cx:pt>
          <cx:pt idx="2810">1</cx:pt>
          <cx:pt idx="2811">1</cx:pt>
          <cx:pt idx="2812">2</cx:pt>
          <cx:pt idx="2813">2</cx:pt>
          <cx:pt idx="2814">1</cx:pt>
          <cx:pt idx="2815">1</cx:pt>
          <cx:pt idx="2816">4</cx:pt>
          <cx:pt idx="2817">5</cx:pt>
          <cx:pt idx="2818">3</cx:pt>
          <cx:pt idx="2819">1</cx:pt>
          <cx:pt idx="2820">1</cx:pt>
          <cx:pt idx="2821">1</cx:pt>
          <cx:pt idx="2822">4</cx:pt>
          <cx:pt idx="2823">2</cx:pt>
          <cx:pt idx="2824">1</cx:pt>
          <cx:pt idx="2825">1</cx:pt>
          <cx:pt idx="2826">1</cx:pt>
          <cx:pt idx="2827">2</cx:pt>
          <cx:pt idx="2828">3</cx:pt>
          <cx:pt idx="2829">2</cx:pt>
          <cx:pt idx="2830">3</cx:pt>
          <cx:pt idx="2831">2</cx:pt>
          <cx:pt idx="2832">5</cx:pt>
          <cx:pt idx="2833">3</cx:pt>
          <cx:pt idx="2834">2</cx:pt>
          <cx:pt idx="2835">1</cx:pt>
          <cx:pt idx="2836">2</cx:pt>
          <cx:pt idx="2837">4</cx:pt>
          <cx:pt idx="2838">3</cx:pt>
          <cx:pt idx="2839">1</cx:pt>
          <cx:pt idx="2840">1</cx:pt>
          <cx:pt idx="2841">3</cx:pt>
          <cx:pt idx="2842">1</cx:pt>
          <cx:pt idx="2843">3</cx:pt>
          <cx:pt idx="2844">2</cx:pt>
          <cx:pt idx="2845">2</cx:pt>
          <cx:pt idx="2846">2</cx:pt>
          <cx:pt idx="2847">2</cx:pt>
          <cx:pt idx="2848">2</cx:pt>
          <cx:pt idx="2849">2</cx:pt>
          <cx:pt idx="2850">1</cx:pt>
          <cx:pt idx="2851">1</cx:pt>
          <cx:pt idx="2852">1</cx:pt>
          <cx:pt idx="2853">1</cx:pt>
          <cx:pt idx="2854">2</cx:pt>
          <cx:pt idx="2855">3</cx:pt>
          <cx:pt idx="2856">2</cx:pt>
          <cx:pt idx="2857">3</cx:pt>
          <cx:pt idx="2858">1</cx:pt>
          <cx:pt idx="2859">1</cx:pt>
          <cx:pt idx="2860">2</cx:pt>
          <cx:pt idx="2861">2</cx:pt>
          <cx:pt idx="2862">2</cx:pt>
          <cx:pt idx="2863">1</cx:pt>
          <cx:pt idx="2864">1</cx:pt>
          <cx:pt idx="2865">2</cx:pt>
          <cx:pt idx="2866">1</cx:pt>
          <cx:pt idx="2867">2</cx:pt>
          <cx:pt idx="2868">3</cx:pt>
          <cx:pt idx="2869">1</cx:pt>
          <cx:pt idx="2870">4</cx:pt>
          <cx:pt idx="2871">3</cx:pt>
          <cx:pt idx="2872">1</cx:pt>
          <cx:pt idx="2873">3</cx:pt>
          <cx:pt idx="2874">2</cx:pt>
          <cx:pt idx="2875">4</cx:pt>
          <cx:pt idx="2876">1</cx:pt>
          <cx:pt idx="2877">3</cx:pt>
          <cx:pt idx="2878">1</cx:pt>
          <cx:pt idx="2879">2</cx:pt>
          <cx:pt idx="2880">3</cx:pt>
          <cx:pt idx="2881">1</cx:pt>
          <cx:pt idx="2882">2</cx:pt>
          <cx:pt idx="2883">1</cx:pt>
          <cx:pt idx="2884">2</cx:pt>
          <cx:pt idx="2885">6</cx:pt>
          <cx:pt idx="2886">1</cx:pt>
          <cx:pt idx="2887">3</cx:pt>
          <cx:pt idx="2888">2</cx:pt>
          <cx:pt idx="2889">2</cx:pt>
          <cx:pt idx="2890">3</cx:pt>
          <cx:pt idx="2891">1</cx:pt>
          <cx:pt idx="2892">2</cx:pt>
          <cx:pt idx="2893">1</cx:pt>
          <cx:pt idx="2894">2</cx:pt>
          <cx:pt idx="2895">3</cx:pt>
          <cx:pt idx="2896">2</cx:pt>
          <cx:pt idx="2897">1</cx:pt>
          <cx:pt idx="2898">1</cx:pt>
          <cx:pt idx="2899">1</cx:pt>
          <cx:pt idx="2900">2</cx:pt>
          <cx:pt idx="2901">2</cx:pt>
          <cx:pt idx="2902">1</cx:pt>
          <cx:pt idx="2903">2</cx:pt>
          <cx:pt idx="2904">2</cx:pt>
          <cx:pt idx="2905">2</cx:pt>
          <cx:pt idx="2906">2</cx:pt>
          <cx:pt idx="2907">2</cx:pt>
          <cx:pt idx="2908">1</cx:pt>
          <cx:pt idx="2909">1</cx:pt>
          <cx:pt idx="2910">1</cx:pt>
          <cx:pt idx="2911">1</cx:pt>
          <cx:pt idx="2912">7</cx:pt>
          <cx:pt idx="2913">1</cx:pt>
          <cx:pt idx="2914">5</cx:pt>
          <cx:pt idx="2915">1</cx:pt>
          <cx:pt idx="2916">1</cx:pt>
          <cx:pt idx="2917">4</cx:pt>
          <cx:pt idx="2918">3</cx:pt>
          <cx:pt idx="2919">1</cx:pt>
          <cx:pt idx="2920">1</cx:pt>
          <cx:pt idx="2921">4</cx:pt>
          <cx:pt idx="2922">1</cx:pt>
          <cx:pt idx="2923">4</cx:pt>
          <cx:pt idx="2924">1</cx:pt>
          <cx:pt idx="2925">1</cx:pt>
          <cx:pt idx="2926">2</cx:pt>
          <cx:pt idx="2927">1</cx:pt>
          <cx:pt idx="2928">3</cx:pt>
          <cx:pt idx="2929">2</cx:pt>
          <cx:pt idx="2930">2</cx:pt>
          <cx:pt idx="2931">2</cx:pt>
          <cx:pt idx="2932">3</cx:pt>
          <cx:pt idx="2933">1</cx:pt>
          <cx:pt idx="2934">1</cx:pt>
          <cx:pt idx="2935">3</cx:pt>
          <cx:pt idx="2936">3</cx:pt>
          <cx:pt idx="2937">2</cx:pt>
          <cx:pt idx="2938">2</cx:pt>
          <cx:pt idx="2939">1</cx:pt>
          <cx:pt idx="2940">2</cx:pt>
          <cx:pt idx="2941">1</cx:pt>
          <cx:pt idx="2942">2</cx:pt>
          <cx:pt idx="2943">2</cx:pt>
          <cx:pt idx="2944">1</cx:pt>
          <cx:pt idx="2945">1</cx:pt>
          <cx:pt idx="2946">1</cx:pt>
          <cx:pt idx="2947">1</cx:pt>
          <cx:pt idx="2948">2</cx:pt>
          <cx:pt idx="2949">3</cx:pt>
          <cx:pt idx="2950">2</cx:pt>
          <cx:pt idx="2951">1</cx:pt>
          <cx:pt idx="2952">2</cx:pt>
          <cx:pt idx="2953">1</cx:pt>
          <cx:pt idx="2954">4</cx:pt>
          <cx:pt idx="2955">2</cx:pt>
          <cx:pt idx="2956">4</cx:pt>
          <cx:pt idx="2957">3</cx:pt>
          <cx:pt idx="2958">1</cx:pt>
          <cx:pt idx="2959">1</cx:pt>
          <cx:pt idx="2960">4</cx:pt>
          <cx:pt idx="2961">1</cx:pt>
          <cx:pt idx="2962">2</cx:pt>
          <cx:pt idx="2963">1</cx:pt>
          <cx:pt idx="2964">2</cx:pt>
          <cx:pt idx="2965">4</cx:pt>
          <cx:pt idx="2966">1</cx:pt>
          <cx:pt idx="2967">1</cx:pt>
          <cx:pt idx="2968">2</cx:pt>
          <cx:pt idx="2969">6</cx:pt>
          <cx:pt idx="2970">1</cx:pt>
          <cx:pt idx="2971">1</cx:pt>
          <cx:pt idx="2972">2</cx:pt>
          <cx:pt idx="2973">2</cx:pt>
          <cx:pt idx="2974">1</cx:pt>
          <cx:pt idx="2975">1</cx:pt>
          <cx:pt idx="2976">4</cx:pt>
          <cx:pt idx="2977">2</cx:pt>
          <cx:pt idx="2978">1</cx:pt>
          <cx:pt idx="2979">1</cx:pt>
          <cx:pt idx="2980">4</cx:pt>
          <cx:pt idx="2981">1</cx:pt>
          <cx:pt idx="2982">2</cx:pt>
          <cx:pt idx="2983">1</cx:pt>
          <cx:pt idx="2984">1</cx:pt>
          <cx:pt idx="2985">5</cx:pt>
          <cx:pt idx="2986">4</cx:pt>
          <cx:pt idx="2987">1</cx:pt>
          <cx:pt idx="2988">2</cx:pt>
          <cx:pt idx="2989">2</cx:pt>
          <cx:pt idx="2990">2</cx:pt>
          <cx:pt idx="2991">1</cx:pt>
          <cx:pt idx="2992">5</cx:pt>
          <cx:pt idx="2993">3</cx:pt>
          <cx:pt idx="2994">2</cx:pt>
          <cx:pt idx="2995">3</cx:pt>
          <cx:pt idx="2996">2</cx:pt>
          <cx:pt idx="2997">2</cx:pt>
          <cx:pt idx="2998">3</cx:pt>
          <cx:pt idx="2999">1</cx:pt>
          <cx:pt idx="3000">2</cx:pt>
          <cx:pt idx="3001">2</cx:pt>
          <cx:pt idx="3002">5</cx:pt>
          <cx:pt idx="3003">1</cx:pt>
          <cx:pt idx="3004">2</cx:pt>
          <cx:pt idx="3005">3</cx:pt>
          <cx:pt idx="3006">2</cx:pt>
          <cx:pt idx="3007">1</cx:pt>
          <cx:pt idx="3008">1</cx:pt>
          <cx:pt idx="3009">3</cx:pt>
          <cx:pt idx="3010">1</cx:pt>
          <cx:pt idx="3011">1</cx:pt>
          <cx:pt idx="3012">1</cx:pt>
          <cx:pt idx="3013">1</cx:pt>
          <cx:pt idx="3014">3</cx:pt>
          <cx:pt idx="3015">1</cx:pt>
          <cx:pt idx="3016">2</cx:pt>
          <cx:pt idx="3017">1</cx:pt>
          <cx:pt idx="3018">3</cx:pt>
          <cx:pt idx="3019">3</cx:pt>
          <cx:pt idx="3020">2</cx:pt>
          <cx:pt idx="3021">2</cx:pt>
          <cx:pt idx="3022">4</cx:pt>
          <cx:pt idx="3023">2</cx:pt>
          <cx:pt idx="3024">1</cx:pt>
          <cx:pt idx="3025">1</cx:pt>
          <cx:pt idx="3026">1</cx:pt>
          <cx:pt idx="3027">3</cx:pt>
          <cx:pt idx="3028">5</cx:pt>
          <cx:pt idx="3029">2</cx:pt>
          <cx:pt idx="3030">1</cx:pt>
          <cx:pt idx="3031">3</cx:pt>
          <cx:pt idx="3032">1</cx:pt>
          <cx:pt idx="3033">1</cx:pt>
          <cx:pt idx="3034">2</cx:pt>
          <cx:pt idx="3035">3</cx:pt>
          <cx:pt idx="3036">1</cx:pt>
          <cx:pt idx="3037">1</cx:pt>
          <cx:pt idx="3038">1</cx:pt>
          <cx:pt idx="3039">1</cx:pt>
          <cx:pt idx="3040">1</cx:pt>
          <cx:pt idx="3041">1</cx:pt>
          <cx:pt idx="3042">1</cx:pt>
          <cx:pt idx="3043">1</cx:pt>
          <cx:pt idx="3044">2</cx:pt>
          <cx:pt idx="3045">3</cx:pt>
          <cx:pt idx="3046">4</cx:pt>
          <cx:pt idx="3047">1</cx:pt>
          <cx:pt idx="3048">3</cx:pt>
          <cx:pt idx="3049">4</cx:pt>
          <cx:pt idx="3050">3</cx:pt>
          <cx:pt idx="3051">2</cx:pt>
          <cx:pt idx="3052">3</cx:pt>
          <cx:pt idx="3053">2</cx:pt>
          <cx:pt idx="3054">1</cx:pt>
          <cx:pt idx="3055">1</cx:pt>
          <cx:pt idx="3056">2</cx:pt>
          <cx:pt idx="3057">1</cx:pt>
          <cx:pt idx="3058">1</cx:pt>
          <cx:pt idx="3059">2</cx:pt>
          <cx:pt idx="3060">1</cx:pt>
          <cx:pt idx="3061">1</cx:pt>
          <cx:pt idx="3062">1</cx:pt>
          <cx:pt idx="3063">1</cx:pt>
          <cx:pt idx="3064">1</cx:pt>
          <cx:pt idx="3065">2</cx:pt>
          <cx:pt idx="3066">2</cx:pt>
          <cx:pt idx="3067">1</cx:pt>
          <cx:pt idx="3068">2</cx:pt>
          <cx:pt idx="3069">3</cx:pt>
          <cx:pt idx="3070">1</cx:pt>
          <cx:pt idx="3071">1</cx:pt>
          <cx:pt idx="3072">3</cx:pt>
          <cx:pt idx="3073">4</cx:pt>
          <cx:pt idx="3074">2</cx:pt>
          <cx:pt idx="3075">2</cx:pt>
          <cx:pt idx="3076">4</cx:pt>
          <cx:pt idx="3077">4</cx:pt>
          <cx:pt idx="3078">1</cx:pt>
          <cx:pt idx="3079">2</cx:pt>
          <cx:pt idx="3080">2</cx:pt>
          <cx:pt idx="3081">2</cx:pt>
          <cx:pt idx="3082">5</cx:pt>
          <cx:pt idx="3083">2</cx:pt>
          <cx:pt idx="3084">3</cx:pt>
          <cx:pt idx="3085">2</cx:pt>
          <cx:pt idx="3086">3</cx:pt>
          <cx:pt idx="3087">3</cx:pt>
          <cx:pt idx="3088">1</cx:pt>
          <cx:pt idx="3089">1</cx:pt>
          <cx:pt idx="3090">2</cx:pt>
          <cx:pt idx="3091">1</cx:pt>
          <cx:pt idx="3092">1</cx:pt>
          <cx:pt idx="3093">2</cx:pt>
          <cx:pt idx="3094">1</cx:pt>
          <cx:pt idx="3095">2</cx:pt>
          <cx:pt idx="3096">1</cx:pt>
          <cx:pt idx="3097">1</cx:pt>
          <cx:pt idx="3098">2</cx:pt>
          <cx:pt idx="3099">1</cx:pt>
          <cx:pt idx="3100">1</cx:pt>
          <cx:pt idx="3101">2</cx:pt>
          <cx:pt idx="3102">3</cx:pt>
          <cx:pt idx="3103">1</cx:pt>
          <cx:pt idx="3104">3</cx:pt>
          <cx:pt idx="3105">3</cx:pt>
          <cx:pt idx="3106">1</cx:pt>
          <cx:pt idx="3107">2</cx:pt>
          <cx:pt idx="3108">2</cx:pt>
          <cx:pt idx="3109">3</cx:pt>
          <cx:pt idx="3110">1</cx:pt>
          <cx:pt idx="3111">3</cx:pt>
          <cx:pt idx="3112">1</cx:pt>
          <cx:pt idx="3113">1</cx:pt>
          <cx:pt idx="3114">2</cx:pt>
          <cx:pt idx="3115">1</cx:pt>
          <cx:pt idx="3116">2</cx:pt>
          <cx:pt idx="3117">1</cx:pt>
          <cx:pt idx="3118">1</cx:pt>
          <cx:pt idx="3119">2</cx:pt>
          <cx:pt idx="3120">2</cx:pt>
          <cx:pt idx="3121">4</cx:pt>
          <cx:pt idx="3122">3</cx:pt>
          <cx:pt idx="3123">1</cx:pt>
          <cx:pt idx="3124">2</cx:pt>
          <cx:pt idx="3125">3</cx:pt>
          <cx:pt idx="3126">1</cx:pt>
          <cx:pt idx="3127">1</cx:pt>
          <cx:pt idx="3128">2</cx:pt>
          <cx:pt idx="3129">2</cx:pt>
          <cx:pt idx="3130">1</cx:pt>
          <cx:pt idx="3131">1</cx:pt>
          <cx:pt idx="3132">4</cx:pt>
          <cx:pt idx="3133">1</cx:pt>
          <cx:pt idx="3134">2</cx:pt>
          <cx:pt idx="3135">1</cx:pt>
          <cx:pt idx="3136">3</cx:pt>
          <cx:pt idx="3137">1</cx:pt>
          <cx:pt idx="3138">5</cx:pt>
          <cx:pt idx="3139">1</cx:pt>
          <cx:pt idx="3140">2</cx:pt>
          <cx:pt idx="3141">1</cx:pt>
          <cx:pt idx="3142">1</cx:pt>
          <cx:pt idx="3143">2</cx:pt>
          <cx:pt idx="3144">1</cx:pt>
          <cx:pt idx="3145">1</cx:pt>
          <cx:pt idx="3146">3</cx:pt>
          <cx:pt idx="3147">2</cx:pt>
          <cx:pt idx="3148">2</cx:pt>
          <cx:pt idx="3149">1</cx:pt>
          <cx:pt idx="3150">2</cx:pt>
          <cx:pt idx="3151">1</cx:pt>
          <cx:pt idx="3152">1</cx:pt>
          <cx:pt idx="3153">3</cx:pt>
          <cx:pt idx="3154">1</cx:pt>
          <cx:pt idx="3155">1</cx:pt>
          <cx:pt idx="3156">4</cx:pt>
          <cx:pt idx="3157">2</cx:pt>
          <cx:pt idx="3158">1</cx:pt>
          <cx:pt idx="3159">1</cx:pt>
          <cx:pt idx="3160">1</cx:pt>
          <cx:pt idx="3161">1</cx:pt>
          <cx:pt idx="3162">2</cx:pt>
          <cx:pt idx="3163">4</cx:pt>
          <cx:pt idx="3164">2</cx:pt>
          <cx:pt idx="3165">4</cx:pt>
          <cx:pt idx="3166">1</cx:pt>
          <cx:pt idx="3167">1</cx:pt>
          <cx:pt idx="3168">1</cx:pt>
          <cx:pt idx="3169">2</cx:pt>
          <cx:pt idx="3170">1</cx:pt>
          <cx:pt idx="3171">1</cx:pt>
          <cx:pt idx="3172">3</cx:pt>
          <cx:pt idx="3173">3</cx:pt>
          <cx:pt idx="3174">6</cx:pt>
          <cx:pt idx="3175">1</cx:pt>
          <cx:pt idx="3176">2</cx:pt>
          <cx:pt idx="3177">2</cx:pt>
          <cx:pt idx="3178">3</cx:pt>
          <cx:pt idx="3179">1</cx:pt>
          <cx:pt idx="3180">1</cx:pt>
          <cx:pt idx="3181">1</cx:pt>
          <cx:pt idx="3182">1</cx:pt>
          <cx:pt idx="3183">1</cx:pt>
          <cx:pt idx="3184">1</cx:pt>
          <cx:pt idx="3185">4</cx:pt>
          <cx:pt idx="3186">3</cx:pt>
          <cx:pt idx="3187">2</cx:pt>
          <cx:pt idx="3188">1</cx:pt>
          <cx:pt idx="3189">1</cx:pt>
          <cx:pt idx="3190">4</cx:pt>
          <cx:pt idx="3191">1</cx:pt>
          <cx:pt idx="3192">1</cx:pt>
          <cx:pt idx="3193">3</cx:pt>
          <cx:pt idx="3194">1</cx:pt>
          <cx:pt idx="3195">4</cx:pt>
          <cx:pt idx="3196">2</cx:pt>
          <cx:pt idx="3197">1</cx:pt>
          <cx:pt idx="3198">1</cx:pt>
          <cx:pt idx="3199">2</cx:pt>
          <cx:pt idx="3200">2</cx:pt>
          <cx:pt idx="3201">3</cx:pt>
          <cx:pt idx="3202">1</cx:pt>
          <cx:pt idx="3203">2</cx:pt>
          <cx:pt idx="3204">1</cx:pt>
          <cx:pt idx="3205">1</cx:pt>
          <cx:pt idx="3206">1</cx:pt>
          <cx:pt idx="3207">2</cx:pt>
          <cx:pt idx="3208">1</cx:pt>
          <cx:pt idx="3209">1</cx:pt>
          <cx:pt idx="3210">3</cx:pt>
          <cx:pt idx="3211">2</cx:pt>
          <cx:pt idx="3212">1</cx:pt>
          <cx:pt idx="3213">2</cx:pt>
          <cx:pt idx="3214">2</cx:pt>
          <cx:pt idx="3215">3</cx:pt>
          <cx:pt idx="3216">2</cx:pt>
          <cx:pt idx="3217">2</cx:pt>
          <cx:pt idx="3218">2</cx:pt>
          <cx:pt idx="3219">2</cx:pt>
          <cx:pt idx="3220">1</cx:pt>
          <cx:pt idx="3221">2</cx:pt>
          <cx:pt idx="3222">1</cx:pt>
          <cx:pt idx="3223">4</cx:pt>
          <cx:pt idx="3224">3</cx:pt>
          <cx:pt idx="3225">1</cx:pt>
          <cx:pt idx="3226">1</cx:pt>
          <cx:pt idx="3227">2</cx:pt>
          <cx:pt idx="3228">1</cx:pt>
          <cx:pt idx="3229">3</cx:pt>
          <cx:pt idx="3230">2</cx:pt>
          <cx:pt idx="3231">1</cx:pt>
          <cx:pt idx="3232">3</cx:pt>
          <cx:pt idx="3233">1</cx:pt>
          <cx:pt idx="3234">3</cx:pt>
          <cx:pt idx="3235">3</cx:pt>
          <cx:pt idx="3236">1</cx:pt>
          <cx:pt idx="3237">1</cx:pt>
          <cx:pt idx="3238">3</cx:pt>
          <cx:pt idx="3239">5</cx:pt>
          <cx:pt idx="3240">1</cx:pt>
          <cx:pt idx="3241">1</cx:pt>
          <cx:pt idx="3242">2</cx:pt>
          <cx:pt idx="3243">3</cx:pt>
          <cx:pt idx="3244">5</cx:pt>
          <cx:pt idx="3245">2</cx:pt>
          <cx:pt idx="3246">4</cx:pt>
          <cx:pt idx="3247">2</cx:pt>
          <cx:pt idx="3248">1</cx:pt>
          <cx:pt idx="3249">1</cx:pt>
          <cx:pt idx="3250">1</cx:pt>
          <cx:pt idx="3251">2</cx:pt>
          <cx:pt idx="3252">1</cx:pt>
          <cx:pt idx="3253">1</cx:pt>
          <cx:pt idx="3254">5</cx:pt>
          <cx:pt idx="3255">3</cx:pt>
          <cx:pt idx="3256">1</cx:pt>
          <cx:pt idx="3257">1</cx:pt>
          <cx:pt idx="3258">5</cx:pt>
          <cx:pt idx="3259">1</cx:pt>
          <cx:pt idx="3260">1</cx:pt>
          <cx:pt idx="3261">4</cx:pt>
          <cx:pt idx="3262">2</cx:pt>
          <cx:pt idx="3263">1</cx:pt>
          <cx:pt idx="3264">3</cx:pt>
          <cx:pt idx="3265">2</cx:pt>
          <cx:pt idx="3266">1</cx:pt>
          <cx:pt idx="3267">2</cx:pt>
          <cx:pt idx="3268">2</cx:pt>
          <cx:pt idx="3269">3</cx:pt>
          <cx:pt idx="3270">1</cx:pt>
          <cx:pt idx="3271">1</cx:pt>
          <cx:pt idx="3272">2</cx:pt>
          <cx:pt idx="3273">1</cx:pt>
          <cx:pt idx="3274">6</cx:pt>
          <cx:pt idx="3275">1</cx:pt>
          <cx:pt idx="3276">3</cx:pt>
          <cx:pt idx="3277">2</cx:pt>
          <cx:pt idx="3278">2</cx:pt>
          <cx:pt idx="3279">2</cx:pt>
          <cx:pt idx="3280">1</cx:pt>
          <cx:pt idx="3281">1</cx:pt>
          <cx:pt idx="3282">1</cx:pt>
          <cx:pt idx="3283">4</cx:pt>
          <cx:pt idx="3284">2</cx:pt>
          <cx:pt idx="3285">1</cx:pt>
          <cx:pt idx="3286">1</cx:pt>
          <cx:pt idx="3287">2</cx:pt>
          <cx:pt idx="3288">2</cx:pt>
          <cx:pt idx="3289">1</cx:pt>
          <cx:pt idx="3290">1</cx:pt>
          <cx:pt idx="3291">1</cx:pt>
          <cx:pt idx="3292">1</cx:pt>
          <cx:pt idx="3293">1</cx:pt>
          <cx:pt idx="3294">1</cx:pt>
          <cx:pt idx="3295">1</cx:pt>
          <cx:pt idx="3296">1</cx:pt>
          <cx:pt idx="3297">1</cx:pt>
          <cx:pt idx="3298">2</cx:pt>
          <cx:pt idx="3299">2</cx:pt>
          <cx:pt idx="3300">1</cx:pt>
          <cx:pt idx="3301">1</cx:pt>
          <cx:pt idx="3302">2</cx:pt>
          <cx:pt idx="3303">1</cx:pt>
          <cx:pt idx="3304">1</cx:pt>
          <cx:pt idx="3305">4</cx:pt>
          <cx:pt idx="3306">3</cx:pt>
          <cx:pt idx="3307">3</cx:pt>
          <cx:pt idx="3308">2</cx:pt>
          <cx:pt idx="3309">3</cx:pt>
          <cx:pt idx="3310">3</cx:pt>
          <cx:pt idx="3311">6</cx:pt>
          <cx:pt idx="3312">4</cx:pt>
          <cx:pt idx="3313">1</cx:pt>
          <cx:pt idx="3314">1</cx:pt>
          <cx:pt idx="3315">1</cx:pt>
          <cx:pt idx="3316">2</cx:pt>
          <cx:pt idx="3317">1</cx:pt>
          <cx:pt idx="3318">1</cx:pt>
          <cx:pt idx="3319">3</cx:pt>
          <cx:pt idx="3320">1</cx:pt>
          <cx:pt idx="3321">2</cx:pt>
          <cx:pt idx="3322">1</cx:pt>
          <cx:pt idx="3323">1</cx:pt>
          <cx:pt idx="3324">1</cx:pt>
          <cx:pt idx="3325">2</cx:pt>
          <cx:pt idx="3326">1</cx:pt>
          <cx:pt idx="3327">3</cx:pt>
          <cx:pt idx="3328">1</cx:pt>
          <cx:pt idx="3329">2</cx:pt>
          <cx:pt idx="3330">2</cx:pt>
          <cx:pt idx="3331">6</cx:pt>
          <cx:pt idx="3332">1</cx:pt>
          <cx:pt idx="3333">2</cx:pt>
          <cx:pt idx="3334">1</cx:pt>
          <cx:pt idx="3335">1</cx:pt>
          <cx:pt idx="3336">6</cx:pt>
          <cx:pt idx="3337">3</cx:pt>
          <cx:pt idx="3338">1</cx:pt>
          <cx:pt idx="3339">1</cx:pt>
          <cx:pt idx="3340">1</cx:pt>
          <cx:pt idx="3341">4</cx:pt>
          <cx:pt idx="3342">4</cx:pt>
          <cx:pt idx="3343">1</cx:pt>
          <cx:pt idx="3344">1</cx:pt>
          <cx:pt idx="3345">2</cx:pt>
          <cx:pt idx="3346">5</cx:pt>
          <cx:pt idx="3347">2</cx:pt>
          <cx:pt idx="3348">2</cx:pt>
          <cx:pt idx="3349">1</cx:pt>
          <cx:pt idx="3350">1</cx:pt>
          <cx:pt idx="3351">1</cx:pt>
          <cx:pt idx="3352">2</cx:pt>
          <cx:pt idx="3353">1</cx:pt>
          <cx:pt idx="3354">1</cx:pt>
          <cx:pt idx="3355">2</cx:pt>
          <cx:pt idx="3356">1</cx:pt>
          <cx:pt idx="3357">1</cx:pt>
          <cx:pt idx="3358">3</cx:pt>
          <cx:pt idx="3359">3</cx:pt>
          <cx:pt idx="3360">2</cx:pt>
          <cx:pt idx="3361">4</cx:pt>
          <cx:pt idx="3362">5</cx:pt>
          <cx:pt idx="3363">4</cx:pt>
          <cx:pt idx="3364">2</cx:pt>
          <cx:pt idx="3365">1</cx:pt>
          <cx:pt idx="3366">1</cx:pt>
          <cx:pt idx="3367">1</cx:pt>
          <cx:pt idx="3368">1</cx:pt>
          <cx:pt idx="3369">4</cx:pt>
          <cx:pt idx="3370">1</cx:pt>
          <cx:pt idx="3371">1</cx:pt>
          <cx:pt idx="3372">3</cx:pt>
          <cx:pt idx="3373">1</cx:pt>
          <cx:pt idx="3374">2</cx:pt>
          <cx:pt idx="3375">2</cx:pt>
          <cx:pt idx="3376">1</cx:pt>
          <cx:pt idx="3377">3</cx:pt>
          <cx:pt idx="3378">2</cx:pt>
          <cx:pt idx="3379">3</cx:pt>
          <cx:pt idx="3380">2</cx:pt>
          <cx:pt idx="3381">2</cx:pt>
          <cx:pt idx="3382">2</cx:pt>
          <cx:pt idx="3383">2</cx:pt>
          <cx:pt idx="3384">3</cx:pt>
          <cx:pt idx="3385">2</cx:pt>
          <cx:pt idx="3386">2</cx:pt>
          <cx:pt idx="3387">1</cx:pt>
          <cx:pt idx="3388">2</cx:pt>
          <cx:pt idx="3389">1</cx:pt>
          <cx:pt idx="3390">1</cx:pt>
          <cx:pt idx="3391">2</cx:pt>
          <cx:pt idx="3392">2</cx:pt>
          <cx:pt idx="3393">2</cx:pt>
          <cx:pt idx="3394">1</cx:pt>
          <cx:pt idx="3395">2</cx:pt>
          <cx:pt idx="3396">2</cx:pt>
          <cx:pt idx="3397">1</cx:pt>
          <cx:pt idx="3398">4</cx:pt>
          <cx:pt idx="3399">2</cx:pt>
          <cx:pt idx="3400">1</cx:pt>
          <cx:pt idx="3401">3</cx:pt>
          <cx:pt idx="3402">3</cx:pt>
          <cx:pt idx="3403">1</cx:pt>
          <cx:pt idx="3404">3</cx:pt>
          <cx:pt idx="3405">1</cx:pt>
          <cx:pt idx="3406">4</cx:pt>
          <cx:pt idx="3407">2</cx:pt>
          <cx:pt idx="3408">2</cx:pt>
          <cx:pt idx="3409">3</cx:pt>
          <cx:pt idx="3410">1</cx:pt>
          <cx:pt idx="3411">1</cx:pt>
          <cx:pt idx="3412">1</cx:pt>
          <cx:pt idx="3413">1</cx:pt>
          <cx:pt idx="3414">2</cx:pt>
          <cx:pt idx="3415">4</cx:pt>
          <cx:pt idx="3416">1</cx:pt>
          <cx:pt idx="3417">2</cx:pt>
          <cx:pt idx="3418">1</cx:pt>
          <cx:pt idx="3419">1</cx:pt>
          <cx:pt idx="3420">1</cx:pt>
          <cx:pt idx="3421">1</cx:pt>
          <cx:pt idx="3422">5</cx:pt>
          <cx:pt idx="3423">1</cx:pt>
          <cx:pt idx="3424">5</cx:pt>
          <cx:pt idx="3425">1</cx:pt>
          <cx:pt idx="3426">3</cx:pt>
          <cx:pt idx="3427">3</cx:pt>
          <cx:pt idx="3428">2</cx:pt>
          <cx:pt idx="3429">1</cx:pt>
          <cx:pt idx="3430">1</cx:pt>
          <cx:pt idx="3431">3</cx:pt>
          <cx:pt idx="3432">1</cx:pt>
          <cx:pt idx="3433">1</cx:pt>
          <cx:pt idx="3434">1</cx:pt>
          <cx:pt idx="3435">1</cx:pt>
          <cx:pt idx="3436">3</cx:pt>
          <cx:pt idx="3437">1</cx:pt>
          <cx:pt idx="3438">4</cx:pt>
          <cx:pt idx="3439">8</cx:pt>
          <cx:pt idx="3440">3</cx:pt>
          <cx:pt idx="3441">1</cx:pt>
          <cx:pt idx="3442">2</cx:pt>
          <cx:pt idx="3443">1</cx:pt>
          <cx:pt idx="3444">2</cx:pt>
          <cx:pt idx="3445">2</cx:pt>
          <cx:pt idx="3446">1</cx:pt>
          <cx:pt idx="3447">2</cx:pt>
          <cx:pt idx="3448">2</cx:pt>
          <cx:pt idx="3449">1</cx:pt>
          <cx:pt idx="3450">2</cx:pt>
          <cx:pt idx="3451">2</cx:pt>
          <cx:pt idx="3452">3</cx:pt>
          <cx:pt idx="3453">1</cx:pt>
          <cx:pt idx="3454">1</cx:pt>
          <cx:pt idx="3455">2</cx:pt>
          <cx:pt idx="3456">3</cx:pt>
          <cx:pt idx="3457">1</cx:pt>
          <cx:pt idx="3458">1</cx:pt>
          <cx:pt idx="3459">1</cx:pt>
          <cx:pt idx="3460">1</cx:pt>
          <cx:pt idx="3461">1</cx:pt>
          <cx:pt idx="3462">2</cx:pt>
          <cx:pt idx="3463">1</cx:pt>
          <cx:pt idx="3464">1</cx:pt>
          <cx:pt idx="3465">2</cx:pt>
          <cx:pt idx="3466">1</cx:pt>
          <cx:pt idx="3467">2</cx:pt>
          <cx:pt idx="3468">2</cx:pt>
          <cx:pt idx="3469">1</cx:pt>
          <cx:pt idx="3470">1</cx:pt>
          <cx:pt idx="3471">1</cx:pt>
          <cx:pt idx="3472">1</cx:pt>
          <cx:pt idx="3473">1</cx:pt>
          <cx:pt idx="3474">1</cx:pt>
          <cx:pt idx="3475">1</cx:pt>
          <cx:pt idx="3476">1</cx:pt>
          <cx:pt idx="3477">2</cx:pt>
          <cx:pt idx="3478">1</cx:pt>
          <cx:pt idx="3479">1</cx:pt>
          <cx:pt idx="3480">3</cx:pt>
          <cx:pt idx="3481">2</cx:pt>
          <cx:pt idx="3482">3</cx:pt>
          <cx:pt idx="3483">3</cx:pt>
          <cx:pt idx="3484">1</cx:pt>
          <cx:pt idx="3485">2</cx:pt>
          <cx:pt idx="3486">1</cx:pt>
          <cx:pt idx="3487">4</cx:pt>
          <cx:pt idx="3488">1</cx:pt>
          <cx:pt idx="3489">1</cx:pt>
          <cx:pt idx="3490">2</cx:pt>
          <cx:pt idx="3491">2</cx:pt>
          <cx:pt idx="3492">1</cx:pt>
          <cx:pt idx="3493">1</cx:pt>
          <cx:pt idx="3494">3</cx:pt>
          <cx:pt idx="3495">1</cx:pt>
          <cx:pt idx="3496">2</cx:pt>
          <cx:pt idx="3497">2</cx:pt>
          <cx:pt idx="3498">2</cx:pt>
          <cx:pt idx="3499">3</cx:pt>
          <cx:pt idx="3500">1</cx:pt>
          <cx:pt idx="3501">2</cx:pt>
          <cx:pt idx="3502">2</cx:pt>
          <cx:pt idx="3503">1</cx:pt>
          <cx:pt idx="3504">1</cx:pt>
          <cx:pt idx="3505">3</cx:pt>
          <cx:pt idx="3506">1</cx:pt>
          <cx:pt idx="3507">1</cx:pt>
          <cx:pt idx="3508">2</cx:pt>
          <cx:pt idx="3509">3</cx:pt>
          <cx:pt idx="3510">1</cx:pt>
          <cx:pt idx="3511">1</cx:pt>
          <cx:pt idx="3512">1</cx:pt>
          <cx:pt idx="3513">3</cx:pt>
          <cx:pt idx="3514">2</cx:pt>
          <cx:pt idx="3515">1</cx:pt>
          <cx:pt idx="3516">2</cx:pt>
          <cx:pt idx="3517">4</cx:pt>
          <cx:pt idx="3518">2</cx:pt>
          <cx:pt idx="3519">3</cx:pt>
          <cx:pt idx="3520">1</cx:pt>
          <cx:pt idx="3521">1</cx:pt>
          <cx:pt idx="3522">1</cx:pt>
          <cx:pt idx="3523">2</cx:pt>
          <cx:pt idx="3524">1</cx:pt>
          <cx:pt idx="3525">1</cx:pt>
          <cx:pt idx="3526">3</cx:pt>
          <cx:pt idx="3527">2</cx:pt>
          <cx:pt idx="3528">4</cx:pt>
          <cx:pt idx="3529">1</cx:pt>
          <cx:pt idx="3530">4</cx:pt>
          <cx:pt idx="3531">1</cx:pt>
          <cx:pt idx="3532">2</cx:pt>
          <cx:pt idx="3533">2</cx:pt>
          <cx:pt idx="3534">2</cx:pt>
          <cx:pt idx="3535">1</cx:pt>
          <cx:pt idx="3536">2</cx:pt>
          <cx:pt idx="3537">1</cx:pt>
          <cx:pt idx="3538">1</cx:pt>
          <cx:pt idx="3539">1</cx:pt>
          <cx:pt idx="3540">3</cx:pt>
          <cx:pt idx="3541">1</cx:pt>
          <cx:pt idx="3542">1</cx:pt>
          <cx:pt idx="3543">1</cx:pt>
          <cx:pt idx="3544">3</cx:pt>
          <cx:pt idx="3545">1</cx:pt>
          <cx:pt idx="3546">1</cx:pt>
          <cx:pt idx="3547">2</cx:pt>
          <cx:pt idx="3548">5</cx:pt>
          <cx:pt idx="3549">1</cx:pt>
          <cx:pt idx="3550">3</cx:pt>
          <cx:pt idx="3551">4</cx:pt>
          <cx:pt idx="3552">4</cx:pt>
          <cx:pt idx="3553">1</cx:pt>
          <cx:pt idx="3554">1</cx:pt>
          <cx:pt idx="3555">2</cx:pt>
          <cx:pt idx="3556">1</cx:pt>
          <cx:pt idx="3557">2</cx:pt>
          <cx:pt idx="3558">1</cx:pt>
          <cx:pt idx="3559">3</cx:pt>
          <cx:pt idx="3560">2</cx:pt>
          <cx:pt idx="3561">2</cx:pt>
          <cx:pt idx="3562">1</cx:pt>
          <cx:pt idx="3563">1</cx:pt>
          <cx:pt idx="3564">3</cx:pt>
          <cx:pt idx="3565">1</cx:pt>
          <cx:pt idx="3566">1</cx:pt>
          <cx:pt idx="3567">1</cx:pt>
          <cx:pt idx="3568">1</cx:pt>
          <cx:pt idx="3569">1</cx:pt>
          <cx:pt idx="3570">2</cx:pt>
          <cx:pt idx="3571">1</cx:pt>
          <cx:pt idx="3572">1</cx:pt>
          <cx:pt idx="3573">2</cx:pt>
          <cx:pt idx="3574">1</cx:pt>
          <cx:pt idx="3575">1</cx:pt>
          <cx:pt idx="3576">2</cx:pt>
          <cx:pt idx="3577">9</cx:pt>
          <cx:pt idx="3578">1</cx:pt>
          <cx:pt idx="3579">1</cx:pt>
          <cx:pt idx="3580">1</cx:pt>
          <cx:pt idx="3581">2</cx:pt>
          <cx:pt idx="3582">3</cx:pt>
          <cx:pt idx="3583">2</cx:pt>
          <cx:pt idx="3584">3</cx:pt>
          <cx:pt idx="3585">2</cx:pt>
          <cx:pt idx="3586">3</cx:pt>
          <cx:pt idx="3587">2</cx:pt>
          <cx:pt idx="3588">1</cx:pt>
          <cx:pt idx="3589">4</cx:pt>
          <cx:pt idx="3590">1</cx:pt>
          <cx:pt idx="3591">2</cx:pt>
          <cx:pt idx="3592">1</cx:pt>
          <cx:pt idx="3593">4</cx:pt>
          <cx:pt idx="3594">4</cx:pt>
          <cx:pt idx="3595">2</cx:pt>
          <cx:pt idx="3596">3</cx:pt>
          <cx:pt idx="3597">5</cx:pt>
          <cx:pt idx="3598">1</cx:pt>
          <cx:pt idx="3599">1</cx:pt>
          <cx:pt idx="3600">2</cx:pt>
          <cx:pt idx="3601">1</cx:pt>
          <cx:pt idx="3602">3</cx:pt>
          <cx:pt idx="3603">1</cx:pt>
          <cx:pt idx="3604">2</cx:pt>
          <cx:pt idx="3605">2</cx:pt>
          <cx:pt idx="3606">1</cx:pt>
          <cx:pt idx="3607">1</cx:pt>
          <cx:pt idx="3608">1</cx:pt>
          <cx:pt idx="3609">3</cx:pt>
          <cx:pt idx="3610">1</cx:pt>
          <cx:pt idx="3611">2</cx:pt>
          <cx:pt idx="3612">3</cx:pt>
          <cx:pt idx="3613">2</cx:pt>
          <cx:pt idx="3614">2</cx:pt>
          <cx:pt idx="3615">1</cx:pt>
          <cx:pt idx="3616">5</cx:pt>
          <cx:pt idx="3617">3</cx:pt>
          <cx:pt idx="3618">4</cx:pt>
          <cx:pt idx="3619">2</cx:pt>
          <cx:pt idx="3620">2</cx:pt>
          <cx:pt idx="3621">1</cx:pt>
          <cx:pt idx="3622">4</cx:pt>
          <cx:pt idx="3623">4</cx:pt>
          <cx:pt idx="3624">2</cx:pt>
          <cx:pt idx="3625">1</cx:pt>
          <cx:pt idx="3626">2</cx:pt>
          <cx:pt idx="3627">1</cx:pt>
          <cx:pt idx="3628">4</cx:pt>
          <cx:pt idx="3629">2</cx:pt>
          <cx:pt idx="3630">5</cx:pt>
          <cx:pt idx="3631">1</cx:pt>
          <cx:pt idx="3632">2</cx:pt>
          <cx:pt idx="3633">4</cx:pt>
          <cx:pt idx="3634">1</cx:pt>
          <cx:pt idx="3635">1</cx:pt>
          <cx:pt idx="3636">1</cx:pt>
          <cx:pt idx="3637">6</cx:pt>
          <cx:pt idx="3638">2</cx:pt>
          <cx:pt idx="3639">2</cx:pt>
          <cx:pt idx="3640">1</cx:pt>
          <cx:pt idx="3641">2</cx:pt>
          <cx:pt idx="3642">2</cx:pt>
          <cx:pt idx="3643">1</cx:pt>
          <cx:pt idx="3644">2</cx:pt>
          <cx:pt idx="3645">1</cx:pt>
          <cx:pt idx="3646">1</cx:pt>
          <cx:pt idx="3647">1</cx:pt>
          <cx:pt idx="3648">2</cx:pt>
          <cx:pt idx="3649">1</cx:pt>
          <cx:pt idx="3650">4</cx:pt>
          <cx:pt idx="3651">1</cx:pt>
          <cx:pt idx="3652">3</cx:pt>
          <cx:pt idx="3653">1</cx:pt>
          <cx:pt idx="3654">2</cx:pt>
          <cx:pt idx="3655">2</cx:pt>
          <cx:pt idx="3656">1</cx:pt>
          <cx:pt idx="3657">1</cx:pt>
          <cx:pt idx="3658">1</cx:pt>
          <cx:pt idx="3659">2</cx:pt>
          <cx:pt idx="3660">2</cx:pt>
          <cx:pt idx="3661">2</cx:pt>
          <cx:pt idx="3662">1</cx:pt>
          <cx:pt idx="3663">6</cx:pt>
          <cx:pt idx="3664">2</cx:pt>
          <cx:pt idx="3665">2</cx:pt>
          <cx:pt idx="3666">4</cx:pt>
          <cx:pt idx="3667">3</cx:pt>
          <cx:pt idx="3668">2</cx:pt>
          <cx:pt idx="3669">2</cx:pt>
          <cx:pt idx="3670">1</cx:pt>
          <cx:pt idx="3671">2</cx:pt>
          <cx:pt idx="3672">1</cx:pt>
          <cx:pt idx="3673">2</cx:pt>
          <cx:pt idx="3674">1</cx:pt>
          <cx:pt idx="3675">1</cx:pt>
          <cx:pt idx="3676">3</cx:pt>
          <cx:pt idx="3677">4</cx:pt>
          <cx:pt idx="3678">3</cx:pt>
          <cx:pt idx="3679">3</cx:pt>
          <cx:pt idx="3680">1</cx:pt>
          <cx:pt idx="3681">1</cx:pt>
          <cx:pt idx="3682">3</cx:pt>
          <cx:pt idx="3683">1</cx:pt>
          <cx:pt idx="3684">3</cx:pt>
          <cx:pt idx="3685">4</cx:pt>
          <cx:pt idx="3686">4</cx:pt>
          <cx:pt idx="3687">1</cx:pt>
          <cx:pt idx="3688">3</cx:pt>
          <cx:pt idx="3689">2</cx:pt>
          <cx:pt idx="3690">3</cx:pt>
          <cx:pt idx="3691">2</cx:pt>
          <cx:pt idx="3692">1</cx:pt>
          <cx:pt idx="3693">1</cx:pt>
          <cx:pt idx="3694">1</cx:pt>
          <cx:pt idx="3695">1</cx:pt>
          <cx:pt idx="3696">1</cx:pt>
          <cx:pt idx="3697">1</cx:pt>
          <cx:pt idx="3698">2</cx:pt>
          <cx:pt idx="3699">3</cx:pt>
          <cx:pt idx="3700">3</cx:pt>
          <cx:pt idx="3701">1</cx:pt>
          <cx:pt idx="3702">9</cx:pt>
          <cx:pt idx="3703">1</cx:pt>
          <cx:pt idx="3704">4</cx:pt>
          <cx:pt idx="3705">3</cx:pt>
          <cx:pt idx="3706">3</cx:pt>
          <cx:pt idx="3707">2</cx:pt>
          <cx:pt idx="3708">1</cx:pt>
          <cx:pt idx="3709">3</cx:pt>
          <cx:pt idx="3710">6</cx:pt>
          <cx:pt idx="3711">1</cx:pt>
          <cx:pt idx="3712">1</cx:pt>
          <cx:pt idx="3713">1</cx:pt>
          <cx:pt idx="3714">1</cx:pt>
          <cx:pt idx="3715">1</cx:pt>
          <cx:pt idx="3716">4</cx:pt>
          <cx:pt idx="3717">5</cx:pt>
          <cx:pt idx="3718">1</cx:pt>
          <cx:pt idx="3719">4</cx:pt>
          <cx:pt idx="3720">1</cx:pt>
          <cx:pt idx="3721">1</cx:pt>
          <cx:pt idx="3722">1</cx:pt>
          <cx:pt idx="3723">1</cx:pt>
          <cx:pt idx="3724">2</cx:pt>
          <cx:pt idx="3725">3</cx:pt>
          <cx:pt idx="3726">1</cx:pt>
          <cx:pt idx="3727">1</cx:pt>
          <cx:pt idx="3728">1</cx:pt>
          <cx:pt idx="3729">2</cx:pt>
          <cx:pt idx="3730">3</cx:pt>
          <cx:pt idx="3731">2</cx:pt>
          <cx:pt idx="3732">4</cx:pt>
          <cx:pt idx="3733">1</cx:pt>
          <cx:pt idx="3734">3</cx:pt>
          <cx:pt idx="3735">2</cx:pt>
          <cx:pt idx="3736">2</cx:pt>
          <cx:pt idx="3737">1</cx:pt>
          <cx:pt idx="3738">2</cx:pt>
          <cx:pt idx="3739">3</cx:pt>
          <cx:pt idx="3740">1</cx:pt>
          <cx:pt idx="3741">1</cx:pt>
          <cx:pt idx="3742">1</cx:pt>
          <cx:pt idx="3743">1</cx:pt>
          <cx:pt idx="3744">1</cx:pt>
          <cx:pt idx="3745">2</cx:pt>
          <cx:pt idx="3746">3</cx:pt>
          <cx:pt idx="3747">1</cx:pt>
          <cx:pt idx="3748">1</cx:pt>
          <cx:pt idx="3749">3</cx:pt>
          <cx:pt idx="3750">1</cx:pt>
          <cx:pt idx="3751">1</cx:pt>
          <cx:pt idx="3752">1</cx:pt>
          <cx:pt idx="3753">3</cx:pt>
          <cx:pt idx="3754">1</cx:pt>
          <cx:pt idx="3755">3</cx:pt>
          <cx:pt idx="3756">2</cx:pt>
          <cx:pt idx="3757">1</cx:pt>
          <cx:pt idx="3758">2</cx:pt>
          <cx:pt idx="3759">2</cx:pt>
          <cx:pt idx="3760">2</cx:pt>
          <cx:pt idx="3761">1</cx:pt>
          <cx:pt idx="3762">3</cx:pt>
          <cx:pt idx="3763">4</cx:pt>
          <cx:pt idx="3764">2</cx:pt>
          <cx:pt idx="3765">3</cx:pt>
          <cx:pt idx="3766">3</cx:pt>
          <cx:pt idx="3767">3</cx:pt>
          <cx:pt idx="3768">1</cx:pt>
          <cx:pt idx="3769">2</cx:pt>
          <cx:pt idx="3770">2</cx:pt>
          <cx:pt idx="3771">2</cx:pt>
          <cx:pt idx="3772">2</cx:pt>
          <cx:pt idx="3773">1</cx:pt>
          <cx:pt idx="3774">2</cx:pt>
          <cx:pt idx="3775">2</cx:pt>
          <cx:pt idx="3776">1</cx:pt>
          <cx:pt idx="3777">4</cx:pt>
          <cx:pt idx="3778">3</cx:pt>
          <cx:pt idx="3779">1</cx:pt>
          <cx:pt idx="3780">1</cx:pt>
          <cx:pt idx="3781">1</cx:pt>
          <cx:pt idx="3782">1</cx:pt>
          <cx:pt idx="3783">4</cx:pt>
          <cx:pt idx="3784">4</cx:pt>
          <cx:pt idx="3785">6</cx:pt>
          <cx:pt idx="3786">1</cx:pt>
          <cx:pt idx="3787">1</cx:pt>
          <cx:pt idx="3788">2</cx:pt>
          <cx:pt idx="3789">1</cx:pt>
          <cx:pt idx="3790">5</cx:pt>
          <cx:pt idx="3791">1</cx:pt>
          <cx:pt idx="3792">2</cx:pt>
          <cx:pt idx="3793">1</cx:pt>
          <cx:pt idx="3794">1</cx:pt>
          <cx:pt idx="3795">1</cx:pt>
          <cx:pt idx="3796">4</cx:pt>
          <cx:pt idx="3797">1</cx:pt>
          <cx:pt idx="3798">2</cx:pt>
          <cx:pt idx="3799">3</cx:pt>
          <cx:pt idx="3800">1</cx:pt>
          <cx:pt idx="3801">1</cx:pt>
          <cx:pt idx="3802">2</cx:pt>
          <cx:pt idx="3803">1</cx:pt>
          <cx:pt idx="3804">1</cx:pt>
          <cx:pt idx="3805">1</cx:pt>
          <cx:pt idx="3806">6</cx:pt>
          <cx:pt idx="3807">1</cx:pt>
          <cx:pt idx="3808">1</cx:pt>
          <cx:pt idx="3809">2</cx:pt>
          <cx:pt idx="3810">6</cx:pt>
          <cx:pt idx="3811">2</cx:pt>
          <cx:pt idx="3812">1</cx:pt>
          <cx:pt idx="3813">2</cx:pt>
          <cx:pt idx="3814">2</cx:pt>
          <cx:pt idx="3815">1</cx:pt>
          <cx:pt idx="3816">1</cx:pt>
          <cx:pt idx="3817">5</cx:pt>
          <cx:pt idx="3818">7</cx:pt>
          <cx:pt idx="3819">1</cx:pt>
          <cx:pt idx="3820">2</cx:pt>
          <cx:pt idx="3821">1</cx:pt>
          <cx:pt idx="3822">1</cx:pt>
          <cx:pt idx="3823">1</cx:pt>
          <cx:pt idx="3824">1</cx:pt>
          <cx:pt idx="3825">2</cx:pt>
          <cx:pt idx="3826">1</cx:pt>
          <cx:pt idx="3827">3</cx:pt>
          <cx:pt idx="3828">1</cx:pt>
          <cx:pt idx="3829">2</cx:pt>
          <cx:pt idx="3830">3</cx:pt>
          <cx:pt idx="3831">5</cx:pt>
          <cx:pt idx="3832">1</cx:pt>
          <cx:pt idx="3833">1</cx:pt>
          <cx:pt idx="3834">1</cx:pt>
          <cx:pt idx="3835">4</cx:pt>
          <cx:pt idx="3836">3</cx:pt>
          <cx:pt idx="3837">6</cx:pt>
          <cx:pt idx="3838">4</cx:pt>
          <cx:pt idx="3839">4</cx:pt>
          <cx:pt idx="3840">3</cx:pt>
          <cx:pt idx="3841">1</cx:pt>
          <cx:pt idx="3842">2</cx:pt>
          <cx:pt idx="3843">2</cx:pt>
          <cx:pt idx="3844">5</cx:pt>
          <cx:pt idx="3845">2</cx:pt>
          <cx:pt idx="3846">2</cx:pt>
          <cx:pt idx="3847">3</cx:pt>
          <cx:pt idx="3848">1</cx:pt>
          <cx:pt idx="3849">3</cx:pt>
          <cx:pt idx="3850">4</cx:pt>
          <cx:pt idx="3851">1</cx:pt>
          <cx:pt idx="3852">2</cx:pt>
          <cx:pt idx="3853">7</cx:pt>
          <cx:pt idx="3854">1</cx:pt>
          <cx:pt idx="3855">3</cx:pt>
          <cx:pt idx="3856">1</cx:pt>
          <cx:pt idx="3857">2</cx:pt>
          <cx:pt idx="3858">2</cx:pt>
          <cx:pt idx="3859">3</cx:pt>
          <cx:pt idx="3860">1</cx:pt>
          <cx:pt idx="3861">4</cx:pt>
          <cx:pt idx="3862">1</cx:pt>
          <cx:pt idx="3863">2</cx:pt>
          <cx:pt idx="3864">3</cx:pt>
          <cx:pt idx="3865">2</cx:pt>
          <cx:pt idx="3866">2</cx:pt>
          <cx:pt idx="3867">7</cx:pt>
          <cx:pt idx="3868">1</cx:pt>
          <cx:pt idx="3869">4</cx:pt>
          <cx:pt idx="3870">1</cx:pt>
          <cx:pt idx="3871">3</cx:pt>
          <cx:pt idx="3872">3</cx:pt>
          <cx:pt idx="3873">1</cx:pt>
          <cx:pt idx="3874">2</cx:pt>
          <cx:pt idx="3875">3</cx:pt>
          <cx:pt idx="3876">1</cx:pt>
          <cx:pt idx="3877">1</cx:pt>
          <cx:pt idx="3878">2</cx:pt>
          <cx:pt idx="3879">2</cx:pt>
          <cx:pt idx="3880">3</cx:pt>
          <cx:pt idx="3881">5</cx:pt>
          <cx:pt idx="3882">3</cx:pt>
          <cx:pt idx="3883">2</cx:pt>
          <cx:pt idx="3884">4</cx:pt>
          <cx:pt idx="3885">2</cx:pt>
          <cx:pt idx="3886">1</cx:pt>
          <cx:pt idx="3887">4</cx:pt>
          <cx:pt idx="3888">1</cx:pt>
          <cx:pt idx="3889">2</cx:pt>
          <cx:pt idx="3890">1</cx:pt>
          <cx:pt idx="3891">4</cx:pt>
          <cx:pt idx="3892">2</cx:pt>
          <cx:pt idx="3893">3</cx:pt>
          <cx:pt idx="3894">3</cx:pt>
          <cx:pt idx="3895">3</cx:pt>
          <cx:pt idx="3896">2</cx:pt>
          <cx:pt idx="3897">2</cx:pt>
          <cx:pt idx="3898">3</cx:pt>
          <cx:pt idx="3899">1</cx:pt>
          <cx:pt idx="3900">1</cx:pt>
          <cx:pt idx="3901">2</cx:pt>
          <cx:pt idx="3902">1</cx:pt>
          <cx:pt idx="3903">2</cx:pt>
          <cx:pt idx="3904">1</cx:pt>
          <cx:pt idx="3905">3</cx:pt>
          <cx:pt idx="3906">1</cx:pt>
          <cx:pt idx="3907">3</cx:pt>
          <cx:pt idx="3908">3</cx:pt>
          <cx:pt idx="3909">1</cx:pt>
          <cx:pt idx="3910">3</cx:pt>
          <cx:pt idx="3911">2</cx:pt>
          <cx:pt idx="3912">1</cx:pt>
          <cx:pt idx="3913">1</cx:pt>
          <cx:pt idx="3914">1</cx:pt>
          <cx:pt idx="3915">4</cx:pt>
          <cx:pt idx="3916">1</cx:pt>
          <cx:pt idx="3917">2</cx:pt>
          <cx:pt idx="3918">1</cx:pt>
          <cx:pt idx="3919">2</cx:pt>
          <cx:pt idx="3920">2</cx:pt>
          <cx:pt idx="3921">3</cx:pt>
          <cx:pt idx="3922">4</cx:pt>
          <cx:pt idx="3923">3</cx:pt>
          <cx:pt idx="3924">5</cx:pt>
          <cx:pt idx="3925">2</cx:pt>
          <cx:pt idx="3926">3</cx:pt>
          <cx:pt idx="3927">1</cx:pt>
          <cx:pt idx="3928">1</cx:pt>
          <cx:pt idx="3929">2</cx:pt>
          <cx:pt idx="3930">1</cx:pt>
          <cx:pt idx="3931">1</cx:pt>
          <cx:pt idx="3932">2</cx:pt>
          <cx:pt idx="3933">5</cx:pt>
          <cx:pt idx="3934">2</cx:pt>
          <cx:pt idx="3935">1</cx:pt>
          <cx:pt idx="3936">1</cx:pt>
          <cx:pt idx="3937">1</cx:pt>
          <cx:pt idx="3938">4</cx:pt>
          <cx:pt idx="3939">1</cx:pt>
          <cx:pt idx="3940">2</cx:pt>
          <cx:pt idx="3941">1</cx:pt>
          <cx:pt idx="3942">1</cx:pt>
          <cx:pt idx="3943">2</cx:pt>
          <cx:pt idx="3944">1</cx:pt>
          <cx:pt idx="3945">4</cx:pt>
          <cx:pt idx="3946">2</cx:pt>
          <cx:pt idx="3947">1</cx:pt>
          <cx:pt idx="3948">2</cx:pt>
          <cx:pt idx="3949">1</cx:pt>
          <cx:pt idx="3950">1</cx:pt>
          <cx:pt idx="3951">2</cx:pt>
          <cx:pt idx="3952">2</cx:pt>
          <cx:pt idx="3953">1</cx:pt>
          <cx:pt idx="3954">1</cx:pt>
          <cx:pt idx="3955">3</cx:pt>
          <cx:pt idx="3956">1</cx:pt>
          <cx:pt idx="3957">2</cx:pt>
          <cx:pt idx="3958">1</cx:pt>
          <cx:pt idx="3959">1</cx:pt>
          <cx:pt idx="3960">3</cx:pt>
          <cx:pt idx="3961">1</cx:pt>
          <cx:pt idx="3962">6</cx:pt>
          <cx:pt idx="3963">3</cx:pt>
          <cx:pt idx="3964">1</cx:pt>
          <cx:pt idx="3965">4</cx:pt>
          <cx:pt idx="3966">5</cx:pt>
          <cx:pt idx="3967">2</cx:pt>
          <cx:pt idx="3968">1</cx:pt>
          <cx:pt idx="3969">1</cx:pt>
          <cx:pt idx="3970">2</cx:pt>
          <cx:pt idx="3971">1</cx:pt>
          <cx:pt idx="3972">1</cx:pt>
          <cx:pt idx="3973">2</cx:pt>
          <cx:pt idx="3974">1</cx:pt>
          <cx:pt idx="3975">2</cx:pt>
          <cx:pt idx="3976">3</cx:pt>
          <cx:pt idx="3977">1</cx:pt>
          <cx:pt idx="3978">1</cx:pt>
          <cx:pt idx="3979">2</cx:pt>
          <cx:pt idx="3980">3</cx:pt>
          <cx:pt idx="3981">1</cx:pt>
          <cx:pt idx="3982">1</cx:pt>
          <cx:pt idx="3983">2</cx:pt>
          <cx:pt idx="3984">1</cx:pt>
          <cx:pt idx="3985">2</cx:pt>
          <cx:pt idx="3986">2</cx:pt>
          <cx:pt idx="3987">1</cx:pt>
          <cx:pt idx="3988">1</cx:pt>
          <cx:pt idx="3989">2</cx:pt>
          <cx:pt idx="3990">1</cx:pt>
          <cx:pt idx="3991">2</cx:pt>
          <cx:pt idx="3992">2</cx:pt>
          <cx:pt idx="3993">1</cx:pt>
          <cx:pt idx="3994">3</cx:pt>
          <cx:pt idx="3995">3</cx:pt>
          <cx:pt idx="3996">2</cx:pt>
          <cx:pt idx="3997">1</cx:pt>
          <cx:pt idx="3998">1</cx:pt>
          <cx:pt idx="3999">4</cx:pt>
          <cx:pt idx="4000">1</cx:pt>
          <cx:pt idx="4001">1</cx:pt>
          <cx:pt idx="4002">2</cx:pt>
          <cx:pt idx="4003">1</cx:pt>
          <cx:pt idx="4004">4</cx:pt>
          <cx:pt idx="4005">2</cx:pt>
          <cx:pt idx="4006">1</cx:pt>
          <cx:pt idx="4007">3</cx:pt>
          <cx:pt idx="4008">1</cx:pt>
          <cx:pt idx="4009">1</cx:pt>
          <cx:pt idx="4010">1</cx:pt>
          <cx:pt idx="4011">4</cx:pt>
          <cx:pt idx="4012">1</cx:pt>
          <cx:pt idx="4013">5</cx:pt>
          <cx:pt idx="4014">2</cx:pt>
          <cx:pt idx="4015">3</cx:pt>
          <cx:pt idx="4016">1</cx:pt>
          <cx:pt idx="4017">4</cx:pt>
          <cx:pt idx="4018">3</cx:pt>
          <cx:pt idx="4019">1</cx:pt>
          <cx:pt idx="4020">2</cx:pt>
          <cx:pt idx="4021">2</cx:pt>
          <cx:pt idx="4022">1</cx:pt>
          <cx:pt idx="4023">1</cx:pt>
          <cx:pt idx="4024">1</cx:pt>
          <cx:pt idx="4025">2</cx:pt>
          <cx:pt idx="4026">3</cx:pt>
          <cx:pt idx="4027">1</cx:pt>
          <cx:pt idx="4028">3</cx:pt>
          <cx:pt idx="4029">1</cx:pt>
          <cx:pt idx="4030">2</cx:pt>
          <cx:pt idx="4031">3</cx:pt>
          <cx:pt idx="4032">1</cx:pt>
          <cx:pt idx="4033">3</cx:pt>
          <cx:pt idx="4034">4</cx:pt>
          <cx:pt idx="4035">1</cx:pt>
          <cx:pt idx="4036">3</cx:pt>
          <cx:pt idx="4037">1</cx:pt>
          <cx:pt idx="4038">1</cx:pt>
          <cx:pt idx="4039">1</cx:pt>
          <cx:pt idx="4040">2</cx:pt>
          <cx:pt idx="4041">2</cx:pt>
          <cx:pt idx="4042">1</cx:pt>
          <cx:pt idx="4043">1</cx:pt>
          <cx:pt idx="4044">2</cx:pt>
          <cx:pt idx="4045">2</cx:pt>
          <cx:pt idx="4046">2</cx:pt>
          <cx:pt idx="4047">4</cx:pt>
          <cx:pt idx="4048">3</cx:pt>
          <cx:pt idx="4049">3</cx:pt>
          <cx:pt idx="4050">1</cx:pt>
          <cx:pt idx="4051">5</cx:pt>
          <cx:pt idx="4052">1</cx:pt>
          <cx:pt idx="4053">4</cx:pt>
          <cx:pt idx="4054">2</cx:pt>
          <cx:pt idx="4055">2</cx:pt>
          <cx:pt idx="4056">2</cx:pt>
          <cx:pt idx="4057">2</cx:pt>
          <cx:pt idx="4058">2</cx:pt>
          <cx:pt idx="4059">2</cx:pt>
          <cx:pt idx="4060">1</cx:pt>
          <cx:pt idx="4061">3</cx:pt>
          <cx:pt idx="4062">2</cx:pt>
          <cx:pt idx="4063">2</cx:pt>
          <cx:pt idx="4064">3</cx:pt>
          <cx:pt idx="4065">2</cx:pt>
          <cx:pt idx="4066">1</cx:pt>
          <cx:pt idx="4067">1</cx:pt>
          <cx:pt idx="4068">1</cx:pt>
          <cx:pt idx="4069">1</cx:pt>
          <cx:pt idx="4070">1</cx:pt>
          <cx:pt idx="4071">1</cx:pt>
          <cx:pt idx="4072">2</cx:pt>
          <cx:pt idx="4073">2</cx:pt>
          <cx:pt idx="4074">2</cx:pt>
          <cx:pt idx="4075">3</cx:pt>
          <cx:pt idx="4076">2</cx:pt>
          <cx:pt idx="4077">3</cx:pt>
          <cx:pt idx="4078">3</cx:pt>
          <cx:pt idx="4079">2</cx:pt>
          <cx:pt idx="4080">2</cx:pt>
          <cx:pt idx="4081">3</cx:pt>
          <cx:pt idx="4082">1</cx:pt>
          <cx:pt idx="4083">3</cx:pt>
          <cx:pt idx="4084">2</cx:pt>
          <cx:pt idx="4085">2</cx:pt>
          <cx:pt idx="4086">1</cx:pt>
          <cx:pt idx="4087">1</cx:pt>
          <cx:pt idx="4088">4</cx:pt>
          <cx:pt idx="4089">2</cx:pt>
          <cx:pt idx="4090">2</cx:pt>
          <cx:pt idx="4091">2</cx:pt>
          <cx:pt idx="4092">1</cx:pt>
          <cx:pt idx="4093">1</cx:pt>
          <cx:pt idx="4094">4</cx:pt>
          <cx:pt idx="4095">1</cx:pt>
          <cx:pt idx="4096">1</cx:pt>
          <cx:pt idx="4097">1</cx:pt>
          <cx:pt idx="4098">3</cx:pt>
          <cx:pt idx="4099">1</cx:pt>
          <cx:pt idx="4100">1</cx:pt>
          <cx:pt idx="4101">3</cx:pt>
          <cx:pt idx="4102">5</cx:pt>
          <cx:pt idx="4103">3</cx:pt>
          <cx:pt idx="4104">1</cx:pt>
          <cx:pt idx="4105">2</cx:pt>
          <cx:pt idx="4106">2</cx:pt>
          <cx:pt idx="4107">1</cx:pt>
          <cx:pt idx="4108">1</cx:pt>
          <cx:pt idx="4109">1</cx:pt>
          <cx:pt idx="4110">1</cx:pt>
          <cx:pt idx="4111">1</cx:pt>
          <cx:pt idx="4112">1</cx:pt>
          <cx:pt idx="4113">1</cx:pt>
          <cx:pt idx="4114">2</cx:pt>
          <cx:pt idx="4115">2</cx:pt>
          <cx:pt idx="4116">3</cx:pt>
          <cx:pt idx="4117">3</cx:pt>
          <cx:pt idx="4118">1</cx:pt>
          <cx:pt idx="4119">1</cx:pt>
          <cx:pt idx="4120">1</cx:pt>
          <cx:pt idx="4121">2</cx:pt>
          <cx:pt idx="4122">2</cx:pt>
          <cx:pt idx="4123">1</cx:pt>
          <cx:pt idx="4124">4</cx:pt>
          <cx:pt idx="4125">3</cx:pt>
          <cx:pt idx="4126">1</cx:pt>
          <cx:pt idx="4127">2</cx:pt>
          <cx:pt idx="4128">5</cx:pt>
          <cx:pt idx="4129">2</cx:pt>
          <cx:pt idx="4130">2</cx:pt>
          <cx:pt idx="4131">2</cx:pt>
          <cx:pt idx="4132">2</cx:pt>
          <cx:pt idx="4133">4</cx:pt>
          <cx:pt idx="4134">5</cx:pt>
          <cx:pt idx="4135">2</cx:pt>
          <cx:pt idx="4136">5</cx:pt>
          <cx:pt idx="4137">2</cx:pt>
          <cx:pt idx="4138">1</cx:pt>
          <cx:pt idx="4139">1</cx:pt>
          <cx:pt idx="4140">1</cx:pt>
          <cx:pt idx="4141">1</cx:pt>
          <cx:pt idx="4142">3</cx:pt>
          <cx:pt idx="4143">1</cx:pt>
          <cx:pt idx="4144">1</cx:pt>
          <cx:pt idx="4145">1</cx:pt>
          <cx:pt idx="4146">1</cx:pt>
          <cx:pt idx="4147">3</cx:pt>
          <cx:pt idx="4148">2</cx:pt>
          <cx:pt idx="4149">2</cx:pt>
          <cx:pt idx="4150">1</cx:pt>
          <cx:pt idx="4151">1</cx:pt>
          <cx:pt idx="4152">1</cx:pt>
          <cx:pt idx="4153">1</cx:pt>
          <cx:pt idx="4154">1</cx:pt>
          <cx:pt idx="4155">1</cx:pt>
          <cx:pt idx="4156">2</cx:pt>
          <cx:pt idx="4157">1</cx:pt>
          <cx:pt idx="4158">1</cx:pt>
          <cx:pt idx="4159">4</cx:pt>
          <cx:pt idx="4160">4</cx:pt>
          <cx:pt idx="4161">1</cx:pt>
          <cx:pt idx="4162">2</cx:pt>
          <cx:pt idx="4163">2</cx:pt>
          <cx:pt idx="4164">1</cx:pt>
          <cx:pt idx="4165">2</cx:pt>
          <cx:pt idx="4166">2</cx:pt>
          <cx:pt idx="4167">2</cx:pt>
          <cx:pt idx="4168">1</cx:pt>
          <cx:pt idx="4169">1</cx:pt>
          <cx:pt idx="4170">2</cx:pt>
          <cx:pt idx="4171">2</cx:pt>
          <cx:pt idx="4172">2</cx:pt>
          <cx:pt idx="4173">2</cx:pt>
          <cx:pt idx="4174">3</cx:pt>
          <cx:pt idx="4175">1</cx:pt>
          <cx:pt idx="4176">1</cx:pt>
          <cx:pt idx="4177">2</cx:pt>
          <cx:pt idx="4178">1</cx:pt>
          <cx:pt idx="4179">2</cx:pt>
          <cx:pt idx="4180">4</cx:pt>
          <cx:pt idx="4181">2</cx:pt>
          <cx:pt idx="4182">1</cx:pt>
          <cx:pt idx="4183">1</cx:pt>
          <cx:pt idx="4184">4</cx:pt>
          <cx:pt idx="4185">1</cx:pt>
          <cx:pt idx="4186">2</cx:pt>
          <cx:pt idx="4187">4</cx:pt>
          <cx:pt idx="4188">3</cx:pt>
          <cx:pt idx="4189">1</cx:pt>
          <cx:pt idx="4190">2</cx:pt>
          <cx:pt idx="4191">1</cx:pt>
          <cx:pt idx="4192">1</cx:pt>
          <cx:pt idx="4193">1</cx:pt>
          <cx:pt idx="4194">2</cx:pt>
          <cx:pt idx="4195">2</cx:pt>
          <cx:pt idx="4196">2</cx:pt>
          <cx:pt idx="4197">2</cx:pt>
          <cx:pt idx="4198">4</cx:pt>
          <cx:pt idx="4199">1</cx:pt>
          <cx:pt idx="4200">4</cx:pt>
          <cx:pt idx="4201">2</cx:pt>
          <cx:pt idx="4202">4</cx:pt>
          <cx:pt idx="4203">2</cx:pt>
          <cx:pt idx="4204">2</cx:pt>
          <cx:pt idx="4205">2</cx:pt>
          <cx:pt idx="4206">2</cx:pt>
          <cx:pt idx="4207">1</cx:pt>
          <cx:pt idx="4208">2</cx:pt>
          <cx:pt idx="4209">1</cx:pt>
          <cx:pt idx="4210">2</cx:pt>
          <cx:pt idx="4211">3</cx:pt>
          <cx:pt idx="4212">1</cx:pt>
          <cx:pt idx="4213">2</cx:pt>
          <cx:pt idx="4214">2</cx:pt>
          <cx:pt idx="4215">1</cx:pt>
          <cx:pt idx="4216">1</cx:pt>
          <cx:pt idx="4217">3</cx:pt>
          <cx:pt idx="4218">1</cx:pt>
          <cx:pt idx="4219">1</cx:pt>
          <cx:pt idx="4220">4</cx:pt>
          <cx:pt idx="4221">5</cx:pt>
          <cx:pt idx="4222">2</cx:pt>
          <cx:pt idx="4223">1</cx:pt>
          <cx:pt idx="4224">3</cx:pt>
          <cx:pt idx="4225">5</cx:pt>
          <cx:pt idx="4226">1</cx:pt>
          <cx:pt idx="4227">2</cx:pt>
          <cx:pt idx="4228">7</cx:pt>
          <cx:pt idx="4229">2</cx:pt>
          <cx:pt idx="4230">1</cx:pt>
          <cx:pt idx="4231">3</cx:pt>
          <cx:pt idx="4232">1</cx:pt>
          <cx:pt idx="4233">4</cx:pt>
          <cx:pt idx="4234">3</cx:pt>
          <cx:pt idx="4235">2</cx:pt>
          <cx:pt idx="4236">2</cx:pt>
          <cx:pt idx="4237">5</cx:pt>
          <cx:pt idx="4238">1</cx:pt>
          <cx:pt idx="4239">3</cx:pt>
          <cx:pt idx="4240">1</cx:pt>
          <cx:pt idx="4241">4</cx:pt>
          <cx:pt idx="4242">1</cx:pt>
          <cx:pt idx="4243">2</cx:pt>
          <cx:pt idx="4244">3</cx:pt>
          <cx:pt idx="4245">2</cx:pt>
          <cx:pt idx="4246">1</cx:pt>
          <cx:pt idx="4247">2</cx:pt>
          <cx:pt idx="4248">3</cx:pt>
          <cx:pt idx="4249">2</cx:pt>
          <cx:pt idx="4250">2</cx:pt>
          <cx:pt idx="4251">2</cx:pt>
          <cx:pt idx="4252">1</cx:pt>
          <cx:pt idx="4253">3</cx:pt>
          <cx:pt idx="4254">1</cx:pt>
          <cx:pt idx="4255">2</cx:pt>
          <cx:pt idx="4256">1</cx:pt>
          <cx:pt idx="4257">1</cx:pt>
          <cx:pt idx="4258">3</cx:pt>
          <cx:pt idx="4259">3</cx:pt>
          <cx:pt idx="4260">1</cx:pt>
          <cx:pt idx="4261">4</cx:pt>
          <cx:pt idx="4262">1</cx:pt>
          <cx:pt idx="4263">3</cx:pt>
          <cx:pt idx="4264">6</cx:pt>
          <cx:pt idx="4265">2</cx:pt>
          <cx:pt idx="4266">4</cx:pt>
          <cx:pt idx="4267">1</cx:pt>
          <cx:pt idx="4268">1</cx:pt>
          <cx:pt idx="4269">1</cx:pt>
          <cx:pt idx="4270">1</cx:pt>
          <cx:pt idx="4271">1</cx:pt>
          <cx:pt idx="4272">4</cx:pt>
          <cx:pt idx="4273">1</cx:pt>
          <cx:pt idx="4274">2</cx:pt>
          <cx:pt idx="4275">1</cx:pt>
          <cx:pt idx="4276">6</cx:pt>
          <cx:pt idx="4277">1</cx:pt>
          <cx:pt idx="4278">2</cx:pt>
          <cx:pt idx="4279">4</cx:pt>
          <cx:pt idx="4280">6</cx:pt>
          <cx:pt idx="4281">2</cx:pt>
          <cx:pt idx="4282">2</cx:pt>
          <cx:pt idx="4283">2</cx:pt>
          <cx:pt idx="4284">2</cx:pt>
          <cx:pt idx="4285">4</cx:pt>
          <cx:pt idx="4286">5</cx:pt>
          <cx:pt idx="4287">1</cx:pt>
          <cx:pt idx="4288">1</cx:pt>
          <cx:pt idx="4289">2</cx:pt>
          <cx:pt idx="4290">5</cx:pt>
          <cx:pt idx="4291">2</cx:pt>
          <cx:pt idx="4292">1</cx:pt>
          <cx:pt idx="4293">1</cx:pt>
          <cx:pt idx="4294">1</cx:pt>
          <cx:pt idx="4295">1</cx:pt>
          <cx:pt idx="4296">1</cx:pt>
          <cx:pt idx="4297">1</cx:pt>
          <cx:pt idx="4298">2</cx:pt>
          <cx:pt idx="4299">1</cx:pt>
          <cx:pt idx="4300">1</cx:pt>
          <cx:pt idx="4301">1</cx:pt>
          <cx:pt idx="4302">4</cx:pt>
          <cx:pt idx="4303">1</cx:pt>
          <cx:pt idx="4304">4</cx:pt>
          <cx:pt idx="4305">3</cx:pt>
          <cx:pt idx="4306">1</cx:pt>
          <cx:pt idx="4307">2</cx:pt>
          <cx:pt idx="4308">3</cx:pt>
          <cx:pt idx="4309">1</cx:pt>
          <cx:pt idx="4310">2</cx:pt>
          <cx:pt idx="4311">3</cx:pt>
          <cx:pt idx="4312">2</cx:pt>
          <cx:pt idx="4313">4</cx:pt>
          <cx:pt idx="4314">2</cx:pt>
          <cx:pt idx="4315">1</cx:pt>
          <cx:pt idx="4316">2</cx:pt>
          <cx:pt idx="4317">3</cx:pt>
          <cx:pt idx="4318">1</cx:pt>
          <cx:pt idx="4319">1</cx:pt>
          <cx:pt idx="4320">3</cx:pt>
          <cx:pt idx="4321">1</cx:pt>
          <cx:pt idx="4322">3</cx:pt>
          <cx:pt idx="4323">2</cx:pt>
          <cx:pt idx="4324">1</cx:pt>
          <cx:pt idx="4325">1</cx:pt>
          <cx:pt idx="4326">1</cx:pt>
          <cx:pt idx="4327">3</cx:pt>
          <cx:pt idx="4328">2</cx:pt>
          <cx:pt idx="4329">2</cx:pt>
          <cx:pt idx="4330">4</cx:pt>
          <cx:pt idx="4331">2</cx:pt>
          <cx:pt idx="4332">3</cx:pt>
          <cx:pt idx="4333">2</cx:pt>
          <cx:pt idx="4334">2</cx:pt>
          <cx:pt idx="4335">1</cx:pt>
          <cx:pt idx="4336">1</cx:pt>
          <cx:pt idx="4337">1</cx:pt>
          <cx:pt idx="4338">2</cx:pt>
          <cx:pt idx="4339">1</cx:pt>
          <cx:pt idx="4340">2</cx:pt>
          <cx:pt idx="4341">1</cx:pt>
          <cx:pt idx="4342">1</cx:pt>
          <cx:pt idx="4343">3</cx:pt>
          <cx:pt idx="4344">2</cx:pt>
          <cx:pt idx="4345">1</cx:pt>
          <cx:pt idx="4346">1</cx:pt>
          <cx:pt idx="4347">1</cx:pt>
          <cx:pt idx="4348">2</cx:pt>
          <cx:pt idx="4349">2</cx:pt>
          <cx:pt idx="4350">1</cx:pt>
          <cx:pt idx="4351">5</cx:pt>
          <cx:pt idx="4352">2</cx:pt>
          <cx:pt idx="4353">2</cx:pt>
          <cx:pt idx="4354">2</cx:pt>
          <cx:pt idx="4355">1</cx:pt>
          <cx:pt idx="4356">3</cx:pt>
          <cx:pt idx="4357">1</cx:pt>
          <cx:pt idx="4358">1</cx:pt>
          <cx:pt idx="4359">2</cx:pt>
          <cx:pt idx="4360">2</cx:pt>
          <cx:pt idx="4361">1</cx:pt>
          <cx:pt idx="4362">1</cx:pt>
          <cx:pt idx="4363">1</cx:pt>
          <cx:pt idx="4364">4</cx:pt>
          <cx:pt idx="4365">1</cx:pt>
          <cx:pt idx="4366">2</cx:pt>
          <cx:pt idx="4367">2</cx:pt>
          <cx:pt idx="4368">3</cx:pt>
          <cx:pt idx="4369">2</cx:pt>
          <cx:pt idx="4370">1</cx:pt>
          <cx:pt idx="4371">1</cx:pt>
          <cx:pt idx="4372">2</cx:pt>
          <cx:pt idx="4373">1</cx:pt>
          <cx:pt idx="4374">1</cx:pt>
          <cx:pt idx="4375">1</cx:pt>
          <cx:pt idx="4376">1</cx:pt>
          <cx:pt idx="4377">1</cx:pt>
          <cx:pt idx="4378">1</cx:pt>
          <cx:pt idx="4379">4</cx:pt>
          <cx:pt idx="4380">4</cx:pt>
          <cx:pt idx="4381">1</cx:pt>
          <cx:pt idx="4382">2</cx:pt>
          <cx:pt idx="4383">1</cx:pt>
          <cx:pt idx="4384">1</cx:pt>
          <cx:pt idx="4385">2</cx:pt>
          <cx:pt idx="4386">1</cx:pt>
          <cx:pt idx="4387">3</cx:pt>
          <cx:pt idx="4388">2</cx:pt>
          <cx:pt idx="4389">2</cx:pt>
          <cx:pt idx="4390">1</cx:pt>
          <cx:pt idx="4391">4</cx:pt>
          <cx:pt idx="4392">3</cx:pt>
          <cx:pt idx="4393">1</cx:pt>
          <cx:pt idx="4394">1</cx:pt>
          <cx:pt idx="4395">3</cx:pt>
          <cx:pt idx="4396">1</cx:pt>
          <cx:pt idx="4397">2</cx:pt>
          <cx:pt idx="4398">4</cx:pt>
          <cx:pt idx="4399">2</cx:pt>
          <cx:pt idx="4400">1</cx:pt>
          <cx:pt idx="4401">1</cx:pt>
          <cx:pt idx="4402">2</cx:pt>
          <cx:pt idx="4403">1</cx:pt>
          <cx:pt idx="4404">2</cx:pt>
          <cx:pt idx="4405">1</cx:pt>
          <cx:pt idx="4406">5</cx:pt>
          <cx:pt idx="4407">2</cx:pt>
          <cx:pt idx="4408">4</cx:pt>
          <cx:pt idx="4409">1</cx:pt>
          <cx:pt idx="4410">1</cx:pt>
          <cx:pt idx="4411">2</cx:pt>
          <cx:pt idx="4412">1</cx:pt>
          <cx:pt idx="4413">5</cx:pt>
          <cx:pt idx="4414">1</cx:pt>
          <cx:pt idx="4415">2</cx:pt>
          <cx:pt idx="4416">2</cx:pt>
          <cx:pt idx="4417">1</cx:pt>
          <cx:pt idx="4418">1</cx:pt>
          <cx:pt idx="4419">1</cx:pt>
          <cx:pt idx="4420">2</cx:pt>
          <cx:pt idx="4421">1</cx:pt>
          <cx:pt idx="4422">3</cx:pt>
          <cx:pt idx="4423">2</cx:pt>
          <cx:pt idx="4424">2</cx:pt>
          <cx:pt idx="4425">3</cx:pt>
          <cx:pt idx="4426">1</cx:pt>
          <cx:pt idx="4427">4</cx:pt>
          <cx:pt idx="4428">2</cx:pt>
          <cx:pt idx="4429">2</cx:pt>
          <cx:pt idx="4430">1</cx:pt>
          <cx:pt idx="4431">1</cx:pt>
          <cx:pt idx="4432">2</cx:pt>
          <cx:pt idx="4433">1</cx:pt>
          <cx:pt idx="4434">1</cx:pt>
          <cx:pt idx="4435">1</cx:pt>
          <cx:pt idx="4436">2</cx:pt>
          <cx:pt idx="4437">1</cx:pt>
          <cx:pt idx="4438">3</cx:pt>
          <cx:pt idx="4439">1</cx:pt>
          <cx:pt idx="4440">4</cx:pt>
          <cx:pt idx="4441">3</cx:pt>
          <cx:pt idx="4442">1</cx:pt>
          <cx:pt idx="4443">4</cx:pt>
          <cx:pt idx="4444">2</cx:pt>
          <cx:pt idx="4445">2</cx:pt>
          <cx:pt idx="4446">2</cx:pt>
          <cx:pt idx="4447">3</cx:pt>
          <cx:pt idx="4448">1</cx:pt>
          <cx:pt idx="4449">1</cx:pt>
          <cx:pt idx="4450">1</cx:pt>
          <cx:pt idx="4451">1</cx:pt>
          <cx:pt idx="4452">1</cx:pt>
          <cx:pt idx="4453">2</cx:pt>
          <cx:pt idx="4454">1</cx:pt>
          <cx:pt idx="4455">2</cx:pt>
          <cx:pt idx="4456">1</cx:pt>
          <cx:pt idx="4457">1</cx:pt>
          <cx:pt idx="4458">1</cx:pt>
          <cx:pt idx="4459">1</cx:pt>
          <cx:pt idx="4460">1</cx:pt>
          <cx:pt idx="4461">3</cx:pt>
          <cx:pt idx="4462">3</cx:pt>
          <cx:pt idx="4463">3</cx:pt>
          <cx:pt idx="4464">2</cx:pt>
          <cx:pt idx="4465">1</cx:pt>
          <cx:pt idx="4466">1</cx:pt>
          <cx:pt idx="4467">1</cx:pt>
          <cx:pt idx="4468">1</cx:pt>
          <cx:pt idx="4469">3</cx:pt>
          <cx:pt idx="4470">2</cx:pt>
          <cx:pt idx="4471">4</cx:pt>
          <cx:pt idx="4472">1</cx:pt>
          <cx:pt idx="4473">5</cx:pt>
          <cx:pt idx="4474">2</cx:pt>
          <cx:pt idx="4475">3</cx:pt>
          <cx:pt idx="4476">1</cx:pt>
          <cx:pt idx="4477">2</cx:pt>
          <cx:pt idx="4478">3</cx:pt>
          <cx:pt idx="4479">1</cx:pt>
          <cx:pt idx="4480">2</cx:pt>
          <cx:pt idx="4481">3</cx:pt>
          <cx:pt idx="4482">1</cx:pt>
          <cx:pt idx="4483">4</cx:pt>
          <cx:pt idx="4484">1</cx:pt>
          <cx:pt idx="4485">1</cx:pt>
          <cx:pt idx="4486">1</cx:pt>
          <cx:pt idx="4487">1</cx:pt>
          <cx:pt idx="4488">2</cx:pt>
          <cx:pt idx="4489">1</cx:pt>
          <cx:pt idx="4490">1</cx:pt>
          <cx:pt idx="4491">5</cx:pt>
          <cx:pt idx="4492">1</cx:pt>
          <cx:pt idx="4493">3</cx:pt>
          <cx:pt idx="4494">1</cx:pt>
          <cx:pt idx="4495">1</cx:pt>
          <cx:pt idx="4496">1</cx:pt>
          <cx:pt idx="4497">3</cx:pt>
          <cx:pt idx="4498">2</cx:pt>
          <cx:pt idx="4499">2</cx:pt>
          <cx:pt idx="4500">3</cx:pt>
          <cx:pt idx="4501">5</cx:pt>
          <cx:pt idx="4502">7</cx:pt>
          <cx:pt idx="4503">2</cx:pt>
          <cx:pt idx="4504">1</cx:pt>
          <cx:pt idx="4505">3</cx:pt>
          <cx:pt idx="4506">1</cx:pt>
          <cx:pt idx="4507">1</cx:pt>
          <cx:pt idx="4508">1</cx:pt>
          <cx:pt idx="4509">1</cx:pt>
          <cx:pt idx="4510">2</cx:pt>
          <cx:pt idx="4511">4</cx:pt>
          <cx:pt idx="4512">4</cx:pt>
          <cx:pt idx="4513">1</cx:pt>
          <cx:pt idx="4514">2</cx:pt>
          <cx:pt idx="4515">5</cx:pt>
          <cx:pt idx="4516">1</cx:pt>
          <cx:pt idx="4517">3</cx:pt>
          <cx:pt idx="4518">1</cx:pt>
          <cx:pt idx="4519">2</cx:pt>
          <cx:pt idx="4520">5</cx:pt>
          <cx:pt idx="4521">1</cx:pt>
          <cx:pt idx="4522">1</cx:pt>
          <cx:pt idx="4523">4</cx:pt>
          <cx:pt idx="4524">4</cx:pt>
          <cx:pt idx="4525">4</cx:pt>
          <cx:pt idx="4526">4</cx:pt>
          <cx:pt idx="4527">2</cx:pt>
          <cx:pt idx="4528">2</cx:pt>
          <cx:pt idx="4529">1</cx:pt>
          <cx:pt idx="4530">3</cx:pt>
          <cx:pt idx="4531">1</cx:pt>
          <cx:pt idx="4532">2</cx:pt>
          <cx:pt idx="4533">1</cx:pt>
          <cx:pt idx="4534">4</cx:pt>
          <cx:pt idx="4535">1</cx:pt>
          <cx:pt idx="4536">1</cx:pt>
          <cx:pt idx="4537">1</cx:pt>
          <cx:pt idx="4538">4</cx:pt>
          <cx:pt idx="4539">5</cx:pt>
          <cx:pt idx="4540">4</cx:pt>
          <cx:pt idx="4541">3</cx:pt>
          <cx:pt idx="4542">2</cx:pt>
          <cx:pt idx="4543">3</cx:pt>
          <cx:pt idx="4544">1</cx:pt>
          <cx:pt idx="4545">4</cx:pt>
          <cx:pt idx="4546">1</cx:pt>
          <cx:pt idx="4547">6</cx:pt>
          <cx:pt idx="4548">1</cx:pt>
          <cx:pt idx="4549">1</cx:pt>
          <cx:pt idx="4550">3</cx:pt>
          <cx:pt idx="4551">5</cx:pt>
          <cx:pt idx="4552">2</cx:pt>
          <cx:pt idx="4553">2</cx:pt>
          <cx:pt idx="4554">2</cx:pt>
          <cx:pt idx="4555">1</cx:pt>
          <cx:pt idx="4556">2</cx:pt>
          <cx:pt idx="4557">2</cx:pt>
          <cx:pt idx="4558">3</cx:pt>
          <cx:pt idx="4559">1</cx:pt>
          <cx:pt idx="4560">1</cx:pt>
          <cx:pt idx="4561">2</cx:pt>
          <cx:pt idx="4562">1</cx:pt>
          <cx:pt idx="4563">7</cx:pt>
          <cx:pt idx="4564">1</cx:pt>
          <cx:pt idx="4565">1</cx:pt>
          <cx:pt idx="4566">1</cx:pt>
          <cx:pt idx="4567">5</cx:pt>
          <cx:pt idx="4568">1</cx:pt>
          <cx:pt idx="4569">5</cx:pt>
          <cx:pt idx="4570">7</cx:pt>
          <cx:pt idx="4571">3</cx:pt>
          <cx:pt idx="4572">4</cx:pt>
          <cx:pt idx="4573">2</cx:pt>
          <cx:pt idx="4574">5</cx:pt>
          <cx:pt idx="4575">1</cx:pt>
          <cx:pt idx="4576">1</cx:pt>
          <cx:pt idx="4577">3</cx:pt>
          <cx:pt idx="4578">2</cx:pt>
          <cx:pt idx="4579">3</cx:pt>
          <cx:pt idx="4580">1</cx:pt>
          <cx:pt idx="4581">1</cx:pt>
          <cx:pt idx="4582">4</cx:pt>
          <cx:pt idx="4583">3</cx:pt>
          <cx:pt idx="4584">1</cx:pt>
          <cx:pt idx="4585">1</cx:pt>
          <cx:pt idx="4586">1</cx:pt>
          <cx:pt idx="4587">2</cx:pt>
          <cx:pt idx="4588">1</cx:pt>
          <cx:pt idx="4589">1</cx:pt>
          <cx:pt idx="4590">1</cx:pt>
          <cx:pt idx="4591">2</cx:pt>
          <cx:pt idx="4592">2</cx:pt>
          <cx:pt idx="4593">1</cx:pt>
          <cx:pt idx="4594">1</cx:pt>
          <cx:pt idx="4595">1</cx:pt>
          <cx:pt idx="4596">2</cx:pt>
          <cx:pt idx="4597">1</cx:pt>
          <cx:pt idx="4598">3</cx:pt>
          <cx:pt idx="4599">1</cx:pt>
          <cx:pt idx="4600">2</cx:pt>
          <cx:pt idx="4601">4</cx:pt>
          <cx:pt idx="4602">2</cx:pt>
          <cx:pt idx="4603">1</cx:pt>
          <cx:pt idx="4604">3</cx:pt>
          <cx:pt idx="4605">4</cx:pt>
          <cx:pt idx="4606">5</cx:pt>
          <cx:pt idx="4607">2</cx:pt>
          <cx:pt idx="4608">2</cx:pt>
          <cx:pt idx="4609">1</cx:pt>
          <cx:pt idx="4610">2</cx:pt>
          <cx:pt idx="4611">5</cx:pt>
          <cx:pt idx="4612">3</cx:pt>
          <cx:pt idx="4613">2</cx:pt>
          <cx:pt idx="4614">2</cx:pt>
          <cx:pt idx="4615">1</cx:pt>
          <cx:pt idx="4616">2</cx:pt>
          <cx:pt idx="4617">1</cx:pt>
          <cx:pt idx="4618">4</cx:pt>
          <cx:pt idx="4619">5</cx:pt>
          <cx:pt idx="4620">4</cx:pt>
          <cx:pt idx="4621">2</cx:pt>
          <cx:pt idx="4622">3</cx:pt>
          <cx:pt idx="4623">4</cx:pt>
          <cx:pt idx="4624">2</cx:pt>
          <cx:pt idx="4625">4</cx:pt>
          <cx:pt idx="4626">1</cx:pt>
          <cx:pt idx="4627">3</cx:pt>
          <cx:pt idx="4628">1</cx:pt>
          <cx:pt idx="4629">6</cx:pt>
          <cx:pt idx="4630">3</cx:pt>
          <cx:pt idx="4631">2</cx:pt>
          <cx:pt idx="4632">3</cx:pt>
          <cx:pt idx="4633">2</cx:pt>
          <cx:pt idx="4634">3</cx:pt>
          <cx:pt idx="4635">4</cx:pt>
          <cx:pt idx="4636">2</cx:pt>
          <cx:pt idx="4637">1</cx:pt>
          <cx:pt idx="4638">4</cx:pt>
          <cx:pt idx="4639">5</cx:pt>
          <cx:pt idx="4640">2</cx:pt>
          <cx:pt idx="4641">1</cx:pt>
          <cx:pt idx="4642">1</cx:pt>
          <cx:pt idx="4643">1</cx:pt>
          <cx:pt idx="4644">1</cx:pt>
          <cx:pt idx="4645">1</cx:pt>
          <cx:pt idx="4646">1</cx:pt>
          <cx:pt idx="4647">1</cx:pt>
          <cx:pt idx="4648">3</cx:pt>
          <cx:pt idx="4649">1</cx:pt>
          <cx:pt idx="4650">1</cx:pt>
          <cx:pt idx="4651">3</cx:pt>
          <cx:pt idx="4652">4</cx:pt>
          <cx:pt idx="4653">3</cx:pt>
          <cx:pt idx="4654">1</cx:pt>
          <cx:pt idx="4655">1</cx:pt>
          <cx:pt idx="4656">2</cx:pt>
          <cx:pt idx="4657">2</cx:pt>
          <cx:pt idx="4658">1</cx:pt>
          <cx:pt idx="4659">2</cx:pt>
          <cx:pt idx="4660">3</cx:pt>
          <cx:pt idx="4661">2</cx:pt>
          <cx:pt idx="4662">1</cx:pt>
          <cx:pt idx="4663">1</cx:pt>
          <cx:pt idx="4664">1</cx:pt>
          <cx:pt idx="4665">1</cx:pt>
          <cx:pt idx="4666">1</cx:pt>
          <cx:pt idx="4667">2</cx:pt>
          <cx:pt idx="4668">1</cx:pt>
          <cx:pt idx="4669">2</cx:pt>
          <cx:pt idx="4670">1</cx:pt>
          <cx:pt idx="4671">1</cx:pt>
          <cx:pt idx="4672">2</cx:pt>
          <cx:pt idx="4673">3</cx:pt>
          <cx:pt idx="4674">1</cx:pt>
          <cx:pt idx="4675">1</cx:pt>
          <cx:pt idx="4676">2</cx:pt>
          <cx:pt idx="4677">2</cx:pt>
          <cx:pt idx="4678">1</cx:pt>
          <cx:pt idx="4679">1</cx:pt>
          <cx:pt idx="4680">2</cx:pt>
          <cx:pt idx="4681">1</cx:pt>
          <cx:pt idx="4682">2</cx:pt>
          <cx:pt idx="4683">3</cx:pt>
          <cx:pt idx="4684">2</cx:pt>
          <cx:pt idx="4685">2</cx:pt>
          <cx:pt idx="4686">2</cx:pt>
          <cx:pt idx="4687">2</cx:pt>
          <cx:pt idx="4688">3</cx:pt>
          <cx:pt idx="4689">2</cx:pt>
          <cx:pt idx="4690">1</cx:pt>
          <cx:pt idx="4691">1</cx:pt>
          <cx:pt idx="4692">2</cx:pt>
          <cx:pt idx="4693">1</cx:pt>
          <cx:pt idx="4694">2</cx:pt>
          <cx:pt idx="4695">1</cx:pt>
          <cx:pt idx="4696">2</cx:pt>
          <cx:pt idx="4697">2</cx:pt>
          <cx:pt idx="4698">2</cx:pt>
          <cx:pt idx="4699">4</cx:pt>
          <cx:pt idx="4700">5</cx:pt>
          <cx:pt idx="4701">1</cx:pt>
          <cx:pt idx="4702">2</cx:pt>
          <cx:pt idx="4703">3</cx:pt>
          <cx:pt idx="4704">5</cx:pt>
          <cx:pt idx="4705">1</cx:pt>
          <cx:pt idx="4706">4</cx:pt>
          <cx:pt idx="4707">1</cx:pt>
          <cx:pt idx="4708">5</cx:pt>
          <cx:pt idx="4709">3</cx:pt>
          <cx:pt idx="4710">2</cx:pt>
          <cx:pt idx="4711">3</cx:pt>
          <cx:pt idx="4712">3</cx:pt>
          <cx:pt idx="4713">2</cx:pt>
          <cx:pt idx="4714">1</cx:pt>
          <cx:pt idx="4715">1</cx:pt>
          <cx:pt idx="4716">1</cx:pt>
          <cx:pt idx="4717">3</cx:pt>
          <cx:pt idx="4718">1</cx:pt>
          <cx:pt idx="4719">1</cx:pt>
          <cx:pt idx="4720">1</cx:pt>
          <cx:pt idx="4721">1</cx:pt>
          <cx:pt idx="4722">3</cx:pt>
          <cx:pt idx="4723">1</cx:pt>
          <cx:pt idx="4724">1</cx:pt>
          <cx:pt idx="4725">1</cx:pt>
          <cx:pt idx="4726">1</cx:pt>
          <cx:pt idx="4727">1</cx:pt>
          <cx:pt idx="4728">5</cx:pt>
          <cx:pt idx="4729">1</cx:pt>
          <cx:pt idx="4730">2</cx:pt>
          <cx:pt idx="4731">1</cx:pt>
          <cx:pt idx="4732">1</cx:pt>
          <cx:pt idx="4733">2</cx:pt>
          <cx:pt idx="4734">3</cx:pt>
          <cx:pt idx="4735">1</cx:pt>
          <cx:pt idx="4736">4</cx:pt>
          <cx:pt idx="4737">2</cx:pt>
          <cx:pt idx="4738">3</cx:pt>
          <cx:pt idx="4739">3</cx:pt>
          <cx:pt idx="4740">2</cx:pt>
          <cx:pt idx="4741">1</cx:pt>
          <cx:pt idx="4742">2</cx:pt>
          <cx:pt idx="4743">4</cx:pt>
          <cx:pt idx="4744">4</cx:pt>
          <cx:pt idx="4745">2</cx:pt>
          <cx:pt idx="4746">2</cx:pt>
          <cx:pt idx="4747">1</cx:pt>
          <cx:pt idx="4748">4</cx:pt>
          <cx:pt idx="4749">2</cx:pt>
          <cx:pt idx="4750">2</cx:pt>
          <cx:pt idx="4751">5</cx:pt>
          <cx:pt idx="4752">5</cx:pt>
          <cx:pt idx="4753">3</cx:pt>
          <cx:pt idx="4754">1</cx:pt>
          <cx:pt idx="4755">2</cx:pt>
          <cx:pt idx="4756">5</cx:pt>
          <cx:pt idx="4757">2</cx:pt>
          <cx:pt idx="4758">2</cx:pt>
          <cx:pt idx="4759">3</cx:pt>
          <cx:pt idx="4760">2</cx:pt>
          <cx:pt idx="4761">5</cx:pt>
          <cx:pt idx="4762">2</cx:pt>
          <cx:pt idx="4763">1</cx:pt>
          <cx:pt idx="4764">1</cx:pt>
          <cx:pt idx="4765">2</cx:pt>
          <cx:pt idx="4766">3</cx:pt>
          <cx:pt idx="4767">1</cx:pt>
          <cx:pt idx="4768">1</cx:pt>
          <cx:pt idx="4769">2</cx:pt>
          <cx:pt idx="4770">1</cx:pt>
          <cx:pt idx="4771">3</cx:pt>
          <cx:pt idx="4772">3</cx:pt>
          <cx:pt idx="4773">1</cx:pt>
          <cx:pt idx="4774">4</cx:pt>
          <cx:pt idx="4775">1</cx:pt>
          <cx:pt idx="4776">2</cx:pt>
          <cx:pt idx="4777">5</cx:pt>
          <cx:pt idx="4778">1</cx:pt>
          <cx:pt idx="4779">1</cx:pt>
          <cx:pt idx="4780">2</cx:pt>
          <cx:pt idx="4781">1</cx:pt>
          <cx:pt idx="4782">2</cx:pt>
          <cx:pt idx="4783">2</cx:pt>
          <cx:pt idx="4784">2</cx:pt>
          <cx:pt idx="4785">2</cx:pt>
          <cx:pt idx="4786">3</cx:pt>
          <cx:pt idx="4787">1</cx:pt>
          <cx:pt idx="4788">1</cx:pt>
          <cx:pt idx="4789">4</cx:pt>
          <cx:pt idx="4790">1</cx:pt>
          <cx:pt idx="4791">1</cx:pt>
          <cx:pt idx="4792">2</cx:pt>
          <cx:pt idx="4793">1</cx:pt>
          <cx:pt idx="4794">2</cx:pt>
          <cx:pt idx="4795">3</cx:pt>
          <cx:pt idx="4796">2</cx:pt>
          <cx:pt idx="4797">4</cx:pt>
          <cx:pt idx="4798">8</cx:pt>
          <cx:pt idx="4799">4</cx:pt>
          <cx:pt idx="4800">1</cx:pt>
          <cx:pt idx="4801">3</cx:pt>
          <cx:pt idx="4802">4</cx:pt>
          <cx:pt idx="4803">2</cx:pt>
          <cx:pt idx="4804">1</cx:pt>
          <cx:pt idx="4805">1</cx:pt>
          <cx:pt idx="4806">1</cx:pt>
          <cx:pt idx="4807">1</cx:pt>
          <cx:pt idx="4808">4</cx:pt>
          <cx:pt idx="4809">1</cx:pt>
          <cx:pt idx="4810">3</cx:pt>
          <cx:pt idx="4811">3</cx:pt>
          <cx:pt idx="4812">1</cx:pt>
          <cx:pt idx="4813">3</cx:pt>
          <cx:pt idx="4814">2</cx:pt>
          <cx:pt idx="4815">3</cx:pt>
          <cx:pt idx="4816">2</cx:pt>
          <cx:pt idx="4817">1</cx:pt>
          <cx:pt idx="4818">2</cx:pt>
          <cx:pt idx="4819">2</cx:pt>
          <cx:pt idx="4820">1</cx:pt>
          <cx:pt idx="4821">1</cx:pt>
          <cx:pt idx="4822">2</cx:pt>
          <cx:pt idx="4823">1</cx:pt>
          <cx:pt idx="4824">1</cx:pt>
          <cx:pt idx="4825">1</cx:pt>
          <cx:pt idx="4826">5</cx:pt>
          <cx:pt idx="4827">3</cx:pt>
          <cx:pt idx="4828">1</cx:pt>
          <cx:pt idx="4829">1</cx:pt>
          <cx:pt idx="4830">3</cx:pt>
          <cx:pt idx="4831">4</cx:pt>
          <cx:pt idx="4832">3</cx:pt>
          <cx:pt idx="4833">5</cx:pt>
          <cx:pt idx="4834">1</cx:pt>
          <cx:pt idx="4835">1</cx:pt>
          <cx:pt idx="4836">2</cx:pt>
          <cx:pt idx="4837">1</cx:pt>
          <cx:pt idx="4838">3</cx:pt>
          <cx:pt idx="4839">2</cx:pt>
          <cx:pt idx="4840">1</cx:pt>
          <cx:pt idx="4841">1</cx:pt>
          <cx:pt idx="4842">2</cx:pt>
          <cx:pt idx="4843">1</cx:pt>
          <cx:pt idx="4844">1</cx:pt>
          <cx:pt idx="4845">3</cx:pt>
          <cx:pt idx="4846">3</cx:pt>
          <cx:pt idx="4847">4</cx:pt>
          <cx:pt idx="4848">2</cx:pt>
          <cx:pt idx="4849">4</cx:pt>
          <cx:pt idx="4850">2</cx:pt>
          <cx:pt idx="4851">2</cx:pt>
          <cx:pt idx="4852">2</cx:pt>
          <cx:pt idx="4853">1</cx:pt>
          <cx:pt idx="4854">3</cx:pt>
          <cx:pt idx="4855">1</cx:pt>
          <cx:pt idx="4856">2</cx:pt>
          <cx:pt idx="4857">1</cx:pt>
          <cx:pt idx="4858">1</cx:pt>
          <cx:pt idx="4859">1</cx:pt>
          <cx:pt idx="4860">1</cx:pt>
          <cx:pt idx="4861">1</cx:pt>
          <cx:pt idx="4862">2</cx:pt>
          <cx:pt idx="4863">2</cx:pt>
          <cx:pt idx="4864">1</cx:pt>
          <cx:pt idx="4865">2</cx:pt>
          <cx:pt idx="4866">2</cx:pt>
          <cx:pt idx="4867">3</cx:pt>
          <cx:pt idx="4868">2</cx:pt>
          <cx:pt idx="4869">2</cx:pt>
          <cx:pt idx="4870">1</cx:pt>
          <cx:pt idx="4871">3</cx:pt>
          <cx:pt idx="4872">2</cx:pt>
          <cx:pt idx="4873">1</cx:pt>
          <cx:pt idx="4874">4</cx:pt>
          <cx:pt idx="4875">2</cx:pt>
          <cx:pt idx="4876">3</cx:pt>
          <cx:pt idx="4877">2</cx:pt>
          <cx:pt idx="4878">2</cx:pt>
          <cx:pt idx="4879">1</cx:pt>
          <cx:pt idx="4880">1</cx:pt>
          <cx:pt idx="4881">1</cx:pt>
          <cx:pt idx="4882">1</cx:pt>
          <cx:pt idx="4883">2</cx:pt>
          <cx:pt idx="4884">2</cx:pt>
          <cx:pt idx="4885">3</cx:pt>
          <cx:pt idx="4886">1</cx:pt>
          <cx:pt idx="4887">1</cx:pt>
          <cx:pt idx="4888">1</cx:pt>
          <cx:pt idx="4889">1</cx:pt>
          <cx:pt idx="4890">1</cx:pt>
          <cx:pt idx="4891">2</cx:pt>
          <cx:pt idx="4892">2</cx:pt>
          <cx:pt idx="4893">3</cx:pt>
          <cx:pt idx="4894">1</cx:pt>
          <cx:pt idx="4895">2</cx:pt>
          <cx:pt idx="4896">2</cx:pt>
          <cx:pt idx="4897">1</cx:pt>
          <cx:pt idx="4898">4</cx:pt>
          <cx:pt idx="4899">2</cx:pt>
          <cx:pt idx="4900">2</cx:pt>
          <cx:pt idx="4901">2</cx:pt>
          <cx:pt idx="4902">2</cx:pt>
          <cx:pt idx="4903">1</cx:pt>
          <cx:pt idx="4904">3</cx:pt>
          <cx:pt idx="4905">1</cx:pt>
          <cx:pt idx="4906">4</cx:pt>
          <cx:pt idx="4907">1</cx:pt>
          <cx:pt idx="4908">1</cx:pt>
          <cx:pt idx="4909">1</cx:pt>
          <cx:pt idx="4910">1</cx:pt>
          <cx:pt idx="4911">5</cx:pt>
          <cx:pt idx="4912">3</cx:pt>
          <cx:pt idx="4913">3</cx:pt>
          <cx:pt idx="4914">1</cx:pt>
          <cx:pt idx="4915">6</cx:pt>
          <cx:pt idx="4916">3</cx:pt>
          <cx:pt idx="4917">2</cx:pt>
          <cx:pt idx="4918">2</cx:pt>
          <cx:pt idx="4919">3</cx:pt>
          <cx:pt idx="4920">1</cx:pt>
          <cx:pt idx="4921">1</cx:pt>
          <cx:pt idx="4922">2</cx:pt>
          <cx:pt idx="4923">6</cx:pt>
          <cx:pt idx="4924">7</cx:pt>
          <cx:pt idx="4925">1</cx:pt>
          <cx:pt idx="4926">1</cx:pt>
          <cx:pt idx="4927">1</cx:pt>
          <cx:pt idx="4928">1</cx:pt>
          <cx:pt idx="4929">1</cx:pt>
          <cx:pt idx="4930">1</cx:pt>
          <cx:pt idx="4931">2</cx:pt>
          <cx:pt idx="4932">1</cx:pt>
          <cx:pt idx="4933">1</cx:pt>
          <cx:pt idx="4934">2</cx:pt>
          <cx:pt idx="4935">2</cx:pt>
          <cx:pt idx="4936">1</cx:pt>
          <cx:pt idx="4937">1</cx:pt>
          <cx:pt idx="4938">2</cx:pt>
          <cx:pt idx="4939">2</cx:pt>
          <cx:pt idx="4940">4</cx:pt>
          <cx:pt idx="4941">4</cx:pt>
          <cx:pt idx="4942">1</cx:pt>
          <cx:pt idx="4943">4</cx:pt>
          <cx:pt idx="4944">2</cx:pt>
          <cx:pt idx="4945">2</cx:pt>
          <cx:pt idx="4946">2</cx:pt>
          <cx:pt idx="4947">1</cx:pt>
          <cx:pt idx="4948">1</cx:pt>
          <cx:pt idx="4949">3</cx:pt>
          <cx:pt idx="4950">5</cx:pt>
          <cx:pt idx="4951">2</cx:pt>
          <cx:pt idx="4952">1</cx:pt>
          <cx:pt idx="4953">3</cx:pt>
          <cx:pt idx="4954">2</cx:pt>
          <cx:pt idx="4955">2</cx:pt>
          <cx:pt idx="4956">1</cx:pt>
          <cx:pt idx="4957">3</cx:pt>
          <cx:pt idx="4958">4</cx:pt>
          <cx:pt idx="4959">5</cx:pt>
          <cx:pt idx="4960">1</cx:pt>
          <cx:pt idx="4961">1</cx:pt>
          <cx:pt idx="4962">3</cx:pt>
          <cx:pt idx="4963">1</cx:pt>
          <cx:pt idx="4964">3</cx:pt>
          <cx:pt idx="4965">2</cx:pt>
          <cx:pt idx="4966">1</cx:pt>
          <cx:pt idx="4967">2</cx:pt>
          <cx:pt idx="4968">1</cx:pt>
          <cx:pt idx="4969">2</cx:pt>
          <cx:pt idx="4970">2</cx:pt>
          <cx:pt idx="4971">1</cx:pt>
          <cx:pt idx="4972">4</cx:pt>
          <cx:pt idx="4973">3</cx:pt>
          <cx:pt idx="4974">1</cx:pt>
          <cx:pt idx="4975">4</cx:pt>
          <cx:pt idx="4976">4</cx:pt>
          <cx:pt idx="4977">1</cx:pt>
          <cx:pt idx="4978">2</cx:pt>
          <cx:pt idx="4979">1</cx:pt>
          <cx:pt idx="4980">6</cx:pt>
          <cx:pt idx="4981">2</cx:pt>
          <cx:pt idx="4982">2</cx:pt>
          <cx:pt idx="4983">1</cx:pt>
          <cx:pt idx="4984">3</cx:pt>
          <cx:pt idx="4985">1</cx:pt>
          <cx:pt idx="4986">3</cx:pt>
          <cx:pt idx="4987">2</cx:pt>
          <cx:pt idx="4988">1</cx:pt>
          <cx:pt idx="4989">5</cx:pt>
          <cx:pt idx="4990">1</cx:pt>
          <cx:pt idx="4991">1</cx:pt>
          <cx:pt idx="4992">3</cx:pt>
          <cx:pt idx="4993">3</cx:pt>
          <cx:pt idx="4994">1</cx:pt>
          <cx:pt idx="4995">1</cx:pt>
          <cx:pt idx="4996">4</cx:pt>
          <cx:pt idx="4997">2</cx:pt>
          <cx:pt idx="4998">2</cx:pt>
          <cx:pt idx="4999">3</cx:pt>
          <cx:pt idx="5000">3</cx:pt>
          <cx:pt idx="5001">3</cx:pt>
          <cx:pt idx="5002">1</cx:pt>
          <cx:pt idx="5003">2</cx:pt>
          <cx:pt idx="5004">2</cx:pt>
          <cx:pt idx="5005">5</cx:pt>
          <cx:pt idx="5006">1</cx:pt>
          <cx:pt idx="5007">1</cx:pt>
          <cx:pt idx="5008">1</cx:pt>
          <cx:pt idx="5009">4</cx:pt>
          <cx:pt idx="5010">5</cx:pt>
          <cx:pt idx="5011">3</cx:pt>
          <cx:pt idx="5012">3</cx:pt>
          <cx:pt idx="5013">3</cx:pt>
          <cx:pt idx="5014">4</cx:pt>
          <cx:pt idx="5015">1</cx:pt>
          <cx:pt idx="5016">1</cx:pt>
          <cx:pt idx="5017">2</cx:pt>
          <cx:pt idx="5018">1</cx:pt>
          <cx:pt idx="5019">5</cx:pt>
          <cx:pt idx="5020">7</cx:pt>
          <cx:pt idx="5021">3</cx:pt>
          <cx:pt idx="5022">1</cx:pt>
          <cx:pt idx="5023">2</cx:pt>
          <cx:pt idx="5024">4</cx:pt>
          <cx:pt idx="5025">2</cx:pt>
          <cx:pt idx="5026">4</cx:pt>
          <cx:pt idx="5027">3</cx:pt>
          <cx:pt idx="5028">4</cx:pt>
          <cx:pt idx="5029">3</cx:pt>
          <cx:pt idx="5030">1</cx:pt>
          <cx:pt idx="5031">1</cx:pt>
          <cx:pt idx="5032">4</cx:pt>
          <cx:pt idx="5033">2</cx:pt>
          <cx:pt idx="5034">1</cx:pt>
          <cx:pt idx="5035">6</cx:pt>
          <cx:pt idx="5036">2</cx:pt>
          <cx:pt idx="5037">1</cx:pt>
          <cx:pt idx="5038">4</cx:pt>
          <cx:pt idx="5039">1</cx:pt>
          <cx:pt idx="5040">1</cx:pt>
          <cx:pt idx="5041">2</cx:pt>
          <cx:pt idx="5042">1</cx:pt>
          <cx:pt idx="5043">2</cx:pt>
          <cx:pt idx="5044">3</cx:pt>
          <cx:pt idx="5045">3</cx:pt>
          <cx:pt idx="5046">1</cx:pt>
          <cx:pt idx="5047">5</cx:pt>
          <cx:pt idx="5048">3</cx:pt>
          <cx:pt idx="5049">2</cx:pt>
          <cx:pt idx="5050">2</cx:pt>
          <cx:pt idx="5051">1</cx:pt>
          <cx:pt idx="5052">3</cx:pt>
          <cx:pt idx="5053">2</cx:pt>
          <cx:pt idx="5054">2</cx:pt>
          <cx:pt idx="5055">2</cx:pt>
          <cx:pt idx="5056">2</cx:pt>
          <cx:pt idx="5057">2</cx:pt>
          <cx:pt idx="5058">3</cx:pt>
          <cx:pt idx="5059">2</cx:pt>
          <cx:pt idx="5060">3</cx:pt>
          <cx:pt idx="5061">1</cx:pt>
          <cx:pt idx="5062">1</cx:pt>
          <cx:pt idx="5063">6</cx:pt>
          <cx:pt idx="5064">2</cx:pt>
          <cx:pt idx="5065">1</cx:pt>
          <cx:pt idx="5066">5</cx:pt>
          <cx:pt idx="5067">2</cx:pt>
          <cx:pt idx="5068">4</cx:pt>
          <cx:pt idx="5069">1</cx:pt>
          <cx:pt idx="5070">1</cx:pt>
          <cx:pt idx="5071">1</cx:pt>
          <cx:pt idx="5072">1</cx:pt>
          <cx:pt idx="5073">2</cx:pt>
          <cx:pt idx="5074">3</cx:pt>
          <cx:pt idx="5075">3</cx:pt>
          <cx:pt idx="5076">1</cx:pt>
          <cx:pt idx="5077">5</cx:pt>
          <cx:pt idx="5078">2</cx:pt>
          <cx:pt idx="5079">3</cx:pt>
          <cx:pt idx="5080">3</cx:pt>
          <cx:pt idx="5081">4</cx:pt>
          <cx:pt idx="5082">1</cx:pt>
          <cx:pt idx="5083">5</cx:pt>
          <cx:pt idx="5084">2</cx:pt>
          <cx:pt idx="5085">1</cx:pt>
          <cx:pt idx="5086">1</cx:pt>
          <cx:pt idx="5087">1</cx:pt>
          <cx:pt idx="5088">3</cx:pt>
          <cx:pt idx="5089">1</cx:pt>
          <cx:pt idx="5090">3</cx:pt>
          <cx:pt idx="5091">1</cx:pt>
          <cx:pt idx="5092">2</cx:pt>
          <cx:pt idx="5093">1</cx:pt>
          <cx:pt idx="5094">1</cx:pt>
          <cx:pt idx="5095">1</cx:pt>
          <cx:pt idx="5096">2</cx:pt>
          <cx:pt idx="5097">1</cx:pt>
          <cx:pt idx="5098">1</cx:pt>
          <cx:pt idx="5099">1</cx:pt>
          <cx:pt idx="5100">1</cx:pt>
          <cx:pt idx="5101">2</cx:pt>
          <cx:pt idx="5102">1</cx:pt>
          <cx:pt idx="5103">1</cx:pt>
          <cx:pt idx="5104">2</cx:pt>
          <cx:pt idx="5105">1</cx:pt>
          <cx:pt idx="5106">3</cx:pt>
          <cx:pt idx="5107">4</cx:pt>
          <cx:pt idx="5108">1</cx:pt>
          <cx:pt idx="5109">1</cx:pt>
          <cx:pt idx="5110">1</cx:pt>
          <cx:pt idx="5111">1</cx:pt>
          <cx:pt idx="5112">4</cx:pt>
          <cx:pt idx="5113">1</cx:pt>
          <cx:pt idx="5114">1</cx:pt>
          <cx:pt idx="5115">1</cx:pt>
          <cx:pt idx="5116">1</cx:pt>
          <cx:pt idx="5117">4</cx:pt>
          <cx:pt idx="5118">5</cx:pt>
          <cx:pt idx="5119">1</cx:pt>
          <cx:pt idx="5120">1</cx:pt>
          <cx:pt idx="5121">7</cx:pt>
          <cx:pt idx="5122">2</cx:pt>
          <cx:pt idx="5123">2</cx:pt>
          <cx:pt idx="5124">3</cx:pt>
          <cx:pt idx="5125">2</cx:pt>
          <cx:pt idx="5126">4</cx:pt>
          <cx:pt idx="5127">1</cx:pt>
          <cx:pt idx="5128">3</cx:pt>
          <cx:pt idx="5129">3</cx:pt>
          <cx:pt idx="5130">2</cx:pt>
          <cx:pt idx="5131">1</cx:pt>
          <cx:pt idx="5132">2</cx:pt>
          <cx:pt idx="5133">2</cx:pt>
          <cx:pt idx="5134">2</cx:pt>
          <cx:pt idx="5135">1</cx:pt>
          <cx:pt idx="5136">2</cx:pt>
          <cx:pt idx="5137">2</cx:pt>
          <cx:pt idx="5138">3</cx:pt>
          <cx:pt idx="5139">2</cx:pt>
          <cx:pt idx="5140">1</cx:pt>
          <cx:pt idx="5141">2</cx:pt>
          <cx:pt idx="5142">2</cx:pt>
          <cx:pt idx="5143">2</cx:pt>
          <cx:pt idx="5144">1</cx:pt>
          <cx:pt idx="5145">1</cx:pt>
          <cx:pt idx="5146">2</cx:pt>
          <cx:pt idx="5147">1</cx:pt>
          <cx:pt idx="5148">2</cx:pt>
          <cx:pt idx="5149">3</cx:pt>
          <cx:pt idx="5150">1</cx:pt>
          <cx:pt idx="5151">2</cx:pt>
          <cx:pt idx="5152">1</cx:pt>
          <cx:pt idx="5153">1</cx:pt>
          <cx:pt idx="5154">1</cx:pt>
          <cx:pt idx="5155">1</cx:pt>
          <cx:pt idx="5156">1</cx:pt>
          <cx:pt idx="5157">2</cx:pt>
          <cx:pt idx="5158">1</cx:pt>
          <cx:pt idx="5159">1</cx:pt>
          <cx:pt idx="5160">1</cx:pt>
          <cx:pt idx="5161">1</cx:pt>
          <cx:pt idx="5162">4</cx:pt>
          <cx:pt idx="5163">1</cx:pt>
          <cx:pt idx="5164">1</cx:pt>
          <cx:pt idx="5165">4</cx:pt>
          <cx:pt idx="5166">3</cx:pt>
          <cx:pt idx="5167">1</cx:pt>
          <cx:pt idx="5168">1</cx:pt>
          <cx:pt idx="5169">1</cx:pt>
          <cx:pt idx="5170">1</cx:pt>
          <cx:pt idx="5171">3</cx:pt>
          <cx:pt idx="5172">2</cx:pt>
          <cx:pt idx="5173">3</cx:pt>
          <cx:pt idx="5174">3</cx:pt>
          <cx:pt idx="5175">4</cx:pt>
          <cx:pt idx="5176">3</cx:pt>
          <cx:pt idx="5177">1</cx:pt>
          <cx:pt idx="5178">1</cx:pt>
          <cx:pt idx="5179">1</cx:pt>
          <cx:pt idx="5180">1</cx:pt>
          <cx:pt idx="5181">1</cx:pt>
          <cx:pt idx="5182">2</cx:pt>
          <cx:pt idx="5183">2</cx:pt>
          <cx:pt idx="5184">1</cx:pt>
          <cx:pt idx="5185">1</cx:pt>
          <cx:pt idx="5186">2</cx:pt>
          <cx:pt idx="5187">1</cx:pt>
          <cx:pt idx="5188">2</cx:pt>
          <cx:pt idx="5189">1</cx:pt>
          <cx:pt idx="5190">1</cx:pt>
          <cx:pt idx="5191">5</cx:pt>
          <cx:pt idx="5192">1</cx:pt>
          <cx:pt idx="5193">1</cx:pt>
          <cx:pt idx="5194">3</cx:pt>
          <cx:pt idx="5195">1</cx:pt>
          <cx:pt idx="5196">2</cx:pt>
          <cx:pt idx="5197">4</cx:pt>
          <cx:pt idx="5198">5</cx:pt>
          <cx:pt idx="5199">5</cx:pt>
          <cx:pt idx="5200">1</cx:pt>
          <cx:pt idx="5201">3</cx:pt>
          <cx:pt idx="5202">4</cx:pt>
          <cx:pt idx="5203">3</cx:pt>
          <cx:pt idx="5204">2</cx:pt>
          <cx:pt idx="5205">1</cx:pt>
          <cx:pt idx="5206">3</cx:pt>
          <cx:pt idx="5207">2</cx:pt>
          <cx:pt idx="5208">2</cx:pt>
          <cx:pt idx="5209">1</cx:pt>
          <cx:pt idx="5210">2</cx:pt>
          <cx:pt idx="5211">2</cx:pt>
          <cx:pt idx="5212">2</cx:pt>
          <cx:pt idx="5213">3</cx:pt>
          <cx:pt idx="5214">1</cx:pt>
          <cx:pt idx="5215">3</cx:pt>
          <cx:pt idx="5216">2</cx:pt>
          <cx:pt idx="5217">1</cx:pt>
          <cx:pt idx="5218">3</cx:pt>
          <cx:pt idx="5219">4</cx:pt>
          <cx:pt idx="5220">3</cx:pt>
          <cx:pt idx="5221">3</cx:pt>
          <cx:pt idx="5222">3</cx:pt>
          <cx:pt idx="5223">2</cx:pt>
          <cx:pt idx="5224">3</cx:pt>
          <cx:pt idx="5225">1</cx:pt>
          <cx:pt idx="5226">1</cx:pt>
          <cx:pt idx="5227">2</cx:pt>
          <cx:pt idx="5228">2</cx:pt>
          <cx:pt idx="5229">2</cx:pt>
          <cx:pt idx="5230">2</cx:pt>
          <cx:pt idx="5231">3</cx:pt>
          <cx:pt idx="5232">3</cx:pt>
          <cx:pt idx="5233">2</cx:pt>
          <cx:pt idx="5234">1</cx:pt>
          <cx:pt idx="5235">2</cx:pt>
          <cx:pt idx="5236">1</cx:pt>
          <cx:pt idx="5237">1</cx:pt>
          <cx:pt idx="5238">2</cx:pt>
          <cx:pt idx="5239">2</cx:pt>
          <cx:pt idx="5240">2</cx:pt>
          <cx:pt idx="5241">1</cx:pt>
          <cx:pt idx="5242">3</cx:pt>
          <cx:pt idx="5243">5</cx:pt>
          <cx:pt idx="5244">2</cx:pt>
          <cx:pt idx="5245">1</cx:pt>
          <cx:pt idx="5246">1</cx:pt>
          <cx:pt idx="5247">4</cx:pt>
          <cx:pt idx="5248">2</cx:pt>
          <cx:pt idx="5249">2</cx:pt>
          <cx:pt idx="5250">1</cx:pt>
          <cx:pt idx="5251">1</cx:pt>
          <cx:pt idx="5252">1</cx:pt>
          <cx:pt idx="5253">3</cx:pt>
          <cx:pt idx="5254">3</cx:pt>
          <cx:pt idx="5255">3</cx:pt>
          <cx:pt idx="5256">2</cx:pt>
          <cx:pt idx="5257">3</cx:pt>
          <cx:pt idx="5258">1</cx:pt>
          <cx:pt idx="5259">5</cx:pt>
          <cx:pt idx="5260">1</cx:pt>
          <cx:pt idx="5261">1</cx:pt>
          <cx:pt idx="5262">2</cx:pt>
          <cx:pt idx="5263">1</cx:pt>
          <cx:pt idx="5264">4</cx:pt>
          <cx:pt idx="5265">3</cx:pt>
          <cx:pt idx="5266">5</cx:pt>
          <cx:pt idx="5267">1</cx:pt>
          <cx:pt idx="5268">1</cx:pt>
          <cx:pt idx="5269">2</cx:pt>
          <cx:pt idx="5270">2</cx:pt>
          <cx:pt idx="5271">2</cx:pt>
          <cx:pt idx="5272">1</cx:pt>
          <cx:pt idx="5273">2</cx:pt>
          <cx:pt idx="5274">2</cx:pt>
          <cx:pt idx="5275">2</cx:pt>
          <cx:pt idx="5276">1</cx:pt>
          <cx:pt idx="5277">1</cx:pt>
          <cx:pt idx="5278">4</cx:pt>
          <cx:pt idx="5279">1</cx:pt>
          <cx:pt idx="5280">2</cx:pt>
          <cx:pt idx="5281">3</cx:pt>
          <cx:pt idx="5282">1</cx:pt>
          <cx:pt idx="5283">4</cx:pt>
          <cx:pt idx="5284">1</cx:pt>
          <cx:pt idx="5285">4</cx:pt>
          <cx:pt idx="5286">3</cx:pt>
          <cx:pt idx="5287">1</cx:pt>
          <cx:pt idx="5288">1</cx:pt>
          <cx:pt idx="5289">1</cx:pt>
          <cx:pt idx="5290">1</cx:pt>
          <cx:pt idx="5291">2</cx:pt>
          <cx:pt idx="5292">3</cx:pt>
          <cx:pt idx="5293">2</cx:pt>
          <cx:pt idx="5294">1</cx:pt>
          <cx:pt idx="5295">3</cx:pt>
          <cx:pt idx="5296">2</cx:pt>
          <cx:pt idx="5297">1</cx:pt>
          <cx:pt idx="5298">2</cx:pt>
          <cx:pt idx="5299">5</cx:pt>
          <cx:pt idx="5300">3</cx:pt>
          <cx:pt idx="5301">4</cx:pt>
          <cx:pt idx="5302">8</cx:pt>
          <cx:pt idx="5303">2</cx:pt>
          <cx:pt idx="5304">3</cx:pt>
          <cx:pt idx="5305">3</cx:pt>
          <cx:pt idx="5306">1</cx:pt>
          <cx:pt idx="5307">6</cx:pt>
          <cx:pt idx="5308">1</cx:pt>
          <cx:pt idx="5309">4</cx:pt>
          <cx:pt idx="5310">1</cx:pt>
          <cx:pt idx="5311">2</cx:pt>
          <cx:pt idx="5312">3</cx:pt>
          <cx:pt idx="5313">2</cx:pt>
          <cx:pt idx="5314">2</cx:pt>
          <cx:pt idx="5315">1</cx:pt>
          <cx:pt idx="5316">2</cx:pt>
          <cx:pt idx="5317">1</cx:pt>
          <cx:pt idx="5318">2</cx:pt>
          <cx:pt idx="5319">2</cx:pt>
          <cx:pt idx="5320">3</cx:pt>
          <cx:pt idx="5321">5</cx:pt>
          <cx:pt idx="5322">3</cx:pt>
          <cx:pt idx="5323">1</cx:pt>
          <cx:pt idx="5324">1</cx:pt>
          <cx:pt idx="5325">4</cx:pt>
          <cx:pt idx="5326">4</cx:pt>
          <cx:pt idx="5327">1</cx:pt>
          <cx:pt idx="5328">3</cx:pt>
          <cx:pt idx="5329">1</cx:pt>
          <cx:pt idx="5330">1</cx:pt>
          <cx:pt idx="5331">2</cx:pt>
          <cx:pt idx="5332">2</cx:pt>
          <cx:pt idx="5333">2</cx:pt>
          <cx:pt idx="5334">3</cx:pt>
          <cx:pt idx="5335">1</cx:pt>
          <cx:pt idx="5336">2</cx:pt>
          <cx:pt idx="5337">1</cx:pt>
          <cx:pt idx="5338">1</cx:pt>
          <cx:pt idx="5339">7</cx:pt>
          <cx:pt idx="5340">3</cx:pt>
          <cx:pt idx="5341">2</cx:pt>
          <cx:pt idx="5342">2</cx:pt>
          <cx:pt idx="5343">3</cx:pt>
          <cx:pt idx="5344">1</cx:pt>
          <cx:pt idx="5345">2</cx:pt>
          <cx:pt idx="5346">1</cx:pt>
          <cx:pt idx="5347">1</cx:pt>
          <cx:pt idx="5348">3</cx:pt>
          <cx:pt idx="5349">1</cx:pt>
          <cx:pt idx="5350">3</cx:pt>
          <cx:pt idx="5351">3</cx:pt>
          <cx:pt idx="5352">1</cx:pt>
          <cx:pt idx="5353">2</cx:pt>
          <cx:pt idx="5354">2</cx:pt>
          <cx:pt idx="5355">3</cx:pt>
          <cx:pt idx="5356">4</cx:pt>
          <cx:pt idx="5357">2</cx:pt>
          <cx:pt idx="5358">4</cx:pt>
          <cx:pt idx="5359">3</cx:pt>
          <cx:pt idx="5360">4</cx:pt>
          <cx:pt idx="5361">2</cx:pt>
          <cx:pt idx="5362">3</cx:pt>
          <cx:pt idx="5363">2</cx:pt>
          <cx:pt idx="5364">1</cx:pt>
          <cx:pt idx="5365">1</cx:pt>
          <cx:pt idx="5366">2</cx:pt>
          <cx:pt idx="5367">3</cx:pt>
          <cx:pt idx="5368">2</cx:pt>
          <cx:pt idx="5369">2</cx:pt>
          <cx:pt idx="5370">2</cx:pt>
          <cx:pt idx="5371">1</cx:pt>
          <cx:pt idx="5372">2</cx:pt>
          <cx:pt idx="5373">1</cx:pt>
          <cx:pt idx="5374">4</cx:pt>
          <cx:pt idx="5375">2</cx:pt>
          <cx:pt idx="5376">5</cx:pt>
          <cx:pt idx="5377">1</cx:pt>
          <cx:pt idx="5378">2</cx:pt>
          <cx:pt idx="5379">1</cx:pt>
          <cx:pt idx="5380">1</cx:pt>
          <cx:pt idx="5381">5</cx:pt>
          <cx:pt idx="5382">3</cx:pt>
          <cx:pt idx="5383">2</cx:pt>
          <cx:pt idx="5384">1</cx:pt>
          <cx:pt idx="5385">1</cx:pt>
          <cx:pt idx="5386">1</cx:pt>
          <cx:pt idx="5387">2</cx:pt>
          <cx:pt idx="5388">2</cx:pt>
          <cx:pt idx="5389">1</cx:pt>
          <cx:pt idx="5390">7</cx:pt>
          <cx:pt idx="5391">1</cx:pt>
          <cx:pt idx="5392">2</cx:pt>
          <cx:pt idx="5393">2</cx:pt>
          <cx:pt idx="5394">2</cx:pt>
          <cx:pt idx="5395">2</cx:pt>
          <cx:pt idx="5396">1</cx:pt>
          <cx:pt idx="5397">1</cx:pt>
          <cx:pt idx="5398">1</cx:pt>
          <cx:pt idx="5399">2</cx:pt>
          <cx:pt idx="5400">3</cx:pt>
          <cx:pt idx="5401">2</cx:pt>
          <cx:pt idx="5402">1</cx:pt>
          <cx:pt idx="5403">2</cx:pt>
          <cx:pt idx="5404">3</cx:pt>
          <cx:pt idx="5405">3</cx:pt>
          <cx:pt idx="5406">1</cx:pt>
          <cx:pt idx="5407">4</cx:pt>
          <cx:pt idx="5408">2</cx:pt>
          <cx:pt idx="5409">8</cx:pt>
          <cx:pt idx="5410">1</cx:pt>
          <cx:pt idx="5411">1</cx:pt>
          <cx:pt idx="5412">2</cx:pt>
          <cx:pt idx="5413">2</cx:pt>
          <cx:pt idx="5414">1</cx:pt>
          <cx:pt idx="5415">4</cx:pt>
          <cx:pt idx="5416">1</cx:pt>
          <cx:pt idx="5417">3</cx:pt>
          <cx:pt idx="5418">1</cx:pt>
          <cx:pt idx="5419">3</cx:pt>
          <cx:pt idx="5420">1</cx:pt>
          <cx:pt idx="5421">1</cx:pt>
          <cx:pt idx="5422">2</cx:pt>
          <cx:pt idx="5423">3</cx:pt>
          <cx:pt idx="5424">2</cx:pt>
          <cx:pt idx="5425">1</cx:pt>
          <cx:pt idx="5426">1</cx:pt>
          <cx:pt idx="5427">1</cx:pt>
          <cx:pt idx="5428">1</cx:pt>
          <cx:pt idx="5429">4</cx:pt>
          <cx:pt idx="5430">1</cx:pt>
          <cx:pt idx="5431">3</cx:pt>
          <cx:pt idx="5432">2</cx:pt>
          <cx:pt idx="5433">3</cx:pt>
          <cx:pt idx="5434">4</cx:pt>
          <cx:pt idx="5435">2</cx:pt>
          <cx:pt idx="5436">1</cx:pt>
          <cx:pt idx="5437">3</cx:pt>
          <cx:pt idx="5438">3</cx:pt>
          <cx:pt idx="5439">3</cx:pt>
          <cx:pt idx="5440">2</cx:pt>
          <cx:pt idx="5441">1</cx:pt>
          <cx:pt idx="5442">3</cx:pt>
          <cx:pt idx="5443">4</cx:pt>
          <cx:pt idx="5444">5</cx:pt>
          <cx:pt idx="5445">1</cx:pt>
          <cx:pt idx="5446">4</cx:pt>
          <cx:pt idx="5447">5</cx:pt>
          <cx:pt idx="5448">2</cx:pt>
          <cx:pt idx="5449">6</cx:pt>
          <cx:pt idx="5450">4</cx:pt>
          <cx:pt idx="5451">4</cx:pt>
          <cx:pt idx="5452">2</cx:pt>
          <cx:pt idx="5453">3</cx:pt>
          <cx:pt idx="5454">3</cx:pt>
          <cx:pt idx="5455">1</cx:pt>
          <cx:pt idx="5456">1</cx:pt>
          <cx:pt idx="5457">2</cx:pt>
          <cx:pt idx="5458">5</cx:pt>
          <cx:pt idx="5459">4</cx:pt>
          <cx:pt idx="5460">3</cx:pt>
          <cx:pt idx="5461">5</cx:pt>
          <cx:pt idx="5462">5</cx:pt>
          <cx:pt idx="5463">5</cx:pt>
          <cx:pt idx="5464">1</cx:pt>
          <cx:pt idx="5465">5</cx:pt>
          <cx:pt idx="5466">2</cx:pt>
          <cx:pt idx="5467">1</cx:pt>
          <cx:pt idx="5468">1</cx:pt>
          <cx:pt idx="5469">2</cx:pt>
          <cx:pt idx="5470">2</cx:pt>
          <cx:pt idx="5471">2</cx:pt>
          <cx:pt idx="5472">1</cx:pt>
          <cx:pt idx="5473">1</cx:pt>
          <cx:pt idx="5474">1</cx:pt>
          <cx:pt idx="5475">1</cx:pt>
          <cx:pt idx="5476">3</cx:pt>
          <cx:pt idx="5477">1</cx:pt>
          <cx:pt idx="5478">3</cx:pt>
          <cx:pt idx="5479">2</cx:pt>
          <cx:pt idx="5480">3</cx:pt>
          <cx:pt idx="5481">2</cx:pt>
          <cx:pt idx="5482">2</cx:pt>
          <cx:pt idx="5483">3</cx:pt>
          <cx:pt idx="5484">2</cx:pt>
          <cx:pt idx="5485">4</cx:pt>
          <cx:pt idx="5486">4</cx:pt>
          <cx:pt idx="5487">1</cx:pt>
          <cx:pt idx="5488">1</cx:pt>
          <cx:pt idx="5489">1</cx:pt>
          <cx:pt idx="5490">1</cx:pt>
          <cx:pt idx="5491">2</cx:pt>
          <cx:pt idx="5492">4</cx:pt>
          <cx:pt idx="5493">1</cx:pt>
          <cx:pt idx="5494">3</cx:pt>
          <cx:pt idx="5495">1</cx:pt>
          <cx:pt idx="5496">1</cx:pt>
          <cx:pt idx="5497">2</cx:pt>
          <cx:pt idx="5498">1</cx:pt>
          <cx:pt idx="5499">2</cx:pt>
          <cx:pt idx="5500">2</cx:pt>
          <cx:pt idx="5501">2</cx:pt>
          <cx:pt idx="5502">2</cx:pt>
          <cx:pt idx="5503">1</cx:pt>
          <cx:pt idx="5504">3</cx:pt>
          <cx:pt idx="5505">1</cx:pt>
          <cx:pt idx="5506">1</cx:pt>
          <cx:pt idx="5507">1</cx:pt>
          <cx:pt idx="5508">2</cx:pt>
          <cx:pt idx="5509">1</cx:pt>
          <cx:pt idx="5510">2</cx:pt>
          <cx:pt idx="5511">2</cx:pt>
          <cx:pt idx="5512">2</cx:pt>
          <cx:pt idx="5513">2</cx:pt>
          <cx:pt idx="5514">1</cx:pt>
          <cx:pt idx="5515">2</cx:pt>
          <cx:pt idx="5516">2</cx:pt>
          <cx:pt idx="5517">3</cx:pt>
          <cx:pt idx="5518">1</cx:pt>
          <cx:pt idx="5519">3</cx:pt>
          <cx:pt idx="5520">4</cx:pt>
          <cx:pt idx="5521">2</cx:pt>
          <cx:pt idx="5522">1</cx:pt>
          <cx:pt idx="5523">2</cx:pt>
          <cx:pt idx="5524">3</cx:pt>
          <cx:pt idx="5525">2</cx:pt>
          <cx:pt idx="5526">1</cx:pt>
          <cx:pt idx="5527">3</cx:pt>
          <cx:pt idx="5528">2</cx:pt>
          <cx:pt idx="5529">3</cx:pt>
          <cx:pt idx="5530">1</cx:pt>
          <cx:pt idx="5531">1</cx:pt>
          <cx:pt idx="5532">1</cx:pt>
          <cx:pt idx="5533">1</cx:pt>
          <cx:pt idx="5534">1</cx:pt>
          <cx:pt idx="5535">1</cx:pt>
          <cx:pt idx="5536">2</cx:pt>
          <cx:pt idx="5537">4</cx:pt>
          <cx:pt idx="5538">4</cx:pt>
          <cx:pt idx="5539">3</cx:pt>
          <cx:pt idx="5540">1</cx:pt>
          <cx:pt idx="5541">1</cx:pt>
          <cx:pt idx="5542">1</cx:pt>
          <cx:pt idx="5543">2</cx:pt>
          <cx:pt idx="5544">1</cx:pt>
          <cx:pt idx="5545">1</cx:pt>
          <cx:pt idx="5546">2</cx:pt>
          <cx:pt idx="5547">1</cx:pt>
          <cx:pt idx="5548">1</cx:pt>
          <cx:pt idx="5549">3</cx:pt>
          <cx:pt idx="5550">1</cx:pt>
          <cx:pt idx="5551">4</cx:pt>
          <cx:pt idx="5552">4</cx:pt>
          <cx:pt idx="5553">1</cx:pt>
          <cx:pt idx="5554">3</cx:pt>
          <cx:pt idx="5555">2</cx:pt>
          <cx:pt idx="5556">3</cx:pt>
          <cx:pt idx="5557">5</cx:pt>
          <cx:pt idx="5558">3</cx:pt>
          <cx:pt idx="5559">2</cx:pt>
          <cx:pt idx="5560">1</cx:pt>
          <cx:pt idx="5561">3</cx:pt>
          <cx:pt idx="5562">3</cx:pt>
          <cx:pt idx="5563">1</cx:pt>
          <cx:pt idx="5564">2</cx:pt>
          <cx:pt idx="5565">2</cx:pt>
          <cx:pt idx="5566">1</cx:pt>
          <cx:pt idx="5567">3</cx:pt>
          <cx:pt idx="5568">1</cx:pt>
          <cx:pt idx="5569">3</cx:pt>
          <cx:pt idx="5570">2</cx:pt>
          <cx:pt idx="5571">2</cx:pt>
          <cx:pt idx="5572">2</cx:pt>
          <cx:pt idx="5573">2</cx:pt>
          <cx:pt idx="5574">2</cx:pt>
          <cx:pt idx="5575">3</cx:pt>
          <cx:pt idx="5576">3</cx:pt>
          <cx:pt idx="5577">5</cx:pt>
          <cx:pt idx="5578">2</cx:pt>
          <cx:pt idx="5579">1</cx:pt>
          <cx:pt idx="5580">2</cx:pt>
          <cx:pt idx="5581">3</cx:pt>
          <cx:pt idx="5582">1</cx:pt>
          <cx:pt idx="5583">1</cx:pt>
          <cx:pt idx="5584">1</cx:pt>
          <cx:pt idx="5585">2</cx:pt>
          <cx:pt idx="5586">2</cx:pt>
          <cx:pt idx="5587">4</cx:pt>
          <cx:pt idx="5588">2</cx:pt>
          <cx:pt idx="5589">2</cx:pt>
          <cx:pt idx="5590">2</cx:pt>
          <cx:pt idx="5591">4</cx:pt>
          <cx:pt idx="5592">4</cx:pt>
          <cx:pt idx="5593">1</cx:pt>
          <cx:pt idx="5594">2</cx:pt>
          <cx:pt idx="5595">1</cx:pt>
          <cx:pt idx="5596">1</cx:pt>
          <cx:pt idx="5597">2</cx:pt>
          <cx:pt idx="5598">3</cx:pt>
          <cx:pt idx="5599">3</cx:pt>
          <cx:pt idx="5600">3</cx:pt>
          <cx:pt idx="5601">3</cx:pt>
          <cx:pt idx="5602">1</cx:pt>
          <cx:pt idx="5603">1</cx:pt>
          <cx:pt idx="5604">1</cx:pt>
          <cx:pt idx="5605">1</cx:pt>
          <cx:pt idx="5606">3</cx:pt>
          <cx:pt idx="5607">3</cx:pt>
          <cx:pt idx="5608">3</cx:pt>
          <cx:pt idx="5609">1</cx:pt>
          <cx:pt idx="5610">1</cx:pt>
          <cx:pt idx="5611">3</cx:pt>
          <cx:pt idx="5612">3</cx:pt>
          <cx:pt idx="5613">3</cx:pt>
          <cx:pt idx="5614">1</cx:pt>
          <cx:pt idx="5615">5</cx:pt>
          <cx:pt idx="5616">3</cx:pt>
          <cx:pt idx="5617">2</cx:pt>
          <cx:pt idx="5618">1</cx:pt>
          <cx:pt idx="5619">3</cx:pt>
          <cx:pt idx="5620">3</cx:pt>
          <cx:pt idx="5621">1</cx:pt>
          <cx:pt idx="5622">2</cx:pt>
          <cx:pt idx="5623">1</cx:pt>
          <cx:pt idx="5624">1</cx:pt>
          <cx:pt idx="5625">2</cx:pt>
          <cx:pt idx="5626">1</cx:pt>
          <cx:pt idx="5627">2</cx:pt>
          <cx:pt idx="5628">1</cx:pt>
          <cx:pt idx="5629">6</cx:pt>
          <cx:pt idx="5630">3</cx:pt>
          <cx:pt idx="5631">2</cx:pt>
          <cx:pt idx="5632">2</cx:pt>
          <cx:pt idx="5633">1</cx:pt>
          <cx:pt idx="5634">2</cx:pt>
          <cx:pt idx="5635">4</cx:pt>
          <cx:pt idx="5636">5</cx:pt>
          <cx:pt idx="5637">2</cx:pt>
          <cx:pt idx="5638">3</cx:pt>
          <cx:pt idx="5639">1</cx:pt>
          <cx:pt idx="5640">1</cx:pt>
          <cx:pt idx="5641">3</cx:pt>
          <cx:pt idx="5642">7</cx:pt>
          <cx:pt idx="5643">2</cx:pt>
          <cx:pt idx="5644">4</cx:pt>
          <cx:pt idx="5645">4</cx:pt>
          <cx:pt idx="5646">1</cx:pt>
          <cx:pt idx="5647">2</cx:pt>
          <cx:pt idx="5648">1</cx:pt>
          <cx:pt idx="5649">8</cx:pt>
          <cx:pt idx="5650">1</cx:pt>
          <cx:pt idx="5651">1</cx:pt>
          <cx:pt idx="5652">4</cx:pt>
          <cx:pt idx="5653">6</cx:pt>
          <cx:pt idx="5654">1</cx:pt>
          <cx:pt idx="5655">3</cx:pt>
          <cx:pt idx="5656">2</cx:pt>
          <cx:pt idx="5657">3</cx:pt>
          <cx:pt idx="5658">1</cx:pt>
          <cx:pt idx="5659">1</cx:pt>
          <cx:pt idx="5660">5</cx:pt>
          <cx:pt idx="5661">1</cx:pt>
          <cx:pt idx="5662">2</cx:pt>
          <cx:pt idx="5663">1</cx:pt>
          <cx:pt idx="5664">1</cx:pt>
          <cx:pt idx="5665">4</cx:pt>
          <cx:pt idx="5666">2</cx:pt>
          <cx:pt idx="5667">1</cx:pt>
          <cx:pt idx="5668">1</cx:pt>
          <cx:pt idx="5669">2</cx:pt>
          <cx:pt idx="5670">4</cx:pt>
          <cx:pt idx="5671">2</cx:pt>
          <cx:pt idx="5672">1</cx:pt>
          <cx:pt idx="5673">3</cx:pt>
          <cx:pt idx="5674">2</cx:pt>
          <cx:pt idx="5675">3</cx:pt>
          <cx:pt idx="5676">1</cx:pt>
          <cx:pt idx="5677">1</cx:pt>
          <cx:pt idx="5678">2</cx:pt>
          <cx:pt idx="5679">6</cx:pt>
          <cx:pt idx="5680">3</cx:pt>
          <cx:pt idx="5681">2</cx:pt>
          <cx:pt idx="5682">1</cx:pt>
          <cx:pt idx="5683">1</cx:pt>
          <cx:pt idx="5684">3</cx:pt>
          <cx:pt idx="5685">1</cx:pt>
          <cx:pt idx="5686">2</cx:pt>
          <cx:pt idx="5687">3</cx:pt>
          <cx:pt idx="5688">1</cx:pt>
          <cx:pt idx="5689">1</cx:pt>
          <cx:pt idx="5690">3</cx:pt>
          <cx:pt idx="5691">3</cx:pt>
          <cx:pt idx="5692">2</cx:pt>
          <cx:pt idx="5693">6</cx:pt>
          <cx:pt idx="5694">2</cx:pt>
          <cx:pt idx="5695">1</cx:pt>
          <cx:pt idx="5696">2</cx:pt>
          <cx:pt idx="5697">2</cx:pt>
          <cx:pt idx="5698">3</cx:pt>
          <cx:pt idx="5699">2</cx:pt>
          <cx:pt idx="5700">2</cx:pt>
          <cx:pt idx="5701">1</cx:pt>
          <cx:pt idx="5702">1</cx:pt>
          <cx:pt idx="5703">2</cx:pt>
          <cx:pt idx="5704">1</cx:pt>
          <cx:pt idx="5705">1</cx:pt>
          <cx:pt idx="5706">2</cx:pt>
          <cx:pt idx="5707">3</cx:pt>
          <cx:pt idx="5708">1</cx:pt>
          <cx:pt idx="5709">5</cx:pt>
          <cx:pt idx="5710">1</cx:pt>
          <cx:pt idx="5711">2</cx:pt>
          <cx:pt idx="5712">7</cx:pt>
          <cx:pt idx="5713">2</cx:pt>
          <cx:pt idx="5714">2</cx:pt>
          <cx:pt idx="5715">3</cx:pt>
          <cx:pt idx="5716">1</cx:pt>
          <cx:pt idx="5717">2</cx:pt>
          <cx:pt idx="5718">2</cx:pt>
          <cx:pt idx="5719">2</cx:pt>
          <cx:pt idx="5720">1</cx:pt>
          <cx:pt idx="5721">2</cx:pt>
          <cx:pt idx="5722">1</cx:pt>
          <cx:pt idx="5723">1</cx:pt>
          <cx:pt idx="5724">2</cx:pt>
          <cx:pt idx="5725">3</cx:pt>
          <cx:pt idx="5726">2</cx:pt>
          <cx:pt idx="5727">2</cx:pt>
          <cx:pt idx="5728">2</cx:pt>
          <cx:pt idx="5729">4</cx:pt>
          <cx:pt idx="5730">2</cx:pt>
          <cx:pt idx="5731">1</cx:pt>
          <cx:pt idx="5732">1</cx:pt>
          <cx:pt idx="5733">1</cx:pt>
          <cx:pt idx="5734">2</cx:pt>
          <cx:pt idx="5735">3</cx:pt>
          <cx:pt idx="5736">2</cx:pt>
          <cx:pt idx="5737">2</cx:pt>
          <cx:pt idx="5738">1</cx:pt>
          <cx:pt idx="5739">2</cx:pt>
          <cx:pt idx="5740">3</cx:pt>
          <cx:pt idx="5741">1</cx:pt>
          <cx:pt idx="5742">1</cx:pt>
          <cx:pt idx="5743">2</cx:pt>
          <cx:pt idx="5744">2</cx:pt>
          <cx:pt idx="5745">1</cx:pt>
          <cx:pt idx="5746">4</cx:pt>
          <cx:pt idx="5747">1</cx:pt>
          <cx:pt idx="5748">3</cx:pt>
          <cx:pt idx="5749">1</cx:pt>
          <cx:pt idx="5750">1</cx:pt>
          <cx:pt idx="5751">2</cx:pt>
          <cx:pt idx="5752">1</cx:pt>
          <cx:pt idx="5753">1</cx:pt>
          <cx:pt idx="5754">1</cx:pt>
          <cx:pt idx="5755">3</cx:pt>
          <cx:pt idx="5756">3</cx:pt>
          <cx:pt idx="5757">1</cx:pt>
          <cx:pt idx="5758">1</cx:pt>
          <cx:pt idx="5759">2</cx:pt>
          <cx:pt idx="5760">2</cx:pt>
          <cx:pt idx="5761">2</cx:pt>
          <cx:pt idx="5762">1</cx:pt>
          <cx:pt idx="5763">1</cx:pt>
          <cx:pt idx="5764">1</cx:pt>
          <cx:pt idx="5765">2</cx:pt>
          <cx:pt idx="5766">1</cx:pt>
          <cx:pt idx="5767">1</cx:pt>
          <cx:pt idx="5768">2</cx:pt>
          <cx:pt idx="5769">2</cx:pt>
          <cx:pt idx="5770">1</cx:pt>
          <cx:pt idx="5771">2</cx:pt>
          <cx:pt idx="5772">4</cx:pt>
          <cx:pt idx="5773">2</cx:pt>
          <cx:pt idx="5774">2</cx:pt>
          <cx:pt idx="5775">4</cx:pt>
          <cx:pt idx="5776">8</cx:pt>
          <cx:pt idx="5777">1</cx:pt>
          <cx:pt idx="5778">3</cx:pt>
          <cx:pt idx="5779">2</cx:pt>
          <cx:pt idx="5780">2</cx:pt>
          <cx:pt idx="5781">3</cx:pt>
          <cx:pt idx="5782">3</cx:pt>
          <cx:pt idx="5783">3</cx:pt>
          <cx:pt idx="5784">2</cx:pt>
          <cx:pt idx="5785">1</cx:pt>
          <cx:pt idx="5786">2</cx:pt>
          <cx:pt idx="5787">3</cx:pt>
          <cx:pt idx="5788">5</cx:pt>
          <cx:pt idx="5789">3</cx:pt>
          <cx:pt idx="5790">2</cx:pt>
          <cx:pt idx="5791">2</cx:pt>
          <cx:pt idx="5792">1</cx:pt>
          <cx:pt idx="5793">1</cx:pt>
          <cx:pt idx="5794">3</cx:pt>
          <cx:pt idx="5795">5</cx:pt>
          <cx:pt idx="5796">1</cx:pt>
          <cx:pt idx="5797">2</cx:pt>
          <cx:pt idx="5798">3</cx:pt>
          <cx:pt idx="5799">4</cx:pt>
          <cx:pt idx="5800">2</cx:pt>
          <cx:pt idx="5801">5</cx:pt>
          <cx:pt idx="5802">6</cx:pt>
          <cx:pt idx="5803">1</cx:pt>
          <cx:pt idx="5804">1</cx:pt>
          <cx:pt idx="5805">2</cx:pt>
          <cx:pt idx="5806">5</cx:pt>
          <cx:pt idx="5807">2</cx:pt>
          <cx:pt idx="5808">6</cx:pt>
          <cx:pt idx="5809">3</cx:pt>
          <cx:pt idx="5810">3</cx:pt>
          <cx:pt idx="5811">1</cx:pt>
          <cx:pt idx="5812">3</cx:pt>
          <cx:pt idx="5813">2</cx:pt>
          <cx:pt idx="5814">4</cx:pt>
          <cx:pt idx="5815">1</cx:pt>
          <cx:pt idx="5816">1</cx:pt>
          <cx:pt idx="5817">2</cx:pt>
          <cx:pt idx="5818">1</cx:pt>
          <cx:pt idx="5819">3</cx:pt>
          <cx:pt idx="5820">2</cx:pt>
          <cx:pt idx="5821">3</cx:pt>
          <cx:pt idx="5822">3</cx:pt>
          <cx:pt idx="5823">1</cx:pt>
          <cx:pt idx="5824">2</cx:pt>
          <cx:pt idx="5825">1</cx:pt>
          <cx:pt idx="5826">6</cx:pt>
          <cx:pt idx="5827">6</cx:pt>
          <cx:pt idx="5828">1</cx:pt>
          <cx:pt idx="5829">6</cx:pt>
          <cx:pt idx="5830">3</cx:pt>
          <cx:pt idx="5831">1</cx:pt>
          <cx:pt idx="5832">1</cx:pt>
          <cx:pt idx="5833">1</cx:pt>
          <cx:pt idx="5834">1</cx:pt>
          <cx:pt idx="5835">3</cx:pt>
          <cx:pt idx="5836">1</cx:pt>
          <cx:pt idx="5837">1</cx:pt>
          <cx:pt idx="5838">3</cx:pt>
          <cx:pt idx="5839">1</cx:pt>
          <cx:pt idx="5840">3</cx:pt>
          <cx:pt idx="5841">2</cx:pt>
          <cx:pt idx="5842">2</cx:pt>
          <cx:pt idx="5843">2</cx:pt>
          <cx:pt idx="5844">1</cx:pt>
          <cx:pt idx="5845">1</cx:pt>
          <cx:pt idx="5846">1</cx:pt>
          <cx:pt idx="5847">1</cx:pt>
          <cx:pt idx="5848">1</cx:pt>
          <cx:pt idx="5849">1</cx:pt>
          <cx:pt idx="5850">1</cx:pt>
          <cx:pt idx="5851">1</cx:pt>
          <cx:pt idx="5852">2</cx:pt>
          <cx:pt idx="5853">2</cx:pt>
          <cx:pt idx="5854">1</cx:pt>
          <cx:pt idx="5855">2</cx:pt>
          <cx:pt idx="5856">1</cx:pt>
          <cx:pt idx="5857">2</cx:pt>
          <cx:pt idx="5858">1</cx:pt>
          <cx:pt idx="5859">3</cx:pt>
          <cx:pt idx="5860">1</cx:pt>
          <cx:pt idx="5861">1</cx:pt>
          <cx:pt idx="5862">1</cx:pt>
          <cx:pt idx="5863">3</cx:pt>
          <cx:pt idx="5864">2</cx:pt>
          <cx:pt idx="5865">2</cx:pt>
          <cx:pt idx="5866">1</cx:pt>
          <cx:pt idx="5867">1</cx:pt>
          <cx:pt idx="5868">1</cx:pt>
          <cx:pt idx="5869">2</cx:pt>
          <cx:pt idx="5870">5</cx:pt>
          <cx:pt idx="5871">5</cx:pt>
          <cx:pt idx="5872">2</cx:pt>
          <cx:pt idx="5873">2</cx:pt>
          <cx:pt idx="5874">1</cx:pt>
          <cx:pt idx="5875">1</cx:pt>
          <cx:pt idx="5876">4</cx:pt>
          <cx:pt idx="5877">2</cx:pt>
          <cx:pt idx="5878">3</cx:pt>
          <cx:pt idx="5879">8</cx:pt>
          <cx:pt idx="5880">1</cx:pt>
          <cx:pt idx="5881">4</cx:pt>
          <cx:pt idx="5882">4</cx:pt>
          <cx:pt idx="5883">4</cx:pt>
          <cx:pt idx="5884">3</cx:pt>
          <cx:pt idx="5885">3</cx:pt>
          <cx:pt idx="5886">10</cx:pt>
          <cx:pt idx="5887">2</cx:pt>
          <cx:pt idx="5888">1</cx:pt>
          <cx:pt idx="5889">8</cx:pt>
          <cx:pt idx="5890">3</cx:pt>
          <cx:pt idx="5891">3</cx:pt>
          <cx:pt idx="5892">2</cx:pt>
          <cx:pt idx="5893">2</cx:pt>
          <cx:pt idx="5894">1</cx:pt>
          <cx:pt idx="5895">4</cx:pt>
          <cx:pt idx="5896">3</cx:pt>
          <cx:pt idx="5897">8</cx:pt>
          <cx:pt idx="5898">4</cx:pt>
          <cx:pt idx="5899">2</cx:pt>
          <cx:pt idx="5900">3</cx:pt>
          <cx:pt idx="5901">3</cx:pt>
          <cx:pt idx="5902">3</cx:pt>
          <cx:pt idx="5903">3</cx:pt>
          <cx:pt idx="5904">3</cx:pt>
          <cx:pt idx="5905">2</cx:pt>
          <cx:pt idx="5906">3</cx:pt>
          <cx:pt idx="5907">5</cx:pt>
          <cx:pt idx="5908">1</cx:pt>
          <cx:pt idx="5909">4</cx:pt>
          <cx:pt idx="5910">4</cx:pt>
          <cx:pt idx="5911">3</cx:pt>
          <cx:pt idx="5912">4</cx:pt>
          <cx:pt idx="5913">2</cx:pt>
          <cx:pt idx="5914">2</cx:pt>
          <cx:pt idx="5915">1</cx:pt>
          <cx:pt idx="5916">1</cx:pt>
          <cx:pt idx="5917">5</cx:pt>
          <cx:pt idx="5918">1</cx:pt>
          <cx:pt idx="5919">3</cx:pt>
          <cx:pt idx="5920">5</cx:pt>
          <cx:pt idx="5921">4</cx:pt>
          <cx:pt idx="5922">3</cx:pt>
          <cx:pt idx="5923">2</cx:pt>
          <cx:pt idx="5924">2</cx:pt>
          <cx:pt idx="5925">1</cx:pt>
          <cx:pt idx="5926">2</cx:pt>
          <cx:pt idx="5927">2</cx:pt>
          <cx:pt idx="5928">1</cx:pt>
          <cx:pt idx="5929">1</cx:pt>
          <cx:pt idx="5930">1</cx:pt>
          <cx:pt idx="5931">2</cx:pt>
          <cx:pt idx="5932">1</cx:pt>
          <cx:pt idx="5933">3</cx:pt>
          <cx:pt idx="5934">2</cx:pt>
          <cx:pt idx="5935">2</cx:pt>
          <cx:pt idx="5936">2</cx:pt>
          <cx:pt idx="5937">3</cx:pt>
          <cx:pt idx="5938">1</cx:pt>
          <cx:pt idx="5939">1</cx:pt>
          <cx:pt idx="5940">2</cx:pt>
          <cx:pt idx="5941">3</cx:pt>
          <cx:pt idx="5942">2</cx:pt>
          <cx:pt idx="5943">1</cx:pt>
          <cx:pt idx="5944">1</cx:pt>
          <cx:pt idx="5945">2</cx:pt>
          <cx:pt idx="5946">1</cx:pt>
          <cx:pt idx="5947">3</cx:pt>
          <cx:pt idx="5948">1</cx:pt>
          <cx:pt idx="5949">1</cx:pt>
          <cx:pt idx="5950">3</cx:pt>
          <cx:pt idx="5951">1</cx:pt>
          <cx:pt idx="5952">4</cx:pt>
          <cx:pt idx="5953">1</cx:pt>
          <cx:pt idx="5954">3</cx:pt>
          <cx:pt idx="5955">1</cx:pt>
          <cx:pt idx="5956">1</cx:pt>
          <cx:pt idx="5957">1</cx:pt>
          <cx:pt idx="5958">1</cx:pt>
          <cx:pt idx="5959">1</cx:pt>
          <cx:pt idx="5960">2</cx:pt>
          <cx:pt idx="5961">1</cx:pt>
          <cx:pt idx="5962">2</cx:pt>
          <cx:pt idx="5963">7</cx:pt>
          <cx:pt idx="5964">2</cx:pt>
          <cx:pt idx="5965">3</cx:pt>
          <cx:pt idx="5966">1</cx:pt>
          <cx:pt idx="5967">1</cx:pt>
          <cx:pt idx="5968">1</cx:pt>
          <cx:pt idx="5969">3</cx:pt>
          <cx:pt idx="5970">5</cx:pt>
          <cx:pt idx="5971">6</cx:pt>
          <cx:pt idx="5972">3</cx:pt>
          <cx:pt idx="5973">2</cx:pt>
          <cx:pt idx="5974">1</cx:pt>
          <cx:pt idx="5975">3</cx:pt>
          <cx:pt idx="5976">3</cx:pt>
          <cx:pt idx="5977">1</cx:pt>
          <cx:pt idx="5978">5</cx:pt>
          <cx:pt idx="5979">4</cx:pt>
          <cx:pt idx="5980">3</cx:pt>
          <cx:pt idx="5981">1</cx:pt>
          <cx:pt idx="5982">2</cx:pt>
          <cx:pt idx="5983">3</cx:pt>
          <cx:pt idx="5984">1</cx:pt>
          <cx:pt idx="5985">4</cx:pt>
          <cx:pt idx="5986">1</cx:pt>
          <cx:pt idx="5987">2</cx:pt>
          <cx:pt idx="5988">2</cx:pt>
          <cx:pt idx="5989">1</cx:pt>
          <cx:pt idx="5990">1</cx:pt>
          <cx:pt idx="5991">1</cx:pt>
          <cx:pt idx="5992">3</cx:pt>
          <cx:pt idx="5993">1</cx:pt>
          <cx:pt idx="5994">3</cx:pt>
          <cx:pt idx="5995">1</cx:pt>
          <cx:pt idx="5996">2</cx:pt>
          <cx:pt idx="5997">1</cx:pt>
          <cx:pt idx="5998">2</cx:pt>
          <cx:pt idx="5999">4</cx:pt>
          <cx:pt idx="6000">2</cx:pt>
          <cx:pt idx="6001">3</cx:pt>
          <cx:pt idx="6002">2</cx:pt>
          <cx:pt idx="6003">1</cx:pt>
          <cx:pt idx="6004">1</cx:pt>
          <cx:pt idx="6005">1</cx:pt>
          <cx:pt idx="6006">2</cx:pt>
          <cx:pt idx="6007">4</cx:pt>
          <cx:pt idx="6008">1</cx:pt>
          <cx:pt idx="6009">3</cx:pt>
          <cx:pt idx="6010">1</cx:pt>
          <cx:pt idx="6011">1</cx:pt>
          <cx:pt idx="6012">1</cx:pt>
          <cx:pt idx="6013">2</cx:pt>
          <cx:pt idx="6014">3</cx:pt>
          <cx:pt idx="6015">2</cx:pt>
          <cx:pt idx="6016">2</cx:pt>
          <cx:pt idx="6017">2</cx:pt>
          <cx:pt idx="6018">5</cx:pt>
          <cx:pt idx="6019">4</cx:pt>
          <cx:pt idx="6020">3</cx:pt>
          <cx:pt idx="6021">1</cx:pt>
          <cx:pt idx="6022">1</cx:pt>
          <cx:pt idx="6023">1</cx:pt>
          <cx:pt idx="6024">1</cx:pt>
          <cx:pt idx="6025">2</cx:pt>
          <cx:pt idx="6026">2</cx:pt>
          <cx:pt idx="6027">3</cx:pt>
          <cx:pt idx="6028">4</cx:pt>
          <cx:pt idx="6029">2</cx:pt>
          <cx:pt idx="6030">2</cx:pt>
          <cx:pt idx="6031">1</cx:pt>
          <cx:pt idx="6032">1</cx:pt>
          <cx:pt idx="6033">2</cx:pt>
          <cx:pt idx="6034">7</cx:pt>
          <cx:pt idx="6035">3</cx:pt>
          <cx:pt idx="6036">1</cx:pt>
          <cx:pt idx="6037">2</cx:pt>
          <cx:pt idx="6038">1</cx:pt>
          <cx:pt idx="6039">1</cx:pt>
          <cx:pt idx="6040">1</cx:pt>
          <cx:pt idx="6041">2</cx:pt>
          <cx:pt idx="6042">4</cx:pt>
          <cx:pt idx="6043">3</cx:pt>
          <cx:pt idx="6044">2</cx:pt>
          <cx:pt idx="6045">1</cx:pt>
          <cx:pt idx="6046">1</cx:pt>
          <cx:pt idx="6047">1</cx:pt>
          <cx:pt idx="6048">2</cx:pt>
          <cx:pt idx="6049">1</cx:pt>
          <cx:pt idx="6050">4</cx:pt>
          <cx:pt idx="6051">3</cx:pt>
          <cx:pt idx="6052">6</cx:pt>
          <cx:pt idx="6053">3</cx:pt>
          <cx:pt idx="6054">1</cx:pt>
          <cx:pt idx="6055">2</cx:pt>
          <cx:pt idx="6056">1</cx:pt>
          <cx:pt idx="6057">2</cx:pt>
          <cx:pt idx="6058">4</cx:pt>
          <cx:pt idx="6059">3</cx:pt>
          <cx:pt idx="6060">4</cx:pt>
          <cx:pt idx="6061">4</cx:pt>
          <cx:pt idx="6062">4</cx:pt>
          <cx:pt idx="6063">2</cx:pt>
          <cx:pt idx="6064">4</cx:pt>
          <cx:pt idx="6065">1</cx:pt>
          <cx:pt idx="6066">3</cx:pt>
          <cx:pt idx="6067">2</cx:pt>
          <cx:pt idx="6068">2</cx:pt>
          <cx:pt idx="6069">2</cx:pt>
          <cx:pt idx="6070">3</cx:pt>
          <cx:pt idx="6071">2</cx:pt>
          <cx:pt idx="6072">1</cx:pt>
          <cx:pt idx="6073">1</cx:pt>
          <cx:pt idx="6074">4</cx:pt>
          <cx:pt idx="6075">4</cx:pt>
          <cx:pt idx="6076">3</cx:pt>
          <cx:pt idx="6077">2</cx:pt>
          <cx:pt idx="6078">2</cx:pt>
          <cx:pt idx="6079">2</cx:pt>
          <cx:pt idx="6080">2</cx:pt>
          <cx:pt idx="6081">2</cx:pt>
          <cx:pt idx="6082">2</cx:pt>
          <cx:pt idx="6083">2</cx:pt>
          <cx:pt idx="6084">4</cx:pt>
          <cx:pt idx="6085">1</cx:pt>
          <cx:pt idx="6086">1</cx:pt>
          <cx:pt idx="6087">2</cx:pt>
          <cx:pt idx="6088">2</cx:pt>
          <cx:pt idx="6089">2</cx:pt>
          <cx:pt idx="6090">1</cx:pt>
          <cx:pt idx="6091">4</cx:pt>
          <cx:pt idx="6092">6</cx:pt>
          <cx:pt idx="6093">1</cx:pt>
          <cx:pt idx="6094">4</cx:pt>
          <cx:pt idx="6095">1</cx:pt>
          <cx:pt idx="6096">4</cx:pt>
          <cx:pt idx="6097">4</cx:pt>
          <cx:pt idx="6098">1</cx:pt>
          <cx:pt idx="6099">1</cx:pt>
          <cx:pt idx="6100">1</cx:pt>
          <cx:pt idx="6101">3</cx:pt>
          <cx:pt idx="6102">4</cx:pt>
          <cx:pt idx="6103">2</cx:pt>
          <cx:pt idx="6104">1</cx:pt>
          <cx:pt idx="6105">1</cx:pt>
          <cx:pt idx="6106">1</cx:pt>
          <cx:pt idx="6107">1</cx:pt>
          <cx:pt idx="6108">2</cx:pt>
          <cx:pt idx="6109">2</cx:pt>
          <cx:pt idx="6110">2</cx:pt>
          <cx:pt idx="6111">2</cx:pt>
          <cx:pt idx="6112">2</cx:pt>
          <cx:pt idx="6113">2</cx:pt>
          <cx:pt idx="6114">11</cx:pt>
          <cx:pt idx="6115">1</cx:pt>
          <cx:pt idx="6116">3</cx:pt>
          <cx:pt idx="6117">2</cx:pt>
          <cx:pt idx="6118">1</cx:pt>
          <cx:pt idx="6119">2</cx:pt>
          <cx:pt idx="6120">1</cx:pt>
          <cx:pt idx="6121">4</cx:pt>
          <cx:pt idx="6122">4</cx:pt>
          <cx:pt idx="6123">1</cx:pt>
          <cx:pt idx="6124">2</cx:pt>
          <cx:pt idx="6125">9</cx:pt>
          <cx:pt idx="6126">4</cx:pt>
          <cx:pt idx="6127">4</cx:pt>
          <cx:pt idx="6128">3</cx:pt>
          <cx:pt idx="6129">1</cx:pt>
          <cx:pt idx="6130">1</cx:pt>
          <cx:pt idx="6131">2</cx:pt>
          <cx:pt idx="6132">2</cx:pt>
          <cx:pt idx="6133">2</cx:pt>
          <cx:pt idx="6134">2</cx:pt>
          <cx:pt idx="6135">5</cx:pt>
          <cx:pt idx="6136">2</cx:pt>
          <cx:pt idx="6137">1</cx:pt>
          <cx:pt idx="6138">2</cx:pt>
          <cx:pt idx="6139">1</cx:pt>
          <cx:pt idx="6140">2</cx:pt>
          <cx:pt idx="6141">2</cx:pt>
          <cx:pt idx="6142">1</cx:pt>
          <cx:pt idx="6143">2</cx:pt>
          <cx:pt idx="6144">1</cx:pt>
          <cx:pt idx="6145">1</cx:pt>
          <cx:pt idx="6146">1</cx:pt>
          <cx:pt idx="6147">1</cx:pt>
          <cx:pt idx="6148">1</cx:pt>
          <cx:pt idx="6149">6</cx:pt>
          <cx:pt idx="6150">1</cx:pt>
          <cx:pt idx="6151">1</cx:pt>
          <cx:pt idx="6152">2</cx:pt>
          <cx:pt idx="6153">2</cx:pt>
          <cx:pt idx="6154">3</cx:pt>
          <cx:pt idx="6155">2</cx:pt>
          <cx:pt idx="6156">2</cx:pt>
          <cx:pt idx="6157">3</cx:pt>
          <cx:pt idx="6158">1</cx:pt>
          <cx:pt idx="6159">1</cx:pt>
          <cx:pt idx="6160">2</cx:pt>
          <cx:pt idx="6161">1</cx:pt>
          <cx:pt idx="6162">1</cx:pt>
          <cx:pt idx="6163">1</cx:pt>
          <cx:pt idx="6164">1</cx:pt>
          <cx:pt idx="6165">2</cx:pt>
          <cx:pt idx="6166">8</cx:pt>
          <cx:pt idx="6167">1</cx:pt>
          <cx:pt idx="6168">2</cx:pt>
          <cx:pt idx="6169">5</cx:pt>
          <cx:pt idx="6170">2</cx:pt>
          <cx:pt idx="6171">7</cx:pt>
          <cx:pt idx="6172">3</cx:pt>
          <cx:pt idx="6173">5</cx:pt>
          <cx:pt idx="6174">2</cx:pt>
          <cx:pt idx="6175">1</cx:pt>
          <cx:pt idx="6176">2</cx:pt>
          <cx:pt idx="6177">1</cx:pt>
          <cx:pt idx="6178">3</cx:pt>
          <cx:pt idx="6179">1</cx:pt>
          <cx:pt idx="6180">1</cx:pt>
          <cx:pt idx="6181">2</cx:pt>
          <cx:pt idx="6182">1</cx:pt>
          <cx:pt idx="6183">3</cx:pt>
          <cx:pt idx="6184">1</cx:pt>
          <cx:pt idx="6185">1</cx:pt>
          <cx:pt idx="6186">2</cx:pt>
          <cx:pt idx="6187">1</cx:pt>
          <cx:pt idx="6188">1</cx:pt>
          <cx:pt idx="6189">1</cx:pt>
          <cx:pt idx="6190">3</cx:pt>
          <cx:pt idx="6191">5</cx:pt>
          <cx:pt idx="6192">4</cx:pt>
          <cx:pt idx="6193">3</cx:pt>
          <cx:pt idx="6194">2</cx:pt>
          <cx:pt idx="6195">4</cx:pt>
          <cx:pt idx="6196">3</cx:pt>
          <cx:pt idx="6197">2</cx:pt>
          <cx:pt idx="6198">1</cx:pt>
          <cx:pt idx="6199">1</cx:pt>
          <cx:pt idx="6200">3</cx:pt>
          <cx:pt idx="6201">2</cx:pt>
          <cx:pt idx="6202">5</cx:pt>
          <cx:pt idx="6203">2</cx:pt>
          <cx:pt idx="6204">3</cx:pt>
          <cx:pt idx="6205">1</cx:pt>
          <cx:pt idx="6206">1</cx:pt>
          <cx:pt idx="6207">2</cx:pt>
          <cx:pt idx="6208">1</cx:pt>
          <cx:pt idx="6209">4</cx:pt>
          <cx:pt idx="6210">1</cx:pt>
          <cx:pt idx="6211">3</cx:pt>
          <cx:pt idx="6212">1</cx:pt>
          <cx:pt idx="6213">7</cx:pt>
          <cx:pt idx="6214">2</cx:pt>
          <cx:pt idx="6215">2</cx:pt>
          <cx:pt idx="6216">1</cx:pt>
          <cx:pt idx="6217">2</cx:pt>
          <cx:pt idx="6218">2</cx:pt>
          <cx:pt idx="6219">3</cx:pt>
          <cx:pt idx="6220">1</cx:pt>
          <cx:pt idx="6221">1</cx:pt>
          <cx:pt idx="6222">2</cx:pt>
          <cx:pt idx="6223">4</cx:pt>
          <cx:pt idx="6224">4</cx:pt>
          <cx:pt idx="6225">3</cx:pt>
          <cx:pt idx="6226">1</cx:pt>
          <cx:pt idx="6227">2</cx:pt>
          <cx:pt idx="6228">2</cx:pt>
          <cx:pt idx="6229">1</cx:pt>
          <cx:pt idx="6230">3</cx:pt>
          <cx:pt idx="6231">3</cx:pt>
          <cx:pt idx="6232">1</cx:pt>
          <cx:pt idx="6233">3</cx:pt>
          <cx:pt idx="6234">3</cx:pt>
          <cx:pt idx="6235">3</cx:pt>
          <cx:pt idx="6236">1</cx:pt>
          <cx:pt idx="6237">1</cx:pt>
          <cx:pt idx="6238">2</cx:pt>
          <cx:pt idx="6239">2</cx:pt>
          <cx:pt idx="6240">1</cx:pt>
          <cx:pt idx="6241">1</cx:pt>
          <cx:pt idx="6242">4</cx:pt>
          <cx:pt idx="6243">4</cx:pt>
          <cx:pt idx="6244">1</cx:pt>
          <cx:pt idx="6245">6</cx:pt>
          <cx:pt idx="6246">1</cx:pt>
          <cx:pt idx="6247">11</cx:pt>
          <cx:pt idx="6248">2</cx:pt>
          <cx:pt idx="6249">5</cx:pt>
          <cx:pt idx="6250">3</cx:pt>
          <cx:pt idx="6251">4</cx:pt>
          <cx:pt idx="6252">1</cx:pt>
          <cx:pt idx="6253">1</cx:pt>
          <cx:pt idx="6254">1</cx:pt>
          <cx:pt idx="6255">4</cx:pt>
          <cx:pt idx="6256">2</cx:pt>
          <cx:pt idx="6257">5</cx:pt>
          <cx:pt idx="6258">2</cx:pt>
          <cx:pt idx="6259">2</cx:pt>
          <cx:pt idx="6260">3</cx:pt>
          <cx:pt idx="6261">3</cx:pt>
          <cx:pt idx="6262">1</cx:pt>
          <cx:pt idx="6263">5</cx:pt>
          <cx:pt idx="6264">1</cx:pt>
          <cx:pt idx="6265">1</cx:pt>
          <cx:pt idx="6266">2</cx:pt>
          <cx:pt idx="6267">7</cx:pt>
          <cx:pt idx="6268">1</cx:pt>
          <cx:pt idx="6269">2</cx:pt>
          <cx:pt idx="6270">5</cx:pt>
          <cx:pt idx="6271">1</cx:pt>
          <cx:pt idx="6272">3</cx:pt>
          <cx:pt idx="6273">2</cx:pt>
          <cx:pt idx="6274">2</cx:pt>
          <cx:pt idx="6275">4</cx:pt>
          <cx:pt idx="6276">5</cx:pt>
          <cx:pt idx="6277">1</cx:pt>
          <cx:pt idx="6278">3</cx:pt>
          <cx:pt idx="6279">2</cx:pt>
          <cx:pt idx="6280">2</cx:pt>
          <cx:pt idx="6281">1</cx:pt>
          <cx:pt idx="6282">1</cx:pt>
          <cx:pt idx="6283">3</cx:pt>
          <cx:pt idx="6284">5</cx:pt>
          <cx:pt idx="6285">1</cx:pt>
          <cx:pt idx="6286">5</cx:pt>
          <cx:pt idx="6287">1</cx:pt>
          <cx:pt idx="6288">4</cx:pt>
          <cx:pt idx="6289">3</cx:pt>
          <cx:pt idx="6290">1</cx:pt>
          <cx:pt idx="6291">3</cx:pt>
          <cx:pt idx="6292">2</cx:pt>
          <cx:pt idx="6293">1</cx:pt>
          <cx:pt idx="6294">2</cx:pt>
          <cx:pt idx="6295">1</cx:pt>
          <cx:pt idx="6296">1</cx:pt>
          <cx:pt idx="6297">2</cx:pt>
          <cx:pt idx="6298">1</cx:pt>
          <cx:pt idx="6299">1</cx:pt>
          <cx:pt idx="6300">3</cx:pt>
          <cx:pt idx="6301">1</cx:pt>
          <cx:pt idx="6302">3</cx:pt>
          <cx:pt idx="6303">2</cx:pt>
          <cx:pt idx="6304">2</cx:pt>
          <cx:pt idx="6305">1</cx:pt>
          <cx:pt idx="6306">2</cx:pt>
          <cx:pt idx="6307">2</cx:pt>
          <cx:pt idx="6308">1</cx:pt>
          <cx:pt idx="6309">11</cx:pt>
          <cx:pt idx="6310">1</cx:pt>
          <cx:pt idx="6311">2</cx:pt>
          <cx:pt idx="6312">2</cx:pt>
          <cx:pt idx="6313">2</cx:pt>
          <cx:pt idx="6314">5</cx:pt>
          <cx:pt idx="6315">2</cx:pt>
          <cx:pt idx="6316">1</cx:pt>
          <cx:pt idx="6317">1</cx:pt>
          <cx:pt idx="6318">1</cx:pt>
          <cx:pt idx="6319">3</cx:pt>
          <cx:pt idx="6320">1</cx:pt>
          <cx:pt idx="6321">2</cx:pt>
          <cx:pt idx="6322">4</cx:pt>
          <cx:pt idx="6323">4</cx:pt>
          <cx:pt idx="6324">2</cx:pt>
          <cx:pt idx="6325">1</cx:pt>
          <cx:pt idx="6326">2</cx:pt>
          <cx:pt idx="6327">1</cx:pt>
          <cx:pt idx="6328">1</cx:pt>
          <cx:pt idx="6329">2</cx:pt>
          <cx:pt idx="6330">2</cx:pt>
          <cx:pt idx="6331">2</cx:pt>
          <cx:pt idx="6332">1</cx:pt>
          <cx:pt idx="6333">6</cx:pt>
          <cx:pt idx="6334">2</cx:pt>
          <cx:pt idx="6335">1</cx:pt>
          <cx:pt idx="6336">3</cx:pt>
          <cx:pt idx="6337">3</cx:pt>
          <cx:pt idx="6338">2</cx:pt>
          <cx:pt idx="6339">1</cx:pt>
          <cx:pt idx="6340">6</cx:pt>
          <cx:pt idx="6341">3</cx:pt>
          <cx:pt idx="6342">2</cx:pt>
          <cx:pt idx="6343">1</cx:pt>
          <cx:pt idx="6344">2</cx:pt>
          <cx:pt idx="6345">1</cx:pt>
          <cx:pt idx="6346">4</cx:pt>
          <cx:pt idx="6347">1</cx:pt>
          <cx:pt idx="6348">2</cx:pt>
          <cx:pt idx="6349">1</cx:pt>
          <cx:pt idx="6350">1</cx:pt>
          <cx:pt idx="6351">1</cx:pt>
          <cx:pt idx="6352">4</cx:pt>
          <cx:pt idx="6353">3</cx:pt>
          <cx:pt idx="6354">9</cx:pt>
          <cx:pt idx="6355">1</cx:pt>
          <cx:pt idx="6356">4</cx:pt>
          <cx:pt idx="6357">4</cx:pt>
          <cx:pt idx="6358">5</cx:pt>
          <cx:pt idx="6359">4</cx:pt>
          <cx:pt idx="6360">4</cx:pt>
          <cx:pt idx="6361">2</cx:pt>
          <cx:pt idx="6362">1</cx:pt>
          <cx:pt idx="6363">2</cx:pt>
          <cx:pt idx="6364">3</cx:pt>
          <cx:pt idx="6365">4</cx:pt>
          <cx:pt idx="6366">1</cx:pt>
          <cx:pt idx="6367">2</cx:pt>
          <cx:pt idx="6368">4</cx:pt>
          <cx:pt idx="6369">2</cx:pt>
          <cx:pt idx="6370">2</cx:pt>
          <cx:pt idx="6371">2</cx:pt>
          <cx:pt idx="6372">2</cx:pt>
          <cx:pt idx="6373">2</cx:pt>
          <cx:pt idx="6374">2</cx:pt>
          <cx:pt idx="6375">6</cx:pt>
          <cx:pt idx="6376">1</cx:pt>
          <cx:pt idx="6377">3</cx:pt>
          <cx:pt idx="6378">2</cx:pt>
          <cx:pt idx="6379">2</cx:pt>
          <cx:pt idx="6380">1</cx:pt>
          <cx:pt idx="6381">2</cx:pt>
          <cx:pt idx="6382">2</cx:pt>
          <cx:pt idx="6383">4</cx:pt>
          <cx:pt idx="6384">2</cx:pt>
          <cx:pt idx="6385">1</cx:pt>
          <cx:pt idx="6386">3</cx:pt>
          <cx:pt idx="6387">4</cx:pt>
          <cx:pt idx="6388">4</cx:pt>
          <cx:pt idx="6389">2</cx:pt>
          <cx:pt idx="6390">2</cx:pt>
          <cx:pt idx="6391">1</cx:pt>
          <cx:pt idx="6392">5</cx:pt>
          <cx:pt idx="6393">4</cx:pt>
          <cx:pt idx="6394">6</cx:pt>
          <cx:pt idx="6395">6</cx:pt>
          <cx:pt idx="6396">2</cx:pt>
          <cx:pt idx="6397">2</cx:pt>
          <cx:pt idx="6398">2</cx:pt>
          <cx:pt idx="6399">1</cx:pt>
          <cx:pt idx="6400">2</cx:pt>
          <cx:pt idx="6401">3</cx:pt>
          <cx:pt idx="6402">1</cx:pt>
          <cx:pt idx="6403">1</cx:pt>
          <cx:pt idx="6404">2</cx:pt>
          <cx:pt idx="6405">2</cx:pt>
          <cx:pt idx="6406">1</cx:pt>
          <cx:pt idx="6407">1</cx:pt>
          <cx:pt idx="6408">6</cx:pt>
          <cx:pt idx="6409">2</cx:pt>
          <cx:pt idx="6410">1</cx:pt>
          <cx:pt idx="6411">6</cx:pt>
          <cx:pt idx="6412">5</cx:pt>
          <cx:pt idx="6413">1</cx:pt>
          <cx:pt idx="6414">2</cx:pt>
          <cx:pt idx="6415">2</cx:pt>
          <cx:pt idx="6416">2</cx:pt>
          <cx:pt idx="6417">2</cx:pt>
          <cx:pt idx="6418">2</cx:pt>
          <cx:pt idx="6419">1</cx:pt>
          <cx:pt idx="6420">1</cx:pt>
          <cx:pt idx="6421">2</cx:pt>
          <cx:pt idx="6422">1</cx:pt>
          <cx:pt idx="6423">1</cx:pt>
          <cx:pt idx="6424">2</cx:pt>
          <cx:pt idx="6425">1</cx:pt>
          <cx:pt idx="6426">1</cx:pt>
          <cx:pt idx="6427">2</cx:pt>
          <cx:pt idx="6428">1</cx:pt>
          <cx:pt idx="6429">1</cx:pt>
          <cx:pt idx="6430">3</cx:pt>
          <cx:pt idx="6431">1</cx:pt>
          <cx:pt idx="6432">1</cx:pt>
          <cx:pt idx="6433">4</cx:pt>
          <cx:pt idx="6434">1</cx:pt>
          <cx:pt idx="6435">2</cx:pt>
          <cx:pt idx="6436">4</cx:pt>
          <cx:pt idx="6437">5</cx:pt>
          <cx:pt idx="6438">2</cx:pt>
          <cx:pt idx="6439">2</cx:pt>
          <cx:pt idx="6440">1</cx:pt>
          <cx:pt idx="6441">2</cx:pt>
          <cx:pt idx="6442">2</cx:pt>
          <cx:pt idx="6443">1</cx:pt>
          <cx:pt idx="6444">3</cx:pt>
          <cx:pt idx="6445">2</cx:pt>
          <cx:pt idx="6446">6</cx:pt>
          <cx:pt idx="6447">1</cx:pt>
          <cx:pt idx="6448">7</cx:pt>
          <cx:pt idx="6449">2</cx:pt>
          <cx:pt idx="6450">1</cx:pt>
          <cx:pt idx="6451">1</cx:pt>
          <cx:pt idx="6452">1</cx:pt>
          <cx:pt idx="6453">2</cx:pt>
          <cx:pt idx="6454">5</cx:pt>
          <cx:pt idx="6455">3</cx:pt>
          <cx:pt idx="6456">4</cx:pt>
          <cx:pt idx="6457">1</cx:pt>
          <cx:pt idx="6458">1</cx:pt>
          <cx:pt idx="6459">2</cx:pt>
          <cx:pt idx="6460">2</cx:pt>
          <cx:pt idx="6461">2</cx:pt>
          <cx:pt idx="6462">1</cx:pt>
          <cx:pt idx="6463">1</cx:pt>
          <cx:pt idx="6464">1</cx:pt>
          <cx:pt idx="6465">1</cx:pt>
          <cx:pt idx="6466">1</cx:pt>
          <cx:pt idx="6467">1</cx:pt>
          <cx:pt idx="6468">1</cx:pt>
          <cx:pt idx="6469">5</cx:pt>
          <cx:pt idx="6470">5</cx:pt>
          <cx:pt idx="6471">1</cx:pt>
          <cx:pt idx="6472">6</cx:pt>
          <cx:pt idx="6473">2</cx:pt>
          <cx:pt idx="6474">3</cx:pt>
          <cx:pt idx="6475">5</cx:pt>
          <cx:pt idx="6476">7</cx:pt>
          <cx:pt idx="6477">1</cx:pt>
          <cx:pt idx="6478">4</cx:pt>
          <cx:pt idx="6479">4</cx:pt>
          <cx:pt idx="6480">1</cx:pt>
          <cx:pt idx="6481">1</cx:pt>
          <cx:pt idx="6482">4</cx:pt>
          <cx:pt idx="6483">1</cx:pt>
          <cx:pt idx="6484">3</cx:pt>
          <cx:pt idx="6485">3</cx:pt>
          <cx:pt idx="6486">1</cx:pt>
          <cx:pt idx="6487">4</cx:pt>
          <cx:pt idx="6488">6</cx:pt>
          <cx:pt idx="6489">1</cx:pt>
          <cx:pt idx="6490">1</cx:pt>
          <cx:pt idx="6491">6</cx:pt>
          <cx:pt idx="6492">5</cx:pt>
          <cx:pt idx="6493">1</cx:pt>
          <cx:pt idx="6494">1</cx:pt>
          <cx:pt idx="6495">4</cx:pt>
          <cx:pt idx="6496">2</cx:pt>
          <cx:pt idx="6497">2</cx:pt>
          <cx:pt idx="6498">1</cx:pt>
          <cx:pt idx="6499">1</cx:pt>
          <cx:pt idx="6500">1</cx:pt>
          <cx:pt idx="6501">2</cx:pt>
          <cx:pt idx="6502">1</cx:pt>
          <cx:pt idx="6503">1</cx:pt>
          <cx:pt idx="6504">1</cx:pt>
          <cx:pt idx="6505">4</cx:pt>
          <cx:pt idx="6506">3</cx:pt>
          <cx:pt idx="6507">1</cx:pt>
          <cx:pt idx="6508">2</cx:pt>
          <cx:pt idx="6509">3</cx:pt>
          <cx:pt idx="6510">4</cx:pt>
          <cx:pt idx="6511">2</cx:pt>
          <cx:pt idx="6512">2</cx:pt>
          <cx:pt idx="6513">1</cx:pt>
          <cx:pt idx="6514">1</cx:pt>
          <cx:pt idx="6515">4</cx:pt>
          <cx:pt idx="6516">4</cx:pt>
          <cx:pt idx="6517">1</cx:pt>
          <cx:pt idx="6518">2</cx:pt>
          <cx:pt idx="6519">3</cx:pt>
          <cx:pt idx="6520">1</cx:pt>
          <cx:pt idx="6521">6</cx:pt>
          <cx:pt idx="6522">5</cx:pt>
          <cx:pt idx="6523">2</cx:pt>
          <cx:pt idx="6524">7</cx:pt>
          <cx:pt idx="6525">5</cx:pt>
          <cx:pt idx="6526">2</cx:pt>
          <cx:pt idx="6527">3</cx:pt>
          <cx:pt idx="6528">1</cx:pt>
          <cx:pt idx="6529">3</cx:pt>
          <cx:pt idx="6530">2</cx:pt>
          <cx:pt idx="6531">1</cx:pt>
          <cx:pt idx="6532">2</cx:pt>
          <cx:pt idx="6533">1</cx:pt>
          <cx:pt idx="6534">1</cx:pt>
          <cx:pt idx="6535">1</cx:pt>
          <cx:pt idx="6536">4</cx:pt>
          <cx:pt idx="6537">1</cx:pt>
          <cx:pt idx="6538">3</cx:pt>
          <cx:pt idx="6539">2</cx:pt>
          <cx:pt idx="6540">2</cx:pt>
          <cx:pt idx="6541">5</cx:pt>
          <cx:pt idx="6542">1</cx:pt>
          <cx:pt idx="6543">2</cx:pt>
          <cx:pt idx="6544">3</cx:pt>
          <cx:pt idx="6545">2</cx:pt>
          <cx:pt idx="6546">2</cx:pt>
          <cx:pt idx="6547">11</cx:pt>
          <cx:pt idx="6548">2</cx:pt>
          <cx:pt idx="6549">3</cx:pt>
          <cx:pt idx="6550">2</cx:pt>
          <cx:pt idx="6551">2</cx:pt>
          <cx:pt idx="6552">2</cx:pt>
          <cx:pt idx="6553">1</cx:pt>
          <cx:pt idx="6554">6</cx:pt>
          <cx:pt idx="6555">1</cx:pt>
          <cx:pt idx="6556">4</cx:pt>
          <cx:pt idx="6557">5</cx:pt>
          <cx:pt idx="6558">4</cx:pt>
          <cx:pt idx="6559">2</cx:pt>
          <cx:pt idx="6560">1</cx:pt>
          <cx:pt idx="6561">8</cx:pt>
          <cx:pt idx="6562">4</cx:pt>
          <cx:pt idx="6563">1</cx:pt>
          <cx:pt idx="6564">2</cx:pt>
          <cx:pt idx="6565">6</cx:pt>
          <cx:pt idx="6566">1</cx:pt>
          <cx:pt idx="6567">1</cx:pt>
          <cx:pt idx="6568">2</cx:pt>
          <cx:pt idx="6569">2</cx:pt>
          <cx:pt idx="6570">2</cx:pt>
          <cx:pt idx="6571">1</cx:pt>
          <cx:pt idx="6572">2</cx:pt>
          <cx:pt idx="6573">2</cx:pt>
          <cx:pt idx="6574">1</cx:pt>
          <cx:pt idx="6575">2</cx:pt>
          <cx:pt idx="6576">1</cx:pt>
          <cx:pt idx="6577">2</cx:pt>
          <cx:pt idx="6578">3</cx:pt>
          <cx:pt idx="6579">2</cx:pt>
          <cx:pt idx="6580">2</cx:pt>
          <cx:pt idx="6581">4</cx:pt>
          <cx:pt idx="6582">1</cx:pt>
          <cx:pt idx="6583">1</cx:pt>
          <cx:pt idx="6584">3</cx:pt>
          <cx:pt idx="6585">1</cx:pt>
          <cx:pt idx="6586">4</cx:pt>
          <cx:pt idx="6587">2</cx:pt>
          <cx:pt idx="6588">1</cx:pt>
          <cx:pt idx="6589">1</cx:pt>
          <cx:pt idx="6590">2</cx:pt>
          <cx:pt idx="6591">2</cx:pt>
          <cx:pt idx="6592">1</cx:pt>
          <cx:pt idx="6593">1</cx:pt>
          <cx:pt idx="6594">1</cx:pt>
          <cx:pt idx="6595">1</cx:pt>
          <cx:pt idx="6596">1</cx:pt>
          <cx:pt idx="6597">1</cx:pt>
          <cx:pt idx="6598">5</cx:pt>
          <cx:pt idx="6599">1</cx:pt>
          <cx:pt idx="6600">4</cx:pt>
          <cx:pt idx="6601">1</cx:pt>
          <cx:pt idx="6602">3</cx:pt>
          <cx:pt idx="6603">1</cx:pt>
          <cx:pt idx="6604">4</cx:pt>
          <cx:pt idx="6605">3</cx:pt>
          <cx:pt idx="6606">1</cx:pt>
          <cx:pt idx="6607">7</cx:pt>
          <cx:pt idx="6608">4</cx:pt>
          <cx:pt idx="6609">1</cx:pt>
          <cx:pt idx="6610">1</cx:pt>
          <cx:pt idx="6611">2</cx:pt>
          <cx:pt idx="6612">2</cx:pt>
          <cx:pt idx="6613">3</cx:pt>
          <cx:pt idx="6614">4</cx:pt>
          <cx:pt idx="6615">1</cx:pt>
          <cx:pt idx="6616">5</cx:pt>
          <cx:pt idx="6617">2</cx:pt>
          <cx:pt idx="6618">6</cx:pt>
          <cx:pt idx="6619">2</cx:pt>
          <cx:pt idx="6620">4</cx:pt>
          <cx:pt idx="6621">2</cx:pt>
          <cx:pt idx="6622">1</cx:pt>
          <cx:pt idx="6623">4</cx:pt>
          <cx:pt idx="6624">1</cx:pt>
          <cx:pt idx="6625">6</cx:pt>
          <cx:pt idx="6626">1</cx:pt>
          <cx:pt idx="6627">3</cx:pt>
          <cx:pt idx="6628">5</cx:pt>
          <cx:pt idx="6629">1</cx:pt>
          <cx:pt idx="6630">1</cx:pt>
          <cx:pt idx="6631">2</cx:pt>
          <cx:pt idx="6632">2</cx:pt>
          <cx:pt idx="6633">3</cx:pt>
          <cx:pt idx="6634">6</cx:pt>
          <cx:pt idx="6635">1</cx:pt>
          <cx:pt idx="6636">2</cx:pt>
          <cx:pt idx="6637">1</cx:pt>
          <cx:pt idx="6638">4</cx:pt>
          <cx:pt idx="6639">5</cx:pt>
          <cx:pt idx="6640">1</cx:pt>
          <cx:pt idx="6641">2</cx:pt>
          <cx:pt idx="6642">4</cx:pt>
          <cx:pt idx="6643">1</cx:pt>
          <cx:pt idx="6644">2</cx:pt>
          <cx:pt idx="6645">4</cx:pt>
          <cx:pt idx="6646">4</cx:pt>
          <cx:pt idx="6647">6</cx:pt>
          <cx:pt idx="6648">1</cx:pt>
          <cx:pt idx="6649">1</cx:pt>
          <cx:pt idx="6650">1</cx:pt>
          <cx:pt idx="6651">5</cx:pt>
          <cx:pt idx="6652">2</cx:pt>
          <cx:pt idx="6653">2</cx:pt>
          <cx:pt idx="6654">4</cx:pt>
          <cx:pt idx="6655">3</cx:pt>
          <cx:pt idx="6656">6</cx:pt>
          <cx:pt idx="6657">4</cx:pt>
          <cx:pt idx="6658">2</cx:pt>
          <cx:pt idx="6659">2</cx:pt>
          <cx:pt idx="6660">2</cx:pt>
          <cx:pt idx="6661">6</cx:pt>
          <cx:pt idx="6662">3</cx:pt>
          <cx:pt idx="6663">4</cx:pt>
          <cx:pt idx="6664">2</cx:pt>
          <cx:pt idx="6665">5</cx:pt>
          <cx:pt idx="6666">1</cx:pt>
          <cx:pt idx="6667">5</cx:pt>
          <cx:pt idx="6668">4</cx:pt>
          <cx:pt idx="6669">5</cx:pt>
          <cx:pt idx="6670">1</cx:pt>
          <cx:pt idx="6671">2</cx:pt>
          <cx:pt idx="6672">2</cx:pt>
          <cx:pt idx="6673">4</cx:pt>
          <cx:pt idx="6674">2</cx:pt>
          <cx:pt idx="6675">4</cx:pt>
          <cx:pt idx="6676">6</cx:pt>
          <cx:pt idx="6677">5</cx:pt>
          <cx:pt idx="6678">5</cx:pt>
          <cx:pt idx="6679">3</cx:pt>
          <cx:pt idx="6680">3</cx:pt>
          <cx:pt idx="6681">5</cx:pt>
          <cx:pt idx="6682">6</cx:pt>
          <cx:pt idx="6683">2</cx:pt>
          <cx:pt idx="6684">3</cx:pt>
          <cx:pt idx="6685">5</cx:pt>
          <cx:pt idx="6686">4</cx:pt>
          <cx:pt idx="6687">2</cx:pt>
          <cx:pt idx="6688">4</cx:pt>
          <cx:pt idx="6689">2</cx:pt>
          <cx:pt idx="6690">5</cx:pt>
          <cx:pt idx="6691">2</cx:pt>
          <cx:pt idx="6692">2</cx:pt>
          <cx:pt idx="6693">1</cx:pt>
          <cx:pt idx="6694">2</cx:pt>
          <cx:pt idx="6695">1</cx:pt>
          <cx:pt idx="6696">6</cx:pt>
          <cx:pt idx="6697">3</cx:pt>
          <cx:pt idx="6698">5</cx:pt>
          <cx:pt idx="6699">2</cx:pt>
          <cx:pt idx="6700">3</cx:pt>
          <cx:pt idx="6701">1</cx:pt>
          <cx:pt idx="6702">1</cx:pt>
          <cx:pt idx="6703">2</cx:pt>
          <cx:pt idx="6704">1</cx:pt>
          <cx:pt idx="6705">4</cx:pt>
          <cx:pt idx="6706">4</cx:pt>
          <cx:pt idx="6707">1</cx:pt>
          <cx:pt idx="6708">3</cx:pt>
          <cx:pt idx="6709">3</cx:pt>
          <cx:pt idx="6710">6</cx:pt>
          <cx:pt idx="6711">1</cx:pt>
          <cx:pt idx="6712">5</cx:pt>
          <cx:pt idx="6713">1</cx:pt>
          <cx:pt idx="6714">5</cx:pt>
          <cx:pt idx="6715">1</cx:pt>
          <cx:pt idx="6716">1</cx:pt>
          <cx:pt idx="6717">2</cx:pt>
          <cx:pt idx="6718">1</cx:pt>
          <cx:pt idx="6719">2</cx:pt>
          <cx:pt idx="6720">1</cx:pt>
          <cx:pt idx="6721">2</cx:pt>
          <cx:pt idx="6722">2</cx:pt>
          <cx:pt idx="6723">1</cx:pt>
          <cx:pt idx="6724">2</cx:pt>
          <cx:pt idx="6725">2</cx:pt>
          <cx:pt idx="6726">3</cx:pt>
          <cx:pt idx="6727">4</cx:pt>
          <cx:pt idx="6728">1</cx:pt>
          <cx:pt idx="6729">1</cx:pt>
          <cx:pt idx="6730">2</cx:pt>
          <cx:pt idx="6731">1</cx:pt>
          <cx:pt idx="6732">4</cx:pt>
          <cx:pt idx="6733">1</cx:pt>
          <cx:pt idx="6734">1</cx:pt>
          <cx:pt idx="6735">4</cx:pt>
          <cx:pt idx="6736">1</cx:pt>
          <cx:pt idx="6737">1</cx:pt>
          <cx:pt idx="6738">1</cx:pt>
          <cx:pt idx="6739">1</cx:pt>
          <cx:pt idx="6740">4</cx:pt>
          <cx:pt idx="6741">1</cx:pt>
          <cx:pt idx="6742">2</cx:pt>
          <cx:pt idx="6743">6</cx:pt>
          <cx:pt idx="6744">1</cx:pt>
          <cx:pt idx="6745">1</cx:pt>
          <cx:pt idx="6746">1</cx:pt>
          <cx:pt idx="6747">2</cx:pt>
          <cx:pt idx="6748">4</cx:pt>
          <cx:pt idx="6749">2</cx:pt>
          <cx:pt idx="6750">4</cx:pt>
          <cx:pt idx="6751">5</cx:pt>
          <cx:pt idx="6752">5</cx:pt>
          <cx:pt idx="6753">2</cx:pt>
          <cx:pt idx="6754">2</cx:pt>
          <cx:pt idx="6755">2</cx:pt>
          <cx:pt idx="6756">3</cx:pt>
          <cx:pt idx="6757">2</cx:pt>
          <cx:pt idx="6758">1</cx:pt>
          <cx:pt idx="6759">3</cx:pt>
          <cx:pt idx="6760">2</cx:pt>
          <cx:pt idx="6761">2</cx:pt>
          <cx:pt idx="6762">1</cx:pt>
          <cx:pt idx="6763">4</cx:pt>
          <cx:pt idx="6764">2</cx:pt>
          <cx:pt idx="6765">2</cx:pt>
          <cx:pt idx="6766">2</cx:pt>
          <cx:pt idx="6767">4</cx:pt>
          <cx:pt idx="6768">1</cx:pt>
          <cx:pt idx="6769">2</cx:pt>
          <cx:pt idx="6770">1</cx:pt>
          <cx:pt idx="6771">1</cx:pt>
          <cx:pt idx="6772">3</cx:pt>
          <cx:pt idx="6773">1</cx:pt>
          <cx:pt idx="6774">1</cx:pt>
          <cx:pt idx="6775">1</cx:pt>
          <cx:pt idx="6776">3</cx:pt>
          <cx:pt idx="6777">4</cx:pt>
          <cx:pt idx="6778">2</cx:pt>
          <cx:pt idx="6779">1</cx:pt>
          <cx:pt idx="6780">1</cx:pt>
          <cx:pt idx="6781">2</cx:pt>
          <cx:pt idx="6782">1</cx:pt>
          <cx:pt idx="6783">1</cx:pt>
          <cx:pt idx="6784">4</cx:pt>
          <cx:pt idx="6785">1</cx:pt>
          <cx:pt idx="6786">3</cx:pt>
          <cx:pt idx="6787">2</cx:pt>
          <cx:pt idx="6788">1</cx:pt>
          <cx:pt idx="6789">2</cx:pt>
          <cx:pt idx="6790">1</cx:pt>
          <cx:pt idx="6791">4</cx:pt>
          <cx:pt idx="6792">5</cx:pt>
          <cx:pt idx="6793">1</cx:pt>
          <cx:pt idx="6794">2</cx:pt>
          <cx:pt idx="6795">1</cx:pt>
          <cx:pt idx="6796">3</cx:pt>
          <cx:pt idx="6797">1</cx:pt>
          <cx:pt idx="6798">1</cx:pt>
          <cx:pt idx="6799">1</cx:pt>
          <cx:pt idx="6800">3</cx:pt>
          <cx:pt idx="6801">2</cx:pt>
          <cx:pt idx="6802">2</cx:pt>
          <cx:pt idx="6803">3</cx:pt>
          <cx:pt idx="6804">2</cx:pt>
          <cx:pt idx="6805">5</cx:pt>
          <cx:pt idx="6806">4</cx:pt>
          <cx:pt idx="6807">3</cx:pt>
          <cx:pt idx="6808">1</cx:pt>
          <cx:pt idx="6809">1</cx:pt>
          <cx:pt idx="6810">2</cx:pt>
          <cx:pt idx="6811">2</cx:pt>
          <cx:pt idx="6812">1</cx:pt>
          <cx:pt idx="6813">1</cx:pt>
          <cx:pt idx="6814">3</cx:pt>
          <cx:pt idx="6815">1</cx:pt>
          <cx:pt idx="6816">1</cx:pt>
          <cx:pt idx="6817">2</cx:pt>
          <cx:pt idx="6818">2</cx:pt>
          <cx:pt idx="6819">3</cx:pt>
          <cx:pt idx="6820">2</cx:pt>
          <cx:pt idx="6821">1</cx:pt>
          <cx:pt idx="6822">2</cx:pt>
          <cx:pt idx="6823">3</cx:pt>
          <cx:pt idx="6824">3</cx:pt>
          <cx:pt idx="6825">1</cx:pt>
          <cx:pt idx="6826">1</cx:pt>
          <cx:pt idx="6827">3</cx:pt>
          <cx:pt idx="6828">4</cx:pt>
          <cx:pt idx="6829">2</cx:pt>
          <cx:pt idx="6830">1</cx:pt>
          <cx:pt idx="6831">2</cx:pt>
          <cx:pt idx="6832">1</cx:pt>
          <cx:pt idx="6833">3</cx:pt>
          <cx:pt idx="6834">4</cx:pt>
          <cx:pt idx="6835">2</cx:pt>
          <cx:pt idx="6836">1</cx:pt>
          <cx:pt idx="6837">3</cx:pt>
          <cx:pt idx="6838">5</cx:pt>
          <cx:pt idx="6839">1</cx:pt>
          <cx:pt idx="6840">6</cx:pt>
          <cx:pt idx="6841">2</cx:pt>
          <cx:pt idx="6842">2</cx:pt>
          <cx:pt idx="6843">1</cx:pt>
          <cx:pt idx="6844">5</cx:pt>
          <cx:pt idx="6845">4</cx:pt>
          <cx:pt idx="6846">1</cx:pt>
          <cx:pt idx="6847">2</cx:pt>
          <cx:pt idx="6848">2</cx:pt>
          <cx:pt idx="6849">5</cx:pt>
          <cx:pt idx="6850">1</cx:pt>
          <cx:pt idx="6851">1</cx:pt>
          <cx:pt idx="6852">3</cx:pt>
          <cx:pt idx="6853">4</cx:pt>
          <cx:pt idx="6854">5</cx:pt>
          <cx:pt idx="6855">2</cx:pt>
          <cx:pt idx="6856">2</cx:pt>
          <cx:pt idx="6857">4</cx:pt>
          <cx:pt idx="6858">2</cx:pt>
          <cx:pt idx="6859">1</cx:pt>
          <cx:pt idx="6860">3</cx:pt>
          <cx:pt idx="6861">1</cx:pt>
          <cx:pt idx="6862">4</cx:pt>
          <cx:pt idx="6863">2</cx:pt>
          <cx:pt idx="6864">2</cx:pt>
          <cx:pt idx="6865">1</cx:pt>
          <cx:pt idx="6866">2</cx:pt>
          <cx:pt idx="6867">2</cx:pt>
          <cx:pt idx="6868">2</cx:pt>
          <cx:pt idx="6869">4</cx:pt>
          <cx:pt idx="6870">1</cx:pt>
          <cx:pt idx="6871">2</cx:pt>
          <cx:pt idx="6872">4</cx:pt>
          <cx:pt idx="6873">4</cx:pt>
          <cx:pt idx="6874">5</cx:pt>
          <cx:pt idx="6875">1</cx:pt>
          <cx:pt idx="6876">2</cx:pt>
          <cx:pt idx="6877">2</cx:pt>
          <cx:pt idx="6878">1</cx:pt>
          <cx:pt idx="6879">1</cx:pt>
          <cx:pt idx="6880">1</cx:pt>
          <cx:pt idx="6881">4</cx:pt>
          <cx:pt idx="6882">2</cx:pt>
          <cx:pt idx="6883">2</cx:pt>
          <cx:pt idx="6884">3</cx:pt>
          <cx:pt idx="6885">1</cx:pt>
          <cx:pt idx="6886">2</cx:pt>
          <cx:pt idx="6887">1</cx:pt>
          <cx:pt idx="6888">2</cx:pt>
          <cx:pt idx="6889">3</cx:pt>
          <cx:pt idx="6890">2</cx:pt>
          <cx:pt idx="6891">1</cx:pt>
          <cx:pt idx="6892">1</cx:pt>
          <cx:pt idx="6893">2</cx:pt>
          <cx:pt idx="6894">2</cx:pt>
          <cx:pt idx="6895">2</cx:pt>
          <cx:pt idx="6896">7</cx:pt>
          <cx:pt idx="6897">2</cx:pt>
          <cx:pt idx="6898">6</cx:pt>
          <cx:pt idx="6899">2</cx:pt>
          <cx:pt idx="6900">1</cx:pt>
          <cx:pt idx="6901">6</cx:pt>
          <cx:pt idx="6902">1</cx:pt>
          <cx:pt idx="6903">1</cx:pt>
          <cx:pt idx="6904">2</cx:pt>
          <cx:pt idx="6905">2</cx:pt>
          <cx:pt idx="6906">1</cx:pt>
          <cx:pt idx="6907">1</cx:pt>
          <cx:pt idx="6908">1</cx:pt>
          <cx:pt idx="6909">1</cx:pt>
          <cx:pt idx="6910">5</cx:pt>
          <cx:pt idx="6911">4</cx:pt>
          <cx:pt idx="6912">2</cx:pt>
          <cx:pt idx="6913">1</cx:pt>
          <cx:pt idx="6914">1</cx:pt>
          <cx:pt idx="6915">1</cx:pt>
          <cx:pt idx="6916">3</cx:pt>
          <cx:pt idx="6917">3</cx:pt>
          <cx:pt idx="6918">3</cx:pt>
          <cx:pt idx="6919">1</cx:pt>
          <cx:pt idx="6920">4</cx:pt>
          <cx:pt idx="6921">2</cx:pt>
          <cx:pt idx="6922">1</cx:pt>
          <cx:pt idx="6923">2</cx:pt>
          <cx:pt idx="6924">2</cx:pt>
          <cx:pt idx="6925">4</cx:pt>
          <cx:pt idx="6926">2</cx:pt>
          <cx:pt idx="6927">2</cx:pt>
          <cx:pt idx="6928">1</cx:pt>
          <cx:pt idx="6929">1</cx:pt>
          <cx:pt idx="6930">1</cx:pt>
          <cx:pt idx="6931">8</cx:pt>
          <cx:pt idx="6932">4</cx:pt>
          <cx:pt idx="6933">4</cx:pt>
          <cx:pt idx="6934">3</cx:pt>
          <cx:pt idx="6935">4</cx:pt>
          <cx:pt idx="6936">1</cx:pt>
          <cx:pt idx="6937">2</cx:pt>
          <cx:pt idx="6938">3</cx:pt>
          <cx:pt idx="6939">1</cx:pt>
          <cx:pt idx="6940">2</cx:pt>
          <cx:pt idx="6941">5</cx:pt>
          <cx:pt idx="6942">2</cx:pt>
          <cx:pt idx="6943">3</cx:pt>
          <cx:pt idx="6944">2</cx:pt>
          <cx:pt idx="6945">2</cx:pt>
          <cx:pt idx="6946">3</cx:pt>
          <cx:pt idx="6947">3</cx:pt>
          <cx:pt idx="6948">2</cx:pt>
          <cx:pt idx="6949">2</cx:pt>
          <cx:pt idx="6950">2</cx:pt>
          <cx:pt idx="6951">1</cx:pt>
          <cx:pt idx="6952">1</cx:pt>
          <cx:pt idx="6953">2</cx:pt>
          <cx:pt idx="6954">2</cx:pt>
          <cx:pt idx="6955">2</cx:pt>
          <cx:pt idx="6956">5</cx:pt>
          <cx:pt idx="6957">1</cx:pt>
          <cx:pt idx="6958">2</cx:pt>
          <cx:pt idx="6959">6</cx:pt>
          <cx:pt idx="6960">1</cx:pt>
          <cx:pt idx="6961">3</cx:pt>
          <cx:pt idx="6962">3</cx:pt>
          <cx:pt idx="6963">4</cx:pt>
          <cx:pt idx="6964">1</cx:pt>
          <cx:pt idx="6965">2</cx:pt>
          <cx:pt idx="6966">1</cx:pt>
          <cx:pt idx="6967">3</cx:pt>
          <cx:pt idx="6968">4</cx:pt>
          <cx:pt idx="6969">1</cx:pt>
          <cx:pt idx="6970">1</cx:pt>
          <cx:pt idx="6971">1</cx:pt>
          <cx:pt idx="6972">4</cx:pt>
          <cx:pt idx="6973">2</cx:pt>
          <cx:pt idx="6974">1</cx:pt>
          <cx:pt idx="6975">2</cx:pt>
          <cx:pt idx="6976">2</cx:pt>
          <cx:pt idx="6977">4</cx:pt>
          <cx:pt idx="6978">1</cx:pt>
          <cx:pt idx="6979">3</cx:pt>
          <cx:pt idx="6980">3</cx:pt>
          <cx:pt idx="6981">1</cx:pt>
          <cx:pt idx="6982">2</cx:pt>
          <cx:pt idx="6983">2</cx:pt>
          <cx:pt idx="6984">2</cx:pt>
          <cx:pt idx="6985">6</cx:pt>
          <cx:pt idx="6986">3</cx:pt>
          <cx:pt idx="6987">1</cx:pt>
          <cx:pt idx="6988">4</cx:pt>
          <cx:pt idx="6989">1</cx:pt>
          <cx:pt idx="6990">3</cx:pt>
          <cx:pt idx="6991">4</cx:pt>
          <cx:pt idx="6992">2</cx:pt>
          <cx:pt idx="6993">1</cx:pt>
          <cx:pt idx="6994">1</cx:pt>
          <cx:pt idx="6995">3</cx:pt>
          <cx:pt idx="6996">4</cx:pt>
          <cx:pt idx="6997">3</cx:pt>
          <cx:pt idx="6998">2</cx:pt>
          <cx:pt idx="6999">4</cx:pt>
          <cx:pt idx="7000">5</cx:pt>
          <cx:pt idx="7001">2</cx:pt>
          <cx:pt idx="7002">5</cx:pt>
          <cx:pt idx="7003">2</cx:pt>
          <cx:pt idx="7004">2</cx:pt>
          <cx:pt idx="7005">1</cx:pt>
          <cx:pt idx="7006">1</cx:pt>
          <cx:pt idx="7007">1</cx:pt>
          <cx:pt idx="7008">1</cx:pt>
          <cx:pt idx="7009">1</cx:pt>
          <cx:pt idx="7010">2</cx:pt>
          <cx:pt idx="7011">3</cx:pt>
          <cx:pt idx="7012">2</cx:pt>
          <cx:pt idx="7013">2</cx:pt>
          <cx:pt idx="7014">2</cx:pt>
          <cx:pt idx="7015">2</cx:pt>
          <cx:pt idx="7016">5</cx:pt>
          <cx:pt idx="7017">2</cx:pt>
          <cx:pt idx="7018">1</cx:pt>
          <cx:pt idx="7019">5</cx:pt>
          <cx:pt idx="7020">2</cx:pt>
          <cx:pt idx="7021">1</cx:pt>
          <cx:pt idx="7022">2</cx:pt>
          <cx:pt idx="7023">7</cx:pt>
          <cx:pt idx="7024">3</cx:pt>
          <cx:pt idx="7025">5</cx:pt>
          <cx:pt idx="7026">1</cx:pt>
          <cx:pt idx="7027">1</cx:pt>
          <cx:pt idx="7028">4</cx:pt>
          <cx:pt idx="7029">2</cx:pt>
          <cx:pt idx="7030">2</cx:pt>
          <cx:pt idx="7031">2</cx:pt>
          <cx:pt idx="7032">3</cx:pt>
          <cx:pt idx="7033">2</cx:pt>
          <cx:pt idx="7034">2</cx:pt>
          <cx:pt idx="7035">3</cx:pt>
          <cx:pt idx="7036">1</cx:pt>
          <cx:pt idx="7037">3</cx:pt>
          <cx:pt idx="7038">1</cx:pt>
          <cx:pt idx="7039">4</cx:pt>
          <cx:pt idx="7040">1</cx:pt>
          <cx:pt idx="7041">1</cx:pt>
          <cx:pt idx="7042">2</cx:pt>
          <cx:pt idx="7043">5</cx:pt>
          <cx:pt idx="7044">1</cx:pt>
          <cx:pt idx="7045">1</cx:pt>
          <cx:pt idx="7046">4</cx:pt>
          <cx:pt idx="7047">1</cx:pt>
          <cx:pt idx="7048">4</cx:pt>
          <cx:pt idx="7049">4</cx:pt>
          <cx:pt idx="7050">4</cx:pt>
          <cx:pt idx="7051">1</cx:pt>
          <cx:pt idx="7052">1</cx:pt>
          <cx:pt idx="7053">2</cx:pt>
          <cx:pt idx="7054">3</cx:pt>
          <cx:pt idx="7055">2</cx:pt>
          <cx:pt idx="7056">1</cx:pt>
          <cx:pt idx="7057">3</cx:pt>
          <cx:pt idx="7058">4</cx:pt>
          <cx:pt idx="7059">5</cx:pt>
          <cx:pt idx="7060">1</cx:pt>
          <cx:pt idx="7061">3</cx:pt>
          <cx:pt idx="7062">4</cx:pt>
          <cx:pt idx="7063">5</cx:pt>
          <cx:pt idx="7064">2</cx:pt>
          <cx:pt idx="7065">2</cx:pt>
          <cx:pt idx="7066">2</cx:pt>
          <cx:pt idx="7067">1</cx:pt>
          <cx:pt idx="7068">2</cx:pt>
          <cx:pt idx="7069">2</cx:pt>
          <cx:pt idx="7070">9</cx:pt>
          <cx:pt idx="7071">1</cx:pt>
          <cx:pt idx="7072">6</cx:pt>
          <cx:pt idx="7073">5</cx:pt>
          <cx:pt idx="7074">2</cx:pt>
          <cx:pt idx="7075">1</cx:pt>
          <cx:pt idx="7076">2</cx:pt>
          <cx:pt idx="7077">1</cx:pt>
          <cx:pt idx="7078">4</cx:pt>
          <cx:pt idx="7079">8</cx:pt>
          <cx:pt idx="7080">3</cx:pt>
          <cx:pt idx="7081">2</cx:pt>
          <cx:pt idx="7082">1</cx:pt>
          <cx:pt idx="7083">1</cx:pt>
          <cx:pt idx="7084">4</cx:pt>
          <cx:pt idx="7085">1</cx:pt>
          <cx:pt idx="7086">4</cx:pt>
          <cx:pt idx="7087">4</cx:pt>
          <cx:pt idx="7088">3</cx:pt>
          <cx:pt idx="7089">1</cx:pt>
          <cx:pt idx="7090">3</cx:pt>
          <cx:pt idx="7091">4</cx:pt>
          <cx:pt idx="7092">6</cx:pt>
          <cx:pt idx="7093">2</cx:pt>
          <cx:pt idx="7094">2</cx:pt>
          <cx:pt idx="7095">5</cx:pt>
          <cx:pt idx="7096">2</cx:pt>
          <cx:pt idx="7097">2</cx:pt>
          <cx:pt idx="7098">3</cx:pt>
          <cx:pt idx="7099">4</cx:pt>
          <cx:pt idx="7100">2</cx:pt>
          <cx:pt idx="7101">2</cx:pt>
          <cx:pt idx="7102">1</cx:pt>
          <cx:pt idx="7103">2</cx:pt>
          <cx:pt idx="7104">3</cx:pt>
          <cx:pt idx="7105">2</cx:pt>
          <cx:pt idx="7106">2</cx:pt>
          <cx:pt idx="7107">2</cx:pt>
          <cx:pt idx="7108">2</cx:pt>
          <cx:pt idx="7109">1</cx:pt>
          <cx:pt idx="7110">3</cx:pt>
          <cx:pt idx="7111">4</cx:pt>
          <cx:pt idx="7112">1</cx:pt>
          <cx:pt idx="7113">2</cx:pt>
          <cx:pt idx="7114">1</cx:pt>
          <cx:pt idx="7115">1</cx:pt>
          <cx:pt idx="7116">4</cx:pt>
          <cx:pt idx="7117">2</cx:pt>
          <cx:pt idx="7118">2</cx:pt>
          <cx:pt idx="7119">2</cx:pt>
          <cx:pt idx="7120">1</cx:pt>
          <cx:pt idx="7121">2</cx:pt>
          <cx:pt idx="7122">2</cx:pt>
          <cx:pt idx="7123">2</cx:pt>
          <cx:pt idx="7124">4</cx:pt>
          <cx:pt idx="7125">1</cx:pt>
          <cx:pt idx="7126">1</cx:pt>
          <cx:pt idx="7127">1</cx:pt>
          <cx:pt idx="7128">2</cx:pt>
          <cx:pt idx="7129">2</cx:pt>
          <cx:pt idx="7130">6</cx:pt>
          <cx:pt idx="7131">4</cx:pt>
          <cx:pt idx="7132">3</cx:pt>
          <cx:pt idx="7133">1</cx:pt>
          <cx:pt idx="7134">2</cx:pt>
          <cx:pt idx="7135">3</cx:pt>
          <cx:pt idx="7136">1</cx:pt>
          <cx:pt idx="7137">1</cx:pt>
          <cx:pt idx="7138">1</cx:pt>
          <cx:pt idx="7139">1</cx:pt>
          <cx:pt idx="7140">1</cx:pt>
          <cx:pt idx="7141">2</cx:pt>
          <cx:pt idx="7142">2</cx:pt>
          <cx:pt idx="7143">1</cx:pt>
          <cx:pt idx="7144">3</cx:pt>
          <cx:pt idx="7145">1</cx:pt>
          <cx:pt idx="7146">5</cx:pt>
          <cx:pt idx="7147">1</cx:pt>
          <cx:pt idx="7148">2</cx:pt>
          <cx:pt idx="7149">2</cx:pt>
          <cx:pt idx="7150">2</cx:pt>
          <cx:pt idx="7151">3</cx:pt>
          <cx:pt idx="7152">1</cx:pt>
          <cx:pt idx="7153">3</cx:pt>
          <cx:pt idx="7154">3</cx:pt>
          <cx:pt idx="7155">4</cx:pt>
          <cx:pt idx="7156">2</cx:pt>
          <cx:pt idx="7157">1</cx:pt>
          <cx:pt idx="7158">2</cx:pt>
          <cx:pt idx="7159">2</cx:pt>
          <cx:pt idx="7160">1</cx:pt>
          <cx:pt idx="7161">1</cx:pt>
          <cx:pt idx="7162">2</cx:pt>
          <cx:pt idx="7163">1</cx:pt>
          <cx:pt idx="7164">1</cx:pt>
          <cx:pt idx="7165">3</cx:pt>
          <cx:pt idx="7166">2</cx:pt>
          <cx:pt idx="7167">2</cx:pt>
          <cx:pt idx="7168">1</cx:pt>
          <cx:pt idx="7169">1</cx:pt>
          <cx:pt idx="7170">4</cx:pt>
          <cx:pt idx="7171">2</cx:pt>
          <cx:pt idx="7172">3</cx:pt>
          <cx:pt idx="7173">4</cx:pt>
          <cx:pt idx="7174">1</cx:pt>
          <cx:pt idx="7175">2</cx:pt>
          <cx:pt idx="7176">4</cx:pt>
          <cx:pt idx="7177">2</cx:pt>
          <cx:pt idx="7178">3</cx:pt>
          <cx:pt idx="7179">2</cx:pt>
          <cx:pt idx="7180">6</cx:pt>
          <cx:pt idx="7181">4</cx:pt>
          <cx:pt idx="7182">2</cx:pt>
          <cx:pt idx="7183">2</cx:pt>
          <cx:pt idx="7184">4</cx:pt>
          <cx:pt idx="7185">1</cx:pt>
          <cx:pt idx="7186">1</cx:pt>
          <cx:pt idx="7187">1</cx:pt>
          <cx:pt idx="7188">4</cx:pt>
          <cx:pt idx="7189">3</cx:pt>
          <cx:pt idx="7190">3</cx:pt>
          <cx:pt idx="7191">3</cx:pt>
          <cx:pt idx="7192">1</cx:pt>
          <cx:pt idx="7193">1</cx:pt>
          <cx:pt idx="7194">3</cx:pt>
          <cx:pt idx="7195">2</cx:pt>
          <cx:pt idx="7196">1</cx:pt>
          <cx:pt idx="7197">6</cx:pt>
          <cx:pt idx="7198">2</cx:pt>
          <cx:pt idx="7199">4</cx:pt>
          <cx:pt idx="7200">2</cx:pt>
          <cx:pt idx="7201">2</cx:pt>
          <cx:pt idx="7202">2</cx:pt>
          <cx:pt idx="7203">3</cx:pt>
          <cx:pt idx="7204">1</cx:pt>
          <cx:pt idx="7205">3</cx:pt>
          <cx:pt idx="7206">5</cx:pt>
          <cx:pt idx="7207">2</cx:pt>
          <cx:pt idx="7208">2</cx:pt>
          <cx:pt idx="7209">1</cx:pt>
          <cx:pt idx="7210">1</cx:pt>
          <cx:pt idx="7211">1</cx:pt>
          <cx:pt idx="7212">1</cx:pt>
          <cx:pt idx="7213">1</cx:pt>
          <cx:pt idx="7214">5</cx:pt>
          <cx:pt idx="7215">2</cx:pt>
          <cx:pt idx="7216">2</cx:pt>
          <cx:pt idx="7217">5</cx:pt>
          <cx:pt idx="7218">2</cx:pt>
          <cx:pt idx="7219">2</cx:pt>
          <cx:pt idx="7220">1</cx:pt>
          <cx:pt idx="7221">8</cx:pt>
          <cx:pt idx="7222">2</cx:pt>
          <cx:pt idx="7223">1</cx:pt>
          <cx:pt idx="7224">3</cx:pt>
          <cx:pt idx="7225">4</cx:pt>
          <cx:pt idx="7226">1</cx:pt>
          <cx:pt idx="7227">3</cx:pt>
          <cx:pt idx="7228">2</cx:pt>
          <cx:pt idx="7229">1</cx:pt>
          <cx:pt idx="7230">2</cx:pt>
          <cx:pt idx="7231">1</cx:pt>
          <cx:pt idx="7232">1</cx:pt>
          <cx:pt idx="7233">3</cx:pt>
          <cx:pt idx="7234">2</cx:pt>
          <cx:pt idx="7235">2</cx:pt>
          <cx:pt idx="7236">1</cx:pt>
          <cx:pt idx="7237">1</cx:pt>
          <cx:pt idx="7238">2</cx:pt>
          <cx:pt idx="7239">2</cx:pt>
          <cx:pt idx="7240">3</cx:pt>
          <cx:pt idx="7241">4</cx:pt>
          <cx:pt idx="7242">3</cx:pt>
          <cx:pt idx="7243">2</cx:pt>
          <cx:pt idx="7244">2</cx:pt>
          <cx:pt idx="7245">3</cx:pt>
          <cx:pt idx="7246">3</cx:pt>
          <cx:pt idx="7247">3</cx:pt>
          <cx:pt idx="7248">3</cx:pt>
          <cx:pt idx="7249">2</cx:pt>
          <cx:pt idx="7250">1</cx:pt>
          <cx:pt idx="7251">3</cx:pt>
          <cx:pt idx="7252">2</cx:pt>
          <cx:pt idx="7253">1</cx:pt>
          <cx:pt idx="7254">1</cx:pt>
          <cx:pt idx="7255">1</cx:pt>
          <cx:pt idx="7256">2</cx:pt>
          <cx:pt idx="7257">1</cx:pt>
          <cx:pt idx="7258">2</cx:pt>
          <cx:pt idx="7259">1</cx:pt>
          <cx:pt idx="7260">2</cx:pt>
          <cx:pt idx="7261">4</cx:pt>
          <cx:pt idx="7262">3</cx:pt>
          <cx:pt idx="7263">4</cx:pt>
          <cx:pt idx="7264">2</cx:pt>
          <cx:pt idx="7265">2</cx:pt>
          <cx:pt idx="7266">2</cx:pt>
          <cx:pt idx="7267">2</cx:pt>
          <cx:pt idx="7268">2</cx:pt>
          <cx:pt idx="7269">2</cx:pt>
          <cx:pt idx="7270">2</cx:pt>
          <cx:pt idx="7271">3</cx:pt>
          <cx:pt idx="7272">1</cx:pt>
          <cx:pt idx="7273">1</cx:pt>
          <cx:pt idx="7274">1</cx:pt>
          <cx:pt idx="7275">1</cx:pt>
          <cx:pt idx="7276">2</cx:pt>
          <cx:pt idx="7277">2</cx:pt>
          <cx:pt idx="7278">1</cx:pt>
          <cx:pt idx="7279">3</cx:pt>
          <cx:pt idx="7280">2</cx:pt>
          <cx:pt idx="7281">2</cx:pt>
          <cx:pt idx="7282">5</cx:pt>
          <cx:pt idx="7283">1</cx:pt>
          <cx:pt idx="7284">2</cx:pt>
          <cx:pt idx="7285">1</cx:pt>
          <cx:pt idx="7286">1</cx:pt>
          <cx:pt idx="7287">3</cx:pt>
          <cx:pt idx="7288">5</cx:pt>
          <cx:pt idx="7289">1</cx:pt>
          <cx:pt idx="7290">1</cx:pt>
          <cx:pt idx="7291">2</cx:pt>
          <cx:pt idx="7292">4</cx:pt>
          <cx:pt idx="7293">1</cx:pt>
          <cx:pt idx="7294">2</cx:pt>
          <cx:pt idx="7295">1</cx:pt>
          <cx:pt idx="7296">1</cx:pt>
          <cx:pt idx="7297">1</cx:pt>
          <cx:pt idx="7298">2</cx:pt>
          <cx:pt idx="7299">2</cx:pt>
          <cx:pt idx="7300">1</cx:pt>
          <cx:pt idx="7301">3</cx:pt>
          <cx:pt idx="7302">1</cx:pt>
          <cx:pt idx="7303">3</cx:pt>
          <cx:pt idx="7304">1</cx:pt>
          <cx:pt idx="7305">2</cx:pt>
          <cx:pt idx="7306">3</cx:pt>
          <cx:pt idx="7307">3</cx:pt>
          <cx:pt idx="7308">4</cx:pt>
          <cx:pt idx="7309">1</cx:pt>
          <cx:pt idx="7310">3</cx:pt>
          <cx:pt idx="7311">3</cx:pt>
          <cx:pt idx="7312">3</cx:pt>
          <cx:pt idx="7313">2</cx:pt>
          <cx:pt idx="7314">4</cx:pt>
          <cx:pt idx="7315">4</cx:pt>
          <cx:pt idx="7316">3</cx:pt>
          <cx:pt idx="7317">2</cx:pt>
          <cx:pt idx="7318">4</cx:pt>
          <cx:pt idx="7319">3</cx:pt>
          <cx:pt idx="7320">4</cx:pt>
          <cx:pt idx="7321">4</cx:pt>
          <cx:pt idx="7322">1</cx:pt>
          <cx:pt idx="7323">3</cx:pt>
          <cx:pt idx="7324">3</cx:pt>
          <cx:pt idx="7325">2</cx:pt>
          <cx:pt idx="7326">1</cx:pt>
          <cx:pt idx="7327">1</cx:pt>
          <cx:pt idx="7328">2</cx:pt>
          <cx:pt idx="7329">1</cx:pt>
          <cx:pt idx="7330">1</cx:pt>
          <cx:pt idx="7331">4</cx:pt>
          <cx:pt idx="7332">4</cx:pt>
          <cx:pt idx="7333">2</cx:pt>
          <cx:pt idx="7334">1</cx:pt>
          <cx:pt idx="7335">5</cx:pt>
          <cx:pt idx="7336">1</cx:pt>
          <cx:pt idx="7337">1</cx:pt>
          <cx:pt idx="7338">1</cx:pt>
          <cx:pt idx="7339">3</cx:pt>
          <cx:pt idx="7340">1</cx:pt>
          <cx:pt idx="7341">1</cx:pt>
          <cx:pt idx="7342">3</cx:pt>
          <cx:pt idx="7343">3</cx:pt>
          <cx:pt idx="7344">2</cx:pt>
          <cx:pt idx="7345">1</cx:pt>
          <cx:pt idx="7346">2</cx:pt>
          <cx:pt idx="7347">2</cx:pt>
          <cx:pt idx="7348">4</cx:pt>
          <cx:pt idx="7349">2</cx:pt>
          <cx:pt idx="7350">1</cx:pt>
          <cx:pt idx="7351">3</cx:pt>
          <cx:pt idx="7352">4</cx:pt>
          <cx:pt idx="7353">3</cx:pt>
          <cx:pt idx="7354">1</cx:pt>
          <cx:pt idx="7355">1</cx:pt>
          <cx:pt idx="7356">1</cx:pt>
          <cx:pt idx="7357">5</cx:pt>
          <cx:pt idx="7358">3</cx:pt>
          <cx:pt idx="7359">4</cx:pt>
          <cx:pt idx="7360">1</cx:pt>
          <cx:pt idx="7361">1</cx:pt>
          <cx:pt idx="7362">3</cx:pt>
          <cx:pt idx="7363">4</cx:pt>
          <cx:pt idx="7364">6</cx:pt>
          <cx:pt idx="7365">2</cx:pt>
          <cx:pt idx="7366">1</cx:pt>
          <cx:pt idx="7367">2</cx:pt>
          <cx:pt idx="7368">4</cx:pt>
          <cx:pt idx="7369">1</cx:pt>
          <cx:pt idx="7370">3</cx:pt>
          <cx:pt idx="7371">2</cx:pt>
          <cx:pt idx="7372">2</cx:pt>
          <cx:pt idx="7373">4</cx:pt>
          <cx:pt idx="7374">1</cx:pt>
          <cx:pt idx="7375">2</cx:pt>
          <cx:pt idx="7376">5</cx:pt>
          <cx:pt idx="7377">5</cx:pt>
          <cx:pt idx="7378">6</cx:pt>
          <cx:pt idx="7379">1</cx:pt>
          <cx:pt idx="7380">5</cx:pt>
          <cx:pt idx="7381">2</cx:pt>
          <cx:pt idx="7382">1</cx:pt>
          <cx:pt idx="7383">2</cx:pt>
          <cx:pt idx="7384">6</cx:pt>
          <cx:pt idx="7385">1</cx:pt>
          <cx:pt idx="7386">1</cx:pt>
          <cx:pt idx="7387">2</cx:pt>
          <cx:pt idx="7388">1</cx:pt>
          <cx:pt idx="7389">5</cx:pt>
          <cx:pt idx="7390">3</cx:pt>
          <cx:pt idx="7391">1</cx:pt>
          <cx:pt idx="7392">3</cx:pt>
          <cx:pt idx="7393">3</cx:pt>
          <cx:pt idx="7394">3</cx:pt>
          <cx:pt idx="7395">6</cx:pt>
          <cx:pt idx="7396">2</cx:pt>
          <cx:pt idx="7397">2</cx:pt>
          <cx:pt idx="7398">2</cx:pt>
          <cx:pt idx="7399">2</cx:pt>
          <cx:pt idx="7400">6</cx:pt>
          <cx:pt idx="7401">4</cx:pt>
          <cx:pt idx="7402">4</cx:pt>
          <cx:pt idx="7403">2</cx:pt>
          <cx:pt idx="7404">2</cx:pt>
          <cx:pt idx="7405">3</cx:pt>
          <cx:pt idx="7406">1</cx:pt>
          <cx:pt idx="7407">3</cx:pt>
          <cx:pt idx="7408">2</cx:pt>
          <cx:pt idx="7409">2</cx:pt>
          <cx:pt idx="7410">4</cx:pt>
          <cx:pt idx="7411">3</cx:pt>
          <cx:pt idx="7412">3</cx:pt>
          <cx:pt idx="7413">3</cx:pt>
          <cx:pt idx="7414">2</cx:pt>
          <cx:pt idx="7415">1</cx:pt>
          <cx:pt idx="7416">3</cx:pt>
          <cx:pt idx="7417">1</cx:pt>
          <cx:pt idx="7418">1</cx:pt>
          <cx:pt idx="7419">1</cx:pt>
          <cx:pt idx="7420">2</cx:pt>
          <cx:pt idx="7421">6</cx:pt>
          <cx:pt idx="7422">3</cx:pt>
          <cx:pt idx="7423">1</cx:pt>
          <cx:pt idx="7424">3</cx:pt>
          <cx:pt idx="7425">8</cx:pt>
          <cx:pt idx="7426">3</cx:pt>
          <cx:pt idx="7427">1</cx:pt>
          <cx:pt idx="7428">3</cx:pt>
          <cx:pt idx="7429">5</cx:pt>
          <cx:pt idx="7430">1</cx:pt>
          <cx:pt idx="7431">2</cx:pt>
          <cx:pt idx="7432">1</cx:pt>
          <cx:pt idx="7433">1</cx:pt>
          <cx:pt idx="7434">2</cx:pt>
          <cx:pt idx="7435">2</cx:pt>
          <cx:pt idx="7436">1</cx:pt>
          <cx:pt idx="7437">1</cx:pt>
          <cx:pt idx="7438">4</cx:pt>
          <cx:pt idx="7439">2</cx:pt>
          <cx:pt idx="7440">4</cx:pt>
          <cx:pt idx="7441">1</cx:pt>
          <cx:pt idx="7442">3</cx:pt>
          <cx:pt idx="7443">3</cx:pt>
          <cx:pt idx="7444">3</cx:pt>
          <cx:pt idx="7445">4</cx:pt>
          <cx:pt idx="7446">1</cx:pt>
          <cx:pt idx="7447">2</cx:pt>
          <cx:pt idx="7448">1</cx:pt>
          <cx:pt idx="7449">2</cx:pt>
          <cx:pt idx="7450">4</cx:pt>
          <cx:pt idx="7451">1</cx:pt>
          <cx:pt idx="7452">1</cx:pt>
          <cx:pt idx="7453">2</cx:pt>
          <cx:pt idx="7454">5</cx:pt>
          <cx:pt idx="7455">1</cx:pt>
          <cx:pt idx="7456">1</cx:pt>
          <cx:pt idx="7457">3</cx:pt>
          <cx:pt idx="7458">4</cx:pt>
          <cx:pt idx="7459">1</cx:pt>
          <cx:pt idx="7460">1</cx:pt>
          <cx:pt idx="7461">2</cx:pt>
          <cx:pt idx="7462">1</cx:pt>
          <cx:pt idx="7463">1</cx:pt>
          <cx:pt idx="7464">1</cx:pt>
          <cx:pt idx="7465">3</cx:pt>
          <cx:pt idx="7466">2</cx:pt>
          <cx:pt idx="7467">3</cx:pt>
          <cx:pt idx="7468">1</cx:pt>
          <cx:pt idx="7469">3</cx:pt>
          <cx:pt idx="7470">2</cx:pt>
          <cx:pt idx="7471">2</cx:pt>
          <cx:pt idx="7472">2</cx:pt>
          <cx:pt idx="7473">1</cx:pt>
          <cx:pt idx="7474">4</cx:pt>
          <cx:pt idx="7475">3</cx:pt>
          <cx:pt idx="7476">5</cx:pt>
          <cx:pt idx="7477">1</cx:pt>
          <cx:pt idx="7478">2</cx:pt>
          <cx:pt idx="7479">7</cx:pt>
          <cx:pt idx="7480">1</cx:pt>
          <cx:pt idx="7481">2</cx:pt>
          <cx:pt idx="7482">3</cx:pt>
          <cx:pt idx="7483">2</cx:pt>
          <cx:pt idx="7484">3</cx:pt>
          <cx:pt idx="7485">1</cx:pt>
          <cx:pt idx="7486">1</cx:pt>
          <cx:pt idx="7487">1</cx:pt>
          <cx:pt idx="7488">2</cx:pt>
          <cx:pt idx="7489">1</cx:pt>
          <cx:pt idx="7490">1</cx:pt>
          <cx:pt idx="7491">1</cx:pt>
          <cx:pt idx="7492">1</cx:pt>
          <cx:pt idx="7493">2</cx:pt>
          <cx:pt idx="7494">1</cx:pt>
          <cx:pt idx="7495">1</cx:pt>
          <cx:pt idx="7496">1</cx:pt>
          <cx:pt idx="7497">2</cx:pt>
          <cx:pt idx="7498">1</cx:pt>
          <cx:pt idx="7499">2</cx:pt>
          <cx:pt idx="7500">1</cx:pt>
          <cx:pt idx="7501">1</cx:pt>
          <cx:pt idx="7502">1</cx:pt>
          <cx:pt idx="7503">1</cx:pt>
          <cx:pt idx="7504">1</cx:pt>
          <cx:pt idx="7505">4</cx:pt>
          <cx:pt idx="7506">3</cx:pt>
          <cx:pt idx="7507">3</cx:pt>
          <cx:pt idx="7508">2</cx:pt>
          <cx:pt idx="7509">2</cx:pt>
          <cx:pt idx="7510">1</cx:pt>
          <cx:pt idx="7511">1</cx:pt>
          <cx:pt idx="7512">1</cx:pt>
          <cx:pt idx="7513">2</cx:pt>
          <cx:pt idx="7514">2</cx:pt>
          <cx:pt idx="7515">1</cx:pt>
          <cx:pt idx="7516">2</cx:pt>
          <cx:pt idx="7517">1</cx:pt>
          <cx:pt idx="7518">4</cx:pt>
          <cx:pt idx="7519">1</cx:pt>
          <cx:pt idx="7520">1</cx:pt>
          <cx:pt idx="7521">2</cx:pt>
          <cx:pt idx="7522">2</cx:pt>
          <cx:pt idx="7523">1</cx:pt>
          <cx:pt idx="7524">2</cx:pt>
          <cx:pt idx="7525">2</cx:pt>
          <cx:pt idx="7526">2</cx:pt>
          <cx:pt idx="7527">1</cx:pt>
          <cx:pt idx="7528">5</cx:pt>
          <cx:pt idx="7529">6</cx:pt>
          <cx:pt idx="7530">3</cx:pt>
          <cx:pt idx="7531">6</cx:pt>
          <cx:pt idx="7532">1</cx:pt>
          <cx:pt idx="7533">1</cx:pt>
          <cx:pt idx="7534">1</cx:pt>
          <cx:pt idx="7535">3</cx:pt>
          <cx:pt idx="7536">4</cx:pt>
          <cx:pt idx="7537">2</cx:pt>
          <cx:pt idx="7538">1</cx:pt>
          <cx:pt idx="7539">1</cx:pt>
          <cx:pt idx="7540">1</cx:pt>
          <cx:pt idx="7541">2</cx:pt>
          <cx:pt idx="7542">3</cx:pt>
          <cx:pt idx="7543">1</cx:pt>
          <cx:pt idx="7544">1</cx:pt>
          <cx:pt idx="7545">2</cx:pt>
          <cx:pt idx="7546">2</cx:pt>
          <cx:pt idx="7547">1</cx:pt>
          <cx:pt idx="7548">1</cx:pt>
          <cx:pt idx="7549">2</cx:pt>
          <cx:pt idx="7550">1</cx:pt>
          <cx:pt idx="7551">1</cx:pt>
          <cx:pt idx="7552">1</cx:pt>
          <cx:pt idx="7553">2</cx:pt>
          <cx:pt idx="7554">3</cx:pt>
          <cx:pt idx="7555">1</cx:pt>
          <cx:pt idx="7556">1</cx:pt>
          <cx:pt idx="7557">2</cx:pt>
          <cx:pt idx="7558">1</cx:pt>
          <cx:pt idx="7559">1</cx:pt>
          <cx:pt idx="7560">2</cx:pt>
          <cx:pt idx="7561">4</cx:pt>
          <cx:pt idx="7562">4</cx:pt>
          <cx:pt idx="7563">1</cx:pt>
          <cx:pt idx="7564">2</cx:pt>
          <cx:pt idx="7565">1</cx:pt>
          <cx:pt idx="7566">1</cx:pt>
          <cx:pt idx="7567">1</cx:pt>
          <cx:pt idx="7568">3</cx:pt>
          <cx:pt idx="7569">1</cx:pt>
          <cx:pt idx="7570">4</cx:pt>
          <cx:pt idx="7571">3</cx:pt>
          <cx:pt idx="7572">4</cx:pt>
          <cx:pt idx="7573">2</cx:pt>
          <cx:pt idx="7574">3</cx:pt>
          <cx:pt idx="7575">4</cx:pt>
          <cx:pt idx="7576">3</cx:pt>
          <cx:pt idx="7577">4</cx:pt>
          <cx:pt idx="7578">3</cx:pt>
          <cx:pt idx="7579">1</cx:pt>
          <cx:pt idx="7580">1</cx:pt>
          <cx:pt idx="7581">7</cx:pt>
          <cx:pt idx="7582">1</cx:pt>
          <cx:pt idx="7583">2</cx:pt>
          <cx:pt idx="7584">1</cx:pt>
          <cx:pt idx="7585">4</cx:pt>
          <cx:pt idx="7586">2</cx:pt>
          <cx:pt idx="7587">1</cx:pt>
          <cx:pt idx="7588">1</cx:pt>
          <cx:pt idx="7589">5</cx:pt>
          <cx:pt idx="7590">1</cx:pt>
          <cx:pt idx="7591">2</cx:pt>
          <cx:pt idx="7592">2</cx:pt>
          <cx:pt idx="7593">4</cx:pt>
          <cx:pt idx="7594">2</cx:pt>
          <cx:pt idx="7595">3</cx:pt>
          <cx:pt idx="7596">1</cx:pt>
          <cx:pt idx="7597">2</cx:pt>
          <cx:pt idx="7598">1</cx:pt>
          <cx:pt idx="7599">2</cx:pt>
          <cx:pt idx="7600">2</cx:pt>
          <cx:pt idx="7601">2</cx:pt>
          <cx:pt idx="7602">2</cx:pt>
          <cx:pt idx="7603">1</cx:pt>
          <cx:pt idx="7604">3</cx:pt>
          <cx:pt idx="7605">5</cx:pt>
          <cx:pt idx="7606">1</cx:pt>
          <cx:pt idx="7607">1</cx:pt>
          <cx:pt idx="7608">1</cx:pt>
          <cx:pt idx="7609">1</cx:pt>
          <cx:pt idx="7610">3</cx:pt>
          <cx:pt idx="7611">1</cx:pt>
          <cx:pt idx="7612">2</cx:pt>
          <cx:pt idx="7613">4</cx:pt>
          <cx:pt idx="7614">1</cx:pt>
          <cx:pt idx="7615">1</cx:pt>
          <cx:pt idx="7616">5</cx:pt>
          <cx:pt idx="7617">4</cx:pt>
          <cx:pt idx="7618">1</cx:pt>
          <cx:pt idx="7619">3</cx:pt>
          <cx:pt idx="7620">1</cx:pt>
          <cx:pt idx="7621">1</cx:pt>
          <cx:pt idx="7622">2</cx:pt>
          <cx:pt idx="7623">1</cx:pt>
          <cx:pt idx="7624">8</cx:pt>
          <cx:pt idx="7625">1</cx:pt>
          <cx:pt idx="7626">4</cx:pt>
          <cx:pt idx="7627">2</cx:pt>
          <cx:pt idx="7628">4</cx:pt>
          <cx:pt idx="7629">2</cx:pt>
          <cx:pt idx="7630">2</cx:pt>
          <cx:pt idx="7631">1</cx:pt>
          <cx:pt idx="7632">2</cx:pt>
          <cx:pt idx="7633">1</cx:pt>
          <cx:pt idx="7634">3</cx:pt>
          <cx:pt idx="7635">1</cx:pt>
          <cx:pt idx="7636">2</cx:pt>
          <cx:pt idx="7637">4</cx:pt>
          <cx:pt idx="7638">2</cx:pt>
          <cx:pt idx="7639">2</cx:pt>
          <cx:pt idx="7640">2</cx:pt>
          <cx:pt idx="7641">1</cx:pt>
          <cx:pt idx="7642">1</cx:pt>
          <cx:pt idx="7643">2</cx:pt>
          <cx:pt idx="7644">1</cx:pt>
          <cx:pt idx="7645">2</cx:pt>
          <cx:pt idx="7646">2</cx:pt>
          <cx:pt idx="7647">2</cx:pt>
          <cx:pt idx="7648">2</cx:pt>
          <cx:pt idx="7649">2</cx:pt>
          <cx:pt idx="7650">3</cx:pt>
          <cx:pt idx="7651">4</cx:pt>
          <cx:pt idx="7652">3</cx:pt>
          <cx:pt idx="7653">2</cx:pt>
          <cx:pt idx="7654">2</cx:pt>
          <cx:pt idx="7655">1</cx:pt>
          <cx:pt idx="7656">2</cx:pt>
          <cx:pt idx="7657">2</cx:pt>
          <cx:pt idx="7658">1</cx:pt>
          <cx:pt idx="7659">1</cx:pt>
          <cx:pt idx="7660">4</cx:pt>
          <cx:pt idx="7661">6</cx:pt>
          <cx:pt idx="7662">1</cx:pt>
          <cx:pt idx="7663">1</cx:pt>
          <cx:pt idx="7664">4</cx:pt>
          <cx:pt idx="7665">1</cx:pt>
          <cx:pt idx="7666">2</cx:pt>
          <cx:pt idx="7667">4</cx:pt>
          <cx:pt idx="7668">3</cx:pt>
          <cx:pt idx="7669">3</cx:pt>
          <cx:pt idx="7670">2</cx:pt>
          <cx:pt idx="7671">2</cx:pt>
          <cx:pt idx="7672">1</cx:pt>
          <cx:pt idx="7673">4</cx:pt>
          <cx:pt idx="7674">6</cx:pt>
          <cx:pt idx="7675">1</cx:pt>
          <cx:pt idx="7676">1</cx:pt>
          <cx:pt idx="7677">1</cx:pt>
          <cx:pt idx="7678">1</cx:pt>
          <cx:pt idx="7679">3</cx:pt>
          <cx:pt idx="7680">3</cx:pt>
          <cx:pt idx="7681">2</cx:pt>
          <cx:pt idx="7682">1</cx:pt>
          <cx:pt idx="7683">1</cx:pt>
          <cx:pt idx="7684">2</cx:pt>
          <cx:pt idx="7685">3</cx:pt>
          <cx:pt idx="7686">2</cx:pt>
          <cx:pt idx="7687">3</cx:pt>
          <cx:pt idx="7688">1</cx:pt>
          <cx:pt idx="7689">2</cx:pt>
          <cx:pt idx="7690">5</cx:pt>
          <cx:pt idx="7691">1</cx:pt>
          <cx:pt idx="7692">1</cx:pt>
          <cx:pt idx="7693">1</cx:pt>
          <cx:pt idx="7694">2</cx:pt>
          <cx:pt idx="7695">2</cx:pt>
          <cx:pt idx="7696">1</cx:pt>
          <cx:pt idx="7697">4</cx:pt>
          <cx:pt idx="7698">5</cx:pt>
          <cx:pt idx="7699">3</cx:pt>
          <cx:pt idx="7700">6</cx:pt>
          <cx:pt idx="7701">4</cx:pt>
          <cx:pt idx="7702">2</cx:pt>
          <cx:pt idx="7703">2</cx:pt>
          <cx:pt idx="7704">2</cx:pt>
          <cx:pt idx="7705">1</cx:pt>
          <cx:pt idx="7706">3</cx:pt>
          <cx:pt idx="7707">1</cx:pt>
          <cx:pt idx="7708">3</cx:pt>
          <cx:pt idx="7709">2</cx:pt>
          <cx:pt idx="7710">1</cx:pt>
          <cx:pt idx="7711">1</cx:pt>
          <cx:pt idx="7712">3</cx:pt>
          <cx:pt idx="7713">2</cx:pt>
          <cx:pt idx="7714">2</cx:pt>
          <cx:pt idx="7715">3</cx:pt>
          <cx:pt idx="7716">2</cx:pt>
          <cx:pt idx="7717">3</cx:pt>
          <cx:pt idx="7718">4</cx:pt>
          <cx:pt idx="7719">2</cx:pt>
          <cx:pt idx="7720">4</cx:pt>
          <cx:pt idx="7721">1</cx:pt>
          <cx:pt idx="7722">1</cx:pt>
          <cx:pt idx="7723">2</cx:pt>
          <cx:pt idx="7724">2</cx:pt>
          <cx:pt idx="7725">3</cx:pt>
          <cx:pt idx="7726">3</cx:pt>
          <cx:pt idx="7727">5</cx:pt>
          <cx:pt idx="7728">3</cx:pt>
          <cx:pt idx="7729">5</cx:pt>
          <cx:pt idx="7730">1</cx:pt>
          <cx:pt idx="7731">2</cx:pt>
          <cx:pt idx="7732">1</cx:pt>
          <cx:pt idx="7733">2</cx:pt>
          <cx:pt idx="7734">2</cx:pt>
          <cx:pt idx="7735">1</cx:pt>
          <cx:pt idx="7736">3</cx:pt>
          <cx:pt idx="7737">2</cx:pt>
          <cx:pt idx="7738">2</cx:pt>
          <cx:pt idx="7739">1</cx:pt>
          <cx:pt idx="7740">2</cx:pt>
          <cx:pt idx="7741">1</cx:pt>
          <cx:pt idx="7742">2</cx:pt>
          <cx:pt idx="7743">3</cx:pt>
          <cx:pt idx="7744">2</cx:pt>
          <cx:pt idx="7745">4</cx:pt>
          <cx:pt idx="7746">3</cx:pt>
          <cx:pt idx="7747">2</cx:pt>
          <cx:pt idx="7748">3</cx:pt>
          <cx:pt idx="7749">3</cx:pt>
          <cx:pt idx="7750">3</cx:pt>
          <cx:pt idx="7751">3</cx:pt>
          <cx:pt idx="7752">2</cx:pt>
          <cx:pt idx="7753">1</cx:pt>
          <cx:pt idx="7754">5</cx:pt>
          <cx:pt idx="7755">3</cx:pt>
          <cx:pt idx="7756">3</cx:pt>
          <cx:pt idx="7757">1</cx:pt>
          <cx:pt idx="7758">2</cx:pt>
          <cx:pt idx="7759">2</cx:pt>
          <cx:pt idx="7760">3</cx:pt>
          <cx:pt idx="7761">1</cx:pt>
          <cx:pt idx="7762">3</cx:pt>
          <cx:pt idx="7763">6</cx:pt>
          <cx:pt idx="7764">4</cx:pt>
          <cx:pt idx="7765">1</cx:pt>
          <cx:pt idx="7766">1</cx:pt>
          <cx:pt idx="7767">1</cx:pt>
          <cx:pt idx="7768">2</cx:pt>
          <cx:pt idx="7769">1</cx:pt>
          <cx:pt idx="7770">3</cx:pt>
          <cx:pt idx="7771">4</cx:pt>
          <cx:pt idx="7772">2</cx:pt>
          <cx:pt idx="7773">4</cx:pt>
          <cx:pt idx="7774">2</cx:pt>
          <cx:pt idx="7775">1</cx:pt>
          <cx:pt idx="7776">5</cx:pt>
          <cx:pt idx="7777">1</cx:pt>
          <cx:pt idx="7778">2</cx:pt>
          <cx:pt idx="7779">4</cx:pt>
          <cx:pt idx="7780">3</cx:pt>
          <cx:pt idx="7781">1</cx:pt>
          <cx:pt idx="7782">6</cx:pt>
          <cx:pt idx="7783">4</cx:pt>
          <cx:pt idx="7784">2</cx:pt>
          <cx:pt idx="7785">2</cx:pt>
          <cx:pt idx="7786">2</cx:pt>
          <cx:pt idx="7787">4</cx:pt>
          <cx:pt idx="7788">2</cx:pt>
          <cx:pt idx="7789">6</cx:pt>
          <cx:pt idx="7790">1</cx:pt>
          <cx:pt idx="7791">2</cx:pt>
          <cx:pt idx="7792">4</cx:pt>
          <cx:pt idx="7793">3</cx:pt>
          <cx:pt idx="7794">1</cx:pt>
          <cx:pt idx="7795">3</cx:pt>
          <cx:pt idx="7796">2</cx:pt>
          <cx:pt idx="7797">2</cx:pt>
          <cx:pt idx="7798">3</cx:pt>
          <cx:pt idx="7799">3</cx:pt>
          <cx:pt idx="7800">4</cx:pt>
          <cx:pt idx="7801">3</cx:pt>
          <cx:pt idx="7802">2</cx:pt>
          <cx:pt idx="7803">2</cx:pt>
          <cx:pt idx="7804">2</cx:pt>
          <cx:pt idx="7805">3</cx:pt>
          <cx:pt idx="7806">1</cx:pt>
          <cx:pt idx="7807">1</cx:pt>
          <cx:pt idx="7808">1</cx:pt>
          <cx:pt idx="7809">2</cx:pt>
          <cx:pt idx="7810">1</cx:pt>
          <cx:pt idx="7811">1</cx:pt>
          <cx:pt idx="7812">4</cx:pt>
          <cx:pt idx="7813">5</cx:pt>
          <cx:pt idx="7814">2</cx:pt>
          <cx:pt idx="7815">4</cx:pt>
          <cx:pt idx="7816">2</cx:pt>
          <cx:pt idx="7817">2</cx:pt>
          <cx:pt idx="7818">2</cx:pt>
          <cx:pt idx="7819">1</cx:pt>
          <cx:pt idx="7820">3</cx:pt>
          <cx:pt idx="7821">2</cx:pt>
          <cx:pt idx="7822">4</cx:pt>
          <cx:pt idx="7823">2</cx:pt>
          <cx:pt idx="7824">2</cx:pt>
          <cx:pt idx="7825">2</cx:pt>
          <cx:pt idx="7826">2</cx:pt>
          <cx:pt idx="7827">1</cx:pt>
          <cx:pt idx="7828">3</cx:pt>
          <cx:pt idx="7829">3</cx:pt>
          <cx:pt idx="7830">1</cx:pt>
          <cx:pt idx="7831">2</cx:pt>
          <cx:pt idx="7832">8</cx:pt>
          <cx:pt idx="7833">3</cx:pt>
          <cx:pt idx="7834">1</cx:pt>
          <cx:pt idx="7835">1</cx:pt>
          <cx:pt idx="7836">4</cx:pt>
          <cx:pt idx="7837">2</cx:pt>
          <cx:pt idx="7838">1</cx:pt>
          <cx:pt idx="7839">2</cx:pt>
          <cx:pt idx="7840">1</cx:pt>
          <cx:pt idx="7841">1</cx:pt>
          <cx:pt idx="7842">1</cx:pt>
          <cx:pt idx="7843">3</cx:pt>
          <cx:pt idx="7844">1</cx:pt>
          <cx:pt idx="7845">1</cx:pt>
          <cx:pt idx="7846">2</cx:pt>
          <cx:pt idx="7847">4</cx:pt>
          <cx:pt idx="7848">1</cx:pt>
          <cx:pt idx="7849">2</cx:pt>
          <cx:pt idx="7850">1</cx:pt>
          <cx:pt idx="7851">2</cx:pt>
          <cx:pt idx="7852">2</cx:pt>
          <cx:pt idx="7853">5</cx:pt>
          <cx:pt idx="7854">4</cx:pt>
          <cx:pt idx="7855">1</cx:pt>
          <cx:pt idx="7856">5</cx:pt>
          <cx:pt idx="7857">1</cx:pt>
          <cx:pt idx="7858">3</cx:pt>
          <cx:pt idx="7859">3</cx:pt>
          <cx:pt idx="7860">1</cx:pt>
          <cx:pt idx="7861">1</cx:pt>
          <cx:pt idx="7862">4</cx:pt>
          <cx:pt idx="7863">1</cx:pt>
          <cx:pt idx="7864">3</cx:pt>
          <cx:pt idx="7865">4</cx:pt>
          <cx:pt idx="7866">1</cx:pt>
          <cx:pt idx="7867">1</cx:pt>
          <cx:pt idx="7868">2</cx:pt>
          <cx:pt idx="7869">5</cx:pt>
          <cx:pt idx="7870">1</cx:pt>
          <cx:pt idx="7871">2</cx:pt>
          <cx:pt idx="7872">6</cx:pt>
          <cx:pt idx="7873">2</cx:pt>
          <cx:pt idx="7874">2</cx:pt>
          <cx:pt idx="7875">4</cx:pt>
          <cx:pt idx="7876">2</cx:pt>
          <cx:pt idx="7877">4</cx:pt>
          <cx:pt idx="7878">2</cx:pt>
          <cx:pt idx="7879">2</cx:pt>
          <cx:pt idx="7880">1</cx:pt>
          <cx:pt idx="7881">1</cx:pt>
          <cx:pt idx="7882">3</cx:pt>
          <cx:pt idx="7883">1</cx:pt>
          <cx:pt idx="7884">1</cx:pt>
          <cx:pt idx="7885">3</cx:pt>
          <cx:pt idx="7886">1</cx:pt>
          <cx:pt idx="7887">1</cx:pt>
          <cx:pt idx="7888">2</cx:pt>
          <cx:pt idx="7889">4</cx:pt>
          <cx:pt idx="7890">2</cx:pt>
          <cx:pt idx="7891">2</cx:pt>
          <cx:pt idx="7892">3</cx:pt>
          <cx:pt idx="7893">1</cx:pt>
          <cx:pt idx="7894">1</cx:pt>
          <cx:pt idx="7895">3</cx:pt>
          <cx:pt idx="7896">4</cx:pt>
          <cx:pt idx="7897">1</cx:pt>
          <cx:pt idx="7898">2</cx:pt>
          <cx:pt idx="7899">1</cx:pt>
          <cx:pt idx="7900">1</cx:pt>
          <cx:pt idx="7901">2</cx:pt>
          <cx:pt idx="7902">1</cx:pt>
          <cx:pt idx="7903">4</cx:pt>
          <cx:pt idx="7904">2</cx:pt>
          <cx:pt idx="7905">1</cx:pt>
          <cx:pt idx="7906">1</cx:pt>
          <cx:pt idx="7907">3</cx:pt>
          <cx:pt idx="7908">2</cx:pt>
          <cx:pt idx="7909">2</cx:pt>
          <cx:pt idx="7910">1</cx:pt>
          <cx:pt idx="7911">6</cx:pt>
          <cx:pt idx="7912">1</cx:pt>
          <cx:pt idx="7913">3</cx:pt>
          <cx:pt idx="7914">3</cx:pt>
          <cx:pt idx="7915">1</cx:pt>
          <cx:pt idx="7916">1</cx:pt>
          <cx:pt idx="7917">2</cx:pt>
          <cx:pt idx="7918">2</cx:pt>
          <cx:pt idx="7919">2</cx:pt>
          <cx:pt idx="7920">2</cx:pt>
          <cx:pt idx="7921">1</cx:pt>
          <cx:pt idx="7922">1</cx:pt>
          <cx:pt idx="7923">3</cx:pt>
          <cx:pt idx="7924">3</cx:pt>
          <cx:pt idx="7925">2</cx:pt>
          <cx:pt idx="7926">2</cx:pt>
          <cx:pt idx="7927">4</cx:pt>
          <cx:pt idx="7928">2</cx:pt>
          <cx:pt idx="7929">1</cx:pt>
          <cx:pt idx="7930">3</cx:pt>
          <cx:pt idx="7931">2</cx:pt>
          <cx:pt idx="7932">3</cx:pt>
          <cx:pt idx="7933">1</cx:pt>
          <cx:pt idx="7934">1</cx:pt>
          <cx:pt idx="7935">2</cx:pt>
          <cx:pt idx="7936">3</cx:pt>
          <cx:pt idx="7937">1</cx:pt>
          <cx:pt idx="7938">1</cx:pt>
          <cx:pt idx="7939">3</cx:pt>
          <cx:pt idx="7940">2</cx:pt>
          <cx:pt idx="7941">2</cx:pt>
          <cx:pt idx="7942">1</cx:pt>
          <cx:pt idx="7943">3</cx:pt>
          <cx:pt idx="7944">1</cx:pt>
          <cx:pt idx="7945">1</cx:pt>
          <cx:pt idx="7946">2</cx:pt>
          <cx:pt idx="7947">2</cx:pt>
          <cx:pt idx="7948">1</cx:pt>
          <cx:pt idx="7949">1</cx:pt>
          <cx:pt idx="7950">2</cx:pt>
          <cx:pt idx="7951">2</cx:pt>
          <cx:pt idx="7952">1</cx:pt>
          <cx:pt idx="7953">3</cx:pt>
          <cx:pt idx="7954">2</cx:pt>
          <cx:pt idx="7955">3</cx:pt>
          <cx:pt idx="7956">1</cx:pt>
          <cx:pt idx="7957">1</cx:pt>
          <cx:pt idx="7958">4</cx:pt>
          <cx:pt idx="7959">2</cx:pt>
          <cx:pt idx="7960">3</cx:pt>
          <cx:pt idx="7961">2</cx:pt>
          <cx:pt idx="7962">3</cx:pt>
          <cx:pt idx="7963">4</cx:pt>
          <cx:pt idx="7964">2</cx:pt>
          <cx:pt idx="7965">2</cx:pt>
          <cx:pt idx="7966">2</cx:pt>
          <cx:pt idx="7967">2</cx:pt>
          <cx:pt idx="7968">2</cx:pt>
          <cx:pt idx="7969">2</cx:pt>
          <cx:pt idx="7970">3</cx:pt>
          <cx:pt idx="7971">3</cx:pt>
          <cx:pt idx="7972">4</cx:pt>
          <cx:pt idx="7973">4</cx:pt>
          <cx:pt idx="7974">1</cx:pt>
          <cx:pt idx="7975">1</cx:pt>
          <cx:pt idx="7976">5</cx:pt>
          <cx:pt idx="7977">1</cx:pt>
          <cx:pt idx="7978">1</cx:pt>
          <cx:pt idx="7979">1</cx:pt>
          <cx:pt idx="7980">2</cx:pt>
          <cx:pt idx="7981">3</cx:pt>
          <cx:pt idx="7982">2</cx:pt>
          <cx:pt idx="7983">1</cx:pt>
          <cx:pt idx="7984">1</cx:pt>
          <cx:pt idx="7985">2</cx:pt>
          <cx:pt idx="7986">1</cx:pt>
          <cx:pt idx="7987">1</cx:pt>
          <cx:pt idx="7988">1</cx:pt>
          <cx:pt idx="7989">3</cx:pt>
          <cx:pt idx="7990">2</cx:pt>
          <cx:pt idx="7991">2</cx:pt>
          <cx:pt idx="7992">1</cx:pt>
          <cx:pt idx="7993">1</cx:pt>
          <cx:pt idx="7994">3</cx:pt>
          <cx:pt idx="7995">2</cx:pt>
          <cx:pt idx="7996">2</cx:pt>
          <cx:pt idx="7997">1</cx:pt>
          <cx:pt idx="7998">1</cx:pt>
          <cx:pt idx="7999">1</cx:pt>
          <cx:pt idx="8000">2</cx:pt>
          <cx:pt idx="8001">2</cx:pt>
          <cx:pt idx="8002">1</cx:pt>
          <cx:pt idx="8003">1</cx:pt>
          <cx:pt idx="8004">2</cx:pt>
          <cx:pt idx="8005">4</cx:pt>
          <cx:pt idx="8006">1</cx:pt>
          <cx:pt idx="8007">2</cx:pt>
          <cx:pt idx="8008">2</cx:pt>
          <cx:pt idx="8009">3</cx:pt>
          <cx:pt idx="8010">4</cx:pt>
          <cx:pt idx="8011">4</cx:pt>
          <cx:pt idx="8012">1</cx:pt>
          <cx:pt idx="8013">2</cx:pt>
          <cx:pt idx="8014">2</cx:pt>
          <cx:pt idx="8015">2</cx:pt>
          <cx:pt idx="8016">4</cx:pt>
          <cx:pt idx="8017">1</cx:pt>
          <cx:pt idx="8018">1</cx:pt>
          <cx:pt idx="8019">2</cx:pt>
          <cx:pt idx="8020">3</cx:pt>
          <cx:pt idx="8021">3</cx:pt>
          <cx:pt idx="8022">2</cx:pt>
          <cx:pt idx="8023">2</cx:pt>
          <cx:pt idx="8024">5</cx:pt>
          <cx:pt idx="8025">2</cx:pt>
          <cx:pt idx="8026">2</cx:pt>
          <cx:pt idx="8027">2</cx:pt>
          <cx:pt idx="8028">2</cx:pt>
          <cx:pt idx="8029">3</cx:pt>
          <cx:pt idx="8030">3</cx:pt>
          <cx:pt idx="8031">1</cx:pt>
          <cx:pt idx="8032">1</cx:pt>
          <cx:pt idx="8033">3</cx:pt>
          <cx:pt idx="8034">3</cx:pt>
          <cx:pt idx="8035">3</cx:pt>
          <cx:pt idx="8036">2</cx:pt>
          <cx:pt idx="8037">4</cx:pt>
          <cx:pt idx="8038">3</cx:pt>
          <cx:pt idx="8039">3</cx:pt>
          <cx:pt idx="8040">2</cx:pt>
          <cx:pt idx="8041">6</cx:pt>
          <cx:pt idx="8042">1</cx:pt>
          <cx:pt idx="8043">1</cx:pt>
          <cx:pt idx="8044">2</cx:pt>
          <cx:pt idx="8045">1</cx:pt>
          <cx:pt idx="8046">1</cx:pt>
          <cx:pt idx="8047">1</cx:pt>
          <cx:pt idx="8048">1</cx:pt>
          <cx:pt idx="8049">3</cx:pt>
          <cx:pt idx="8050">1</cx:pt>
          <cx:pt idx="8051">1</cx:pt>
          <cx:pt idx="8052">3</cx:pt>
          <cx:pt idx="8053">2</cx:pt>
          <cx:pt idx="8054">1</cx:pt>
          <cx:pt idx="8055">5</cx:pt>
          <cx:pt idx="8056">4</cx:pt>
          <cx:pt idx="8057">1</cx:pt>
          <cx:pt idx="8058">2</cx:pt>
          <cx:pt idx="8059">2</cx:pt>
          <cx:pt idx="8060">3</cx:pt>
          <cx:pt idx="8061">2</cx:pt>
          <cx:pt idx="8062">1</cx:pt>
          <cx:pt idx="8063">2</cx:pt>
          <cx:pt idx="8064">3</cx:pt>
          <cx:pt idx="8065">2</cx:pt>
          <cx:pt idx="8066">2</cx:pt>
          <cx:pt idx="8067">4</cx:pt>
          <cx:pt idx="8068">1</cx:pt>
          <cx:pt idx="8069">3</cx:pt>
          <cx:pt idx="8070">4</cx:pt>
          <cx:pt idx="8071">1</cx:pt>
          <cx:pt idx="8072">2</cx:pt>
          <cx:pt idx="8073">2</cx:pt>
          <cx:pt idx="8074">2</cx:pt>
          <cx:pt idx="8075">1</cx:pt>
          <cx:pt idx="8076">1</cx:pt>
          <cx:pt idx="8077">1</cx:pt>
          <cx:pt idx="8078">2</cx:pt>
          <cx:pt idx="8079">1</cx:pt>
          <cx:pt idx="8080">2</cx:pt>
          <cx:pt idx="8081">1</cx:pt>
          <cx:pt idx="8082">1</cx:pt>
          <cx:pt idx="8083">1</cx:pt>
          <cx:pt idx="8084">3</cx:pt>
          <cx:pt idx="8085">3</cx:pt>
          <cx:pt idx="8086">2</cx:pt>
          <cx:pt idx="8087">1</cx:pt>
          <cx:pt idx="8088">1</cx:pt>
          <cx:pt idx="8089">5</cx:pt>
          <cx:pt idx="8090">1</cx:pt>
          <cx:pt idx="8091">2</cx:pt>
          <cx:pt idx="8092">2</cx:pt>
          <cx:pt idx="8093">1</cx:pt>
          <cx:pt idx="8094">1</cx:pt>
          <cx:pt idx="8095">2</cx:pt>
          <cx:pt idx="8096">1</cx:pt>
          <cx:pt idx="8097">1</cx:pt>
          <cx:pt idx="8098">4</cx:pt>
          <cx:pt idx="8099">4</cx:pt>
          <cx:pt idx="8100">2</cx:pt>
          <cx:pt idx="8101">1</cx:pt>
          <cx:pt idx="8102">1</cx:pt>
          <cx:pt idx="8103">2</cx:pt>
          <cx:pt idx="8104">2</cx:pt>
          <cx:pt idx="8105">4</cx:pt>
          <cx:pt idx="8106">1</cx:pt>
          <cx:pt idx="8107">1</cx:pt>
          <cx:pt idx="8108">1</cx:pt>
          <cx:pt idx="8109">1</cx:pt>
          <cx:pt idx="8110">1</cx:pt>
          <cx:pt idx="8111">3</cx:pt>
          <cx:pt idx="8112">1</cx:pt>
          <cx:pt idx="8113">3</cx:pt>
          <cx:pt idx="8114">4</cx:pt>
          <cx:pt idx="8115">3</cx:pt>
          <cx:pt idx="8116">4</cx:pt>
          <cx:pt idx="8117">3</cx:pt>
          <cx:pt idx="8118">4</cx:pt>
          <cx:pt idx="8119">2</cx:pt>
          <cx:pt idx="8120">3</cx:pt>
          <cx:pt idx="8121">2</cx:pt>
          <cx:pt idx="8122">3</cx:pt>
          <cx:pt idx="8123">1</cx:pt>
          <cx:pt idx="8124">3</cx:pt>
          <cx:pt idx="8125">3</cx:pt>
          <cx:pt idx="8126">3</cx:pt>
          <cx:pt idx="8127">1</cx:pt>
          <cx:pt idx="8128">3</cx:pt>
          <cx:pt idx="8129">1</cx:pt>
          <cx:pt idx="8130">3</cx:pt>
          <cx:pt idx="8131">3</cx:pt>
          <cx:pt idx="8132">2</cx:pt>
          <cx:pt idx="8133">2</cx:pt>
          <cx:pt idx="8134">4</cx:pt>
          <cx:pt idx="8135">4</cx:pt>
          <cx:pt idx="8136">1</cx:pt>
          <cx:pt idx="8137">2</cx:pt>
          <cx:pt idx="8138">2</cx:pt>
          <cx:pt idx="8139">2</cx:pt>
          <cx:pt idx="8140">2</cx:pt>
          <cx:pt idx="8141">1</cx:pt>
          <cx:pt idx="8142">2</cx:pt>
          <cx:pt idx="8143">2</cx:pt>
          <cx:pt idx="8144">3</cx:pt>
          <cx:pt idx="8145">3</cx:pt>
          <cx:pt idx="8146">1</cx:pt>
          <cx:pt idx="8147">1</cx:pt>
          <cx:pt idx="8148">1</cx:pt>
          <cx:pt idx="8149">1</cx:pt>
          <cx:pt idx="8150">2</cx:pt>
          <cx:pt idx="8151">1</cx:pt>
          <cx:pt idx="8152">1</cx:pt>
          <cx:pt idx="8153">2</cx:pt>
          <cx:pt idx="8154">1</cx:pt>
          <cx:pt idx="8155">2</cx:pt>
          <cx:pt idx="8156">2</cx:pt>
          <cx:pt idx="8157">4</cx:pt>
          <cx:pt idx="8158">1</cx:pt>
          <cx:pt idx="8159">1</cx:pt>
          <cx:pt idx="8160">4</cx:pt>
          <cx:pt idx="8161">2</cx:pt>
          <cx:pt idx="8162">1</cx:pt>
          <cx:pt idx="8163">2</cx:pt>
          <cx:pt idx="8164">1</cx:pt>
          <cx:pt idx="8165">4</cx:pt>
          <cx:pt idx="8166">1</cx:pt>
          <cx:pt idx="8167">3</cx:pt>
          <cx:pt idx="8168">1</cx:pt>
          <cx:pt idx="8169">2</cx:pt>
          <cx:pt idx="8170">4</cx:pt>
          <cx:pt idx="8171">1</cx:pt>
          <cx:pt idx="8172">3</cx:pt>
          <cx:pt idx="8173">3</cx:pt>
          <cx:pt idx="8174">1</cx:pt>
          <cx:pt idx="8175">4</cx:pt>
          <cx:pt idx="8176">3</cx:pt>
          <cx:pt idx="8177">1</cx:pt>
          <cx:pt idx="8178">4</cx:pt>
          <cx:pt idx="8179">2</cx:pt>
          <cx:pt idx="8180">1</cx:pt>
          <cx:pt idx="8181">4</cx:pt>
          <cx:pt idx="8182">4</cx:pt>
          <cx:pt idx="8183">1</cx:pt>
          <cx:pt idx="8184">2</cx:pt>
          <cx:pt idx="8185">3</cx:pt>
          <cx:pt idx="8186">1</cx:pt>
          <cx:pt idx="8187">4</cx:pt>
          <cx:pt idx="8188">1</cx:pt>
          <cx:pt idx="8189">3</cx:pt>
          <cx:pt idx="8190">2</cx:pt>
          <cx:pt idx="8191">1</cx:pt>
          <cx:pt idx="8192">1</cx:pt>
          <cx:pt idx="8193">1</cx:pt>
          <cx:pt idx="8194">1</cx:pt>
          <cx:pt idx="8195">2</cx:pt>
          <cx:pt idx="8196">3</cx:pt>
          <cx:pt idx="8197">2</cx:pt>
          <cx:pt idx="8198">4</cx:pt>
          <cx:pt idx="8199">1</cx:pt>
          <cx:pt idx="8200">2</cx:pt>
          <cx:pt idx="8201">4</cx:pt>
          <cx:pt idx="8202">2</cx:pt>
          <cx:pt idx="8203">1</cx:pt>
          <cx:pt idx="8204">3</cx:pt>
          <cx:pt idx="8205">1</cx:pt>
          <cx:pt idx="8206">2</cx:pt>
          <cx:pt idx="8207">3</cx:pt>
          <cx:pt idx="8208">3</cx:pt>
          <cx:pt idx="8209">5</cx:pt>
          <cx:pt idx="8210">3</cx:pt>
          <cx:pt idx="8211">1</cx:pt>
          <cx:pt idx="8212">1</cx:pt>
          <cx:pt idx="8213">2</cx:pt>
          <cx:pt idx="8214">4</cx:pt>
          <cx:pt idx="8215">2</cx:pt>
          <cx:pt idx="8216">1</cx:pt>
          <cx:pt idx="8217">1</cx:pt>
          <cx:pt idx="8218">1</cx:pt>
          <cx:pt idx="8219">3</cx:pt>
          <cx:pt idx="8220">1</cx:pt>
          <cx:pt idx="8221">4</cx:pt>
          <cx:pt idx="8222">3</cx:pt>
          <cx:pt idx="8223">2</cx:pt>
          <cx:pt idx="8224">1</cx:pt>
          <cx:pt idx="8225">3</cx:pt>
          <cx:pt idx="8226">4</cx:pt>
          <cx:pt idx="8227">2</cx:pt>
          <cx:pt idx="8228">1</cx:pt>
          <cx:pt idx="8229">5</cx:pt>
          <cx:pt idx="8230">1</cx:pt>
          <cx:pt idx="8231">2</cx:pt>
          <cx:pt idx="8232">1</cx:pt>
          <cx:pt idx="8233">1</cx:pt>
          <cx:pt idx="8234">2</cx:pt>
          <cx:pt idx="8235">1</cx:pt>
          <cx:pt idx="8236">5</cx:pt>
          <cx:pt idx="8237">2</cx:pt>
          <cx:pt idx="8238">4</cx:pt>
          <cx:pt idx="8239">2</cx:pt>
          <cx:pt idx="8240">2</cx:pt>
          <cx:pt idx="8241">2</cx:pt>
          <cx:pt idx="8242">4</cx:pt>
          <cx:pt idx="8243">1</cx:pt>
          <cx:pt idx="8244">6</cx:pt>
          <cx:pt idx="8245">4</cx:pt>
          <cx:pt idx="8246">3</cx:pt>
          <cx:pt idx="8247">2</cx:pt>
          <cx:pt idx="8248">4</cx:pt>
          <cx:pt idx="8249">2</cx:pt>
          <cx:pt idx="8250">3</cx:pt>
          <cx:pt idx="8251">3</cx:pt>
          <cx:pt idx="8252">4</cx:pt>
          <cx:pt idx="8253">3</cx:pt>
          <cx:pt idx="8254">1</cx:pt>
          <cx:pt idx="8255">6</cx:pt>
          <cx:pt idx="8256">2</cx:pt>
          <cx:pt idx="8257">4</cx:pt>
          <cx:pt idx="8258">1</cx:pt>
          <cx:pt idx="8259">4</cx:pt>
          <cx:pt idx="8260">2</cx:pt>
          <cx:pt idx="8261">1</cx:pt>
          <cx:pt idx="8262">1</cx:pt>
          <cx:pt idx="8263">1</cx:pt>
          <cx:pt idx="8264">1</cx:pt>
          <cx:pt idx="8265">2</cx:pt>
          <cx:pt idx="8266">2</cx:pt>
          <cx:pt idx="8267">1</cx:pt>
          <cx:pt idx="8268">2</cx:pt>
          <cx:pt idx="8269">6</cx:pt>
          <cx:pt idx="8270">3</cx:pt>
          <cx:pt idx="8271">2</cx:pt>
          <cx:pt idx="8272">1</cx:pt>
          <cx:pt idx="8273">2</cx:pt>
          <cx:pt idx="8274">4</cx:pt>
          <cx:pt idx="8275">2</cx:pt>
          <cx:pt idx="8276">1</cx:pt>
          <cx:pt idx="8277">1</cx:pt>
          <cx:pt idx="8278">1</cx:pt>
          <cx:pt idx="8279">1</cx:pt>
          <cx:pt idx="8280">3</cx:pt>
          <cx:pt idx="8281">1</cx:pt>
          <cx:pt idx="8282">1</cx:pt>
          <cx:pt idx="8283">2</cx:pt>
          <cx:pt idx="8284">2</cx:pt>
          <cx:pt idx="8285">2</cx:pt>
          <cx:pt idx="8286">2</cx:pt>
          <cx:pt idx="8287">2</cx:pt>
          <cx:pt idx="8288">1</cx:pt>
          <cx:pt idx="8289">1</cx:pt>
          <cx:pt idx="8290">1</cx:pt>
          <cx:pt idx="8291">1</cx:pt>
          <cx:pt idx="8292">2</cx:pt>
          <cx:pt idx="8293">5</cx:pt>
          <cx:pt idx="8294">2</cx:pt>
          <cx:pt idx="8295">2</cx:pt>
          <cx:pt idx="8296">2</cx:pt>
          <cx:pt idx="8297">2</cx:pt>
          <cx:pt idx="8298">1</cx:pt>
          <cx:pt idx="8299">1</cx:pt>
          <cx:pt idx="8300">1</cx:pt>
          <cx:pt idx="8301">2</cx:pt>
          <cx:pt idx="8302">3</cx:pt>
          <cx:pt idx="8303">2</cx:pt>
          <cx:pt idx="8304">2</cx:pt>
          <cx:pt idx="8305">2</cx:pt>
          <cx:pt idx="8306">1</cx:pt>
          <cx:pt idx="8307">1</cx:pt>
          <cx:pt idx="8308">4</cx:pt>
          <cx:pt idx="8309">3</cx:pt>
          <cx:pt idx="8310">2</cx:pt>
          <cx:pt idx="8311">1</cx:pt>
          <cx:pt idx="8312">2</cx:pt>
          <cx:pt idx="8313">1</cx:pt>
          <cx:pt idx="8314">2</cx:pt>
          <cx:pt idx="8315">2</cx:pt>
          <cx:pt idx="8316">3</cx:pt>
          <cx:pt idx="8317">2</cx:pt>
          <cx:pt idx="8318">2</cx:pt>
          <cx:pt idx="8319">1</cx:pt>
          <cx:pt idx="8320">2</cx:pt>
          <cx:pt idx="8321">1</cx:pt>
          <cx:pt idx="8322">3</cx:pt>
          <cx:pt idx="8323">2</cx:pt>
          <cx:pt idx="8324">1</cx:pt>
          <cx:pt idx="8325">1</cx:pt>
          <cx:pt idx="8326">3</cx:pt>
          <cx:pt idx="8327">2</cx:pt>
          <cx:pt idx="8328">2</cx:pt>
          <cx:pt idx="8329">1</cx:pt>
          <cx:pt idx="8330">2</cx:pt>
          <cx:pt idx="8331">1</cx:pt>
          <cx:pt idx="8332">3</cx:pt>
          <cx:pt idx="8333">2</cx:pt>
          <cx:pt idx="8334">1</cx:pt>
          <cx:pt idx="8335">6</cx:pt>
          <cx:pt idx="8336">2</cx:pt>
          <cx:pt idx="8337">1</cx:pt>
          <cx:pt idx="8338">2</cx:pt>
          <cx:pt idx="8339">2</cx:pt>
          <cx:pt idx="8340">2</cx:pt>
          <cx:pt idx="8341">3</cx:pt>
          <cx:pt idx="8342">1</cx:pt>
          <cx:pt idx="8343">2</cx:pt>
          <cx:pt idx="8344">2</cx:pt>
          <cx:pt idx="8345">1</cx:pt>
          <cx:pt idx="8346">2</cx:pt>
          <cx:pt idx="8347">3</cx:pt>
          <cx:pt idx="8348">3</cx:pt>
          <cx:pt idx="8349">3</cx:pt>
          <cx:pt idx="8350">2</cx:pt>
          <cx:pt idx="8351">4</cx:pt>
          <cx:pt idx="8352">2</cx:pt>
          <cx:pt idx="8353">4</cx:pt>
          <cx:pt idx="8354">1</cx:pt>
          <cx:pt idx="8355">1</cx:pt>
          <cx:pt idx="8356">3</cx:pt>
          <cx:pt idx="8357">4</cx:pt>
          <cx:pt idx="8358">2</cx:pt>
          <cx:pt idx="8359">1</cx:pt>
          <cx:pt idx="8360">3</cx:pt>
          <cx:pt idx="8361">2</cx:pt>
          <cx:pt idx="8362">1</cx:pt>
          <cx:pt idx="8363">1</cx:pt>
          <cx:pt idx="8364">3</cx:pt>
          <cx:pt idx="8365">2</cx:pt>
          <cx:pt idx="8366">2</cx:pt>
          <cx:pt idx="8367">1</cx:pt>
          <cx:pt idx="8368">4</cx:pt>
          <cx:pt idx="8369">1</cx:pt>
          <cx:pt idx="8370">3</cx:pt>
          <cx:pt idx="8371">2</cx:pt>
          <cx:pt idx="8372">1</cx:pt>
          <cx:pt idx="8373">1</cx:pt>
          <cx:pt idx="8374">1</cx:pt>
          <cx:pt idx="8375">2</cx:pt>
          <cx:pt idx="8376">1</cx:pt>
          <cx:pt idx="8377">2</cx:pt>
          <cx:pt idx="8378">3</cx:pt>
          <cx:pt idx="8379">2</cx:pt>
          <cx:pt idx="8380">1</cx:pt>
          <cx:pt idx="8381">1</cx:pt>
          <cx:pt idx="8382">1</cx:pt>
          <cx:pt idx="8383">2</cx:pt>
          <cx:pt idx="8384">3</cx:pt>
          <cx:pt idx="8385">1</cx:pt>
          <cx:pt idx="8386">2</cx:pt>
          <cx:pt idx="8387">4</cx:pt>
          <cx:pt idx="8388">2</cx:pt>
          <cx:pt idx="8389">5</cx:pt>
          <cx:pt idx="8390">1</cx:pt>
          <cx:pt idx="8391">2</cx:pt>
          <cx:pt idx="8392">2</cx:pt>
          <cx:pt idx="8393">1</cx:pt>
          <cx:pt idx="8394">2</cx:pt>
          <cx:pt idx="8395">3</cx:pt>
          <cx:pt idx="8396">4</cx:pt>
          <cx:pt idx="8397">2</cx:pt>
          <cx:pt idx="8398">2</cx:pt>
          <cx:pt idx="8399">5</cx:pt>
          <cx:pt idx="8400">1</cx:pt>
          <cx:pt idx="8401">1</cx:pt>
          <cx:pt idx="8402">5</cx:pt>
          <cx:pt idx="8403">1</cx:pt>
          <cx:pt idx="8404">1</cx:pt>
          <cx:pt idx="8405">2</cx:pt>
          <cx:pt idx="8406">1</cx:pt>
          <cx:pt idx="8407">2</cx:pt>
          <cx:pt idx="8408">4</cx:pt>
          <cx:pt idx="8409">1</cx:pt>
          <cx:pt idx="8410">5</cx:pt>
          <cx:pt idx="8411">1</cx:pt>
          <cx:pt idx="8412">2</cx:pt>
          <cx:pt idx="8413">2</cx:pt>
          <cx:pt idx="8414">1</cx:pt>
          <cx:pt idx="8415">1</cx:pt>
          <cx:pt idx="8416">1</cx:pt>
          <cx:pt idx="8417">1</cx:pt>
          <cx:pt idx="8418">1</cx:pt>
          <cx:pt idx="8419">4</cx:pt>
          <cx:pt idx="8420">1</cx:pt>
          <cx:pt idx="8421">1</cx:pt>
          <cx:pt idx="8422">2</cx:pt>
          <cx:pt idx="8423">3</cx:pt>
          <cx:pt idx="8424">3</cx:pt>
          <cx:pt idx="8425">2</cx:pt>
          <cx:pt idx="8426">3</cx:pt>
          <cx:pt idx="8427">1</cx:pt>
          <cx:pt idx="8428">4</cx:pt>
          <cx:pt idx="8429">2</cx:pt>
          <cx:pt idx="8430">2</cx:pt>
          <cx:pt idx="8431">5</cx:pt>
          <cx:pt idx="8432">2</cx:pt>
          <cx:pt idx="8433">1</cx:pt>
          <cx:pt idx="8434">1</cx:pt>
          <cx:pt idx="8435">1</cx:pt>
          <cx:pt idx="8436">5</cx:pt>
          <cx:pt idx="8437">2</cx:pt>
          <cx:pt idx="8438">4</cx:pt>
          <cx:pt idx="8439">2</cx:pt>
          <cx:pt idx="8440">3</cx:pt>
          <cx:pt idx="8441">2</cx:pt>
          <cx:pt idx="8442">2</cx:pt>
          <cx:pt idx="8443">1</cx:pt>
          <cx:pt idx="8444">3</cx:pt>
          <cx:pt idx="8445">2</cx:pt>
          <cx:pt idx="8446">4</cx:pt>
          <cx:pt idx="8447">3</cx:pt>
          <cx:pt idx="8448">6</cx:pt>
          <cx:pt idx="8449">7</cx:pt>
          <cx:pt idx="8450">1</cx:pt>
          <cx:pt idx="8451">1</cx:pt>
          <cx:pt idx="8452">1</cx:pt>
          <cx:pt idx="8453">2</cx:pt>
          <cx:pt idx="8454">2</cx:pt>
          <cx:pt idx="8455">2</cx:pt>
          <cx:pt idx="8456">2</cx:pt>
          <cx:pt idx="8457">1</cx:pt>
          <cx:pt idx="8458">1</cx:pt>
          <cx:pt idx="8459">1</cx:pt>
          <cx:pt idx="8460">2</cx:pt>
          <cx:pt idx="8461">4</cx:pt>
          <cx:pt idx="8462">1</cx:pt>
          <cx:pt idx="8463">1</cx:pt>
          <cx:pt idx="8464">1</cx:pt>
          <cx:pt idx="8465">2</cx:pt>
          <cx:pt idx="8466">3</cx:pt>
          <cx:pt idx="8467">1</cx:pt>
          <cx:pt idx="8468">3</cx:pt>
          <cx:pt idx="8469">3</cx:pt>
          <cx:pt idx="8470">1</cx:pt>
          <cx:pt idx="8471">2</cx:pt>
          <cx:pt idx="8472">2</cx:pt>
          <cx:pt idx="8473">1</cx:pt>
          <cx:pt idx="8474">2</cx:pt>
          <cx:pt idx="8475">1</cx:pt>
          <cx:pt idx="8476">3</cx:pt>
          <cx:pt idx="8477">2</cx:pt>
          <cx:pt idx="8478">2</cx:pt>
          <cx:pt idx="8479">1</cx:pt>
          <cx:pt idx="8480">2</cx:pt>
          <cx:pt idx="8481">2</cx:pt>
          <cx:pt idx="8482">2</cx:pt>
          <cx:pt idx="8483">1</cx:pt>
          <cx:pt idx="8484">3</cx:pt>
          <cx:pt idx="8485">3</cx:pt>
          <cx:pt idx="8486">3</cx:pt>
          <cx:pt idx="8487">1</cx:pt>
          <cx:pt idx="8488">3</cx:pt>
          <cx:pt idx="8489">4</cx:pt>
          <cx:pt idx="8490">4</cx:pt>
          <cx:pt idx="8491">1</cx:pt>
          <cx:pt idx="8492">2</cx:pt>
          <cx:pt idx="8493">1</cx:pt>
          <cx:pt idx="8494">3</cx:pt>
          <cx:pt idx="8495">2</cx:pt>
          <cx:pt idx="8496">1</cx:pt>
          <cx:pt idx="8497">2</cx:pt>
          <cx:pt idx="8498">1</cx:pt>
          <cx:pt idx="8499">2</cx:pt>
          <cx:pt idx="8500">3</cx:pt>
          <cx:pt idx="8501">2</cx:pt>
          <cx:pt idx="8502">3</cx:pt>
          <cx:pt idx="8503">1</cx:pt>
          <cx:pt idx="8504">1</cx:pt>
          <cx:pt idx="8505">2</cx:pt>
          <cx:pt idx="8506">6</cx:pt>
          <cx:pt idx="8507">1</cx:pt>
          <cx:pt idx="8508">2</cx:pt>
          <cx:pt idx="8509">4</cx:pt>
          <cx:pt idx="8510">4</cx:pt>
          <cx:pt idx="8511">2</cx:pt>
          <cx:pt idx="8512">2</cx:pt>
          <cx:pt idx="8513">2</cx:pt>
          <cx:pt idx="8514">2</cx:pt>
          <cx:pt idx="8515">2</cx:pt>
          <cx:pt idx="8516">3</cx:pt>
          <cx:pt idx="8517">3</cx:pt>
          <cx:pt idx="8518">3</cx:pt>
          <cx:pt idx="8519">3</cx:pt>
          <cx:pt idx="8520">3</cx:pt>
          <cx:pt idx="8521">4</cx:pt>
          <cx:pt idx="8522">2</cx:pt>
          <cx:pt idx="8523">3</cx:pt>
          <cx:pt idx="8524">2</cx:pt>
          <cx:pt idx="8525">1</cx:pt>
          <cx:pt idx="8526">1</cx:pt>
          <cx:pt idx="8527">2</cx:pt>
          <cx:pt idx="8528">2</cx:pt>
          <cx:pt idx="8529">4</cx:pt>
          <cx:pt idx="8530">1</cx:pt>
          <cx:pt idx="8531">3</cx:pt>
          <cx:pt idx="8532">1</cx:pt>
          <cx:pt idx="8533">2</cx:pt>
          <cx:pt idx="8534">2</cx:pt>
          <cx:pt idx="8535">1</cx:pt>
          <cx:pt idx="8536">2</cx:pt>
          <cx:pt idx="8537">2</cx:pt>
          <cx:pt idx="8538">2</cx:pt>
          <cx:pt idx="8539">2</cx:pt>
          <cx:pt idx="8540">2</cx:pt>
          <cx:pt idx="8541">4</cx:pt>
          <cx:pt idx="8542">3</cx:pt>
          <cx:pt idx="8543">6</cx:pt>
          <cx:pt idx="8544">1</cx:pt>
          <cx:pt idx="8545">2</cx:pt>
          <cx:pt idx="8546">2</cx:pt>
          <cx:pt idx="8547">1</cx:pt>
          <cx:pt idx="8548">3</cx:pt>
          <cx:pt idx="8549">1</cx:pt>
          <cx:pt idx="8550">1</cx:pt>
          <cx:pt idx="8551">1</cx:pt>
          <cx:pt idx="8552">2</cx:pt>
          <cx:pt idx="8553">4</cx:pt>
          <cx:pt idx="8554">3</cx:pt>
          <cx:pt idx="8555">1</cx:pt>
          <cx:pt idx="8556">3</cx:pt>
          <cx:pt idx="8557">5</cx:pt>
          <cx:pt idx="8558">3</cx:pt>
          <cx:pt idx="8559">3</cx:pt>
          <cx:pt idx="8560">3</cx:pt>
          <cx:pt idx="8561">2</cx:pt>
          <cx:pt idx="8562">3</cx:pt>
          <cx:pt idx="8563">1</cx:pt>
          <cx:pt idx="8564">6</cx:pt>
          <cx:pt idx="8565">3</cx:pt>
          <cx:pt idx="8566">1</cx:pt>
          <cx:pt idx="8567">3</cx:pt>
          <cx:pt idx="8568">3</cx:pt>
          <cx:pt idx="8569">2</cx:pt>
          <cx:pt idx="8570">1</cx:pt>
          <cx:pt idx="8571">1</cx:pt>
          <cx:pt idx="8572">2</cx:pt>
          <cx:pt idx="8573">1</cx:pt>
          <cx:pt idx="8574">1</cx:pt>
          <cx:pt idx="8575">4</cx:pt>
          <cx:pt idx="8576">3</cx:pt>
          <cx:pt idx="8577">1</cx:pt>
          <cx:pt idx="8578">2</cx:pt>
          <cx:pt idx="8579">1</cx:pt>
          <cx:pt idx="8580">2</cx:pt>
          <cx:pt idx="8581">1</cx:pt>
          <cx:pt idx="8582">1</cx:pt>
          <cx:pt idx="8583">1</cx:pt>
          <cx:pt idx="8584">2</cx:pt>
          <cx:pt idx="8585">4</cx:pt>
          <cx:pt idx="8586">3</cx:pt>
          <cx:pt idx="8587">1</cx:pt>
          <cx:pt idx="8588">3</cx:pt>
          <cx:pt idx="8589">4</cx:pt>
          <cx:pt idx="8590">3</cx:pt>
          <cx:pt idx="8591">1</cx:pt>
          <cx:pt idx="8592">2</cx:pt>
          <cx:pt idx="8593">1</cx:pt>
          <cx:pt idx="8594">2</cx:pt>
          <cx:pt idx="8595">3</cx:pt>
          <cx:pt idx="8596">8</cx:pt>
          <cx:pt idx="8597">4</cx:pt>
          <cx:pt idx="8598">1</cx:pt>
          <cx:pt idx="8599">2</cx:pt>
          <cx:pt idx="8600">1</cx:pt>
          <cx:pt idx="8601">1</cx:pt>
          <cx:pt idx="8602">3</cx:pt>
          <cx:pt idx="8603">2</cx:pt>
          <cx:pt idx="8604">3</cx:pt>
          <cx:pt idx="8605">1</cx:pt>
          <cx:pt idx="8606">3</cx:pt>
          <cx:pt idx="8607">4</cx:pt>
          <cx:pt idx="8608">1</cx:pt>
          <cx:pt idx="8609">3</cx:pt>
          <cx:pt idx="8610">1</cx:pt>
          <cx:pt idx="8611">2</cx:pt>
          <cx:pt idx="8612">2</cx:pt>
          <cx:pt idx="8613">3</cx:pt>
          <cx:pt idx="8614">2</cx:pt>
          <cx:pt idx="8615">4</cx:pt>
          <cx:pt idx="8616">1</cx:pt>
          <cx:pt idx="8617">2</cx:pt>
          <cx:pt idx="8618">7</cx:pt>
          <cx:pt idx="8619">1</cx:pt>
          <cx:pt idx="8620">2</cx:pt>
          <cx:pt idx="8621">3</cx:pt>
          <cx:pt idx="8622">1</cx:pt>
          <cx:pt idx="8623">4</cx:pt>
          <cx:pt idx="8624">1</cx:pt>
          <cx:pt idx="8625">1</cx:pt>
          <cx:pt idx="8626">3</cx:pt>
          <cx:pt idx="8627">1</cx:pt>
          <cx:pt idx="8628">5</cx:pt>
          <cx:pt idx="8629">4</cx:pt>
          <cx:pt idx="8630">2</cx:pt>
          <cx:pt idx="8631">2</cx:pt>
          <cx:pt idx="8632">2</cx:pt>
          <cx:pt idx="8633">2</cx:pt>
          <cx:pt idx="8634">2</cx:pt>
          <cx:pt idx="8635">2</cx:pt>
          <cx:pt idx="8636">1</cx:pt>
          <cx:pt idx="8637">2</cx:pt>
          <cx:pt idx="8638">4</cx:pt>
          <cx:pt idx="8639">9</cx:pt>
          <cx:pt idx="8640">1</cx:pt>
          <cx:pt idx="8641">2</cx:pt>
          <cx:pt idx="8642">1</cx:pt>
          <cx:pt idx="8643">3</cx:pt>
          <cx:pt idx="8644">3</cx:pt>
          <cx:pt idx="8645">1</cx:pt>
          <cx:pt idx="8646">2</cx:pt>
          <cx:pt idx="8647">2</cx:pt>
          <cx:pt idx="8648">1</cx:pt>
          <cx:pt idx="8649">4</cx:pt>
          <cx:pt idx="8650">4</cx:pt>
          <cx:pt idx="8651">2</cx:pt>
          <cx:pt idx="8652">5</cx:pt>
          <cx:pt idx="8653">3</cx:pt>
          <cx:pt idx="8654">1</cx:pt>
          <cx:pt idx="8655">4</cx:pt>
          <cx:pt idx="8656">1</cx:pt>
          <cx:pt idx="8657">1</cx:pt>
          <cx:pt idx="8658">1</cx:pt>
          <cx:pt idx="8659">1</cx:pt>
          <cx:pt idx="8660">2</cx:pt>
          <cx:pt idx="8661">1</cx:pt>
          <cx:pt idx="8662">1</cx:pt>
          <cx:pt idx="8663">5</cx:pt>
          <cx:pt idx="8664">2</cx:pt>
          <cx:pt idx="8665">3</cx:pt>
          <cx:pt idx="8666">1</cx:pt>
          <cx:pt idx="8667">3</cx:pt>
          <cx:pt idx="8668">1</cx:pt>
          <cx:pt idx="8669">1</cx:pt>
          <cx:pt idx="8670">1</cx:pt>
          <cx:pt idx="8671">1</cx:pt>
          <cx:pt idx="8672">6</cx:pt>
          <cx:pt idx="8673">4</cx:pt>
          <cx:pt idx="8674">2</cx:pt>
          <cx:pt idx="8675">6</cx:pt>
          <cx:pt idx="8676">1</cx:pt>
          <cx:pt idx="8677">1</cx:pt>
          <cx:pt idx="8678">3</cx:pt>
          <cx:pt idx="8679">1</cx:pt>
          <cx:pt idx="8680">5</cx:pt>
          <cx:pt idx="8681">1</cx:pt>
          <cx:pt idx="8682">4</cx:pt>
          <cx:pt idx="8683">3</cx:pt>
          <cx:pt idx="8684">2</cx:pt>
          <cx:pt idx="8685">4</cx:pt>
          <cx:pt idx="8686">6</cx:pt>
          <cx:pt idx="8687">1</cx:pt>
          <cx:pt idx="8688">1</cx:pt>
          <cx:pt idx="8689">3</cx:pt>
          <cx:pt idx="8690">2</cx:pt>
          <cx:pt idx="8691">4</cx:pt>
          <cx:pt idx="8692">6</cx:pt>
          <cx:pt idx="8693">4</cx:pt>
          <cx:pt idx="8694">2</cx:pt>
          <cx:pt idx="8695">2</cx:pt>
          <cx:pt idx="8696">1</cx:pt>
          <cx:pt idx="8697">1</cx:pt>
          <cx:pt idx="8698">2</cx:pt>
          <cx:pt idx="8699">2</cx:pt>
          <cx:pt idx="8700">2</cx:pt>
          <cx:pt idx="8701">3</cx:pt>
          <cx:pt idx="8702">1</cx:pt>
          <cx:pt idx="8703">1</cx:pt>
          <cx:pt idx="8704">2</cx:pt>
          <cx:pt idx="8705">2</cx:pt>
          <cx:pt idx="8706">2</cx:pt>
          <cx:pt idx="8707">2</cx:pt>
          <cx:pt idx="8708">2</cx:pt>
          <cx:pt idx="8709">2</cx:pt>
          <cx:pt idx="8710">2</cx:pt>
          <cx:pt idx="8711">1</cx:pt>
          <cx:pt idx="8712">1</cx:pt>
          <cx:pt idx="8713">2</cx:pt>
          <cx:pt idx="8714">2</cx:pt>
          <cx:pt idx="8715">3</cx:pt>
          <cx:pt idx="8716">2</cx:pt>
          <cx:pt idx="8717">2</cx:pt>
          <cx:pt idx="8718">4</cx:pt>
          <cx:pt idx="8719">1</cx:pt>
          <cx:pt idx="8720">3</cx:pt>
          <cx:pt idx="8721">1</cx:pt>
          <cx:pt idx="8722">1</cx:pt>
          <cx:pt idx="8723">7</cx:pt>
          <cx:pt idx="8724">1</cx:pt>
          <cx:pt idx="8725">3</cx:pt>
          <cx:pt idx="8726">2</cx:pt>
          <cx:pt idx="8727">5</cx:pt>
          <cx:pt idx="8728">3</cx:pt>
          <cx:pt idx="8729">1</cx:pt>
          <cx:pt idx="8730">2</cx:pt>
          <cx:pt idx="8731">2</cx:pt>
          <cx:pt idx="8732">2</cx:pt>
          <cx:pt idx="8733">1</cx:pt>
          <cx:pt idx="8734">1</cx:pt>
          <cx:pt idx="8735">2</cx:pt>
          <cx:pt idx="8736">1</cx:pt>
          <cx:pt idx="8737">1</cx:pt>
          <cx:pt idx="8738">2</cx:pt>
          <cx:pt idx="8739">1</cx:pt>
          <cx:pt idx="8740">1</cx:pt>
          <cx:pt idx="8741">2</cx:pt>
          <cx:pt idx="8742">1</cx:pt>
          <cx:pt idx="8743">3</cx:pt>
          <cx:pt idx="8744">3</cx:pt>
          <cx:pt idx="8745">1</cx:pt>
          <cx:pt idx="8746">2</cx:pt>
          <cx:pt idx="8747">1</cx:pt>
          <cx:pt idx="8748">3</cx:pt>
          <cx:pt idx="8749">2</cx:pt>
          <cx:pt idx="8750">3</cx:pt>
          <cx:pt idx="8751">4</cx:pt>
          <cx:pt idx="8752">3</cx:pt>
          <cx:pt idx="8753">3</cx:pt>
          <cx:pt idx="8754">1</cx:pt>
          <cx:pt idx="8755">1</cx:pt>
          <cx:pt idx="8756">1</cx:pt>
          <cx:pt idx="8757">1</cx:pt>
          <cx:pt idx="8758">1</cx:pt>
          <cx:pt idx="8759">3</cx:pt>
          <cx:pt idx="8760">2</cx:pt>
          <cx:pt idx="8761">1</cx:pt>
          <cx:pt idx="8762">4</cx:pt>
          <cx:pt idx="8763">3</cx:pt>
          <cx:pt idx="8764">2</cx:pt>
          <cx:pt idx="8765">4</cx:pt>
          <cx:pt idx="8766">6</cx:pt>
          <cx:pt idx="8767">2</cx:pt>
          <cx:pt idx="8768">2</cx:pt>
          <cx:pt idx="8769">2</cx:pt>
          <cx:pt idx="8770">2</cx:pt>
          <cx:pt idx="8771">1</cx:pt>
          <cx:pt idx="8772">2</cx:pt>
          <cx:pt idx="8773">2</cx:pt>
          <cx:pt idx="8774">3</cx:pt>
          <cx:pt idx="8775">3</cx:pt>
          <cx:pt idx="8776">2</cx:pt>
          <cx:pt idx="8777">1</cx:pt>
          <cx:pt idx="8778">4</cx:pt>
          <cx:pt idx="8779">1</cx:pt>
          <cx:pt idx="8780">1</cx:pt>
          <cx:pt idx="8781">1</cx:pt>
          <cx:pt idx="8782">2</cx:pt>
          <cx:pt idx="8783">2</cx:pt>
          <cx:pt idx="8784">2</cx:pt>
          <cx:pt idx="8785">2</cx:pt>
          <cx:pt idx="8786">2</cx:pt>
          <cx:pt idx="8787">2</cx:pt>
          <cx:pt idx="8788">3</cx:pt>
          <cx:pt idx="8789">1</cx:pt>
          <cx:pt idx="8790">1</cx:pt>
          <cx:pt idx="8791">3</cx:pt>
          <cx:pt idx="8792">1</cx:pt>
          <cx:pt idx="8793">3</cx:pt>
          <cx:pt idx="8794">2</cx:pt>
          <cx:pt idx="8795">1</cx:pt>
          <cx:pt idx="8796">1</cx:pt>
          <cx:pt idx="8797">2</cx:pt>
          <cx:pt idx="8798">1</cx:pt>
          <cx:pt idx="8799">1</cx:pt>
          <cx:pt idx="8800">5</cx:pt>
          <cx:pt idx="8801">2</cx:pt>
          <cx:pt idx="8802">2</cx:pt>
          <cx:pt idx="8803">1</cx:pt>
          <cx:pt idx="8804">1</cx:pt>
          <cx:pt idx="8805">1</cx:pt>
          <cx:pt idx="8806">4</cx:pt>
          <cx:pt idx="8807">2</cx:pt>
          <cx:pt idx="8808">1</cx:pt>
          <cx:pt idx="8809">4</cx:pt>
          <cx:pt idx="8810">1</cx:pt>
          <cx:pt idx="8811">5</cx:pt>
          <cx:pt idx="8812">5</cx:pt>
          <cx:pt idx="8813">1</cx:pt>
          <cx:pt idx="8814">4</cx:pt>
          <cx:pt idx="8815">1</cx:pt>
          <cx:pt idx="8816">3</cx:pt>
          <cx:pt idx="8817">1</cx:pt>
          <cx:pt idx="8818">4</cx:pt>
          <cx:pt idx="8819">2</cx:pt>
          <cx:pt idx="8820">2</cx:pt>
          <cx:pt idx="8821">2</cx:pt>
          <cx:pt idx="8822">3</cx:pt>
          <cx:pt idx="8823">3</cx:pt>
          <cx:pt idx="8824">3</cx:pt>
          <cx:pt idx="8825">4</cx:pt>
          <cx:pt idx="8826">3</cx:pt>
          <cx:pt idx="8827">4</cx:pt>
          <cx:pt idx="8828">1</cx:pt>
          <cx:pt idx="8829">1</cx:pt>
          <cx:pt idx="8830">1</cx:pt>
          <cx:pt idx="8831">2</cx:pt>
          <cx:pt idx="8832">3</cx:pt>
          <cx:pt idx="8833">1</cx:pt>
          <cx:pt idx="8834">1</cx:pt>
          <cx:pt idx="8835">1</cx:pt>
          <cx:pt idx="8836">1</cx:pt>
          <cx:pt idx="8837">4</cx:pt>
          <cx:pt idx="8838">1</cx:pt>
          <cx:pt idx="8839">1</cx:pt>
          <cx:pt idx="8840">1</cx:pt>
          <cx:pt idx="8841">2</cx:pt>
          <cx:pt idx="8842">2</cx:pt>
          <cx:pt idx="8843">1</cx:pt>
          <cx:pt idx="8844">3</cx:pt>
          <cx:pt idx="8845">2</cx:pt>
          <cx:pt idx="8846">1</cx:pt>
          <cx:pt idx="8847">3</cx:pt>
          <cx:pt idx="8848">3</cx:pt>
          <cx:pt idx="8849">1</cx:pt>
          <cx:pt idx="8850">2</cx:pt>
          <cx:pt idx="8851">2</cx:pt>
          <cx:pt idx="8852">2</cx:pt>
          <cx:pt idx="8853">5</cx:pt>
          <cx:pt idx="8854">1</cx:pt>
          <cx:pt idx="8855">1</cx:pt>
          <cx:pt idx="8856">1</cx:pt>
          <cx:pt idx="8857">1</cx:pt>
          <cx:pt idx="8858">3</cx:pt>
          <cx:pt idx="8859">2</cx:pt>
          <cx:pt idx="8860">5</cx:pt>
          <cx:pt idx="8861">2</cx:pt>
          <cx:pt idx="8862">1</cx:pt>
          <cx:pt idx="8863">2</cx:pt>
          <cx:pt idx="8864">1</cx:pt>
          <cx:pt idx="8865">3</cx:pt>
          <cx:pt idx="8866">2</cx:pt>
          <cx:pt idx="8867">3</cx:pt>
          <cx:pt idx="8868">4</cx:pt>
          <cx:pt idx="8869">2</cx:pt>
          <cx:pt idx="8870">3</cx:pt>
          <cx:pt idx="8871">2</cx:pt>
          <cx:pt idx="8872">2</cx:pt>
          <cx:pt idx="8873">5</cx:pt>
          <cx:pt idx="8874">1</cx:pt>
          <cx:pt idx="8875">3</cx:pt>
          <cx:pt idx="8876">4</cx:pt>
          <cx:pt idx="8877">3</cx:pt>
          <cx:pt idx="8878">1</cx:pt>
          <cx:pt idx="8879">1</cx:pt>
          <cx:pt idx="8880">4</cx:pt>
          <cx:pt idx="8881">3</cx:pt>
          <cx:pt idx="8882">4</cx:pt>
          <cx:pt idx="8883">2</cx:pt>
          <cx:pt idx="8884">3</cx:pt>
          <cx:pt idx="8885">2</cx:pt>
          <cx:pt idx="8886">5</cx:pt>
          <cx:pt idx="8887">1</cx:pt>
          <cx:pt idx="8888">2</cx:pt>
          <cx:pt idx="8889">1</cx:pt>
          <cx:pt idx="8890">2</cx:pt>
          <cx:pt idx="8891">2</cx:pt>
          <cx:pt idx="8892">1</cx:pt>
          <cx:pt idx="8893">3</cx:pt>
          <cx:pt idx="8894">2</cx:pt>
          <cx:pt idx="8895">3</cx:pt>
          <cx:pt idx="8896">2</cx:pt>
          <cx:pt idx="8897">1</cx:pt>
          <cx:pt idx="8898">4</cx:pt>
          <cx:pt idx="8899">1</cx:pt>
          <cx:pt idx="8900">1</cx:pt>
          <cx:pt idx="8901">1</cx:pt>
          <cx:pt idx="8902">2</cx:pt>
          <cx:pt idx="8903">2</cx:pt>
          <cx:pt idx="8904">1</cx:pt>
          <cx:pt idx="8905">5</cx:pt>
          <cx:pt idx="8906">6</cx:pt>
          <cx:pt idx="8907">1</cx:pt>
          <cx:pt idx="8908">2</cx:pt>
          <cx:pt idx="8909">1</cx:pt>
          <cx:pt idx="8910">2</cx:pt>
          <cx:pt idx="8911">2</cx:pt>
          <cx:pt idx="8912">2</cx:pt>
          <cx:pt idx="8913">4</cx:pt>
          <cx:pt idx="8914">2</cx:pt>
          <cx:pt idx="8915">2</cx:pt>
          <cx:pt idx="8916">1</cx:pt>
          <cx:pt idx="8917">1</cx:pt>
          <cx:pt idx="8918">2</cx:pt>
          <cx:pt idx="8919">3</cx:pt>
          <cx:pt idx="8920">1</cx:pt>
          <cx:pt idx="8921">2</cx:pt>
          <cx:pt idx="8922">1</cx:pt>
          <cx:pt idx="8923">1</cx:pt>
          <cx:pt idx="8924">2</cx:pt>
          <cx:pt idx="8925">2</cx:pt>
          <cx:pt idx="8926">6</cx:pt>
          <cx:pt idx="8927">1</cx:pt>
          <cx:pt idx="8928">5</cx:pt>
          <cx:pt idx="8929">1</cx:pt>
          <cx:pt idx="8930">2</cx:pt>
          <cx:pt idx="8931">3</cx:pt>
          <cx:pt idx="8932">3</cx:pt>
          <cx:pt idx="8933">1</cx:pt>
          <cx:pt idx="8934">1</cx:pt>
          <cx:pt idx="8935">5</cx:pt>
          <cx:pt idx="8936">2</cx:pt>
          <cx:pt idx="8937">3</cx:pt>
          <cx:pt idx="8938">2</cx:pt>
          <cx:pt idx="8939">5</cx:pt>
          <cx:pt idx="8940">2</cx:pt>
          <cx:pt idx="8941">2</cx:pt>
          <cx:pt idx="8942">4</cx:pt>
          <cx:pt idx="8943">2</cx:pt>
          <cx:pt idx="8944">2</cx:pt>
          <cx:pt idx="8945">2</cx:pt>
          <cx:pt idx="8946">3</cx:pt>
          <cx:pt idx="8947">2</cx:pt>
          <cx:pt idx="8948">2</cx:pt>
          <cx:pt idx="8949">2</cx:pt>
          <cx:pt idx="8950">1</cx:pt>
          <cx:pt idx="8951">2</cx:pt>
          <cx:pt idx="8952">1</cx:pt>
          <cx:pt idx="8953">2</cx:pt>
          <cx:pt idx="8954">4</cx:pt>
          <cx:pt idx="8955">2</cx:pt>
          <cx:pt idx="8956">1</cx:pt>
          <cx:pt idx="8957">1</cx:pt>
          <cx:pt idx="8958">1</cx:pt>
          <cx:pt idx="8959">4</cx:pt>
          <cx:pt idx="8960">3</cx:pt>
          <cx:pt idx="8961">1</cx:pt>
          <cx:pt idx="8962">2</cx:pt>
          <cx:pt idx="8963">4</cx:pt>
          <cx:pt idx="8964">4</cx:pt>
          <cx:pt idx="8965">1</cx:pt>
          <cx:pt idx="8966">1</cx:pt>
          <cx:pt idx="8967">2</cx:pt>
          <cx:pt idx="8968">1</cx:pt>
          <cx:pt idx="8969">1</cx:pt>
          <cx:pt idx="8970">2</cx:pt>
          <cx:pt idx="8971">3</cx:pt>
          <cx:pt idx="8972">1</cx:pt>
          <cx:pt idx="8973">2</cx:pt>
          <cx:pt idx="8974">1</cx:pt>
          <cx:pt idx="8975">5</cx:pt>
          <cx:pt idx="8976">2</cx:pt>
          <cx:pt idx="8977">2</cx:pt>
          <cx:pt idx="8978">1</cx:pt>
          <cx:pt idx="8979">3</cx:pt>
          <cx:pt idx="8980">3</cx:pt>
          <cx:pt idx="8981">2</cx:pt>
          <cx:pt idx="8982">3</cx:pt>
          <cx:pt idx="8983">2</cx:pt>
          <cx:pt idx="8984">6</cx:pt>
          <cx:pt idx="8985">2</cx:pt>
          <cx:pt idx="8986">2</cx:pt>
          <cx:pt idx="8987">2</cx:pt>
          <cx:pt idx="8988">1</cx:pt>
          <cx:pt idx="8989">2</cx:pt>
          <cx:pt idx="8990">3</cx:pt>
          <cx:pt idx="8991">2</cx:pt>
          <cx:pt idx="8992">1</cx:pt>
          <cx:pt idx="8993">1</cx:pt>
          <cx:pt idx="8994">4</cx:pt>
          <cx:pt idx="8995">1</cx:pt>
          <cx:pt idx="8996">1</cx:pt>
          <cx:pt idx="8997">2</cx:pt>
          <cx:pt idx="8998">4</cx:pt>
          <cx:pt idx="8999">2</cx:pt>
          <cx:pt idx="9000">1</cx:pt>
          <cx:pt idx="9001">5</cx:pt>
          <cx:pt idx="9002">3</cx:pt>
          <cx:pt idx="9003">5</cx:pt>
          <cx:pt idx="9004">3</cx:pt>
          <cx:pt idx="9005">5</cx:pt>
          <cx:pt idx="9006">1</cx:pt>
          <cx:pt idx="9007">7</cx:pt>
          <cx:pt idx="9008">3</cx:pt>
          <cx:pt idx="9009">2</cx:pt>
          <cx:pt idx="9010">4</cx:pt>
          <cx:pt idx="9011">4</cx:pt>
          <cx:pt idx="9012">1</cx:pt>
          <cx:pt idx="9013">3</cx:pt>
          <cx:pt idx="9014">1</cx:pt>
          <cx:pt idx="9015">2</cx:pt>
          <cx:pt idx="9016">5</cx:pt>
          <cx:pt idx="9017">2</cx:pt>
          <cx:pt idx="9018">1</cx:pt>
          <cx:pt idx="9019">3</cx:pt>
          <cx:pt idx="9020">1</cx:pt>
          <cx:pt idx="9021">1</cx:pt>
          <cx:pt idx="9022">1</cx:pt>
          <cx:pt idx="9023">2</cx:pt>
          <cx:pt idx="9024">3</cx:pt>
          <cx:pt idx="9025">1</cx:pt>
          <cx:pt idx="9026">1</cx:pt>
          <cx:pt idx="9027">4</cx:pt>
          <cx:pt idx="9028">6</cx:pt>
          <cx:pt idx="9029">2</cx:pt>
          <cx:pt idx="9030">1</cx:pt>
          <cx:pt idx="9031">3</cx:pt>
          <cx:pt idx="9032">1</cx:pt>
          <cx:pt idx="9033">1</cx:pt>
          <cx:pt idx="9034">1</cx:pt>
          <cx:pt idx="9035">1</cx:pt>
          <cx:pt idx="9036">4</cx:pt>
          <cx:pt idx="9037">3</cx:pt>
          <cx:pt idx="9038">2</cx:pt>
          <cx:pt idx="9039">3</cx:pt>
          <cx:pt idx="9040">3</cx:pt>
          <cx:pt idx="9041">3</cx:pt>
          <cx:pt idx="9042">3</cx:pt>
          <cx:pt idx="9043">1</cx:pt>
          <cx:pt idx="9044">3</cx:pt>
          <cx:pt idx="9045">2</cx:pt>
          <cx:pt idx="9046">1</cx:pt>
          <cx:pt idx="9047">1</cx:pt>
          <cx:pt idx="9048">2</cx:pt>
          <cx:pt idx="9049">2</cx:pt>
          <cx:pt idx="9050">2</cx:pt>
          <cx:pt idx="9051">5</cx:pt>
          <cx:pt idx="9052">1</cx:pt>
          <cx:pt idx="9053">4</cx:pt>
          <cx:pt idx="9054">1</cx:pt>
          <cx:pt idx="9055">2</cx:pt>
          <cx:pt idx="9056">1</cx:pt>
          <cx:pt idx="9057">3</cx:pt>
          <cx:pt idx="9058">6</cx:pt>
          <cx:pt idx="9059">3</cx:pt>
          <cx:pt idx="9060">4</cx:pt>
          <cx:pt idx="9061">2</cx:pt>
          <cx:pt idx="9062">1</cx:pt>
          <cx:pt idx="9063">1</cx:pt>
          <cx:pt idx="9064">3</cx:pt>
          <cx:pt idx="9065">1</cx:pt>
          <cx:pt idx="9066">3</cx:pt>
          <cx:pt idx="9067">4</cx:pt>
          <cx:pt idx="9068">4</cx:pt>
          <cx:pt idx="9069">2</cx:pt>
          <cx:pt idx="9070">3</cx:pt>
          <cx:pt idx="9071">3</cx:pt>
          <cx:pt idx="9072">5</cx:pt>
          <cx:pt idx="9073">1</cx:pt>
          <cx:pt idx="9074">2</cx:pt>
          <cx:pt idx="9075">4</cx:pt>
          <cx:pt idx="9076">1</cx:pt>
          <cx:pt idx="9077">1</cx:pt>
          <cx:pt idx="9078">2</cx:pt>
          <cx:pt idx="9079">1</cx:pt>
          <cx:pt idx="9080">1</cx:pt>
          <cx:pt idx="9081">2</cx:pt>
          <cx:pt idx="9082">4</cx:pt>
          <cx:pt idx="9083">2</cx:pt>
          <cx:pt idx="9084">4</cx:pt>
          <cx:pt idx="9085">4</cx:pt>
          <cx:pt idx="9086">1</cx:pt>
          <cx:pt idx="9087">1</cx:pt>
          <cx:pt idx="9088">1</cx:pt>
          <cx:pt idx="9089">2</cx:pt>
          <cx:pt idx="9090">4</cx:pt>
          <cx:pt idx="9091">1</cx:pt>
          <cx:pt idx="9092">3</cx:pt>
          <cx:pt idx="9093">1</cx:pt>
          <cx:pt idx="9094">1</cx:pt>
          <cx:pt idx="9095">2</cx:pt>
          <cx:pt idx="9096">1</cx:pt>
          <cx:pt idx="9097">1</cx:pt>
          <cx:pt idx="9098">3</cx:pt>
          <cx:pt idx="9099">2</cx:pt>
          <cx:pt idx="9100">5</cx:pt>
          <cx:pt idx="9101">1</cx:pt>
          <cx:pt idx="9102">1</cx:pt>
          <cx:pt idx="9103">1</cx:pt>
          <cx:pt idx="9104">3</cx:pt>
          <cx:pt idx="9105">3</cx:pt>
          <cx:pt idx="9106">4</cx:pt>
          <cx:pt idx="9107">2</cx:pt>
          <cx:pt idx="9108">1</cx:pt>
          <cx:pt idx="9109">4</cx:pt>
          <cx:pt idx="9110">2</cx:pt>
          <cx:pt idx="9111">1</cx:pt>
          <cx:pt idx="9112">3</cx:pt>
          <cx:pt idx="9113">3</cx:pt>
          <cx:pt idx="9114">1</cx:pt>
          <cx:pt idx="9115">3</cx:pt>
          <cx:pt idx="9116">1</cx:pt>
          <cx:pt idx="9117">1</cx:pt>
          <cx:pt idx="9118">2</cx:pt>
          <cx:pt idx="9119">2</cx:pt>
          <cx:pt idx="9120">3</cx:pt>
          <cx:pt idx="9121">3</cx:pt>
          <cx:pt idx="9122">1</cx:pt>
          <cx:pt idx="9123">2</cx:pt>
          <cx:pt idx="9124">3</cx:pt>
          <cx:pt idx="9125">3</cx:pt>
          <cx:pt idx="9126">3</cx:pt>
          <cx:pt idx="9127">1</cx:pt>
          <cx:pt idx="9128">1</cx:pt>
          <cx:pt idx="9129">1</cx:pt>
          <cx:pt idx="9130">1</cx:pt>
          <cx:pt idx="9131">1</cx:pt>
          <cx:pt idx="9132">5</cx:pt>
          <cx:pt idx="9133">1</cx:pt>
          <cx:pt idx="9134">2</cx:pt>
          <cx:pt idx="9135">2</cx:pt>
          <cx:pt idx="9136">2</cx:pt>
          <cx:pt idx="9137">2</cx:pt>
          <cx:pt idx="9138">1</cx:pt>
          <cx:pt idx="9139">1</cx:pt>
          <cx:pt idx="9140">2</cx:pt>
          <cx:pt idx="9141">2</cx:pt>
          <cx:pt idx="9142">1</cx:pt>
          <cx:pt idx="9143">1</cx:pt>
          <cx:pt idx="9144">1</cx:pt>
          <cx:pt idx="9145">1</cx:pt>
          <cx:pt idx="9146">3</cx:pt>
          <cx:pt idx="9147">1</cx:pt>
          <cx:pt idx="9148">1</cx:pt>
          <cx:pt idx="9149">2</cx:pt>
          <cx:pt idx="9150">3</cx:pt>
          <cx:pt idx="9151">3</cx:pt>
          <cx:pt idx="9152">3</cx:pt>
          <cx:pt idx="9153">2</cx:pt>
          <cx:pt idx="9154">1</cx:pt>
          <cx:pt idx="9155">1</cx:pt>
          <cx:pt idx="9156">2</cx:pt>
          <cx:pt idx="9157">1</cx:pt>
          <cx:pt idx="9158">1</cx:pt>
          <cx:pt idx="9159">2</cx:pt>
          <cx:pt idx="9160">1</cx:pt>
          <cx:pt idx="9161">1</cx:pt>
          <cx:pt idx="9162">2</cx:pt>
          <cx:pt idx="9163">4</cx:pt>
          <cx:pt idx="9164">1</cx:pt>
          <cx:pt idx="9165">6</cx:pt>
          <cx:pt idx="9166">3</cx:pt>
          <cx:pt idx="9167">2</cx:pt>
          <cx:pt idx="9168">2</cx:pt>
          <cx:pt idx="9169">1</cx:pt>
          <cx:pt idx="9170">1</cx:pt>
          <cx:pt idx="9171">3</cx:pt>
          <cx:pt idx="9172">7</cx:pt>
          <cx:pt idx="9173">2</cx:pt>
          <cx:pt idx="9174">2</cx:pt>
          <cx:pt idx="9175">2</cx:pt>
          <cx:pt idx="9176">2</cx:pt>
          <cx:pt idx="9177">2</cx:pt>
          <cx:pt idx="9178">2</cx:pt>
          <cx:pt idx="9179">2</cx:pt>
          <cx:pt idx="9180">2</cx:pt>
          <cx:pt idx="9181">2</cx:pt>
          <cx:pt idx="9182">2</cx:pt>
          <cx:pt idx="9183">7</cx:pt>
          <cx:pt idx="9184">2</cx:pt>
          <cx:pt idx="9185">5</cx:pt>
          <cx:pt idx="9186">2</cx:pt>
          <cx:pt idx="9187">1</cx:pt>
          <cx:pt idx="9188">2</cx:pt>
          <cx:pt idx="9189">5</cx:pt>
          <cx:pt idx="9190">1</cx:pt>
          <cx:pt idx="9191">3</cx:pt>
          <cx:pt idx="9192">4</cx:pt>
          <cx:pt idx="9193">2</cx:pt>
          <cx:pt idx="9194">1</cx:pt>
          <cx:pt idx="9195">4</cx:pt>
          <cx:pt idx="9196">1</cx:pt>
          <cx:pt idx="9197">2</cx:pt>
          <cx:pt idx="9198">2</cx:pt>
          <cx:pt idx="9199">4</cx:pt>
          <cx:pt idx="9200">3</cx:pt>
          <cx:pt idx="9201">5</cx:pt>
          <cx:pt idx="9202">2</cx:pt>
          <cx:pt idx="9203">3</cx:pt>
          <cx:pt idx="9204">2</cx:pt>
          <cx:pt idx="9205">2</cx:pt>
          <cx:pt idx="9206">1</cx:pt>
          <cx:pt idx="9207">3</cx:pt>
          <cx:pt idx="9208">2</cx:pt>
          <cx:pt idx="9209">2</cx:pt>
          <cx:pt idx="9210">1</cx:pt>
          <cx:pt idx="9211">2</cx:pt>
          <cx:pt idx="9212">3</cx:pt>
          <cx:pt idx="9213">3</cx:pt>
          <cx:pt idx="9214">4</cx:pt>
          <cx:pt idx="9215">1</cx:pt>
          <cx:pt idx="9216">2</cx:pt>
          <cx:pt idx="9217">4</cx:pt>
          <cx:pt idx="9218">3</cx:pt>
          <cx:pt idx="9219">6</cx:pt>
          <cx:pt idx="9220">3</cx:pt>
          <cx:pt idx="9221">2</cx:pt>
          <cx:pt idx="9222">2</cx:pt>
          <cx:pt idx="9223">2</cx:pt>
          <cx:pt idx="9224">2</cx:pt>
          <cx:pt idx="9225">1</cx:pt>
          <cx:pt idx="9226">1</cx:pt>
          <cx:pt idx="9227">2</cx:pt>
          <cx:pt idx="9228">1</cx:pt>
          <cx:pt idx="9229">1</cx:pt>
          <cx:pt idx="9230">2</cx:pt>
          <cx:pt idx="9231">5</cx:pt>
          <cx:pt idx="9232">4</cx:pt>
          <cx:pt idx="9233">2</cx:pt>
          <cx:pt idx="9234">5</cx:pt>
          <cx:pt idx="9235">2</cx:pt>
          <cx:pt idx="9236">1</cx:pt>
          <cx:pt idx="9237">2</cx:pt>
          <cx:pt idx="9238">1</cx:pt>
          <cx:pt idx="9239">1</cx:pt>
          <cx:pt idx="9240">3</cx:pt>
          <cx:pt idx="9241">10</cx:pt>
          <cx:pt idx="9242">2</cx:pt>
          <cx:pt idx="9243">1</cx:pt>
          <cx:pt idx="9244">1</cx:pt>
          <cx:pt idx="9245">1</cx:pt>
          <cx:pt idx="9246">1</cx:pt>
          <cx:pt idx="9247">3</cx:pt>
          <cx:pt idx="9248">2</cx:pt>
          <cx:pt idx="9249">1</cx:pt>
          <cx:pt idx="9250">2</cx:pt>
          <cx:pt idx="9251">2</cx:pt>
          <cx:pt idx="9252">1</cx:pt>
          <cx:pt idx="9253">2</cx:pt>
          <cx:pt idx="9254">2</cx:pt>
          <cx:pt idx="9255">6</cx:pt>
          <cx:pt idx="9256">3</cx:pt>
          <cx:pt idx="9257">3</cx:pt>
          <cx:pt idx="9258">1</cx:pt>
          <cx:pt idx="9259">1</cx:pt>
          <cx:pt idx="9260">3</cx:pt>
          <cx:pt idx="9261">2</cx:pt>
          <cx:pt idx="9262">1</cx:pt>
          <cx:pt idx="9263">2</cx:pt>
          <cx:pt idx="9264">2</cx:pt>
          <cx:pt idx="9265">4</cx:pt>
          <cx:pt idx="9266">1</cx:pt>
          <cx:pt idx="9267">3</cx:pt>
          <cx:pt idx="9268">2</cx:pt>
          <cx:pt idx="9269">2</cx:pt>
          <cx:pt idx="9270">1</cx:pt>
          <cx:pt idx="9271">1</cx:pt>
          <cx:pt idx="9272">2</cx:pt>
          <cx:pt idx="9273">2</cx:pt>
          <cx:pt idx="9274">2</cx:pt>
          <cx:pt idx="9275">2</cx:pt>
          <cx:pt idx="9276">3</cx:pt>
          <cx:pt idx="9277">2</cx:pt>
          <cx:pt idx="9278">1</cx:pt>
          <cx:pt idx="9279">3</cx:pt>
          <cx:pt idx="9280">3</cx:pt>
          <cx:pt idx="9281">1</cx:pt>
          <cx:pt idx="9282">3</cx:pt>
          <cx:pt idx="9283">8</cx:pt>
          <cx:pt idx="9284">5</cx:pt>
          <cx:pt idx="9285">4</cx:pt>
          <cx:pt idx="9286">2</cx:pt>
          <cx:pt idx="9287">2</cx:pt>
          <cx:pt idx="9288">2</cx:pt>
          <cx:pt idx="9289">1</cx:pt>
          <cx:pt idx="9290">3</cx:pt>
          <cx:pt idx="9291">2</cx:pt>
          <cx:pt idx="9292">4</cx:pt>
          <cx:pt idx="9293">2</cx:pt>
          <cx:pt idx="9294">2</cx:pt>
          <cx:pt idx="9295">1</cx:pt>
          <cx:pt idx="9296">2</cx:pt>
          <cx:pt idx="9297">6</cx:pt>
          <cx:pt idx="9298">2</cx:pt>
          <cx:pt idx="9299">1</cx:pt>
          <cx:pt idx="9300">2</cx:pt>
          <cx:pt idx="9301">3</cx:pt>
          <cx:pt idx="9302">1</cx:pt>
          <cx:pt idx="9303">3</cx:pt>
          <cx:pt idx="9304">3</cx:pt>
          <cx:pt idx="9305">4</cx:pt>
          <cx:pt idx="9306">3</cx:pt>
          <cx:pt idx="9307">2</cx:pt>
          <cx:pt idx="9308">3</cx:pt>
          <cx:pt idx="9309">2</cx:pt>
          <cx:pt idx="9310">1</cx:pt>
          <cx:pt idx="9311">1</cx:pt>
          <cx:pt idx="9312">2</cx:pt>
          <cx:pt idx="9313">2</cx:pt>
          <cx:pt idx="9314">2</cx:pt>
          <cx:pt idx="9315">1</cx:pt>
          <cx:pt idx="9316">2</cx:pt>
          <cx:pt idx="9317">1</cx:pt>
          <cx:pt idx="9318">5</cx:pt>
          <cx:pt idx="9319">1</cx:pt>
          <cx:pt idx="9320">1</cx:pt>
          <cx:pt idx="9321">1</cx:pt>
          <cx:pt idx="9322">4</cx:pt>
          <cx:pt idx="9323">9</cx:pt>
          <cx:pt idx="9324">2</cx:pt>
          <cx:pt idx="9325">2</cx:pt>
          <cx:pt idx="9326">1</cx:pt>
          <cx:pt idx="9327">1</cx:pt>
          <cx:pt idx="9328">2</cx:pt>
          <cx:pt idx="9329">1</cx:pt>
          <cx:pt idx="9330">1</cx:pt>
          <cx:pt idx="9331">1</cx:pt>
          <cx:pt idx="9332">3</cx:pt>
          <cx:pt idx="9333">3</cx:pt>
          <cx:pt idx="9334">2</cx:pt>
          <cx:pt idx="9335">2</cx:pt>
          <cx:pt idx="9336">1</cx:pt>
          <cx:pt idx="9337">3</cx:pt>
          <cx:pt idx="9338">1</cx:pt>
          <cx:pt idx="9339">2</cx:pt>
          <cx:pt idx="9340">2</cx:pt>
          <cx:pt idx="9341">1</cx:pt>
          <cx:pt idx="9342">1</cx:pt>
          <cx:pt idx="9343">2</cx:pt>
          <cx:pt idx="9344">1</cx:pt>
          <cx:pt idx="9345">1</cx:pt>
          <cx:pt idx="9346">1</cx:pt>
          <cx:pt idx="9347">2</cx:pt>
          <cx:pt idx="9348">3</cx:pt>
          <cx:pt idx="9349">1</cx:pt>
          <cx:pt idx="9350">3</cx:pt>
          <cx:pt idx="9351">4</cx:pt>
          <cx:pt idx="9352">3</cx:pt>
          <cx:pt idx="9353">1</cx:pt>
          <cx:pt idx="9354">1</cx:pt>
          <cx:pt idx="9355">2</cx:pt>
          <cx:pt idx="9356">3</cx:pt>
          <cx:pt idx="9357">3</cx:pt>
          <cx:pt idx="9358">2</cx:pt>
          <cx:pt idx="9359">3</cx:pt>
          <cx:pt idx="9360">2</cx:pt>
          <cx:pt idx="9361">1</cx:pt>
          <cx:pt idx="9362">2</cx:pt>
          <cx:pt idx="9363">5</cx:pt>
          <cx:pt idx="9364">2</cx:pt>
          <cx:pt idx="9365">5</cx:pt>
          <cx:pt idx="9366">1</cx:pt>
          <cx:pt idx="9367">4</cx:pt>
          <cx:pt idx="9368">3</cx:pt>
          <cx:pt idx="9369">3</cx:pt>
          <cx:pt idx="9370">1</cx:pt>
          <cx:pt idx="9371">1</cx:pt>
          <cx:pt idx="9372">1</cx:pt>
          <cx:pt idx="9373">3</cx:pt>
          <cx:pt idx="9374">3</cx:pt>
          <cx:pt idx="9375">4</cx:pt>
          <cx:pt idx="9376">3</cx:pt>
          <cx:pt idx="9377">4</cx:pt>
          <cx:pt idx="9378">1</cx:pt>
          <cx:pt idx="9379">5</cx:pt>
          <cx:pt idx="9380">1</cx:pt>
          <cx:pt idx="9381">1</cx:pt>
          <cx:pt idx="9382">2</cx:pt>
          <cx:pt idx="9383">1</cx:pt>
          <cx:pt idx="9384">1</cx:pt>
          <cx:pt idx="9385">1</cx:pt>
          <cx:pt idx="9386">1</cx:pt>
          <cx:pt idx="9387">3</cx:pt>
          <cx:pt idx="9388">4</cx:pt>
          <cx:pt idx="9389">1</cx:pt>
          <cx:pt idx="9390">4</cx:pt>
          <cx:pt idx="9391">4</cx:pt>
          <cx:pt idx="9392">1</cx:pt>
          <cx:pt idx="9393">3</cx:pt>
          <cx:pt idx="9394">5</cx:pt>
          <cx:pt idx="9395">1</cx:pt>
          <cx:pt idx="9396">2</cx:pt>
          <cx:pt idx="9397">1</cx:pt>
          <cx:pt idx="9398">3</cx:pt>
          <cx:pt idx="9399">1</cx:pt>
          <cx:pt idx="9400">2</cx:pt>
          <cx:pt idx="9401">3</cx:pt>
          <cx:pt idx="9402">2</cx:pt>
          <cx:pt idx="9403">2</cx:pt>
          <cx:pt idx="9404">1</cx:pt>
          <cx:pt idx="9405">5</cx:pt>
          <cx:pt idx="9406">4</cx:pt>
          <cx:pt idx="9407">4</cx:pt>
          <cx:pt idx="9408">2</cx:pt>
          <cx:pt idx="9409">1</cx:pt>
          <cx:pt idx="9410">3</cx:pt>
          <cx:pt idx="9411">1</cx:pt>
          <cx:pt idx="9412">2</cx:pt>
          <cx:pt idx="9413">1</cx:pt>
          <cx:pt idx="9414">1</cx:pt>
          <cx:pt idx="9415">5</cx:pt>
          <cx:pt idx="9416">3</cx:pt>
          <cx:pt idx="9417">2</cx:pt>
          <cx:pt idx="9418">3</cx:pt>
          <cx:pt idx="9419">1</cx:pt>
          <cx:pt idx="9420">2</cx:pt>
          <cx:pt idx="9421">2</cx:pt>
          <cx:pt idx="9422">4</cx:pt>
          <cx:pt idx="9423">3</cx:pt>
          <cx:pt idx="9424">3</cx:pt>
          <cx:pt idx="9425">1</cx:pt>
          <cx:pt idx="9426">1</cx:pt>
          <cx:pt idx="9427">1</cx:pt>
          <cx:pt idx="9428">1</cx:pt>
          <cx:pt idx="9429">1</cx:pt>
          <cx:pt idx="9430">1</cx:pt>
          <cx:pt idx="9431">1</cx:pt>
          <cx:pt idx="9432">1</cx:pt>
          <cx:pt idx="9433">4</cx:pt>
          <cx:pt idx="9434">3</cx:pt>
          <cx:pt idx="9435">2</cx:pt>
          <cx:pt idx="9436">1</cx:pt>
          <cx:pt idx="9437">2</cx:pt>
          <cx:pt idx="9438">3</cx:pt>
          <cx:pt idx="9439">1</cx:pt>
          <cx:pt idx="9440">2</cx:pt>
          <cx:pt idx="9441">1</cx:pt>
          <cx:pt idx="9442">3</cx:pt>
          <cx:pt idx="9443">3</cx:pt>
          <cx:pt idx="9444">1</cx:pt>
          <cx:pt idx="9445">3</cx:pt>
          <cx:pt idx="9446">3</cx:pt>
          <cx:pt idx="9447">1</cx:pt>
          <cx:pt idx="9448">3</cx:pt>
          <cx:pt idx="9449">2</cx:pt>
          <cx:pt idx="9450">1</cx:pt>
          <cx:pt idx="9451">1</cx:pt>
          <cx:pt idx="9452">1</cx:pt>
          <cx:pt idx="9453">3</cx:pt>
          <cx:pt idx="9454">3</cx:pt>
          <cx:pt idx="9455">1</cx:pt>
          <cx:pt idx="9456">2</cx:pt>
          <cx:pt idx="9457">2</cx:pt>
          <cx:pt idx="9458">3</cx:pt>
          <cx:pt idx="9459">2</cx:pt>
          <cx:pt idx="9460">1</cx:pt>
          <cx:pt idx="9461">4</cx:pt>
          <cx:pt idx="9462">4</cx:pt>
          <cx:pt idx="9463">2</cx:pt>
          <cx:pt idx="9464">1</cx:pt>
        </cx:lvl>
      </cx:numDim>
    </cx:data>
  </cx:chartData>
  <cx:chart>
    <cx:title pos="t" align="ctr" overlay="0">
      <cx:tx>
        <cx:rich>
          <a:bodyPr spcFirstLastPara="1" vertOverflow="ellipsis" horzOverflow="overflow" wrap="square" lIns="0" tIns="0" rIns="0" bIns="0" anchor="ctr" anchorCtr="1"/>
          <a:lstStyle/>
          <a:p>
            <a:pPr algn="ctr" rtl="0">
              <a:defRPr/>
            </a:pPr>
            <a:r>
              <a:rPr lang="de-DE" sz="1862" b="0" i="0" u="none" strike="noStrike" baseline="0" dirty="0" err="1">
                <a:solidFill>
                  <a:srgbClr val="1A5E8F">
                    <a:lumMod val="65000"/>
                    <a:lumOff val="35000"/>
                  </a:srgbClr>
                </a:solidFill>
                <a:latin typeface="Arial"/>
              </a:rPr>
              <a:t>Boxsplot</a:t>
            </a:r>
            <a:r>
              <a:rPr lang="de-DE" sz="1862" b="0" i="0" u="none" strike="noStrike" baseline="0" dirty="0">
                <a:solidFill>
                  <a:srgbClr val="1A5E8F">
                    <a:lumMod val="65000"/>
                    <a:lumOff val="35000"/>
                  </a:srgbClr>
                </a:solidFill>
                <a:latin typeface="Arial"/>
              </a:rPr>
              <a:t> Artikel pro Einkauf</a:t>
            </a:r>
          </a:p>
        </cx:rich>
      </cx:tx>
    </cx:title>
    <cx:plotArea>
      <cx:plotAreaRegion>
        <cx:series layoutId="boxWhisker" uniqueId="{EB19FF71-A7E9-4DD0-9E1C-8B158F0A45E9}" formatIdx="0">
          <cx:tx>
            <cx:txData>
              <cx:f>Tabelle1!$B$1</cx:f>
              <cx:v>Artikel pro Einkauf</cx:v>
            </cx:txData>
          </cx:tx>
          <cx:dataId val="0"/>
          <cx:layoutPr>
            <cx:visibility meanLine="0" meanMarker="1" nonoutliers="0" outliers="1"/>
            <cx:statistics quartileMethod="exclusive"/>
          </cx:layoutPr>
        </cx:series>
      </cx:plotAreaRegion>
      <cx:axis id="0">
        <cx:catScaling gapWidth="1"/>
        <cx:tickLabels/>
      </cx:axis>
      <cx:axis id="1">
        <cx:valScaling min="1"/>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6c52a2e8d8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6c52a2e8d8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9488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00870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2918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038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4546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53627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de-DE" sz="800" dirty="0">
                <a:solidFill>
                  <a:srgbClr val="000000"/>
                </a:solidFill>
                <a:latin typeface="Maven Pro" panose="020B0604020202020204" charset="0"/>
              </a:rPr>
              <a:t>N: </a:t>
            </a:r>
            <a:r>
              <a:rPr lang="de-DE" sz="800" dirty="0" err="1">
                <a:solidFill>
                  <a:srgbClr val="000000"/>
                </a:solidFill>
                <a:latin typeface="Maven Pro" panose="020B0604020202020204" charset="0"/>
              </a:rPr>
              <a:t>Required</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numb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T: </a:t>
            </a:r>
            <a:r>
              <a:rPr lang="de-DE" sz="800" dirty="0" err="1">
                <a:solidFill>
                  <a:srgbClr val="000000"/>
                </a:solidFill>
                <a:latin typeface="Maven Pro" panose="020B0604020202020204" charset="0"/>
              </a:rPr>
              <a:t>Metric</a:t>
            </a:r>
            <a:r>
              <a:rPr lang="de-DE" sz="800" dirty="0">
                <a:solidFill>
                  <a:srgbClr val="000000"/>
                </a:solidFill>
                <a:latin typeface="Maven Pro" panose="020B0604020202020204" charset="0"/>
              </a:rPr>
              <a:t> type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o</a:t>
            </a:r>
            <a:r>
              <a:rPr lang="de-DE" sz="800" dirty="0">
                <a:solidFill>
                  <a:srgbClr val="000000"/>
                </a:solidFill>
                <a:latin typeface="Maven Pro" panose="020B0604020202020204" charset="0"/>
              </a:rPr>
              <a:t> rank </a:t>
            </a:r>
            <a:r>
              <a:rPr lang="de-DE" sz="800" dirty="0" err="1">
                <a:solidFill>
                  <a:srgbClr val="000000"/>
                </a:solidFill>
                <a:latin typeface="Maven Pro" panose="020B0604020202020204" charset="0"/>
              </a:rPr>
              <a:t>rules</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C: The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confidenc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of</a:t>
            </a:r>
            <a:r>
              <a:rPr lang="de-DE" sz="800" dirty="0">
                <a:solidFill>
                  <a:srgbClr val="000000"/>
                </a:solidFill>
                <a:latin typeface="Maven Pro" panose="020B0604020202020204" charset="0"/>
              </a:rPr>
              <a:t> a </a:t>
            </a:r>
            <a:r>
              <a:rPr lang="de-DE" sz="800" dirty="0" err="1">
                <a:solidFill>
                  <a:srgbClr val="000000"/>
                </a:solidFill>
                <a:latin typeface="Maven Pro" panose="020B0604020202020204" charset="0"/>
              </a:rPr>
              <a:t>rule</a:t>
            </a:r>
            <a:r>
              <a:rPr lang="de-DE" sz="800" dirty="0">
                <a:solidFill>
                  <a:srgbClr val="000000"/>
                </a:solidFill>
                <a:latin typeface="Maven Pro" panose="020B0604020202020204" charset="0"/>
              </a:rPr>
              <a:t> – Dieser Hyperparameter hat einen großen </a:t>
            </a:r>
          </a:p>
          <a:p>
            <a:r>
              <a:rPr lang="de-DE" sz="800" dirty="0">
                <a:solidFill>
                  <a:srgbClr val="000000"/>
                </a:solidFill>
                <a:latin typeface="Maven Pro" panose="020B0604020202020204" charset="0"/>
              </a:rPr>
              <a:t>     Einfluss auf die Anzahl der erstellten Regeln</a:t>
            </a:r>
          </a:p>
          <a:p>
            <a:r>
              <a:rPr lang="de-DE" sz="800" dirty="0">
                <a:solidFill>
                  <a:srgbClr val="000000"/>
                </a:solidFill>
                <a:latin typeface="Maven Pro" panose="020B0604020202020204" charset="0"/>
              </a:rPr>
              <a:t>D: Delta </a:t>
            </a:r>
            <a:r>
              <a:rPr lang="de-DE" sz="800" dirty="0" err="1">
                <a:solidFill>
                  <a:srgbClr val="000000"/>
                </a:solidFill>
                <a:latin typeface="Maven Pro" panose="020B0604020202020204" charset="0"/>
              </a:rPr>
              <a:t>by</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whi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the</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 </a:t>
            </a:r>
            <a:r>
              <a:rPr lang="de-DE" sz="800" dirty="0" err="1">
                <a:solidFill>
                  <a:srgbClr val="000000"/>
                </a:solidFill>
                <a:latin typeface="Maven Pro" panose="020B0604020202020204" charset="0"/>
              </a:rPr>
              <a:t>i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decreased</a:t>
            </a:r>
            <a:r>
              <a:rPr lang="de-DE" sz="800" dirty="0">
                <a:solidFill>
                  <a:srgbClr val="000000"/>
                </a:solidFill>
                <a:latin typeface="Maven Pro" panose="020B0604020202020204" charset="0"/>
              </a:rPr>
              <a:t> in </a:t>
            </a:r>
            <a:r>
              <a:rPr lang="de-DE" sz="800" dirty="0" err="1">
                <a:solidFill>
                  <a:srgbClr val="000000"/>
                </a:solidFill>
                <a:latin typeface="Maven Pro" panose="020B0604020202020204" charset="0"/>
              </a:rPr>
              <a:t>each</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iteration</a:t>
            </a:r>
            <a:endParaRPr lang="de-DE" sz="800" dirty="0">
              <a:solidFill>
                <a:srgbClr val="000000"/>
              </a:solidFill>
              <a:latin typeface="Maven Pro" panose="020B0604020202020204" charset="0"/>
            </a:endParaRPr>
          </a:p>
          <a:p>
            <a:r>
              <a:rPr lang="de-DE" sz="800" dirty="0">
                <a:solidFill>
                  <a:srgbClr val="000000"/>
                </a:solidFill>
                <a:latin typeface="Maven Pro" panose="020B0604020202020204" charset="0"/>
              </a:rPr>
              <a:t>U &amp; M: Upper and </a:t>
            </a:r>
            <a:r>
              <a:rPr lang="de-DE" sz="800" dirty="0" err="1">
                <a:solidFill>
                  <a:srgbClr val="000000"/>
                </a:solidFill>
                <a:latin typeface="Maven Pro" panose="020B0604020202020204" charset="0"/>
              </a:rPr>
              <a:t>lowe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bounds</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minimum</a:t>
            </a:r>
            <a:r>
              <a:rPr lang="de-DE" sz="800" dirty="0">
                <a:solidFill>
                  <a:srgbClr val="000000"/>
                </a:solidFill>
                <a:latin typeface="Maven Pro" panose="020B0604020202020204" charset="0"/>
              </a:rPr>
              <a:t> support</a:t>
            </a:r>
          </a:p>
          <a:p>
            <a:r>
              <a:rPr lang="de-DE" sz="800" dirty="0">
                <a:solidFill>
                  <a:srgbClr val="000000"/>
                </a:solidFill>
                <a:latin typeface="Maven Pro" panose="020B0604020202020204" charset="0"/>
              </a:rPr>
              <a:t>S: Rules </a:t>
            </a:r>
            <a:r>
              <a:rPr lang="de-DE" sz="800" dirty="0" err="1">
                <a:solidFill>
                  <a:srgbClr val="000000"/>
                </a:solidFill>
                <a:latin typeface="Maven Pro" panose="020B0604020202020204" charset="0"/>
              </a:rPr>
              <a:t>testing</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for</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significance</a:t>
            </a:r>
            <a:endParaRPr lang="de-DE" sz="800" dirty="0">
              <a:solidFill>
                <a:srgbClr val="000000"/>
              </a:solidFill>
              <a:latin typeface="Maven Pro" panose="020B0604020202020204" charset="0"/>
            </a:endParaRPr>
          </a:p>
          <a:p>
            <a:r>
              <a:rPr lang="de-DE" dirty="0"/>
              <a:t>I: </a:t>
            </a:r>
            <a:r>
              <a:rPr lang="de-DE" dirty="0" err="1"/>
              <a:t>if</a:t>
            </a:r>
            <a:r>
              <a:rPr lang="de-DE" dirty="0"/>
              <a:t> </a:t>
            </a:r>
            <a:r>
              <a:rPr lang="de-DE" dirty="0" err="1"/>
              <a:t>set</a:t>
            </a:r>
            <a:r>
              <a:rPr lang="de-DE" dirty="0"/>
              <a:t> </a:t>
            </a:r>
            <a:r>
              <a:rPr lang="de-DE" dirty="0" err="1"/>
              <a:t>the</a:t>
            </a:r>
            <a:r>
              <a:rPr lang="de-DE" dirty="0"/>
              <a:t> </a:t>
            </a:r>
            <a:r>
              <a:rPr lang="de-DE" dirty="0" err="1"/>
              <a:t>itemsets</a:t>
            </a:r>
            <a:r>
              <a:rPr lang="de-DE" dirty="0"/>
              <a:t> </a:t>
            </a:r>
            <a:r>
              <a:rPr lang="de-DE" dirty="0" err="1"/>
              <a:t>are</a:t>
            </a:r>
            <a:r>
              <a:rPr lang="de-DE" dirty="0"/>
              <a:t> also </a:t>
            </a:r>
            <a:r>
              <a:rPr lang="de-DE" dirty="0" err="1"/>
              <a:t>output</a:t>
            </a:r>
            <a:endParaRPr lang="de-DE" dirty="0"/>
          </a:p>
          <a:p>
            <a:r>
              <a:rPr lang="de-DE" dirty="0"/>
              <a:t>R: Remove </a:t>
            </a:r>
            <a:r>
              <a:rPr lang="de-DE" dirty="0" err="1"/>
              <a:t>the</a:t>
            </a:r>
            <a:r>
              <a:rPr lang="de-DE" dirty="0"/>
              <a:t> </a:t>
            </a:r>
            <a:r>
              <a:rPr lang="de-DE" dirty="0" err="1"/>
              <a:t>columns</a:t>
            </a:r>
            <a:r>
              <a:rPr lang="de-DE" dirty="0"/>
              <a:t> </a:t>
            </a:r>
            <a:r>
              <a:rPr lang="de-DE" dirty="0" err="1"/>
              <a:t>that</a:t>
            </a:r>
            <a:r>
              <a:rPr lang="de-DE" dirty="0"/>
              <a:t> </a:t>
            </a:r>
            <a:r>
              <a:rPr lang="de-DE" dirty="0" err="1"/>
              <a:t>contain</a:t>
            </a:r>
            <a:r>
              <a:rPr lang="de-DE" dirty="0"/>
              <a:t> all </a:t>
            </a:r>
            <a:r>
              <a:rPr lang="de-DE" dirty="0" err="1"/>
              <a:t>missing</a:t>
            </a:r>
            <a:r>
              <a:rPr lang="de-DE" dirty="0"/>
              <a:t> </a:t>
            </a:r>
            <a:r>
              <a:rPr lang="de-DE" dirty="0" err="1"/>
              <a:t>values</a:t>
            </a:r>
            <a:endParaRPr lang="de-DE" dirty="0"/>
          </a:p>
          <a:p>
            <a:r>
              <a:rPr lang="de-DE" dirty="0"/>
              <a:t>V: Report Progress </a:t>
            </a:r>
            <a:r>
              <a:rPr lang="de-DE" dirty="0" err="1"/>
              <a:t>iteratively</a:t>
            </a:r>
            <a:endParaRPr lang="de-DE" dirty="0"/>
          </a:p>
          <a:p>
            <a:r>
              <a:rPr lang="de-DE" dirty="0"/>
              <a:t>A: </a:t>
            </a:r>
            <a:r>
              <a:rPr lang="de-DE" dirty="0" err="1"/>
              <a:t>If</a:t>
            </a:r>
            <a:r>
              <a:rPr lang="de-DE" dirty="0"/>
              <a:t> </a:t>
            </a:r>
            <a:r>
              <a:rPr lang="de-DE" dirty="0" err="1"/>
              <a:t>set</a:t>
            </a:r>
            <a:r>
              <a:rPr lang="de-DE" dirty="0"/>
              <a:t> </a:t>
            </a:r>
            <a:r>
              <a:rPr lang="de-DE" dirty="0" err="1"/>
              <a:t>class</a:t>
            </a:r>
            <a:r>
              <a:rPr lang="de-DE" dirty="0"/>
              <a:t> </a:t>
            </a:r>
            <a:r>
              <a:rPr lang="de-DE" dirty="0" err="1"/>
              <a:t>association</a:t>
            </a:r>
            <a:r>
              <a:rPr lang="de-DE" dirty="0"/>
              <a:t> </a:t>
            </a:r>
            <a:r>
              <a:rPr lang="de-DE" dirty="0" err="1"/>
              <a:t>rules</a:t>
            </a:r>
            <a:r>
              <a:rPr lang="de-DE" dirty="0"/>
              <a:t> </a:t>
            </a:r>
            <a:r>
              <a:rPr lang="de-DE" dirty="0" err="1"/>
              <a:t>are</a:t>
            </a:r>
            <a:r>
              <a:rPr lang="de-DE" dirty="0"/>
              <a:t> </a:t>
            </a:r>
            <a:r>
              <a:rPr lang="de-DE" dirty="0" err="1"/>
              <a:t>mined</a:t>
            </a:r>
            <a:endParaRPr lang="de-DE" dirty="0"/>
          </a:p>
          <a:p>
            <a:r>
              <a:rPr lang="de-DE" dirty="0"/>
              <a:t>c: The </a:t>
            </a:r>
            <a:r>
              <a:rPr lang="de-DE" dirty="0" err="1"/>
              <a:t>class</a:t>
            </a:r>
            <a:r>
              <a:rPr lang="de-DE" dirty="0"/>
              <a:t> </a:t>
            </a:r>
            <a:r>
              <a:rPr lang="de-DE" dirty="0" err="1"/>
              <a:t>index</a:t>
            </a:r>
            <a:endParaRPr lang="de-DE" dirty="0"/>
          </a:p>
          <a:p>
            <a:pPr marL="158750" indent="0">
              <a:buNone/>
            </a:pPr>
            <a:r>
              <a:rPr lang="de-DE" dirty="0"/>
              <a:t>W-FP Growth: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b="1" dirty="0">
                <a:effectLst/>
              </a:rPr>
              <a:t>P</a:t>
            </a:r>
            <a:r>
              <a:rPr lang="en-US" dirty="0">
                <a:effectLst/>
              </a:rPr>
              <a:t>  Set the index of the attribute value to consider as 'positive' for binary attributes in normal dense instances. </a:t>
            </a:r>
            <a:br>
              <a:rPr lang="en-US" dirty="0">
                <a:effectLst/>
              </a:rPr>
            </a:br>
            <a:r>
              <a:rPr lang="en-US" b="1" dirty="0">
                <a:effectLst/>
              </a:rPr>
              <a:t>I</a:t>
            </a:r>
            <a:r>
              <a:rPr lang="en-US" dirty="0">
                <a:effectLst/>
              </a:rPr>
              <a:t> The maximum number of items to include in large items sets (and rules). (default = -1, i.e. no limit.)</a:t>
            </a:r>
            <a:br>
              <a:rPr lang="en-US" dirty="0">
                <a:effectLst/>
              </a:rPr>
            </a:br>
            <a:r>
              <a:rPr lang="en-US" b="1" dirty="0">
                <a:effectLst/>
              </a:rPr>
              <a:t>N</a:t>
            </a:r>
            <a:r>
              <a:rPr lang="en-US" dirty="0">
                <a:effectLst/>
              </a:rPr>
              <a:t> (optional) The required number of rules. (default = 10) </a:t>
            </a:r>
            <a:r>
              <a:rPr lang="en-US" b="1" dirty="0">
                <a:effectLst/>
              </a:rPr>
              <a:t>Type: </a:t>
            </a:r>
            <a:r>
              <a:rPr lang="en-US" i="1" dirty="0">
                <a:effectLst/>
              </a:rPr>
              <a:t>real</a:t>
            </a:r>
            <a:br>
              <a:rPr lang="en-US" dirty="0">
                <a:effectLst/>
              </a:rPr>
            </a:br>
            <a:r>
              <a:rPr lang="en-US" b="1" dirty="0">
                <a:effectLst/>
              </a:rPr>
              <a:t>T</a:t>
            </a:r>
            <a:r>
              <a:rPr lang="en-US" dirty="0">
                <a:effectLst/>
              </a:rPr>
              <a:t> (optional) The metric by which to rank rules. (default = confidence) </a:t>
            </a:r>
            <a:r>
              <a:rPr lang="en-US" b="1" dirty="0">
                <a:effectLst/>
              </a:rPr>
              <a:t>Type: </a:t>
            </a:r>
            <a:r>
              <a:rPr lang="en-US" i="1" dirty="0">
                <a:effectLst/>
              </a:rPr>
              <a:t>real</a:t>
            </a:r>
            <a:br>
              <a:rPr lang="en-US" dirty="0">
                <a:effectLst/>
              </a:rPr>
            </a:br>
            <a:r>
              <a:rPr lang="en-US" b="1" dirty="0">
                <a:effectLst/>
              </a:rPr>
              <a:t>C</a:t>
            </a:r>
            <a:r>
              <a:rPr lang="en-US" dirty="0">
                <a:effectLst/>
              </a:rPr>
              <a:t> (optional) The minimum metric score of a rule. (default = 0.9) </a:t>
            </a:r>
            <a:r>
              <a:rPr lang="en-US" b="1" dirty="0">
                <a:effectLst/>
              </a:rPr>
              <a:t>Type: </a:t>
            </a:r>
            <a:r>
              <a:rPr lang="en-US" i="1" dirty="0">
                <a:effectLst/>
              </a:rPr>
              <a:t>real</a:t>
            </a:r>
            <a:br>
              <a:rPr lang="en-US" dirty="0">
                <a:effectLst/>
              </a:rPr>
            </a:br>
            <a:r>
              <a:rPr lang="en-US" b="1" dirty="0">
                <a:effectLst/>
              </a:rPr>
              <a:t>U</a:t>
            </a:r>
            <a:r>
              <a:rPr lang="en-US" dirty="0">
                <a:effectLst/>
              </a:rPr>
              <a:t> (optional) Upper bound for minimum support as a fraction or number of instances. (default = 1.0) </a:t>
            </a:r>
            <a:r>
              <a:rPr lang="en-US" b="1" dirty="0">
                <a:effectLst/>
              </a:rPr>
              <a:t>Type: </a:t>
            </a:r>
            <a:r>
              <a:rPr lang="en-US" i="1" dirty="0">
                <a:effectLst/>
              </a:rPr>
              <a:t>real</a:t>
            </a:r>
            <a:br>
              <a:rPr lang="en-US" dirty="0">
                <a:effectLst/>
              </a:rPr>
            </a:br>
            <a:r>
              <a:rPr lang="en-US" b="1" dirty="0">
                <a:effectLst/>
              </a:rPr>
              <a:t>M</a:t>
            </a:r>
            <a:r>
              <a:rPr lang="en-US" dirty="0">
                <a:effectLst/>
              </a:rPr>
              <a:t> (optional) The lower bound for the minimum support as a fraction or number of instances. (default = 0.1) </a:t>
            </a:r>
            <a:r>
              <a:rPr lang="en-US" b="1" dirty="0">
                <a:effectLst/>
              </a:rPr>
              <a:t>Type: </a:t>
            </a:r>
            <a:r>
              <a:rPr lang="en-US" i="1" dirty="0">
                <a:effectLst/>
              </a:rPr>
              <a:t>real</a:t>
            </a:r>
            <a:br>
              <a:rPr lang="en-US" dirty="0">
                <a:effectLst/>
              </a:rPr>
            </a:br>
            <a:r>
              <a:rPr lang="en-US" b="1" dirty="0">
                <a:effectLst/>
              </a:rPr>
              <a:t>D</a:t>
            </a:r>
            <a:r>
              <a:rPr lang="en-US" dirty="0">
                <a:effectLst/>
              </a:rPr>
              <a:t> (optional) The delta by which the minimum support is decreased in each iteration as a fraction or number of instances. (default = 0.05) </a:t>
            </a:r>
            <a:r>
              <a:rPr lang="en-US" b="1" dirty="0">
                <a:effectLst/>
              </a:rPr>
              <a:t>Type: </a:t>
            </a:r>
            <a:r>
              <a:rPr lang="en-US" i="1" dirty="0">
                <a:effectLst/>
              </a:rPr>
              <a:t>real</a:t>
            </a:r>
            <a:br>
              <a:rPr lang="en-US" dirty="0">
                <a:effectLst/>
              </a:rPr>
            </a:br>
            <a:r>
              <a:rPr lang="en-US" b="1" dirty="0">
                <a:effectLst/>
              </a:rPr>
              <a:t>S</a:t>
            </a:r>
            <a:r>
              <a:rPr lang="en-US" dirty="0">
                <a:effectLst/>
              </a:rPr>
              <a:t> (optional) Find all rules that meet the lower bound on minimum support and the minimum metric constraint. Turning this mode on will disable the iterative support reduction procedure to find the specified number of rules. </a:t>
            </a:r>
          </a:p>
          <a:p>
            <a:endParaRPr lang="de-DE" dirty="0"/>
          </a:p>
        </p:txBody>
      </p:sp>
    </p:spTree>
    <p:extLst>
      <p:ext uri="{BB962C8B-B14F-4D97-AF65-F5344CB8AC3E}">
        <p14:creationId xmlns:p14="http://schemas.microsoft.com/office/powerpoint/2010/main" val="380997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4255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13820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6c60e245bf_1_318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6c60e245bf_1_318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62573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7"/>
        <p:cNvGrpSpPr/>
        <p:nvPr/>
      </p:nvGrpSpPr>
      <p:grpSpPr>
        <a:xfrm>
          <a:off x="0" y="0"/>
          <a:ext cx="0" cy="0"/>
          <a:chOff x="0" y="0"/>
          <a:chExt cx="0" cy="0"/>
        </a:xfrm>
      </p:grpSpPr>
      <p:sp>
        <p:nvSpPr>
          <p:cNvPr id="568" name="Google Shape;568;g6c4305b01e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9" name="Google Shape;569;g6c4305b01e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Google Shape;597;g6c4305b01e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c4305b01e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Google Shape;684;g6c60e245bf_1_313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85" name="Google Shape;685;g6c60e245bf_1_313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4"/>
        <p:cNvGrpSpPr/>
        <p:nvPr/>
      </p:nvGrpSpPr>
      <p:grpSpPr>
        <a:xfrm>
          <a:off x="0" y="0"/>
          <a:ext cx="0" cy="0"/>
          <a:chOff x="0" y="0"/>
          <a:chExt cx="0" cy="0"/>
        </a:xfrm>
      </p:grpSpPr>
      <p:sp>
        <p:nvSpPr>
          <p:cNvPr id="695" name="Google Shape;695;g6c4305b01e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6" name="Google Shape;696;g6c4305b01e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6c4305b01e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6c4305b01e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6c4305b01e_0_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6c4305b01e_0_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4"/>
        <p:cNvGrpSpPr/>
        <p:nvPr/>
      </p:nvGrpSpPr>
      <p:grpSpPr>
        <a:xfrm>
          <a:off x="0" y="0"/>
          <a:ext cx="0" cy="0"/>
          <a:chOff x="0" y="0"/>
          <a:chExt cx="0" cy="0"/>
        </a:xfrm>
      </p:grpSpPr>
      <p:sp>
        <p:nvSpPr>
          <p:cNvPr id="1065" name="Google Shape;1065;g6c60e245bf_1_31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 name="Google Shape;1066;g6c60e245bf_1_31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70d13569c7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77" name="Google Shape;1077;g70d13569c7_2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6c4305b01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6c4305b01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3055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6c4305b01e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6c4305b01e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6c52a2e8d8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6c52a2e8d8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g72c4329eae_4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1" name="Google Shape;1131;g72c4329eae_4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g6c52a2e8d8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7" name="Google Shape;1137;g6c52a2e8d8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g6c52a2e8d8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2" name="Google Shape;1162;g6c52a2e8d8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70e1a7781e_1_4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70e1a7781e_1_4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6c52a2e8d8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8" name="Google Shape;1238;g6c52a2e8d8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6c52a2e8d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6c52a2e8d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6c60e245bf_1_313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6c60e245bf_1_313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6c52a2e8d8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6c52a2e8d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71728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3"/>
        <p:cNvGrpSpPr/>
        <p:nvPr/>
      </p:nvGrpSpPr>
      <p:grpSpPr>
        <a:xfrm>
          <a:off x="0" y="0"/>
          <a:ext cx="0" cy="0"/>
          <a:chOff x="0" y="0"/>
          <a:chExt cx="0" cy="0"/>
        </a:xfrm>
      </p:grpSpPr>
      <p:sp>
        <p:nvSpPr>
          <p:cNvPr id="1384" name="Google Shape;1384;g6c60e245bf_1_315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5" name="Google Shape;1385;g6c60e245bf_1_315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g6c60e245bf_1_315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4" name="Google Shape;1584;g6c60e245bf_1_315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9"/>
        <p:cNvGrpSpPr/>
        <p:nvPr/>
      </p:nvGrpSpPr>
      <p:grpSpPr>
        <a:xfrm>
          <a:off x="0" y="0"/>
          <a:ext cx="0" cy="0"/>
          <a:chOff x="0" y="0"/>
          <a:chExt cx="0" cy="0"/>
        </a:xfrm>
      </p:grpSpPr>
      <p:sp>
        <p:nvSpPr>
          <p:cNvPr id="1590" name="Google Shape;1590;g70e1a7781e_1_129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1" name="Google Shape;1591;g70e1a7781e_1_129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70e1a7781e_1_129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98" name="Google Shape;1598;g70e1a7781e_1_129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70e1a7781e_1_13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70e1a7781e_1_13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9"/>
        <p:cNvGrpSpPr/>
        <p:nvPr/>
      </p:nvGrpSpPr>
      <p:grpSpPr>
        <a:xfrm>
          <a:off x="0" y="0"/>
          <a:ext cx="0" cy="0"/>
          <a:chOff x="0" y="0"/>
          <a:chExt cx="0" cy="0"/>
        </a:xfrm>
      </p:grpSpPr>
      <p:sp>
        <p:nvSpPr>
          <p:cNvPr id="1950" name="Google Shape;1950;g70e1a7781e_1_13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51" name="Google Shape;1951;g70e1a7781e_1_13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49"/>
        <p:cNvGrpSpPr/>
        <p:nvPr/>
      </p:nvGrpSpPr>
      <p:grpSpPr>
        <a:xfrm>
          <a:off x="0" y="0"/>
          <a:ext cx="0" cy="0"/>
          <a:chOff x="0" y="0"/>
          <a:chExt cx="0" cy="0"/>
        </a:xfrm>
      </p:grpSpPr>
      <p:sp>
        <p:nvSpPr>
          <p:cNvPr id="8450" name="Google Shape;8450;g70e1a7781e_1_198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51" name="Google Shape;8451;g70e1a7781e_1_198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6"/>
        <p:cNvGrpSpPr/>
        <p:nvPr/>
      </p:nvGrpSpPr>
      <p:grpSpPr>
        <a:xfrm>
          <a:off x="0" y="0"/>
          <a:ext cx="0" cy="0"/>
          <a:chOff x="0" y="0"/>
          <a:chExt cx="0" cy="0"/>
        </a:xfrm>
      </p:grpSpPr>
      <p:sp>
        <p:nvSpPr>
          <p:cNvPr id="8877" name="Google Shape;8877;g70e1a7781e_1_20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78" name="Google Shape;8878;g70e1a7781e_1_20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9"/>
        <p:cNvGrpSpPr/>
        <p:nvPr/>
      </p:nvGrpSpPr>
      <p:grpSpPr>
        <a:xfrm>
          <a:off x="0" y="0"/>
          <a:ext cx="0" cy="0"/>
          <a:chOff x="0" y="0"/>
          <a:chExt cx="0" cy="0"/>
        </a:xfrm>
      </p:grpSpPr>
      <p:sp>
        <p:nvSpPr>
          <p:cNvPr id="9040" name="Google Shape;9040;g70e1a7781e_1_204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1" name="Google Shape;9041;g70e1a7781e_1_204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1"/>
        <p:cNvGrpSpPr/>
        <p:nvPr/>
      </p:nvGrpSpPr>
      <p:grpSpPr>
        <a:xfrm>
          <a:off x="0" y="0"/>
          <a:ext cx="0" cy="0"/>
          <a:chOff x="0" y="0"/>
          <a:chExt cx="0" cy="0"/>
        </a:xfrm>
      </p:grpSpPr>
      <p:sp>
        <p:nvSpPr>
          <p:cNvPr id="9442" name="Google Shape;9442;g70e1a7781e_1_208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43" name="Google Shape;9443;g70e1a7781e_1_208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81863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2"/>
        <p:cNvGrpSpPr/>
        <p:nvPr/>
      </p:nvGrpSpPr>
      <p:grpSpPr>
        <a:xfrm>
          <a:off x="0" y="0"/>
          <a:ext cx="0" cy="0"/>
          <a:chOff x="0" y="0"/>
          <a:chExt cx="0" cy="0"/>
        </a:xfrm>
      </p:grpSpPr>
      <p:sp>
        <p:nvSpPr>
          <p:cNvPr id="9813" name="Google Shape;9813;g70e1a7781e_1_212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14" name="Google Shape;9814;g70e1a7781e_1_212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89"/>
        <p:cNvGrpSpPr/>
        <p:nvPr/>
      </p:nvGrpSpPr>
      <p:grpSpPr>
        <a:xfrm>
          <a:off x="0" y="0"/>
          <a:ext cx="0" cy="0"/>
          <a:chOff x="0" y="0"/>
          <a:chExt cx="0" cy="0"/>
        </a:xfrm>
      </p:grpSpPr>
      <p:sp>
        <p:nvSpPr>
          <p:cNvPr id="10190" name="Google Shape;10190;g70e1a7781e_1_215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91" name="Google Shape;10191;g70e1a7781e_1_215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20"/>
        <p:cNvGrpSpPr/>
        <p:nvPr/>
      </p:nvGrpSpPr>
      <p:grpSpPr>
        <a:xfrm>
          <a:off x="0" y="0"/>
          <a:ext cx="0" cy="0"/>
          <a:chOff x="0" y="0"/>
          <a:chExt cx="0" cy="0"/>
        </a:xfrm>
      </p:grpSpPr>
      <p:sp>
        <p:nvSpPr>
          <p:cNvPr id="10621" name="Google Shape;10621;g70e1a7781e_1_220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22" name="Google Shape;10622;g70e1a7781e_1_22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3"/>
        <p:cNvGrpSpPr/>
        <p:nvPr/>
      </p:nvGrpSpPr>
      <p:grpSpPr>
        <a:xfrm>
          <a:off x="0" y="0"/>
          <a:ext cx="0" cy="0"/>
          <a:chOff x="0" y="0"/>
          <a:chExt cx="0" cy="0"/>
        </a:xfrm>
      </p:grpSpPr>
      <p:sp>
        <p:nvSpPr>
          <p:cNvPr id="11414" name="Google Shape;11414;g70e1a7781e_1_227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15" name="Google Shape;11415;g70e1a7781e_1_2279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4"/>
        <p:cNvGrpSpPr/>
        <p:nvPr/>
      </p:nvGrpSpPr>
      <p:grpSpPr>
        <a:xfrm>
          <a:off x="0" y="0"/>
          <a:ext cx="0" cy="0"/>
          <a:chOff x="0" y="0"/>
          <a:chExt cx="0" cy="0"/>
        </a:xfrm>
      </p:grpSpPr>
      <p:sp>
        <p:nvSpPr>
          <p:cNvPr id="12155" name="Google Shape;12155;g70e1a7781e_1_23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56" name="Google Shape;12156;g70e1a7781e_1_23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7"/>
        <p:cNvGrpSpPr/>
        <p:nvPr/>
      </p:nvGrpSpPr>
      <p:grpSpPr>
        <a:xfrm>
          <a:off x="0" y="0"/>
          <a:ext cx="0" cy="0"/>
          <a:chOff x="0" y="0"/>
          <a:chExt cx="0" cy="0"/>
        </a:xfrm>
      </p:grpSpPr>
      <p:sp>
        <p:nvSpPr>
          <p:cNvPr id="12848" name="Google Shape;12848;g70e1a7781e_1_242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49" name="Google Shape;12849;g70e1a7781e_1_242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9"/>
        <p:cNvGrpSpPr/>
        <p:nvPr/>
      </p:nvGrpSpPr>
      <p:grpSpPr>
        <a:xfrm>
          <a:off x="0" y="0"/>
          <a:ext cx="0" cy="0"/>
          <a:chOff x="0" y="0"/>
          <a:chExt cx="0" cy="0"/>
        </a:xfrm>
      </p:grpSpPr>
      <p:sp>
        <p:nvSpPr>
          <p:cNvPr id="13150" name="Google Shape;13150;g70e1a7781e_1_245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51" name="Google Shape;13151;g70e1a7781e_1_245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189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g6c4305b01e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4" name="Google Shape;504;g6c4305b01e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61972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58750" marR="0" lvl="0" indent="0" algn="l" defTabSz="914400" rtl="0" eaLnBrk="1" fontAlgn="auto" latinLnBrk="0" hangingPunct="1">
              <a:lnSpc>
                <a:spcPct val="107000"/>
              </a:lnSpc>
              <a:spcBef>
                <a:spcPts val="0"/>
              </a:spcBef>
              <a:spcAft>
                <a:spcPts val="800"/>
              </a:spcAft>
              <a:buClr>
                <a:srgbClr val="000000"/>
              </a:buClr>
              <a:buSzPts val="1100"/>
              <a:buFont typeface="Arial"/>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Die Market Basket Analysis (auch bekannt als Affinity Analysis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ssociation</a:t>
            </a:r>
            <a:r>
              <a:rPr lang="de-DE" sz="1800" dirty="0">
                <a:effectLst/>
                <a:latin typeface="Calibri" panose="020F0502020204030204" pitchFamily="34" charset="0"/>
                <a:ea typeface="Calibri" panose="020F0502020204030204" pitchFamily="34" charset="0"/>
                <a:cs typeface="Times New Roman" panose="02020603050405020304" pitchFamily="18" charset="0"/>
              </a:rPr>
              <a:t> Rule Learning) nutzt statistische Methoden, um Beziehungen zwischen Produkten in Einkaufsdaten zu identifizieren. Hier sind einige der häufigsten Methoden:</a:t>
            </a: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 Dies ist ein häufig verwendeter Algorithmus für die Market Basket Analysis, der Regeln generiert, die auf häufigen Kombinationen von Produkten bas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 Eine schnellere Alternative zum Apriori-Algorithmus, die verwendet wird, um häufige Gegenstände und Regeln zu identifiz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 Verwendet Clustering-Methoden wie k-</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eans</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Hierarchical</a:t>
            </a:r>
            <a:r>
              <a:rPr lang="de-DE" sz="1800" dirty="0">
                <a:effectLst/>
                <a:latin typeface="Calibri" panose="020F0502020204030204" pitchFamily="34" charset="0"/>
                <a:ea typeface="Calibri" panose="020F0502020204030204" pitchFamily="34" charset="0"/>
                <a:cs typeface="Times New Roman" panose="02020603050405020304" pitchFamily="18" charset="0"/>
              </a:rPr>
              <a:t> Clustering, um Kunden oder Produkte in Gruppen zu unterteilen, die ähnliche Einkaufsgewohnheiten aufweis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 Verwendet künstliche neuronale Netze, um Muster in den Einkaufsdaten zu erkennen und Regeln zu generier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lche Methode eignet sich am besten? Was sind die Vor- und Nachteile der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Es gibt keine allgemein anerkannte "beste" Methode für die Market Basket Analysis, da die Wahl der Methode von den spezifischen Anforderungen und Eigenschaften des Datensatzes abhängt. Hier sind einige Vor- und Nachteile der häufigsten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priori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nfach zu implementieren und interpretieren,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langsam sein, wenn die Anzahl der Regeln sehr groß is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FP-Growth 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Schnellere Leistung als der Apriori-Algorithmus, eignet sich gut für große Datensätze mit vielen Transaktion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der Apriori-Algorithmu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lustering:</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Eignet sich gut für die Segmentierung von Kunden oder Produkten, kann auch visuelle Darstellungen liefer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Erfordert die Auswahl einer bestimmten Anzahl von Clustern, kann schwieriger zu interpretieren sein als andere Method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err="1">
                <a:effectLst/>
                <a:latin typeface="Calibri" panose="020F0502020204030204" pitchFamily="34" charset="0"/>
                <a:ea typeface="Calibri" panose="020F0502020204030204" pitchFamily="34" charset="0"/>
                <a:cs typeface="Times New Roman" panose="02020603050405020304" pitchFamily="18" charset="0"/>
              </a:rPr>
              <a:t>Neural</a:t>
            </a:r>
            <a:r>
              <a:rPr lang="de-DE" sz="1800" dirty="0">
                <a:effectLst/>
                <a:latin typeface="Calibri" panose="020F0502020204030204" pitchFamily="34" charset="0"/>
                <a:ea typeface="Calibri" panose="020F0502020204030204" pitchFamily="34" charset="0"/>
                <a:cs typeface="Times New Roman" panose="02020603050405020304" pitchFamily="18" charset="0"/>
              </a:rPr>
              <a:t> Network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Muster in komplexen Datensätzen erkennen, eignet sich gut für nicht-lineare Beziehungen zwischen Produk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benötigt möglicherweise eine große Menge an Trainingsdat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Vorteile: Kann einfach zu implementieren sein, eignet sich gut für Empfehlungssysteme.</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Nachteile: Kann schwieriger zu interpretieren sein als andere Methoden, erfordert möglicherweise eine große Anzahl von Benutzern mit ähnlichen Interessen.</a:t>
            </a:r>
          </a:p>
          <a:p>
            <a:endParaRPr lang="de-DE" dirty="0"/>
          </a:p>
        </p:txBody>
      </p:sp>
    </p:spTree>
    <p:extLst>
      <p:ext uri="{BB962C8B-B14F-4D97-AF65-F5344CB8AC3E}">
        <p14:creationId xmlns:p14="http://schemas.microsoft.com/office/powerpoint/2010/main" val="1865069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6c4305b01e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6c4305b01e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Weitere:</a:t>
            </a:r>
          </a:p>
          <a:p>
            <a:pPr marL="457200" marR="0" lvl="0" indent="-298450" algn="l" defTabSz="914400" rtl="0" eaLnBrk="1" fontAlgn="auto" latinLnBrk="0" hangingPunct="1">
              <a:lnSpc>
                <a:spcPct val="107000"/>
              </a:lnSpc>
              <a:spcBef>
                <a:spcPts val="0"/>
              </a:spcBef>
              <a:spcAft>
                <a:spcPts val="800"/>
              </a:spcAft>
              <a:buClr>
                <a:srgbClr val="000000"/>
              </a:buClr>
              <a:buSzPts val="1100"/>
              <a:buFont typeface="Arial"/>
              <a:buChar char="●"/>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Collaborativ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Filtering</a:t>
            </a:r>
            <a:r>
              <a:rPr lang="de-DE" sz="1800" dirty="0">
                <a:effectLst/>
                <a:latin typeface="Calibri" panose="020F0502020204030204" pitchFamily="34" charset="0"/>
                <a:ea typeface="Calibri" panose="020F0502020204030204" pitchFamily="34" charset="0"/>
                <a:cs typeface="Times New Roman" panose="02020603050405020304" pitchFamily="18" charset="0"/>
              </a:rPr>
              <a:t>: Empfiehlt Produkte auf der Grundlage der Einkaufsgewohnheiten von anderen Kunden, die ähnliche Interessen haben.</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AIS</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BA</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P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CMAR</a:t>
            </a:r>
          </a:p>
          <a:p>
            <a:pPr>
              <a:lnSpc>
                <a:spcPct val="107000"/>
              </a:lnSpc>
              <a:spcAft>
                <a:spcPts val="800"/>
              </a:spcAft>
            </a:pPr>
            <a:r>
              <a:rPr lang="de-DE" sz="1800" dirty="0">
                <a:effectLst/>
                <a:latin typeface="Calibri" panose="020F0502020204030204" pitchFamily="34" charset="0"/>
                <a:ea typeface="Calibri" panose="020F0502020204030204" pitchFamily="34" charset="0"/>
                <a:cs typeface="Times New Roman" panose="02020603050405020304" pitchFamily="18" charset="0"/>
              </a:rPr>
              <a:t>-MCAR</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84374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solidFill>
                  <a:schemeClr val="lt1"/>
                </a:solidFill>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 name="Google Shape;11;p2"/>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 name="Google Shape;17;p2"/>
          <p:cNvGrpSpPr/>
          <p:nvPr/>
        </p:nvGrpSpPr>
        <p:grpSpPr>
          <a:xfrm>
            <a:off x="8263682" y="-434366"/>
            <a:ext cx="188886" cy="1181531"/>
            <a:chOff x="2877432" y="975334"/>
            <a:chExt cx="188886" cy="1181531"/>
          </a:xfrm>
        </p:grpSpPr>
        <p:sp>
          <p:nvSpPr>
            <p:cNvPr id="18" name="Google Shape;18;p2"/>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2"/>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 name="Google Shape;22;p2"/>
          <p:cNvGrpSpPr/>
          <p:nvPr/>
        </p:nvGrpSpPr>
        <p:grpSpPr>
          <a:xfrm>
            <a:off x="3090746" y="-533657"/>
            <a:ext cx="98059" cy="1147596"/>
            <a:chOff x="3347921" y="16006"/>
            <a:chExt cx="98059" cy="1147596"/>
          </a:xfrm>
        </p:grpSpPr>
        <p:sp>
          <p:nvSpPr>
            <p:cNvPr id="23" name="Google Shape;23;p2"/>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25;p2"/>
          <p:cNvGrpSpPr/>
          <p:nvPr/>
        </p:nvGrpSpPr>
        <p:grpSpPr>
          <a:xfrm>
            <a:off x="4892771" y="-340112"/>
            <a:ext cx="121172" cy="760495"/>
            <a:chOff x="5245196" y="3136513"/>
            <a:chExt cx="121172" cy="760495"/>
          </a:xfrm>
        </p:grpSpPr>
        <p:sp>
          <p:nvSpPr>
            <p:cNvPr id="26" name="Google Shape;26;p2"/>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28;p2"/>
          <p:cNvGrpSpPr/>
          <p:nvPr/>
        </p:nvGrpSpPr>
        <p:grpSpPr>
          <a:xfrm>
            <a:off x="250617" y="2402301"/>
            <a:ext cx="188650" cy="2468354"/>
            <a:chOff x="250617" y="2402301"/>
            <a:chExt cx="188650" cy="2468354"/>
          </a:xfrm>
        </p:grpSpPr>
        <p:sp>
          <p:nvSpPr>
            <p:cNvPr id="29" name="Google Shape;29;p2"/>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3" name="Google Shape;33;p2"/>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5" name="Google Shape;35;p2"/>
          <p:cNvGrpSpPr/>
          <p:nvPr/>
        </p:nvGrpSpPr>
        <p:grpSpPr>
          <a:xfrm>
            <a:off x="2038689" y="173907"/>
            <a:ext cx="57599" cy="831799"/>
            <a:chOff x="2038689" y="173907"/>
            <a:chExt cx="57599" cy="831799"/>
          </a:xfrm>
        </p:grpSpPr>
        <p:sp>
          <p:nvSpPr>
            <p:cNvPr id="36" name="Google Shape;36;p2"/>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Quote">
  <p:cSld name="TITLE_1">
    <p:spTree>
      <p:nvGrpSpPr>
        <p:cNvPr id="1" name="Shape 175"/>
        <p:cNvGrpSpPr/>
        <p:nvPr/>
      </p:nvGrpSpPr>
      <p:grpSpPr>
        <a:xfrm>
          <a:off x="0" y="0"/>
          <a:ext cx="0" cy="0"/>
          <a:chOff x="0" y="0"/>
          <a:chExt cx="0" cy="0"/>
        </a:xfrm>
      </p:grpSpPr>
      <p:sp>
        <p:nvSpPr>
          <p:cNvPr id="176" name="Google Shape;176;p11"/>
          <p:cNvSpPr txBox="1">
            <a:spLocks noGrp="1"/>
          </p:cNvSpPr>
          <p:nvPr>
            <p:ph type="ctrTitle"/>
          </p:nvPr>
        </p:nvSpPr>
        <p:spPr>
          <a:xfrm>
            <a:off x="3068675" y="3075325"/>
            <a:ext cx="3055800" cy="54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2400">
                <a:solidFill>
                  <a:schemeClr val="accent1"/>
                </a:solidFill>
              </a:defRPr>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7" name="Google Shape;177;p11"/>
          <p:cNvSpPr txBox="1">
            <a:spLocks noGrp="1"/>
          </p:cNvSpPr>
          <p:nvPr>
            <p:ph type="subTitle" idx="1"/>
          </p:nvPr>
        </p:nvSpPr>
        <p:spPr>
          <a:xfrm>
            <a:off x="2333000" y="1799075"/>
            <a:ext cx="4478100" cy="7926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800"/>
              <a:buNone/>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8" name="Google Shape;178;p11"/>
          <p:cNvSpPr/>
          <p:nvPr/>
        </p:nvSpPr>
        <p:spPr>
          <a:xfrm>
            <a:off x="1621169" y="2890613"/>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1"/>
          <p:cNvSpPr/>
          <p:nvPr/>
        </p:nvSpPr>
        <p:spPr>
          <a:xfrm>
            <a:off x="1238740" y="2106884"/>
            <a:ext cx="121434" cy="121434"/>
          </a:xfrm>
          <a:custGeom>
            <a:avLst/>
            <a:gdLst/>
            <a:ahLst/>
            <a:cxnLst/>
            <a:rect l="l" t="t" r="r" b="b"/>
            <a:pathLst>
              <a:path w="4634" h="4634" extrusionOk="0">
                <a:moveTo>
                  <a:pt x="0" y="1"/>
                </a:moveTo>
                <a:lnTo>
                  <a:pt x="0" y="4634"/>
                </a:lnTo>
                <a:lnTo>
                  <a:pt x="4633" y="4634"/>
                </a:lnTo>
                <a:lnTo>
                  <a:pt x="463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1"/>
          <p:cNvSpPr/>
          <p:nvPr/>
        </p:nvSpPr>
        <p:spPr>
          <a:xfrm>
            <a:off x="8710023" y="4821495"/>
            <a:ext cx="98059" cy="98295"/>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1"/>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1"/>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 name="Google Shape;183;p11"/>
          <p:cNvGrpSpPr/>
          <p:nvPr/>
        </p:nvGrpSpPr>
        <p:grpSpPr>
          <a:xfrm>
            <a:off x="8217007" y="3576772"/>
            <a:ext cx="188886" cy="1181531"/>
            <a:chOff x="2877432" y="975334"/>
            <a:chExt cx="188886" cy="1181531"/>
          </a:xfrm>
        </p:grpSpPr>
        <p:sp>
          <p:nvSpPr>
            <p:cNvPr id="184" name="Google Shape;184;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7" name="Google Shape;187;p11"/>
          <p:cNvSpPr/>
          <p:nvPr/>
        </p:nvSpPr>
        <p:spPr>
          <a:xfrm>
            <a:off x="8718796" y="116488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8" name="Google Shape;188;p11"/>
          <p:cNvGrpSpPr/>
          <p:nvPr/>
        </p:nvGrpSpPr>
        <p:grpSpPr>
          <a:xfrm>
            <a:off x="7519346" y="3243318"/>
            <a:ext cx="98059" cy="1147596"/>
            <a:chOff x="3347921" y="16006"/>
            <a:chExt cx="98059" cy="1147596"/>
          </a:xfrm>
        </p:grpSpPr>
        <p:sp>
          <p:nvSpPr>
            <p:cNvPr id="189" name="Google Shape;189;p11"/>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1"/>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1" name="Google Shape;191;p11"/>
          <p:cNvGrpSpPr/>
          <p:nvPr/>
        </p:nvGrpSpPr>
        <p:grpSpPr>
          <a:xfrm>
            <a:off x="805821" y="2953663"/>
            <a:ext cx="121172" cy="760495"/>
            <a:chOff x="5245196" y="3136513"/>
            <a:chExt cx="121172" cy="760495"/>
          </a:xfrm>
        </p:grpSpPr>
        <p:sp>
          <p:nvSpPr>
            <p:cNvPr id="192" name="Google Shape;192;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194;p11"/>
          <p:cNvGrpSpPr/>
          <p:nvPr/>
        </p:nvGrpSpPr>
        <p:grpSpPr>
          <a:xfrm>
            <a:off x="250617" y="2402301"/>
            <a:ext cx="188650" cy="2468354"/>
            <a:chOff x="250617" y="2402301"/>
            <a:chExt cx="188650" cy="2468354"/>
          </a:xfrm>
        </p:grpSpPr>
        <p:sp>
          <p:nvSpPr>
            <p:cNvPr id="195" name="Google Shape;195;p11"/>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1"/>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1"/>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1"/>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9" name="Google Shape;199;p11"/>
          <p:cNvSpPr/>
          <p:nvPr/>
        </p:nvSpPr>
        <p:spPr>
          <a:xfrm>
            <a:off x="8307214" y="-383977"/>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1"/>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1" name="Google Shape;201;p11"/>
          <p:cNvGrpSpPr/>
          <p:nvPr/>
        </p:nvGrpSpPr>
        <p:grpSpPr>
          <a:xfrm>
            <a:off x="2038689" y="173907"/>
            <a:ext cx="57599" cy="831799"/>
            <a:chOff x="2038689" y="173907"/>
            <a:chExt cx="57599" cy="831799"/>
          </a:xfrm>
        </p:grpSpPr>
        <p:sp>
          <p:nvSpPr>
            <p:cNvPr id="202" name="Google Shape;202;p11"/>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1"/>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4" name="Google Shape;204;p11"/>
          <p:cNvSpPr/>
          <p:nvPr/>
        </p:nvSpPr>
        <p:spPr>
          <a:xfrm>
            <a:off x="7582340" y="1834534"/>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5" name="Google Shape;205;p11"/>
          <p:cNvGrpSpPr/>
          <p:nvPr/>
        </p:nvGrpSpPr>
        <p:grpSpPr>
          <a:xfrm>
            <a:off x="4920170" y="-496491"/>
            <a:ext cx="188886" cy="1181531"/>
            <a:chOff x="2877432" y="975334"/>
            <a:chExt cx="188886" cy="1181531"/>
          </a:xfrm>
        </p:grpSpPr>
        <p:sp>
          <p:nvSpPr>
            <p:cNvPr id="206" name="Google Shape;206;p11"/>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1"/>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1"/>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chemeClr val="accent2"/>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9" name="Google Shape;209;p11"/>
          <p:cNvSpPr/>
          <p:nvPr/>
        </p:nvSpPr>
        <p:spPr>
          <a:xfrm>
            <a:off x="7084804" y="549572"/>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10" name="Google Shape;210;p11"/>
          <p:cNvGrpSpPr/>
          <p:nvPr/>
        </p:nvGrpSpPr>
        <p:grpSpPr>
          <a:xfrm>
            <a:off x="3030471" y="-223849"/>
            <a:ext cx="121172" cy="760495"/>
            <a:chOff x="5245196" y="3136513"/>
            <a:chExt cx="121172" cy="760495"/>
          </a:xfrm>
        </p:grpSpPr>
        <p:sp>
          <p:nvSpPr>
            <p:cNvPr id="211" name="Google Shape;211;p11"/>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1"/>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3" name="Google Shape;213;p11"/>
          <p:cNvGrpSpPr/>
          <p:nvPr/>
        </p:nvGrpSpPr>
        <p:grpSpPr>
          <a:xfrm>
            <a:off x="2306292" y="2569221"/>
            <a:ext cx="199237" cy="2828935"/>
            <a:chOff x="1608717" y="1280046"/>
            <a:chExt cx="199237" cy="2828935"/>
          </a:xfrm>
        </p:grpSpPr>
        <p:sp>
          <p:nvSpPr>
            <p:cNvPr id="214" name="Google Shape;214;p11"/>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1"/>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1"/>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17"/>
        <p:cNvGrpSpPr/>
        <p:nvPr/>
      </p:nvGrpSpPr>
      <p:grpSpPr>
        <a:xfrm>
          <a:off x="0" y="0"/>
          <a:ext cx="0" cy="0"/>
          <a:chOff x="0" y="0"/>
          <a:chExt cx="0" cy="0"/>
        </a:xfrm>
      </p:grpSpPr>
      <p:sp>
        <p:nvSpPr>
          <p:cNvPr id="218" name="Google Shape;218;p12"/>
          <p:cNvSpPr txBox="1">
            <a:spLocks noGrp="1"/>
          </p:cNvSpPr>
          <p:nvPr>
            <p:ph type="title" hasCustomPrompt="1"/>
          </p:nvPr>
        </p:nvSpPr>
        <p:spPr>
          <a:xfrm>
            <a:off x="1733725" y="856650"/>
            <a:ext cx="5676600" cy="12303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8000">
                <a:solidFill>
                  <a:schemeClr val="accent2"/>
                </a:solidFill>
              </a:defRPr>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219" name="Google Shape;219;p12"/>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grpSp>
        <p:nvGrpSpPr>
          <p:cNvPr id="220" name="Google Shape;220;p12"/>
          <p:cNvGrpSpPr/>
          <p:nvPr/>
        </p:nvGrpSpPr>
        <p:grpSpPr>
          <a:xfrm>
            <a:off x="722446" y="3412541"/>
            <a:ext cx="7699120" cy="1883463"/>
            <a:chOff x="4558950" y="838825"/>
            <a:chExt cx="2813800" cy="688350"/>
          </a:xfrm>
        </p:grpSpPr>
        <p:sp>
          <p:nvSpPr>
            <p:cNvPr id="221" name="Google Shape;221;p12"/>
            <p:cNvSpPr/>
            <p:nvPr/>
          </p:nvSpPr>
          <p:spPr>
            <a:xfrm>
              <a:off x="6067275" y="838825"/>
              <a:ext cx="46025" cy="39525"/>
            </a:xfrm>
            <a:custGeom>
              <a:avLst/>
              <a:gdLst/>
              <a:ahLst/>
              <a:cxnLst/>
              <a:rect l="l" t="t" r="r" b="b"/>
              <a:pathLst>
                <a:path w="1841" h="1581" extrusionOk="0">
                  <a:moveTo>
                    <a:pt x="1059" y="0"/>
                  </a:moveTo>
                  <a:cubicBezTo>
                    <a:pt x="353" y="0"/>
                    <a:pt x="1" y="857"/>
                    <a:pt x="492" y="1348"/>
                  </a:cubicBezTo>
                  <a:cubicBezTo>
                    <a:pt x="656" y="1508"/>
                    <a:pt x="856" y="1580"/>
                    <a:pt x="1051" y="1580"/>
                  </a:cubicBezTo>
                  <a:cubicBezTo>
                    <a:pt x="1456" y="1580"/>
                    <a:pt x="1840" y="1270"/>
                    <a:pt x="1840" y="794"/>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2"/>
            <p:cNvSpPr/>
            <p:nvPr/>
          </p:nvSpPr>
          <p:spPr>
            <a:xfrm>
              <a:off x="4703850" y="911275"/>
              <a:ext cx="2580700" cy="613375"/>
            </a:xfrm>
            <a:custGeom>
              <a:avLst/>
              <a:gdLst/>
              <a:ahLst/>
              <a:cxnLst/>
              <a:rect l="l" t="t" r="r" b="b"/>
              <a:pathLst>
                <a:path w="103228" h="24535" extrusionOk="0">
                  <a:moveTo>
                    <a:pt x="47431" y="0"/>
                  </a:moveTo>
                  <a:lnTo>
                    <a:pt x="34779" y="13685"/>
                  </a:lnTo>
                  <a:lnTo>
                    <a:pt x="20906" y="18309"/>
                  </a:lnTo>
                  <a:lnTo>
                    <a:pt x="15412" y="16898"/>
                  </a:lnTo>
                  <a:lnTo>
                    <a:pt x="9061" y="9892"/>
                  </a:lnTo>
                  <a:lnTo>
                    <a:pt x="1" y="24459"/>
                  </a:lnTo>
                  <a:lnTo>
                    <a:pt x="127" y="24534"/>
                  </a:lnTo>
                  <a:lnTo>
                    <a:pt x="9086" y="10131"/>
                  </a:lnTo>
                  <a:lnTo>
                    <a:pt x="15336" y="17024"/>
                  </a:lnTo>
                  <a:lnTo>
                    <a:pt x="20893" y="18448"/>
                  </a:lnTo>
                  <a:lnTo>
                    <a:pt x="20918" y="18461"/>
                  </a:lnTo>
                  <a:lnTo>
                    <a:pt x="34855" y="13811"/>
                  </a:lnTo>
                  <a:lnTo>
                    <a:pt x="47431" y="215"/>
                  </a:lnTo>
                  <a:lnTo>
                    <a:pt x="59099" y="12778"/>
                  </a:lnTo>
                  <a:lnTo>
                    <a:pt x="67479" y="19620"/>
                  </a:lnTo>
                  <a:lnTo>
                    <a:pt x="76513" y="18196"/>
                  </a:lnTo>
                  <a:lnTo>
                    <a:pt x="82209" y="19885"/>
                  </a:lnTo>
                  <a:lnTo>
                    <a:pt x="88661" y="9035"/>
                  </a:lnTo>
                  <a:lnTo>
                    <a:pt x="95138" y="5860"/>
                  </a:lnTo>
                  <a:lnTo>
                    <a:pt x="103101" y="24496"/>
                  </a:lnTo>
                  <a:lnTo>
                    <a:pt x="103227" y="24433"/>
                  </a:lnTo>
                  <a:lnTo>
                    <a:pt x="95213" y="5671"/>
                  </a:lnTo>
                  <a:lnTo>
                    <a:pt x="88585" y="8922"/>
                  </a:lnTo>
                  <a:lnTo>
                    <a:pt x="88560" y="8934"/>
                  </a:lnTo>
                  <a:lnTo>
                    <a:pt x="82146" y="19708"/>
                  </a:lnTo>
                  <a:lnTo>
                    <a:pt x="76539" y="18057"/>
                  </a:lnTo>
                  <a:lnTo>
                    <a:pt x="76513" y="18045"/>
                  </a:lnTo>
                  <a:lnTo>
                    <a:pt x="67529" y="19469"/>
                  </a:lnTo>
                  <a:lnTo>
                    <a:pt x="59187" y="12664"/>
                  </a:lnTo>
                  <a:lnTo>
                    <a:pt x="4743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2"/>
            <p:cNvSpPr/>
            <p:nvPr/>
          </p:nvSpPr>
          <p:spPr>
            <a:xfrm>
              <a:off x="4704175" y="930800"/>
              <a:ext cx="2582575" cy="595725"/>
            </a:xfrm>
            <a:custGeom>
              <a:avLst/>
              <a:gdLst/>
              <a:ahLst/>
              <a:cxnLst/>
              <a:rect l="l" t="t" r="r" b="b"/>
              <a:pathLst>
                <a:path w="103303" h="23829" extrusionOk="0">
                  <a:moveTo>
                    <a:pt x="67125" y="1"/>
                  </a:moveTo>
                  <a:lnTo>
                    <a:pt x="58065" y="5948"/>
                  </a:lnTo>
                  <a:lnTo>
                    <a:pt x="47115" y="9817"/>
                  </a:lnTo>
                  <a:lnTo>
                    <a:pt x="41747" y="17995"/>
                  </a:lnTo>
                  <a:lnTo>
                    <a:pt x="26941" y="870"/>
                  </a:lnTo>
                  <a:lnTo>
                    <a:pt x="19822" y="13421"/>
                  </a:lnTo>
                  <a:lnTo>
                    <a:pt x="8758" y="16054"/>
                  </a:lnTo>
                  <a:lnTo>
                    <a:pt x="8733" y="16054"/>
                  </a:lnTo>
                  <a:lnTo>
                    <a:pt x="1" y="23665"/>
                  </a:lnTo>
                  <a:lnTo>
                    <a:pt x="101" y="23766"/>
                  </a:lnTo>
                  <a:lnTo>
                    <a:pt x="8809" y="16180"/>
                  </a:lnTo>
                  <a:lnTo>
                    <a:pt x="19885" y="13547"/>
                  </a:lnTo>
                  <a:lnTo>
                    <a:pt x="19910" y="13547"/>
                  </a:lnTo>
                  <a:lnTo>
                    <a:pt x="26966" y="1122"/>
                  </a:lnTo>
                  <a:lnTo>
                    <a:pt x="41697" y="18158"/>
                  </a:lnTo>
                  <a:lnTo>
                    <a:pt x="41760" y="18234"/>
                  </a:lnTo>
                  <a:lnTo>
                    <a:pt x="47203" y="9930"/>
                  </a:lnTo>
                  <a:lnTo>
                    <a:pt x="58116" y="6087"/>
                  </a:lnTo>
                  <a:lnTo>
                    <a:pt x="67088" y="190"/>
                  </a:lnTo>
                  <a:lnTo>
                    <a:pt x="73224" y="8884"/>
                  </a:lnTo>
                  <a:lnTo>
                    <a:pt x="73262" y="8935"/>
                  </a:lnTo>
                  <a:lnTo>
                    <a:pt x="81125" y="5583"/>
                  </a:lnTo>
                  <a:lnTo>
                    <a:pt x="94091" y="13408"/>
                  </a:lnTo>
                  <a:lnTo>
                    <a:pt x="103189" y="23829"/>
                  </a:lnTo>
                  <a:lnTo>
                    <a:pt x="103303" y="23728"/>
                  </a:lnTo>
                  <a:lnTo>
                    <a:pt x="94192" y="13307"/>
                  </a:lnTo>
                  <a:lnTo>
                    <a:pt x="81138" y="5419"/>
                  </a:lnTo>
                  <a:lnTo>
                    <a:pt x="73312" y="8758"/>
                  </a:lnTo>
                  <a:lnTo>
                    <a:pt x="67125"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2"/>
            <p:cNvSpPr/>
            <p:nvPr/>
          </p:nvSpPr>
          <p:spPr>
            <a:xfrm>
              <a:off x="4904225" y="1145950"/>
              <a:ext cx="46000" cy="39350"/>
            </a:xfrm>
            <a:custGeom>
              <a:avLst/>
              <a:gdLst/>
              <a:ahLst/>
              <a:cxnLst/>
              <a:rect l="l" t="t" r="r" b="b"/>
              <a:pathLst>
                <a:path w="1840" h="1574" extrusionOk="0">
                  <a:moveTo>
                    <a:pt x="1059" y="1"/>
                  </a:moveTo>
                  <a:cubicBezTo>
                    <a:pt x="353" y="1"/>
                    <a:pt x="0" y="845"/>
                    <a:pt x="504" y="1337"/>
                  </a:cubicBezTo>
                  <a:cubicBezTo>
                    <a:pt x="664" y="1501"/>
                    <a:pt x="861" y="1574"/>
                    <a:pt x="1054" y="1574"/>
                  </a:cubicBezTo>
                  <a:cubicBezTo>
                    <a:pt x="1455" y="1574"/>
                    <a:pt x="1840" y="1258"/>
                    <a:pt x="1840" y="782"/>
                  </a:cubicBezTo>
                  <a:cubicBezTo>
                    <a:pt x="1840" y="354"/>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12"/>
            <p:cNvSpPr/>
            <p:nvPr/>
          </p:nvSpPr>
          <p:spPr>
            <a:xfrm>
              <a:off x="5062350" y="1316075"/>
              <a:ext cx="46025" cy="39350"/>
            </a:xfrm>
            <a:custGeom>
              <a:avLst/>
              <a:gdLst/>
              <a:ahLst/>
              <a:cxnLst/>
              <a:rect l="l" t="t" r="r" b="b"/>
              <a:pathLst>
                <a:path w="1841" h="1574" extrusionOk="0">
                  <a:moveTo>
                    <a:pt x="1059" y="0"/>
                  </a:moveTo>
                  <a:cubicBezTo>
                    <a:pt x="354" y="0"/>
                    <a:pt x="1" y="845"/>
                    <a:pt x="492" y="1336"/>
                  </a:cubicBezTo>
                  <a:cubicBezTo>
                    <a:pt x="656" y="1500"/>
                    <a:pt x="856" y="1573"/>
                    <a:pt x="1051" y="1573"/>
                  </a:cubicBezTo>
                  <a:cubicBezTo>
                    <a:pt x="1456" y="1573"/>
                    <a:pt x="1841" y="1258"/>
                    <a:pt x="1841" y="782"/>
                  </a:cubicBezTo>
                  <a:cubicBezTo>
                    <a:pt x="1841"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2"/>
            <p:cNvSpPr/>
            <p:nvPr/>
          </p:nvSpPr>
          <p:spPr>
            <a:xfrm>
              <a:off x="5209475" y="1350400"/>
              <a:ext cx="39725" cy="39725"/>
            </a:xfrm>
            <a:custGeom>
              <a:avLst/>
              <a:gdLst/>
              <a:ahLst/>
              <a:cxnLst/>
              <a:rect l="l" t="t" r="r" b="b"/>
              <a:pathLst>
                <a:path w="1589" h="1589" extrusionOk="0">
                  <a:moveTo>
                    <a:pt x="794" y="1"/>
                  </a:moveTo>
                  <a:cubicBezTo>
                    <a:pt x="353" y="1"/>
                    <a:pt x="0" y="354"/>
                    <a:pt x="0" y="795"/>
                  </a:cubicBezTo>
                  <a:cubicBezTo>
                    <a:pt x="0" y="1223"/>
                    <a:pt x="353" y="1589"/>
                    <a:pt x="794" y="1589"/>
                  </a:cubicBezTo>
                  <a:cubicBezTo>
                    <a:pt x="1235" y="1589"/>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2"/>
            <p:cNvSpPr/>
            <p:nvPr/>
          </p:nvSpPr>
          <p:spPr>
            <a:xfrm>
              <a:off x="5173875" y="1248975"/>
              <a:ext cx="46025" cy="39450"/>
            </a:xfrm>
            <a:custGeom>
              <a:avLst/>
              <a:gdLst/>
              <a:ahLst/>
              <a:cxnLst/>
              <a:rect l="l" t="t" r="r" b="b"/>
              <a:pathLst>
                <a:path w="1841" h="1578" extrusionOk="0">
                  <a:moveTo>
                    <a:pt x="1059" y="0"/>
                  </a:moveTo>
                  <a:cubicBezTo>
                    <a:pt x="353" y="0"/>
                    <a:pt x="0" y="845"/>
                    <a:pt x="505" y="1349"/>
                  </a:cubicBezTo>
                  <a:cubicBezTo>
                    <a:pt x="663" y="1507"/>
                    <a:pt x="858" y="1578"/>
                    <a:pt x="1049" y="1578"/>
                  </a:cubicBezTo>
                  <a:cubicBezTo>
                    <a:pt x="1452" y="1578"/>
                    <a:pt x="1840" y="1264"/>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2"/>
            <p:cNvSpPr/>
            <p:nvPr/>
          </p:nvSpPr>
          <p:spPr>
            <a:xfrm>
              <a:off x="5352500" y="938375"/>
              <a:ext cx="46000" cy="39500"/>
            </a:xfrm>
            <a:custGeom>
              <a:avLst/>
              <a:gdLst/>
              <a:ahLst/>
              <a:cxnLst/>
              <a:rect l="l" t="t" r="r" b="b"/>
              <a:pathLst>
                <a:path w="1840" h="1580" extrusionOk="0">
                  <a:moveTo>
                    <a:pt x="1059" y="0"/>
                  </a:moveTo>
                  <a:cubicBezTo>
                    <a:pt x="353" y="0"/>
                    <a:pt x="0" y="857"/>
                    <a:pt x="504" y="1348"/>
                  </a:cubicBezTo>
                  <a:cubicBezTo>
                    <a:pt x="664" y="1508"/>
                    <a:pt x="861" y="1580"/>
                    <a:pt x="1054" y="1580"/>
                  </a:cubicBezTo>
                  <a:cubicBezTo>
                    <a:pt x="1455" y="1580"/>
                    <a:pt x="1840" y="1270"/>
                    <a:pt x="1840" y="794"/>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2"/>
            <p:cNvSpPr/>
            <p:nvPr/>
          </p:nvSpPr>
          <p:spPr>
            <a:xfrm>
              <a:off x="5722650" y="1358275"/>
              <a:ext cx="46000" cy="39525"/>
            </a:xfrm>
            <a:custGeom>
              <a:avLst/>
              <a:gdLst/>
              <a:ahLst/>
              <a:cxnLst/>
              <a:rect l="l" t="t" r="r" b="b"/>
              <a:pathLst>
                <a:path w="1840" h="1581" extrusionOk="0">
                  <a:moveTo>
                    <a:pt x="1046" y="1"/>
                  </a:moveTo>
                  <a:cubicBezTo>
                    <a:pt x="353" y="1"/>
                    <a:pt x="0" y="858"/>
                    <a:pt x="492" y="1349"/>
                  </a:cubicBezTo>
                  <a:cubicBezTo>
                    <a:pt x="655" y="1509"/>
                    <a:pt x="855" y="1581"/>
                    <a:pt x="1050" y="1581"/>
                  </a:cubicBezTo>
                  <a:cubicBezTo>
                    <a:pt x="1455" y="1581"/>
                    <a:pt x="1840" y="1271"/>
                    <a:pt x="1840" y="795"/>
                  </a:cubicBezTo>
                  <a:cubicBezTo>
                    <a:pt x="1840" y="354"/>
                    <a:pt x="1487" y="1"/>
                    <a:pt x="10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2"/>
            <p:cNvSpPr/>
            <p:nvPr/>
          </p:nvSpPr>
          <p:spPr>
            <a:xfrm>
              <a:off x="5859350" y="1157300"/>
              <a:ext cx="46025" cy="39450"/>
            </a:xfrm>
            <a:custGeom>
              <a:avLst/>
              <a:gdLst/>
              <a:ahLst/>
              <a:cxnLst/>
              <a:rect l="l" t="t" r="r" b="b"/>
              <a:pathLst>
                <a:path w="1841" h="1578" extrusionOk="0">
                  <a:moveTo>
                    <a:pt x="1059" y="1"/>
                  </a:moveTo>
                  <a:cubicBezTo>
                    <a:pt x="354" y="1"/>
                    <a:pt x="1" y="845"/>
                    <a:pt x="492" y="1349"/>
                  </a:cubicBezTo>
                  <a:cubicBezTo>
                    <a:pt x="655" y="1507"/>
                    <a:pt x="852" y="1578"/>
                    <a:pt x="1046" y="1578"/>
                  </a:cubicBezTo>
                  <a:cubicBezTo>
                    <a:pt x="1453" y="1578"/>
                    <a:pt x="1841" y="1264"/>
                    <a:pt x="1841" y="794"/>
                  </a:cubicBezTo>
                  <a:cubicBezTo>
                    <a:pt x="1841" y="353"/>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12"/>
            <p:cNvSpPr/>
            <p:nvPr/>
          </p:nvSpPr>
          <p:spPr>
            <a:xfrm>
              <a:off x="6131225" y="1060900"/>
              <a:ext cx="46025" cy="39350"/>
            </a:xfrm>
            <a:custGeom>
              <a:avLst/>
              <a:gdLst/>
              <a:ahLst/>
              <a:cxnLst/>
              <a:rect l="l" t="t" r="r" b="b"/>
              <a:pathLst>
                <a:path w="1841" h="1574" extrusionOk="0">
                  <a:moveTo>
                    <a:pt x="1059" y="1"/>
                  </a:moveTo>
                  <a:cubicBezTo>
                    <a:pt x="353" y="1"/>
                    <a:pt x="1" y="845"/>
                    <a:pt x="492" y="1336"/>
                  </a:cubicBezTo>
                  <a:cubicBezTo>
                    <a:pt x="656" y="1500"/>
                    <a:pt x="856" y="1574"/>
                    <a:pt x="1051" y="1574"/>
                  </a:cubicBezTo>
                  <a:cubicBezTo>
                    <a:pt x="1456" y="1574"/>
                    <a:pt x="1840" y="1258"/>
                    <a:pt x="1840" y="782"/>
                  </a:cubicBezTo>
                  <a:cubicBezTo>
                    <a:pt x="1840" y="341"/>
                    <a:pt x="1487"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2"/>
            <p:cNvSpPr/>
            <p:nvPr/>
          </p:nvSpPr>
          <p:spPr>
            <a:xfrm>
              <a:off x="6358050" y="914425"/>
              <a:ext cx="46000" cy="39350"/>
            </a:xfrm>
            <a:custGeom>
              <a:avLst/>
              <a:gdLst/>
              <a:ahLst/>
              <a:cxnLst/>
              <a:rect l="l" t="t" r="r" b="b"/>
              <a:pathLst>
                <a:path w="1840" h="1574" extrusionOk="0">
                  <a:moveTo>
                    <a:pt x="1059" y="0"/>
                  </a:moveTo>
                  <a:cubicBezTo>
                    <a:pt x="353" y="0"/>
                    <a:pt x="0" y="845"/>
                    <a:pt x="504" y="1336"/>
                  </a:cubicBezTo>
                  <a:cubicBezTo>
                    <a:pt x="664" y="1500"/>
                    <a:pt x="861" y="1573"/>
                    <a:pt x="1054" y="1573"/>
                  </a:cubicBezTo>
                  <a:cubicBezTo>
                    <a:pt x="1455" y="1573"/>
                    <a:pt x="1840" y="1258"/>
                    <a:pt x="1840" y="782"/>
                  </a:cubicBezTo>
                  <a:cubicBezTo>
                    <a:pt x="1840" y="353"/>
                    <a:pt x="1487"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2"/>
            <p:cNvSpPr/>
            <p:nvPr/>
          </p:nvSpPr>
          <p:spPr>
            <a:xfrm>
              <a:off x="6510200" y="1128325"/>
              <a:ext cx="46025" cy="39450"/>
            </a:xfrm>
            <a:custGeom>
              <a:avLst/>
              <a:gdLst/>
              <a:ahLst/>
              <a:cxnLst/>
              <a:rect l="l" t="t" r="r" b="b"/>
              <a:pathLst>
                <a:path w="1841" h="1578" extrusionOk="0">
                  <a:moveTo>
                    <a:pt x="1046" y="0"/>
                  </a:moveTo>
                  <a:cubicBezTo>
                    <a:pt x="353" y="0"/>
                    <a:pt x="0" y="845"/>
                    <a:pt x="492" y="1349"/>
                  </a:cubicBezTo>
                  <a:cubicBezTo>
                    <a:pt x="650" y="1507"/>
                    <a:pt x="846" y="1578"/>
                    <a:pt x="1039" y="1578"/>
                  </a:cubicBezTo>
                  <a:cubicBezTo>
                    <a:pt x="1446" y="1578"/>
                    <a:pt x="1840" y="1264"/>
                    <a:pt x="1840" y="794"/>
                  </a:cubicBezTo>
                  <a:cubicBezTo>
                    <a:pt x="1840" y="353"/>
                    <a:pt x="1487" y="0"/>
                    <a:pt x="1046"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2"/>
            <p:cNvSpPr/>
            <p:nvPr/>
          </p:nvSpPr>
          <p:spPr>
            <a:xfrm>
              <a:off x="6708025" y="1051150"/>
              <a:ext cx="46025" cy="39425"/>
            </a:xfrm>
            <a:custGeom>
              <a:avLst/>
              <a:gdLst/>
              <a:ahLst/>
              <a:cxnLst/>
              <a:rect l="l" t="t" r="r" b="b"/>
              <a:pathLst>
                <a:path w="1841" h="1577" extrusionOk="0">
                  <a:moveTo>
                    <a:pt x="1059" y="0"/>
                  </a:moveTo>
                  <a:cubicBezTo>
                    <a:pt x="354" y="0"/>
                    <a:pt x="1" y="844"/>
                    <a:pt x="492" y="1348"/>
                  </a:cubicBezTo>
                  <a:cubicBezTo>
                    <a:pt x="654" y="1506"/>
                    <a:pt x="851" y="1577"/>
                    <a:pt x="1044" y="1577"/>
                  </a:cubicBezTo>
                  <a:cubicBezTo>
                    <a:pt x="1451" y="1577"/>
                    <a:pt x="1840" y="1260"/>
                    <a:pt x="1840" y="781"/>
                  </a:cubicBezTo>
                  <a:cubicBezTo>
                    <a:pt x="1840" y="353"/>
                    <a:pt x="1488" y="0"/>
                    <a:pt x="105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12"/>
            <p:cNvSpPr/>
            <p:nvPr/>
          </p:nvSpPr>
          <p:spPr>
            <a:xfrm>
              <a:off x="7033125" y="1244875"/>
              <a:ext cx="46025" cy="39450"/>
            </a:xfrm>
            <a:custGeom>
              <a:avLst/>
              <a:gdLst/>
              <a:ahLst/>
              <a:cxnLst/>
              <a:rect l="l" t="t" r="r" b="b"/>
              <a:pathLst>
                <a:path w="1841" h="1578" extrusionOk="0">
                  <a:moveTo>
                    <a:pt x="1047" y="1"/>
                  </a:moveTo>
                  <a:cubicBezTo>
                    <a:pt x="341" y="1"/>
                    <a:pt x="1" y="858"/>
                    <a:pt x="492" y="1349"/>
                  </a:cubicBezTo>
                  <a:cubicBezTo>
                    <a:pt x="651" y="1507"/>
                    <a:pt x="847" y="1578"/>
                    <a:pt x="1040" y="1578"/>
                  </a:cubicBezTo>
                  <a:cubicBezTo>
                    <a:pt x="1447" y="1578"/>
                    <a:pt x="1841" y="1264"/>
                    <a:pt x="1841" y="795"/>
                  </a:cubicBezTo>
                  <a:cubicBezTo>
                    <a:pt x="1841" y="353"/>
                    <a:pt x="1488" y="1"/>
                    <a:pt x="104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2"/>
            <p:cNvSpPr/>
            <p:nvPr/>
          </p:nvSpPr>
          <p:spPr>
            <a:xfrm>
              <a:off x="4898850" y="1313550"/>
              <a:ext cx="46025" cy="39350"/>
            </a:xfrm>
            <a:custGeom>
              <a:avLst/>
              <a:gdLst/>
              <a:ahLst/>
              <a:cxnLst/>
              <a:rect l="l" t="t" r="r" b="b"/>
              <a:pathLst>
                <a:path w="1841" h="1574" extrusionOk="0">
                  <a:moveTo>
                    <a:pt x="1059" y="1"/>
                  </a:moveTo>
                  <a:cubicBezTo>
                    <a:pt x="354" y="1"/>
                    <a:pt x="1" y="845"/>
                    <a:pt x="492" y="1336"/>
                  </a:cubicBezTo>
                  <a:cubicBezTo>
                    <a:pt x="656" y="1500"/>
                    <a:pt x="856" y="1574"/>
                    <a:pt x="1051" y="1574"/>
                  </a:cubicBezTo>
                  <a:cubicBezTo>
                    <a:pt x="1456" y="1574"/>
                    <a:pt x="1841" y="1258"/>
                    <a:pt x="1841" y="782"/>
                  </a:cubicBezTo>
                  <a:cubicBezTo>
                    <a:pt x="1841" y="341"/>
                    <a:pt x="1488" y="1"/>
                    <a:pt x="105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12"/>
            <p:cNvSpPr/>
            <p:nvPr/>
          </p:nvSpPr>
          <p:spPr>
            <a:xfrm>
              <a:off x="5551575" y="1234800"/>
              <a:ext cx="46025" cy="39350"/>
            </a:xfrm>
            <a:custGeom>
              <a:avLst/>
              <a:gdLst/>
              <a:ahLst/>
              <a:cxnLst/>
              <a:rect l="l" t="t" r="r" b="b"/>
              <a:pathLst>
                <a:path w="1841" h="1574" extrusionOk="0">
                  <a:moveTo>
                    <a:pt x="1059" y="0"/>
                  </a:moveTo>
                  <a:cubicBezTo>
                    <a:pt x="354" y="0"/>
                    <a:pt x="1" y="845"/>
                    <a:pt x="505" y="1336"/>
                  </a:cubicBezTo>
                  <a:cubicBezTo>
                    <a:pt x="665" y="1500"/>
                    <a:pt x="862" y="1573"/>
                    <a:pt x="1055" y="1573"/>
                  </a:cubicBezTo>
                  <a:cubicBezTo>
                    <a:pt x="1456" y="1573"/>
                    <a:pt x="1841" y="1258"/>
                    <a:pt x="1841" y="782"/>
                  </a:cubicBezTo>
                  <a:cubicBezTo>
                    <a:pt x="1841" y="341"/>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12"/>
            <p:cNvSpPr/>
            <p:nvPr/>
          </p:nvSpPr>
          <p:spPr>
            <a:xfrm>
              <a:off x="5887400" y="907725"/>
              <a:ext cx="45075" cy="39575"/>
            </a:xfrm>
            <a:custGeom>
              <a:avLst/>
              <a:gdLst/>
              <a:ahLst/>
              <a:cxnLst/>
              <a:rect l="l" t="t" r="r" b="b"/>
              <a:pathLst>
                <a:path w="1803" h="1583" extrusionOk="0">
                  <a:moveTo>
                    <a:pt x="896" y="1"/>
                  </a:moveTo>
                  <a:cubicBezTo>
                    <a:pt x="589" y="1"/>
                    <a:pt x="299" y="182"/>
                    <a:pt x="177" y="483"/>
                  </a:cubicBezTo>
                  <a:cubicBezTo>
                    <a:pt x="0" y="886"/>
                    <a:pt x="189" y="1352"/>
                    <a:pt x="593" y="1516"/>
                  </a:cubicBezTo>
                  <a:cubicBezTo>
                    <a:pt x="695" y="1561"/>
                    <a:pt x="802" y="1582"/>
                    <a:pt x="907" y="1582"/>
                  </a:cubicBezTo>
                  <a:cubicBezTo>
                    <a:pt x="1215" y="1582"/>
                    <a:pt x="1507" y="1400"/>
                    <a:pt x="1639" y="1100"/>
                  </a:cubicBezTo>
                  <a:cubicBezTo>
                    <a:pt x="1802" y="697"/>
                    <a:pt x="1613" y="231"/>
                    <a:pt x="1210" y="67"/>
                  </a:cubicBezTo>
                  <a:cubicBezTo>
                    <a:pt x="1107" y="22"/>
                    <a:pt x="1001" y="1"/>
                    <a:pt x="89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12"/>
            <p:cNvSpPr/>
            <p:nvPr/>
          </p:nvSpPr>
          <p:spPr>
            <a:xfrm>
              <a:off x="6166200" y="1209275"/>
              <a:ext cx="39700" cy="39725"/>
            </a:xfrm>
            <a:custGeom>
              <a:avLst/>
              <a:gdLst/>
              <a:ahLst/>
              <a:cxnLst/>
              <a:rect l="l" t="t" r="r" b="b"/>
              <a:pathLst>
                <a:path w="1588" h="1589" extrusionOk="0">
                  <a:moveTo>
                    <a:pt x="794" y="1"/>
                  </a:moveTo>
                  <a:cubicBezTo>
                    <a:pt x="366" y="1"/>
                    <a:pt x="0" y="354"/>
                    <a:pt x="0" y="795"/>
                  </a:cubicBezTo>
                  <a:cubicBezTo>
                    <a:pt x="0" y="1223"/>
                    <a:pt x="366" y="1588"/>
                    <a:pt x="794" y="1588"/>
                  </a:cubicBezTo>
                  <a:cubicBezTo>
                    <a:pt x="1235" y="1588"/>
                    <a:pt x="1588" y="1223"/>
                    <a:pt x="1588" y="795"/>
                  </a:cubicBezTo>
                  <a:cubicBezTo>
                    <a:pt x="1588" y="354"/>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12"/>
            <p:cNvSpPr/>
            <p:nvPr/>
          </p:nvSpPr>
          <p:spPr>
            <a:xfrm>
              <a:off x="6373800" y="1380650"/>
              <a:ext cx="39700" cy="39400"/>
            </a:xfrm>
            <a:custGeom>
              <a:avLst/>
              <a:gdLst/>
              <a:ahLst/>
              <a:cxnLst/>
              <a:rect l="l" t="t" r="r" b="b"/>
              <a:pathLst>
                <a:path w="1588" h="1576" extrusionOk="0">
                  <a:moveTo>
                    <a:pt x="794" y="1"/>
                  </a:moveTo>
                  <a:cubicBezTo>
                    <a:pt x="353" y="1"/>
                    <a:pt x="0" y="353"/>
                    <a:pt x="0" y="794"/>
                  </a:cubicBezTo>
                  <a:cubicBezTo>
                    <a:pt x="0" y="1223"/>
                    <a:pt x="353" y="1576"/>
                    <a:pt x="794" y="1576"/>
                  </a:cubicBezTo>
                  <a:cubicBezTo>
                    <a:pt x="1235" y="1576"/>
                    <a:pt x="1588" y="1223"/>
                    <a:pt x="1588" y="794"/>
                  </a:cubicBezTo>
                  <a:cubicBezTo>
                    <a:pt x="1588" y="353"/>
                    <a:pt x="1235" y="1"/>
                    <a:pt x="79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12"/>
            <p:cNvSpPr/>
            <p:nvPr/>
          </p:nvSpPr>
          <p:spPr>
            <a:xfrm>
              <a:off x="6594950" y="1344425"/>
              <a:ext cx="46000" cy="39350"/>
            </a:xfrm>
            <a:custGeom>
              <a:avLst/>
              <a:gdLst/>
              <a:ahLst/>
              <a:cxnLst/>
              <a:rect l="l" t="t" r="r" b="b"/>
              <a:pathLst>
                <a:path w="1840" h="1574" extrusionOk="0">
                  <a:moveTo>
                    <a:pt x="1059" y="1"/>
                  </a:moveTo>
                  <a:cubicBezTo>
                    <a:pt x="353" y="1"/>
                    <a:pt x="0" y="845"/>
                    <a:pt x="491" y="1336"/>
                  </a:cubicBezTo>
                  <a:cubicBezTo>
                    <a:pt x="655" y="1500"/>
                    <a:pt x="855" y="1573"/>
                    <a:pt x="1050" y="1573"/>
                  </a:cubicBezTo>
                  <a:cubicBezTo>
                    <a:pt x="1455" y="1573"/>
                    <a:pt x="1840" y="1258"/>
                    <a:pt x="1840" y="782"/>
                  </a:cubicBezTo>
                  <a:cubicBezTo>
                    <a:pt x="1840" y="353"/>
                    <a:pt x="1487"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12"/>
            <p:cNvSpPr/>
            <p:nvPr/>
          </p:nvSpPr>
          <p:spPr>
            <a:xfrm>
              <a:off x="6731025" y="1382850"/>
              <a:ext cx="46025" cy="39475"/>
            </a:xfrm>
            <a:custGeom>
              <a:avLst/>
              <a:gdLst/>
              <a:ahLst/>
              <a:cxnLst/>
              <a:rect l="l" t="t" r="r" b="b"/>
              <a:pathLst>
                <a:path w="1841" h="1579" extrusionOk="0">
                  <a:moveTo>
                    <a:pt x="1059" y="1"/>
                  </a:moveTo>
                  <a:cubicBezTo>
                    <a:pt x="353" y="1"/>
                    <a:pt x="1" y="858"/>
                    <a:pt x="505" y="1349"/>
                  </a:cubicBezTo>
                  <a:cubicBezTo>
                    <a:pt x="663" y="1507"/>
                    <a:pt x="858" y="1578"/>
                    <a:pt x="1049" y="1578"/>
                  </a:cubicBezTo>
                  <a:cubicBezTo>
                    <a:pt x="1452" y="1578"/>
                    <a:pt x="1840" y="1265"/>
                    <a:pt x="1840" y="795"/>
                  </a:cubicBezTo>
                  <a:cubicBezTo>
                    <a:pt x="1840" y="354"/>
                    <a:pt x="1488" y="1"/>
                    <a:pt x="105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2"/>
            <p:cNvSpPr/>
            <p:nvPr/>
          </p:nvSpPr>
          <p:spPr>
            <a:xfrm>
              <a:off x="6891700" y="1116350"/>
              <a:ext cx="46000" cy="39350"/>
            </a:xfrm>
            <a:custGeom>
              <a:avLst/>
              <a:gdLst/>
              <a:ahLst/>
              <a:cxnLst/>
              <a:rect l="l" t="t" r="r" b="b"/>
              <a:pathLst>
                <a:path w="1840" h="1574" extrusionOk="0">
                  <a:moveTo>
                    <a:pt x="1046" y="1"/>
                  </a:moveTo>
                  <a:cubicBezTo>
                    <a:pt x="353" y="1"/>
                    <a:pt x="0" y="845"/>
                    <a:pt x="491" y="1336"/>
                  </a:cubicBezTo>
                  <a:cubicBezTo>
                    <a:pt x="651" y="1500"/>
                    <a:pt x="850" y="1573"/>
                    <a:pt x="1045" y="1573"/>
                  </a:cubicBezTo>
                  <a:cubicBezTo>
                    <a:pt x="1450" y="1573"/>
                    <a:pt x="1840" y="1258"/>
                    <a:pt x="1840" y="782"/>
                  </a:cubicBezTo>
                  <a:cubicBezTo>
                    <a:pt x="1840" y="353"/>
                    <a:pt x="1487" y="1"/>
                    <a:pt x="104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2"/>
            <p:cNvSpPr/>
            <p:nvPr/>
          </p:nvSpPr>
          <p:spPr>
            <a:xfrm>
              <a:off x="7059275" y="1035400"/>
              <a:ext cx="46025" cy="39450"/>
            </a:xfrm>
            <a:custGeom>
              <a:avLst/>
              <a:gdLst/>
              <a:ahLst/>
              <a:cxnLst/>
              <a:rect l="l" t="t" r="r" b="b"/>
              <a:pathLst>
                <a:path w="1841" h="1578" extrusionOk="0">
                  <a:moveTo>
                    <a:pt x="1059" y="0"/>
                  </a:moveTo>
                  <a:cubicBezTo>
                    <a:pt x="354" y="0"/>
                    <a:pt x="1" y="844"/>
                    <a:pt x="505" y="1348"/>
                  </a:cubicBezTo>
                  <a:cubicBezTo>
                    <a:pt x="663" y="1507"/>
                    <a:pt x="858" y="1577"/>
                    <a:pt x="1049" y="1577"/>
                  </a:cubicBezTo>
                  <a:cubicBezTo>
                    <a:pt x="1452" y="1577"/>
                    <a:pt x="1840" y="1264"/>
                    <a:pt x="1840" y="794"/>
                  </a:cubicBezTo>
                  <a:cubicBezTo>
                    <a:pt x="1840" y="353"/>
                    <a:pt x="1488" y="0"/>
                    <a:pt x="105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2"/>
            <p:cNvSpPr/>
            <p:nvPr/>
          </p:nvSpPr>
          <p:spPr>
            <a:xfrm>
              <a:off x="4708275" y="856450"/>
              <a:ext cx="2575650" cy="667875"/>
            </a:xfrm>
            <a:custGeom>
              <a:avLst/>
              <a:gdLst/>
              <a:ahLst/>
              <a:cxnLst/>
              <a:rect l="l" t="t" r="r" b="b"/>
              <a:pathLst>
                <a:path w="103026" h="26715" extrusionOk="0">
                  <a:moveTo>
                    <a:pt x="55432" y="1"/>
                  </a:moveTo>
                  <a:lnTo>
                    <a:pt x="46271" y="7952"/>
                  </a:lnTo>
                  <a:lnTo>
                    <a:pt x="35938" y="5507"/>
                  </a:lnTo>
                  <a:lnTo>
                    <a:pt x="35913" y="5507"/>
                  </a:lnTo>
                  <a:lnTo>
                    <a:pt x="27294" y="11934"/>
                  </a:lnTo>
                  <a:lnTo>
                    <a:pt x="16382" y="6188"/>
                  </a:lnTo>
                  <a:lnTo>
                    <a:pt x="11480" y="23287"/>
                  </a:lnTo>
                  <a:lnTo>
                    <a:pt x="0" y="26526"/>
                  </a:lnTo>
                  <a:lnTo>
                    <a:pt x="38" y="26664"/>
                  </a:lnTo>
                  <a:lnTo>
                    <a:pt x="11593" y="23401"/>
                  </a:lnTo>
                  <a:lnTo>
                    <a:pt x="16470" y="6389"/>
                  </a:lnTo>
                  <a:lnTo>
                    <a:pt x="27306" y="12098"/>
                  </a:lnTo>
                  <a:lnTo>
                    <a:pt x="35938" y="5659"/>
                  </a:lnTo>
                  <a:lnTo>
                    <a:pt x="46309" y="8103"/>
                  </a:lnTo>
                  <a:lnTo>
                    <a:pt x="55419" y="215"/>
                  </a:lnTo>
                  <a:lnTo>
                    <a:pt x="64958" y="12186"/>
                  </a:lnTo>
                  <a:lnTo>
                    <a:pt x="64970" y="12211"/>
                  </a:lnTo>
                  <a:lnTo>
                    <a:pt x="79663" y="15815"/>
                  </a:lnTo>
                  <a:lnTo>
                    <a:pt x="79714" y="15827"/>
                  </a:lnTo>
                  <a:lnTo>
                    <a:pt x="87186" y="5293"/>
                  </a:lnTo>
                  <a:lnTo>
                    <a:pt x="90815" y="19368"/>
                  </a:lnTo>
                  <a:lnTo>
                    <a:pt x="90815" y="19394"/>
                  </a:lnTo>
                  <a:lnTo>
                    <a:pt x="102950" y="26715"/>
                  </a:lnTo>
                  <a:lnTo>
                    <a:pt x="103025" y="26589"/>
                  </a:lnTo>
                  <a:lnTo>
                    <a:pt x="90941" y="19305"/>
                  </a:lnTo>
                  <a:lnTo>
                    <a:pt x="87249" y="4966"/>
                  </a:lnTo>
                  <a:lnTo>
                    <a:pt x="79651" y="15664"/>
                  </a:lnTo>
                  <a:lnTo>
                    <a:pt x="65046" y="12085"/>
                  </a:lnTo>
                  <a:lnTo>
                    <a:pt x="5543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2"/>
            <p:cNvSpPr/>
            <p:nvPr/>
          </p:nvSpPr>
          <p:spPr>
            <a:xfrm>
              <a:off x="4558950" y="1523350"/>
              <a:ext cx="2813800" cy="3825"/>
            </a:xfrm>
            <a:custGeom>
              <a:avLst/>
              <a:gdLst/>
              <a:ahLst/>
              <a:cxnLst/>
              <a:rect l="l" t="t" r="r" b="b"/>
              <a:pathLst>
                <a:path w="112552" h="153" extrusionOk="0">
                  <a:moveTo>
                    <a:pt x="1" y="1"/>
                  </a:moveTo>
                  <a:lnTo>
                    <a:pt x="1" y="152"/>
                  </a:lnTo>
                  <a:lnTo>
                    <a:pt x="112552" y="152"/>
                  </a:lnTo>
                  <a:lnTo>
                    <a:pt x="112552"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2"/>
            <p:cNvSpPr/>
            <p:nvPr/>
          </p:nvSpPr>
          <p:spPr>
            <a:xfrm>
              <a:off x="4967225" y="1418775"/>
              <a:ext cx="46025" cy="39450"/>
            </a:xfrm>
            <a:custGeom>
              <a:avLst/>
              <a:gdLst/>
              <a:ahLst/>
              <a:cxnLst/>
              <a:rect l="l" t="t" r="r" b="b"/>
              <a:pathLst>
                <a:path w="1841" h="1578" extrusionOk="0">
                  <a:moveTo>
                    <a:pt x="1059" y="0"/>
                  </a:moveTo>
                  <a:cubicBezTo>
                    <a:pt x="353" y="0"/>
                    <a:pt x="0" y="845"/>
                    <a:pt x="492" y="1349"/>
                  </a:cubicBezTo>
                  <a:cubicBezTo>
                    <a:pt x="654" y="1506"/>
                    <a:pt x="850" y="1577"/>
                    <a:pt x="1043" y="1577"/>
                  </a:cubicBezTo>
                  <a:cubicBezTo>
                    <a:pt x="1451" y="1577"/>
                    <a:pt x="1840" y="1261"/>
                    <a:pt x="1840" y="782"/>
                  </a:cubicBezTo>
                  <a:cubicBezTo>
                    <a:pt x="1840" y="353"/>
                    <a:pt x="1487"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2"/>
            <p:cNvSpPr/>
            <p:nvPr/>
          </p:nvSpPr>
          <p:spPr>
            <a:xfrm>
              <a:off x="5101172" y="992325"/>
              <a:ext cx="42875" cy="39850"/>
            </a:xfrm>
            <a:custGeom>
              <a:avLst/>
              <a:gdLst/>
              <a:ahLst/>
              <a:cxnLst/>
              <a:rect l="l" t="t" r="r" b="b"/>
              <a:pathLst>
                <a:path w="1715" h="1594" extrusionOk="0">
                  <a:moveTo>
                    <a:pt x="849" y="1"/>
                  </a:moveTo>
                  <a:cubicBezTo>
                    <a:pt x="810" y="1"/>
                    <a:pt x="771" y="4"/>
                    <a:pt x="731" y="9"/>
                  </a:cubicBezTo>
                  <a:cubicBezTo>
                    <a:pt x="290" y="85"/>
                    <a:pt x="1" y="488"/>
                    <a:pt x="76" y="917"/>
                  </a:cubicBezTo>
                  <a:cubicBezTo>
                    <a:pt x="133" y="1317"/>
                    <a:pt x="482" y="1593"/>
                    <a:pt x="866" y="1593"/>
                  </a:cubicBezTo>
                  <a:cubicBezTo>
                    <a:pt x="905" y="1593"/>
                    <a:pt x="944" y="1590"/>
                    <a:pt x="983" y="1584"/>
                  </a:cubicBezTo>
                  <a:cubicBezTo>
                    <a:pt x="1412" y="1509"/>
                    <a:pt x="1714" y="1106"/>
                    <a:pt x="1639" y="665"/>
                  </a:cubicBezTo>
                  <a:cubicBezTo>
                    <a:pt x="1581" y="276"/>
                    <a:pt x="1233" y="1"/>
                    <a:pt x="84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2"/>
            <p:cNvSpPr/>
            <p:nvPr/>
          </p:nvSpPr>
          <p:spPr>
            <a:xfrm>
              <a:off x="5364775" y="1136200"/>
              <a:ext cx="46025" cy="39450"/>
            </a:xfrm>
            <a:custGeom>
              <a:avLst/>
              <a:gdLst/>
              <a:ahLst/>
              <a:cxnLst/>
              <a:rect l="l" t="t" r="r" b="b"/>
              <a:pathLst>
                <a:path w="1841" h="1578" extrusionOk="0">
                  <a:moveTo>
                    <a:pt x="1046" y="0"/>
                  </a:moveTo>
                  <a:cubicBezTo>
                    <a:pt x="353" y="0"/>
                    <a:pt x="1" y="845"/>
                    <a:pt x="492" y="1349"/>
                  </a:cubicBezTo>
                  <a:cubicBezTo>
                    <a:pt x="654" y="1507"/>
                    <a:pt x="852" y="1578"/>
                    <a:pt x="1045" y="1578"/>
                  </a:cubicBezTo>
                  <a:cubicBezTo>
                    <a:pt x="1452" y="1578"/>
                    <a:pt x="1840" y="1264"/>
                    <a:pt x="1840" y="794"/>
                  </a:cubicBezTo>
                  <a:cubicBezTo>
                    <a:pt x="1840" y="353"/>
                    <a:pt x="1488"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2"/>
            <p:cNvSpPr/>
            <p:nvPr/>
          </p:nvSpPr>
          <p:spPr>
            <a:xfrm>
              <a:off x="5581825" y="976800"/>
              <a:ext cx="46025" cy="39525"/>
            </a:xfrm>
            <a:custGeom>
              <a:avLst/>
              <a:gdLst/>
              <a:ahLst/>
              <a:cxnLst/>
              <a:rect l="l" t="t" r="r" b="b"/>
              <a:pathLst>
                <a:path w="1841" h="1581" extrusionOk="0">
                  <a:moveTo>
                    <a:pt x="1059" y="0"/>
                  </a:moveTo>
                  <a:cubicBezTo>
                    <a:pt x="353" y="0"/>
                    <a:pt x="1" y="857"/>
                    <a:pt x="505" y="1349"/>
                  </a:cubicBezTo>
                  <a:cubicBezTo>
                    <a:pt x="664" y="1508"/>
                    <a:pt x="861" y="1580"/>
                    <a:pt x="1055" y="1580"/>
                  </a:cubicBezTo>
                  <a:cubicBezTo>
                    <a:pt x="1456" y="1580"/>
                    <a:pt x="1840" y="1270"/>
                    <a:pt x="1840" y="794"/>
                  </a:cubicBezTo>
                  <a:cubicBezTo>
                    <a:pt x="1840"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2"/>
            <p:cNvSpPr/>
            <p:nvPr/>
          </p:nvSpPr>
          <p:spPr>
            <a:xfrm>
              <a:off x="5838875" y="1036025"/>
              <a:ext cx="46025" cy="39450"/>
            </a:xfrm>
            <a:custGeom>
              <a:avLst/>
              <a:gdLst/>
              <a:ahLst/>
              <a:cxnLst/>
              <a:rect l="l" t="t" r="r" b="b"/>
              <a:pathLst>
                <a:path w="1841" h="1578" extrusionOk="0">
                  <a:moveTo>
                    <a:pt x="1059" y="0"/>
                  </a:moveTo>
                  <a:cubicBezTo>
                    <a:pt x="354" y="0"/>
                    <a:pt x="1" y="845"/>
                    <a:pt x="492" y="1349"/>
                  </a:cubicBezTo>
                  <a:cubicBezTo>
                    <a:pt x="655" y="1507"/>
                    <a:pt x="852" y="1578"/>
                    <a:pt x="1046" y="1578"/>
                  </a:cubicBezTo>
                  <a:cubicBezTo>
                    <a:pt x="1453" y="1578"/>
                    <a:pt x="1841" y="1264"/>
                    <a:pt x="1841" y="794"/>
                  </a:cubicBezTo>
                  <a:cubicBezTo>
                    <a:pt x="1841" y="353"/>
                    <a:pt x="1488" y="0"/>
                    <a:pt x="105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2"/>
            <p:cNvSpPr/>
            <p:nvPr/>
          </p:nvSpPr>
          <p:spPr>
            <a:xfrm>
              <a:off x="6316150" y="1138400"/>
              <a:ext cx="39700" cy="39400"/>
            </a:xfrm>
            <a:custGeom>
              <a:avLst/>
              <a:gdLst/>
              <a:ahLst/>
              <a:cxnLst/>
              <a:rect l="l" t="t" r="r" b="b"/>
              <a:pathLst>
                <a:path w="1588" h="1576" extrusionOk="0">
                  <a:moveTo>
                    <a:pt x="794" y="1"/>
                  </a:moveTo>
                  <a:cubicBezTo>
                    <a:pt x="353" y="1"/>
                    <a:pt x="0" y="353"/>
                    <a:pt x="0" y="782"/>
                  </a:cubicBezTo>
                  <a:cubicBezTo>
                    <a:pt x="0" y="1223"/>
                    <a:pt x="353" y="1576"/>
                    <a:pt x="794" y="1576"/>
                  </a:cubicBezTo>
                  <a:cubicBezTo>
                    <a:pt x="1235" y="1576"/>
                    <a:pt x="1588" y="1223"/>
                    <a:pt x="1588" y="782"/>
                  </a:cubicBezTo>
                  <a:cubicBezTo>
                    <a:pt x="1588" y="353"/>
                    <a:pt x="1235" y="1"/>
                    <a:pt x="79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2"/>
            <p:cNvSpPr/>
            <p:nvPr/>
          </p:nvSpPr>
          <p:spPr>
            <a:xfrm>
              <a:off x="6675275" y="1230075"/>
              <a:ext cx="46000" cy="39350"/>
            </a:xfrm>
            <a:custGeom>
              <a:avLst/>
              <a:gdLst/>
              <a:ahLst/>
              <a:cxnLst/>
              <a:rect l="l" t="t" r="r" b="b"/>
              <a:pathLst>
                <a:path w="1840" h="1574" extrusionOk="0">
                  <a:moveTo>
                    <a:pt x="1046" y="0"/>
                  </a:moveTo>
                  <a:cubicBezTo>
                    <a:pt x="353" y="0"/>
                    <a:pt x="0" y="845"/>
                    <a:pt x="492" y="1336"/>
                  </a:cubicBezTo>
                  <a:cubicBezTo>
                    <a:pt x="656" y="1500"/>
                    <a:pt x="856" y="1573"/>
                    <a:pt x="1051" y="1573"/>
                  </a:cubicBezTo>
                  <a:cubicBezTo>
                    <a:pt x="1456" y="1573"/>
                    <a:pt x="1840" y="1258"/>
                    <a:pt x="1840" y="782"/>
                  </a:cubicBezTo>
                  <a:cubicBezTo>
                    <a:pt x="1840" y="353"/>
                    <a:pt x="1487" y="0"/>
                    <a:pt x="104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2"/>
            <p:cNvSpPr/>
            <p:nvPr/>
          </p:nvSpPr>
          <p:spPr>
            <a:xfrm>
              <a:off x="6863325" y="967025"/>
              <a:ext cx="46350" cy="39350"/>
            </a:xfrm>
            <a:custGeom>
              <a:avLst/>
              <a:gdLst/>
              <a:ahLst/>
              <a:cxnLst/>
              <a:rect l="l" t="t" r="r" b="b"/>
              <a:pathLst>
                <a:path w="1854" h="1574" extrusionOk="0">
                  <a:moveTo>
                    <a:pt x="1059" y="1"/>
                  </a:moveTo>
                  <a:cubicBezTo>
                    <a:pt x="354" y="1"/>
                    <a:pt x="1" y="845"/>
                    <a:pt x="505" y="1336"/>
                  </a:cubicBezTo>
                  <a:cubicBezTo>
                    <a:pt x="665" y="1500"/>
                    <a:pt x="863" y="1574"/>
                    <a:pt x="1058" y="1574"/>
                  </a:cubicBezTo>
                  <a:cubicBezTo>
                    <a:pt x="1463" y="1574"/>
                    <a:pt x="1853" y="1258"/>
                    <a:pt x="1853" y="782"/>
                  </a:cubicBezTo>
                  <a:cubicBezTo>
                    <a:pt x="1853" y="341"/>
                    <a:pt x="1500"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2"/>
            <p:cNvSpPr/>
            <p:nvPr/>
          </p:nvSpPr>
          <p:spPr>
            <a:xfrm>
              <a:off x="6956275" y="1323000"/>
              <a:ext cx="46000" cy="39350"/>
            </a:xfrm>
            <a:custGeom>
              <a:avLst/>
              <a:gdLst/>
              <a:ahLst/>
              <a:cxnLst/>
              <a:rect l="l" t="t" r="r" b="b"/>
              <a:pathLst>
                <a:path w="1840" h="1574" extrusionOk="0">
                  <a:moveTo>
                    <a:pt x="1059" y="1"/>
                  </a:moveTo>
                  <a:cubicBezTo>
                    <a:pt x="353" y="1"/>
                    <a:pt x="0" y="845"/>
                    <a:pt x="504" y="1336"/>
                  </a:cubicBezTo>
                  <a:cubicBezTo>
                    <a:pt x="664" y="1500"/>
                    <a:pt x="861" y="1574"/>
                    <a:pt x="1055" y="1574"/>
                  </a:cubicBezTo>
                  <a:cubicBezTo>
                    <a:pt x="1456" y="1574"/>
                    <a:pt x="1840" y="1258"/>
                    <a:pt x="1840" y="782"/>
                  </a:cubicBezTo>
                  <a:cubicBezTo>
                    <a:pt x="1840" y="354"/>
                    <a:pt x="1487" y="1"/>
                    <a:pt x="105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able of contents">
  <p:cSld name="CUSTOM">
    <p:spTree>
      <p:nvGrpSpPr>
        <p:cNvPr id="1" name="Shape 256"/>
        <p:cNvGrpSpPr/>
        <p:nvPr/>
      </p:nvGrpSpPr>
      <p:grpSpPr>
        <a:xfrm>
          <a:off x="0" y="0"/>
          <a:ext cx="0" cy="0"/>
          <a:chOff x="0" y="0"/>
          <a:chExt cx="0" cy="0"/>
        </a:xfrm>
      </p:grpSpPr>
      <p:sp>
        <p:nvSpPr>
          <p:cNvPr id="257" name="Google Shape;257;p13"/>
          <p:cNvSpPr txBox="1">
            <a:spLocks noGrp="1"/>
          </p:cNvSpPr>
          <p:nvPr>
            <p:ph type="subTitle" idx="1"/>
          </p:nvPr>
        </p:nvSpPr>
        <p:spPr>
          <a:xfrm>
            <a:off x="6429027"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58" name="Google Shape;258;p13"/>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3"/>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3"/>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3"/>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3"/>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3"/>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3"/>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3"/>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3"/>
          <p:cNvSpPr/>
          <p:nvPr/>
        </p:nvSpPr>
        <p:spPr>
          <a:xfrm>
            <a:off x="285750" y="454265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3"/>
          <p:cNvSpPr/>
          <p:nvPr/>
        </p:nvSpPr>
        <p:spPr>
          <a:xfrm>
            <a:off x="439150" y="48034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3"/>
          <p:cNvSpPr txBox="1">
            <a:spLocks noGrp="1"/>
          </p:cNvSpPr>
          <p:nvPr>
            <p:ph type="ctrTitle"/>
          </p:nvPr>
        </p:nvSpPr>
        <p:spPr>
          <a:xfrm>
            <a:off x="970814" y="3396800"/>
            <a:ext cx="2152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69" name="Google Shape;269;p13"/>
          <p:cNvSpPr txBox="1">
            <a:spLocks noGrp="1"/>
          </p:cNvSpPr>
          <p:nvPr>
            <p:ph type="subTitle" idx="2"/>
          </p:nvPr>
        </p:nvSpPr>
        <p:spPr>
          <a:xfrm>
            <a:off x="970814"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0" name="Google Shape;270;p13"/>
          <p:cNvSpPr txBox="1">
            <a:spLocks noGrp="1"/>
          </p:cNvSpPr>
          <p:nvPr>
            <p:ph type="title" idx="3" hasCustomPrompt="1"/>
          </p:nvPr>
        </p:nvSpPr>
        <p:spPr>
          <a:xfrm>
            <a:off x="970814"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2"/>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1" name="Google Shape;271;p13"/>
          <p:cNvSpPr txBox="1">
            <a:spLocks noGrp="1"/>
          </p:cNvSpPr>
          <p:nvPr>
            <p:ph type="ctrTitle" idx="4"/>
          </p:nvPr>
        </p:nvSpPr>
        <p:spPr>
          <a:xfrm>
            <a:off x="3690348" y="3396800"/>
            <a:ext cx="13866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2" name="Google Shape;272;p13"/>
          <p:cNvSpPr txBox="1">
            <a:spLocks noGrp="1"/>
          </p:cNvSpPr>
          <p:nvPr>
            <p:ph type="subTitle" idx="5"/>
          </p:nvPr>
        </p:nvSpPr>
        <p:spPr>
          <a:xfrm>
            <a:off x="3690341" y="3829680"/>
            <a:ext cx="2428200" cy="57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73" name="Google Shape;273;p13"/>
          <p:cNvSpPr txBox="1">
            <a:spLocks noGrp="1"/>
          </p:cNvSpPr>
          <p:nvPr>
            <p:ph type="title" idx="6" hasCustomPrompt="1"/>
          </p:nvPr>
        </p:nvSpPr>
        <p:spPr>
          <a:xfrm>
            <a:off x="3690341"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3"/>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4" name="Google Shape;274;p13"/>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275" name="Google Shape;275;p13"/>
          <p:cNvSpPr txBox="1">
            <a:spLocks noGrp="1"/>
          </p:cNvSpPr>
          <p:nvPr>
            <p:ph type="ctrTitle" idx="8"/>
          </p:nvPr>
        </p:nvSpPr>
        <p:spPr>
          <a:xfrm>
            <a:off x="6428436" y="3377738"/>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
        <p:nvSpPr>
          <p:cNvPr id="276" name="Google Shape;276;p13"/>
          <p:cNvSpPr txBox="1">
            <a:spLocks noGrp="1"/>
          </p:cNvSpPr>
          <p:nvPr>
            <p:ph type="title" idx="9" hasCustomPrompt="1"/>
          </p:nvPr>
        </p:nvSpPr>
        <p:spPr>
          <a:xfrm>
            <a:off x="6428436" y="2645887"/>
            <a:ext cx="1753800" cy="5778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000000"/>
              </a:buClr>
              <a:buSzPts val="4800"/>
              <a:buNone/>
              <a:defRPr sz="4800">
                <a:solidFill>
                  <a:schemeClr val="accent1"/>
                </a:solidFill>
              </a:defRPr>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
        <p:nvSpPr>
          <p:cNvPr id="277" name="Google Shape;277;p13"/>
          <p:cNvSpPr txBox="1">
            <a:spLocks noGrp="1"/>
          </p:cNvSpPr>
          <p:nvPr>
            <p:ph type="ctrTitle" idx="13"/>
          </p:nvPr>
        </p:nvSpPr>
        <p:spPr>
          <a:xfrm>
            <a:off x="6429027" y="3396800"/>
            <a:ext cx="22518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1200"/>
              <a:buFont typeface="Advent Pro SemiBold"/>
              <a:buNone/>
              <a:defRPr sz="2000">
                <a:solidFill>
                  <a:schemeClr val="lt1"/>
                </a:solidFill>
                <a:latin typeface="Advent Pro SemiBold"/>
                <a:ea typeface="Advent Pro SemiBold"/>
                <a:cs typeface="Advent Pro SemiBold"/>
                <a:sym typeface="Advent Pro SemiBold"/>
              </a:defRPr>
            </a:lvl1pPr>
            <a:lvl2pPr lvl="1"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2pPr>
            <a:lvl3pPr lvl="2"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3pPr>
            <a:lvl4pPr lvl="3"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4pPr>
            <a:lvl5pPr lvl="4"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5pPr>
            <a:lvl6pPr lvl="5"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6pPr>
            <a:lvl7pPr lvl="6"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7pPr>
            <a:lvl8pPr lvl="7"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8pPr>
            <a:lvl9pPr lvl="8" rtl="0">
              <a:spcBef>
                <a:spcPts val="0"/>
              </a:spcBef>
              <a:spcAft>
                <a:spcPts val="0"/>
              </a:spcAft>
              <a:buClr>
                <a:srgbClr val="000000"/>
              </a:buClr>
              <a:buSzPts val="1200"/>
              <a:buFont typeface="Advent Pro SemiBold"/>
              <a:buNone/>
              <a:defRPr sz="1200">
                <a:solidFill>
                  <a:srgbClr val="000000"/>
                </a:solidFill>
                <a:latin typeface="Advent Pro SemiBold"/>
                <a:ea typeface="Advent Pro SemiBold"/>
                <a:cs typeface="Advent Pro SemiBold"/>
                <a:sym typeface="Advent Pro SemiBold"/>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2">
  <p:cSld name="TITLE_AND_TWO_COLUMNS_1">
    <p:spTree>
      <p:nvGrpSpPr>
        <p:cNvPr id="1" name="Shape 278"/>
        <p:cNvGrpSpPr/>
        <p:nvPr/>
      </p:nvGrpSpPr>
      <p:grpSpPr>
        <a:xfrm>
          <a:off x="0" y="0"/>
          <a:ext cx="0" cy="0"/>
          <a:chOff x="0" y="0"/>
          <a:chExt cx="0" cy="0"/>
        </a:xfrm>
      </p:grpSpPr>
      <p:sp>
        <p:nvSpPr>
          <p:cNvPr id="279" name="Google Shape;279;p14"/>
          <p:cNvSpPr txBox="1">
            <a:spLocks noGrp="1"/>
          </p:cNvSpPr>
          <p:nvPr>
            <p:ph type="ctrTitle"/>
          </p:nvPr>
        </p:nvSpPr>
        <p:spPr>
          <a:xfrm>
            <a:off x="4696481" y="1365079"/>
            <a:ext cx="26556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0" name="Google Shape;280;p14"/>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1" name="Google Shape;281;p14"/>
          <p:cNvSpPr txBox="1">
            <a:spLocks noGrp="1"/>
          </p:cNvSpPr>
          <p:nvPr>
            <p:ph type="ctrTitle" idx="2"/>
          </p:nvPr>
        </p:nvSpPr>
        <p:spPr>
          <a:xfrm>
            <a:off x="1900150" y="3127942"/>
            <a:ext cx="24729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282" name="Google Shape;282;p14"/>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6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283" name="Google Shape;283;p14"/>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4"/>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4"/>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4"/>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7" name="Google Shape;287;p14"/>
          <p:cNvGrpSpPr/>
          <p:nvPr/>
        </p:nvGrpSpPr>
        <p:grpSpPr>
          <a:xfrm>
            <a:off x="6626134" y="-164562"/>
            <a:ext cx="121172" cy="760495"/>
            <a:chOff x="5245196" y="3136513"/>
            <a:chExt cx="121172" cy="760495"/>
          </a:xfrm>
        </p:grpSpPr>
        <p:sp>
          <p:nvSpPr>
            <p:cNvPr id="288" name="Google Shape;288;p1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0" name="Google Shape;290;p14"/>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4"/>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4"/>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p:cSld name="CUSTOM_1_1">
    <p:spTree>
      <p:nvGrpSpPr>
        <p:cNvPr id="1" name="Shape 293"/>
        <p:cNvGrpSpPr/>
        <p:nvPr/>
      </p:nvGrpSpPr>
      <p:grpSpPr>
        <a:xfrm>
          <a:off x="0" y="0"/>
          <a:ext cx="0" cy="0"/>
          <a:chOff x="0" y="0"/>
          <a:chExt cx="0" cy="0"/>
        </a:xfrm>
      </p:grpSpPr>
      <p:sp>
        <p:nvSpPr>
          <p:cNvPr id="294" name="Google Shape;294;p1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5"/>
          <p:cNvGrpSpPr/>
          <p:nvPr/>
        </p:nvGrpSpPr>
        <p:grpSpPr>
          <a:xfrm>
            <a:off x="6626134" y="-164562"/>
            <a:ext cx="121172" cy="760495"/>
            <a:chOff x="5245196" y="3136513"/>
            <a:chExt cx="121172" cy="760495"/>
          </a:xfrm>
        </p:grpSpPr>
        <p:sp>
          <p:nvSpPr>
            <p:cNvPr id="299" name="Google Shape;299;p1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 name="Google Shape;303;p15"/>
          <p:cNvSpPr txBox="1">
            <a:spLocks noGrp="1"/>
          </p:cNvSpPr>
          <p:nvPr>
            <p:ph type="ctrTitle"/>
          </p:nvPr>
        </p:nvSpPr>
        <p:spPr>
          <a:xfrm>
            <a:off x="891226"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4" name="Google Shape;304;p15"/>
          <p:cNvSpPr txBox="1">
            <a:spLocks noGrp="1"/>
          </p:cNvSpPr>
          <p:nvPr>
            <p:ph type="subTitle" idx="1"/>
          </p:nvPr>
        </p:nvSpPr>
        <p:spPr>
          <a:xfrm>
            <a:off x="891226"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5" name="Google Shape;305;p15"/>
          <p:cNvSpPr txBox="1">
            <a:spLocks noGrp="1"/>
          </p:cNvSpPr>
          <p:nvPr>
            <p:ph type="ctrTitle" idx="2"/>
          </p:nvPr>
        </p:nvSpPr>
        <p:spPr>
          <a:xfrm>
            <a:off x="3503173"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6" name="Google Shape;306;p15"/>
          <p:cNvSpPr txBox="1">
            <a:spLocks noGrp="1"/>
          </p:cNvSpPr>
          <p:nvPr>
            <p:ph type="subTitle" idx="3"/>
          </p:nvPr>
        </p:nvSpPr>
        <p:spPr>
          <a:xfrm>
            <a:off x="3503173"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7" name="Google Shape;307;p15"/>
          <p:cNvSpPr txBox="1">
            <a:spLocks noGrp="1"/>
          </p:cNvSpPr>
          <p:nvPr>
            <p:ph type="ctrTitle" idx="4"/>
          </p:nvPr>
        </p:nvSpPr>
        <p:spPr>
          <a:xfrm>
            <a:off x="6124594" y="1267450"/>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08" name="Google Shape;308;p15"/>
          <p:cNvSpPr txBox="1">
            <a:spLocks noGrp="1"/>
          </p:cNvSpPr>
          <p:nvPr>
            <p:ph type="subTitle" idx="5"/>
          </p:nvPr>
        </p:nvSpPr>
        <p:spPr>
          <a:xfrm>
            <a:off x="6124594" y="3491100"/>
            <a:ext cx="1881300" cy="111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09" name="Google Shape;309;p1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six columns">
  <p:cSld name="CUSTOM_1_1_1">
    <p:spTree>
      <p:nvGrpSpPr>
        <p:cNvPr id="1" name="Shape 310"/>
        <p:cNvGrpSpPr/>
        <p:nvPr/>
      </p:nvGrpSpPr>
      <p:grpSpPr>
        <a:xfrm>
          <a:off x="0" y="0"/>
          <a:ext cx="0" cy="0"/>
          <a:chOff x="0" y="0"/>
          <a:chExt cx="0" cy="0"/>
        </a:xfrm>
      </p:grpSpPr>
      <p:sp>
        <p:nvSpPr>
          <p:cNvPr id="311" name="Google Shape;311;p16"/>
          <p:cNvSpPr txBox="1">
            <a:spLocks noGrp="1"/>
          </p:cNvSpPr>
          <p:nvPr>
            <p:ph type="ctrTitle"/>
          </p:nvPr>
        </p:nvSpPr>
        <p:spPr>
          <a:xfrm>
            <a:off x="1121525"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2" name="Google Shape;312;p16"/>
          <p:cNvSpPr txBox="1">
            <a:spLocks noGrp="1"/>
          </p:cNvSpPr>
          <p:nvPr>
            <p:ph type="subTitle" idx="1"/>
          </p:nvPr>
        </p:nvSpPr>
        <p:spPr>
          <a:xfrm>
            <a:off x="961925" y="16437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3" name="Google Shape;313;p16"/>
          <p:cNvSpPr txBox="1">
            <a:spLocks noGrp="1"/>
          </p:cNvSpPr>
          <p:nvPr>
            <p:ph type="ctrTitle" idx="2"/>
          </p:nvPr>
        </p:nvSpPr>
        <p:spPr>
          <a:xfrm>
            <a:off x="3628263"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4" name="Google Shape;314;p16"/>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5" name="Google Shape;315;p16"/>
          <p:cNvSpPr txBox="1">
            <a:spLocks noGrp="1"/>
          </p:cNvSpPr>
          <p:nvPr>
            <p:ph type="ctrTitle" idx="4"/>
          </p:nvPr>
        </p:nvSpPr>
        <p:spPr>
          <a:xfrm>
            <a:off x="6142624" y="23022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6" name="Google Shape;316;p16"/>
          <p:cNvSpPr txBox="1">
            <a:spLocks noGrp="1"/>
          </p:cNvSpPr>
          <p:nvPr>
            <p:ph type="subTitle" idx="5"/>
          </p:nvPr>
        </p:nvSpPr>
        <p:spPr>
          <a:xfrm>
            <a:off x="5947924" y="16437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17" name="Google Shape;317;p16"/>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18" name="Google Shape;318;p16"/>
          <p:cNvSpPr txBox="1">
            <a:spLocks noGrp="1"/>
          </p:cNvSpPr>
          <p:nvPr>
            <p:ph type="ctrTitle" idx="7"/>
          </p:nvPr>
        </p:nvSpPr>
        <p:spPr>
          <a:xfrm>
            <a:off x="1121525"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19" name="Google Shape;319;p16"/>
          <p:cNvSpPr txBox="1">
            <a:spLocks noGrp="1"/>
          </p:cNvSpPr>
          <p:nvPr>
            <p:ph type="subTitle" idx="8"/>
          </p:nvPr>
        </p:nvSpPr>
        <p:spPr>
          <a:xfrm>
            <a:off x="961925" y="3479251"/>
            <a:ext cx="22005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0" name="Google Shape;320;p16"/>
          <p:cNvSpPr txBox="1">
            <a:spLocks noGrp="1"/>
          </p:cNvSpPr>
          <p:nvPr>
            <p:ph type="ctrTitle" idx="9"/>
          </p:nvPr>
        </p:nvSpPr>
        <p:spPr>
          <a:xfrm>
            <a:off x="3628263"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1" name="Google Shape;321;p16"/>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2" name="Google Shape;322;p16"/>
          <p:cNvSpPr txBox="1">
            <a:spLocks noGrp="1"/>
          </p:cNvSpPr>
          <p:nvPr>
            <p:ph type="ctrTitle" idx="14"/>
          </p:nvPr>
        </p:nvSpPr>
        <p:spPr>
          <a:xfrm>
            <a:off x="6142624" y="4134800"/>
            <a:ext cx="1881300" cy="4596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16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23" name="Google Shape;323;p16"/>
          <p:cNvSpPr txBox="1">
            <a:spLocks noGrp="1"/>
          </p:cNvSpPr>
          <p:nvPr>
            <p:ph type="subTitle" idx="15"/>
          </p:nvPr>
        </p:nvSpPr>
        <p:spPr>
          <a:xfrm>
            <a:off x="5947924" y="3479251"/>
            <a:ext cx="2270700" cy="824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3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24" name="Google Shape;324;p1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1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1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1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1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1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1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1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1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33"/>
        <p:cNvGrpSpPr/>
        <p:nvPr/>
      </p:nvGrpSpPr>
      <p:grpSpPr>
        <a:xfrm>
          <a:off x="0" y="0"/>
          <a:ext cx="0" cy="0"/>
          <a:chOff x="0" y="0"/>
          <a:chExt cx="0" cy="0"/>
        </a:xfrm>
      </p:grpSpPr>
      <p:sp>
        <p:nvSpPr>
          <p:cNvPr id="334" name="Google Shape;334;p17"/>
          <p:cNvSpPr txBox="1">
            <a:spLocks noGrp="1"/>
          </p:cNvSpPr>
          <p:nvPr>
            <p:ph type="ctrTitle"/>
          </p:nvPr>
        </p:nvSpPr>
        <p:spPr>
          <a:xfrm>
            <a:off x="1218541"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5" name="Google Shape;335;p17"/>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6" name="Google Shape;336;p17"/>
          <p:cNvSpPr txBox="1">
            <a:spLocks noGrp="1"/>
          </p:cNvSpPr>
          <p:nvPr>
            <p:ph type="ctrTitle" idx="2"/>
          </p:nvPr>
        </p:nvSpPr>
        <p:spPr>
          <a:xfrm>
            <a:off x="6054555" y="1373195"/>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7" name="Google Shape;337;p17"/>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38" name="Google Shape;338;p17"/>
          <p:cNvSpPr txBox="1">
            <a:spLocks noGrp="1"/>
          </p:cNvSpPr>
          <p:nvPr>
            <p:ph type="ctrTitle" idx="4"/>
          </p:nvPr>
        </p:nvSpPr>
        <p:spPr>
          <a:xfrm>
            <a:off x="1218541"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39" name="Google Shape;339;p17"/>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0" name="Google Shape;340;p17"/>
          <p:cNvSpPr txBox="1">
            <a:spLocks noGrp="1"/>
          </p:cNvSpPr>
          <p:nvPr>
            <p:ph type="ctrTitle" idx="6"/>
          </p:nvPr>
        </p:nvSpPr>
        <p:spPr>
          <a:xfrm>
            <a:off x="6054555" y="2778806"/>
            <a:ext cx="1881300" cy="6447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Clr>
                <a:srgbClr val="000000"/>
              </a:buClr>
              <a:buSzPts val="1800"/>
              <a:buFont typeface="Fira Sans Condensed Medium"/>
              <a:buNone/>
              <a:defRPr sz="20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341" name="Google Shape;341;p17"/>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42" name="Google Shape;342;p17"/>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43" name="Google Shape;343;p17"/>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17"/>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17"/>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17"/>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17"/>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17"/>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17"/>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17"/>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17"/>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17"/>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four columns 2">
  <p:cSld name="CUSTOM_2_1">
    <p:spTree>
      <p:nvGrpSpPr>
        <p:cNvPr id="1" name="Shape 353"/>
        <p:cNvGrpSpPr/>
        <p:nvPr/>
      </p:nvGrpSpPr>
      <p:grpSpPr>
        <a:xfrm>
          <a:off x="0" y="0"/>
          <a:ext cx="0" cy="0"/>
          <a:chOff x="0" y="0"/>
          <a:chExt cx="0" cy="0"/>
        </a:xfrm>
      </p:grpSpPr>
      <p:sp>
        <p:nvSpPr>
          <p:cNvPr id="354" name="Google Shape;354;p18"/>
          <p:cNvSpPr txBox="1">
            <a:spLocks noGrp="1"/>
          </p:cNvSpPr>
          <p:nvPr>
            <p:ph type="ctrTitle"/>
          </p:nvPr>
        </p:nvSpPr>
        <p:spPr>
          <a:xfrm>
            <a:off x="915161" y="2299544"/>
            <a:ext cx="1881300" cy="644700"/>
          </a:xfrm>
          <a:prstGeom prst="rect">
            <a:avLst/>
          </a:prstGeom>
          <a:ln>
            <a:noFill/>
          </a:ln>
        </p:spPr>
        <p:txBody>
          <a:bodyPr spcFirstLastPara="1" wrap="square" lIns="91425" tIns="91425" rIns="91425" bIns="91425" anchor="t"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5" name="Google Shape;355;p18"/>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6" name="Google Shape;356;p18"/>
          <p:cNvSpPr txBox="1">
            <a:spLocks noGrp="1"/>
          </p:cNvSpPr>
          <p:nvPr>
            <p:ph type="ctrTitle" idx="2"/>
          </p:nvPr>
        </p:nvSpPr>
        <p:spPr>
          <a:xfrm>
            <a:off x="6345518" y="2299544"/>
            <a:ext cx="1881300" cy="644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7" name="Google Shape;357;p18"/>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58" name="Google Shape;358;p18"/>
          <p:cNvSpPr txBox="1">
            <a:spLocks noGrp="1"/>
          </p:cNvSpPr>
          <p:nvPr>
            <p:ph type="ctrTitle" idx="4"/>
          </p:nvPr>
        </p:nvSpPr>
        <p:spPr>
          <a:xfrm>
            <a:off x="915161" y="2861525"/>
            <a:ext cx="1881300" cy="6447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59" name="Google Shape;359;p18"/>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0" name="Google Shape;360;p18"/>
          <p:cNvSpPr txBox="1">
            <a:spLocks noGrp="1"/>
          </p:cNvSpPr>
          <p:nvPr>
            <p:ph type="ctrTitle" idx="6"/>
          </p:nvPr>
        </p:nvSpPr>
        <p:spPr>
          <a:xfrm>
            <a:off x="6345518" y="2861525"/>
            <a:ext cx="1881300" cy="6447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None/>
              <a:defRPr sz="2000">
                <a:solidFill>
                  <a:schemeClr val="lt1"/>
                </a:solidFill>
                <a:latin typeface="Advent Pro SemiBold"/>
                <a:ea typeface="Advent Pro SemiBold"/>
                <a:cs typeface="Advent Pro SemiBold"/>
                <a:sym typeface="Advent Pro SemiBold"/>
              </a:defRPr>
            </a:lvl1pPr>
            <a:lvl2pPr lvl="1" algn="ctr" rtl="0">
              <a:spcBef>
                <a:spcPts val="0"/>
              </a:spcBef>
              <a:spcAft>
                <a:spcPts val="0"/>
              </a:spcAft>
              <a:buClr>
                <a:srgbClr val="000000"/>
              </a:buClr>
              <a:buSzPts val="1800"/>
              <a:buNone/>
              <a:defRPr sz="1800">
                <a:solidFill>
                  <a:srgbClr val="000000"/>
                </a:solidFill>
              </a:defRPr>
            </a:lvl2pPr>
            <a:lvl3pPr lvl="2" algn="ctr" rtl="0">
              <a:spcBef>
                <a:spcPts val="0"/>
              </a:spcBef>
              <a:spcAft>
                <a:spcPts val="0"/>
              </a:spcAft>
              <a:buClr>
                <a:srgbClr val="000000"/>
              </a:buClr>
              <a:buSzPts val="1800"/>
              <a:buNone/>
              <a:defRPr sz="1800">
                <a:solidFill>
                  <a:srgbClr val="000000"/>
                </a:solidFill>
              </a:defRPr>
            </a:lvl3pPr>
            <a:lvl4pPr lvl="3" algn="ctr" rtl="0">
              <a:spcBef>
                <a:spcPts val="0"/>
              </a:spcBef>
              <a:spcAft>
                <a:spcPts val="0"/>
              </a:spcAft>
              <a:buClr>
                <a:srgbClr val="000000"/>
              </a:buClr>
              <a:buSzPts val="1800"/>
              <a:buNone/>
              <a:defRPr sz="1800">
                <a:solidFill>
                  <a:srgbClr val="000000"/>
                </a:solidFill>
              </a:defRPr>
            </a:lvl4pPr>
            <a:lvl5pPr lvl="4" algn="ctr" rtl="0">
              <a:spcBef>
                <a:spcPts val="0"/>
              </a:spcBef>
              <a:spcAft>
                <a:spcPts val="0"/>
              </a:spcAft>
              <a:buClr>
                <a:srgbClr val="000000"/>
              </a:buClr>
              <a:buSzPts val="1800"/>
              <a:buNone/>
              <a:defRPr sz="1800">
                <a:solidFill>
                  <a:srgbClr val="000000"/>
                </a:solidFill>
              </a:defRPr>
            </a:lvl5pPr>
            <a:lvl6pPr lvl="5" algn="ctr" rtl="0">
              <a:spcBef>
                <a:spcPts val="0"/>
              </a:spcBef>
              <a:spcAft>
                <a:spcPts val="0"/>
              </a:spcAft>
              <a:buClr>
                <a:srgbClr val="000000"/>
              </a:buClr>
              <a:buSzPts val="1800"/>
              <a:buNone/>
              <a:defRPr sz="1800">
                <a:solidFill>
                  <a:srgbClr val="000000"/>
                </a:solidFill>
              </a:defRPr>
            </a:lvl6pPr>
            <a:lvl7pPr lvl="6" algn="ctr" rtl="0">
              <a:spcBef>
                <a:spcPts val="0"/>
              </a:spcBef>
              <a:spcAft>
                <a:spcPts val="0"/>
              </a:spcAft>
              <a:buClr>
                <a:srgbClr val="000000"/>
              </a:buClr>
              <a:buSzPts val="1800"/>
              <a:buNone/>
              <a:defRPr sz="1800">
                <a:solidFill>
                  <a:srgbClr val="000000"/>
                </a:solidFill>
              </a:defRPr>
            </a:lvl7pPr>
            <a:lvl8pPr lvl="7" algn="ctr" rtl="0">
              <a:spcBef>
                <a:spcPts val="0"/>
              </a:spcBef>
              <a:spcAft>
                <a:spcPts val="0"/>
              </a:spcAft>
              <a:buClr>
                <a:srgbClr val="000000"/>
              </a:buClr>
              <a:buSzPts val="1800"/>
              <a:buNone/>
              <a:defRPr sz="1800">
                <a:solidFill>
                  <a:srgbClr val="000000"/>
                </a:solidFill>
              </a:defRPr>
            </a:lvl8pPr>
            <a:lvl9pPr lvl="8" algn="ctr" rtl="0">
              <a:spcBef>
                <a:spcPts val="0"/>
              </a:spcBef>
              <a:spcAft>
                <a:spcPts val="0"/>
              </a:spcAft>
              <a:buClr>
                <a:srgbClr val="000000"/>
              </a:buClr>
              <a:buSzPts val="1800"/>
              <a:buNone/>
              <a:defRPr sz="1800">
                <a:solidFill>
                  <a:srgbClr val="000000"/>
                </a:solidFill>
              </a:defRPr>
            </a:lvl9pPr>
          </a:lstStyle>
          <a:p>
            <a:endParaRPr/>
          </a:p>
        </p:txBody>
      </p:sp>
      <p:sp>
        <p:nvSpPr>
          <p:cNvPr id="361" name="Google Shape;361;p18"/>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362" name="Google Shape;362;p18"/>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363" name="Google Shape;363;p18"/>
          <p:cNvSpPr/>
          <p:nvPr/>
        </p:nvSpPr>
        <p:spPr>
          <a:xfrm>
            <a:off x="7647375" y="94960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816650" y="461267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73"/>
        <p:cNvGrpSpPr/>
        <p:nvPr/>
      </p:nvGrpSpPr>
      <p:grpSpPr>
        <a:xfrm>
          <a:off x="0" y="0"/>
          <a:ext cx="0" cy="0"/>
          <a:chOff x="0" y="0"/>
          <a:chExt cx="0" cy="0"/>
        </a:xfrm>
      </p:grpSpPr>
      <p:sp>
        <p:nvSpPr>
          <p:cNvPr id="374" name="Google Shape;374;p19"/>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72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75" name="Google Shape;375;p19"/>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4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76" name="Google Shape;376;p19"/>
          <p:cNvSpPr txBox="1"/>
          <p:nvPr/>
        </p:nvSpPr>
        <p:spPr>
          <a:xfrm>
            <a:off x="2289500" y="3592806"/>
            <a:ext cx="4186500" cy="931500"/>
          </a:xfrm>
          <a:prstGeom prst="rect">
            <a:avLst/>
          </a:prstGeom>
          <a:noFill/>
          <a:ln>
            <a:noFill/>
          </a:ln>
        </p:spPr>
        <p:txBody>
          <a:bodyPr spcFirstLastPara="1" wrap="square" lIns="91425" tIns="91425" rIns="91425" bIns="91425" anchor="b" anchorCtr="0">
            <a:noAutofit/>
          </a:bodyPr>
          <a:lstStyle/>
          <a:p>
            <a:pPr marL="0" lvl="0" indent="0" algn="ctr" rtl="0">
              <a:lnSpc>
                <a:spcPct val="115000"/>
              </a:lnSpc>
              <a:spcBef>
                <a:spcPts val="300"/>
              </a:spcBef>
              <a:spcAft>
                <a:spcPts val="0"/>
              </a:spcAft>
              <a:buNone/>
            </a:pPr>
            <a:r>
              <a:rPr lang="en" sz="1000">
                <a:solidFill>
                  <a:schemeClr val="lt1"/>
                </a:solidFill>
                <a:latin typeface="Maven Pro"/>
                <a:ea typeface="Maven Pro"/>
                <a:cs typeface="Maven Pro"/>
                <a:sym typeface="Maven Pro"/>
              </a:rPr>
              <a:t>CREDITS: This presentation template was created by </a:t>
            </a:r>
            <a:r>
              <a:rPr lang="en" sz="1000">
                <a:solidFill>
                  <a:schemeClr val="accent1"/>
                </a:solidFill>
                <a:uFill>
                  <a:noFill/>
                </a:uFill>
                <a:latin typeface="Maven Pro"/>
                <a:ea typeface="Maven Pro"/>
                <a:cs typeface="Maven Pro"/>
                <a:sym typeface="Maven Pro"/>
                <a:hlinkClick r:id="rId2">
                  <a:extLst>
                    <a:ext uri="{A12FA001-AC4F-418D-AE19-62706E023703}">
                      <ahyp:hlinkClr xmlns:ahyp="http://schemas.microsoft.com/office/drawing/2018/hyperlinkcolor" val="tx"/>
                    </a:ext>
                  </a:extLst>
                </a:hlinkClick>
              </a:rPr>
              <a:t>Slidesgo</a:t>
            </a:r>
            <a:r>
              <a:rPr lang="en" sz="1000">
                <a:solidFill>
                  <a:schemeClr val="lt1"/>
                </a:solidFill>
                <a:latin typeface="Maven Pro"/>
                <a:ea typeface="Maven Pro"/>
                <a:cs typeface="Maven Pro"/>
                <a:sym typeface="Maven Pro"/>
              </a:rPr>
              <a:t>, including icons by </a:t>
            </a:r>
            <a:r>
              <a:rPr lang="en" sz="1000">
                <a:solidFill>
                  <a:schemeClr val="accent2"/>
                </a:solidFill>
                <a:uFill>
                  <a:noFill/>
                </a:uFill>
                <a:latin typeface="Maven Pro"/>
                <a:ea typeface="Maven Pro"/>
                <a:cs typeface="Maven Pro"/>
                <a:sym typeface="Maven Pro"/>
                <a:hlinkClick r:id="rId3">
                  <a:extLst>
                    <a:ext uri="{A12FA001-AC4F-418D-AE19-62706E023703}">
                      <ahyp:hlinkClr xmlns:ahyp="http://schemas.microsoft.com/office/drawing/2018/hyperlinkcolor" val="tx"/>
                    </a:ext>
                  </a:extLst>
                </a:hlinkClick>
              </a:rPr>
              <a:t>Flaticon</a:t>
            </a:r>
            <a:r>
              <a:rPr lang="en" sz="1000">
                <a:solidFill>
                  <a:schemeClr val="lt1"/>
                </a:solidFill>
                <a:latin typeface="Maven Pro"/>
                <a:ea typeface="Maven Pro"/>
                <a:cs typeface="Maven Pro"/>
                <a:sym typeface="Maven Pro"/>
              </a:rPr>
              <a:t>, and infographics &amp; images by </a:t>
            </a:r>
            <a:r>
              <a:rPr lang="en" sz="1000">
                <a:solidFill>
                  <a:schemeClr val="accent3"/>
                </a:solidFill>
                <a:uFill>
                  <a:noFill/>
                </a:uFill>
                <a:latin typeface="Maven Pro"/>
                <a:ea typeface="Maven Pro"/>
                <a:cs typeface="Maven Pro"/>
                <a:sym typeface="Maven Pro"/>
                <a:hlinkClick r:id="rId4">
                  <a:extLst>
                    <a:ext uri="{A12FA001-AC4F-418D-AE19-62706E023703}">
                      <ahyp:hlinkClr xmlns:ahyp="http://schemas.microsoft.com/office/drawing/2018/hyperlinkcolor" val="tx"/>
                    </a:ext>
                  </a:extLst>
                </a:hlinkClick>
              </a:rPr>
              <a:t>Freepik</a:t>
            </a:r>
            <a:endParaRPr sz="1000">
              <a:solidFill>
                <a:schemeClr val="accent3"/>
              </a:solidFill>
              <a:latin typeface="Maven Pro"/>
              <a:ea typeface="Maven Pro"/>
              <a:cs typeface="Maven Pro"/>
              <a:sym typeface="Maven Pro"/>
            </a:endParaRPr>
          </a:p>
        </p:txBody>
      </p:sp>
      <p:sp>
        <p:nvSpPr>
          <p:cNvPr id="377" name="Google Shape;377;p19"/>
          <p:cNvSpPr/>
          <p:nvPr/>
        </p:nvSpPr>
        <p:spPr>
          <a:xfrm>
            <a:off x="858247" y="1380669"/>
            <a:ext cx="130760" cy="131015"/>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9"/>
          <p:cNvSpPr/>
          <p:nvPr/>
        </p:nvSpPr>
        <p:spPr>
          <a:xfrm>
            <a:off x="1802448" y="4340187"/>
            <a:ext cx="131015" cy="131015"/>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9"/>
          <p:cNvSpPr/>
          <p:nvPr/>
        </p:nvSpPr>
        <p:spPr>
          <a:xfrm>
            <a:off x="7196621" y="809541"/>
            <a:ext cx="131015" cy="131015"/>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9"/>
          <p:cNvSpPr/>
          <p:nvPr/>
        </p:nvSpPr>
        <p:spPr>
          <a:xfrm>
            <a:off x="7826485" y="4005523"/>
            <a:ext cx="105796" cy="106050"/>
          </a:xfrm>
          <a:custGeom>
            <a:avLst/>
            <a:gdLst/>
            <a:ahLst/>
            <a:cxnLst/>
            <a:rect l="l" t="t" r="r" b="b"/>
            <a:pathLst>
              <a:path w="3742" h="3751" fill="none" extrusionOk="0">
                <a:moveTo>
                  <a:pt x="1" y="0"/>
                </a:moveTo>
                <a:lnTo>
                  <a:pt x="3742" y="0"/>
                </a:lnTo>
                <a:lnTo>
                  <a:pt x="3742" y="3750"/>
                </a:lnTo>
                <a:lnTo>
                  <a:pt x="1" y="3750"/>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9"/>
          <p:cNvSpPr/>
          <p:nvPr/>
        </p:nvSpPr>
        <p:spPr>
          <a:xfrm>
            <a:off x="6669747" y="3108456"/>
            <a:ext cx="62397" cy="62397"/>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9"/>
          <p:cNvSpPr/>
          <p:nvPr/>
        </p:nvSpPr>
        <p:spPr>
          <a:xfrm>
            <a:off x="2127273" y="2530788"/>
            <a:ext cx="112298" cy="112553"/>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9"/>
          <p:cNvSpPr/>
          <p:nvPr/>
        </p:nvSpPr>
        <p:spPr>
          <a:xfrm>
            <a:off x="7418926" y="3240515"/>
            <a:ext cx="112298" cy="112553"/>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9"/>
          <p:cNvSpPr/>
          <p:nvPr/>
        </p:nvSpPr>
        <p:spPr>
          <a:xfrm>
            <a:off x="7751274" y="1218584"/>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85" name="Google Shape;385;p19"/>
          <p:cNvGrpSpPr/>
          <p:nvPr/>
        </p:nvGrpSpPr>
        <p:grpSpPr>
          <a:xfrm>
            <a:off x="6669747" y="-389684"/>
            <a:ext cx="143766" cy="2106420"/>
            <a:chOff x="6780548" y="337714"/>
            <a:chExt cx="133252" cy="1952377"/>
          </a:xfrm>
        </p:grpSpPr>
        <p:sp>
          <p:nvSpPr>
            <p:cNvPr id="386" name="Google Shape;386;p19"/>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9"/>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88" name="Google Shape;388;p19"/>
          <p:cNvGrpSpPr/>
          <p:nvPr/>
        </p:nvGrpSpPr>
        <p:grpSpPr>
          <a:xfrm>
            <a:off x="1510029" y="507749"/>
            <a:ext cx="203534" cy="2663107"/>
            <a:chOff x="250617" y="2402301"/>
            <a:chExt cx="188650" cy="2468354"/>
          </a:xfrm>
        </p:grpSpPr>
        <p:sp>
          <p:nvSpPr>
            <p:cNvPr id="389" name="Google Shape;389;p19"/>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9"/>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9"/>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9"/>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93" name="Google Shape;393;p19"/>
          <p:cNvGrpSpPr/>
          <p:nvPr/>
        </p:nvGrpSpPr>
        <p:grpSpPr>
          <a:xfrm>
            <a:off x="385355" y="1380671"/>
            <a:ext cx="199237" cy="2828935"/>
            <a:chOff x="1608717" y="1280046"/>
            <a:chExt cx="199237" cy="2828935"/>
          </a:xfrm>
        </p:grpSpPr>
        <p:sp>
          <p:nvSpPr>
            <p:cNvPr id="394" name="Google Shape;394;p19"/>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9"/>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9"/>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7" name="Google Shape;397;p19"/>
          <p:cNvSpPr/>
          <p:nvPr/>
        </p:nvSpPr>
        <p:spPr>
          <a:xfrm>
            <a:off x="1050592" y="3209646"/>
            <a:ext cx="9132" cy="2718457"/>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9"/>
          <p:cNvSpPr/>
          <p:nvPr/>
        </p:nvSpPr>
        <p:spPr>
          <a:xfrm>
            <a:off x="7090326" y="2590809"/>
            <a:ext cx="9132" cy="1822361"/>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9" name="Google Shape;399;p19"/>
          <p:cNvGrpSpPr/>
          <p:nvPr/>
        </p:nvGrpSpPr>
        <p:grpSpPr>
          <a:xfrm>
            <a:off x="989005" y="-389666"/>
            <a:ext cx="62143" cy="897428"/>
            <a:chOff x="2038689" y="173907"/>
            <a:chExt cx="57599" cy="831799"/>
          </a:xfrm>
        </p:grpSpPr>
        <p:sp>
          <p:nvSpPr>
            <p:cNvPr id="400" name="Google Shape;400;p19"/>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9"/>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2" name="Google Shape;402;p19"/>
          <p:cNvGrpSpPr/>
          <p:nvPr/>
        </p:nvGrpSpPr>
        <p:grpSpPr>
          <a:xfrm>
            <a:off x="8568723" y="2184809"/>
            <a:ext cx="214702" cy="2308597"/>
            <a:chOff x="8008096" y="2108910"/>
            <a:chExt cx="199001" cy="2139769"/>
          </a:xfrm>
        </p:grpSpPr>
        <p:sp>
          <p:nvSpPr>
            <p:cNvPr id="403" name="Google Shape;403;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5" name="Google Shape;405;p19"/>
          <p:cNvSpPr/>
          <p:nvPr/>
        </p:nvSpPr>
        <p:spPr>
          <a:xfrm>
            <a:off x="6423211" y="3192659"/>
            <a:ext cx="86853" cy="86825"/>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6" name="Google Shape;406;p19"/>
          <p:cNvGrpSpPr/>
          <p:nvPr/>
        </p:nvGrpSpPr>
        <p:grpSpPr>
          <a:xfrm>
            <a:off x="8221223" y="9"/>
            <a:ext cx="214702" cy="2308597"/>
            <a:chOff x="8008096" y="2108910"/>
            <a:chExt cx="199001" cy="2139769"/>
          </a:xfrm>
        </p:grpSpPr>
        <p:sp>
          <p:nvSpPr>
            <p:cNvPr id="407" name="Google Shape;407;p19"/>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9"/>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list">
  <p:cSld name="CUSTOM_4">
    <p:spTree>
      <p:nvGrpSpPr>
        <p:cNvPr id="1" name="Shape 409"/>
        <p:cNvGrpSpPr/>
        <p:nvPr/>
      </p:nvGrpSpPr>
      <p:grpSpPr>
        <a:xfrm>
          <a:off x="0" y="0"/>
          <a:ext cx="0" cy="0"/>
          <a:chOff x="0" y="0"/>
          <a:chExt cx="0" cy="0"/>
        </a:xfrm>
      </p:grpSpPr>
      <p:sp>
        <p:nvSpPr>
          <p:cNvPr id="410" name="Google Shape;410;p20"/>
          <p:cNvSpPr txBox="1">
            <a:spLocks noGrp="1"/>
          </p:cNvSpPr>
          <p:nvPr>
            <p:ph type="body" idx="1"/>
          </p:nvPr>
        </p:nvSpPr>
        <p:spPr>
          <a:xfrm>
            <a:off x="59737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SzPts val="1000"/>
              <a:buFont typeface="Livvic Light"/>
              <a:buChar char="●"/>
              <a:defRPr sz="1200"/>
            </a:lvl1pPr>
            <a:lvl2pPr marL="914400" lvl="1" indent="-292100" rtl="0">
              <a:spcBef>
                <a:spcPts val="1600"/>
              </a:spcBef>
              <a:spcAft>
                <a:spcPts val="0"/>
              </a:spcAft>
              <a:buSzPts val="1000"/>
              <a:buFont typeface="Nunito Light"/>
              <a:buChar char="○"/>
              <a:defRPr/>
            </a:lvl2pPr>
            <a:lvl3pPr marL="1371600" lvl="2" indent="-292100" rtl="0">
              <a:spcBef>
                <a:spcPts val="1600"/>
              </a:spcBef>
              <a:spcAft>
                <a:spcPts val="0"/>
              </a:spcAft>
              <a:buSzPts val="1000"/>
              <a:buFont typeface="Nunito Light"/>
              <a:buChar char="■"/>
              <a:defRPr/>
            </a:lvl3pPr>
            <a:lvl4pPr marL="1828800" lvl="3" indent="-292100" rtl="0">
              <a:spcBef>
                <a:spcPts val="1600"/>
              </a:spcBef>
              <a:spcAft>
                <a:spcPts val="0"/>
              </a:spcAft>
              <a:buSzPts val="1000"/>
              <a:buFont typeface="Nunito Light"/>
              <a:buChar char="●"/>
              <a:defRPr/>
            </a:lvl4pPr>
            <a:lvl5pPr marL="2286000" lvl="4" indent="-292100" rtl="0">
              <a:spcBef>
                <a:spcPts val="1600"/>
              </a:spcBef>
              <a:spcAft>
                <a:spcPts val="0"/>
              </a:spcAft>
              <a:buSzPts val="1000"/>
              <a:buFont typeface="Nunito Light"/>
              <a:buChar char="○"/>
              <a:defRPr/>
            </a:lvl5pPr>
            <a:lvl6pPr marL="2743200" lvl="5" indent="-292100" rtl="0">
              <a:spcBef>
                <a:spcPts val="1600"/>
              </a:spcBef>
              <a:spcAft>
                <a:spcPts val="0"/>
              </a:spcAft>
              <a:buSzPts val="1000"/>
              <a:buFont typeface="Nunito Light"/>
              <a:buChar char="■"/>
              <a:defRPr/>
            </a:lvl6pPr>
            <a:lvl7pPr marL="3200400" lvl="6" indent="-292100" rtl="0">
              <a:spcBef>
                <a:spcPts val="1600"/>
              </a:spcBef>
              <a:spcAft>
                <a:spcPts val="0"/>
              </a:spcAft>
              <a:buSzPts val="1000"/>
              <a:buFont typeface="Nunito Light"/>
              <a:buChar char="●"/>
              <a:defRPr/>
            </a:lvl7pPr>
            <a:lvl8pPr marL="3657600" lvl="7" indent="-292100" rtl="0">
              <a:spcBef>
                <a:spcPts val="1600"/>
              </a:spcBef>
              <a:spcAft>
                <a:spcPts val="0"/>
              </a:spcAft>
              <a:buSzPts val="1000"/>
              <a:buFont typeface="Nunito Light"/>
              <a:buChar char="○"/>
              <a:defRPr/>
            </a:lvl8pPr>
            <a:lvl9pPr marL="4114800" lvl="8" indent="-292100" rtl="0">
              <a:spcBef>
                <a:spcPts val="1600"/>
              </a:spcBef>
              <a:spcAft>
                <a:spcPts val="1600"/>
              </a:spcAft>
              <a:buSzPts val="1000"/>
              <a:buFont typeface="Nunito Light"/>
              <a:buChar char="■"/>
              <a:defRPr/>
            </a:lvl9pPr>
          </a:lstStyle>
          <a:p>
            <a:endParaRPr/>
          </a:p>
        </p:txBody>
      </p:sp>
      <p:sp>
        <p:nvSpPr>
          <p:cNvPr id="411" name="Google Shape;411;p20"/>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412" name="Google Shape;412;p20"/>
          <p:cNvSpPr txBox="1">
            <a:spLocks noGrp="1"/>
          </p:cNvSpPr>
          <p:nvPr>
            <p:ph type="body" idx="2"/>
          </p:nvPr>
        </p:nvSpPr>
        <p:spPr>
          <a:xfrm>
            <a:off x="4690125" y="1063525"/>
            <a:ext cx="3908700" cy="3786900"/>
          </a:xfrm>
          <a:prstGeom prst="rect">
            <a:avLst/>
          </a:prstGeom>
        </p:spPr>
        <p:txBody>
          <a:bodyPr spcFirstLastPara="1" wrap="square" lIns="91425" tIns="91425" rIns="91425" bIns="91425" anchor="t" anchorCtr="0">
            <a:noAutofit/>
          </a:bodyPr>
          <a:lstStyle>
            <a:lvl1pPr marL="457200" lvl="0" indent="-292100" rtl="0">
              <a:lnSpc>
                <a:spcPct val="100000"/>
              </a:lnSpc>
              <a:spcBef>
                <a:spcPts val="0"/>
              </a:spcBef>
              <a:spcAft>
                <a:spcPts val="0"/>
              </a:spcAft>
              <a:buClr>
                <a:srgbClr val="EC5D37"/>
              </a:buClr>
              <a:buSzPts val="1000"/>
              <a:buFont typeface="Livvic Light"/>
              <a:buChar char="●"/>
              <a:defRPr sz="1200"/>
            </a:lvl1pPr>
            <a:lvl2pPr marL="914400" lvl="1" indent="-292100" rtl="0">
              <a:spcBef>
                <a:spcPts val="1600"/>
              </a:spcBef>
              <a:spcAft>
                <a:spcPts val="0"/>
              </a:spcAft>
              <a:buClr>
                <a:srgbClr val="FFC800"/>
              </a:buClr>
              <a:buSzPts val="1000"/>
              <a:buFont typeface="Nunito Light"/>
              <a:buChar char="○"/>
              <a:defRPr/>
            </a:lvl2pPr>
            <a:lvl3pPr marL="1371600" lvl="2" indent="-292100" rtl="0">
              <a:spcBef>
                <a:spcPts val="1600"/>
              </a:spcBef>
              <a:spcAft>
                <a:spcPts val="0"/>
              </a:spcAft>
              <a:buClr>
                <a:srgbClr val="FFC800"/>
              </a:buClr>
              <a:buSzPts val="1000"/>
              <a:buFont typeface="Nunito Light"/>
              <a:buChar char="■"/>
              <a:defRPr/>
            </a:lvl3pPr>
            <a:lvl4pPr marL="1828800" lvl="3" indent="-292100" rtl="0">
              <a:spcBef>
                <a:spcPts val="1600"/>
              </a:spcBef>
              <a:spcAft>
                <a:spcPts val="0"/>
              </a:spcAft>
              <a:buClr>
                <a:srgbClr val="FFC800"/>
              </a:buClr>
              <a:buSzPts val="1000"/>
              <a:buFont typeface="Nunito Light"/>
              <a:buChar char="●"/>
              <a:defRPr/>
            </a:lvl4pPr>
            <a:lvl5pPr marL="2286000" lvl="4" indent="-292100" rtl="0">
              <a:spcBef>
                <a:spcPts val="1600"/>
              </a:spcBef>
              <a:spcAft>
                <a:spcPts val="0"/>
              </a:spcAft>
              <a:buClr>
                <a:srgbClr val="434343"/>
              </a:buClr>
              <a:buSzPts val="1000"/>
              <a:buFont typeface="Nunito Light"/>
              <a:buChar char="○"/>
              <a:defRPr/>
            </a:lvl5pPr>
            <a:lvl6pPr marL="2743200" lvl="5" indent="-292100" rtl="0">
              <a:spcBef>
                <a:spcPts val="1600"/>
              </a:spcBef>
              <a:spcAft>
                <a:spcPts val="0"/>
              </a:spcAft>
              <a:buClr>
                <a:srgbClr val="434343"/>
              </a:buClr>
              <a:buSzPts val="1000"/>
              <a:buFont typeface="Nunito Light"/>
              <a:buChar char="■"/>
              <a:defRPr/>
            </a:lvl6pPr>
            <a:lvl7pPr marL="3200400" lvl="6" indent="-292100" rtl="0">
              <a:spcBef>
                <a:spcPts val="1600"/>
              </a:spcBef>
              <a:spcAft>
                <a:spcPts val="0"/>
              </a:spcAft>
              <a:buClr>
                <a:srgbClr val="434343"/>
              </a:buClr>
              <a:buSzPts val="1000"/>
              <a:buFont typeface="Nunito Light"/>
              <a:buChar char="●"/>
              <a:defRPr/>
            </a:lvl7pPr>
            <a:lvl8pPr marL="3657600" lvl="7" indent="-292100" rtl="0">
              <a:spcBef>
                <a:spcPts val="1600"/>
              </a:spcBef>
              <a:spcAft>
                <a:spcPts val="0"/>
              </a:spcAft>
              <a:buClr>
                <a:srgbClr val="434343"/>
              </a:buClr>
              <a:buSzPts val="1000"/>
              <a:buFont typeface="Nunito Light"/>
              <a:buChar char="○"/>
              <a:defRPr/>
            </a:lvl8pPr>
            <a:lvl9pPr marL="4114800" lvl="8" indent="-292100" rtl="0">
              <a:spcBef>
                <a:spcPts val="1600"/>
              </a:spcBef>
              <a:spcAft>
                <a:spcPts val="1600"/>
              </a:spcAft>
              <a:buClr>
                <a:srgbClr val="434343"/>
              </a:buClr>
              <a:buSzPts val="1000"/>
              <a:buFont typeface="Nunito Light"/>
              <a:buChar char="■"/>
              <a:defRPr/>
            </a:lvl9pPr>
          </a:lstStyle>
          <a:p>
            <a:endParaRPr/>
          </a:p>
        </p:txBody>
      </p:sp>
      <p:sp>
        <p:nvSpPr>
          <p:cNvPr id="413" name="Google Shape;413;p20"/>
          <p:cNvSpPr/>
          <p:nvPr/>
        </p:nvSpPr>
        <p:spPr>
          <a:xfrm>
            <a:off x="8829925" y="1123700"/>
            <a:ext cx="108650" cy="108625"/>
          </a:xfrm>
          <a:custGeom>
            <a:avLst/>
            <a:gdLst/>
            <a:ahLst/>
            <a:cxnLst/>
            <a:rect l="l" t="t" r="r" b="b"/>
            <a:pathLst>
              <a:path w="4346" h="4345" extrusionOk="0">
                <a:moveTo>
                  <a:pt x="4027" y="337"/>
                </a:moveTo>
                <a:lnTo>
                  <a:pt x="4027" y="4008"/>
                </a:lnTo>
                <a:lnTo>
                  <a:pt x="338" y="4008"/>
                </a:lnTo>
                <a:lnTo>
                  <a:pt x="338" y="337"/>
                </a:lnTo>
                <a:close/>
                <a:moveTo>
                  <a:pt x="1" y="0"/>
                </a:moveTo>
                <a:lnTo>
                  <a:pt x="1" y="4345"/>
                </a:lnTo>
                <a:lnTo>
                  <a:pt x="4346" y="4345"/>
                </a:lnTo>
                <a:lnTo>
                  <a:pt x="4346"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20"/>
          <p:cNvSpPr/>
          <p:nvPr/>
        </p:nvSpPr>
        <p:spPr>
          <a:xfrm>
            <a:off x="9156250" y="1340450"/>
            <a:ext cx="111450" cy="110975"/>
          </a:xfrm>
          <a:custGeom>
            <a:avLst/>
            <a:gdLst/>
            <a:ahLst/>
            <a:cxnLst/>
            <a:rect l="l" t="t" r="r" b="b"/>
            <a:pathLst>
              <a:path w="4458" h="4439" extrusionOk="0">
                <a:moveTo>
                  <a:pt x="4008" y="431"/>
                </a:moveTo>
                <a:lnTo>
                  <a:pt x="4008" y="4008"/>
                </a:lnTo>
                <a:lnTo>
                  <a:pt x="431" y="4008"/>
                </a:lnTo>
                <a:lnTo>
                  <a:pt x="431" y="431"/>
                </a:lnTo>
                <a:close/>
                <a:moveTo>
                  <a:pt x="0" y="1"/>
                </a:moveTo>
                <a:lnTo>
                  <a:pt x="0" y="4439"/>
                </a:lnTo>
                <a:lnTo>
                  <a:pt x="4457" y="4439"/>
                </a:lnTo>
                <a:lnTo>
                  <a:pt x="4457"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20"/>
          <p:cNvSpPr/>
          <p:nvPr/>
        </p:nvSpPr>
        <p:spPr>
          <a:xfrm>
            <a:off x="5809850" y="214400"/>
            <a:ext cx="108625" cy="108625"/>
          </a:xfrm>
          <a:custGeom>
            <a:avLst/>
            <a:gdLst/>
            <a:ahLst/>
            <a:cxnLst/>
            <a:rect l="l" t="t" r="r" b="b"/>
            <a:pathLst>
              <a:path w="4345" h="4345" extrusionOk="0">
                <a:moveTo>
                  <a:pt x="4008" y="337"/>
                </a:moveTo>
                <a:lnTo>
                  <a:pt x="4008" y="4008"/>
                </a:lnTo>
                <a:lnTo>
                  <a:pt x="337" y="4008"/>
                </a:lnTo>
                <a:lnTo>
                  <a:pt x="337" y="337"/>
                </a:lnTo>
                <a:close/>
                <a:moveTo>
                  <a:pt x="0" y="0"/>
                </a:moveTo>
                <a:lnTo>
                  <a:pt x="0" y="4345"/>
                </a:lnTo>
                <a:lnTo>
                  <a:pt x="4345" y="4345"/>
                </a:lnTo>
                <a:lnTo>
                  <a:pt x="434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20"/>
          <p:cNvSpPr/>
          <p:nvPr/>
        </p:nvSpPr>
        <p:spPr>
          <a:xfrm>
            <a:off x="7079800" y="420088"/>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20"/>
          <p:cNvSpPr/>
          <p:nvPr/>
        </p:nvSpPr>
        <p:spPr>
          <a:xfrm>
            <a:off x="7952700" y="278513"/>
            <a:ext cx="44975" cy="44500"/>
          </a:xfrm>
          <a:custGeom>
            <a:avLst/>
            <a:gdLst/>
            <a:ahLst/>
            <a:cxnLst/>
            <a:rect l="l" t="t" r="r" b="b"/>
            <a:pathLst>
              <a:path w="1799" h="1780" extrusionOk="0">
                <a:moveTo>
                  <a:pt x="1" y="1"/>
                </a:moveTo>
                <a:lnTo>
                  <a:pt x="1" y="1780"/>
                </a:lnTo>
                <a:lnTo>
                  <a:pt x="1798" y="1780"/>
                </a:lnTo>
                <a:lnTo>
                  <a:pt x="1798"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20"/>
          <p:cNvSpPr/>
          <p:nvPr/>
        </p:nvSpPr>
        <p:spPr>
          <a:xfrm>
            <a:off x="7372450" y="-69325"/>
            <a:ext cx="155925" cy="155925"/>
          </a:xfrm>
          <a:custGeom>
            <a:avLst/>
            <a:gdLst/>
            <a:ahLst/>
            <a:cxnLst/>
            <a:rect l="l" t="t" r="r" b="b"/>
            <a:pathLst>
              <a:path w="6237" h="6237" extrusionOk="0">
                <a:moveTo>
                  <a:pt x="0" y="0"/>
                </a:moveTo>
                <a:lnTo>
                  <a:pt x="0" y="6236"/>
                </a:lnTo>
                <a:lnTo>
                  <a:pt x="6236" y="6236"/>
                </a:lnTo>
                <a:lnTo>
                  <a:pt x="6236"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0"/>
          <p:cNvSpPr/>
          <p:nvPr/>
        </p:nvSpPr>
        <p:spPr>
          <a:xfrm>
            <a:off x="8464275" y="355050"/>
            <a:ext cx="155925" cy="156400"/>
          </a:xfrm>
          <a:custGeom>
            <a:avLst/>
            <a:gdLst/>
            <a:ahLst/>
            <a:cxnLst/>
            <a:rect l="l" t="t" r="r" b="b"/>
            <a:pathLst>
              <a:path w="6237" h="6256" extrusionOk="0">
                <a:moveTo>
                  <a:pt x="1" y="1"/>
                </a:moveTo>
                <a:lnTo>
                  <a:pt x="1" y="6256"/>
                </a:lnTo>
                <a:lnTo>
                  <a:pt x="6237" y="6256"/>
                </a:lnTo>
                <a:lnTo>
                  <a:pt x="623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0"/>
          <p:cNvSpPr/>
          <p:nvPr/>
        </p:nvSpPr>
        <p:spPr>
          <a:xfrm>
            <a:off x="7264275" y="607363"/>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0"/>
          <p:cNvSpPr/>
          <p:nvPr/>
        </p:nvSpPr>
        <p:spPr>
          <a:xfrm>
            <a:off x="6298850" y="907625"/>
            <a:ext cx="155925" cy="155900"/>
          </a:xfrm>
          <a:custGeom>
            <a:avLst/>
            <a:gdLst/>
            <a:ahLst/>
            <a:cxnLst/>
            <a:rect l="l" t="t" r="r" b="b"/>
            <a:pathLst>
              <a:path w="6237" h="6236" extrusionOk="0">
                <a:moveTo>
                  <a:pt x="1" y="0"/>
                </a:moveTo>
                <a:lnTo>
                  <a:pt x="1" y="6236"/>
                </a:lnTo>
                <a:lnTo>
                  <a:pt x="6237" y="6236"/>
                </a:lnTo>
                <a:lnTo>
                  <a:pt x="6237"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0"/>
          <p:cNvSpPr/>
          <p:nvPr/>
        </p:nvSpPr>
        <p:spPr>
          <a:xfrm>
            <a:off x="-83000" y="4540463"/>
            <a:ext cx="164825" cy="164375"/>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0"/>
          <p:cNvSpPr/>
          <p:nvPr/>
        </p:nvSpPr>
        <p:spPr>
          <a:xfrm>
            <a:off x="101475" y="4727738"/>
            <a:ext cx="122675" cy="122675"/>
          </a:xfrm>
          <a:custGeom>
            <a:avLst/>
            <a:gdLst/>
            <a:ahLst/>
            <a:cxnLst/>
            <a:rect l="l" t="t" r="r" b="b"/>
            <a:pathLst>
              <a:path w="4907" h="4907" extrusionOk="0">
                <a:moveTo>
                  <a:pt x="0" y="1"/>
                </a:moveTo>
                <a:lnTo>
                  <a:pt x="0" y="4907"/>
                </a:lnTo>
                <a:lnTo>
                  <a:pt x="4907" y="4907"/>
                </a:lnTo>
                <a:lnTo>
                  <a:pt x="4907"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8"/>
        <p:cNvGrpSpPr/>
        <p:nvPr/>
      </p:nvGrpSpPr>
      <p:grpSpPr>
        <a:xfrm>
          <a:off x="0" y="0"/>
          <a:ext cx="0" cy="0"/>
          <a:chOff x="0" y="0"/>
          <a:chExt cx="0" cy="0"/>
        </a:xfrm>
      </p:grpSpPr>
      <p:sp>
        <p:nvSpPr>
          <p:cNvPr id="39" name="Google Shape;39;p3"/>
          <p:cNvSpPr/>
          <p:nvPr/>
        </p:nvSpPr>
        <p:spPr>
          <a:xfrm>
            <a:off x="720239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3"/>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1" name="Google Shape;41;p3"/>
          <p:cNvGrpSpPr/>
          <p:nvPr/>
        </p:nvGrpSpPr>
        <p:grpSpPr>
          <a:xfrm>
            <a:off x="8263682" y="-434366"/>
            <a:ext cx="188886" cy="1181531"/>
            <a:chOff x="2877432" y="975334"/>
            <a:chExt cx="188886" cy="1181531"/>
          </a:xfrm>
        </p:grpSpPr>
        <p:sp>
          <p:nvSpPr>
            <p:cNvPr id="42" name="Google Shape;42;p3"/>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3"/>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3"/>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 name="Google Shape;45;p3"/>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46;p3"/>
          <p:cNvGrpSpPr/>
          <p:nvPr/>
        </p:nvGrpSpPr>
        <p:grpSpPr>
          <a:xfrm>
            <a:off x="3643898" y="-436198"/>
            <a:ext cx="133252" cy="1952377"/>
            <a:chOff x="6780548" y="337714"/>
            <a:chExt cx="133252" cy="1952377"/>
          </a:xfrm>
        </p:grpSpPr>
        <p:sp>
          <p:nvSpPr>
            <p:cNvPr id="47" name="Google Shape;47;p3"/>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3"/>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9" name="Google Shape;49;p3"/>
          <p:cNvSpPr/>
          <p:nvPr/>
        </p:nvSpPr>
        <p:spPr>
          <a:xfrm>
            <a:off x="8935726" y="10"/>
            <a:ext cx="8464" cy="2519637"/>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3"/>
          <p:cNvGrpSpPr/>
          <p:nvPr/>
        </p:nvGrpSpPr>
        <p:grpSpPr>
          <a:xfrm>
            <a:off x="8008096" y="2108910"/>
            <a:ext cx="199001" cy="2139769"/>
            <a:chOff x="8008096" y="2108910"/>
            <a:chExt cx="199001" cy="2139769"/>
          </a:xfrm>
        </p:grpSpPr>
        <p:sp>
          <p:nvSpPr>
            <p:cNvPr id="51" name="Google Shape;51;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53;p3"/>
          <p:cNvGrpSpPr/>
          <p:nvPr/>
        </p:nvGrpSpPr>
        <p:grpSpPr>
          <a:xfrm>
            <a:off x="520996" y="1091548"/>
            <a:ext cx="199001" cy="2139769"/>
            <a:chOff x="8008096" y="2108910"/>
            <a:chExt cx="199001" cy="2139769"/>
          </a:xfrm>
        </p:grpSpPr>
        <p:sp>
          <p:nvSpPr>
            <p:cNvPr id="54" name="Google Shape;54;p3"/>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6" name="Google Shape;56;p3"/>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1200"/>
              <a:buNone/>
              <a:defRPr sz="4800">
                <a:solidFill>
                  <a:schemeClr val="lt1"/>
                </a:solidFill>
              </a:defRPr>
            </a:lvl1pPr>
            <a:lvl2pPr lvl="1" rtl="0">
              <a:spcBef>
                <a:spcPts val="0"/>
              </a:spcBef>
              <a:spcAft>
                <a:spcPts val="0"/>
              </a:spcAft>
              <a:buClr>
                <a:srgbClr val="000000"/>
              </a:buClr>
              <a:buSzPts val="1200"/>
              <a:buNone/>
              <a:defRPr sz="1200">
                <a:solidFill>
                  <a:srgbClr val="000000"/>
                </a:solidFill>
              </a:defRPr>
            </a:lvl2pPr>
            <a:lvl3pPr lvl="2" rtl="0">
              <a:spcBef>
                <a:spcPts val="0"/>
              </a:spcBef>
              <a:spcAft>
                <a:spcPts val="0"/>
              </a:spcAft>
              <a:buClr>
                <a:srgbClr val="000000"/>
              </a:buClr>
              <a:buSzPts val="1200"/>
              <a:buNone/>
              <a:defRPr sz="1200">
                <a:solidFill>
                  <a:srgbClr val="000000"/>
                </a:solidFill>
              </a:defRPr>
            </a:lvl3pPr>
            <a:lvl4pPr lvl="3" rtl="0">
              <a:spcBef>
                <a:spcPts val="0"/>
              </a:spcBef>
              <a:spcAft>
                <a:spcPts val="0"/>
              </a:spcAft>
              <a:buClr>
                <a:srgbClr val="000000"/>
              </a:buClr>
              <a:buSzPts val="1200"/>
              <a:buNone/>
              <a:defRPr sz="1200">
                <a:solidFill>
                  <a:srgbClr val="000000"/>
                </a:solidFill>
              </a:defRPr>
            </a:lvl4pPr>
            <a:lvl5pPr lvl="4" rtl="0">
              <a:spcBef>
                <a:spcPts val="0"/>
              </a:spcBef>
              <a:spcAft>
                <a:spcPts val="0"/>
              </a:spcAft>
              <a:buClr>
                <a:srgbClr val="000000"/>
              </a:buClr>
              <a:buSzPts val="1200"/>
              <a:buNone/>
              <a:defRPr sz="1200">
                <a:solidFill>
                  <a:srgbClr val="000000"/>
                </a:solidFill>
              </a:defRPr>
            </a:lvl5pPr>
            <a:lvl6pPr lvl="5" rtl="0">
              <a:spcBef>
                <a:spcPts val="0"/>
              </a:spcBef>
              <a:spcAft>
                <a:spcPts val="0"/>
              </a:spcAft>
              <a:buClr>
                <a:srgbClr val="000000"/>
              </a:buClr>
              <a:buSzPts val="1200"/>
              <a:buNone/>
              <a:defRPr sz="1200">
                <a:solidFill>
                  <a:srgbClr val="000000"/>
                </a:solidFill>
              </a:defRPr>
            </a:lvl6pPr>
            <a:lvl7pPr lvl="6" rtl="0">
              <a:spcBef>
                <a:spcPts val="0"/>
              </a:spcBef>
              <a:spcAft>
                <a:spcPts val="0"/>
              </a:spcAft>
              <a:buClr>
                <a:srgbClr val="000000"/>
              </a:buClr>
              <a:buSzPts val="1200"/>
              <a:buNone/>
              <a:defRPr sz="1200">
                <a:solidFill>
                  <a:srgbClr val="000000"/>
                </a:solidFill>
              </a:defRPr>
            </a:lvl7pPr>
            <a:lvl8pPr lvl="7" rtl="0">
              <a:spcBef>
                <a:spcPts val="0"/>
              </a:spcBef>
              <a:spcAft>
                <a:spcPts val="0"/>
              </a:spcAft>
              <a:buClr>
                <a:srgbClr val="000000"/>
              </a:buClr>
              <a:buSzPts val="1200"/>
              <a:buNone/>
              <a:defRPr sz="1200">
                <a:solidFill>
                  <a:srgbClr val="000000"/>
                </a:solidFill>
              </a:defRPr>
            </a:lvl8pPr>
            <a:lvl9pPr lvl="8" rtl="0">
              <a:spcBef>
                <a:spcPts val="0"/>
              </a:spcBef>
              <a:spcAft>
                <a:spcPts val="0"/>
              </a:spcAft>
              <a:buClr>
                <a:srgbClr val="000000"/>
              </a:buClr>
              <a:buSzPts val="1200"/>
              <a:buNone/>
              <a:defRPr sz="1200">
                <a:solidFill>
                  <a:srgbClr val="000000"/>
                </a:solidFill>
              </a:defRPr>
            </a:lvl9pPr>
          </a:lstStyle>
          <a:p>
            <a:endParaRPr/>
          </a:p>
        </p:txBody>
      </p:sp>
      <p:sp>
        <p:nvSpPr>
          <p:cNvPr id="57" name="Google Shape;57;p3"/>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000"/>
              <a:buNone/>
              <a:defRPr/>
            </a:lvl1pPr>
            <a:lvl2pPr lvl="1" rtl="0">
              <a:lnSpc>
                <a:spcPct val="100000"/>
              </a:lnSpc>
              <a:spcBef>
                <a:spcPts val="0"/>
              </a:spcBef>
              <a:spcAft>
                <a:spcPts val="0"/>
              </a:spcAft>
              <a:buClr>
                <a:srgbClr val="000000"/>
              </a:buClr>
              <a:buSzPts val="1000"/>
              <a:buNone/>
              <a:defRPr sz="1000">
                <a:solidFill>
                  <a:srgbClr val="000000"/>
                </a:solidFill>
              </a:defRPr>
            </a:lvl2pPr>
            <a:lvl3pPr lvl="2" rtl="0">
              <a:lnSpc>
                <a:spcPct val="100000"/>
              </a:lnSpc>
              <a:spcBef>
                <a:spcPts val="0"/>
              </a:spcBef>
              <a:spcAft>
                <a:spcPts val="0"/>
              </a:spcAft>
              <a:buClr>
                <a:srgbClr val="000000"/>
              </a:buClr>
              <a:buSzPts val="1000"/>
              <a:buNone/>
              <a:defRPr sz="1000">
                <a:solidFill>
                  <a:srgbClr val="000000"/>
                </a:solidFill>
              </a:defRPr>
            </a:lvl3pPr>
            <a:lvl4pPr lvl="3" rtl="0">
              <a:lnSpc>
                <a:spcPct val="100000"/>
              </a:lnSpc>
              <a:spcBef>
                <a:spcPts val="0"/>
              </a:spcBef>
              <a:spcAft>
                <a:spcPts val="0"/>
              </a:spcAft>
              <a:buClr>
                <a:srgbClr val="000000"/>
              </a:buClr>
              <a:buSzPts val="1000"/>
              <a:buNone/>
              <a:defRPr sz="1000">
                <a:solidFill>
                  <a:srgbClr val="000000"/>
                </a:solidFill>
              </a:defRPr>
            </a:lvl4pPr>
            <a:lvl5pPr lvl="4" rtl="0">
              <a:lnSpc>
                <a:spcPct val="100000"/>
              </a:lnSpc>
              <a:spcBef>
                <a:spcPts val="0"/>
              </a:spcBef>
              <a:spcAft>
                <a:spcPts val="0"/>
              </a:spcAft>
              <a:buClr>
                <a:srgbClr val="000000"/>
              </a:buClr>
              <a:buSzPts val="1000"/>
              <a:buNone/>
              <a:defRPr sz="1000">
                <a:solidFill>
                  <a:srgbClr val="000000"/>
                </a:solidFill>
              </a:defRPr>
            </a:lvl5pPr>
            <a:lvl6pPr lvl="5" rtl="0">
              <a:lnSpc>
                <a:spcPct val="100000"/>
              </a:lnSpc>
              <a:spcBef>
                <a:spcPts val="0"/>
              </a:spcBef>
              <a:spcAft>
                <a:spcPts val="0"/>
              </a:spcAft>
              <a:buClr>
                <a:srgbClr val="000000"/>
              </a:buClr>
              <a:buSzPts val="1000"/>
              <a:buNone/>
              <a:defRPr sz="1000">
                <a:solidFill>
                  <a:srgbClr val="000000"/>
                </a:solidFill>
              </a:defRPr>
            </a:lvl6pPr>
            <a:lvl7pPr lvl="6" rtl="0">
              <a:lnSpc>
                <a:spcPct val="100000"/>
              </a:lnSpc>
              <a:spcBef>
                <a:spcPts val="0"/>
              </a:spcBef>
              <a:spcAft>
                <a:spcPts val="0"/>
              </a:spcAft>
              <a:buClr>
                <a:srgbClr val="000000"/>
              </a:buClr>
              <a:buSzPts val="1000"/>
              <a:buNone/>
              <a:defRPr sz="1000">
                <a:solidFill>
                  <a:srgbClr val="000000"/>
                </a:solidFill>
              </a:defRPr>
            </a:lvl7pPr>
            <a:lvl8pPr lvl="7" rtl="0">
              <a:lnSpc>
                <a:spcPct val="100000"/>
              </a:lnSpc>
              <a:spcBef>
                <a:spcPts val="0"/>
              </a:spcBef>
              <a:spcAft>
                <a:spcPts val="0"/>
              </a:spcAft>
              <a:buClr>
                <a:srgbClr val="000000"/>
              </a:buClr>
              <a:buSzPts val="1000"/>
              <a:buNone/>
              <a:defRPr sz="1000">
                <a:solidFill>
                  <a:srgbClr val="000000"/>
                </a:solidFill>
              </a:defRPr>
            </a:lvl8pPr>
            <a:lvl9pPr lvl="8"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58" name="Google Shape;58;p3"/>
          <p:cNvSpPr txBox="1">
            <a:spLocks noGrp="1"/>
          </p:cNvSpPr>
          <p:nvPr>
            <p:ph type="title" idx="2" hasCustomPrompt="1"/>
          </p:nvPr>
        </p:nvSpPr>
        <p:spPr>
          <a:xfrm>
            <a:off x="5834900" y="2122225"/>
            <a:ext cx="981000" cy="577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4800"/>
              <a:buNone/>
              <a:defRPr sz="6000"/>
            </a:lvl1pPr>
            <a:lvl2pPr lvl="1"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Clr>
                <a:srgbClr val="000000"/>
              </a:buClr>
              <a:buSzPts val="4800"/>
              <a:buFont typeface="Fira Sans Extra Condensed Medium"/>
              <a:buNone/>
              <a:defRPr sz="4800">
                <a:solidFill>
                  <a:srgbClr val="000000"/>
                </a:solidFill>
                <a:latin typeface="Fira Sans Extra Condensed Medium"/>
                <a:ea typeface="Fira Sans Extra Condensed Medium"/>
                <a:cs typeface="Fira Sans Extra Condensed Medium"/>
                <a:sym typeface="Fira Sans Extra Condensed Medium"/>
              </a:defRPr>
            </a:lvl9pPr>
          </a:lstStyle>
          <a:p>
            <a:r>
              <a:t>x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ckground">
  <p:cSld name="CUSTOM_5">
    <p:spTree>
      <p:nvGrpSpPr>
        <p:cNvPr id="1" name="Shape 424"/>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425"/>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429"/>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57C77F2B-995E-186D-9086-F70CB4D70E9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74329460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86034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7" name="Title Placeholder 8">
            <a:extLst>
              <a:ext uri="{FF2B5EF4-FFF2-40B4-BE49-F238E27FC236}">
                <a16:creationId xmlns:a16="http://schemas.microsoft.com/office/drawing/2014/main" id="{205FEC4B-79A1-C5E9-3E46-0C6830D9A374}"/>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0605379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25029" y="1066800"/>
            <a:ext cx="4160758"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8" y="1066800"/>
            <a:ext cx="4445794" cy="3359944"/>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8" name="Title Placeholder 8">
            <a:extLst>
              <a:ext uri="{FF2B5EF4-FFF2-40B4-BE49-F238E27FC236}">
                <a16:creationId xmlns:a16="http://schemas.microsoft.com/office/drawing/2014/main" id="{1B417D02-8095-2C31-A084-AAF54EF526A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398036228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
        <p:nvSpPr>
          <p:cNvPr id="24" name="Title Placeholder 8">
            <a:extLst>
              <a:ext uri="{FF2B5EF4-FFF2-40B4-BE49-F238E27FC236}">
                <a16:creationId xmlns:a16="http://schemas.microsoft.com/office/drawing/2014/main" id="{9FE95C0F-1BD7-AD0C-B77D-BD0D7777D236}"/>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lvl1pPr>
              <a:defRPr>
                <a:solidFill>
                  <a:schemeClr val="tx1"/>
                </a:solidFill>
              </a:defRPr>
            </a:lvl1pPr>
          </a:lstStyle>
          <a:p>
            <a:r>
              <a:rPr lang="en-US"/>
              <a:t>Click to add title which can spread across two lines like so</a:t>
            </a:r>
          </a:p>
        </p:txBody>
      </p:sp>
    </p:spTree>
    <p:extLst>
      <p:ext uri="{BB962C8B-B14F-4D97-AF65-F5344CB8AC3E}">
        <p14:creationId xmlns:p14="http://schemas.microsoft.com/office/powerpoint/2010/main" val="337535870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25029" y="914400"/>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25029"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225028"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914400"/>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235998"/>
            <a:ext cx="272276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13237"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914400"/>
            <a:ext cx="275300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4" y="2235998"/>
            <a:ext cx="2758428"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160544" y="1916996"/>
            <a:ext cx="2483507"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5" name="Title Placeholder 8">
            <a:extLst>
              <a:ext uri="{FF2B5EF4-FFF2-40B4-BE49-F238E27FC236}">
                <a16:creationId xmlns:a16="http://schemas.microsoft.com/office/drawing/2014/main" id="{9681913A-38AB-88F4-ADA8-84962A3C2F6D}"/>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8741992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2" name="Title Placeholder 8">
            <a:extLst>
              <a:ext uri="{FF2B5EF4-FFF2-40B4-BE49-F238E27FC236}">
                <a16:creationId xmlns:a16="http://schemas.microsoft.com/office/drawing/2014/main" id="{E70F91E8-3D90-FD2D-A82F-BADA975D412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
        <p:nvSpPr>
          <p:cNvPr id="13" name="Picture Placeholder 60">
            <a:extLst>
              <a:ext uri="{FF2B5EF4-FFF2-40B4-BE49-F238E27FC236}">
                <a16:creationId xmlns:a16="http://schemas.microsoft.com/office/drawing/2014/main" id="{68627DF1-1C10-D308-BEBA-4C91601AD32C}"/>
              </a:ext>
            </a:extLst>
          </p:cNvPr>
          <p:cNvSpPr>
            <a:spLocks noGrp="1"/>
          </p:cNvSpPr>
          <p:nvPr>
            <p:ph type="pic" sz="quarter" idx="38"/>
          </p:nvPr>
        </p:nvSpPr>
        <p:spPr>
          <a:xfrm>
            <a:off x="225029" y="914400"/>
            <a:ext cx="4026660" cy="916953"/>
          </a:xfrm>
          <a:prstGeom prst="rect">
            <a:avLst/>
          </a:prstGeom>
        </p:spPr>
        <p:txBody>
          <a:bodyPr/>
          <a:lstStyle>
            <a:lvl1pPr marL="0" indent="0">
              <a:buNone/>
              <a:defRPr/>
            </a:lvl1pPr>
          </a:lstStyle>
          <a:p>
            <a:endParaRPr lang="en-US"/>
          </a:p>
        </p:txBody>
      </p:sp>
      <p:sp>
        <p:nvSpPr>
          <p:cNvPr id="14" name="Text Placeholder 16">
            <a:extLst>
              <a:ext uri="{FF2B5EF4-FFF2-40B4-BE49-F238E27FC236}">
                <a16:creationId xmlns:a16="http://schemas.microsoft.com/office/drawing/2014/main" id="{97FA309F-8582-18FB-CE40-6B526AF91FF2}"/>
              </a:ext>
            </a:extLst>
          </p:cNvPr>
          <p:cNvSpPr>
            <a:spLocks noGrp="1"/>
          </p:cNvSpPr>
          <p:nvPr>
            <p:ph type="body" sz="quarter" idx="28" hasCustomPrompt="1"/>
          </p:nvPr>
        </p:nvSpPr>
        <p:spPr>
          <a:xfrm>
            <a:off x="225029" y="2235998"/>
            <a:ext cx="4034586"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5" name="Text Placeholder 54">
            <a:extLst>
              <a:ext uri="{FF2B5EF4-FFF2-40B4-BE49-F238E27FC236}">
                <a16:creationId xmlns:a16="http://schemas.microsoft.com/office/drawing/2014/main" id="{8C481E49-FECB-89B3-B563-E1394CDA3CAC}"/>
              </a:ext>
            </a:extLst>
          </p:cNvPr>
          <p:cNvSpPr>
            <a:spLocks noGrp="1"/>
          </p:cNvSpPr>
          <p:nvPr>
            <p:ph type="body" sz="quarter" idx="29" hasCustomPrompt="1"/>
          </p:nvPr>
        </p:nvSpPr>
        <p:spPr>
          <a:xfrm>
            <a:off x="22502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16" name="Picture Placeholder 60">
            <a:extLst>
              <a:ext uri="{FF2B5EF4-FFF2-40B4-BE49-F238E27FC236}">
                <a16:creationId xmlns:a16="http://schemas.microsoft.com/office/drawing/2014/main" id="{FADC1FE7-56F2-DF59-EE57-051B4D623210}"/>
              </a:ext>
            </a:extLst>
          </p:cNvPr>
          <p:cNvSpPr>
            <a:spLocks noGrp="1"/>
          </p:cNvSpPr>
          <p:nvPr>
            <p:ph type="pic" sz="quarter" idx="39"/>
          </p:nvPr>
        </p:nvSpPr>
        <p:spPr>
          <a:xfrm>
            <a:off x="4909389" y="914400"/>
            <a:ext cx="4009583" cy="916953"/>
          </a:xfrm>
          <a:prstGeom prst="rect">
            <a:avLst/>
          </a:prstGeom>
        </p:spPr>
        <p:txBody>
          <a:bodyPr/>
          <a:lstStyle>
            <a:lvl1pPr marL="0" indent="0">
              <a:buNone/>
              <a:defRPr/>
            </a:lvl1pPr>
          </a:lstStyle>
          <a:p>
            <a:endParaRPr lang="en-US"/>
          </a:p>
        </p:txBody>
      </p:sp>
      <p:sp>
        <p:nvSpPr>
          <p:cNvPr id="17" name="Text Placeholder 16">
            <a:extLst>
              <a:ext uri="{FF2B5EF4-FFF2-40B4-BE49-F238E27FC236}">
                <a16:creationId xmlns:a16="http://schemas.microsoft.com/office/drawing/2014/main" id="{28D4D0EC-0F35-A006-6D06-F742040976C8}"/>
              </a:ext>
            </a:extLst>
          </p:cNvPr>
          <p:cNvSpPr>
            <a:spLocks noGrp="1"/>
          </p:cNvSpPr>
          <p:nvPr>
            <p:ph type="body" sz="quarter" idx="40" hasCustomPrompt="1"/>
          </p:nvPr>
        </p:nvSpPr>
        <p:spPr>
          <a:xfrm>
            <a:off x="4909389" y="2235998"/>
            <a:ext cx="4017475" cy="2441881"/>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b="0" i="0">
                <a:solidFill>
                  <a:schemeClr val="tx1"/>
                </a:solidFill>
                <a:latin typeface="Arial" panose="020B0604020202020204" pitchFamily="34"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18" name="Text Placeholder 54">
            <a:extLst>
              <a:ext uri="{FF2B5EF4-FFF2-40B4-BE49-F238E27FC236}">
                <a16:creationId xmlns:a16="http://schemas.microsoft.com/office/drawing/2014/main" id="{D01185BC-80E2-4D41-3824-3E98816BC9E7}"/>
              </a:ext>
            </a:extLst>
          </p:cNvPr>
          <p:cNvSpPr>
            <a:spLocks noGrp="1"/>
          </p:cNvSpPr>
          <p:nvPr>
            <p:ph type="body" sz="quarter" idx="41" hasCustomPrompt="1"/>
          </p:nvPr>
        </p:nvSpPr>
        <p:spPr>
          <a:xfrm>
            <a:off x="4909389" y="1916996"/>
            <a:ext cx="3680050" cy="249365"/>
          </a:xfrm>
          <a:prstGeom prst="rect">
            <a:avLst/>
          </a:prstGeom>
        </p:spPr>
        <p:txBody>
          <a:bodyPr lIns="0" tIns="0" rIns="0" bIns="0"/>
          <a:lstStyle>
            <a:lvl1pPr marL="0" indent="0">
              <a:buNone/>
              <a:defRPr sz="1200">
                <a:solidFill>
                  <a:schemeClr val="bg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166069262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5885101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4"/>
          <p:cNvSpPr txBox="1">
            <a:spLocks noGrp="1"/>
          </p:cNvSpPr>
          <p:nvPr>
            <p:ph type="body" idx="1"/>
          </p:nvPr>
        </p:nvSpPr>
        <p:spPr>
          <a:xfrm>
            <a:off x="618825" y="1679175"/>
            <a:ext cx="3534300" cy="2090100"/>
          </a:xfrm>
          <a:prstGeom prst="rect">
            <a:avLst/>
          </a:prstGeom>
        </p:spPr>
        <p:txBody>
          <a:bodyPr spcFirstLastPara="1" wrap="square" lIns="91425" tIns="91425" rIns="91425" bIns="91425" anchor="t" anchorCtr="0">
            <a:noAutofit/>
          </a:bodyPr>
          <a:lstStyle>
            <a:lvl1pPr marL="457200" lvl="0" indent="-342900">
              <a:lnSpc>
                <a:spcPct val="100000"/>
              </a:lnSpc>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61" name="Google Shape;61;p4"/>
          <p:cNvSpPr txBox="1">
            <a:spLocks noGrp="1"/>
          </p:cNvSpPr>
          <p:nvPr>
            <p:ph type="ctrTitle"/>
          </p:nvPr>
        </p:nvSpPr>
        <p:spPr>
          <a:xfrm>
            <a:off x="618825" y="411675"/>
            <a:ext cx="26865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62" name="Google Shape;62;p4"/>
          <p:cNvSpPr/>
          <p:nvPr/>
        </p:nvSpPr>
        <p:spPr>
          <a:xfrm>
            <a:off x="720000" y="46901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4"/>
          <p:cNvSpPr/>
          <p:nvPr/>
        </p:nvSpPr>
        <p:spPr>
          <a:xfrm>
            <a:off x="2058475" y="41522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4"/>
          <p:cNvSpPr/>
          <p:nvPr/>
        </p:nvSpPr>
        <p:spPr>
          <a:xfrm>
            <a:off x="1432075" y="4296400"/>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4"/>
          <p:cNvSpPr/>
          <p:nvPr/>
        </p:nvSpPr>
        <p:spPr>
          <a:xfrm>
            <a:off x="2194725" y="44747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4"/>
          <p:cNvSpPr/>
          <p:nvPr/>
        </p:nvSpPr>
        <p:spPr>
          <a:xfrm>
            <a:off x="1585475" y="469551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 name="Google Shape;67;p4"/>
          <p:cNvGrpSpPr/>
          <p:nvPr/>
        </p:nvGrpSpPr>
        <p:grpSpPr>
          <a:xfrm>
            <a:off x="8148521" y="3004593"/>
            <a:ext cx="98059" cy="1147596"/>
            <a:chOff x="3347921" y="16006"/>
            <a:chExt cx="98059" cy="1147596"/>
          </a:xfrm>
        </p:grpSpPr>
        <p:sp>
          <p:nvSpPr>
            <p:cNvPr id="68" name="Google Shape;68;p4"/>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4"/>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 name="Google Shape;70;p4"/>
          <p:cNvGrpSpPr/>
          <p:nvPr/>
        </p:nvGrpSpPr>
        <p:grpSpPr>
          <a:xfrm>
            <a:off x="281421" y="3769263"/>
            <a:ext cx="121172" cy="760495"/>
            <a:chOff x="5245196" y="3136513"/>
            <a:chExt cx="121172" cy="760495"/>
          </a:xfrm>
        </p:grpSpPr>
        <p:sp>
          <p:nvSpPr>
            <p:cNvPr id="71" name="Google Shape;71;p4"/>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4"/>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 name="Google Shape;73;p4"/>
          <p:cNvGrpSpPr/>
          <p:nvPr/>
        </p:nvGrpSpPr>
        <p:grpSpPr>
          <a:xfrm>
            <a:off x="8534739" y="4069632"/>
            <a:ext cx="57599" cy="831799"/>
            <a:chOff x="2038689" y="173907"/>
            <a:chExt cx="57599" cy="831799"/>
          </a:xfrm>
        </p:grpSpPr>
        <p:sp>
          <p:nvSpPr>
            <p:cNvPr id="74" name="Google Shape;74;p4"/>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4"/>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 name="Google Shape;76;p4"/>
          <p:cNvSpPr/>
          <p:nvPr/>
        </p:nvSpPr>
        <p:spPr>
          <a:xfrm>
            <a:off x="7686100" y="45688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4"/>
          <p:cNvSpPr/>
          <p:nvPr/>
        </p:nvSpPr>
        <p:spPr>
          <a:xfrm>
            <a:off x="8868125" y="376926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25029" y="1066800"/>
            <a:ext cx="4622856" cy="335994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
        <p:nvSpPr>
          <p:cNvPr id="18" name="Title Placeholder 8">
            <a:extLst>
              <a:ext uri="{FF2B5EF4-FFF2-40B4-BE49-F238E27FC236}">
                <a16:creationId xmlns:a16="http://schemas.microsoft.com/office/drawing/2014/main" id="{1EDADDD7-2E87-5A0B-2F33-03BCE8D7C3DB}"/>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9374875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25029" y="996215"/>
            <a:ext cx="8641556" cy="3673417"/>
          </a:xfrm>
          <a:prstGeom prst="rect">
            <a:avLst/>
          </a:prstGeom>
        </p:spPr>
        <p:txBody>
          <a:bodyPr/>
          <a:lstStyle/>
          <a:p>
            <a:endParaRPr lang="en-US"/>
          </a:p>
        </p:txBody>
      </p:sp>
      <p:sp>
        <p:nvSpPr>
          <p:cNvPr id="6" name="Title Placeholder 8">
            <a:extLst>
              <a:ext uri="{FF2B5EF4-FFF2-40B4-BE49-F238E27FC236}">
                <a16:creationId xmlns:a16="http://schemas.microsoft.com/office/drawing/2014/main" id="{BC48FCDC-748E-04F0-938A-77141DE86749}"/>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238469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9342322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1977992" y="1130636"/>
            <a:ext cx="5155869"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225029"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225029"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225029"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225029"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225029"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225029"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344286"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344286"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344286"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344286"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34428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34428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1990555"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1990555"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55018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55018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6" name="Title Placeholder 8">
            <a:extLst>
              <a:ext uri="{FF2B5EF4-FFF2-40B4-BE49-F238E27FC236}">
                <a16:creationId xmlns:a16="http://schemas.microsoft.com/office/drawing/2014/main" id="{39DD743B-94D8-C90B-B949-B8435C196058}"/>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spTree>
    <p:extLst>
      <p:ext uri="{BB962C8B-B14F-4D97-AF65-F5344CB8AC3E}">
        <p14:creationId xmlns:p14="http://schemas.microsoft.com/office/powerpoint/2010/main" val="1342113324"/>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11" name="Date Placeholder 3">
            <a:extLst>
              <a:ext uri="{FF2B5EF4-FFF2-40B4-BE49-F238E27FC236}">
                <a16:creationId xmlns:a16="http://schemas.microsoft.com/office/drawing/2014/main" id="{6E6C5345-601B-484D-8B0A-2C2690DAC3A7}"/>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D84863AC-38AF-7F4E-A474-8C5A3B0A056D}" type="datetime2">
              <a:rPr lang="en-GB" smtClean="0"/>
              <a:t>Thursday, 16 March 2023</a:t>
            </a:fld>
            <a:endParaRPr lang="en-US"/>
          </a:p>
        </p:txBody>
      </p:sp>
      <p:sp>
        <p:nvSpPr>
          <p:cNvPr id="13" name="Footer Placeholder 4">
            <a:extLst>
              <a:ext uri="{FF2B5EF4-FFF2-40B4-BE49-F238E27FC236}">
                <a16:creationId xmlns:a16="http://schemas.microsoft.com/office/drawing/2014/main" id="{911B5993-A1CC-1542-816D-17AC89877C7D}"/>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05408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86034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Date Placeholder 3">
            <a:extLst>
              <a:ext uri="{FF2B5EF4-FFF2-40B4-BE49-F238E27FC236}">
                <a16:creationId xmlns:a16="http://schemas.microsoft.com/office/drawing/2014/main" id="{B3CCB918-8F83-7949-B76F-F359BDF8FEDE}"/>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A54FEDED-1A0E-8240-9BD3-F7C27B5F05AB}" type="datetime2">
              <a:rPr lang="en-GB" smtClean="0"/>
              <a:t>Thursday, 16 March 2023</a:t>
            </a:fld>
            <a:endParaRPr lang="en-US"/>
          </a:p>
        </p:txBody>
      </p:sp>
      <p:sp>
        <p:nvSpPr>
          <p:cNvPr id="15" name="Footer Placeholder 4">
            <a:extLst>
              <a:ext uri="{FF2B5EF4-FFF2-40B4-BE49-F238E27FC236}">
                <a16:creationId xmlns:a16="http://schemas.microsoft.com/office/drawing/2014/main" id="{19E13CC1-CC0C-6449-AA18-E64718682B42}"/>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162558388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 name="Text Placeholder 3">
            <a:extLst>
              <a:ext uri="{FF2B5EF4-FFF2-40B4-BE49-F238E27FC236}">
                <a16:creationId xmlns:a16="http://schemas.microsoft.com/office/drawing/2014/main" id="{C425298C-CE72-1142-B7AB-6BB92FA8665E}"/>
              </a:ext>
            </a:extLst>
          </p:cNvPr>
          <p:cNvSpPr>
            <a:spLocks noGrp="1"/>
          </p:cNvSpPr>
          <p:nvPr>
            <p:ph type="body" sz="quarter" idx="10"/>
          </p:nvPr>
        </p:nvSpPr>
        <p:spPr>
          <a:xfrm>
            <a:off x="251223" y="1066800"/>
            <a:ext cx="4160758"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Picture Placeholder 4">
            <a:extLst>
              <a:ext uri="{FF2B5EF4-FFF2-40B4-BE49-F238E27FC236}">
                <a16:creationId xmlns:a16="http://schemas.microsoft.com/office/drawing/2014/main" id="{2A2C2787-42B0-AB4F-80EE-D04323666900}"/>
              </a:ext>
            </a:extLst>
          </p:cNvPr>
          <p:cNvSpPr>
            <a:spLocks noGrp="1"/>
          </p:cNvSpPr>
          <p:nvPr>
            <p:ph type="pic" sz="quarter" idx="11"/>
          </p:nvPr>
        </p:nvSpPr>
        <p:spPr>
          <a:xfrm>
            <a:off x="4473179" y="1059657"/>
            <a:ext cx="4381500" cy="3375422"/>
          </a:xfrm>
          <a:prstGeom prst="rect">
            <a:avLst/>
          </a:prstGeom>
        </p:spPr>
        <p:txBody>
          <a:bodyPr/>
          <a:lstStyle/>
          <a:p>
            <a:endParaRPr lang="en-US"/>
          </a:p>
        </p:txBody>
      </p:sp>
      <p:sp>
        <p:nvSpPr>
          <p:cNvPr id="14" name="Date Placeholder 3">
            <a:extLst>
              <a:ext uri="{FF2B5EF4-FFF2-40B4-BE49-F238E27FC236}">
                <a16:creationId xmlns:a16="http://schemas.microsoft.com/office/drawing/2014/main" id="{8F4B2F0F-2FF6-6F4C-84C0-E24EFDBA8EB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04FEE97-34C6-914F-B3CB-5ED1CCF497C5}" type="datetime2">
              <a:rPr lang="en-GB" smtClean="0"/>
              <a:pPr/>
              <a:t>Thursday, 16 March 2023</a:t>
            </a:fld>
            <a:endParaRPr lang="en-US"/>
          </a:p>
        </p:txBody>
      </p:sp>
      <p:sp>
        <p:nvSpPr>
          <p:cNvPr id="15" name="Footer Placeholder 4">
            <a:extLst>
              <a:ext uri="{FF2B5EF4-FFF2-40B4-BE49-F238E27FC236}">
                <a16:creationId xmlns:a16="http://schemas.microsoft.com/office/drawing/2014/main" id="{18C1DF6A-C216-CA40-9E9B-AA19B297D488}"/>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5065887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99AA9B-46D6-4AAA-B038-0B8350754EBF}"/>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70" imgH="469" progId="TCLayout.ActiveDocument.1">
                  <p:embed/>
                </p:oleObj>
              </mc:Choice>
              <mc:Fallback>
                <p:oleObj name="think-cell Folie" r:id="rId3" imgW="470" imgH="469" progId="TCLayout.ActiveDocument.1">
                  <p:embed/>
                  <p:pic>
                    <p:nvPicPr>
                      <p:cNvPr id="6" name="Object 5" hidden="1">
                        <a:extLst>
                          <a:ext uri="{FF2B5EF4-FFF2-40B4-BE49-F238E27FC236}">
                            <a16:creationId xmlns:a16="http://schemas.microsoft.com/office/drawing/2014/main" id="{DB99AA9B-46D6-4AAA-B038-0B8350754E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2" name="Text Placeholder 16">
            <a:extLst>
              <a:ext uri="{FF2B5EF4-FFF2-40B4-BE49-F238E27FC236}">
                <a16:creationId xmlns:a16="http://schemas.microsoft.com/office/drawing/2014/main" id="{2CE0895B-686E-4870-BA32-8B5789243D9C}"/>
              </a:ext>
            </a:extLst>
          </p:cNvPr>
          <p:cNvSpPr>
            <a:spLocks noGrp="1"/>
          </p:cNvSpPr>
          <p:nvPr>
            <p:ph type="body" sz="quarter" idx="10" hasCustomPrompt="1"/>
          </p:nvPr>
        </p:nvSpPr>
        <p:spPr>
          <a:xfrm>
            <a:off x="708592"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39" name="Text Placeholder 16">
            <a:extLst>
              <a:ext uri="{FF2B5EF4-FFF2-40B4-BE49-F238E27FC236}">
                <a16:creationId xmlns:a16="http://schemas.microsoft.com/office/drawing/2014/main" id="{BFC51114-644B-49DB-BB94-074B8A8C1F7C}"/>
              </a:ext>
            </a:extLst>
          </p:cNvPr>
          <p:cNvSpPr>
            <a:spLocks noGrp="1"/>
          </p:cNvSpPr>
          <p:nvPr>
            <p:ph type="body" sz="quarter" idx="11" hasCustomPrompt="1"/>
          </p:nvPr>
        </p:nvSpPr>
        <p:spPr>
          <a:xfrm>
            <a:off x="708592"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2" name="Text Placeholder 16">
            <a:extLst>
              <a:ext uri="{FF2B5EF4-FFF2-40B4-BE49-F238E27FC236}">
                <a16:creationId xmlns:a16="http://schemas.microsoft.com/office/drawing/2014/main" id="{E5A7DDC4-351D-4062-80E6-4251B7E7201D}"/>
              </a:ext>
            </a:extLst>
          </p:cNvPr>
          <p:cNvSpPr>
            <a:spLocks noGrp="1"/>
          </p:cNvSpPr>
          <p:nvPr>
            <p:ph type="body" sz="quarter" idx="12" hasCustomPrompt="1"/>
          </p:nvPr>
        </p:nvSpPr>
        <p:spPr>
          <a:xfrm>
            <a:off x="6578056" y="1430802"/>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5" name="Text Placeholder 16">
            <a:extLst>
              <a:ext uri="{FF2B5EF4-FFF2-40B4-BE49-F238E27FC236}">
                <a16:creationId xmlns:a16="http://schemas.microsoft.com/office/drawing/2014/main" id="{1B3A23B7-A010-42CE-9589-44C683BB1476}"/>
              </a:ext>
            </a:extLst>
          </p:cNvPr>
          <p:cNvSpPr>
            <a:spLocks noGrp="1"/>
          </p:cNvSpPr>
          <p:nvPr>
            <p:ph type="body" sz="quarter" idx="13" hasCustomPrompt="1"/>
          </p:nvPr>
        </p:nvSpPr>
        <p:spPr>
          <a:xfrm>
            <a:off x="6578056" y="3331083"/>
            <a:ext cx="2042730"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48" name="Text Placeholder 16">
            <a:extLst>
              <a:ext uri="{FF2B5EF4-FFF2-40B4-BE49-F238E27FC236}">
                <a16:creationId xmlns:a16="http://schemas.microsoft.com/office/drawing/2014/main" id="{8147B2AA-7C11-45BE-A1F9-0A9586D98270}"/>
              </a:ext>
            </a:extLst>
          </p:cNvPr>
          <p:cNvSpPr>
            <a:spLocks noGrp="1"/>
          </p:cNvSpPr>
          <p:nvPr>
            <p:ph type="body" sz="quarter" idx="14" hasCustomPrompt="1"/>
          </p:nvPr>
        </p:nvSpPr>
        <p:spPr>
          <a:xfrm>
            <a:off x="3635989" y="1430802"/>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1" name="Text Placeholder 16">
            <a:extLst>
              <a:ext uri="{FF2B5EF4-FFF2-40B4-BE49-F238E27FC236}">
                <a16:creationId xmlns:a16="http://schemas.microsoft.com/office/drawing/2014/main" id="{D119508F-B3BD-4B02-9FCA-9257E83D66B1}"/>
              </a:ext>
            </a:extLst>
          </p:cNvPr>
          <p:cNvSpPr>
            <a:spLocks noGrp="1"/>
          </p:cNvSpPr>
          <p:nvPr>
            <p:ph type="body" sz="quarter" idx="15" hasCustomPrompt="1"/>
          </p:nvPr>
        </p:nvSpPr>
        <p:spPr>
          <a:xfrm>
            <a:off x="3635989" y="3331083"/>
            <a:ext cx="2057969" cy="1316533"/>
          </a:xfrm>
          <a:prstGeom prst="rect">
            <a:avLst/>
          </a:prstGeom>
        </p:spPr>
        <p:txBody>
          <a:bodyPr lIns="0" tIns="0" rIns="0" bIns="0"/>
          <a:lstStyle>
            <a:lvl1pPr marL="0" indent="0" algn="l">
              <a:spcBef>
                <a:spcPts val="0"/>
              </a:spcBef>
              <a:spcAft>
                <a:spcPts val="300"/>
              </a:spcAft>
              <a:buNone/>
              <a:defRPr sz="105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Agenda Item</a:t>
            </a:r>
          </a:p>
          <a:p>
            <a:pPr lvl="0"/>
            <a:r>
              <a:rPr lang="en-US"/>
              <a:t>Agenda Item</a:t>
            </a:r>
          </a:p>
          <a:p>
            <a:pPr lvl="0"/>
            <a:r>
              <a:rPr lang="en-US"/>
              <a:t>Agenda Item</a:t>
            </a:r>
          </a:p>
          <a:p>
            <a:pPr lvl="0"/>
            <a:r>
              <a:rPr lang="en-US"/>
              <a:t>Agenda Item</a:t>
            </a:r>
          </a:p>
          <a:p>
            <a:pPr lvl="0"/>
            <a:r>
              <a:rPr lang="en-US"/>
              <a:t>Agenda Item</a:t>
            </a:r>
          </a:p>
          <a:p>
            <a:pPr lvl="0"/>
            <a:r>
              <a:rPr lang="en-US"/>
              <a:t>Agenda Item</a:t>
            </a:r>
          </a:p>
        </p:txBody>
      </p:sp>
      <p:sp>
        <p:nvSpPr>
          <p:cNvPr id="55" name="Text Placeholder 54">
            <a:extLst>
              <a:ext uri="{FF2B5EF4-FFF2-40B4-BE49-F238E27FC236}">
                <a16:creationId xmlns:a16="http://schemas.microsoft.com/office/drawing/2014/main" id="{247B2379-72E1-4BB0-A9E2-548ADB68A158}"/>
              </a:ext>
            </a:extLst>
          </p:cNvPr>
          <p:cNvSpPr>
            <a:spLocks noGrp="1"/>
          </p:cNvSpPr>
          <p:nvPr>
            <p:ph type="body" sz="quarter" idx="16" hasCustomPrompt="1"/>
          </p:nvPr>
        </p:nvSpPr>
        <p:spPr>
          <a:xfrm>
            <a:off x="708843"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6" name="Text Placeholder 54">
            <a:extLst>
              <a:ext uri="{FF2B5EF4-FFF2-40B4-BE49-F238E27FC236}">
                <a16:creationId xmlns:a16="http://schemas.microsoft.com/office/drawing/2014/main" id="{8C8BDA19-0131-4D0E-A0B2-E07FA91BA8D3}"/>
              </a:ext>
            </a:extLst>
          </p:cNvPr>
          <p:cNvSpPr>
            <a:spLocks noGrp="1"/>
          </p:cNvSpPr>
          <p:nvPr>
            <p:ph type="body" sz="quarter" idx="17" hasCustomPrompt="1"/>
          </p:nvPr>
        </p:nvSpPr>
        <p:spPr>
          <a:xfrm>
            <a:off x="708843"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7" name="Text Placeholder 54">
            <a:extLst>
              <a:ext uri="{FF2B5EF4-FFF2-40B4-BE49-F238E27FC236}">
                <a16:creationId xmlns:a16="http://schemas.microsoft.com/office/drawing/2014/main" id="{BD3BF168-EEBF-4E73-99DD-BD32BB2CE136}"/>
              </a:ext>
            </a:extLst>
          </p:cNvPr>
          <p:cNvSpPr>
            <a:spLocks noGrp="1"/>
          </p:cNvSpPr>
          <p:nvPr>
            <p:ph type="body" sz="quarter" idx="18" hasCustomPrompt="1"/>
          </p:nvPr>
        </p:nvSpPr>
        <p:spPr>
          <a:xfrm>
            <a:off x="3636557"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8" name="Text Placeholder 54">
            <a:extLst>
              <a:ext uri="{FF2B5EF4-FFF2-40B4-BE49-F238E27FC236}">
                <a16:creationId xmlns:a16="http://schemas.microsoft.com/office/drawing/2014/main" id="{35638724-89B4-40FD-8F06-B32CE8FEA3AE}"/>
              </a:ext>
            </a:extLst>
          </p:cNvPr>
          <p:cNvSpPr>
            <a:spLocks noGrp="1"/>
          </p:cNvSpPr>
          <p:nvPr>
            <p:ph type="body" sz="quarter" idx="19" hasCustomPrompt="1"/>
          </p:nvPr>
        </p:nvSpPr>
        <p:spPr>
          <a:xfrm>
            <a:off x="3636557"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59" name="Text Placeholder 54">
            <a:extLst>
              <a:ext uri="{FF2B5EF4-FFF2-40B4-BE49-F238E27FC236}">
                <a16:creationId xmlns:a16="http://schemas.microsoft.com/office/drawing/2014/main" id="{F7C30755-898E-4418-8E0D-A1DD98F7CA99}"/>
              </a:ext>
            </a:extLst>
          </p:cNvPr>
          <p:cNvSpPr>
            <a:spLocks noGrp="1"/>
          </p:cNvSpPr>
          <p:nvPr>
            <p:ph type="body" sz="quarter" idx="20" hasCustomPrompt="1"/>
          </p:nvPr>
        </p:nvSpPr>
        <p:spPr>
          <a:xfrm>
            <a:off x="6563385" y="973231"/>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0" name="Text Placeholder 54">
            <a:extLst>
              <a:ext uri="{FF2B5EF4-FFF2-40B4-BE49-F238E27FC236}">
                <a16:creationId xmlns:a16="http://schemas.microsoft.com/office/drawing/2014/main" id="{75EBAAB8-2A67-4975-963E-8EF119D24F23}"/>
              </a:ext>
            </a:extLst>
          </p:cNvPr>
          <p:cNvSpPr>
            <a:spLocks noGrp="1"/>
          </p:cNvSpPr>
          <p:nvPr>
            <p:ph type="body" sz="quarter" idx="21" hasCustomPrompt="1"/>
          </p:nvPr>
        </p:nvSpPr>
        <p:spPr>
          <a:xfrm>
            <a:off x="6563385" y="2862006"/>
            <a:ext cx="2057400" cy="457200"/>
          </a:xfrm>
          <a:prstGeom prst="rect">
            <a:avLst/>
          </a:prstGeom>
        </p:spPr>
        <p:txBody>
          <a:bodyPr lIns="0" tIns="0" rIns="0" bIns="0"/>
          <a:lstStyle>
            <a:lvl1pPr marL="0" indent="0">
              <a:buNone/>
              <a:defRPr sz="1500">
                <a:solidFill>
                  <a:schemeClr val="tx1"/>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AGENDA TITLE TEXT LOREM IPSUM</a:t>
            </a:r>
          </a:p>
        </p:txBody>
      </p:sp>
      <p:sp>
        <p:nvSpPr>
          <p:cNvPr id="62" name="Text Placeholder 61">
            <a:extLst>
              <a:ext uri="{FF2B5EF4-FFF2-40B4-BE49-F238E27FC236}">
                <a16:creationId xmlns:a16="http://schemas.microsoft.com/office/drawing/2014/main" id="{8759F59D-6024-432D-A054-18929B337AAC}"/>
              </a:ext>
            </a:extLst>
          </p:cNvPr>
          <p:cNvSpPr>
            <a:spLocks noGrp="1"/>
          </p:cNvSpPr>
          <p:nvPr>
            <p:ph type="body" sz="quarter" idx="22" hasCustomPrompt="1"/>
          </p:nvPr>
        </p:nvSpPr>
        <p:spPr>
          <a:xfrm>
            <a:off x="251070" y="962324"/>
            <a:ext cx="442534" cy="468107"/>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1</a:t>
            </a:r>
          </a:p>
        </p:txBody>
      </p:sp>
      <p:sp>
        <p:nvSpPr>
          <p:cNvPr id="63" name="Text Placeholder 61">
            <a:extLst>
              <a:ext uri="{FF2B5EF4-FFF2-40B4-BE49-F238E27FC236}">
                <a16:creationId xmlns:a16="http://schemas.microsoft.com/office/drawing/2014/main" id="{FA7043CE-B151-49AE-8A63-69DCBE788AF2}"/>
              </a:ext>
            </a:extLst>
          </p:cNvPr>
          <p:cNvSpPr>
            <a:spLocks noGrp="1"/>
          </p:cNvSpPr>
          <p:nvPr>
            <p:ph type="body" sz="quarter" idx="23" hasCustomPrompt="1"/>
          </p:nvPr>
        </p:nvSpPr>
        <p:spPr>
          <a:xfrm>
            <a:off x="247536"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2</a:t>
            </a:r>
          </a:p>
        </p:txBody>
      </p:sp>
      <p:sp>
        <p:nvSpPr>
          <p:cNvPr id="64" name="Text Placeholder 61">
            <a:extLst>
              <a:ext uri="{FF2B5EF4-FFF2-40B4-BE49-F238E27FC236}">
                <a16:creationId xmlns:a16="http://schemas.microsoft.com/office/drawing/2014/main" id="{DAF5DAA5-2650-4AC1-A86E-CAA6DB4ED17A}"/>
              </a:ext>
            </a:extLst>
          </p:cNvPr>
          <p:cNvSpPr>
            <a:spLocks noGrp="1"/>
          </p:cNvSpPr>
          <p:nvPr>
            <p:ph type="body" sz="quarter" idx="24" hasCustomPrompt="1"/>
          </p:nvPr>
        </p:nvSpPr>
        <p:spPr>
          <a:xfrm>
            <a:off x="3159694" y="975366"/>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3</a:t>
            </a:r>
          </a:p>
        </p:txBody>
      </p:sp>
      <p:sp>
        <p:nvSpPr>
          <p:cNvPr id="65" name="Text Placeholder 61">
            <a:extLst>
              <a:ext uri="{FF2B5EF4-FFF2-40B4-BE49-F238E27FC236}">
                <a16:creationId xmlns:a16="http://schemas.microsoft.com/office/drawing/2014/main" id="{BF962EF4-32A5-4099-BCD8-1D757E5FE30B}"/>
              </a:ext>
            </a:extLst>
          </p:cNvPr>
          <p:cNvSpPr>
            <a:spLocks noGrp="1"/>
          </p:cNvSpPr>
          <p:nvPr>
            <p:ph type="body" sz="quarter" idx="25" hasCustomPrompt="1"/>
          </p:nvPr>
        </p:nvSpPr>
        <p:spPr>
          <a:xfrm>
            <a:off x="3168068" y="2864142"/>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4</a:t>
            </a:r>
          </a:p>
        </p:txBody>
      </p:sp>
      <p:sp>
        <p:nvSpPr>
          <p:cNvPr id="66" name="Text Placeholder 61">
            <a:extLst>
              <a:ext uri="{FF2B5EF4-FFF2-40B4-BE49-F238E27FC236}">
                <a16:creationId xmlns:a16="http://schemas.microsoft.com/office/drawing/2014/main" id="{817AF89B-941E-4261-82AC-55070301AC5C}"/>
              </a:ext>
            </a:extLst>
          </p:cNvPr>
          <p:cNvSpPr>
            <a:spLocks noGrp="1"/>
          </p:cNvSpPr>
          <p:nvPr>
            <p:ph type="body" sz="quarter" idx="26" hasCustomPrompt="1"/>
          </p:nvPr>
        </p:nvSpPr>
        <p:spPr>
          <a:xfrm>
            <a:off x="6099555" y="975879"/>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5</a:t>
            </a:r>
          </a:p>
        </p:txBody>
      </p:sp>
      <p:sp>
        <p:nvSpPr>
          <p:cNvPr id="67" name="Text Placeholder 61">
            <a:extLst>
              <a:ext uri="{FF2B5EF4-FFF2-40B4-BE49-F238E27FC236}">
                <a16:creationId xmlns:a16="http://schemas.microsoft.com/office/drawing/2014/main" id="{669B1C84-F860-449F-AE54-22579B25D009}"/>
              </a:ext>
            </a:extLst>
          </p:cNvPr>
          <p:cNvSpPr>
            <a:spLocks noGrp="1"/>
          </p:cNvSpPr>
          <p:nvPr>
            <p:ph type="body" sz="quarter" idx="27" hasCustomPrompt="1"/>
          </p:nvPr>
        </p:nvSpPr>
        <p:spPr>
          <a:xfrm>
            <a:off x="6107929" y="2864655"/>
            <a:ext cx="461055" cy="455065"/>
          </a:xfrm>
          <a:prstGeom prst="rect">
            <a:avLst/>
          </a:prstGeom>
        </p:spPr>
        <p:txBody>
          <a:bodyPr lIns="0" tIns="0" rIns="0" bIns="0" anchor="ctr" anchorCtr="0"/>
          <a:lstStyle>
            <a:lvl1pPr marL="0" indent="0">
              <a:buNone/>
              <a:defRPr sz="4050">
                <a:solidFill>
                  <a:srgbClr val="FAB81E"/>
                </a:solidFill>
                <a:latin typeface="+mj-lt"/>
              </a:defRPr>
            </a:lvl1pPr>
            <a:lvl2pPr>
              <a:defRPr sz="3000">
                <a:solidFill>
                  <a:schemeClr val="tx1"/>
                </a:solidFill>
                <a:latin typeface="+mj-lt"/>
              </a:defRPr>
            </a:lvl2pPr>
            <a:lvl3pPr>
              <a:defRPr sz="3000">
                <a:solidFill>
                  <a:schemeClr val="tx1"/>
                </a:solidFill>
                <a:latin typeface="+mj-lt"/>
              </a:defRPr>
            </a:lvl3pPr>
            <a:lvl4pPr>
              <a:defRPr sz="3000">
                <a:solidFill>
                  <a:schemeClr val="tx1"/>
                </a:solidFill>
                <a:latin typeface="+mj-lt"/>
              </a:defRPr>
            </a:lvl4pPr>
            <a:lvl5pPr>
              <a:defRPr sz="3000">
                <a:solidFill>
                  <a:schemeClr val="tx1"/>
                </a:solidFill>
                <a:latin typeface="+mj-lt"/>
              </a:defRPr>
            </a:lvl5pPr>
          </a:lstStyle>
          <a:p>
            <a:pPr lvl="0"/>
            <a:r>
              <a:rPr lang="en-US"/>
              <a:t>6</a:t>
            </a:r>
          </a:p>
        </p:txBody>
      </p:sp>
      <p:sp>
        <p:nvSpPr>
          <p:cNvPr id="27" name="Title Placeholder 8">
            <a:extLst>
              <a:ext uri="{FF2B5EF4-FFF2-40B4-BE49-F238E27FC236}">
                <a16:creationId xmlns:a16="http://schemas.microsoft.com/office/drawing/2014/main" id="{7BECDA62-9DA3-C840-B5D0-93109A6BC22E}"/>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solidFill>
                  <a:schemeClr val="tx1"/>
                </a:solidFill>
              </a:defRPr>
            </a:lvl1pPr>
          </a:lstStyle>
          <a:p>
            <a:r>
              <a:rPr lang="en-US"/>
              <a:t>Click to add &lt;TITLE&gt;</a:t>
            </a:r>
          </a:p>
        </p:txBody>
      </p:sp>
      <p:sp>
        <p:nvSpPr>
          <p:cNvPr id="34" name="Date Placeholder 3">
            <a:extLst>
              <a:ext uri="{FF2B5EF4-FFF2-40B4-BE49-F238E27FC236}">
                <a16:creationId xmlns:a16="http://schemas.microsoft.com/office/drawing/2014/main" id="{7672EB68-0408-0846-AF9E-263BDC0BC97B}"/>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tx1"/>
                </a:solidFill>
              </a:defRPr>
            </a:lvl1pPr>
          </a:lstStyle>
          <a:p>
            <a:fld id="{BF765354-2516-7044-9511-828D624A63DE}" type="datetime2">
              <a:rPr lang="en-GB" smtClean="0"/>
              <a:t>Thursday, 16 March 2023</a:t>
            </a:fld>
            <a:endParaRPr lang="en-US"/>
          </a:p>
        </p:txBody>
      </p:sp>
      <p:sp>
        <p:nvSpPr>
          <p:cNvPr id="36" name="Footer Placeholder 4">
            <a:extLst>
              <a:ext uri="{FF2B5EF4-FFF2-40B4-BE49-F238E27FC236}">
                <a16:creationId xmlns:a16="http://schemas.microsoft.com/office/drawing/2014/main" id="{0B63705F-966A-6949-B59E-9D266142EE4B}"/>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tx1"/>
                </a:solidFill>
              </a:defRPr>
            </a:lvl1pPr>
          </a:lstStyle>
          <a:p>
            <a:r>
              <a:rPr lang="en-US"/>
              <a:t>Presentation title</a:t>
            </a:r>
          </a:p>
        </p:txBody>
      </p:sp>
    </p:spTree>
    <p:extLst>
      <p:ext uri="{BB962C8B-B14F-4D97-AF65-F5344CB8AC3E}">
        <p14:creationId xmlns:p14="http://schemas.microsoft.com/office/powerpoint/2010/main" val="1387681919"/>
      </p:ext>
    </p:extLst>
  </p:cSld>
  <p:clrMapOvr>
    <a:overrideClrMapping bg1="dk1" tx1="lt1" bg2="dk2" tx2="lt2" accent1="accent1" accent2="accent2" accent3="accent3" accent4="accent4" accent5="accent5" accent6="accent6" hlink="hlink" folHlink="folHlink"/>
  </p:clrMapOvr>
  <p:transition/>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2717419"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1"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56A5CCA2-8616-D047-A7F9-7E7CDD926D76}"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3213237" y="727442"/>
            <a:ext cx="2717419"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3213237"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3283658"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5" name="Picture Placeholder 60">
            <a:extLst>
              <a:ext uri="{FF2B5EF4-FFF2-40B4-BE49-F238E27FC236}">
                <a16:creationId xmlns:a16="http://schemas.microsoft.com/office/drawing/2014/main" id="{5B49F477-40EC-F465-84A6-58F7313CE9DF}"/>
              </a:ext>
            </a:extLst>
          </p:cNvPr>
          <p:cNvSpPr>
            <a:spLocks noGrp="1"/>
          </p:cNvSpPr>
          <p:nvPr>
            <p:ph type="pic" sz="quarter" idx="42"/>
          </p:nvPr>
        </p:nvSpPr>
        <p:spPr>
          <a:xfrm>
            <a:off x="6160545" y="727442"/>
            <a:ext cx="2717419" cy="916953"/>
          </a:xfrm>
          <a:prstGeom prst="rect">
            <a:avLst/>
          </a:prstGeom>
        </p:spPr>
        <p:txBody>
          <a:bodyPr/>
          <a:lstStyle>
            <a:lvl1pPr marL="0" indent="0">
              <a:buNone/>
              <a:defRPr/>
            </a:lvl1pPr>
          </a:lstStyle>
          <a:p>
            <a:endParaRPr lang="en-US"/>
          </a:p>
        </p:txBody>
      </p:sp>
      <p:sp>
        <p:nvSpPr>
          <p:cNvPr id="26" name="Text Placeholder 16">
            <a:extLst>
              <a:ext uri="{FF2B5EF4-FFF2-40B4-BE49-F238E27FC236}">
                <a16:creationId xmlns:a16="http://schemas.microsoft.com/office/drawing/2014/main" id="{F1F6AA17-8DE5-471D-1AEC-145E97C6E8CA}"/>
              </a:ext>
            </a:extLst>
          </p:cNvPr>
          <p:cNvSpPr>
            <a:spLocks noGrp="1"/>
          </p:cNvSpPr>
          <p:nvPr>
            <p:ph type="body" sz="quarter" idx="43" hasCustomPrompt="1"/>
          </p:nvPr>
        </p:nvSpPr>
        <p:spPr>
          <a:xfrm>
            <a:off x="6160545" y="2049039"/>
            <a:ext cx="2722768"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7" name="Text Placeholder 54">
            <a:extLst>
              <a:ext uri="{FF2B5EF4-FFF2-40B4-BE49-F238E27FC236}">
                <a16:creationId xmlns:a16="http://schemas.microsoft.com/office/drawing/2014/main" id="{884F3DAF-F68E-5EA4-C64D-A876C69DF9B7}"/>
              </a:ext>
            </a:extLst>
          </p:cNvPr>
          <p:cNvSpPr>
            <a:spLocks noGrp="1"/>
          </p:cNvSpPr>
          <p:nvPr>
            <p:ph type="body" sz="quarter" idx="44" hasCustomPrompt="1"/>
          </p:nvPr>
        </p:nvSpPr>
        <p:spPr>
          <a:xfrm>
            <a:off x="6230965" y="1730038"/>
            <a:ext cx="2483507"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5958354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Multi colum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A3FD2-BBC5-4072-ADF6-4AB59F710AF9}"/>
              </a:ext>
            </a:extLst>
          </p:cNvPr>
          <p:cNvGraphicFramePr>
            <a:graphicFrameLocks noChangeAspect="1"/>
          </p:cNvGraphicFramePr>
          <p:nvPr userDrawn="1">
            <p:custDataLst>
              <p:tags r:id="rId1"/>
            </p:custDataLst>
            <p:extLst>
              <p:ext uri="{D42A27DB-BD31-4B8C-83A1-F6EECF244321}">
                <p14:modId xmlns:p14="http://schemas.microsoft.com/office/powerpoint/2010/main" val="1584142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a:extLst>
                          <a:ext uri="{FF2B5EF4-FFF2-40B4-BE49-F238E27FC236}">
                            <a16:creationId xmlns:a16="http://schemas.microsoft.com/office/drawing/2014/main" id="{411A3FD2-BBC5-4072-ADF6-4AB59F710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1" name="Title Placeholder 8">
            <a:extLst>
              <a:ext uri="{FF2B5EF4-FFF2-40B4-BE49-F238E27FC236}">
                <a16:creationId xmlns:a16="http://schemas.microsoft.com/office/drawing/2014/main" id="{26885F64-41D2-4B3F-8B97-C7414789FCCB}"/>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484" name="Picture Placeholder 60">
            <a:extLst>
              <a:ext uri="{FF2B5EF4-FFF2-40B4-BE49-F238E27FC236}">
                <a16:creationId xmlns:a16="http://schemas.microsoft.com/office/drawing/2014/main" id="{5E90562C-EFB3-0041-8C2A-42C47B788E0E}"/>
              </a:ext>
            </a:extLst>
          </p:cNvPr>
          <p:cNvSpPr>
            <a:spLocks noGrp="1"/>
          </p:cNvSpPr>
          <p:nvPr>
            <p:ph type="pic" sz="quarter" idx="38"/>
          </p:nvPr>
        </p:nvSpPr>
        <p:spPr>
          <a:xfrm>
            <a:off x="265931" y="727442"/>
            <a:ext cx="4018500" cy="916953"/>
          </a:xfrm>
          <a:prstGeom prst="rect">
            <a:avLst/>
          </a:prstGeom>
        </p:spPr>
        <p:txBody>
          <a:bodyPr/>
          <a:lstStyle>
            <a:lvl1pPr marL="0" indent="0">
              <a:buNone/>
              <a:defRPr/>
            </a:lvl1pPr>
          </a:lstStyle>
          <a:p>
            <a:endParaRPr lang="en-US"/>
          </a:p>
        </p:txBody>
      </p:sp>
      <p:sp>
        <p:nvSpPr>
          <p:cNvPr id="490" name="Text Placeholder 16">
            <a:extLst>
              <a:ext uri="{FF2B5EF4-FFF2-40B4-BE49-F238E27FC236}">
                <a16:creationId xmlns:a16="http://schemas.microsoft.com/office/drawing/2014/main" id="{674726FD-3745-4541-A92A-5C1173E52426}"/>
              </a:ext>
            </a:extLst>
          </p:cNvPr>
          <p:cNvSpPr>
            <a:spLocks noGrp="1"/>
          </p:cNvSpPr>
          <p:nvPr userDrawn="1">
            <p:ph type="body" sz="quarter" idx="28" hasCustomPrompt="1"/>
          </p:nvPr>
        </p:nvSpPr>
        <p:spPr>
          <a:xfrm>
            <a:off x="265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491" name="Text Placeholder 54">
            <a:extLst>
              <a:ext uri="{FF2B5EF4-FFF2-40B4-BE49-F238E27FC236}">
                <a16:creationId xmlns:a16="http://schemas.microsoft.com/office/drawing/2014/main" id="{D4E02AD5-4108-B343-B8B6-41C176353A12}"/>
              </a:ext>
            </a:extLst>
          </p:cNvPr>
          <p:cNvSpPr>
            <a:spLocks noGrp="1"/>
          </p:cNvSpPr>
          <p:nvPr userDrawn="1">
            <p:ph type="body" sz="quarter" idx="29" hasCustomPrompt="1"/>
          </p:nvPr>
        </p:nvSpPr>
        <p:spPr>
          <a:xfrm>
            <a:off x="336352" y="1730038"/>
            <a:ext cx="3672593"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
        <p:nvSpPr>
          <p:cNvPr id="22" name="Date Placeholder 3">
            <a:extLst>
              <a:ext uri="{FF2B5EF4-FFF2-40B4-BE49-F238E27FC236}">
                <a16:creationId xmlns:a16="http://schemas.microsoft.com/office/drawing/2014/main" id="{A75AEE32-A9FB-4E4F-9179-A95C3D3147C1}"/>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CC5A80A8-5C99-624A-803B-6F3B5B6A8B03}" type="datetime2">
              <a:rPr lang="en-GB" smtClean="0"/>
              <a:pPr/>
              <a:t>Thursday, 16 March 2023</a:t>
            </a:fld>
            <a:endParaRPr lang="en-US"/>
          </a:p>
        </p:txBody>
      </p:sp>
      <p:sp>
        <p:nvSpPr>
          <p:cNvPr id="23" name="Footer Placeholder 4">
            <a:extLst>
              <a:ext uri="{FF2B5EF4-FFF2-40B4-BE49-F238E27FC236}">
                <a16:creationId xmlns:a16="http://schemas.microsoft.com/office/drawing/2014/main" id="{C2F73968-AB81-3249-BFEB-60814CB89A61}"/>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19" name="Picture Placeholder 60">
            <a:extLst>
              <a:ext uri="{FF2B5EF4-FFF2-40B4-BE49-F238E27FC236}">
                <a16:creationId xmlns:a16="http://schemas.microsoft.com/office/drawing/2014/main" id="{E07836E8-225F-5305-EBF6-B2393065531A}"/>
              </a:ext>
            </a:extLst>
          </p:cNvPr>
          <p:cNvSpPr>
            <a:spLocks noGrp="1"/>
          </p:cNvSpPr>
          <p:nvPr>
            <p:ph type="pic" sz="quarter" idx="39"/>
          </p:nvPr>
        </p:nvSpPr>
        <p:spPr>
          <a:xfrm>
            <a:off x="4859571" y="727442"/>
            <a:ext cx="4018500" cy="916953"/>
          </a:xfrm>
          <a:prstGeom prst="rect">
            <a:avLst/>
          </a:prstGeom>
        </p:spPr>
        <p:txBody>
          <a:bodyPr/>
          <a:lstStyle>
            <a:lvl1pPr marL="0" indent="0">
              <a:buNone/>
              <a:defRPr/>
            </a:lvl1pPr>
          </a:lstStyle>
          <a:p>
            <a:endParaRPr lang="en-US"/>
          </a:p>
        </p:txBody>
      </p:sp>
      <p:sp>
        <p:nvSpPr>
          <p:cNvPr id="20" name="Text Placeholder 16">
            <a:extLst>
              <a:ext uri="{FF2B5EF4-FFF2-40B4-BE49-F238E27FC236}">
                <a16:creationId xmlns:a16="http://schemas.microsoft.com/office/drawing/2014/main" id="{8CA2DBAE-5075-905B-0286-26FB7837047F}"/>
              </a:ext>
            </a:extLst>
          </p:cNvPr>
          <p:cNvSpPr>
            <a:spLocks noGrp="1"/>
          </p:cNvSpPr>
          <p:nvPr>
            <p:ph type="body" sz="quarter" idx="40" hasCustomPrompt="1"/>
          </p:nvPr>
        </p:nvSpPr>
        <p:spPr>
          <a:xfrm>
            <a:off x="4816930" y="2049039"/>
            <a:ext cx="4061141" cy="2629097"/>
          </a:xfrm>
          <a:prstGeom prst="rect">
            <a:avLst/>
          </a:prstGeom>
          <a:solidFill>
            <a:srgbClr val="FBB800"/>
          </a:solidFill>
        </p:spPr>
        <p:txBody>
          <a:bodyPr lIns="180000" tIns="180000" rIns="180000" bIns="180000"/>
          <a:lstStyle>
            <a:lvl1pPr marL="128588" indent="-128588" algn="l">
              <a:spcAft>
                <a:spcPts val="450"/>
              </a:spcAft>
              <a:buClr>
                <a:schemeClr val="tx2"/>
              </a:buClr>
              <a:buFont typeface="Arial" panose="020B0604020202020204" pitchFamily="34" charset="0"/>
              <a:buChar char="•"/>
              <a:defRPr sz="900">
                <a:solidFill>
                  <a:schemeClr val="tx1"/>
                </a:solidFill>
                <a:latin typeface="Roboto" panose="02000000000000000000" pitchFamily="2" charset="0"/>
                <a:ea typeface="Roboto" panose="02000000000000000000" pitchFamily="2" charset="0"/>
              </a:defRPr>
            </a:lvl1pPr>
            <a:lvl2pPr algn="ctr">
              <a:defRPr sz="1800">
                <a:solidFill>
                  <a:schemeClr val="bg1">
                    <a:lumMod val="85000"/>
                  </a:schemeClr>
                </a:solidFill>
                <a:latin typeface="Roboto" panose="02000000000000000000" pitchFamily="2" charset="0"/>
                <a:ea typeface="Roboto" panose="02000000000000000000" pitchFamily="2" charset="0"/>
              </a:defRPr>
            </a:lvl2pPr>
            <a:lvl3pPr algn="ctr">
              <a:defRPr sz="1800">
                <a:solidFill>
                  <a:schemeClr val="bg1">
                    <a:lumMod val="85000"/>
                  </a:schemeClr>
                </a:solidFill>
                <a:latin typeface="Roboto" panose="02000000000000000000" pitchFamily="2" charset="0"/>
                <a:ea typeface="Roboto" panose="02000000000000000000" pitchFamily="2" charset="0"/>
              </a:defRPr>
            </a:lvl3pPr>
            <a:lvl4pPr algn="ctr">
              <a:defRPr sz="1800">
                <a:solidFill>
                  <a:schemeClr val="bg1">
                    <a:lumMod val="85000"/>
                  </a:schemeClr>
                </a:solidFill>
                <a:latin typeface="Roboto" panose="02000000000000000000" pitchFamily="2" charset="0"/>
                <a:ea typeface="Roboto" panose="02000000000000000000" pitchFamily="2" charset="0"/>
              </a:defRPr>
            </a:lvl4pPr>
            <a:lvl5pPr algn="ctr">
              <a:defRPr sz="1800">
                <a:solidFill>
                  <a:schemeClr val="bg1">
                    <a:lumMod val="85000"/>
                  </a:schemeClr>
                </a:solidFill>
                <a:latin typeface="Roboto" panose="02000000000000000000" pitchFamily="2" charset="0"/>
                <a:ea typeface="Roboto" panose="02000000000000000000" pitchFamily="2" charset="0"/>
              </a:defRPr>
            </a:lvl5pPr>
          </a:lstStyle>
          <a:p>
            <a:pPr lvl="0"/>
            <a:r>
              <a:rPr lang="en-US"/>
              <a:t>Item</a:t>
            </a:r>
          </a:p>
        </p:txBody>
      </p:sp>
      <p:sp>
        <p:nvSpPr>
          <p:cNvPr id="24" name="Text Placeholder 54">
            <a:extLst>
              <a:ext uri="{FF2B5EF4-FFF2-40B4-BE49-F238E27FC236}">
                <a16:creationId xmlns:a16="http://schemas.microsoft.com/office/drawing/2014/main" id="{0F40B964-5C2D-58E0-F644-D28A3BC3E0EA}"/>
              </a:ext>
            </a:extLst>
          </p:cNvPr>
          <p:cNvSpPr>
            <a:spLocks noGrp="1"/>
          </p:cNvSpPr>
          <p:nvPr>
            <p:ph type="body" sz="quarter" idx="41" hasCustomPrompt="1"/>
          </p:nvPr>
        </p:nvSpPr>
        <p:spPr>
          <a:xfrm>
            <a:off x="4929991" y="1730038"/>
            <a:ext cx="3781301" cy="249365"/>
          </a:xfrm>
          <a:prstGeom prst="rect">
            <a:avLst/>
          </a:prstGeom>
        </p:spPr>
        <p:txBody>
          <a:bodyPr lIns="0" tIns="0" rIns="0" bIns="0"/>
          <a:lstStyle>
            <a:lvl1pPr marL="0" indent="0">
              <a:buNone/>
              <a:defRPr sz="1200">
                <a:solidFill>
                  <a:schemeClr val="tx2"/>
                </a:solidFill>
                <a:latin typeface="+mj-lt"/>
              </a:defRPr>
            </a:lvl1pPr>
            <a:lvl2pPr>
              <a:defRPr sz="1500">
                <a:solidFill>
                  <a:schemeClr val="accent4"/>
                </a:solidFill>
                <a:latin typeface="+mj-lt"/>
              </a:defRPr>
            </a:lvl2pPr>
            <a:lvl3pPr>
              <a:defRPr sz="1500">
                <a:solidFill>
                  <a:schemeClr val="accent4"/>
                </a:solidFill>
                <a:latin typeface="+mj-lt"/>
              </a:defRPr>
            </a:lvl3pPr>
            <a:lvl4pPr>
              <a:defRPr sz="1500">
                <a:solidFill>
                  <a:schemeClr val="accent4"/>
                </a:solidFill>
                <a:latin typeface="+mj-lt"/>
              </a:defRPr>
            </a:lvl4pPr>
            <a:lvl5pPr>
              <a:defRPr sz="1500">
                <a:solidFill>
                  <a:schemeClr val="accent4"/>
                </a:solidFill>
                <a:latin typeface="+mj-lt"/>
              </a:defRPr>
            </a:lvl5pPr>
          </a:lstStyle>
          <a:p>
            <a:pPr lvl="0"/>
            <a:r>
              <a:rPr lang="en-US"/>
              <a:t>Title</a:t>
            </a:r>
          </a:p>
        </p:txBody>
      </p:sp>
    </p:spTree>
    <p:extLst>
      <p:ext uri="{BB962C8B-B14F-4D97-AF65-F5344CB8AC3E}">
        <p14:creationId xmlns:p14="http://schemas.microsoft.com/office/powerpoint/2010/main" val="245576083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8"/>
        <p:cNvGrpSpPr/>
        <p:nvPr/>
      </p:nvGrpSpPr>
      <p:grpSpPr>
        <a:xfrm>
          <a:off x="0" y="0"/>
          <a:ext cx="0" cy="0"/>
          <a:chOff x="0" y="0"/>
          <a:chExt cx="0" cy="0"/>
        </a:xfrm>
      </p:grpSpPr>
      <p:sp>
        <p:nvSpPr>
          <p:cNvPr id="79" name="Google Shape;79;p5"/>
          <p:cNvSpPr txBox="1">
            <a:spLocks noGrp="1"/>
          </p:cNvSpPr>
          <p:nvPr>
            <p:ph type="ctrTitle"/>
          </p:nvPr>
        </p:nvSpPr>
        <p:spPr>
          <a:xfrm>
            <a:off x="923625" y="1196026"/>
            <a:ext cx="982200" cy="5778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0" name="Google Shape;80;p5"/>
          <p:cNvSpPr txBox="1">
            <a:spLocks noGrp="1"/>
          </p:cNvSpPr>
          <p:nvPr>
            <p:ph type="subTitle" idx="1"/>
          </p:nvPr>
        </p:nvSpPr>
        <p:spPr>
          <a:xfrm>
            <a:off x="923637" y="1684093"/>
            <a:ext cx="2620500" cy="1112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1" name="Google Shape;81;p5"/>
          <p:cNvSpPr txBox="1">
            <a:spLocks noGrp="1"/>
          </p:cNvSpPr>
          <p:nvPr>
            <p:ph type="ctrTitle" idx="2"/>
          </p:nvPr>
        </p:nvSpPr>
        <p:spPr>
          <a:xfrm>
            <a:off x="7050379" y="1196025"/>
            <a:ext cx="1137300" cy="577800"/>
          </a:xfrm>
          <a:prstGeom prst="rect">
            <a:avLst/>
          </a:prstGeom>
          <a:ln>
            <a:noFill/>
          </a:ln>
        </p:spPr>
        <p:txBody>
          <a:bodyPr spcFirstLastPara="1" wrap="square" lIns="91425" tIns="91425" rIns="91425" bIns="91425" anchor="b" anchorCtr="0">
            <a:noAutofit/>
          </a:bodyPr>
          <a:lstStyle>
            <a:lvl1pPr lvl="0" algn="r" rtl="0">
              <a:spcBef>
                <a:spcPts val="0"/>
              </a:spcBef>
              <a:spcAft>
                <a:spcPts val="0"/>
              </a:spcAft>
              <a:buClr>
                <a:srgbClr val="000000"/>
              </a:buClr>
              <a:buSzPts val="1800"/>
              <a:buFont typeface="Fira Sans Condensed Medium"/>
              <a:buNone/>
              <a:defRPr sz="2400">
                <a:solidFill>
                  <a:schemeClr val="lt1"/>
                </a:solidFill>
              </a:defRPr>
            </a:lvl1pPr>
            <a:lvl2pPr lvl="1"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2pPr>
            <a:lvl3pPr lvl="2"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3pPr>
            <a:lvl4pPr lvl="3"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4pPr>
            <a:lvl5pPr lvl="4"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5pPr>
            <a:lvl6pPr lvl="5"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6pPr>
            <a:lvl7pPr lvl="6"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7pPr>
            <a:lvl8pPr lvl="7"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8pPr>
            <a:lvl9pPr lvl="8" algn="ctr" rtl="0">
              <a:spcBef>
                <a:spcPts val="0"/>
              </a:spcBef>
              <a:spcAft>
                <a:spcPts val="0"/>
              </a:spcAft>
              <a:buClr>
                <a:srgbClr val="000000"/>
              </a:buClr>
              <a:buSzPts val="1800"/>
              <a:buFont typeface="Fira Sans Condensed Medium"/>
              <a:buNone/>
              <a:defRPr sz="1800">
                <a:solidFill>
                  <a:srgbClr val="000000"/>
                </a:solidFill>
                <a:latin typeface="Fira Sans Condensed Medium"/>
                <a:ea typeface="Fira Sans Condensed Medium"/>
                <a:cs typeface="Fira Sans Condensed Medium"/>
                <a:sym typeface="Fira Sans Condensed Medium"/>
              </a:defRPr>
            </a:lvl9pPr>
          </a:lstStyle>
          <a:p>
            <a:endParaRPr/>
          </a:p>
        </p:txBody>
      </p:sp>
      <p:sp>
        <p:nvSpPr>
          <p:cNvPr id="82" name="Google Shape;82;p5"/>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000"/>
              <a:buNone/>
              <a:defRPr sz="1400"/>
            </a:lvl1pPr>
            <a:lvl2pPr lvl="1" algn="ctr" rtl="0">
              <a:lnSpc>
                <a:spcPct val="100000"/>
              </a:lnSpc>
              <a:spcBef>
                <a:spcPts val="0"/>
              </a:spcBef>
              <a:spcAft>
                <a:spcPts val="0"/>
              </a:spcAft>
              <a:buClr>
                <a:srgbClr val="000000"/>
              </a:buClr>
              <a:buSzPts val="1000"/>
              <a:buNone/>
              <a:defRPr sz="1000">
                <a:solidFill>
                  <a:srgbClr val="000000"/>
                </a:solidFill>
              </a:defRPr>
            </a:lvl2pPr>
            <a:lvl3pPr lvl="2" algn="ctr" rtl="0">
              <a:lnSpc>
                <a:spcPct val="100000"/>
              </a:lnSpc>
              <a:spcBef>
                <a:spcPts val="0"/>
              </a:spcBef>
              <a:spcAft>
                <a:spcPts val="0"/>
              </a:spcAft>
              <a:buClr>
                <a:srgbClr val="000000"/>
              </a:buClr>
              <a:buSzPts val="1000"/>
              <a:buNone/>
              <a:defRPr sz="1000">
                <a:solidFill>
                  <a:srgbClr val="000000"/>
                </a:solidFill>
              </a:defRPr>
            </a:lvl3pPr>
            <a:lvl4pPr lvl="3" algn="ctr" rtl="0">
              <a:lnSpc>
                <a:spcPct val="100000"/>
              </a:lnSpc>
              <a:spcBef>
                <a:spcPts val="0"/>
              </a:spcBef>
              <a:spcAft>
                <a:spcPts val="0"/>
              </a:spcAft>
              <a:buClr>
                <a:srgbClr val="000000"/>
              </a:buClr>
              <a:buSzPts val="1000"/>
              <a:buNone/>
              <a:defRPr sz="1000">
                <a:solidFill>
                  <a:srgbClr val="000000"/>
                </a:solidFill>
              </a:defRPr>
            </a:lvl4pPr>
            <a:lvl5pPr lvl="4" algn="ctr" rtl="0">
              <a:lnSpc>
                <a:spcPct val="100000"/>
              </a:lnSpc>
              <a:spcBef>
                <a:spcPts val="0"/>
              </a:spcBef>
              <a:spcAft>
                <a:spcPts val="0"/>
              </a:spcAft>
              <a:buClr>
                <a:srgbClr val="000000"/>
              </a:buClr>
              <a:buSzPts val="1000"/>
              <a:buNone/>
              <a:defRPr sz="1000">
                <a:solidFill>
                  <a:srgbClr val="000000"/>
                </a:solidFill>
              </a:defRPr>
            </a:lvl5pPr>
            <a:lvl6pPr lvl="5" algn="ctr" rtl="0">
              <a:lnSpc>
                <a:spcPct val="100000"/>
              </a:lnSpc>
              <a:spcBef>
                <a:spcPts val="0"/>
              </a:spcBef>
              <a:spcAft>
                <a:spcPts val="0"/>
              </a:spcAft>
              <a:buClr>
                <a:srgbClr val="000000"/>
              </a:buClr>
              <a:buSzPts val="1000"/>
              <a:buNone/>
              <a:defRPr sz="1000">
                <a:solidFill>
                  <a:srgbClr val="000000"/>
                </a:solidFill>
              </a:defRPr>
            </a:lvl6pPr>
            <a:lvl7pPr lvl="6" algn="ctr" rtl="0">
              <a:lnSpc>
                <a:spcPct val="100000"/>
              </a:lnSpc>
              <a:spcBef>
                <a:spcPts val="0"/>
              </a:spcBef>
              <a:spcAft>
                <a:spcPts val="0"/>
              </a:spcAft>
              <a:buClr>
                <a:srgbClr val="000000"/>
              </a:buClr>
              <a:buSzPts val="1000"/>
              <a:buNone/>
              <a:defRPr sz="1000">
                <a:solidFill>
                  <a:srgbClr val="000000"/>
                </a:solidFill>
              </a:defRPr>
            </a:lvl7pPr>
            <a:lvl8pPr lvl="7" algn="ctr" rtl="0">
              <a:lnSpc>
                <a:spcPct val="100000"/>
              </a:lnSpc>
              <a:spcBef>
                <a:spcPts val="0"/>
              </a:spcBef>
              <a:spcAft>
                <a:spcPts val="0"/>
              </a:spcAft>
              <a:buClr>
                <a:srgbClr val="000000"/>
              </a:buClr>
              <a:buSzPts val="1000"/>
              <a:buNone/>
              <a:defRPr sz="1000">
                <a:solidFill>
                  <a:srgbClr val="000000"/>
                </a:solidFill>
              </a:defRPr>
            </a:lvl8pPr>
            <a:lvl9pPr lvl="8" algn="ctr" rtl="0">
              <a:lnSpc>
                <a:spcPct val="100000"/>
              </a:lnSpc>
              <a:spcBef>
                <a:spcPts val="0"/>
              </a:spcBef>
              <a:spcAft>
                <a:spcPts val="0"/>
              </a:spcAft>
              <a:buClr>
                <a:srgbClr val="000000"/>
              </a:buClr>
              <a:buSzPts val="1000"/>
              <a:buNone/>
              <a:defRPr sz="1000">
                <a:solidFill>
                  <a:srgbClr val="000000"/>
                </a:solidFill>
              </a:defRPr>
            </a:lvl9pPr>
          </a:lstStyle>
          <a:p>
            <a:endParaRPr/>
          </a:p>
        </p:txBody>
      </p:sp>
      <p:sp>
        <p:nvSpPr>
          <p:cNvPr id="83" name="Google Shape;83;p5"/>
          <p:cNvSpPr txBox="1">
            <a:spLocks noGrp="1"/>
          </p:cNvSpPr>
          <p:nvPr>
            <p:ph type="ctrTitle" idx="4"/>
          </p:nvPr>
        </p:nvSpPr>
        <p:spPr>
          <a:xfrm>
            <a:off x="618825" y="411675"/>
            <a:ext cx="46182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84" name="Google Shape;84;p5"/>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5"/>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 name="Google Shape;88;p5"/>
          <p:cNvGrpSpPr/>
          <p:nvPr/>
        </p:nvGrpSpPr>
        <p:grpSpPr>
          <a:xfrm>
            <a:off x="6626134" y="-164562"/>
            <a:ext cx="121172" cy="760495"/>
            <a:chOff x="5245196" y="3136513"/>
            <a:chExt cx="121172" cy="760495"/>
          </a:xfrm>
        </p:grpSpPr>
        <p:sp>
          <p:nvSpPr>
            <p:cNvPr id="89" name="Google Shape;89;p5"/>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5"/>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 name="Google Shape;91;p5"/>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F088B8F0-9571-4649-BC4C-07907C8B83C0}"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8"/>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Tree>
    <p:extLst>
      <p:ext uri="{BB962C8B-B14F-4D97-AF65-F5344CB8AC3E}">
        <p14:creationId xmlns:p14="http://schemas.microsoft.com/office/powerpoint/2010/main" val="3924610495"/>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EE25CA6C-80A3-E44D-9046-77036B8FEBB5}" type="datetime2">
              <a:rPr lang="en-GB" smtClean="0"/>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8EE34546-709A-5AA9-2E21-ACD4F723D876}"/>
              </a:ext>
            </a:extLst>
          </p:cNvPr>
          <p:cNvSpPr>
            <a:spLocks noGrp="1"/>
          </p:cNvSpPr>
          <p:nvPr>
            <p:ph type="title" hasCustomPrompt="1"/>
          </p:nvPr>
        </p:nvSpPr>
        <p:spPr>
          <a:xfrm>
            <a:off x="245266" y="221769"/>
            <a:ext cx="4628813"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5" name="Text Placeholder 3">
            <a:extLst>
              <a:ext uri="{FF2B5EF4-FFF2-40B4-BE49-F238E27FC236}">
                <a16:creationId xmlns:a16="http://schemas.microsoft.com/office/drawing/2014/main" id="{0278A902-13D6-F255-7623-20A2ADB7E723}"/>
              </a:ext>
            </a:extLst>
          </p:cNvPr>
          <p:cNvSpPr>
            <a:spLocks noGrp="1"/>
          </p:cNvSpPr>
          <p:nvPr>
            <p:ph type="body" sz="quarter" idx="10"/>
          </p:nvPr>
        </p:nvSpPr>
        <p:spPr>
          <a:xfrm>
            <a:off x="251223" y="1066800"/>
            <a:ext cx="4622856" cy="335994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Picture Placeholder 2">
            <a:extLst>
              <a:ext uri="{FF2B5EF4-FFF2-40B4-BE49-F238E27FC236}">
                <a16:creationId xmlns:a16="http://schemas.microsoft.com/office/drawing/2014/main" id="{B4BACACC-E783-B2B6-1829-2C52B167CD16}"/>
              </a:ext>
            </a:extLst>
          </p:cNvPr>
          <p:cNvSpPr>
            <a:spLocks noGrp="1"/>
          </p:cNvSpPr>
          <p:nvPr>
            <p:ph type="pic" sz="quarter" idx="11"/>
          </p:nvPr>
        </p:nvSpPr>
        <p:spPr>
          <a:xfrm>
            <a:off x="5150552" y="0"/>
            <a:ext cx="3993448" cy="5143500"/>
          </a:xfrm>
          <a:prstGeom prst="rect">
            <a:avLst/>
          </a:prstGeom>
        </p:spPr>
        <p:txBody>
          <a:bodyPr/>
          <a:lstStyle/>
          <a:p>
            <a:endParaRPr lang="en-US"/>
          </a:p>
        </p:txBody>
      </p:sp>
    </p:spTree>
    <p:extLst>
      <p:ext uri="{BB962C8B-B14F-4D97-AF65-F5344CB8AC3E}">
        <p14:creationId xmlns:p14="http://schemas.microsoft.com/office/powerpoint/2010/main" val="386325902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2D053979-B082-A34E-A9B2-F4E33D83F78C}"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D1243DC5-4198-262E-ADA5-A8A6DA0D5AF2}"/>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Chart Placeholder 2">
            <a:extLst>
              <a:ext uri="{FF2B5EF4-FFF2-40B4-BE49-F238E27FC236}">
                <a16:creationId xmlns:a16="http://schemas.microsoft.com/office/drawing/2014/main" id="{F6E91724-1101-6665-000F-986771AAC2CD}"/>
              </a:ext>
            </a:extLst>
          </p:cNvPr>
          <p:cNvSpPr>
            <a:spLocks noGrp="1"/>
          </p:cNvSpPr>
          <p:nvPr>
            <p:ph type="chart" sz="quarter" idx="10"/>
          </p:nvPr>
        </p:nvSpPr>
        <p:spPr>
          <a:xfrm>
            <a:off x="269081" y="825104"/>
            <a:ext cx="8597504" cy="3844528"/>
          </a:xfrm>
          <a:prstGeom prst="rect">
            <a:avLst/>
          </a:prstGeom>
        </p:spPr>
        <p:txBody>
          <a:bodyPr/>
          <a:lstStyle/>
          <a:p>
            <a:endParaRPr lang="en-US"/>
          </a:p>
        </p:txBody>
      </p:sp>
    </p:spTree>
    <p:extLst>
      <p:ext uri="{BB962C8B-B14F-4D97-AF65-F5344CB8AC3E}">
        <p14:creationId xmlns:p14="http://schemas.microsoft.com/office/powerpoint/2010/main" val="36153537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F988E7-76BC-AD4B-8C1E-64D95688BB68}"/>
              </a:ext>
            </a:extLst>
          </p:cNvPr>
          <p:cNvSpPr/>
          <p:nvPr userDrawn="1"/>
        </p:nvSpPr>
        <p:spPr bwMode="gray">
          <a:xfrm>
            <a:off x="200025" y="4659406"/>
            <a:ext cx="8743950" cy="30255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spTree>
    <p:extLst>
      <p:ext uri="{BB962C8B-B14F-4D97-AF65-F5344CB8AC3E}">
        <p14:creationId xmlns:p14="http://schemas.microsoft.com/office/powerpoint/2010/main" val="132031885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AED913E8-170B-2743-93DB-4120ADC950B4}"/>
              </a:ext>
            </a:extLst>
          </p:cNvPr>
          <p:cNvSpPr>
            <a:spLocks noGrp="1"/>
          </p:cNvSpPr>
          <p:nvPr>
            <p:ph type="dt" sz="half" idx="2"/>
          </p:nvPr>
        </p:nvSpPr>
        <p:spPr>
          <a:xfrm>
            <a:off x="3543300" y="4839618"/>
            <a:ext cx="2057400" cy="135000"/>
          </a:xfrm>
          <a:prstGeom prst="rect">
            <a:avLst/>
          </a:prstGeom>
        </p:spPr>
        <p:txBody>
          <a:bodyPr vert="horz" lIns="91440" tIns="45720" rIns="91440" bIns="45720" rtlCol="0" anchor="ctr"/>
          <a:lstStyle>
            <a:lvl1pPr marL="0" indent="0" algn="ctr">
              <a:buNone/>
              <a:defRPr sz="750">
                <a:solidFill>
                  <a:schemeClr val="bg1"/>
                </a:solidFill>
              </a:defRPr>
            </a:lvl1pPr>
          </a:lstStyle>
          <a:p>
            <a:fld id="{97C86629-9BF8-7449-AB66-B301EC0294F8}" type="datetime2">
              <a:rPr lang="en-GB" smtClean="0"/>
              <a:pPr/>
              <a:t>Thursday, 16 March 2023</a:t>
            </a:fld>
            <a:endParaRPr lang="en-US"/>
          </a:p>
        </p:txBody>
      </p:sp>
      <p:sp>
        <p:nvSpPr>
          <p:cNvPr id="8" name="Footer Placeholder 4">
            <a:extLst>
              <a:ext uri="{FF2B5EF4-FFF2-40B4-BE49-F238E27FC236}">
                <a16:creationId xmlns:a16="http://schemas.microsoft.com/office/drawing/2014/main" id="{BCBF0602-F811-8349-947C-E7B1E354B060}"/>
              </a:ext>
            </a:extLst>
          </p:cNvPr>
          <p:cNvSpPr>
            <a:spLocks noGrp="1"/>
          </p:cNvSpPr>
          <p:nvPr>
            <p:ph type="ftr" sz="quarter" idx="3"/>
          </p:nvPr>
        </p:nvSpPr>
        <p:spPr>
          <a:xfrm>
            <a:off x="180727" y="4839619"/>
            <a:ext cx="3086100" cy="135000"/>
          </a:xfrm>
          <a:prstGeom prst="rect">
            <a:avLst/>
          </a:prstGeom>
        </p:spPr>
        <p:txBody>
          <a:bodyPr vert="horz" lIns="91440" tIns="45720" rIns="91440" bIns="45720" rtlCol="0" anchor="ctr"/>
          <a:lstStyle>
            <a:lvl1pPr marL="0" indent="0" algn="l">
              <a:buNone/>
              <a:defRPr sz="750">
                <a:solidFill>
                  <a:schemeClr val="bg1"/>
                </a:solidFill>
              </a:defRPr>
            </a:lvl1pPr>
          </a:lstStyle>
          <a:p>
            <a:r>
              <a:rPr lang="en-US"/>
              <a:t>Presentation title</a:t>
            </a:r>
          </a:p>
        </p:txBody>
      </p:sp>
      <p:sp>
        <p:nvSpPr>
          <p:cNvPr id="4" name="Title Placeholder 8">
            <a:extLst>
              <a:ext uri="{FF2B5EF4-FFF2-40B4-BE49-F238E27FC236}">
                <a16:creationId xmlns:a16="http://schemas.microsoft.com/office/drawing/2014/main" id="{7FAC83FA-6283-D4A9-D573-DB9FC5B395AA}"/>
              </a:ext>
            </a:extLst>
          </p:cNvPr>
          <p:cNvSpPr>
            <a:spLocks noGrp="1"/>
          </p:cNvSpPr>
          <p:nvPr>
            <p:ph type="title" hasCustomPrompt="1"/>
          </p:nvPr>
        </p:nvSpPr>
        <p:spPr>
          <a:xfrm>
            <a:off x="245266" y="221769"/>
            <a:ext cx="7168232" cy="359166"/>
          </a:xfrm>
          <a:prstGeom prst="rect">
            <a:avLst/>
          </a:prstGeom>
        </p:spPr>
        <p:txBody>
          <a:bodyPr vert="horz" lIns="91440" tIns="45720" rIns="91440" bIns="45720" rtlCol="0" anchor="ctr">
            <a:normAutofit/>
          </a:bodyPr>
          <a:lstStyle>
            <a:lvl1pPr>
              <a:defRPr/>
            </a:lvl1pPr>
          </a:lstStyle>
          <a:p>
            <a:r>
              <a:rPr lang="en-US"/>
              <a:t>Click to add &lt;TITLE&gt;</a:t>
            </a:r>
          </a:p>
        </p:txBody>
      </p:sp>
      <p:sp>
        <p:nvSpPr>
          <p:cNvPr id="3" name="Picture Placeholder 2">
            <a:extLst>
              <a:ext uri="{FF2B5EF4-FFF2-40B4-BE49-F238E27FC236}">
                <a16:creationId xmlns:a16="http://schemas.microsoft.com/office/drawing/2014/main" id="{5F442302-E0B7-1E2B-984E-83406CA9F1C9}"/>
              </a:ext>
            </a:extLst>
          </p:cNvPr>
          <p:cNvSpPr>
            <a:spLocks noGrp="1"/>
          </p:cNvSpPr>
          <p:nvPr>
            <p:ph type="pic" sz="quarter" idx="10"/>
          </p:nvPr>
        </p:nvSpPr>
        <p:spPr>
          <a:xfrm>
            <a:off x="2049746" y="1130636"/>
            <a:ext cx="5012361" cy="2180034"/>
          </a:xfrm>
          <a:prstGeom prst="rect">
            <a:avLst/>
          </a:prstGeom>
        </p:spPr>
        <p:txBody>
          <a:bodyPr/>
          <a:lstStyle/>
          <a:p>
            <a:endParaRPr lang="en-US"/>
          </a:p>
        </p:txBody>
      </p:sp>
      <p:sp>
        <p:nvSpPr>
          <p:cNvPr id="6" name="Text Placeholder 5">
            <a:extLst>
              <a:ext uri="{FF2B5EF4-FFF2-40B4-BE49-F238E27FC236}">
                <a16:creationId xmlns:a16="http://schemas.microsoft.com/office/drawing/2014/main" id="{F58D3490-B6FB-222F-D56F-95BC434973FC}"/>
              </a:ext>
            </a:extLst>
          </p:cNvPr>
          <p:cNvSpPr>
            <a:spLocks noGrp="1"/>
          </p:cNvSpPr>
          <p:nvPr>
            <p:ph type="body" sz="quarter" idx="11" hasCustomPrompt="1"/>
          </p:nvPr>
        </p:nvSpPr>
        <p:spPr>
          <a:xfrm>
            <a:off x="310753"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9" name="Text Placeholder 5">
            <a:extLst>
              <a:ext uri="{FF2B5EF4-FFF2-40B4-BE49-F238E27FC236}">
                <a16:creationId xmlns:a16="http://schemas.microsoft.com/office/drawing/2014/main" id="{FE120866-7B7D-B560-1594-DD8B67D87C0E}"/>
              </a:ext>
            </a:extLst>
          </p:cNvPr>
          <p:cNvSpPr>
            <a:spLocks noGrp="1"/>
          </p:cNvSpPr>
          <p:nvPr>
            <p:ph type="body" sz="quarter" idx="12" hasCustomPrompt="1"/>
          </p:nvPr>
        </p:nvSpPr>
        <p:spPr>
          <a:xfrm>
            <a:off x="310753"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0" name="Text Placeholder 5">
            <a:extLst>
              <a:ext uri="{FF2B5EF4-FFF2-40B4-BE49-F238E27FC236}">
                <a16:creationId xmlns:a16="http://schemas.microsoft.com/office/drawing/2014/main" id="{884E29A7-C623-8859-545A-BFD0834D43D2}"/>
              </a:ext>
            </a:extLst>
          </p:cNvPr>
          <p:cNvSpPr>
            <a:spLocks noGrp="1"/>
          </p:cNvSpPr>
          <p:nvPr>
            <p:ph type="body" sz="quarter" idx="13" hasCustomPrompt="1"/>
          </p:nvPr>
        </p:nvSpPr>
        <p:spPr>
          <a:xfrm>
            <a:off x="310753"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1" name="Text Placeholder 5">
            <a:extLst>
              <a:ext uri="{FF2B5EF4-FFF2-40B4-BE49-F238E27FC236}">
                <a16:creationId xmlns:a16="http://schemas.microsoft.com/office/drawing/2014/main" id="{2EBADB65-7F69-F862-97A3-E8516B74C1E2}"/>
              </a:ext>
            </a:extLst>
          </p:cNvPr>
          <p:cNvSpPr>
            <a:spLocks noGrp="1"/>
          </p:cNvSpPr>
          <p:nvPr>
            <p:ph type="body" sz="quarter" idx="14" hasCustomPrompt="1"/>
          </p:nvPr>
        </p:nvSpPr>
        <p:spPr>
          <a:xfrm>
            <a:off x="310753"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2" name="Text Placeholder 5">
            <a:extLst>
              <a:ext uri="{FF2B5EF4-FFF2-40B4-BE49-F238E27FC236}">
                <a16:creationId xmlns:a16="http://schemas.microsoft.com/office/drawing/2014/main" id="{1AFFB3FA-7644-C350-81CA-D4EEFA6FE3AF}"/>
              </a:ext>
            </a:extLst>
          </p:cNvPr>
          <p:cNvSpPr>
            <a:spLocks noGrp="1"/>
          </p:cNvSpPr>
          <p:nvPr>
            <p:ph type="body" sz="quarter" idx="15" hasCustomPrompt="1"/>
          </p:nvPr>
        </p:nvSpPr>
        <p:spPr>
          <a:xfrm>
            <a:off x="310753"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3" name="Text Placeholder 5">
            <a:extLst>
              <a:ext uri="{FF2B5EF4-FFF2-40B4-BE49-F238E27FC236}">
                <a16:creationId xmlns:a16="http://schemas.microsoft.com/office/drawing/2014/main" id="{D9137A80-4A7B-B9D9-E8DC-835402808234}"/>
              </a:ext>
            </a:extLst>
          </p:cNvPr>
          <p:cNvSpPr>
            <a:spLocks noGrp="1"/>
          </p:cNvSpPr>
          <p:nvPr>
            <p:ph type="body" sz="quarter" idx="16" hasCustomPrompt="1"/>
          </p:nvPr>
        </p:nvSpPr>
        <p:spPr>
          <a:xfrm>
            <a:off x="310753"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4" name="Text Placeholder 5">
            <a:extLst>
              <a:ext uri="{FF2B5EF4-FFF2-40B4-BE49-F238E27FC236}">
                <a16:creationId xmlns:a16="http://schemas.microsoft.com/office/drawing/2014/main" id="{698BCCC9-A461-4DFB-578A-4E9F734E7384}"/>
              </a:ext>
            </a:extLst>
          </p:cNvPr>
          <p:cNvSpPr>
            <a:spLocks noGrp="1"/>
          </p:cNvSpPr>
          <p:nvPr>
            <p:ph type="body" sz="quarter" idx="17" hasCustomPrompt="1"/>
          </p:nvPr>
        </p:nvSpPr>
        <p:spPr>
          <a:xfrm>
            <a:off x="7168754" y="1130635"/>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5" name="Text Placeholder 5">
            <a:extLst>
              <a:ext uri="{FF2B5EF4-FFF2-40B4-BE49-F238E27FC236}">
                <a16:creationId xmlns:a16="http://schemas.microsoft.com/office/drawing/2014/main" id="{6F7AFC66-89C0-D90A-55DE-EC7EB847E154}"/>
              </a:ext>
            </a:extLst>
          </p:cNvPr>
          <p:cNvSpPr>
            <a:spLocks noGrp="1"/>
          </p:cNvSpPr>
          <p:nvPr>
            <p:ph type="body" sz="quarter" idx="18" hasCustomPrompt="1"/>
          </p:nvPr>
        </p:nvSpPr>
        <p:spPr>
          <a:xfrm>
            <a:off x="7168754" y="1424550"/>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6" name="Text Placeholder 5">
            <a:extLst>
              <a:ext uri="{FF2B5EF4-FFF2-40B4-BE49-F238E27FC236}">
                <a16:creationId xmlns:a16="http://schemas.microsoft.com/office/drawing/2014/main" id="{58A3E9E0-4686-8164-DA2E-24E85A49006D}"/>
              </a:ext>
            </a:extLst>
          </p:cNvPr>
          <p:cNvSpPr>
            <a:spLocks noGrp="1"/>
          </p:cNvSpPr>
          <p:nvPr>
            <p:ph type="body" sz="quarter" idx="19" hasCustomPrompt="1"/>
          </p:nvPr>
        </p:nvSpPr>
        <p:spPr>
          <a:xfrm>
            <a:off x="7168754" y="2322622"/>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7" name="Text Placeholder 5">
            <a:extLst>
              <a:ext uri="{FF2B5EF4-FFF2-40B4-BE49-F238E27FC236}">
                <a16:creationId xmlns:a16="http://schemas.microsoft.com/office/drawing/2014/main" id="{368D244E-586D-B692-B92B-029A73606899}"/>
              </a:ext>
            </a:extLst>
          </p:cNvPr>
          <p:cNvSpPr>
            <a:spLocks noGrp="1"/>
          </p:cNvSpPr>
          <p:nvPr>
            <p:ph type="body" sz="quarter" idx="20" hasCustomPrompt="1"/>
          </p:nvPr>
        </p:nvSpPr>
        <p:spPr>
          <a:xfrm>
            <a:off x="7168754" y="2616536"/>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18" name="Text Placeholder 5">
            <a:extLst>
              <a:ext uri="{FF2B5EF4-FFF2-40B4-BE49-F238E27FC236}">
                <a16:creationId xmlns:a16="http://schemas.microsoft.com/office/drawing/2014/main" id="{2E378551-6E0E-18FC-AC66-9A9B2BCDC8AF}"/>
              </a:ext>
            </a:extLst>
          </p:cNvPr>
          <p:cNvSpPr>
            <a:spLocks noGrp="1"/>
          </p:cNvSpPr>
          <p:nvPr>
            <p:ph type="body" sz="quarter" idx="21" hasCustomPrompt="1"/>
          </p:nvPr>
        </p:nvSpPr>
        <p:spPr>
          <a:xfrm>
            <a:off x="7168754"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19" name="Text Placeholder 5">
            <a:extLst>
              <a:ext uri="{FF2B5EF4-FFF2-40B4-BE49-F238E27FC236}">
                <a16:creationId xmlns:a16="http://schemas.microsoft.com/office/drawing/2014/main" id="{78C7E2AD-0924-6C13-19B8-E28399702C5D}"/>
              </a:ext>
            </a:extLst>
          </p:cNvPr>
          <p:cNvSpPr>
            <a:spLocks noGrp="1"/>
          </p:cNvSpPr>
          <p:nvPr>
            <p:ph type="body" sz="quarter" idx="22" hasCustomPrompt="1"/>
          </p:nvPr>
        </p:nvSpPr>
        <p:spPr>
          <a:xfrm>
            <a:off x="7168754"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0" name="Text Placeholder 5">
            <a:extLst>
              <a:ext uri="{FF2B5EF4-FFF2-40B4-BE49-F238E27FC236}">
                <a16:creationId xmlns:a16="http://schemas.microsoft.com/office/drawing/2014/main" id="{060FEAF9-F342-9BB6-C1F9-05F1D8D1424E}"/>
              </a:ext>
            </a:extLst>
          </p:cNvPr>
          <p:cNvSpPr>
            <a:spLocks noGrp="1"/>
          </p:cNvSpPr>
          <p:nvPr>
            <p:ph type="body" sz="quarter" idx="23" hasCustomPrompt="1"/>
          </p:nvPr>
        </p:nvSpPr>
        <p:spPr>
          <a:xfrm>
            <a:off x="2049746"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1" name="Text Placeholder 5">
            <a:extLst>
              <a:ext uri="{FF2B5EF4-FFF2-40B4-BE49-F238E27FC236}">
                <a16:creationId xmlns:a16="http://schemas.microsoft.com/office/drawing/2014/main" id="{8EDCF3E4-080E-DFBF-69C5-7D3C1729CBB9}"/>
              </a:ext>
            </a:extLst>
          </p:cNvPr>
          <p:cNvSpPr>
            <a:spLocks noGrp="1"/>
          </p:cNvSpPr>
          <p:nvPr>
            <p:ph type="body" sz="quarter" idx="24" hasCustomPrompt="1"/>
          </p:nvPr>
        </p:nvSpPr>
        <p:spPr>
          <a:xfrm>
            <a:off x="2049746"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2" name="Text Placeholder 5">
            <a:extLst>
              <a:ext uri="{FF2B5EF4-FFF2-40B4-BE49-F238E27FC236}">
                <a16:creationId xmlns:a16="http://schemas.microsoft.com/office/drawing/2014/main" id="{14EE7E3B-E8F3-6B53-26D9-ECBDBF106102}"/>
              </a:ext>
            </a:extLst>
          </p:cNvPr>
          <p:cNvSpPr>
            <a:spLocks noGrp="1"/>
          </p:cNvSpPr>
          <p:nvPr>
            <p:ph type="body" sz="quarter" idx="25" hasCustomPrompt="1"/>
          </p:nvPr>
        </p:nvSpPr>
        <p:spPr>
          <a:xfrm>
            <a:off x="3756082"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3" name="Text Placeholder 5">
            <a:extLst>
              <a:ext uri="{FF2B5EF4-FFF2-40B4-BE49-F238E27FC236}">
                <a16:creationId xmlns:a16="http://schemas.microsoft.com/office/drawing/2014/main" id="{8996478B-8B4A-D64D-C5F4-C9DBDF5DEE5C}"/>
              </a:ext>
            </a:extLst>
          </p:cNvPr>
          <p:cNvSpPr>
            <a:spLocks noGrp="1"/>
          </p:cNvSpPr>
          <p:nvPr>
            <p:ph type="body" sz="quarter" idx="26" hasCustomPrompt="1"/>
          </p:nvPr>
        </p:nvSpPr>
        <p:spPr>
          <a:xfrm>
            <a:off x="3756082"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
        <p:nvSpPr>
          <p:cNvPr id="24" name="Text Placeholder 5">
            <a:extLst>
              <a:ext uri="{FF2B5EF4-FFF2-40B4-BE49-F238E27FC236}">
                <a16:creationId xmlns:a16="http://schemas.microsoft.com/office/drawing/2014/main" id="{2AC01AA0-1F24-6859-F526-1758CC7B0005}"/>
              </a:ext>
            </a:extLst>
          </p:cNvPr>
          <p:cNvSpPr>
            <a:spLocks noGrp="1"/>
          </p:cNvSpPr>
          <p:nvPr>
            <p:ph type="body" sz="quarter" idx="27" hasCustomPrompt="1"/>
          </p:nvPr>
        </p:nvSpPr>
        <p:spPr>
          <a:xfrm>
            <a:off x="5462418" y="3481951"/>
            <a:ext cx="1599689" cy="277415"/>
          </a:xfrm>
          <a:prstGeom prst="rect">
            <a:avLst/>
          </a:prstGeom>
        </p:spPr>
        <p:txBody>
          <a:bodyPr>
            <a:normAutofit/>
          </a:bodyPr>
          <a:lstStyle>
            <a:lvl1pPr>
              <a:defRPr sz="1050">
                <a:solidFill>
                  <a:schemeClr val="accent2"/>
                </a:solidFill>
              </a:defRPr>
            </a:lvl1pPr>
          </a:lstStyle>
          <a:p>
            <a:pPr lvl="0"/>
            <a:r>
              <a:rPr lang="en-GB"/>
              <a:t>Heading</a:t>
            </a:r>
            <a:endParaRPr lang="en-US"/>
          </a:p>
        </p:txBody>
      </p:sp>
      <p:sp>
        <p:nvSpPr>
          <p:cNvPr id="25" name="Text Placeholder 5">
            <a:extLst>
              <a:ext uri="{FF2B5EF4-FFF2-40B4-BE49-F238E27FC236}">
                <a16:creationId xmlns:a16="http://schemas.microsoft.com/office/drawing/2014/main" id="{76887078-429B-5522-2204-AE6E7BCA1EF3}"/>
              </a:ext>
            </a:extLst>
          </p:cNvPr>
          <p:cNvSpPr>
            <a:spLocks noGrp="1"/>
          </p:cNvSpPr>
          <p:nvPr>
            <p:ph type="body" sz="quarter" idx="28" hasCustomPrompt="1"/>
          </p:nvPr>
        </p:nvSpPr>
        <p:spPr>
          <a:xfrm>
            <a:off x="5462418" y="3775865"/>
            <a:ext cx="1599689" cy="277415"/>
          </a:xfrm>
          <a:prstGeom prst="rect">
            <a:avLst/>
          </a:prstGeom>
        </p:spPr>
        <p:txBody>
          <a:bodyPr>
            <a:normAutofit/>
          </a:bodyPr>
          <a:lstStyle>
            <a:lvl1pPr marL="214313" indent="-214313">
              <a:buClr>
                <a:schemeClr val="accent2"/>
              </a:buClr>
              <a:buFont typeface="Arial" panose="020B0604020202020204" pitchFamily="34" charset="0"/>
              <a:buChar char="•"/>
              <a:defRPr sz="900">
                <a:solidFill>
                  <a:schemeClr val="bg1"/>
                </a:solidFill>
              </a:defRPr>
            </a:lvl1pPr>
          </a:lstStyle>
          <a:p>
            <a:pPr lvl="0"/>
            <a:r>
              <a:rPr lang="en-GB"/>
              <a:t>Heading</a:t>
            </a:r>
            <a:endParaRPr lang="en-US"/>
          </a:p>
        </p:txBody>
      </p:sp>
    </p:spTree>
    <p:extLst>
      <p:ext uri="{BB962C8B-B14F-4D97-AF65-F5344CB8AC3E}">
        <p14:creationId xmlns:p14="http://schemas.microsoft.com/office/powerpoint/2010/main" val="379417372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F3ED06-C412-490F-871B-02F83829785C}"/>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50858EF9-F096-4FD1-87FB-4CE64FCBD85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135DBF8-D4E4-4516-A7CE-2DB3E3D66538}"/>
              </a:ext>
            </a:extLst>
          </p:cNvPr>
          <p:cNvSpPr>
            <a:spLocks noGrp="1"/>
          </p:cNvSpPr>
          <p:nvPr>
            <p:ph type="dt" sz="half" idx="10"/>
          </p:nvPr>
        </p:nvSpPr>
        <p:spPr/>
        <p:txBody>
          <a:bodyPr/>
          <a:lstStyle/>
          <a:p>
            <a:fld id="{0E81A58B-3637-43CD-A61A-2C4862B765E2}" type="datetimeFigureOut">
              <a:rPr lang="en-US" smtClean="0"/>
              <a:t>3/16/2023</a:t>
            </a:fld>
            <a:endParaRPr lang="en-US"/>
          </a:p>
        </p:txBody>
      </p:sp>
      <p:sp>
        <p:nvSpPr>
          <p:cNvPr id="5" name="Espace réservé du pied de page 4">
            <a:extLst>
              <a:ext uri="{FF2B5EF4-FFF2-40B4-BE49-F238E27FC236}">
                <a16:creationId xmlns:a16="http://schemas.microsoft.com/office/drawing/2014/main" id="{5035F862-BFDF-4576-8232-6473D4CA06F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22AE1223-A921-4830-8F90-05C507C03374}"/>
              </a:ext>
            </a:extLst>
          </p:cNvPr>
          <p:cNvSpPr>
            <a:spLocks noGrp="1"/>
          </p:cNvSpPr>
          <p:nvPr>
            <p:ph type="sldNum" sz="quarter" idx="12"/>
          </p:nvPr>
        </p:nvSpPr>
        <p:spPr/>
        <p:txBody>
          <a:bodyPr/>
          <a:lstStyle/>
          <a:p>
            <a:fld id="{D08D1166-907D-4092-93B5-6B34BE657A3E}" type="slidenum">
              <a:rPr lang="en-US" smtClean="0"/>
              <a:t>‹Nr.›</a:t>
            </a:fld>
            <a:endParaRPr lang="en-US"/>
          </a:p>
        </p:txBody>
      </p:sp>
    </p:spTree>
    <p:extLst>
      <p:ext uri="{BB962C8B-B14F-4D97-AF65-F5344CB8AC3E}">
        <p14:creationId xmlns:p14="http://schemas.microsoft.com/office/powerpoint/2010/main" val="65750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8" name="Objekt 3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A3FFF6-7CC1-4790-AEFA-4C3A209F78A6}"/>
              </a:ext>
            </a:extLst>
          </p:cNvPr>
          <p:cNvSpPr/>
          <p:nvPr>
            <p:custDataLst>
              <p:tags r:id="rId2"/>
            </p:custDataLst>
          </p:nvPr>
        </p:nvSpPr>
        <p:spPr>
          <a:xfrm>
            <a:off x="1" y="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100" b="0" i="0" baseline="0" err="1">
              <a:latin typeface="Arial" panose="020B0604020202020204" pitchFamily="34" charset="0"/>
              <a:ea typeface="+mj-ea"/>
              <a:cs typeface="+mj-cs"/>
              <a:sym typeface="Arial" panose="020B0604020202020204" pitchFamily="34" charset="0"/>
            </a:endParaRPr>
          </a:p>
        </p:txBody>
      </p:sp>
      <p:sp>
        <p:nvSpPr>
          <p:cNvPr id="12" name="Title Placeholder 1"/>
          <p:cNvSpPr>
            <a:spLocks noGrp="1"/>
          </p:cNvSpPr>
          <p:nvPr>
            <p:ph type="title" hasCustomPrompt="1"/>
          </p:nvPr>
        </p:nvSpPr>
        <p:spPr>
          <a:xfrm>
            <a:off x="360001" y="324000"/>
            <a:ext cx="7581365" cy="270000"/>
          </a:xfrm>
          <a:prstGeom prst="rect">
            <a:avLst/>
          </a:prstGeom>
        </p:spPr>
        <p:txBody>
          <a:bodyPr vert="horz" lIns="0" tIns="0" rIns="0" bIns="0" rtlCol="0" anchor="t">
            <a:noAutofit/>
          </a:bodyPr>
          <a:lstStyle>
            <a:lvl1pPr>
              <a:defRPr sz="2100">
                <a:solidFill>
                  <a:srgbClr val="284456"/>
                </a:solidFill>
              </a:defRPr>
            </a:lvl1pPr>
          </a:lstStyle>
          <a:p>
            <a:r>
              <a:rPr lang="en-GB" noProof="0"/>
              <a:t>Insert title – 1 Line</a:t>
            </a:r>
          </a:p>
        </p:txBody>
      </p:sp>
      <p:sp>
        <p:nvSpPr>
          <p:cNvPr id="8" name="Textplatzhalter 35">
            <a:extLst>
              <a:ext uri="{FF2B5EF4-FFF2-40B4-BE49-F238E27FC236}">
                <a16:creationId xmlns:a16="http://schemas.microsoft.com/office/drawing/2014/main" id="{5E6A57AA-02F0-FF4A-B20F-03248924BCE9}"/>
              </a:ext>
            </a:extLst>
          </p:cNvPr>
          <p:cNvSpPr>
            <a:spLocks noGrp="1"/>
          </p:cNvSpPr>
          <p:nvPr>
            <p:ph type="body" sz="quarter" idx="15" hasCustomPrompt="1"/>
          </p:nvPr>
        </p:nvSpPr>
        <p:spPr>
          <a:xfrm>
            <a:off x="359999" y="864000"/>
            <a:ext cx="8564925" cy="617477"/>
          </a:xfrm>
        </p:spPr>
        <p:txBody>
          <a:bodyPr/>
          <a:lstStyle>
            <a:lvl2pPr>
              <a:spcBef>
                <a:spcPts val="900"/>
              </a:spcBef>
              <a:buClr>
                <a:schemeClr val="accent1"/>
              </a:buClr>
              <a:defRPr sz="1200" baseline="0">
                <a:solidFill>
                  <a:schemeClr val="accent1"/>
                </a:solidFill>
              </a:defRPr>
            </a:lvl2pPr>
            <a:lvl3pPr>
              <a:spcBef>
                <a:spcPts val="225"/>
              </a:spcBef>
              <a:defRPr sz="1050">
                <a:solidFill>
                  <a:schemeClr val="accent1"/>
                </a:solidFill>
              </a:defRPr>
            </a:lvl3pPr>
            <a:lvl4pPr>
              <a:spcBef>
                <a:spcPts val="0"/>
              </a:spcBef>
              <a:defRPr sz="900">
                <a:solidFill>
                  <a:schemeClr val="accent1"/>
                </a:solidFill>
              </a:defRPr>
            </a:lvl4pPr>
            <a:lvl5pPr>
              <a:spcBef>
                <a:spcPts val="0"/>
              </a:spcBef>
              <a:defRPr sz="750">
                <a:solidFill>
                  <a:schemeClr val="accent1"/>
                </a:solidFill>
              </a:defRPr>
            </a:lvl5pPr>
          </a:lstStyle>
          <a:p>
            <a:pPr lvl="1"/>
            <a:r>
              <a:rPr lang="en-GB"/>
              <a:t>Insert text</a:t>
            </a:r>
          </a:p>
          <a:p>
            <a:pPr lvl="2"/>
            <a:r>
              <a:rPr lang="en-GB"/>
              <a:t>Insert text</a:t>
            </a:r>
          </a:p>
          <a:p>
            <a:pPr lvl="3"/>
            <a:r>
              <a:rPr lang="en-GB"/>
              <a:t>Insert text</a:t>
            </a:r>
          </a:p>
          <a:p>
            <a:pPr lvl="4"/>
            <a:r>
              <a:rPr lang="en-GB"/>
              <a:t>Insert text</a:t>
            </a:r>
          </a:p>
        </p:txBody>
      </p:sp>
      <p:sp>
        <p:nvSpPr>
          <p:cNvPr id="9" name="Date Footer">
            <a:extLst>
              <a:ext uri="{FF2B5EF4-FFF2-40B4-BE49-F238E27FC236}">
                <a16:creationId xmlns:a16="http://schemas.microsoft.com/office/drawing/2014/main" id="{DB650E8D-5319-4936-9938-336D55C79C76}"/>
              </a:ext>
            </a:extLst>
          </p:cNvPr>
          <p:cNvSpPr>
            <a:spLocks noGrp="1"/>
          </p:cNvSpPr>
          <p:nvPr>
            <p:ph type="dt" sz="half" idx="2"/>
          </p:nvPr>
        </p:nvSpPr>
        <p:spPr>
          <a:xfrm>
            <a:off x="359099" y="4841788"/>
            <a:ext cx="900000" cy="103874"/>
          </a:xfrm>
        </p:spPr>
        <p:txBody>
          <a:bodyPr/>
          <a:lstStyle/>
          <a:p>
            <a:fld id="{6904915F-82AD-44E2-8897-BADF6E9ADABE}" type="datetime1">
              <a:rPr lang="en-AU" smtClean="0">
                <a:solidFill>
                  <a:schemeClr val="tx1">
                    <a:lumMod val="75000"/>
                    <a:lumOff val="25000"/>
                  </a:schemeClr>
                </a:solidFill>
              </a:rPr>
              <a:t>16/03/2023</a:t>
            </a:fld>
            <a:endParaRPr lang="en-GB">
              <a:solidFill>
                <a:schemeClr val="tx1">
                  <a:lumMod val="75000"/>
                  <a:lumOff val="25000"/>
                </a:schemeClr>
              </a:solidFill>
            </a:endParaRPr>
          </a:p>
        </p:txBody>
      </p:sp>
      <p:sp>
        <p:nvSpPr>
          <p:cNvPr id="10" name="Titre Footer">
            <a:extLst>
              <a:ext uri="{FF2B5EF4-FFF2-40B4-BE49-F238E27FC236}">
                <a16:creationId xmlns:a16="http://schemas.microsoft.com/office/drawing/2014/main" id="{44470A5D-1A84-4EBA-B39B-D3A4CE18076E}"/>
              </a:ext>
            </a:extLst>
          </p:cNvPr>
          <p:cNvSpPr txBox="1">
            <a:spLocks/>
          </p:cNvSpPr>
          <p:nvPr userDrawn="1"/>
        </p:nvSpPr>
        <p:spPr>
          <a:xfrm>
            <a:off x="1331100" y="4839864"/>
            <a:ext cx="4320000" cy="107722"/>
          </a:xfrm>
          <a:prstGeom prst="rect">
            <a:avLst/>
          </a:prstGeom>
        </p:spPr>
        <p:txBody>
          <a:bodyPr vert="horz" lIns="0" tIns="0" rIns="0" bIns="0" rtlCol="0" anchor="ctr">
            <a:noAutofit/>
          </a:bodyPr>
          <a:lstStyle>
            <a:defPPr>
              <a:defRPr lang="nb-NO"/>
            </a:defPPr>
            <a:lvl1pPr marL="0" algn="l" defTabSz="914400" rtl="0" eaLnBrk="1" latinLnBrk="0" hangingPunct="1">
              <a:defRPr sz="900" kern="1200">
                <a:solidFill>
                  <a:srgbClr val="2844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a:solidFill>
                  <a:schemeClr val="tx1">
                    <a:lumMod val="75000"/>
                    <a:lumOff val="25000"/>
                  </a:schemeClr>
                </a:solidFill>
              </a:rPr>
              <a:t>AKKA | OPERANTIS PROCESS DIGITALIZATION</a:t>
            </a:r>
            <a:endParaRPr lang="en-GB" sz="675">
              <a:solidFill>
                <a:schemeClr val="tx1">
                  <a:lumMod val="75000"/>
                  <a:lumOff val="25000"/>
                </a:schemeClr>
              </a:solidFill>
            </a:endParaRPr>
          </a:p>
        </p:txBody>
      </p:sp>
      <p:sp>
        <p:nvSpPr>
          <p:cNvPr id="11" name="N° slide">
            <a:extLst>
              <a:ext uri="{FF2B5EF4-FFF2-40B4-BE49-F238E27FC236}">
                <a16:creationId xmlns:a16="http://schemas.microsoft.com/office/drawing/2014/main" id="{177F71CC-AEBE-415E-846E-5B097CFCE3F8}"/>
              </a:ext>
            </a:extLst>
          </p:cNvPr>
          <p:cNvSpPr>
            <a:spLocks noGrp="1"/>
          </p:cNvSpPr>
          <p:nvPr>
            <p:ph type="sldNum" sz="quarter" idx="4"/>
          </p:nvPr>
        </p:nvSpPr>
        <p:spPr>
          <a:xfrm>
            <a:off x="8631740" y="4839863"/>
            <a:ext cx="293184" cy="145367"/>
          </a:xfrm>
        </p:spPr>
        <p:txBody>
          <a:bodyPr/>
          <a:lstStyle/>
          <a:p>
            <a:fld id="{0704499F-9A75-E344-8B98-5A5EDCFEF42B}" type="slidenum">
              <a:rPr lang="nb-NO" smtClean="0">
                <a:solidFill>
                  <a:schemeClr val="tx1">
                    <a:lumMod val="75000"/>
                    <a:lumOff val="25000"/>
                  </a:schemeClr>
                </a:solidFill>
              </a:rPr>
              <a:pPr/>
              <a:t>‹Nr.›</a:t>
            </a:fld>
            <a:endParaRPr lang="nb-NO">
              <a:solidFill>
                <a:schemeClr val="tx1">
                  <a:lumMod val="75000"/>
                  <a:lumOff val="25000"/>
                </a:schemeClr>
              </a:solidFill>
            </a:endParaRPr>
          </a:p>
        </p:txBody>
      </p:sp>
    </p:spTree>
    <p:extLst>
      <p:ext uri="{BB962C8B-B14F-4D97-AF65-F5344CB8AC3E}">
        <p14:creationId xmlns:p14="http://schemas.microsoft.com/office/powerpoint/2010/main" val="389302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
        <p:cNvGrpSpPr/>
        <p:nvPr/>
      </p:nvGrpSpPr>
      <p:grpSpPr>
        <a:xfrm>
          <a:off x="0" y="0"/>
          <a:ext cx="0" cy="0"/>
          <a:chOff x="0" y="0"/>
          <a:chExt cx="0" cy="0"/>
        </a:xfrm>
      </p:grpSpPr>
      <p:sp>
        <p:nvSpPr>
          <p:cNvPr id="94" name="Google Shape;94;p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95" name="Google Shape;95;p6"/>
          <p:cNvSpPr/>
          <p:nvPr/>
        </p:nvSpPr>
        <p:spPr>
          <a:xfrm>
            <a:off x="7573050" y="27737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6"/>
          <p:cNvSpPr/>
          <p:nvPr/>
        </p:nvSpPr>
        <p:spPr>
          <a:xfrm>
            <a:off x="8985850" y="4116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6"/>
          <p:cNvSpPr/>
          <p:nvPr/>
        </p:nvSpPr>
        <p:spPr>
          <a:xfrm>
            <a:off x="8359450" y="5558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6"/>
          <p:cNvSpPr/>
          <p:nvPr/>
        </p:nvSpPr>
        <p:spPr>
          <a:xfrm>
            <a:off x="9122100" y="7342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6"/>
          <p:cNvSpPr/>
          <p:nvPr/>
        </p:nvSpPr>
        <p:spPr>
          <a:xfrm>
            <a:off x="8798600" y="108865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6"/>
          <p:cNvSpPr/>
          <p:nvPr/>
        </p:nvSpPr>
        <p:spPr>
          <a:xfrm>
            <a:off x="6099342" y="-150600"/>
            <a:ext cx="96045" cy="95462"/>
          </a:xfrm>
          <a:custGeom>
            <a:avLst/>
            <a:gdLst/>
            <a:ahLst/>
            <a:cxnLst/>
            <a:rect l="l" t="t" r="r" b="b"/>
            <a:pathLst>
              <a:path w="3128" h="3109" extrusionOk="0">
                <a:moveTo>
                  <a:pt x="2678" y="431"/>
                </a:moveTo>
                <a:lnTo>
                  <a:pt x="2678" y="2659"/>
                </a:lnTo>
                <a:lnTo>
                  <a:pt x="450" y="2659"/>
                </a:lnTo>
                <a:lnTo>
                  <a:pt x="450" y="431"/>
                </a:lnTo>
                <a:close/>
                <a:moveTo>
                  <a:pt x="0" y="0"/>
                </a:moveTo>
                <a:lnTo>
                  <a:pt x="0" y="3109"/>
                </a:lnTo>
                <a:lnTo>
                  <a:pt x="3128" y="3109"/>
                </a:lnTo>
                <a:lnTo>
                  <a:pt x="312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6"/>
          <p:cNvSpPr/>
          <p:nvPr/>
        </p:nvSpPr>
        <p:spPr>
          <a:xfrm>
            <a:off x="6702523" y="444536"/>
            <a:ext cx="95493" cy="95462"/>
          </a:xfrm>
          <a:custGeom>
            <a:avLst/>
            <a:gdLst/>
            <a:ahLst/>
            <a:cxnLst/>
            <a:rect l="l" t="t" r="r" b="b"/>
            <a:pathLst>
              <a:path w="3110" h="3109" extrusionOk="0">
                <a:moveTo>
                  <a:pt x="2678" y="450"/>
                </a:moveTo>
                <a:lnTo>
                  <a:pt x="2678" y="2678"/>
                </a:lnTo>
                <a:lnTo>
                  <a:pt x="450" y="2678"/>
                </a:lnTo>
                <a:lnTo>
                  <a:pt x="450" y="450"/>
                </a:lnTo>
                <a:close/>
                <a:moveTo>
                  <a:pt x="1" y="0"/>
                </a:moveTo>
                <a:lnTo>
                  <a:pt x="1" y="3109"/>
                </a:lnTo>
                <a:lnTo>
                  <a:pt x="3109" y="3109"/>
                </a:lnTo>
                <a:lnTo>
                  <a:pt x="3109"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6"/>
          <p:cNvSpPr/>
          <p:nvPr/>
        </p:nvSpPr>
        <p:spPr>
          <a:xfrm>
            <a:off x="5904975" y="143222"/>
            <a:ext cx="82259" cy="82259"/>
          </a:xfrm>
          <a:custGeom>
            <a:avLst/>
            <a:gdLst/>
            <a:ahLst/>
            <a:cxnLst/>
            <a:rect l="l" t="t" r="r" b="b"/>
            <a:pathLst>
              <a:path w="2679" h="2679" extrusionOk="0">
                <a:moveTo>
                  <a:pt x="1" y="1"/>
                </a:moveTo>
                <a:lnTo>
                  <a:pt x="1" y="2679"/>
                </a:lnTo>
                <a:lnTo>
                  <a:pt x="2679" y="2679"/>
                </a:lnTo>
                <a:lnTo>
                  <a:pt x="2679"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6"/>
          <p:cNvSpPr/>
          <p:nvPr/>
        </p:nvSpPr>
        <p:spPr>
          <a:xfrm>
            <a:off x="303600" y="4401725"/>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6"/>
          <p:cNvSpPr/>
          <p:nvPr/>
        </p:nvSpPr>
        <p:spPr>
          <a:xfrm>
            <a:off x="564075" y="4753900"/>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5"/>
        <p:cNvGrpSpPr/>
        <p:nvPr/>
      </p:nvGrpSpPr>
      <p:grpSpPr>
        <a:xfrm>
          <a:off x="0" y="0"/>
          <a:ext cx="0" cy="0"/>
          <a:chOff x="0" y="0"/>
          <a:chExt cx="0" cy="0"/>
        </a:xfrm>
      </p:grpSpPr>
      <p:sp>
        <p:nvSpPr>
          <p:cNvPr id="106" name="Google Shape;106;p7"/>
          <p:cNvSpPr txBox="1">
            <a:spLocks noGrp="1"/>
          </p:cNvSpPr>
          <p:nvPr>
            <p:ph type="body" idx="1"/>
          </p:nvPr>
        </p:nvSpPr>
        <p:spPr>
          <a:xfrm>
            <a:off x="618306" y="2199025"/>
            <a:ext cx="1905900" cy="12963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6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107" name="Google Shape;107;p7"/>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000000"/>
              </a:buClr>
              <a:buSzPts val="3600"/>
              <a:buNone/>
              <a:defRPr sz="3000"/>
            </a:lvl1pPr>
            <a:lvl2pPr lvl="1" algn="ctr" rtl="0">
              <a:spcBef>
                <a:spcPts val="0"/>
              </a:spcBef>
              <a:spcAft>
                <a:spcPts val="0"/>
              </a:spcAft>
              <a:buClr>
                <a:srgbClr val="D9D9D9"/>
              </a:buClr>
              <a:buSzPts val="1800"/>
              <a:buNone/>
              <a:defRPr sz="1800">
                <a:solidFill>
                  <a:srgbClr val="D9D9D9"/>
                </a:solidFill>
              </a:defRPr>
            </a:lvl2pPr>
            <a:lvl3pPr lvl="2" algn="ctr" rtl="0">
              <a:spcBef>
                <a:spcPts val="0"/>
              </a:spcBef>
              <a:spcAft>
                <a:spcPts val="0"/>
              </a:spcAft>
              <a:buClr>
                <a:srgbClr val="D9D9D9"/>
              </a:buClr>
              <a:buSzPts val="1800"/>
              <a:buNone/>
              <a:defRPr sz="1800">
                <a:solidFill>
                  <a:srgbClr val="D9D9D9"/>
                </a:solidFill>
              </a:defRPr>
            </a:lvl3pPr>
            <a:lvl4pPr lvl="3" algn="ctr" rtl="0">
              <a:spcBef>
                <a:spcPts val="0"/>
              </a:spcBef>
              <a:spcAft>
                <a:spcPts val="0"/>
              </a:spcAft>
              <a:buClr>
                <a:srgbClr val="D9D9D9"/>
              </a:buClr>
              <a:buSzPts val="1800"/>
              <a:buNone/>
              <a:defRPr sz="1800">
                <a:solidFill>
                  <a:srgbClr val="D9D9D9"/>
                </a:solidFill>
              </a:defRPr>
            </a:lvl4pPr>
            <a:lvl5pPr lvl="4" algn="ctr" rtl="0">
              <a:spcBef>
                <a:spcPts val="0"/>
              </a:spcBef>
              <a:spcAft>
                <a:spcPts val="0"/>
              </a:spcAft>
              <a:buClr>
                <a:srgbClr val="D9D9D9"/>
              </a:buClr>
              <a:buSzPts val="1800"/>
              <a:buNone/>
              <a:defRPr sz="1800">
                <a:solidFill>
                  <a:srgbClr val="D9D9D9"/>
                </a:solidFill>
              </a:defRPr>
            </a:lvl5pPr>
            <a:lvl6pPr lvl="5" algn="ctr" rtl="0">
              <a:spcBef>
                <a:spcPts val="0"/>
              </a:spcBef>
              <a:spcAft>
                <a:spcPts val="0"/>
              </a:spcAft>
              <a:buClr>
                <a:srgbClr val="D9D9D9"/>
              </a:buClr>
              <a:buSzPts val="1800"/>
              <a:buNone/>
              <a:defRPr sz="1800">
                <a:solidFill>
                  <a:srgbClr val="D9D9D9"/>
                </a:solidFill>
              </a:defRPr>
            </a:lvl6pPr>
            <a:lvl7pPr lvl="6" algn="ctr" rtl="0">
              <a:spcBef>
                <a:spcPts val="0"/>
              </a:spcBef>
              <a:spcAft>
                <a:spcPts val="0"/>
              </a:spcAft>
              <a:buClr>
                <a:srgbClr val="D9D9D9"/>
              </a:buClr>
              <a:buSzPts val="1800"/>
              <a:buNone/>
              <a:defRPr sz="1800">
                <a:solidFill>
                  <a:srgbClr val="D9D9D9"/>
                </a:solidFill>
              </a:defRPr>
            </a:lvl7pPr>
            <a:lvl8pPr lvl="7" algn="ctr" rtl="0">
              <a:spcBef>
                <a:spcPts val="0"/>
              </a:spcBef>
              <a:spcAft>
                <a:spcPts val="0"/>
              </a:spcAft>
              <a:buClr>
                <a:srgbClr val="D9D9D9"/>
              </a:buClr>
              <a:buSzPts val="1800"/>
              <a:buNone/>
              <a:defRPr sz="1800">
                <a:solidFill>
                  <a:srgbClr val="D9D9D9"/>
                </a:solidFill>
              </a:defRPr>
            </a:lvl8pPr>
            <a:lvl9pPr lvl="8" algn="ctr" rtl="0">
              <a:spcBef>
                <a:spcPts val="0"/>
              </a:spcBef>
              <a:spcAft>
                <a:spcPts val="0"/>
              </a:spcAft>
              <a:buClr>
                <a:srgbClr val="D9D9D9"/>
              </a:buClr>
              <a:buSzPts val="1800"/>
              <a:buNone/>
              <a:defRPr sz="1800">
                <a:solidFill>
                  <a:srgbClr val="D9D9D9"/>
                </a:solidFill>
              </a:defRPr>
            </a:lvl9pPr>
          </a:lstStyle>
          <a:p>
            <a:endParaRPr/>
          </a:p>
        </p:txBody>
      </p:sp>
      <p:sp>
        <p:nvSpPr>
          <p:cNvPr id="108" name="Google Shape;108;p7"/>
          <p:cNvSpPr/>
          <p:nvPr/>
        </p:nvSpPr>
        <p:spPr>
          <a:xfrm>
            <a:off x="7131388" y="365350"/>
            <a:ext cx="167150" cy="167150"/>
          </a:xfrm>
          <a:custGeom>
            <a:avLst/>
            <a:gdLst/>
            <a:ahLst/>
            <a:cxnLst/>
            <a:rect l="l" t="t" r="r" b="b"/>
            <a:pathLst>
              <a:path w="6686" h="6686" extrusionOk="0">
                <a:moveTo>
                  <a:pt x="6236" y="450"/>
                </a:moveTo>
                <a:lnTo>
                  <a:pt x="6236" y="6236"/>
                </a:lnTo>
                <a:lnTo>
                  <a:pt x="450" y="6236"/>
                </a:lnTo>
                <a:lnTo>
                  <a:pt x="450" y="450"/>
                </a:lnTo>
                <a:close/>
                <a:moveTo>
                  <a:pt x="0" y="0"/>
                </a:moveTo>
                <a:lnTo>
                  <a:pt x="0" y="6686"/>
                </a:lnTo>
                <a:lnTo>
                  <a:pt x="6686" y="6686"/>
                </a:lnTo>
                <a:lnTo>
                  <a:pt x="668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7"/>
          <p:cNvSpPr/>
          <p:nvPr/>
        </p:nvSpPr>
        <p:spPr>
          <a:xfrm>
            <a:off x="8403188" y="218375"/>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7"/>
          <p:cNvSpPr/>
          <p:nvPr/>
        </p:nvSpPr>
        <p:spPr>
          <a:xfrm>
            <a:off x="7776788" y="362575"/>
            <a:ext cx="52475" cy="52450"/>
          </a:xfrm>
          <a:custGeom>
            <a:avLst/>
            <a:gdLst/>
            <a:ahLst/>
            <a:cxnLst/>
            <a:rect l="l" t="t" r="r" b="b"/>
            <a:pathLst>
              <a:path w="2099" h="2098" extrusionOk="0">
                <a:moveTo>
                  <a:pt x="1761" y="319"/>
                </a:moveTo>
                <a:lnTo>
                  <a:pt x="1761" y="1761"/>
                </a:lnTo>
                <a:lnTo>
                  <a:pt x="319" y="1761"/>
                </a:lnTo>
                <a:lnTo>
                  <a:pt x="319" y="319"/>
                </a:lnTo>
                <a:close/>
                <a:moveTo>
                  <a:pt x="1" y="0"/>
                </a:moveTo>
                <a:lnTo>
                  <a:pt x="1" y="2098"/>
                </a:lnTo>
                <a:lnTo>
                  <a:pt x="2098" y="2098"/>
                </a:lnTo>
                <a:lnTo>
                  <a:pt x="209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7"/>
          <p:cNvSpPr/>
          <p:nvPr/>
        </p:nvSpPr>
        <p:spPr>
          <a:xfrm>
            <a:off x="8539438" y="540950"/>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 name="Google Shape;112;p7"/>
          <p:cNvGrpSpPr/>
          <p:nvPr/>
        </p:nvGrpSpPr>
        <p:grpSpPr>
          <a:xfrm>
            <a:off x="6626134" y="-164562"/>
            <a:ext cx="121172" cy="760495"/>
            <a:chOff x="5245196" y="3136513"/>
            <a:chExt cx="121172" cy="760495"/>
          </a:xfrm>
        </p:grpSpPr>
        <p:sp>
          <p:nvSpPr>
            <p:cNvPr id="113" name="Google Shape;113;p7"/>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7"/>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5" name="Google Shape;115;p7"/>
          <p:cNvSpPr/>
          <p:nvPr/>
        </p:nvSpPr>
        <p:spPr>
          <a:xfrm>
            <a:off x="318213" y="4418900"/>
            <a:ext cx="108650" cy="108650"/>
          </a:xfrm>
          <a:custGeom>
            <a:avLst/>
            <a:gdLst/>
            <a:ahLst/>
            <a:cxnLst/>
            <a:rect l="l" t="t" r="r" b="b"/>
            <a:pathLst>
              <a:path w="4346" h="4346" extrusionOk="0">
                <a:moveTo>
                  <a:pt x="4008" y="356"/>
                </a:moveTo>
                <a:lnTo>
                  <a:pt x="4008" y="4027"/>
                </a:lnTo>
                <a:lnTo>
                  <a:pt x="338" y="4027"/>
                </a:lnTo>
                <a:lnTo>
                  <a:pt x="338" y="356"/>
                </a:lnTo>
                <a:close/>
                <a:moveTo>
                  <a:pt x="1" y="1"/>
                </a:moveTo>
                <a:lnTo>
                  <a:pt x="1" y="4345"/>
                </a:lnTo>
                <a:lnTo>
                  <a:pt x="4346" y="4345"/>
                </a:lnTo>
                <a:lnTo>
                  <a:pt x="4346"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7"/>
          <p:cNvSpPr/>
          <p:nvPr/>
        </p:nvSpPr>
        <p:spPr>
          <a:xfrm>
            <a:off x="454463" y="4741475"/>
            <a:ext cx="164350" cy="164350"/>
          </a:xfrm>
          <a:custGeom>
            <a:avLst/>
            <a:gdLst/>
            <a:ahLst/>
            <a:cxnLst/>
            <a:rect l="l" t="t" r="r" b="b"/>
            <a:pathLst>
              <a:path w="6574" h="6574" extrusionOk="0">
                <a:moveTo>
                  <a:pt x="6218" y="337"/>
                </a:moveTo>
                <a:lnTo>
                  <a:pt x="6218" y="6236"/>
                </a:lnTo>
                <a:lnTo>
                  <a:pt x="319" y="6236"/>
                </a:lnTo>
                <a:lnTo>
                  <a:pt x="319" y="337"/>
                </a:lnTo>
                <a:close/>
                <a:moveTo>
                  <a:pt x="0" y="0"/>
                </a:moveTo>
                <a:lnTo>
                  <a:pt x="0" y="6573"/>
                </a:lnTo>
                <a:lnTo>
                  <a:pt x="6555" y="6573"/>
                </a:lnTo>
                <a:lnTo>
                  <a:pt x="657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7"/>
        <p:cNvGrpSpPr/>
        <p:nvPr/>
      </p:nvGrpSpPr>
      <p:grpSpPr>
        <a:xfrm>
          <a:off x="0" y="0"/>
          <a:ext cx="0" cy="0"/>
          <a:chOff x="0" y="0"/>
          <a:chExt cx="0" cy="0"/>
        </a:xfrm>
      </p:grpSpPr>
      <p:sp>
        <p:nvSpPr>
          <p:cNvPr id="118" name="Google Shape;118;p8"/>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lvl1pPr lvl="0" algn="ctr">
              <a:spcBef>
                <a:spcPts val="0"/>
              </a:spcBef>
              <a:spcAft>
                <a:spcPts val="0"/>
              </a:spcAft>
              <a:buSzPts val="4800"/>
              <a:buNone/>
              <a:defRPr sz="72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119" name="Google Shape;119;p8"/>
          <p:cNvSpPr/>
          <p:nvPr/>
        </p:nvSpPr>
        <p:spPr>
          <a:xfrm>
            <a:off x="1060456" y="1158638"/>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8"/>
          <p:cNvSpPr/>
          <p:nvPr/>
        </p:nvSpPr>
        <p:spPr>
          <a:xfrm>
            <a:off x="7799740" y="916059"/>
            <a:ext cx="121434" cy="121434"/>
          </a:xfrm>
          <a:custGeom>
            <a:avLst/>
            <a:gdLst/>
            <a:ahLst/>
            <a:cxnLst/>
            <a:rect l="l" t="t" r="r" b="b"/>
            <a:pathLst>
              <a:path w="4634" h="4634" extrusionOk="0">
                <a:moveTo>
                  <a:pt x="0" y="1"/>
                </a:moveTo>
                <a:lnTo>
                  <a:pt x="0" y="4634"/>
                </a:lnTo>
                <a:lnTo>
                  <a:pt x="4633" y="463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8"/>
          <p:cNvSpPr/>
          <p:nvPr/>
        </p:nvSpPr>
        <p:spPr>
          <a:xfrm>
            <a:off x="5257933" y="2452405"/>
            <a:ext cx="57599" cy="57599"/>
          </a:xfrm>
          <a:custGeom>
            <a:avLst/>
            <a:gdLst/>
            <a:ahLst/>
            <a:cxnLst/>
            <a:rect l="l" t="t" r="r" b="b"/>
            <a:pathLst>
              <a:path w="2198" h="2198" fill="none" extrusionOk="0">
                <a:moveTo>
                  <a:pt x="1" y="1"/>
                </a:moveTo>
                <a:lnTo>
                  <a:pt x="2198" y="1"/>
                </a:lnTo>
                <a:lnTo>
                  <a:pt x="2198" y="2198"/>
                </a:lnTo>
                <a:lnTo>
                  <a:pt x="1" y="2198"/>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8"/>
          <p:cNvSpPr/>
          <p:nvPr/>
        </p:nvSpPr>
        <p:spPr>
          <a:xfrm>
            <a:off x="275669" y="1557059"/>
            <a:ext cx="57834" cy="57599"/>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8"/>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8"/>
          <p:cNvSpPr/>
          <p:nvPr/>
        </p:nvSpPr>
        <p:spPr>
          <a:xfrm>
            <a:off x="8263673" y="2953681"/>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 name="Google Shape;125;p8"/>
          <p:cNvGrpSpPr/>
          <p:nvPr/>
        </p:nvGrpSpPr>
        <p:grpSpPr>
          <a:xfrm>
            <a:off x="8263682" y="-434366"/>
            <a:ext cx="188886" cy="1181531"/>
            <a:chOff x="2877432" y="975334"/>
            <a:chExt cx="188886" cy="1181531"/>
          </a:xfrm>
        </p:grpSpPr>
        <p:sp>
          <p:nvSpPr>
            <p:cNvPr id="126" name="Google Shape;126;p8"/>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8"/>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8"/>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 name="Google Shape;129;p8"/>
          <p:cNvSpPr/>
          <p:nvPr/>
        </p:nvSpPr>
        <p:spPr>
          <a:xfrm>
            <a:off x="8485996" y="1614632"/>
            <a:ext cx="80502" cy="80476"/>
          </a:xfrm>
          <a:custGeom>
            <a:avLst/>
            <a:gdLst/>
            <a:ahLst/>
            <a:cxnLst/>
            <a:rect l="l" t="t" r="r" b="b"/>
            <a:pathLst>
              <a:path w="3072" h="3071" extrusionOk="0">
                <a:moveTo>
                  <a:pt x="1" y="0"/>
                </a:moveTo>
                <a:lnTo>
                  <a:pt x="1" y="3070"/>
                </a:lnTo>
                <a:lnTo>
                  <a:pt x="3071" y="3070"/>
                </a:lnTo>
                <a:lnTo>
                  <a:pt x="3071"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8"/>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8"/>
          <p:cNvSpPr/>
          <p:nvPr/>
        </p:nvSpPr>
        <p:spPr>
          <a:xfrm>
            <a:off x="1778504" y="2156778"/>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 name="Google Shape;132;p8"/>
          <p:cNvGrpSpPr/>
          <p:nvPr/>
        </p:nvGrpSpPr>
        <p:grpSpPr>
          <a:xfrm>
            <a:off x="3090746" y="-533657"/>
            <a:ext cx="98059" cy="1147596"/>
            <a:chOff x="3347921" y="16006"/>
            <a:chExt cx="98059" cy="1147596"/>
          </a:xfrm>
        </p:grpSpPr>
        <p:sp>
          <p:nvSpPr>
            <p:cNvPr id="133" name="Google Shape;133;p8"/>
            <p:cNvSpPr/>
            <p:nvPr/>
          </p:nvSpPr>
          <p:spPr>
            <a:xfrm>
              <a:off x="3347921" y="1065280"/>
              <a:ext cx="98059" cy="98321"/>
            </a:xfrm>
            <a:custGeom>
              <a:avLst/>
              <a:gdLst/>
              <a:ahLst/>
              <a:cxnLst/>
              <a:rect l="l" t="t" r="r" b="b"/>
              <a:pathLst>
                <a:path w="3742" h="3752" fill="none" extrusionOk="0">
                  <a:moveTo>
                    <a:pt x="0" y="1"/>
                  </a:moveTo>
                  <a:lnTo>
                    <a:pt x="3741" y="1"/>
                  </a:lnTo>
                  <a:lnTo>
                    <a:pt x="3741" y="3751"/>
                  </a:lnTo>
                  <a:lnTo>
                    <a:pt x="0" y="3751"/>
                  </a:lnTo>
                  <a:close/>
                </a:path>
              </a:pathLst>
            </a:custGeom>
            <a:noFill/>
            <a:ln w="29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8"/>
            <p:cNvSpPr/>
            <p:nvPr/>
          </p:nvSpPr>
          <p:spPr>
            <a:xfrm>
              <a:off x="3392705" y="16006"/>
              <a:ext cx="8464" cy="894665"/>
            </a:xfrm>
            <a:custGeom>
              <a:avLst/>
              <a:gdLst/>
              <a:ahLst/>
              <a:cxnLst/>
              <a:rect l="l" t="t" r="r" b="b"/>
              <a:pathLst>
                <a:path w="323" h="34141" extrusionOk="0">
                  <a:moveTo>
                    <a:pt x="157" y="1"/>
                  </a:moveTo>
                  <a:lnTo>
                    <a:pt x="1" y="34141"/>
                  </a:lnTo>
                  <a:lnTo>
                    <a:pt x="323" y="34141"/>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8"/>
          <p:cNvGrpSpPr/>
          <p:nvPr/>
        </p:nvGrpSpPr>
        <p:grpSpPr>
          <a:xfrm>
            <a:off x="4892771" y="-340112"/>
            <a:ext cx="121172" cy="760495"/>
            <a:chOff x="5245196" y="3136513"/>
            <a:chExt cx="121172" cy="760495"/>
          </a:xfrm>
        </p:grpSpPr>
        <p:sp>
          <p:nvSpPr>
            <p:cNvPr id="136" name="Google Shape;136;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 name="Google Shape;138;p8"/>
          <p:cNvGrpSpPr/>
          <p:nvPr/>
        </p:nvGrpSpPr>
        <p:grpSpPr>
          <a:xfrm>
            <a:off x="6967836" y="85439"/>
            <a:ext cx="133252" cy="1952377"/>
            <a:chOff x="6780548" y="337714"/>
            <a:chExt cx="133252" cy="1952377"/>
          </a:xfrm>
        </p:grpSpPr>
        <p:sp>
          <p:nvSpPr>
            <p:cNvPr id="139" name="Google Shape;139;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1" name="Google Shape;141;p8"/>
          <p:cNvGrpSpPr/>
          <p:nvPr/>
        </p:nvGrpSpPr>
        <p:grpSpPr>
          <a:xfrm>
            <a:off x="250617" y="2402301"/>
            <a:ext cx="188650" cy="2468354"/>
            <a:chOff x="250617" y="2402301"/>
            <a:chExt cx="188650" cy="2468354"/>
          </a:xfrm>
        </p:grpSpPr>
        <p:sp>
          <p:nvSpPr>
            <p:cNvPr id="142" name="Google Shape;142;p8"/>
            <p:cNvSpPr/>
            <p:nvPr/>
          </p:nvSpPr>
          <p:spPr>
            <a:xfrm>
              <a:off x="250617" y="4681770"/>
              <a:ext cx="188650" cy="188886"/>
            </a:xfrm>
            <a:custGeom>
              <a:avLst/>
              <a:gdLst/>
              <a:ahLst/>
              <a:cxnLst/>
              <a:rect l="l" t="t" r="r" b="b"/>
              <a:pathLst>
                <a:path w="7199" h="7208" fill="none" extrusionOk="0">
                  <a:moveTo>
                    <a:pt x="0" y="1"/>
                  </a:moveTo>
                  <a:lnTo>
                    <a:pt x="7198" y="1"/>
                  </a:lnTo>
                  <a:lnTo>
                    <a:pt x="7198" y="7207"/>
                  </a:lnTo>
                  <a:lnTo>
                    <a:pt x="0" y="7207"/>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8"/>
            <p:cNvSpPr/>
            <p:nvPr/>
          </p:nvSpPr>
          <p:spPr>
            <a:xfrm>
              <a:off x="278316" y="4166291"/>
              <a:ext cx="133226" cy="133226"/>
            </a:xfrm>
            <a:custGeom>
              <a:avLst/>
              <a:gdLst/>
              <a:ahLst/>
              <a:cxnLst/>
              <a:rect l="l" t="t" r="r" b="b"/>
              <a:pathLst>
                <a:path w="5084" h="5084" fill="none" extrusionOk="0">
                  <a:moveTo>
                    <a:pt x="1" y="0"/>
                  </a:moveTo>
                  <a:lnTo>
                    <a:pt x="5084" y="0"/>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8"/>
            <p:cNvSpPr/>
            <p:nvPr/>
          </p:nvSpPr>
          <p:spPr>
            <a:xfrm>
              <a:off x="304573" y="3689098"/>
              <a:ext cx="80476" cy="80476"/>
            </a:xfrm>
            <a:custGeom>
              <a:avLst/>
              <a:gdLst/>
              <a:ahLst/>
              <a:cxnLst/>
              <a:rect l="l" t="t" r="r" b="b"/>
              <a:pathLst>
                <a:path w="3071" h="3071" fill="none" extrusionOk="0">
                  <a:moveTo>
                    <a:pt x="1" y="0"/>
                  </a:moveTo>
                  <a:lnTo>
                    <a:pt x="3071" y="0"/>
                  </a:lnTo>
                  <a:lnTo>
                    <a:pt x="3071" y="3071"/>
                  </a:lnTo>
                  <a:lnTo>
                    <a:pt x="1" y="3071"/>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8"/>
            <p:cNvSpPr/>
            <p:nvPr/>
          </p:nvSpPr>
          <p:spPr>
            <a:xfrm>
              <a:off x="340710" y="2402301"/>
              <a:ext cx="8464" cy="1011487"/>
            </a:xfrm>
            <a:custGeom>
              <a:avLst/>
              <a:gdLst/>
              <a:ahLst/>
              <a:cxnLst/>
              <a:rect l="l" t="t" r="r" b="b"/>
              <a:pathLst>
                <a:path w="323" h="38599" extrusionOk="0">
                  <a:moveTo>
                    <a:pt x="157" y="1"/>
                  </a:moveTo>
                  <a:lnTo>
                    <a:pt x="0" y="38599"/>
                  </a:lnTo>
                  <a:lnTo>
                    <a:pt x="322" y="38599"/>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6" name="Google Shape;146;p8"/>
          <p:cNvGrpSpPr/>
          <p:nvPr/>
        </p:nvGrpSpPr>
        <p:grpSpPr>
          <a:xfrm>
            <a:off x="982417" y="1695096"/>
            <a:ext cx="199237" cy="2828935"/>
            <a:chOff x="1608717" y="1280046"/>
            <a:chExt cx="199237" cy="2828935"/>
          </a:xfrm>
        </p:grpSpPr>
        <p:sp>
          <p:nvSpPr>
            <p:cNvPr id="147" name="Google Shape;147;p8"/>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8"/>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8"/>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0" name="Google Shape;150;p8"/>
          <p:cNvSpPr/>
          <p:nvPr/>
        </p:nvSpPr>
        <p:spPr>
          <a:xfrm>
            <a:off x="646863" y="21446"/>
            <a:ext cx="8464" cy="1689069"/>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1" name="Google Shape;151;p8"/>
          <p:cNvGrpSpPr/>
          <p:nvPr/>
        </p:nvGrpSpPr>
        <p:grpSpPr>
          <a:xfrm>
            <a:off x="2038689" y="173907"/>
            <a:ext cx="57599" cy="831799"/>
            <a:chOff x="2038689" y="173907"/>
            <a:chExt cx="57599" cy="831799"/>
          </a:xfrm>
        </p:grpSpPr>
        <p:sp>
          <p:nvSpPr>
            <p:cNvPr id="152" name="Google Shape;152;p8"/>
            <p:cNvSpPr/>
            <p:nvPr/>
          </p:nvSpPr>
          <p:spPr>
            <a:xfrm>
              <a:off x="2038689" y="947872"/>
              <a:ext cx="57599" cy="57834"/>
            </a:xfrm>
            <a:custGeom>
              <a:avLst/>
              <a:gdLst/>
              <a:ahLst/>
              <a:cxnLst/>
              <a:rect l="l" t="t" r="r" b="b"/>
              <a:pathLst>
                <a:path w="2198" h="2207" fill="none" extrusionOk="0">
                  <a:moveTo>
                    <a:pt x="1" y="0"/>
                  </a:moveTo>
                  <a:lnTo>
                    <a:pt x="2197" y="0"/>
                  </a:lnTo>
                  <a:lnTo>
                    <a:pt x="2197" y="2206"/>
                  </a:lnTo>
                  <a:lnTo>
                    <a:pt x="1" y="2206"/>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8"/>
            <p:cNvSpPr/>
            <p:nvPr/>
          </p:nvSpPr>
          <p:spPr>
            <a:xfrm>
              <a:off x="2063269" y="173907"/>
              <a:ext cx="8438" cy="692074"/>
            </a:xfrm>
            <a:custGeom>
              <a:avLst/>
              <a:gdLst/>
              <a:ahLst/>
              <a:cxnLst/>
              <a:rect l="l" t="t" r="r" b="b"/>
              <a:pathLst>
                <a:path w="322" h="26410" extrusionOk="0">
                  <a:moveTo>
                    <a:pt x="166" y="1"/>
                  </a:moveTo>
                  <a:lnTo>
                    <a:pt x="0" y="26410"/>
                  </a:lnTo>
                  <a:lnTo>
                    <a:pt x="322" y="26410"/>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8"/>
          <p:cNvGrpSpPr/>
          <p:nvPr/>
        </p:nvGrpSpPr>
        <p:grpSpPr>
          <a:xfrm>
            <a:off x="8008096" y="2108910"/>
            <a:ext cx="199001" cy="2139769"/>
            <a:chOff x="8008096" y="2108910"/>
            <a:chExt cx="199001" cy="2139769"/>
          </a:xfrm>
        </p:grpSpPr>
        <p:sp>
          <p:nvSpPr>
            <p:cNvPr id="155" name="Google Shape;155;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7" name="Google Shape;157;p8"/>
          <p:cNvSpPr/>
          <p:nvPr/>
        </p:nvSpPr>
        <p:spPr>
          <a:xfrm>
            <a:off x="2702019" y="1158651"/>
            <a:ext cx="121198" cy="121434"/>
          </a:xfrm>
          <a:custGeom>
            <a:avLst/>
            <a:gdLst/>
            <a:ahLst/>
            <a:cxnLst/>
            <a:rect l="l" t="t" r="r" b="b"/>
            <a:pathLst>
              <a:path w="4625" h="4634" extrusionOk="0">
                <a:moveTo>
                  <a:pt x="1" y="0"/>
                </a:moveTo>
                <a:lnTo>
                  <a:pt x="1" y="4633"/>
                </a:lnTo>
                <a:lnTo>
                  <a:pt x="4625" y="4633"/>
                </a:lnTo>
                <a:lnTo>
                  <a:pt x="4625"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8" name="Google Shape;158;p8"/>
          <p:cNvGrpSpPr/>
          <p:nvPr/>
        </p:nvGrpSpPr>
        <p:grpSpPr>
          <a:xfrm>
            <a:off x="4095146" y="-859690"/>
            <a:ext cx="199001" cy="2139769"/>
            <a:chOff x="8008096" y="2108910"/>
            <a:chExt cx="199001" cy="2139769"/>
          </a:xfrm>
        </p:grpSpPr>
        <p:sp>
          <p:nvSpPr>
            <p:cNvPr id="159" name="Google Shape;159;p8"/>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8"/>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1" name="Google Shape;161;p8"/>
          <p:cNvGrpSpPr/>
          <p:nvPr/>
        </p:nvGrpSpPr>
        <p:grpSpPr>
          <a:xfrm>
            <a:off x="6333286" y="3704939"/>
            <a:ext cx="133252" cy="1952377"/>
            <a:chOff x="6780548" y="337714"/>
            <a:chExt cx="133252" cy="1952377"/>
          </a:xfrm>
        </p:grpSpPr>
        <p:sp>
          <p:nvSpPr>
            <p:cNvPr id="162" name="Google Shape;162;p8"/>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8"/>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 name="Google Shape;164;p8"/>
          <p:cNvGrpSpPr/>
          <p:nvPr/>
        </p:nvGrpSpPr>
        <p:grpSpPr>
          <a:xfrm>
            <a:off x="2702021" y="3612763"/>
            <a:ext cx="121172" cy="760495"/>
            <a:chOff x="5245196" y="3136513"/>
            <a:chExt cx="121172" cy="760495"/>
          </a:xfrm>
        </p:grpSpPr>
        <p:sp>
          <p:nvSpPr>
            <p:cNvPr id="165" name="Google Shape;165;p8"/>
            <p:cNvSpPr/>
            <p:nvPr/>
          </p:nvSpPr>
          <p:spPr>
            <a:xfrm>
              <a:off x="5245196" y="3775810"/>
              <a:ext cx="121172" cy="121198"/>
            </a:xfrm>
            <a:custGeom>
              <a:avLst/>
              <a:gdLst/>
              <a:ahLst/>
              <a:cxnLst/>
              <a:rect l="l" t="t" r="r" b="b"/>
              <a:pathLst>
                <a:path w="4624" h="4625" extrusionOk="0">
                  <a:moveTo>
                    <a:pt x="0" y="1"/>
                  </a:moveTo>
                  <a:lnTo>
                    <a:pt x="0" y="4624"/>
                  </a:lnTo>
                  <a:lnTo>
                    <a:pt x="4624" y="4624"/>
                  </a:lnTo>
                  <a:lnTo>
                    <a:pt x="4624"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8"/>
            <p:cNvSpPr/>
            <p:nvPr/>
          </p:nvSpPr>
          <p:spPr>
            <a:xfrm>
              <a:off x="5309007" y="3136513"/>
              <a:ext cx="8464" cy="554288"/>
            </a:xfrm>
            <a:custGeom>
              <a:avLst/>
              <a:gdLst/>
              <a:ahLst/>
              <a:cxnLst/>
              <a:rect l="l" t="t" r="r" b="b"/>
              <a:pathLst>
                <a:path w="323" h="21152" extrusionOk="0">
                  <a:moveTo>
                    <a:pt x="166" y="1"/>
                  </a:moveTo>
                  <a:lnTo>
                    <a:pt x="0" y="21152"/>
                  </a:lnTo>
                  <a:lnTo>
                    <a:pt x="322" y="21152"/>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7" name="Google Shape;167;p8"/>
          <p:cNvSpPr/>
          <p:nvPr/>
        </p:nvSpPr>
        <p:spPr>
          <a:xfrm>
            <a:off x="5539523" y="4516718"/>
            <a:ext cx="104086" cy="104322"/>
          </a:xfrm>
          <a:custGeom>
            <a:avLst/>
            <a:gdLst/>
            <a:ahLst/>
            <a:cxnLst/>
            <a:rect l="l" t="t" r="r" b="b"/>
            <a:pathLst>
              <a:path w="3972" h="3981" extrusionOk="0">
                <a:moveTo>
                  <a:pt x="0" y="1"/>
                </a:moveTo>
                <a:lnTo>
                  <a:pt x="0" y="3981"/>
                </a:lnTo>
                <a:lnTo>
                  <a:pt x="3972" y="3981"/>
                </a:lnTo>
                <a:lnTo>
                  <a:pt x="397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8"/>
          <p:cNvSpPr/>
          <p:nvPr/>
        </p:nvSpPr>
        <p:spPr>
          <a:xfrm>
            <a:off x="6994217" y="3378784"/>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9"/>
        <p:cNvGrpSpPr/>
        <p:nvPr/>
      </p:nvGrpSpPr>
      <p:grpSpPr>
        <a:xfrm>
          <a:off x="0" y="0"/>
          <a:ext cx="0" cy="0"/>
          <a:chOff x="0" y="0"/>
          <a:chExt cx="0" cy="0"/>
        </a:xfrm>
      </p:grpSpPr>
      <p:sp>
        <p:nvSpPr>
          <p:cNvPr id="170" name="Google Shape;17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171" name="Google Shape;17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2" name="Google Shape;17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73"/>
        <p:cNvGrpSpPr/>
        <p:nvPr/>
      </p:nvGrpSpPr>
      <p:grpSpPr>
        <a:xfrm>
          <a:off x="0" y="0"/>
          <a:ext cx="0" cy="0"/>
          <a:chOff x="0" y="0"/>
          <a:chExt cx="0" cy="0"/>
        </a:xfrm>
      </p:grpSpPr>
      <p:sp>
        <p:nvSpPr>
          <p:cNvPr id="174" name="Google Shape;174;p10"/>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4.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3.xml"/><Relationship Id="rId33"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6.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5.xml"/><Relationship Id="rId30" Type="http://schemas.openxmlformats.org/officeDocument/2006/relationships/tags" Target="../tags/tag8.xml"/><Relationship Id="rId8"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dk2"/>
        </a:solidFill>
        <a:effectLst/>
      </p:bgPr>
    </p:bg>
    <p:spTree>
      <p:nvGrpSpPr>
        <p:cNvPr id="1" name="Shape 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084569A-34C9-D5E6-384B-8FED36B26AF7}"/>
              </a:ext>
            </a:extLst>
          </p:cNvPr>
          <p:cNvGraphicFramePr>
            <a:graphicFrameLocks noChangeAspect="1"/>
          </p:cNvGraphicFramePr>
          <p:nvPr userDrawn="1">
            <p:custDataLst>
              <p:tags r:id="rId23"/>
            </p:custDataLst>
            <p:extLst>
              <p:ext uri="{D42A27DB-BD31-4B8C-83A1-F6EECF244321}">
                <p14:modId xmlns:p14="http://schemas.microsoft.com/office/powerpoint/2010/main" val="22528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95" imgH="394" progId="TCLayout.ActiveDocument.1">
                  <p:embed/>
                </p:oleObj>
              </mc:Choice>
              <mc:Fallback>
                <p:oleObj name="think-cell Foli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1pPr>
            <a:lvl2pPr lvl="1">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2pPr>
            <a:lvl3pPr lvl="2">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3pPr>
            <a:lvl4pPr lvl="3">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4pPr>
            <a:lvl5pPr lvl="4">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5pPr>
            <a:lvl6pPr lvl="5">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6pPr>
            <a:lvl7pPr lvl="6">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7pPr>
            <a:lvl8pPr lvl="7">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8pPr>
            <a:lvl9pPr lvl="8">
              <a:spcBef>
                <a:spcPts val="0"/>
              </a:spcBef>
              <a:spcAft>
                <a:spcPts val="0"/>
              </a:spcAft>
              <a:buClr>
                <a:schemeClr val="lt1"/>
              </a:buClr>
              <a:buSzPts val="2800"/>
              <a:buFont typeface="Share Tech"/>
              <a:buNone/>
              <a:defRPr sz="2800">
                <a:solidFill>
                  <a:schemeClr val="lt1"/>
                </a:solidFill>
                <a:latin typeface="Share Tech"/>
                <a:ea typeface="Share Tech"/>
                <a:cs typeface="Share Tech"/>
                <a:sym typeface="Share Tech"/>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lt1"/>
              </a:buClr>
              <a:buSzPts val="1800"/>
              <a:buFont typeface="Maven Pro"/>
              <a:buChar char="●"/>
              <a:defRPr sz="1800">
                <a:solidFill>
                  <a:schemeClr val="lt1"/>
                </a:solidFill>
                <a:latin typeface="Maven Pro"/>
                <a:ea typeface="Maven Pro"/>
                <a:cs typeface="Maven Pro"/>
                <a:sym typeface="Maven Pro"/>
              </a:defRPr>
            </a:lvl1pPr>
            <a:lvl2pPr marL="914400" lvl="1"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2pPr>
            <a:lvl3pPr marL="1371600" lvl="2"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3pPr>
            <a:lvl4pPr marL="1828800" lvl="3"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4pPr>
            <a:lvl5pPr marL="2286000" lvl="4"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5pPr>
            <a:lvl6pPr marL="2743200" lvl="5"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6pPr>
            <a:lvl7pPr marL="3200400" lvl="6"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7pPr>
            <a:lvl8pPr marL="3657600" lvl="7" indent="-317500">
              <a:lnSpc>
                <a:spcPct val="115000"/>
              </a:lnSpc>
              <a:spcBef>
                <a:spcPts val="1600"/>
              </a:spcBef>
              <a:spcAft>
                <a:spcPts val="0"/>
              </a:spcAft>
              <a:buClr>
                <a:schemeClr val="lt1"/>
              </a:buClr>
              <a:buSzPts val="1400"/>
              <a:buFont typeface="Maven Pro"/>
              <a:buChar char="○"/>
              <a:defRPr>
                <a:solidFill>
                  <a:schemeClr val="lt1"/>
                </a:solidFill>
                <a:latin typeface="Maven Pro"/>
                <a:ea typeface="Maven Pro"/>
                <a:cs typeface="Maven Pro"/>
                <a:sym typeface="Maven Pro"/>
              </a:defRPr>
            </a:lvl8pPr>
            <a:lvl9pPr marL="4114800" lvl="8" indent="-317500">
              <a:lnSpc>
                <a:spcPct val="115000"/>
              </a:lnSpc>
              <a:spcBef>
                <a:spcPts val="1600"/>
              </a:spcBef>
              <a:spcAft>
                <a:spcPts val="1600"/>
              </a:spcAft>
              <a:buClr>
                <a:schemeClr val="lt1"/>
              </a:buClr>
              <a:buSzPts val="1400"/>
              <a:buFont typeface="Maven Pro"/>
              <a:buChar char="■"/>
              <a:defRPr>
                <a:solidFill>
                  <a:schemeClr val="lt1"/>
                </a:solidFill>
                <a:latin typeface="Maven Pro"/>
                <a:ea typeface="Maven Pro"/>
                <a:cs typeface="Maven Pro"/>
                <a:sym typeface="Maven Pr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rgbClr val="0E2A47"/>
        </a:solidFill>
        <a:effectLst/>
      </p:bgPr>
    </p:bg>
    <p:spTree>
      <p:nvGrpSpPr>
        <p:cNvPr id="1" name="Shape 426"/>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7C566-98FF-2331-1174-E9519580620F}"/>
              </a:ext>
            </a:extLst>
          </p:cNvPr>
          <p:cNvGraphicFramePr>
            <a:graphicFrameLocks noChangeAspect="1"/>
          </p:cNvGraphicFramePr>
          <p:nvPr userDrawn="1">
            <p:custDataLst>
              <p:tags r:id="rId3"/>
            </p:custDataLst>
            <p:extLst>
              <p:ext uri="{D42A27DB-BD31-4B8C-83A1-F6EECF244321}">
                <p14:modId xmlns:p14="http://schemas.microsoft.com/office/powerpoint/2010/main" val="714534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7" name="Google Shape;427;p23"/>
          <p:cNvSpPr txBox="1">
            <a:spLocks noGrp="1"/>
          </p:cNvSpPr>
          <p:nvPr>
            <p:ph type="title"/>
          </p:nvPr>
        </p:nvSpPr>
        <p:spPr>
          <a:xfrm>
            <a:off x="1068100" y="933450"/>
            <a:ext cx="7047300" cy="4824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28" name="Google Shape;428;p23"/>
          <p:cNvSpPr txBox="1">
            <a:spLocks noGrp="1"/>
          </p:cNvSpPr>
          <p:nvPr>
            <p:ph type="body" idx="1"/>
          </p:nvPr>
        </p:nvSpPr>
        <p:spPr>
          <a:xfrm>
            <a:off x="1068100" y="1695450"/>
            <a:ext cx="7047300" cy="2502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7"/>
            </p:custDataLst>
            <p:extLst>
              <p:ext uri="{D42A27DB-BD31-4B8C-83A1-F6EECF244321}">
                <p14:modId xmlns:p14="http://schemas.microsoft.com/office/powerpoint/2010/main" val="4236122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1" imgW="395" imgH="394" progId="TCLayout.ActiveDocument.1">
                  <p:embed/>
                </p:oleObj>
              </mc:Choice>
              <mc:Fallback>
                <p:oleObj name="think-cell Folie" r:id="rId3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5" name="BtfpConfiguration" hidden="1"/>
          <p:cNvSpPr txBox="1"/>
          <p:nvPr userDrawn="1">
            <p:custDataLst>
              <p:tags r:id="rId28"/>
            </p:custDataLst>
          </p:nvPr>
        </p:nvSpPr>
        <p:spPr bwMode="hidden">
          <a:xfrm>
            <a:off x="0" y="0"/>
            <a:ext cx="27000" cy="27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9"/>
            </p:custDataLst>
          </p:nvPr>
        </p:nvSpPr>
        <p:spPr>
          <a:xfrm>
            <a:off x="6014604" y="4981500"/>
            <a:ext cx="1605396"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 </a:t>
            </a:r>
          </a:p>
        </p:txBody>
      </p:sp>
      <p:sp>
        <p:nvSpPr>
          <p:cNvPr id="7" name="OfficeCode" hidden="1"/>
          <p:cNvSpPr/>
          <p:nvPr userDrawn="1">
            <p:custDataLst>
              <p:tags r:id="rId30"/>
            </p:custDataLst>
          </p:nvPr>
        </p:nvSpPr>
        <p:spPr>
          <a:xfrm>
            <a:off x="5418859" y="4981500"/>
            <a:ext cx="405245" cy="123777"/>
          </a:xfrm>
          <a:prstGeom prst="rect">
            <a:avLst/>
          </a:prstGeom>
        </p:spPr>
        <p:txBody>
          <a:bodyPr wrap="square" lIns="27000" tIns="27000" rIns="27000" bIns="27000">
            <a:spAutoFit/>
          </a:bodyPr>
          <a:lstStyle/>
          <a:p>
            <a:pPr marL="0" indent="0" algn="ctr" defTabSz="533400" rtl="0" eaLnBrk="1" latinLnBrk="0" hangingPunct="1">
              <a:spcBef>
                <a:spcPts val="900"/>
              </a:spcBef>
              <a:buNone/>
            </a:pPr>
            <a:r>
              <a:rPr lang="en-GB" sz="45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225029" y="221769"/>
            <a:ext cx="4265157" cy="692631"/>
          </a:xfrm>
          <a:prstGeom prst="rect">
            <a:avLst/>
          </a:prstGeom>
        </p:spPr>
        <p:txBody>
          <a:bodyPr vert="horz" lIns="91440" tIns="45720" rIns="91440" bIns="45720" rtlCol="0" anchor="t">
            <a:normAutofit/>
          </a:bodyPr>
          <a:lstStyle/>
          <a:p>
            <a:r>
              <a:rPr lang="en-US"/>
              <a:t>Click to add title which can spread across two lines like so</a:t>
            </a:r>
          </a:p>
        </p:txBody>
      </p:sp>
      <p:pic>
        <p:nvPicPr>
          <p:cNvPr id="16" name="Logo AKKODIS">
            <a:extLst>
              <a:ext uri="{FF2B5EF4-FFF2-40B4-BE49-F238E27FC236}">
                <a16:creationId xmlns:a16="http://schemas.microsoft.com/office/drawing/2014/main" id="{70F85E39-40A1-49D4-ACFC-50FFBC2C55DB}"/>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7809905" y="339393"/>
            <a:ext cx="1080000" cy="150226"/>
          </a:xfrm>
          <a:prstGeom prst="rect">
            <a:avLst/>
          </a:prstGeom>
        </p:spPr>
      </p:pic>
    </p:spTree>
    <p:custDataLst>
      <p:tags r:id="rId26"/>
    </p:custDataLst>
    <p:extLst>
      <p:ext uri="{BB962C8B-B14F-4D97-AF65-F5344CB8AC3E}">
        <p14:creationId xmlns:p14="http://schemas.microsoft.com/office/powerpoint/2010/main" val="13462159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transition/>
  <p:hf sldNum="0" hdr="0"/>
  <p:txStyles>
    <p:titleStyle>
      <a:lvl1pPr algn="l" defTabSz="533400" rtl="0" eaLnBrk="1" latinLnBrk="0" hangingPunct="1">
        <a:lnSpc>
          <a:spcPct val="100000"/>
        </a:lnSpc>
        <a:spcBef>
          <a:spcPct val="0"/>
        </a:spcBef>
        <a:buNone/>
        <a:defRPr sz="1650" b="1" kern="1200">
          <a:solidFill>
            <a:schemeClr val="bg1"/>
          </a:solidFill>
          <a:latin typeface="+mj-lt"/>
          <a:ea typeface="+mj-ea"/>
          <a:cs typeface="+mj-cs"/>
        </a:defRPr>
      </a:lvl1pPr>
    </p:titleStyle>
    <p:bodyStyle>
      <a:lvl1pPr marL="0" indent="0" algn="l" defTabSz="685766" rtl="0" eaLnBrk="1" latinLnBrk="0" hangingPunct="1">
        <a:lnSpc>
          <a:spcPct val="100000"/>
        </a:lnSpc>
        <a:spcBef>
          <a:spcPts val="900"/>
        </a:spcBef>
        <a:buFont typeface="Arial" panose="020B0604020202020204" pitchFamily="34" charset="0"/>
        <a:buNone/>
        <a:defRPr sz="1350" kern="1200">
          <a:solidFill>
            <a:schemeClr val="bg1"/>
          </a:solidFill>
          <a:latin typeface="+mn-lt"/>
          <a:ea typeface="+mn-ea"/>
          <a:cs typeface="+mn-cs"/>
        </a:defRPr>
      </a:lvl1pPr>
      <a:lvl2pPr marL="271463"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2pPr>
      <a:lvl3pPr marL="401241" indent="-129779"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3pPr>
      <a:lvl4pPr marL="536972" indent="-135731" algn="l" defTabSz="685766"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4pPr>
      <a:lvl5pPr marL="673894" indent="-136922" algn="l" defTabSz="685766" rtl="0" eaLnBrk="1" latinLnBrk="0" hangingPunct="1">
        <a:lnSpc>
          <a:spcPct val="100000"/>
        </a:lnSpc>
        <a:spcBef>
          <a:spcPts val="450"/>
        </a:spcBef>
        <a:buFont typeface="Arial" panose="020B0604020202020204" pitchFamily="34" charset="0"/>
        <a:buChar char="&gt;"/>
        <a:defRPr sz="10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133350" indent="-133350" algn="l" defTabSz="533400" rtl="0" eaLnBrk="1" latinLnBrk="0" hangingPunct="1">
        <a:spcBef>
          <a:spcPts val="900"/>
        </a:spcBef>
        <a:buChar char="•"/>
        <a:defRPr sz="1200" kern="1200">
          <a:solidFill>
            <a:schemeClr val="tx1"/>
          </a:solidFill>
          <a:latin typeface="+mn-lt"/>
          <a:ea typeface="+mn-ea"/>
          <a:cs typeface="+mn-cs"/>
        </a:defRPr>
      </a:lvl1pPr>
      <a:lvl2pPr marL="266700" indent="-133350" algn="l" defTabSz="533400" rtl="0" eaLnBrk="1" latinLnBrk="0" hangingPunct="1">
        <a:spcBef>
          <a:spcPts val="450"/>
        </a:spcBef>
        <a:buChar char="–"/>
        <a:defRPr sz="1050" kern="1200">
          <a:solidFill>
            <a:schemeClr val="tx1"/>
          </a:solidFill>
          <a:latin typeface="+mn-lt"/>
          <a:ea typeface="+mn-ea"/>
          <a:cs typeface="+mn-cs"/>
        </a:defRPr>
      </a:lvl2pPr>
      <a:lvl3pPr marL="400050" indent="-133350" algn="l" defTabSz="533400" rtl="0" eaLnBrk="1" latinLnBrk="0" hangingPunct="1">
        <a:spcBef>
          <a:spcPts val="450"/>
        </a:spcBef>
        <a:buChar char="&gt;"/>
        <a:defRPr sz="1050" kern="1200">
          <a:solidFill>
            <a:schemeClr val="tx1"/>
          </a:solidFill>
          <a:latin typeface="+mn-lt"/>
          <a:ea typeface="+mn-ea"/>
          <a:cs typeface="+mn-cs"/>
        </a:defRPr>
      </a:lvl3pPr>
      <a:lvl4pPr marL="533400" indent="-133350" algn="l" defTabSz="533400" rtl="0" eaLnBrk="1" latinLnBrk="0" hangingPunct="1">
        <a:spcBef>
          <a:spcPts val="450"/>
        </a:spcBef>
        <a:buChar char="–"/>
        <a:defRPr sz="1050" kern="1200">
          <a:solidFill>
            <a:schemeClr val="tx1"/>
          </a:solidFill>
          <a:latin typeface="+mn-lt"/>
          <a:ea typeface="+mn-ea"/>
          <a:cs typeface="+mn-cs"/>
        </a:defRPr>
      </a:lvl4pPr>
      <a:lvl5pPr marL="666750" indent="-133350" algn="l" defTabSz="533400" rtl="0" eaLnBrk="1" latinLnBrk="0" hangingPunct="1">
        <a:spcBef>
          <a:spcPts val="450"/>
        </a:spcBef>
        <a:buChar char="&gt;"/>
        <a:defRPr sz="1050" kern="1200">
          <a:solidFill>
            <a:schemeClr val="tx1"/>
          </a:solidFill>
          <a:latin typeface="+mn-lt"/>
          <a:ea typeface="+mn-ea"/>
          <a:cs typeface="+mn-cs"/>
        </a:defRPr>
      </a:lvl5pPr>
      <a:lvl6pPr marL="800100" algn="l" defTabSz="533400" rtl="0" eaLnBrk="1" latinLnBrk="0" hangingPunct="1">
        <a:defRPr sz="1050" kern="1200">
          <a:solidFill>
            <a:schemeClr val="tx1"/>
          </a:solidFill>
          <a:latin typeface="+mn-lt"/>
          <a:ea typeface="+mn-ea"/>
          <a:cs typeface="+mn-cs"/>
        </a:defRPr>
      </a:lvl6pPr>
      <a:lvl7pPr marL="933450" algn="l" defTabSz="533400" rtl="0" eaLnBrk="1" latinLnBrk="0" hangingPunct="1">
        <a:defRPr sz="1050" kern="1200">
          <a:solidFill>
            <a:schemeClr val="tx1"/>
          </a:solidFill>
          <a:latin typeface="+mn-lt"/>
          <a:ea typeface="+mn-ea"/>
          <a:cs typeface="+mn-cs"/>
        </a:defRPr>
      </a:lvl7pPr>
      <a:lvl8pPr marL="1066800" algn="l" defTabSz="533400" rtl="0" eaLnBrk="1" latinLnBrk="0" hangingPunct="1">
        <a:defRPr sz="1050" kern="1200">
          <a:solidFill>
            <a:schemeClr val="tx1"/>
          </a:solidFill>
          <a:latin typeface="+mn-lt"/>
          <a:ea typeface="+mn-ea"/>
          <a:cs typeface="+mn-cs"/>
        </a:defRPr>
      </a:lvl8pPr>
      <a:lvl9pPr marL="1200150" algn="l" defTabSz="533400" rtl="0" eaLnBrk="1" latinLnBrk="0" hangingPunct="1">
        <a:defRPr sz="10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4.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8.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5.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hyperlink" Target="https://run.unl.pt/bitstream/10362/80955/1/TEGI0458.pdf" TargetMode="External"/><Relationship Id="rId3" Type="http://schemas.openxmlformats.org/officeDocument/2006/relationships/oleObject" Target="../embeddings/oleObject25.bin"/><Relationship Id="rId7" Type="http://schemas.openxmlformats.org/officeDocument/2006/relationships/hyperlink" Target="https://doi.org/10.1007/978-3-031-25847-3_13" TargetMode="External"/><Relationship Id="rId2" Type="http://schemas.openxmlformats.org/officeDocument/2006/relationships/slideLayout" Target="../slideLayouts/slideLayout5.xml"/><Relationship Id="rId1" Type="http://schemas.openxmlformats.org/officeDocument/2006/relationships/tags" Target="../tags/tag40.xml"/><Relationship Id="rId6" Type="http://schemas.microsoft.com/office/2007/relationships/hdphoto" Target="../media/hdphoto2.wdp"/><Relationship Id="rId5" Type="http://schemas.openxmlformats.org/officeDocument/2006/relationships/image" Target="../media/image25.png"/><Relationship Id="rId10" Type="http://schemas.openxmlformats.org/officeDocument/2006/relationships/hyperlink" Target="https://www.researchgate.net/publication/322161863_Market_Basket_Analysis_to_Identify_Customer_Behaviours_by_Way_of_Transaction_Data" TargetMode="External"/><Relationship Id="rId4" Type="http://schemas.openxmlformats.org/officeDocument/2006/relationships/image" Target="../media/image1.emf"/><Relationship Id="rId9" Type="http://schemas.openxmlformats.org/officeDocument/2006/relationships/hyperlink" Target="https://doi.org/10.1007/978-1-4899-7687-1_100284"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oleObject" Target="../embeddings/oleObject25.bin"/><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25.bin"/><Relationship Id="rId7"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00.png"/><Relationship Id="rId2" Type="http://schemas.openxmlformats.org/officeDocument/2006/relationships/slideLayout" Target="../slideLayouts/slideLayout5.xml"/><Relationship Id="rId1" Type="http://schemas.openxmlformats.org/officeDocument/2006/relationships/tags" Target="../tags/tag44.xml"/><Relationship Id="rId6" Type="http://schemas.microsoft.com/office/2014/relationships/chartEx" Target="../charts/chartEx1.xml"/><Relationship Id="rId5" Type="http://schemas.openxmlformats.org/officeDocument/2006/relationships/chart" Target="../charts/chart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chart" Target="../charts/chart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chart" Target="../charts/chart7.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44.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55.jpeg"/><Relationship Id="rId2" Type="http://schemas.openxmlformats.org/officeDocument/2006/relationships/slideLayout" Target="../slideLayouts/slideLayout5.xml"/><Relationship Id="rId1" Type="http://schemas.openxmlformats.org/officeDocument/2006/relationships/tags" Target="../tags/tag5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51.xml"/><Relationship Id="rId5" Type="http://schemas.openxmlformats.org/officeDocument/2006/relationships/image" Target="../media/image54.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4.png"/><Relationship Id="rId7"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4.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52.xml"/><Relationship Id="rId5" Type="http://schemas.openxmlformats.org/officeDocument/2006/relationships/image" Target="../media/image63.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53.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57.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58.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oleObject" Target="../embeddings/oleObject39.bin"/><Relationship Id="rId7" Type="http://schemas.openxmlformats.org/officeDocument/2006/relationships/image" Target="../media/image66.jpeg"/><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svg"/><Relationship Id="rId9" Type="http://schemas.openxmlformats.org/officeDocument/2006/relationships/image" Target="../media/image13.png"/></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5.xml"/><Relationship Id="rId1" Type="http://schemas.openxmlformats.org/officeDocument/2006/relationships/tags" Target="../tags/tag60.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41.bin"/><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61.xml"/><Relationship Id="rId6" Type="http://schemas.microsoft.com/office/2007/relationships/hdphoto" Target="../media/hdphoto1.wdp"/><Relationship Id="rId5" Type="http://schemas.openxmlformats.org/officeDocument/2006/relationships/image" Target="../media/image16.png"/><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9.bin"/><Relationship Id="rId9" Type="http://schemas.openxmlformats.org/officeDocument/2006/relationships/image" Target="../media/image18.sv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5.xml"/><Relationship Id="rId1" Type="http://schemas.openxmlformats.org/officeDocument/2006/relationships/tags" Target="../tags/tag6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hyperlink" Target="http://bit.ly/2Tynxth" TargetMode="External"/><Relationship Id="rId7" Type="http://schemas.openxmlformats.org/officeDocument/2006/relationships/slide" Target="slide71.xml"/><Relationship Id="rId12" Type="http://schemas.openxmlformats.org/officeDocument/2006/relationships/slide" Target="slide82.xml"/><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slide" Target="slide72.xml"/><Relationship Id="rId11" Type="http://schemas.openxmlformats.org/officeDocument/2006/relationships/slide" Target="slide76.xml"/><Relationship Id="rId5" Type="http://schemas.openxmlformats.org/officeDocument/2006/relationships/hyperlink" Target="http://bit.ly/33VAFh3" TargetMode="External"/><Relationship Id="rId10" Type="http://schemas.openxmlformats.org/officeDocument/2006/relationships/slide" Target="slide75.xml"/><Relationship Id="rId4" Type="http://schemas.openxmlformats.org/officeDocument/2006/relationships/hyperlink" Target="http://bit.ly/30B07Gq" TargetMode="External"/><Relationship Id="rId9" Type="http://schemas.openxmlformats.org/officeDocument/2006/relationships/slide" Target="slide7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docs.google.com/spreadsheets/d/1vTu7Se8kTXNeu0nfne0enewkuZP5gXoWv1ZuVc1MnJg/copy"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70.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6.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20.bin"/><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73.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16.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18.svg"/></Relationships>
</file>

<file path=ppt/slides/_rels/slide7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8" Type="http://schemas.openxmlformats.org/officeDocument/2006/relationships/hyperlink" Target="https://www.freepik.com/free-photo/close-up-confident-adult-woman-posing_7075953.htm/?utm_source=slidesgo_template&amp;utm_medium=referral-link&amp;utm_campaign=sg_resources&amp;utm_content=freepik" TargetMode="External"/><Relationship Id="rId3" Type="http://schemas.openxmlformats.org/officeDocument/2006/relationships/hyperlink" Target="https://www.freepik.com/free-vector/abstract-pixel-rain-blue-background_6070946.htm/?utm_source=slidesgo_template&amp;utm_medium=referral-link&amp;utm_campaign=sg_resources&amp;utm_content=freepik" TargetMode="External"/><Relationship Id="rId7" Type="http://schemas.openxmlformats.org/officeDocument/2006/relationships/hyperlink" Target="https://www.freepik.com/free-photo/female-colleagues-discussing-work-office_4856776.htm#page=1&amp;query=4856776&amp;position=0/?utm_source=slidesgo_template&amp;utm_medium=referral-link&amp;utm_campaign=sg_resources&amp;utm_content=freepik"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hyperlink" Target="https://www.freepik.com/free-vector/dashboard-element-collection-template_6100740.htm/?utm_source=slidesgo_template&amp;utm_medium=referral-link&amp;utm_campaign=sg_resources&amp;utm_content=freepik" TargetMode="External"/><Relationship Id="rId5" Type="http://schemas.openxmlformats.org/officeDocument/2006/relationships/hyperlink" Target="https://www.freepik.com/free-vector/red-blue-neon-fingerprint-background_6071002.htm/?utm_source=slidesgo_template&amp;utm_medium=referral-link&amp;utm_campaign=sg_resources&amp;utm_content=freepik" TargetMode="External"/><Relationship Id="rId4" Type="http://schemas.openxmlformats.org/officeDocument/2006/relationships/hyperlink" Target="https://www.freepik.com/free-vector/dashboard-element-collection_6271326.htm/?utm_source=slidesgo_template&amp;utm_medium=referral-link&amp;utm_campaign=sg_resources&amp;utm_content=freepik" TargetMode="External"/><Relationship Id="rId9" Type="http://schemas.openxmlformats.org/officeDocument/2006/relationships/hyperlink" Target="https://www.freepik.com/free-photo/portrait-beautiful-adult-woman-smiling_7075981.htm/?utm_source=slidesgo_template&amp;utm_medium=referral-link&amp;utm_campaign=sg_resources&amp;utm_content=freepik" TargetMode="External"/></Relationships>
</file>

<file path=ppt/slides/_rels/slide74.xml.rels><?xml version="1.0" encoding="UTF-8" standalone="yes"?>
<Relationships xmlns="http://schemas.openxmlformats.org/package/2006/relationships"><Relationship Id="rId3" Type="http://schemas.openxmlformats.org/officeDocument/2006/relationships/hyperlink" Target="http://bit.ly/2PfT4lq" TargetMode="External"/><Relationship Id="rId2" Type="http://schemas.openxmlformats.org/officeDocument/2006/relationships/notesSlide" Target="../notesSlides/notesSlide42.xml"/><Relationship Id="rId1" Type="http://schemas.openxmlformats.org/officeDocument/2006/relationships/slideLayout" Target="../slideLayouts/slideLayout22.xml"/><Relationship Id="rId6" Type="http://schemas.openxmlformats.org/officeDocument/2006/relationships/hyperlink" Target="http://bit.ly/30B07Gq" TargetMode="External"/><Relationship Id="rId5" Type="http://schemas.openxmlformats.org/officeDocument/2006/relationships/hyperlink" Target="http://bit.ly/33VAFh3" TargetMode="External"/><Relationship Id="rId4" Type="http://schemas.openxmlformats.org/officeDocument/2006/relationships/slide" Target="slide71.xml"/></Relationships>
</file>

<file path=ppt/slides/_rels/slide75.xml.rels><?xml version="1.0" encoding="UTF-8" standalone="yes"?>
<Relationships xmlns="http://schemas.openxmlformats.org/package/2006/relationships"><Relationship Id="rId3" Type="http://schemas.openxmlformats.org/officeDocument/2006/relationships/hyperlink" Target="https://fonts.google.com/specimen/Share+Tech" TargetMode="External"/><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hyperlink" Target="https://fonts.google.com/specimen/Maven+Pro?query=mave" TargetMode="Externa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D03BBC9-DBB1-222B-EBC0-88D9C6F2D77D}"/>
              </a:ext>
            </a:extLst>
          </p:cNvPr>
          <p:cNvGraphicFramePr>
            <a:graphicFrameLocks noChangeAspect="1"/>
          </p:cNvGraphicFramePr>
          <p:nvPr>
            <p:custDataLst>
              <p:tags r:id="rId1"/>
            </p:custDataLst>
            <p:extLst>
              <p:ext uri="{D42A27DB-BD31-4B8C-83A1-F6EECF244321}">
                <p14:modId xmlns:p14="http://schemas.microsoft.com/office/powerpoint/2010/main" val="2921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5" name="Google Shape;435;p25"/>
          <p:cNvSpPr txBox="1">
            <a:spLocks noGrp="1"/>
          </p:cNvSpPr>
          <p:nvPr>
            <p:ph type="ctrTitle"/>
          </p:nvPr>
        </p:nvSpPr>
        <p:spPr>
          <a:xfrm>
            <a:off x="1561650" y="751888"/>
            <a:ext cx="6020700" cy="2052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de-DE" dirty="0"/>
              <a:t>Assoziationsanalyse einer Bäckerei</a:t>
            </a:r>
            <a:endParaRPr dirty="0"/>
          </a:p>
        </p:txBody>
      </p:sp>
      <p:sp>
        <p:nvSpPr>
          <p:cNvPr id="436" name="Google Shape;436;p25"/>
          <p:cNvSpPr/>
          <p:nvPr/>
        </p:nvSpPr>
        <p:spPr>
          <a:xfrm>
            <a:off x="1917281" y="4715495"/>
            <a:ext cx="121434" cy="121434"/>
          </a:xfrm>
          <a:custGeom>
            <a:avLst/>
            <a:gdLst/>
            <a:ahLst/>
            <a:cxnLst/>
            <a:rect l="l" t="t" r="r" b="b"/>
            <a:pathLst>
              <a:path w="4634" h="4634" extrusionOk="0">
                <a:moveTo>
                  <a:pt x="1" y="0"/>
                </a:moveTo>
                <a:lnTo>
                  <a:pt x="1" y="4633"/>
                </a:lnTo>
                <a:lnTo>
                  <a:pt x="4634" y="4633"/>
                </a:lnTo>
                <a:lnTo>
                  <a:pt x="4634"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25"/>
          <p:cNvSpPr/>
          <p:nvPr/>
        </p:nvSpPr>
        <p:spPr>
          <a:xfrm>
            <a:off x="7047944" y="3537816"/>
            <a:ext cx="57834" cy="57834"/>
          </a:xfrm>
          <a:custGeom>
            <a:avLst/>
            <a:gdLst/>
            <a:ahLst/>
            <a:cxnLst/>
            <a:rect l="l" t="t" r="r" b="b"/>
            <a:pathLst>
              <a:path w="2207" h="2207" fill="none" extrusionOk="0">
                <a:moveTo>
                  <a:pt x="0" y="1"/>
                </a:moveTo>
                <a:lnTo>
                  <a:pt x="2206" y="1"/>
                </a:lnTo>
                <a:lnTo>
                  <a:pt x="2206" y="2207"/>
                </a:lnTo>
                <a:lnTo>
                  <a:pt x="0" y="2207"/>
                </a:lnTo>
                <a:close/>
              </a:path>
            </a:pathLst>
          </a:custGeom>
          <a:noFill/>
          <a:ln w="1375" cap="flat" cmpd="sng">
            <a:solidFill>
              <a:srgbClr val="E898A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25"/>
          <p:cNvSpPr/>
          <p:nvPr/>
        </p:nvSpPr>
        <p:spPr>
          <a:xfrm>
            <a:off x="2307882" y="3002386"/>
            <a:ext cx="104086" cy="104322"/>
          </a:xfrm>
          <a:custGeom>
            <a:avLst/>
            <a:gdLst/>
            <a:ahLst/>
            <a:cxnLst/>
            <a:rect l="l" t="t" r="r" b="b"/>
            <a:pathLst>
              <a:path w="3972" h="3981" fill="none" extrusionOk="0">
                <a:moveTo>
                  <a:pt x="1" y="1"/>
                </a:moveTo>
                <a:lnTo>
                  <a:pt x="3972" y="1"/>
                </a:lnTo>
                <a:lnTo>
                  <a:pt x="3972" y="3981"/>
                </a:lnTo>
                <a:lnTo>
                  <a:pt x="1" y="3981"/>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25"/>
          <p:cNvSpPr/>
          <p:nvPr/>
        </p:nvSpPr>
        <p:spPr>
          <a:xfrm>
            <a:off x="6293004" y="835609"/>
            <a:ext cx="80476" cy="80476"/>
          </a:xfrm>
          <a:custGeom>
            <a:avLst/>
            <a:gdLst/>
            <a:ahLst/>
            <a:cxnLst/>
            <a:rect l="l" t="t" r="r" b="b"/>
            <a:pathLst>
              <a:path w="3071" h="3071" extrusionOk="0">
                <a:moveTo>
                  <a:pt x="1" y="1"/>
                </a:moveTo>
                <a:lnTo>
                  <a:pt x="1" y="3071"/>
                </a:lnTo>
                <a:lnTo>
                  <a:pt x="3071" y="3071"/>
                </a:lnTo>
                <a:lnTo>
                  <a:pt x="3071"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 name="Google Shape;440;p25"/>
          <p:cNvSpPr/>
          <p:nvPr/>
        </p:nvSpPr>
        <p:spPr>
          <a:xfrm>
            <a:off x="5969504" y="3118803"/>
            <a:ext cx="119993" cy="119966"/>
          </a:xfrm>
          <a:custGeom>
            <a:avLst/>
            <a:gdLst/>
            <a:ahLst/>
            <a:cxnLst/>
            <a:rect l="l" t="t" r="r" b="b"/>
            <a:pathLst>
              <a:path w="4579" h="4578" extrusionOk="0">
                <a:moveTo>
                  <a:pt x="1" y="0"/>
                </a:moveTo>
                <a:lnTo>
                  <a:pt x="1" y="4578"/>
                </a:lnTo>
                <a:lnTo>
                  <a:pt x="4578" y="4578"/>
                </a:lnTo>
                <a:lnTo>
                  <a:pt x="4578"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25"/>
          <p:cNvSpPr/>
          <p:nvPr/>
        </p:nvSpPr>
        <p:spPr>
          <a:xfrm>
            <a:off x="2924242" y="4302208"/>
            <a:ext cx="119993" cy="119993"/>
          </a:xfrm>
          <a:custGeom>
            <a:avLst/>
            <a:gdLst/>
            <a:ahLst/>
            <a:cxnLst/>
            <a:rect l="l" t="t" r="r" b="b"/>
            <a:pathLst>
              <a:path w="4579" h="4579" extrusionOk="0">
                <a:moveTo>
                  <a:pt x="0" y="1"/>
                </a:moveTo>
                <a:lnTo>
                  <a:pt x="0" y="4578"/>
                </a:lnTo>
                <a:lnTo>
                  <a:pt x="4578" y="4578"/>
                </a:lnTo>
                <a:lnTo>
                  <a:pt x="4578"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42" name="Google Shape;442;p25"/>
          <p:cNvGrpSpPr/>
          <p:nvPr/>
        </p:nvGrpSpPr>
        <p:grpSpPr>
          <a:xfrm>
            <a:off x="6232314" y="3696331"/>
            <a:ext cx="121434" cy="1073147"/>
            <a:chOff x="6232314" y="3696331"/>
            <a:chExt cx="121434" cy="1073147"/>
          </a:xfrm>
        </p:grpSpPr>
        <p:sp>
          <p:nvSpPr>
            <p:cNvPr id="443" name="Google Shape;443;p25"/>
            <p:cNvSpPr/>
            <p:nvPr/>
          </p:nvSpPr>
          <p:spPr>
            <a:xfrm>
              <a:off x="6232314" y="4648280"/>
              <a:ext cx="121434" cy="121198"/>
            </a:xfrm>
            <a:custGeom>
              <a:avLst/>
              <a:gdLst/>
              <a:ahLst/>
              <a:cxnLst/>
              <a:rect l="l" t="t" r="r" b="b"/>
              <a:pathLst>
                <a:path w="4634" h="4625" extrusionOk="0">
                  <a:moveTo>
                    <a:pt x="0" y="1"/>
                  </a:moveTo>
                  <a:lnTo>
                    <a:pt x="0" y="4624"/>
                  </a:lnTo>
                  <a:lnTo>
                    <a:pt x="4633" y="4624"/>
                  </a:lnTo>
                  <a:lnTo>
                    <a:pt x="4633" y="1"/>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25"/>
            <p:cNvSpPr/>
            <p:nvPr/>
          </p:nvSpPr>
          <p:spPr>
            <a:xfrm>
              <a:off x="6288681" y="3696331"/>
              <a:ext cx="8700" cy="872731"/>
            </a:xfrm>
            <a:custGeom>
              <a:avLst/>
              <a:gdLst/>
              <a:ahLst/>
              <a:cxnLst/>
              <a:rect l="l" t="t" r="r" b="b"/>
              <a:pathLst>
                <a:path w="332" h="33304" extrusionOk="0">
                  <a:moveTo>
                    <a:pt x="166" y="0"/>
                  </a:moveTo>
                  <a:lnTo>
                    <a:pt x="0" y="33304"/>
                  </a:lnTo>
                  <a:lnTo>
                    <a:pt x="331" y="33304"/>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5" name="Google Shape;445;p25"/>
          <p:cNvGrpSpPr/>
          <p:nvPr/>
        </p:nvGrpSpPr>
        <p:grpSpPr>
          <a:xfrm>
            <a:off x="6780548" y="337714"/>
            <a:ext cx="133252" cy="1952377"/>
            <a:chOff x="6780548" y="337714"/>
            <a:chExt cx="133252" cy="1952377"/>
          </a:xfrm>
        </p:grpSpPr>
        <p:sp>
          <p:nvSpPr>
            <p:cNvPr id="446" name="Google Shape;446;p25"/>
            <p:cNvSpPr/>
            <p:nvPr/>
          </p:nvSpPr>
          <p:spPr>
            <a:xfrm>
              <a:off x="6780548" y="2156839"/>
              <a:ext cx="133252" cy="133252"/>
            </a:xfrm>
            <a:custGeom>
              <a:avLst/>
              <a:gdLst/>
              <a:ahLst/>
              <a:cxnLst/>
              <a:rect l="l" t="t" r="r" b="b"/>
              <a:pathLst>
                <a:path w="5085" h="5085" fill="none" extrusionOk="0">
                  <a:moveTo>
                    <a:pt x="1" y="1"/>
                  </a:moveTo>
                  <a:lnTo>
                    <a:pt x="5084" y="1"/>
                  </a:lnTo>
                  <a:lnTo>
                    <a:pt x="5084" y="5084"/>
                  </a:lnTo>
                  <a:lnTo>
                    <a:pt x="1"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47;p25"/>
            <p:cNvSpPr/>
            <p:nvPr/>
          </p:nvSpPr>
          <p:spPr>
            <a:xfrm>
              <a:off x="6842943" y="337714"/>
              <a:ext cx="8464" cy="1695359"/>
            </a:xfrm>
            <a:custGeom>
              <a:avLst/>
              <a:gdLst/>
              <a:ahLst/>
              <a:cxnLst/>
              <a:rect l="l" t="t" r="r" b="b"/>
              <a:pathLst>
                <a:path w="323" h="64696" extrusionOk="0">
                  <a:moveTo>
                    <a:pt x="157" y="0"/>
                  </a:moveTo>
                  <a:lnTo>
                    <a:pt x="1" y="64695"/>
                  </a:lnTo>
                  <a:lnTo>
                    <a:pt x="322" y="64695"/>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8" name="Google Shape;448;p25"/>
          <p:cNvGrpSpPr/>
          <p:nvPr/>
        </p:nvGrpSpPr>
        <p:grpSpPr>
          <a:xfrm>
            <a:off x="1608717" y="1280046"/>
            <a:ext cx="199237" cy="2828935"/>
            <a:chOff x="1608717" y="1280046"/>
            <a:chExt cx="199237" cy="2828935"/>
          </a:xfrm>
        </p:grpSpPr>
        <p:sp>
          <p:nvSpPr>
            <p:cNvPr id="449" name="Google Shape;449;p25"/>
            <p:cNvSpPr/>
            <p:nvPr/>
          </p:nvSpPr>
          <p:spPr>
            <a:xfrm>
              <a:off x="1608717" y="3909744"/>
              <a:ext cx="199237" cy="199237"/>
            </a:xfrm>
            <a:custGeom>
              <a:avLst/>
              <a:gdLst/>
              <a:ahLst/>
              <a:cxnLst/>
              <a:rect l="l" t="t" r="r" b="b"/>
              <a:pathLst>
                <a:path w="7603" h="7603" extrusionOk="0">
                  <a:moveTo>
                    <a:pt x="0" y="1"/>
                  </a:moveTo>
                  <a:lnTo>
                    <a:pt x="0" y="7602"/>
                  </a:lnTo>
                  <a:lnTo>
                    <a:pt x="7602" y="7602"/>
                  </a:lnTo>
                  <a:lnTo>
                    <a:pt x="7602"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25"/>
            <p:cNvSpPr/>
            <p:nvPr/>
          </p:nvSpPr>
          <p:spPr>
            <a:xfrm>
              <a:off x="1656175" y="3269477"/>
              <a:ext cx="104086" cy="104086"/>
            </a:xfrm>
            <a:custGeom>
              <a:avLst/>
              <a:gdLst/>
              <a:ahLst/>
              <a:cxnLst/>
              <a:rect l="l" t="t" r="r" b="b"/>
              <a:pathLst>
                <a:path w="3972" h="3972" extrusionOk="0">
                  <a:moveTo>
                    <a:pt x="0" y="1"/>
                  </a:moveTo>
                  <a:lnTo>
                    <a:pt x="0" y="3972"/>
                  </a:lnTo>
                  <a:lnTo>
                    <a:pt x="3971" y="3972"/>
                  </a:lnTo>
                  <a:lnTo>
                    <a:pt x="3971"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25"/>
            <p:cNvSpPr/>
            <p:nvPr/>
          </p:nvSpPr>
          <p:spPr>
            <a:xfrm>
              <a:off x="1704104" y="1280046"/>
              <a:ext cx="8464" cy="1794099"/>
            </a:xfrm>
            <a:custGeom>
              <a:avLst/>
              <a:gdLst/>
              <a:ahLst/>
              <a:cxnLst/>
              <a:rect l="l" t="t" r="r" b="b"/>
              <a:pathLst>
                <a:path w="323" h="68464" extrusionOk="0">
                  <a:moveTo>
                    <a:pt x="157" y="0"/>
                  </a:moveTo>
                  <a:lnTo>
                    <a:pt x="0" y="68464"/>
                  </a:lnTo>
                  <a:lnTo>
                    <a:pt x="322" y="68464"/>
                  </a:lnTo>
                  <a:lnTo>
                    <a:pt x="15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2" name="Google Shape;452;p25"/>
          <p:cNvSpPr/>
          <p:nvPr/>
        </p:nvSpPr>
        <p:spPr>
          <a:xfrm>
            <a:off x="2355692" y="3696328"/>
            <a:ext cx="8464" cy="2519663"/>
          </a:xfrm>
          <a:custGeom>
            <a:avLst/>
            <a:gdLst/>
            <a:ahLst/>
            <a:cxnLst/>
            <a:rect l="l" t="t" r="r" b="b"/>
            <a:pathLst>
              <a:path w="323" h="96152" extrusionOk="0">
                <a:moveTo>
                  <a:pt x="166" y="1"/>
                </a:moveTo>
                <a:lnTo>
                  <a:pt x="1" y="96151"/>
                </a:lnTo>
                <a:lnTo>
                  <a:pt x="322" y="96151"/>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53;p25"/>
          <p:cNvSpPr/>
          <p:nvPr/>
        </p:nvSpPr>
        <p:spPr>
          <a:xfrm>
            <a:off x="7446601" y="3454956"/>
            <a:ext cx="8464" cy="1689096"/>
          </a:xfrm>
          <a:custGeom>
            <a:avLst/>
            <a:gdLst/>
            <a:ahLst/>
            <a:cxnLst/>
            <a:rect l="l" t="t" r="r" b="b"/>
            <a:pathLst>
              <a:path w="323" h="64457" extrusionOk="0">
                <a:moveTo>
                  <a:pt x="157" y="1"/>
                </a:moveTo>
                <a:lnTo>
                  <a:pt x="0" y="64456"/>
                </a:lnTo>
                <a:lnTo>
                  <a:pt x="322" y="64456"/>
                </a:lnTo>
                <a:lnTo>
                  <a:pt x="15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4" name="Google Shape;454;p25"/>
          <p:cNvGrpSpPr/>
          <p:nvPr/>
        </p:nvGrpSpPr>
        <p:grpSpPr>
          <a:xfrm>
            <a:off x="8008096" y="2108910"/>
            <a:ext cx="199001" cy="2139769"/>
            <a:chOff x="8008096" y="2108910"/>
            <a:chExt cx="199001" cy="2139769"/>
          </a:xfrm>
        </p:grpSpPr>
        <p:sp>
          <p:nvSpPr>
            <p:cNvPr id="455" name="Google Shape;455;p25"/>
            <p:cNvSpPr/>
            <p:nvPr/>
          </p:nvSpPr>
          <p:spPr>
            <a:xfrm>
              <a:off x="8008096" y="4049705"/>
              <a:ext cx="199001" cy="198975"/>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25"/>
            <p:cNvSpPr/>
            <p:nvPr/>
          </p:nvSpPr>
          <p:spPr>
            <a:xfrm>
              <a:off x="8103246" y="2108910"/>
              <a:ext cx="8464" cy="1793863"/>
            </a:xfrm>
            <a:custGeom>
              <a:avLst/>
              <a:gdLst/>
              <a:ahLst/>
              <a:cxnLst/>
              <a:rect l="l" t="t" r="r" b="b"/>
              <a:pathLst>
                <a:path w="323" h="68455" extrusionOk="0">
                  <a:moveTo>
                    <a:pt x="166" y="1"/>
                  </a:moveTo>
                  <a:lnTo>
                    <a:pt x="0" y="68455"/>
                  </a:lnTo>
                  <a:lnTo>
                    <a:pt x="322" y="68455"/>
                  </a:lnTo>
                  <a:lnTo>
                    <a:pt x="166"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7" name="Google Shape;457;p25"/>
          <p:cNvGrpSpPr/>
          <p:nvPr/>
        </p:nvGrpSpPr>
        <p:grpSpPr>
          <a:xfrm>
            <a:off x="4472500" y="3928605"/>
            <a:ext cx="199001" cy="867198"/>
            <a:chOff x="4475150" y="4052605"/>
            <a:chExt cx="199001" cy="867198"/>
          </a:xfrm>
        </p:grpSpPr>
        <p:sp>
          <p:nvSpPr>
            <p:cNvPr id="458" name="Google Shape;458;p25"/>
            <p:cNvSpPr/>
            <p:nvPr/>
          </p:nvSpPr>
          <p:spPr>
            <a:xfrm>
              <a:off x="4475150" y="4052605"/>
              <a:ext cx="199001" cy="220121"/>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59;p25"/>
            <p:cNvSpPr/>
            <p:nvPr/>
          </p:nvSpPr>
          <p:spPr>
            <a:xfrm>
              <a:off x="4522600" y="4494201"/>
              <a:ext cx="104095" cy="115148"/>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60;p25"/>
            <p:cNvSpPr/>
            <p:nvPr/>
          </p:nvSpPr>
          <p:spPr>
            <a:xfrm>
              <a:off x="4534403" y="4830814"/>
              <a:ext cx="80477" cy="88990"/>
            </a:xfrm>
            <a:custGeom>
              <a:avLst/>
              <a:gdLst/>
              <a:ahLst/>
              <a:cxnLst/>
              <a:rect l="l" t="t" r="r" b="b"/>
              <a:pathLst>
                <a:path w="7594" h="7593" extrusionOk="0">
                  <a:moveTo>
                    <a:pt x="1" y="0"/>
                  </a:moveTo>
                  <a:lnTo>
                    <a:pt x="1" y="7593"/>
                  </a:lnTo>
                  <a:lnTo>
                    <a:pt x="7593" y="7593"/>
                  </a:lnTo>
                  <a:lnTo>
                    <a:pt x="7593"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34" name="Google Shape;434;p25"/>
          <p:cNvSpPr txBox="1">
            <a:spLocks noGrp="1"/>
          </p:cNvSpPr>
          <p:nvPr>
            <p:ph type="subTitle" idx="1"/>
          </p:nvPr>
        </p:nvSpPr>
        <p:spPr>
          <a:xfrm>
            <a:off x="2924250" y="2804488"/>
            <a:ext cx="32955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eam 3</a:t>
            </a:r>
          </a:p>
          <a:p>
            <a:pPr marL="0" lvl="0" indent="0" algn="ctr" rtl="0">
              <a:spcBef>
                <a:spcPts val="0"/>
              </a:spcBef>
              <a:spcAft>
                <a:spcPts val="0"/>
              </a:spcAft>
              <a:buNone/>
            </a:pPr>
            <a:r>
              <a:rPr lang="en" dirty="0"/>
              <a:t>Alexandra Speer</a:t>
            </a:r>
          </a:p>
          <a:p>
            <a:pPr marL="0" lvl="0" indent="0" algn="ctr" rtl="0">
              <a:spcBef>
                <a:spcPts val="0"/>
              </a:spcBef>
              <a:spcAft>
                <a:spcPts val="0"/>
              </a:spcAft>
              <a:buNone/>
            </a:pPr>
            <a:r>
              <a:rPr lang="en" dirty="0"/>
              <a:t>Alexander Benz</a:t>
            </a:r>
          </a:p>
          <a:p>
            <a:pPr marL="0" lvl="0" indent="0" algn="ctr" rtl="0">
              <a:spcBef>
                <a:spcPts val="0"/>
              </a:spcBef>
              <a:spcAft>
                <a:spcPts val="0"/>
              </a:spcAft>
              <a:buNone/>
            </a:pPr>
            <a:r>
              <a:rPr lang="en" dirty="0"/>
              <a:t>Niels-Janos Simmet</a:t>
            </a:r>
          </a:p>
          <a:p>
            <a:pPr marL="0" indent="0"/>
            <a:r>
              <a:rPr lang="en" dirty="0"/>
              <a:t>Raghid Allaham</a:t>
            </a:r>
          </a:p>
          <a:p>
            <a:pPr marL="0" lvl="0" indent="0" algn="ctr" rtl="0">
              <a:spcBef>
                <a:spcPts val="0"/>
              </a:spcBef>
              <a:spcAft>
                <a:spcPts val="0"/>
              </a:spcAft>
              <a:buNone/>
            </a:pPr>
            <a:r>
              <a:rPr lang="en" dirty="0"/>
              <a:t> </a:t>
            </a:r>
          </a:p>
          <a:p>
            <a:pPr marL="0" lvl="0" indent="0" algn="ctr" rtl="0">
              <a:spcBef>
                <a:spcPts val="0"/>
              </a:spcBef>
              <a:spcAft>
                <a:spcPts val="0"/>
              </a:spcAft>
              <a:buNone/>
            </a:pPr>
            <a:r>
              <a:rPr lang="en" dirty="0"/>
              <a:t>18.03.2023</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4" progId="TCLayout.ActiveDocument.1">
                  <p:embed/>
                </p:oleObj>
              </mc:Choice>
              <mc:Fallback>
                <p:oleObj name="think-cell Folie" r:id="rId1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Domain Exploration</a:t>
            </a:r>
          </a:p>
        </p:txBody>
      </p:sp>
      <p:grpSp>
        <p:nvGrpSpPr>
          <p:cNvPr id="7" name="Graphic 26">
            <a:extLst>
              <a:ext uri="{FF2B5EF4-FFF2-40B4-BE49-F238E27FC236}">
                <a16:creationId xmlns:a16="http://schemas.microsoft.com/office/drawing/2014/main" id="{1BA41476-9D21-9515-9B56-8207E3CD2447}"/>
              </a:ext>
            </a:extLst>
          </p:cNvPr>
          <p:cNvGrpSpPr/>
          <p:nvPr>
            <p:custDataLst>
              <p:tags r:id="rId2"/>
            </p:custDataLst>
          </p:nvPr>
        </p:nvGrpSpPr>
        <p:grpSpPr>
          <a:xfrm>
            <a:off x="2328205" y="1077601"/>
            <a:ext cx="2997342" cy="3072527"/>
            <a:chOff x="3966744" y="1486293"/>
            <a:chExt cx="4471165" cy="4403779"/>
          </a:xfrm>
          <a:solidFill>
            <a:srgbClr val="6295B6">
              <a:alpha val="50196"/>
            </a:srgbClr>
          </a:solidFill>
        </p:grpSpPr>
        <p:sp>
          <p:nvSpPr>
            <p:cNvPr id="8" name="Freeform: Shape 24">
              <a:extLst>
                <a:ext uri="{FF2B5EF4-FFF2-40B4-BE49-F238E27FC236}">
                  <a16:creationId xmlns:a16="http://schemas.microsoft.com/office/drawing/2014/main" id="{139981C7-EAFE-535C-9CBE-A8DDDC5A039D}"/>
                </a:ext>
              </a:extLst>
            </p:cNvPr>
            <p:cNvSpPr/>
            <p:nvPr>
              <p:custDataLst>
                <p:tags r:id="rId9"/>
              </p:custDataLst>
            </p:nvPr>
          </p:nvSpPr>
          <p:spPr>
            <a:xfrm>
              <a:off x="4742786" y="3391272"/>
              <a:ext cx="2657097" cy="1790698"/>
            </a:xfrm>
            <a:custGeom>
              <a:avLst/>
              <a:gdLst>
                <a:gd name="connsiteX0" fmla="*/ 1585415 w 2657097"/>
                <a:gd name="connsiteY0" fmla="*/ 1763879 h 1790698"/>
                <a:gd name="connsiteX1" fmla="*/ 26749 w 2657097"/>
                <a:gd name="connsiteY1" fmla="*/ 733288 h 1790698"/>
                <a:gd name="connsiteX2" fmla="*/ 74180 w 2657097"/>
                <a:gd name="connsiteY2" fmla="*/ 32430 h 1790698"/>
                <a:gd name="connsiteX3" fmla="*/ 136067 w 2657097"/>
                <a:gd name="connsiteY3" fmla="*/ 2724 h 1790698"/>
                <a:gd name="connsiteX4" fmla="*/ 165773 w 2657097"/>
                <a:gd name="connsiteY4" fmla="*/ 64611 h 1790698"/>
                <a:gd name="connsiteX5" fmla="*/ 121907 w 2657097"/>
                <a:gd name="connsiteY5" fmla="*/ 713979 h 1790698"/>
                <a:gd name="connsiteX6" fmla="*/ 1566106 w 2657097"/>
                <a:gd name="connsiteY6" fmla="*/ 1668821 h 1790698"/>
                <a:gd name="connsiteX7" fmla="*/ 2565510 w 2657097"/>
                <a:gd name="connsiteY7" fmla="*/ 576738 h 1790698"/>
                <a:gd name="connsiteX8" fmla="*/ 2625912 w 2657097"/>
                <a:gd name="connsiteY8" fmla="*/ 544260 h 1790698"/>
                <a:gd name="connsiteX9" fmla="*/ 2656211 w 2657097"/>
                <a:gd name="connsiteY9" fmla="*/ 603276 h 1790698"/>
                <a:gd name="connsiteX10" fmla="*/ 1585415 w 2657097"/>
                <a:gd name="connsiteY10" fmla="*/ 1763879 h 179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7097" h="1790698">
                  <a:moveTo>
                    <a:pt x="1585415" y="1763879"/>
                  </a:moveTo>
                  <a:cubicBezTo>
                    <a:pt x="871583" y="1909537"/>
                    <a:pt x="172308" y="1447216"/>
                    <a:pt x="26749" y="733288"/>
                  </a:cubicBezTo>
                  <a:cubicBezTo>
                    <a:pt x="-20978" y="499107"/>
                    <a:pt x="-4640" y="256708"/>
                    <a:pt x="74180" y="32430"/>
                  </a:cubicBezTo>
                  <a:cubicBezTo>
                    <a:pt x="83091" y="7180"/>
                    <a:pt x="110718" y="-6089"/>
                    <a:pt x="136067" y="2724"/>
                  </a:cubicBezTo>
                  <a:cubicBezTo>
                    <a:pt x="161317" y="11636"/>
                    <a:pt x="174585" y="39262"/>
                    <a:pt x="165773" y="64611"/>
                  </a:cubicBezTo>
                  <a:cubicBezTo>
                    <a:pt x="92795" y="272453"/>
                    <a:pt x="77645" y="496929"/>
                    <a:pt x="121907" y="713979"/>
                  </a:cubicBezTo>
                  <a:cubicBezTo>
                    <a:pt x="256871" y="1375427"/>
                    <a:pt x="903864" y="1799725"/>
                    <a:pt x="1566106" y="1668821"/>
                  </a:cubicBezTo>
                  <a:cubicBezTo>
                    <a:pt x="2046846" y="1573862"/>
                    <a:pt x="2476095" y="1175508"/>
                    <a:pt x="2565510" y="576738"/>
                  </a:cubicBezTo>
                  <a:cubicBezTo>
                    <a:pt x="2569470" y="550201"/>
                    <a:pt x="2600266" y="536537"/>
                    <a:pt x="2625912" y="544260"/>
                  </a:cubicBezTo>
                  <a:cubicBezTo>
                    <a:pt x="2651558" y="551984"/>
                    <a:pt x="2660073" y="576738"/>
                    <a:pt x="2656211" y="603276"/>
                  </a:cubicBezTo>
                  <a:cubicBezTo>
                    <a:pt x="2556994" y="1271754"/>
                    <a:pt x="2062689" y="1666544"/>
                    <a:pt x="1585415" y="1763879"/>
                  </a:cubicBezTo>
                  <a:close/>
                </a:path>
              </a:pathLst>
            </a:custGeom>
            <a:grpFill/>
            <a:ln w="10983" cap="rnd">
              <a:noFill/>
              <a:prstDash val="solid"/>
              <a:round/>
            </a:ln>
          </p:spPr>
          <p:txBody>
            <a:bodyPr rtlCol="0" anchor="ctr"/>
            <a:lstStyle/>
            <a:p>
              <a:pPr defTabSz="685800">
                <a:spcBef>
                  <a:spcPct val="0"/>
                </a:spcBef>
                <a:spcAft>
                  <a:spcPct val="0"/>
                </a:spcAft>
                <a:buClrTx/>
                <a:defRPr/>
              </a:pPr>
              <a:endParaRPr lang="en-US" sz="1350">
                <a:solidFill>
                  <a:srgbClr val="FFC000"/>
                </a:solidFill>
              </a:endParaRPr>
            </a:p>
          </p:txBody>
        </p:sp>
        <p:sp>
          <p:nvSpPr>
            <p:cNvPr id="9" name="Freeform: Shape 25">
              <a:extLst>
                <a:ext uri="{FF2B5EF4-FFF2-40B4-BE49-F238E27FC236}">
                  <a16:creationId xmlns:a16="http://schemas.microsoft.com/office/drawing/2014/main" id="{60A4BEB2-472B-3AB0-0E82-0CB444D7F8E3}"/>
                </a:ext>
              </a:extLst>
            </p:cNvPr>
            <p:cNvSpPr/>
            <p:nvPr>
              <p:custDataLst>
                <p:tags r:id="rId10"/>
              </p:custDataLst>
            </p:nvPr>
          </p:nvSpPr>
          <p:spPr>
            <a:xfrm>
              <a:off x="3966744" y="1486293"/>
              <a:ext cx="4471165" cy="4403779"/>
            </a:xfrm>
            <a:custGeom>
              <a:avLst/>
              <a:gdLst>
                <a:gd name="connsiteX0" fmla="*/ 4098357 w 4471165"/>
                <a:gd name="connsiteY0" fmla="*/ 3610240 h 4403779"/>
                <a:gd name="connsiteX1" fmla="*/ 4073603 w 4471165"/>
                <a:gd name="connsiteY1" fmla="*/ 3603507 h 4403779"/>
                <a:gd name="connsiteX2" fmla="*/ 4056670 w 4471165"/>
                <a:gd name="connsiteY2" fmla="*/ 3537064 h 4403779"/>
                <a:gd name="connsiteX3" fmla="*/ 4374127 w 4471165"/>
                <a:gd name="connsiteY3" fmla="*/ 2376164 h 4403779"/>
                <a:gd name="connsiteX4" fmla="*/ 2095095 w 4471165"/>
                <a:gd name="connsiteY4" fmla="*/ 97138 h 4403779"/>
                <a:gd name="connsiteX5" fmla="*/ 91138 w 4471165"/>
                <a:gd name="connsiteY5" fmla="*/ 1289824 h 4403779"/>
                <a:gd name="connsiteX6" fmla="*/ 25389 w 4471165"/>
                <a:gd name="connsiteY6" fmla="*/ 1309331 h 4403779"/>
                <a:gd name="connsiteX7" fmla="*/ 5883 w 4471165"/>
                <a:gd name="connsiteY7" fmla="*/ 1243582 h 4403779"/>
                <a:gd name="connsiteX8" fmla="*/ 2095095 w 4471165"/>
                <a:gd name="connsiteY8" fmla="*/ 0 h 4403779"/>
                <a:gd name="connsiteX9" fmla="*/ 4471166 w 4471165"/>
                <a:gd name="connsiteY9" fmla="*/ 2376065 h 4403779"/>
                <a:gd name="connsiteX10" fmla="*/ 4140144 w 4471165"/>
                <a:gd name="connsiteY10" fmla="*/ 3586475 h 4403779"/>
                <a:gd name="connsiteX11" fmla="*/ 4098357 w 4471165"/>
                <a:gd name="connsiteY11" fmla="*/ 3610240 h 4403779"/>
                <a:gd name="connsiteX12" fmla="*/ 2597123 w 4471165"/>
                <a:gd name="connsiteY12" fmla="*/ 4403780 h 4403779"/>
                <a:gd name="connsiteX13" fmla="*/ 2550089 w 4471165"/>
                <a:gd name="connsiteY13" fmla="*/ 4366944 h 4403779"/>
                <a:gd name="connsiteX14" fmla="*/ 2585439 w 4471165"/>
                <a:gd name="connsiteY14" fmla="*/ 4308127 h 4403779"/>
                <a:gd name="connsiteX15" fmla="*/ 4098655 w 4471165"/>
                <a:gd name="connsiteY15" fmla="*/ 2370916 h 4403779"/>
                <a:gd name="connsiteX16" fmla="*/ 2102719 w 4471165"/>
                <a:gd name="connsiteY16" fmla="*/ 374986 h 4403779"/>
                <a:gd name="connsiteX17" fmla="*/ 1484639 w 4471165"/>
                <a:gd name="connsiteY17" fmla="*/ 472520 h 4403779"/>
                <a:gd name="connsiteX18" fmla="*/ 1423445 w 4471165"/>
                <a:gd name="connsiteY18" fmla="*/ 441428 h 4403779"/>
                <a:gd name="connsiteX19" fmla="*/ 1454538 w 4471165"/>
                <a:gd name="connsiteY19" fmla="*/ 380234 h 4403779"/>
                <a:gd name="connsiteX20" fmla="*/ 2102620 w 4471165"/>
                <a:gd name="connsiteY20" fmla="*/ 277947 h 4403779"/>
                <a:gd name="connsiteX21" fmla="*/ 4195595 w 4471165"/>
                <a:gd name="connsiteY21" fmla="*/ 2370916 h 4403779"/>
                <a:gd name="connsiteX22" fmla="*/ 2608709 w 4471165"/>
                <a:gd name="connsiteY22" fmla="*/ 4402294 h 4403779"/>
                <a:gd name="connsiteX23" fmla="*/ 2597123 w 4471165"/>
                <a:gd name="connsiteY23" fmla="*/ 4403780 h 4403779"/>
                <a:gd name="connsiteX24" fmla="*/ 2097669 w 4471165"/>
                <a:gd name="connsiteY24" fmla="*/ 4209306 h 4403779"/>
                <a:gd name="connsiteX25" fmla="*/ 1140943 w 4471165"/>
                <a:gd name="connsiteY25" fmla="*/ 3940568 h 4403779"/>
                <a:gd name="connsiteX26" fmla="*/ 1124902 w 4471165"/>
                <a:gd name="connsiteY26" fmla="*/ 3873829 h 4403779"/>
                <a:gd name="connsiteX27" fmla="*/ 1191641 w 4471165"/>
                <a:gd name="connsiteY27" fmla="*/ 3857788 h 4403779"/>
                <a:gd name="connsiteX28" fmla="*/ 2097768 w 4471165"/>
                <a:gd name="connsiteY28" fmla="*/ 4112267 h 4403779"/>
                <a:gd name="connsiteX29" fmla="*/ 3836649 w 4471165"/>
                <a:gd name="connsiteY29" fmla="*/ 2373391 h 4403779"/>
                <a:gd name="connsiteX30" fmla="*/ 2887052 w 4471165"/>
                <a:gd name="connsiteY30" fmla="*/ 823543 h 4403779"/>
                <a:gd name="connsiteX31" fmla="*/ 2865862 w 4471165"/>
                <a:gd name="connsiteY31" fmla="*/ 758289 h 4403779"/>
                <a:gd name="connsiteX32" fmla="*/ 2931116 w 4471165"/>
                <a:gd name="connsiteY32" fmla="*/ 737099 h 4403779"/>
                <a:gd name="connsiteX33" fmla="*/ 3933688 w 4471165"/>
                <a:gd name="connsiteY33" fmla="*/ 2373391 h 4403779"/>
                <a:gd name="connsiteX34" fmla="*/ 2097669 w 4471165"/>
                <a:gd name="connsiteY34" fmla="*/ 4209306 h 4403779"/>
                <a:gd name="connsiteX35" fmla="*/ 2095095 w 4471165"/>
                <a:gd name="connsiteY35" fmla="*/ 3962055 h 4403779"/>
                <a:gd name="connsiteX36" fmla="*/ 555639 w 4471165"/>
                <a:gd name="connsiteY36" fmla="*/ 2774518 h 4403779"/>
                <a:gd name="connsiteX37" fmla="*/ 590296 w 4471165"/>
                <a:gd name="connsiteY37" fmla="*/ 2715304 h 4403779"/>
                <a:gd name="connsiteX38" fmla="*/ 649509 w 4471165"/>
                <a:gd name="connsiteY38" fmla="*/ 2749961 h 4403779"/>
                <a:gd name="connsiteX39" fmla="*/ 2095095 w 4471165"/>
                <a:gd name="connsiteY39" fmla="*/ 3865016 h 4403779"/>
                <a:gd name="connsiteX40" fmla="*/ 3589100 w 4471165"/>
                <a:gd name="connsiteY40" fmla="*/ 2371015 h 4403779"/>
                <a:gd name="connsiteX41" fmla="*/ 3527312 w 4471165"/>
                <a:gd name="connsiteY41" fmla="*/ 2192780 h 4403779"/>
                <a:gd name="connsiteX42" fmla="*/ 3558800 w 4471165"/>
                <a:gd name="connsiteY42" fmla="*/ 2131784 h 4403779"/>
                <a:gd name="connsiteX43" fmla="*/ 3619796 w 4471165"/>
                <a:gd name="connsiteY43" fmla="*/ 2163272 h 4403779"/>
                <a:gd name="connsiteX44" fmla="*/ 3686140 w 4471165"/>
                <a:gd name="connsiteY44" fmla="*/ 2371015 h 4403779"/>
                <a:gd name="connsiteX45" fmla="*/ 2095095 w 4471165"/>
                <a:gd name="connsiteY45" fmla="*/ 3962055 h 440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471165" h="4403779">
                  <a:moveTo>
                    <a:pt x="4098357" y="3610240"/>
                  </a:moveTo>
                  <a:cubicBezTo>
                    <a:pt x="4089941" y="3610240"/>
                    <a:pt x="4081425" y="3608061"/>
                    <a:pt x="4073603" y="3603507"/>
                  </a:cubicBezTo>
                  <a:cubicBezTo>
                    <a:pt x="4050531" y="3589842"/>
                    <a:pt x="4043006" y="3560037"/>
                    <a:pt x="4056670" y="3537064"/>
                  </a:cubicBezTo>
                  <a:cubicBezTo>
                    <a:pt x="4264314" y="3186933"/>
                    <a:pt x="4374127" y="2785509"/>
                    <a:pt x="4374127" y="2376164"/>
                  </a:cubicBezTo>
                  <a:cubicBezTo>
                    <a:pt x="4374127" y="1119511"/>
                    <a:pt x="3351751" y="97138"/>
                    <a:pt x="2095095" y="97138"/>
                  </a:cubicBezTo>
                  <a:cubicBezTo>
                    <a:pt x="1258677" y="97138"/>
                    <a:pt x="490781" y="554210"/>
                    <a:pt x="91138" y="1289824"/>
                  </a:cubicBezTo>
                  <a:cubicBezTo>
                    <a:pt x="78365" y="1313391"/>
                    <a:pt x="48956" y="1322104"/>
                    <a:pt x="25389" y="1309331"/>
                  </a:cubicBezTo>
                  <a:cubicBezTo>
                    <a:pt x="1823" y="1296557"/>
                    <a:pt x="-6891" y="1267050"/>
                    <a:pt x="5883" y="1243582"/>
                  </a:cubicBezTo>
                  <a:cubicBezTo>
                    <a:pt x="422557" y="476381"/>
                    <a:pt x="1223129" y="0"/>
                    <a:pt x="2095095" y="0"/>
                  </a:cubicBezTo>
                  <a:cubicBezTo>
                    <a:pt x="3405221" y="0"/>
                    <a:pt x="4471166" y="1065942"/>
                    <a:pt x="4471166" y="2376065"/>
                  </a:cubicBezTo>
                  <a:cubicBezTo>
                    <a:pt x="4471166" y="2802837"/>
                    <a:pt x="4356700" y="3221392"/>
                    <a:pt x="4140144" y="3586475"/>
                  </a:cubicBezTo>
                  <a:cubicBezTo>
                    <a:pt x="4131133" y="3601724"/>
                    <a:pt x="4114993" y="3610240"/>
                    <a:pt x="4098357" y="3610240"/>
                  </a:cubicBezTo>
                  <a:close/>
                  <a:moveTo>
                    <a:pt x="2597123" y="4403780"/>
                  </a:moveTo>
                  <a:cubicBezTo>
                    <a:pt x="2575339" y="4403780"/>
                    <a:pt x="2555535" y="4389026"/>
                    <a:pt x="2550089" y="4366944"/>
                  </a:cubicBezTo>
                  <a:cubicBezTo>
                    <a:pt x="2543653" y="4340903"/>
                    <a:pt x="2559496" y="4314563"/>
                    <a:pt x="2585439" y="4308127"/>
                  </a:cubicBezTo>
                  <a:cubicBezTo>
                    <a:pt x="3476416" y="4086819"/>
                    <a:pt x="4098655" y="3290210"/>
                    <a:pt x="4098655" y="2370916"/>
                  </a:cubicBezTo>
                  <a:cubicBezTo>
                    <a:pt x="4098655" y="1270317"/>
                    <a:pt x="3203221" y="374986"/>
                    <a:pt x="2102719" y="374986"/>
                  </a:cubicBezTo>
                  <a:cubicBezTo>
                    <a:pt x="1891511" y="374986"/>
                    <a:pt x="1683570" y="407761"/>
                    <a:pt x="1484639" y="472520"/>
                  </a:cubicBezTo>
                  <a:cubicBezTo>
                    <a:pt x="1459191" y="480837"/>
                    <a:pt x="1431763" y="466875"/>
                    <a:pt x="1423445" y="441428"/>
                  </a:cubicBezTo>
                  <a:cubicBezTo>
                    <a:pt x="1415128" y="415980"/>
                    <a:pt x="1429089" y="388551"/>
                    <a:pt x="1454538" y="380234"/>
                  </a:cubicBezTo>
                  <a:cubicBezTo>
                    <a:pt x="1663171" y="312406"/>
                    <a:pt x="1881212" y="277947"/>
                    <a:pt x="2102620" y="277947"/>
                  </a:cubicBezTo>
                  <a:cubicBezTo>
                    <a:pt x="3256692" y="277947"/>
                    <a:pt x="4195595" y="1216847"/>
                    <a:pt x="4195595" y="2370916"/>
                  </a:cubicBezTo>
                  <a:cubicBezTo>
                    <a:pt x="4195595" y="3334867"/>
                    <a:pt x="3543056" y="4170193"/>
                    <a:pt x="2608709" y="4402294"/>
                  </a:cubicBezTo>
                  <a:cubicBezTo>
                    <a:pt x="2604946" y="4403285"/>
                    <a:pt x="2600985" y="4403780"/>
                    <a:pt x="2597123" y="4403780"/>
                  </a:cubicBezTo>
                  <a:close/>
                  <a:moveTo>
                    <a:pt x="2097669" y="4209306"/>
                  </a:moveTo>
                  <a:cubicBezTo>
                    <a:pt x="1759121" y="4209306"/>
                    <a:pt x="1428297" y="4116426"/>
                    <a:pt x="1140943" y="3940568"/>
                  </a:cubicBezTo>
                  <a:cubicBezTo>
                    <a:pt x="1118069" y="3926606"/>
                    <a:pt x="1110940" y="3896702"/>
                    <a:pt x="1124902" y="3873829"/>
                  </a:cubicBezTo>
                  <a:cubicBezTo>
                    <a:pt x="1138863" y="3850955"/>
                    <a:pt x="1168767" y="3843727"/>
                    <a:pt x="1191641" y="3857788"/>
                  </a:cubicBezTo>
                  <a:cubicBezTo>
                    <a:pt x="1463746" y="4024239"/>
                    <a:pt x="1777044" y="4112267"/>
                    <a:pt x="2097768" y="4112267"/>
                  </a:cubicBezTo>
                  <a:cubicBezTo>
                    <a:pt x="3056574" y="4112267"/>
                    <a:pt x="3836649" y="3332194"/>
                    <a:pt x="3836649" y="2373391"/>
                  </a:cubicBezTo>
                  <a:cubicBezTo>
                    <a:pt x="3836649" y="1716300"/>
                    <a:pt x="3472752" y="1122482"/>
                    <a:pt x="2887052" y="823543"/>
                  </a:cubicBezTo>
                  <a:cubicBezTo>
                    <a:pt x="2863189" y="811363"/>
                    <a:pt x="2853683" y="782153"/>
                    <a:pt x="2865862" y="758289"/>
                  </a:cubicBezTo>
                  <a:cubicBezTo>
                    <a:pt x="2878041" y="734425"/>
                    <a:pt x="2907252" y="724919"/>
                    <a:pt x="2931116" y="737099"/>
                  </a:cubicBezTo>
                  <a:cubicBezTo>
                    <a:pt x="3549493" y="1052673"/>
                    <a:pt x="3933688" y="1679663"/>
                    <a:pt x="3933688" y="2373391"/>
                  </a:cubicBezTo>
                  <a:cubicBezTo>
                    <a:pt x="3933589" y="3385763"/>
                    <a:pt x="3109945" y="4209306"/>
                    <a:pt x="2097669" y="4209306"/>
                  </a:cubicBezTo>
                  <a:close/>
                  <a:moveTo>
                    <a:pt x="2095095" y="3962055"/>
                  </a:moveTo>
                  <a:cubicBezTo>
                    <a:pt x="1371460" y="3962055"/>
                    <a:pt x="738429" y="3473692"/>
                    <a:pt x="555639" y="2774518"/>
                  </a:cubicBezTo>
                  <a:cubicBezTo>
                    <a:pt x="548806" y="2748575"/>
                    <a:pt x="564352" y="2722038"/>
                    <a:pt x="590296" y="2715304"/>
                  </a:cubicBezTo>
                  <a:cubicBezTo>
                    <a:pt x="616239" y="2708571"/>
                    <a:pt x="642776" y="2724117"/>
                    <a:pt x="649509" y="2749961"/>
                  </a:cubicBezTo>
                  <a:cubicBezTo>
                    <a:pt x="821209" y="3406458"/>
                    <a:pt x="1415623" y="3865016"/>
                    <a:pt x="2095095" y="3865016"/>
                  </a:cubicBezTo>
                  <a:cubicBezTo>
                    <a:pt x="2918937" y="3865016"/>
                    <a:pt x="3589100" y="3194755"/>
                    <a:pt x="3589100" y="2371015"/>
                  </a:cubicBezTo>
                  <a:cubicBezTo>
                    <a:pt x="3589100" y="2215951"/>
                    <a:pt x="3573950" y="2339031"/>
                    <a:pt x="3527312" y="2192780"/>
                  </a:cubicBezTo>
                  <a:cubicBezTo>
                    <a:pt x="3519193" y="2167233"/>
                    <a:pt x="3533253" y="2140003"/>
                    <a:pt x="3558800" y="2131784"/>
                  </a:cubicBezTo>
                  <a:cubicBezTo>
                    <a:pt x="3584348" y="2123665"/>
                    <a:pt x="3611578" y="2137725"/>
                    <a:pt x="3619796" y="2163272"/>
                  </a:cubicBezTo>
                  <a:cubicBezTo>
                    <a:pt x="3669504" y="2319129"/>
                    <a:pt x="3686140" y="2205950"/>
                    <a:pt x="3686140" y="2371015"/>
                  </a:cubicBezTo>
                  <a:cubicBezTo>
                    <a:pt x="3686238" y="3248226"/>
                    <a:pt x="2972506" y="3962055"/>
                    <a:pt x="2095095" y="3962055"/>
                  </a:cubicBezTo>
                  <a:close/>
                </a:path>
              </a:pathLst>
            </a:custGeom>
            <a:grpFill/>
            <a:ln w="10983" cap="flat">
              <a:noFill/>
              <a:prstDash val="solid"/>
              <a:miter/>
            </a:ln>
          </p:spPr>
          <p:txBody>
            <a:bodyPr rtlCol="0" anchor="ctr"/>
            <a:lstStyle/>
            <a:p>
              <a:pPr defTabSz="685800">
                <a:spcBef>
                  <a:spcPct val="0"/>
                </a:spcBef>
                <a:spcAft>
                  <a:spcPct val="0"/>
                </a:spcAft>
                <a:buClrTx/>
                <a:defRPr/>
              </a:pPr>
              <a:endParaRPr lang="en-US" sz="1350">
                <a:solidFill>
                  <a:srgbClr val="FFC000"/>
                </a:solidFill>
              </a:endParaRPr>
            </a:p>
          </p:txBody>
        </p:sp>
      </p:grpSp>
      <p:sp>
        <p:nvSpPr>
          <p:cNvPr id="11" name="Oval 29">
            <a:extLst>
              <a:ext uri="{FF2B5EF4-FFF2-40B4-BE49-F238E27FC236}">
                <a16:creationId xmlns:a16="http://schemas.microsoft.com/office/drawing/2014/main" id="{2DEE6792-AA9C-C65B-245D-33E89C7CDC82}"/>
              </a:ext>
            </a:extLst>
          </p:cNvPr>
          <p:cNvSpPr/>
          <p:nvPr>
            <p:custDataLst>
              <p:tags r:id="rId3"/>
            </p:custDataLst>
          </p:nvPr>
        </p:nvSpPr>
        <p:spPr>
          <a:xfrm>
            <a:off x="3184097" y="1089455"/>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a:solidFill>
                  <a:schemeClr val="bg2"/>
                </a:solidFill>
                <a:latin typeface="Maven Pro" panose="020B0604020202020204" charset="0"/>
                <a:cs typeface="Arial"/>
              </a:rPr>
              <a:t>FP-</a:t>
            </a:r>
            <a:br>
              <a:rPr lang="en-US" sz="1000" kern="1200" dirty="0">
                <a:solidFill>
                  <a:schemeClr val="bg2"/>
                </a:solidFill>
                <a:latin typeface="Maven Pro" panose="020B0604020202020204" charset="0"/>
                <a:cs typeface="Arial"/>
              </a:rPr>
            </a:br>
            <a:r>
              <a:rPr lang="en-US" sz="1000" kern="1200" dirty="0">
                <a:solidFill>
                  <a:schemeClr val="bg2"/>
                </a:solidFill>
                <a:latin typeface="Maven Pro" panose="020B0604020202020204" charset="0"/>
                <a:cs typeface="Arial"/>
              </a:rPr>
              <a:t>Growth</a:t>
            </a:r>
          </a:p>
        </p:txBody>
      </p:sp>
      <p:grpSp>
        <p:nvGrpSpPr>
          <p:cNvPr id="16" name="Groupe 20">
            <a:extLst>
              <a:ext uri="{FF2B5EF4-FFF2-40B4-BE49-F238E27FC236}">
                <a16:creationId xmlns:a16="http://schemas.microsoft.com/office/drawing/2014/main" id="{67CE374B-608C-9B84-A6F4-2A13A7FB728A}"/>
              </a:ext>
            </a:extLst>
          </p:cNvPr>
          <p:cNvGrpSpPr/>
          <p:nvPr/>
        </p:nvGrpSpPr>
        <p:grpSpPr>
          <a:xfrm>
            <a:off x="7312372" y="2140643"/>
            <a:ext cx="1645780" cy="712991"/>
            <a:chOff x="9450300" y="1425079"/>
            <a:chExt cx="2194375" cy="950654"/>
          </a:xfrm>
        </p:grpSpPr>
        <p:sp>
          <p:nvSpPr>
            <p:cNvPr id="17" name="Rectangle 62">
              <a:extLst>
                <a:ext uri="{FF2B5EF4-FFF2-40B4-BE49-F238E27FC236}">
                  <a16:creationId xmlns:a16="http://schemas.microsoft.com/office/drawing/2014/main" id="{B1943032-7D68-80C5-430C-9C2B6DEE2147}"/>
                </a:ext>
              </a:extLst>
            </p:cNvPr>
            <p:cNvSpPr/>
            <p:nvPr>
              <p:custDataLst>
                <p:tags r:id="rId8"/>
              </p:custDataLst>
            </p:nvPr>
          </p:nvSpPr>
          <p:spPr bwMode="gray">
            <a:xfrm>
              <a:off x="9466528" y="1753342"/>
              <a:ext cx="2178147" cy="622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Handel</a:t>
              </a: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Industrie</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Wissenschaft</a:t>
              </a:r>
              <a:endParaRPr lang="fr-FR" sz="900" kern="1200" dirty="0">
                <a:solidFill>
                  <a:schemeClr val="bg1"/>
                </a:solidFill>
                <a:latin typeface="Maven Pro" panose="020B0604020202020204" charset="0"/>
                <a:cs typeface="Arial"/>
              </a:endParaRPr>
            </a:p>
          </p:txBody>
        </p:sp>
        <p:sp>
          <p:nvSpPr>
            <p:cNvPr id="18" name="Rectangle : coins arrondis 34">
              <a:extLst>
                <a:ext uri="{FF2B5EF4-FFF2-40B4-BE49-F238E27FC236}">
                  <a16:creationId xmlns:a16="http://schemas.microsoft.com/office/drawing/2014/main" id="{58F05C85-F492-D4FC-3AB8-2DCB3081BCBB}"/>
                </a:ext>
              </a:extLst>
            </p:cNvPr>
            <p:cNvSpPr/>
            <p:nvPr/>
          </p:nvSpPr>
          <p:spPr>
            <a:xfrm>
              <a:off x="9809266" y="1425079"/>
              <a:ext cx="1574776" cy="2724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err="1">
                  <a:solidFill>
                    <a:schemeClr val="bg1"/>
                  </a:solidFill>
                  <a:latin typeface="Maven Pro" panose="020B0604020202020204" charset="0"/>
                  <a:cs typeface="Times New Roman" panose="02020603050405020304" pitchFamily="18" charset="0"/>
                </a:rPr>
                <a:t>Branchen</a:t>
              </a:r>
              <a:endParaRPr lang="fr-FR" sz="1050" dirty="0">
                <a:solidFill>
                  <a:schemeClr val="bg1"/>
                </a:solidFill>
                <a:latin typeface="Maven Pro" panose="020B0604020202020204" charset="0"/>
                <a:cs typeface="Times New Roman" panose="02020603050405020304" pitchFamily="18" charset="0"/>
              </a:endParaRPr>
            </a:p>
          </p:txBody>
        </p:sp>
        <p:sp>
          <p:nvSpPr>
            <p:cNvPr id="19" name="Ellipse 18">
              <a:extLst>
                <a:ext uri="{FF2B5EF4-FFF2-40B4-BE49-F238E27FC236}">
                  <a16:creationId xmlns:a16="http://schemas.microsoft.com/office/drawing/2014/main" id="{32B65163-2393-E1AB-851B-3D790D6A92DB}"/>
                </a:ext>
              </a:extLst>
            </p:cNvPr>
            <p:cNvSpPr/>
            <p:nvPr/>
          </p:nvSpPr>
          <p:spPr>
            <a:xfrm>
              <a:off x="9450300" y="1449559"/>
              <a:ext cx="288000" cy="288000"/>
            </a:xfrm>
            <a:prstGeom prst="ellipse">
              <a:avLst/>
            </a:prstGeom>
            <a:solidFill>
              <a:srgbClr val="A9B4BB"/>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ClrTx/>
                <a:defRPr/>
              </a:pPr>
              <a:endParaRPr lang="fr-FR" sz="750" b="1" kern="1200">
                <a:solidFill>
                  <a:prstClr val="black"/>
                </a:solidFill>
                <a:latin typeface="Maven Pro" panose="020B0604020202020204" charset="0"/>
              </a:endParaRPr>
            </a:p>
          </p:txBody>
        </p:sp>
      </p:grpSp>
      <p:grpSp>
        <p:nvGrpSpPr>
          <p:cNvPr id="20" name="Groupe 28">
            <a:extLst>
              <a:ext uri="{FF2B5EF4-FFF2-40B4-BE49-F238E27FC236}">
                <a16:creationId xmlns:a16="http://schemas.microsoft.com/office/drawing/2014/main" id="{94B832DF-5F7F-9A26-E553-E410BDBA8389}"/>
              </a:ext>
            </a:extLst>
          </p:cNvPr>
          <p:cNvGrpSpPr/>
          <p:nvPr/>
        </p:nvGrpSpPr>
        <p:grpSpPr>
          <a:xfrm>
            <a:off x="7312269" y="3132672"/>
            <a:ext cx="1794584" cy="1889024"/>
            <a:chOff x="9449547" y="4314254"/>
            <a:chExt cx="2392778" cy="2518696"/>
          </a:xfrm>
        </p:grpSpPr>
        <p:sp>
          <p:nvSpPr>
            <p:cNvPr id="21" name="Rectangle : coins arrondis 63">
              <a:extLst>
                <a:ext uri="{FF2B5EF4-FFF2-40B4-BE49-F238E27FC236}">
                  <a16:creationId xmlns:a16="http://schemas.microsoft.com/office/drawing/2014/main" id="{EB3BCE24-B062-9AC2-5787-C584CB2EC7D2}"/>
                </a:ext>
              </a:extLst>
            </p:cNvPr>
            <p:cNvSpPr/>
            <p:nvPr/>
          </p:nvSpPr>
          <p:spPr>
            <a:xfrm>
              <a:off x="9801026" y="4315879"/>
              <a:ext cx="2041299" cy="2724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fr-FR" sz="1200" dirty="0">
                  <a:solidFill>
                    <a:schemeClr val="bg1"/>
                  </a:solidFill>
                  <a:latin typeface="Maven Pro" panose="020B0604020202020204" charset="0"/>
                  <a:cs typeface="Times New Roman" panose="02020603050405020304" pitchFamily="18" charset="0"/>
                </a:rPr>
                <a:t>Stand der </a:t>
              </a:r>
              <a:r>
                <a:rPr lang="fr-FR" sz="1200" dirty="0" err="1">
                  <a:solidFill>
                    <a:schemeClr val="bg1"/>
                  </a:solidFill>
                  <a:latin typeface="Maven Pro" panose="020B0604020202020204" charset="0"/>
                  <a:cs typeface="Times New Roman" panose="02020603050405020304" pitchFamily="18" charset="0"/>
                </a:rPr>
                <a:t>Forschung</a:t>
              </a:r>
              <a:endParaRPr lang="fr-FR" sz="1350" dirty="0">
                <a:solidFill>
                  <a:schemeClr val="bg1"/>
                </a:solidFill>
                <a:latin typeface="Maven Pro" panose="020B0604020202020204" charset="0"/>
                <a:cs typeface="Times New Roman" panose="02020603050405020304" pitchFamily="18" charset="0"/>
              </a:endParaRPr>
            </a:p>
          </p:txBody>
        </p:sp>
        <p:sp>
          <p:nvSpPr>
            <p:cNvPr id="22" name="Ellipse 21">
              <a:extLst>
                <a:ext uri="{FF2B5EF4-FFF2-40B4-BE49-F238E27FC236}">
                  <a16:creationId xmlns:a16="http://schemas.microsoft.com/office/drawing/2014/main" id="{58610D85-6D02-50D0-EA33-21E9B041BA21}"/>
                </a:ext>
              </a:extLst>
            </p:cNvPr>
            <p:cNvSpPr/>
            <p:nvPr/>
          </p:nvSpPr>
          <p:spPr>
            <a:xfrm>
              <a:off x="9449547" y="4314254"/>
              <a:ext cx="288000" cy="288000"/>
            </a:xfrm>
            <a:prstGeom prst="ellipse">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indent="-133350" algn="ctr" defTabSz="533400">
                <a:spcBef>
                  <a:spcPts val="900"/>
                </a:spcBef>
                <a:buClrTx/>
                <a:buFontTx/>
                <a:buChar char="•"/>
                <a:defRPr/>
              </a:pPr>
              <a:endParaRPr lang="fr-FR" sz="1200" kern="1200">
                <a:solidFill>
                  <a:prstClr val="white"/>
                </a:solidFill>
                <a:latin typeface="Maven Pro" panose="020B0604020202020204" charset="0"/>
                <a:cs typeface="Arial"/>
              </a:endParaRPr>
            </a:p>
          </p:txBody>
        </p:sp>
        <p:sp>
          <p:nvSpPr>
            <p:cNvPr id="25" name="Rectangle 45">
              <a:extLst>
                <a:ext uri="{FF2B5EF4-FFF2-40B4-BE49-F238E27FC236}">
                  <a16:creationId xmlns:a16="http://schemas.microsoft.com/office/drawing/2014/main" id="{F10C175E-9511-EBE1-8560-EA2268D765AB}"/>
                </a:ext>
              </a:extLst>
            </p:cNvPr>
            <p:cNvSpPr/>
            <p:nvPr>
              <p:custDataLst>
                <p:tags r:id="rId7"/>
              </p:custDataLst>
            </p:nvPr>
          </p:nvSpPr>
          <p:spPr bwMode="gray">
            <a:xfrm>
              <a:off x="9467842" y="4699035"/>
              <a:ext cx="2219685" cy="2133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533400">
                <a:spcBef>
                  <a:spcPts val="150"/>
                </a:spcBef>
                <a:buClrTx/>
                <a:defRPr/>
              </a:pPr>
              <a:r>
                <a:rPr lang="en-GB" sz="900" kern="1200" dirty="0" err="1">
                  <a:solidFill>
                    <a:schemeClr val="bg1"/>
                  </a:solidFill>
                  <a:latin typeface="Maven Pro" panose="020B0604020202020204" charset="0"/>
                  <a:cs typeface="Arial"/>
                </a:rPr>
                <a:t>Bisherig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Projekte</a:t>
              </a:r>
              <a:r>
                <a:rPr lang="en-GB" sz="900" kern="1200" dirty="0">
                  <a:solidFill>
                    <a:schemeClr val="bg1"/>
                  </a:solidFill>
                  <a:latin typeface="Maven Pro" panose="020B0604020202020204" charset="0"/>
                  <a:cs typeface="Arial"/>
                </a:rPr>
                <a:t>:</a:t>
              </a: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1960er: </a:t>
              </a:r>
              <a:r>
                <a:rPr lang="en-GB" sz="900" kern="1200" dirty="0" err="1">
                  <a:solidFill>
                    <a:schemeClr val="bg1"/>
                  </a:solidFill>
                  <a:latin typeface="Maven Pro" panose="020B0604020202020204" charset="0"/>
                  <a:cs typeface="Arial"/>
                </a:rPr>
                <a:t>Identifikation</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Absatzmustern</a:t>
              </a:r>
              <a:r>
                <a:rPr lang="en-GB" sz="900" kern="1200" dirty="0">
                  <a:solidFill>
                    <a:schemeClr val="bg1"/>
                  </a:solidFill>
                  <a:latin typeface="Maven Pro" panose="020B0604020202020204" charset="0"/>
                  <a:cs typeface="Arial"/>
                </a:rPr>
                <a:t> und Trends in </a:t>
              </a:r>
              <a:r>
                <a:rPr lang="en-GB" sz="900" kern="1200" dirty="0" err="1">
                  <a:solidFill>
                    <a:schemeClr val="bg1"/>
                  </a:solidFill>
                  <a:latin typeface="Maven Pro" panose="020B0604020202020204" charset="0"/>
                  <a:cs typeface="Arial"/>
                </a:rPr>
                <a:t>Supermarktketten</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Online </a:t>
              </a:r>
              <a:r>
                <a:rPr lang="en-GB" sz="900" kern="1200" dirty="0" err="1">
                  <a:solidFill>
                    <a:schemeClr val="bg1"/>
                  </a:solidFill>
                  <a:latin typeface="Maven Pro" panose="020B0604020202020204" charset="0"/>
                  <a:cs typeface="Arial"/>
                </a:rPr>
                <a:t>Kaufhistori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Verkaufstrends</a:t>
              </a:r>
              <a:endParaRPr lang="en-GB"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GB" sz="900" kern="1200" dirty="0">
                  <a:solidFill>
                    <a:schemeClr val="bg1"/>
                  </a:solidFill>
                  <a:latin typeface="Maven Pro" panose="020B0604020202020204" charset="0"/>
                  <a:cs typeface="Arial"/>
                </a:rPr>
                <a:t>Machine Learning &amp; KI </a:t>
              </a:r>
              <a:r>
                <a:rPr lang="en-GB" sz="900" kern="1200" dirty="0" err="1">
                  <a:solidFill>
                    <a:schemeClr val="bg1"/>
                  </a:solidFill>
                  <a:latin typeface="Maven Pro" panose="020B0604020202020204" charset="0"/>
                  <a:cs typeface="Arial"/>
                </a:rPr>
                <a:t>Ansätze</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zur</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Generierung</a:t>
              </a:r>
              <a:r>
                <a:rPr lang="en-GB" sz="900" kern="1200" dirty="0">
                  <a:solidFill>
                    <a:schemeClr val="bg1"/>
                  </a:solidFill>
                  <a:latin typeface="Maven Pro" panose="020B0604020202020204" charset="0"/>
                  <a:cs typeface="Arial"/>
                </a:rPr>
                <a:t> von </a:t>
              </a:r>
              <a:r>
                <a:rPr lang="en-GB" sz="900" kern="1200" dirty="0" err="1">
                  <a:solidFill>
                    <a:schemeClr val="bg1"/>
                  </a:solidFill>
                  <a:latin typeface="Maven Pro" panose="020B0604020202020204" charset="0"/>
                  <a:cs typeface="Arial"/>
                </a:rPr>
                <a:t>personalisierten</a:t>
              </a:r>
              <a:r>
                <a:rPr lang="en-GB" sz="900" kern="1200" dirty="0">
                  <a:solidFill>
                    <a:schemeClr val="bg1"/>
                  </a:solidFill>
                  <a:latin typeface="Maven Pro" panose="020B0604020202020204" charset="0"/>
                  <a:cs typeface="Arial"/>
                </a:rPr>
                <a:t> </a:t>
              </a:r>
              <a:r>
                <a:rPr lang="en-GB" sz="900" kern="1200" dirty="0" err="1">
                  <a:solidFill>
                    <a:schemeClr val="bg1"/>
                  </a:solidFill>
                  <a:latin typeface="Maven Pro" panose="020B0604020202020204" charset="0"/>
                  <a:cs typeface="Arial"/>
                </a:rPr>
                <a:t>Empfehlungen</a:t>
              </a:r>
              <a:r>
                <a:rPr lang="en-GB" sz="900" kern="1200" dirty="0">
                  <a:solidFill>
                    <a:schemeClr val="bg1"/>
                  </a:solidFill>
                  <a:latin typeface="Maven Pro" panose="020B0604020202020204" charset="0"/>
                  <a:cs typeface="Arial"/>
                </a:rPr>
                <a:t> und </a:t>
              </a:r>
              <a:r>
                <a:rPr lang="en-GB" sz="900" kern="1200" dirty="0" err="1">
                  <a:solidFill>
                    <a:schemeClr val="bg1"/>
                  </a:solidFill>
                  <a:latin typeface="Maven Pro" panose="020B0604020202020204" charset="0"/>
                  <a:cs typeface="Arial"/>
                </a:rPr>
                <a:t>Marketingstrategien</a:t>
              </a:r>
              <a:endParaRPr lang="de-DE" sz="900" kern="1200" dirty="0">
                <a:solidFill>
                  <a:schemeClr val="bg1"/>
                </a:solidFill>
                <a:latin typeface="Maven Pro" panose="020B0604020202020204" charset="0"/>
                <a:cs typeface="Arial"/>
              </a:endParaRPr>
            </a:p>
          </p:txBody>
        </p:sp>
      </p:grpSp>
      <p:grpSp>
        <p:nvGrpSpPr>
          <p:cNvPr id="26" name="Groupe 27">
            <a:extLst>
              <a:ext uri="{FF2B5EF4-FFF2-40B4-BE49-F238E27FC236}">
                <a16:creationId xmlns:a16="http://schemas.microsoft.com/office/drawing/2014/main" id="{9040FD9A-1434-BA1C-D55B-97D608EE566A}"/>
              </a:ext>
            </a:extLst>
          </p:cNvPr>
          <p:cNvGrpSpPr/>
          <p:nvPr/>
        </p:nvGrpSpPr>
        <p:grpSpPr>
          <a:xfrm>
            <a:off x="7297030" y="961329"/>
            <a:ext cx="1686950" cy="1209459"/>
            <a:chOff x="9418264" y="2790982"/>
            <a:chExt cx="2249267" cy="1612613"/>
          </a:xfrm>
        </p:grpSpPr>
        <p:sp>
          <p:nvSpPr>
            <p:cNvPr id="27" name="Rectangle : coins arrondis 67">
              <a:extLst>
                <a:ext uri="{FF2B5EF4-FFF2-40B4-BE49-F238E27FC236}">
                  <a16:creationId xmlns:a16="http://schemas.microsoft.com/office/drawing/2014/main" id="{EA0F0A34-18D6-C252-D70D-3A0873CF8B49}"/>
                </a:ext>
              </a:extLst>
            </p:cNvPr>
            <p:cNvSpPr/>
            <p:nvPr/>
          </p:nvSpPr>
          <p:spPr>
            <a:xfrm>
              <a:off x="9795719" y="2790982"/>
              <a:ext cx="1467115" cy="5448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nwendungs-bereiche</a:t>
              </a:r>
              <a:endParaRPr lang="en-GB" sz="600" dirty="0">
                <a:solidFill>
                  <a:schemeClr val="bg1"/>
                </a:solidFill>
                <a:latin typeface="Maven Pro" panose="020B0604020202020204" charset="0"/>
                <a:cs typeface="Times New Roman" panose="02020603050405020304" pitchFamily="18" charset="0"/>
              </a:endParaRPr>
            </a:p>
          </p:txBody>
        </p:sp>
        <p:sp>
          <p:nvSpPr>
            <p:cNvPr id="28" name="Ellipse 27">
              <a:extLst>
                <a:ext uri="{FF2B5EF4-FFF2-40B4-BE49-F238E27FC236}">
                  <a16:creationId xmlns:a16="http://schemas.microsoft.com/office/drawing/2014/main" id="{E8E7958F-8D60-B5AB-8320-694DAA7D3217}"/>
                </a:ext>
              </a:extLst>
            </p:cNvPr>
            <p:cNvSpPr/>
            <p:nvPr/>
          </p:nvSpPr>
          <p:spPr>
            <a:xfrm>
              <a:off x="9456833" y="2922034"/>
              <a:ext cx="288000" cy="288000"/>
            </a:xfrm>
            <a:prstGeom prst="ellipse">
              <a:avLst/>
            </a:prstGeom>
            <a:solidFill>
              <a:srgbClr val="5EFFFD"/>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29" name="Rectangle 46">
              <a:extLst>
                <a:ext uri="{FF2B5EF4-FFF2-40B4-BE49-F238E27FC236}">
                  <a16:creationId xmlns:a16="http://schemas.microsoft.com/office/drawing/2014/main" id="{0C3EE2D2-3928-9FD8-C98E-77FF26E7B005}"/>
                </a:ext>
              </a:extLst>
            </p:cNvPr>
            <p:cNvSpPr/>
            <p:nvPr>
              <p:custDataLst>
                <p:tags r:id="rId6"/>
              </p:custDataLst>
            </p:nvPr>
          </p:nvSpPr>
          <p:spPr bwMode="gray">
            <a:xfrm>
              <a:off x="9418264" y="3304969"/>
              <a:ext cx="2249267" cy="1098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spAutoFit/>
            </a:bodyPr>
            <a:lstStyle/>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Einzelhandel</a:t>
              </a:r>
              <a:r>
                <a:rPr lang="en-US" sz="900" kern="1200" dirty="0">
                  <a:solidFill>
                    <a:schemeClr val="bg1"/>
                  </a:solidFill>
                  <a:latin typeface="Maven Pro" panose="020B0604020202020204" charset="0"/>
                  <a:cs typeface="Arial"/>
                </a:rPr>
                <a:t>/</a:t>
              </a:r>
              <a:br>
                <a:rPr lang="en-US" sz="900" kern="1200" dirty="0">
                  <a:solidFill>
                    <a:schemeClr val="bg1"/>
                  </a:solidFill>
                  <a:latin typeface="Maven Pro" panose="020B0604020202020204" charset="0"/>
                  <a:cs typeface="Arial"/>
                </a:rPr>
              </a:br>
              <a:r>
                <a:rPr lang="en-US" sz="900" kern="1200" dirty="0" err="1">
                  <a:solidFill>
                    <a:schemeClr val="bg1"/>
                  </a:solidFill>
                  <a:latin typeface="Maven Pro" panose="020B0604020202020204" charset="0"/>
                  <a:cs typeface="Arial"/>
                </a:rPr>
                <a:t>Supermarktketten</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err="1">
                  <a:solidFill>
                    <a:schemeClr val="bg1"/>
                  </a:solidFill>
                  <a:latin typeface="Maven Pro" panose="020B0604020202020204" charset="0"/>
                  <a:cs typeface="Arial"/>
                </a:rPr>
                <a:t>Marketingforschung</a:t>
              </a:r>
              <a:endParaRPr lang="en-US" sz="900" kern="1200" dirty="0">
                <a:solidFill>
                  <a:schemeClr val="bg1"/>
                </a:solidFill>
                <a:latin typeface="Maven Pro" panose="020B0604020202020204" charset="0"/>
                <a:cs typeface="Arial"/>
              </a:endParaRPr>
            </a:p>
            <a:p>
              <a:pPr marL="171450" indent="-171450" defTabSz="533400">
                <a:spcBef>
                  <a:spcPts val="150"/>
                </a:spcBef>
                <a:buClrTx/>
                <a:buFont typeface="Arial" panose="020B0604020202020204" pitchFamily="34" charset="0"/>
                <a:buChar char="•"/>
                <a:defRPr/>
              </a:pPr>
              <a:r>
                <a:rPr lang="en-US" sz="900" kern="1200" dirty="0">
                  <a:solidFill>
                    <a:schemeClr val="bg1"/>
                  </a:solidFill>
                  <a:latin typeface="Maven Pro" panose="020B0604020202020204" charset="0"/>
                  <a:cs typeface="Arial"/>
                </a:rPr>
                <a:t>Data Mining</a:t>
              </a:r>
            </a:p>
            <a:p>
              <a:pPr defTabSz="533400">
                <a:spcBef>
                  <a:spcPts val="150"/>
                </a:spcBef>
                <a:buClrTx/>
                <a:defRPr/>
              </a:pPr>
              <a:endParaRPr lang="fr-FR" sz="900" kern="1200" dirty="0">
                <a:solidFill>
                  <a:schemeClr val="bg1"/>
                </a:solidFill>
                <a:latin typeface="Maven Pro" panose="020B0604020202020204" charset="0"/>
                <a:cs typeface="Arial"/>
              </a:endParaRPr>
            </a:p>
          </p:txBody>
        </p:sp>
      </p:grpSp>
      <p:sp>
        <p:nvSpPr>
          <p:cNvPr id="31" name="Oval 43">
            <a:extLst>
              <a:ext uri="{FF2B5EF4-FFF2-40B4-BE49-F238E27FC236}">
                <a16:creationId xmlns:a16="http://schemas.microsoft.com/office/drawing/2014/main" id="{7A7D6889-768E-DFE5-9D9C-09443233CEEA}"/>
              </a:ext>
            </a:extLst>
          </p:cNvPr>
          <p:cNvSpPr/>
          <p:nvPr/>
        </p:nvSpPr>
        <p:spPr>
          <a:xfrm>
            <a:off x="3703873" y="1405521"/>
            <a:ext cx="2754000" cy="2754000"/>
          </a:xfrm>
          <a:prstGeom prst="ellipse">
            <a:avLst/>
          </a:prstGeom>
          <a:noFill/>
          <a:ln w="41275" cap="sq">
            <a:solidFill>
              <a:srgbClr val="A9B4BB"/>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350" kern="1200">
              <a:solidFill>
                <a:prstClr val="white"/>
              </a:solidFill>
              <a:latin typeface="Arial"/>
              <a:cs typeface="Arial"/>
            </a:endParaRPr>
          </a:p>
        </p:txBody>
      </p:sp>
      <p:sp>
        <p:nvSpPr>
          <p:cNvPr id="32" name="Freeform: Shape 17">
            <a:extLst>
              <a:ext uri="{FF2B5EF4-FFF2-40B4-BE49-F238E27FC236}">
                <a16:creationId xmlns:a16="http://schemas.microsoft.com/office/drawing/2014/main" id="{64319300-BFA7-C813-D889-64C83FB19CBD}"/>
              </a:ext>
            </a:extLst>
          </p:cNvPr>
          <p:cNvSpPr>
            <a:spLocks/>
          </p:cNvSpPr>
          <p:nvPr/>
        </p:nvSpPr>
        <p:spPr>
          <a:xfrm>
            <a:off x="4566029" y="922466"/>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5EFFF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ct val="35000"/>
              </a:spcAft>
              <a:buSzPts val="1000"/>
            </a:pPr>
            <a:r>
              <a:rPr lang="en-US" sz="1000" b="1" kern="1200" dirty="0" err="1">
                <a:solidFill>
                  <a:srgbClr val="000000"/>
                </a:solidFill>
                <a:latin typeface="Maven Pro" panose="020B0604020202020204" charset="0"/>
                <a:cs typeface="Times New Roman" panose="02020603050405020304" pitchFamily="18" charset="0"/>
              </a:rPr>
              <a:t>Anwendungs</a:t>
            </a:r>
            <a:r>
              <a:rPr lang="en-US" sz="1000" b="1" kern="1200" dirty="0">
                <a:solidFill>
                  <a:srgbClr val="000000"/>
                </a:solidFill>
                <a:latin typeface="Maven Pro" panose="020B0604020202020204" charset="0"/>
                <a:cs typeface="Times New Roman" panose="02020603050405020304" pitchFamily="18" charset="0"/>
              </a:rPr>
              <a:t>-</a:t>
            </a:r>
            <a:br>
              <a:rPr lang="en-US" sz="1000" b="1" kern="1200" dirty="0">
                <a:solidFill>
                  <a:srgbClr val="000000"/>
                </a:solidFill>
                <a:latin typeface="Maven Pro" panose="020B0604020202020204" charset="0"/>
                <a:cs typeface="Times New Roman" panose="02020603050405020304" pitchFamily="18" charset="0"/>
              </a:rPr>
            </a:br>
            <a:r>
              <a:rPr lang="en-US" sz="1000" b="1" kern="1200" dirty="0" err="1">
                <a:solidFill>
                  <a:srgbClr val="000000"/>
                </a:solidFill>
                <a:latin typeface="Maven Pro" panose="020B0604020202020204" charset="0"/>
                <a:cs typeface="Times New Roman" panose="02020603050405020304" pitchFamily="18" charset="0"/>
              </a:rPr>
              <a:t>bereiche</a:t>
            </a:r>
            <a:endParaRPr lang="en-US" sz="1000" b="1" kern="1200" dirty="0">
              <a:solidFill>
                <a:srgbClr val="000000"/>
              </a:solidFill>
              <a:latin typeface="Maven Pro" panose="020B0604020202020204" charset="0"/>
              <a:cs typeface="Times New Roman" panose="02020603050405020304" pitchFamily="18" charset="0"/>
            </a:endParaRPr>
          </a:p>
        </p:txBody>
      </p:sp>
      <p:sp>
        <p:nvSpPr>
          <p:cNvPr id="33" name="Freeform: Shape 18">
            <a:extLst>
              <a:ext uri="{FF2B5EF4-FFF2-40B4-BE49-F238E27FC236}">
                <a16:creationId xmlns:a16="http://schemas.microsoft.com/office/drawing/2014/main" id="{BD8D4C30-887E-60E1-0D71-138807E1C7DE}"/>
              </a:ext>
            </a:extLst>
          </p:cNvPr>
          <p:cNvSpPr>
            <a:spLocks noChangeAspect="1"/>
          </p:cNvSpPr>
          <p:nvPr/>
        </p:nvSpPr>
        <p:spPr>
          <a:xfrm>
            <a:off x="6075947"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9B4BB"/>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dirty="0" err="1">
                <a:solidFill>
                  <a:srgbClr val="000000"/>
                </a:solidFill>
                <a:latin typeface="Maven Pro" panose="020B0604020202020204" charset="0"/>
                <a:cs typeface="Times New Roman" panose="02020603050405020304" pitchFamily="18" charset="0"/>
              </a:rPr>
              <a:t>Branchen</a:t>
            </a:r>
            <a:endParaRPr lang="en-GB" sz="1200" b="1" kern="1200" dirty="0">
              <a:solidFill>
                <a:srgbClr val="000000"/>
              </a:solidFill>
              <a:latin typeface="Maven Pro" panose="020B0604020202020204" charset="0"/>
              <a:cs typeface="Times New Roman" panose="02020603050405020304" pitchFamily="18" charset="0"/>
            </a:endParaRPr>
          </a:p>
        </p:txBody>
      </p:sp>
      <p:sp>
        <p:nvSpPr>
          <p:cNvPr id="34" name="Freeform: Shape 19">
            <a:extLst>
              <a:ext uri="{FF2B5EF4-FFF2-40B4-BE49-F238E27FC236}">
                <a16:creationId xmlns:a16="http://schemas.microsoft.com/office/drawing/2014/main" id="{20B1FAB4-4640-8994-75B1-E49AD8CF4613}"/>
              </a:ext>
            </a:extLst>
          </p:cNvPr>
          <p:cNvSpPr/>
          <p:nvPr/>
        </p:nvSpPr>
        <p:spPr>
          <a:xfrm>
            <a:off x="4566029" y="373803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00CF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none" lIns="141156" tIns="141156" rIns="141156" bIns="141156" numCol="1" spcCol="1270" anchor="ctr" anchorCtr="0">
            <a:noAutofit/>
          </a:bodyPr>
          <a:lstStyle/>
          <a:p>
            <a:pPr algn="ctr" defTabSz="333375">
              <a:lnSpc>
                <a:spcPct val="90000"/>
              </a:lnSpc>
              <a:spcBef>
                <a:spcPct val="0"/>
              </a:spcBef>
              <a:spcAft>
                <a:spcPts val="225"/>
              </a:spcAft>
              <a:buClrTx/>
            </a:pPr>
            <a:r>
              <a:rPr lang="en-GB" sz="1000" b="1" kern="1200" spc="-60" dirty="0">
                <a:solidFill>
                  <a:srgbClr val="000000"/>
                </a:solidFill>
                <a:latin typeface="Maven Pro" panose="020B0604020202020204" charset="0"/>
                <a:cs typeface="Times New Roman" panose="02020603050405020304" pitchFamily="18" charset="0"/>
              </a:rPr>
              <a:t>Stand der </a:t>
            </a:r>
            <a:br>
              <a:rPr lang="en-GB" sz="1000" b="1" kern="1200" spc="-60" dirty="0">
                <a:solidFill>
                  <a:srgbClr val="000000"/>
                </a:solidFill>
                <a:latin typeface="Maven Pro" panose="020B0604020202020204" charset="0"/>
                <a:cs typeface="Times New Roman" panose="02020603050405020304" pitchFamily="18" charset="0"/>
              </a:rPr>
            </a:br>
            <a:r>
              <a:rPr lang="en-GB" sz="1000" b="1" kern="1200" spc="-60" dirty="0" err="1">
                <a:solidFill>
                  <a:srgbClr val="000000"/>
                </a:solidFill>
                <a:latin typeface="Maven Pro" panose="020B0604020202020204" charset="0"/>
                <a:cs typeface="Times New Roman" panose="02020603050405020304" pitchFamily="18" charset="0"/>
              </a:rPr>
              <a:t>Forschung</a:t>
            </a:r>
            <a:endParaRPr lang="en-GB" sz="1200" b="1" kern="1200" spc="-60" dirty="0">
              <a:solidFill>
                <a:srgbClr val="000000"/>
              </a:solidFill>
              <a:latin typeface="Maven Pro" panose="020B0604020202020204" charset="0"/>
              <a:cs typeface="Times New Roman" panose="02020603050405020304" pitchFamily="18" charset="0"/>
            </a:endParaRPr>
          </a:p>
          <a:p>
            <a:pPr algn="ctr" defTabSz="333375">
              <a:lnSpc>
                <a:spcPct val="90000"/>
              </a:lnSpc>
              <a:spcBef>
                <a:spcPct val="0"/>
              </a:spcBef>
              <a:spcAft>
                <a:spcPct val="35000"/>
              </a:spcAft>
              <a:buClrTx/>
            </a:pPr>
            <a:r>
              <a:rPr lang="en-GB" sz="675" kern="1200" dirty="0" err="1">
                <a:solidFill>
                  <a:prstClr val="black"/>
                </a:solidFill>
                <a:latin typeface="Maven Pro" panose="020B0604020202020204" charset="0"/>
                <a:ea typeface="Arial"/>
                <a:cs typeface="Arial"/>
              </a:rPr>
              <a:t>Wissenschaftliche</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Arbeiten</a:t>
            </a:r>
            <a:r>
              <a:rPr lang="en-GB" sz="675" kern="1200" dirty="0">
                <a:solidFill>
                  <a:prstClr val="black"/>
                </a:solidFill>
                <a:latin typeface="Maven Pro" panose="020B0604020202020204" charset="0"/>
                <a:ea typeface="Arial"/>
                <a:cs typeface="Arial"/>
              </a:rPr>
              <a:t> in </a:t>
            </a:r>
            <a:r>
              <a:rPr lang="en-GB" sz="675" kern="1200" dirty="0" err="1">
                <a:solidFill>
                  <a:prstClr val="black"/>
                </a:solidFill>
                <a:latin typeface="Maven Pro" panose="020B0604020202020204" charset="0"/>
                <a:ea typeface="Arial"/>
                <a:cs typeface="Arial"/>
              </a:rPr>
              <a:t>diesem</a:t>
            </a:r>
            <a:br>
              <a:rPr lang="en-GB" sz="675" kern="1200" dirty="0">
                <a:solidFill>
                  <a:prstClr val="black"/>
                </a:solidFill>
                <a:latin typeface="Maven Pro" panose="020B0604020202020204" charset="0"/>
                <a:ea typeface="Arial"/>
                <a:cs typeface="Arial"/>
              </a:rPr>
            </a:br>
            <a:r>
              <a:rPr lang="en-GB" sz="675" kern="1200" dirty="0" err="1">
                <a:solidFill>
                  <a:prstClr val="black"/>
                </a:solidFill>
                <a:latin typeface="Maven Pro" panose="020B0604020202020204" charset="0"/>
                <a:ea typeface="Arial"/>
                <a:cs typeface="Arial"/>
              </a:rPr>
              <a:t>Bereich</a:t>
            </a:r>
            <a:endParaRPr lang="en-GB" sz="600" kern="1200" dirty="0">
              <a:solidFill>
                <a:prstClr val="black"/>
              </a:solidFill>
              <a:latin typeface="Maven Pro" panose="020B0604020202020204" charset="0"/>
              <a:ea typeface="Arial"/>
              <a:cs typeface="Arial"/>
            </a:endParaRPr>
          </a:p>
        </p:txBody>
      </p:sp>
      <p:sp>
        <p:nvSpPr>
          <p:cNvPr id="35" name="Freeform: Shape 21">
            <a:extLst>
              <a:ext uri="{FF2B5EF4-FFF2-40B4-BE49-F238E27FC236}">
                <a16:creationId xmlns:a16="http://schemas.microsoft.com/office/drawing/2014/main" id="{8E95B82F-CDAC-4B16-79BD-9E0D00FA10A9}"/>
              </a:ext>
            </a:extLst>
          </p:cNvPr>
          <p:cNvSpPr>
            <a:spLocks noChangeAspect="1"/>
          </p:cNvSpPr>
          <p:nvPr/>
        </p:nvSpPr>
        <p:spPr>
          <a:xfrm>
            <a:off x="3270488" y="2275369"/>
            <a:ext cx="945000" cy="945000"/>
          </a:xfrm>
          <a:custGeom>
            <a:avLst/>
            <a:gdLst>
              <a:gd name="connsiteX0" fmla="*/ 0 w 1198441"/>
              <a:gd name="connsiteY0" fmla="*/ 599221 h 1198441"/>
              <a:gd name="connsiteX1" fmla="*/ 599221 w 1198441"/>
              <a:gd name="connsiteY1" fmla="*/ 0 h 1198441"/>
              <a:gd name="connsiteX2" fmla="*/ 1198442 w 1198441"/>
              <a:gd name="connsiteY2" fmla="*/ 599221 h 1198441"/>
              <a:gd name="connsiteX3" fmla="*/ 599221 w 1198441"/>
              <a:gd name="connsiteY3" fmla="*/ 1198442 h 1198441"/>
              <a:gd name="connsiteX4" fmla="*/ 0 w 1198441"/>
              <a:gd name="connsiteY4" fmla="*/ 599221 h 1198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41" h="1198441">
                <a:moveTo>
                  <a:pt x="0" y="599221"/>
                </a:moveTo>
                <a:cubicBezTo>
                  <a:pt x="0" y="268280"/>
                  <a:pt x="268280" y="0"/>
                  <a:pt x="599221" y="0"/>
                </a:cubicBezTo>
                <a:cubicBezTo>
                  <a:pt x="930162" y="0"/>
                  <a:pt x="1198442" y="268280"/>
                  <a:pt x="1198442" y="599221"/>
                </a:cubicBezTo>
                <a:cubicBezTo>
                  <a:pt x="1198442" y="930162"/>
                  <a:pt x="930162" y="1198442"/>
                  <a:pt x="599221" y="1198442"/>
                </a:cubicBezTo>
                <a:cubicBezTo>
                  <a:pt x="268280" y="1198442"/>
                  <a:pt x="0" y="930162"/>
                  <a:pt x="0" y="599221"/>
                </a:cubicBezTo>
                <a:close/>
              </a:path>
            </a:pathLst>
          </a:custGeom>
          <a:solidFill>
            <a:srgbClr val="A6CBC2"/>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none" lIns="141156" tIns="141156" rIns="141156" bIns="141156" numCol="1" spcCol="1270" anchor="ctr" anchorCtr="0">
            <a:noAutofit/>
          </a:bodyPr>
          <a:lstStyle/>
          <a:p>
            <a:pPr algn="ctr" defTabSz="685800">
              <a:spcBef>
                <a:spcPct val="0"/>
              </a:spcBef>
              <a:buClrTx/>
              <a:defRPr/>
            </a:pPr>
            <a:r>
              <a:rPr lang="en-US" sz="1000" b="1" kern="1200" dirty="0" err="1">
                <a:solidFill>
                  <a:srgbClr val="000000"/>
                </a:solidFill>
                <a:latin typeface="Maven Pro" panose="020B0604020202020204" charset="0"/>
                <a:cs typeface="Times New Roman" panose="02020603050405020304" pitchFamily="18" charset="0"/>
              </a:rPr>
              <a:t>Algorithmen</a:t>
            </a:r>
            <a:br>
              <a:rPr lang="en-US" sz="675" kern="1200" dirty="0">
                <a:solidFill>
                  <a:srgbClr val="000000"/>
                </a:solidFill>
                <a:latin typeface="Maven Pro" panose="020B0604020202020204" charset="0"/>
                <a:ea typeface="Arial"/>
                <a:cs typeface="Arial"/>
              </a:rPr>
            </a:br>
            <a:endParaRPr lang="en-US" sz="600" kern="1200" dirty="0">
              <a:solidFill>
                <a:srgbClr val="000000"/>
              </a:solidFill>
              <a:latin typeface="Maven Pro" panose="020B0604020202020204" charset="0"/>
              <a:ea typeface="Arial"/>
              <a:cs typeface="Arial"/>
            </a:endParaRPr>
          </a:p>
        </p:txBody>
      </p:sp>
      <p:sp>
        <p:nvSpPr>
          <p:cNvPr id="40" name="Freeform: Shape 16">
            <a:extLst>
              <a:ext uri="{FF2B5EF4-FFF2-40B4-BE49-F238E27FC236}">
                <a16:creationId xmlns:a16="http://schemas.microsoft.com/office/drawing/2014/main" id="{0E9DDDE7-C6D1-3EBA-BB0B-3B40EDA70E6D}"/>
              </a:ext>
            </a:extLst>
          </p:cNvPr>
          <p:cNvSpPr/>
          <p:nvPr/>
        </p:nvSpPr>
        <p:spPr>
          <a:xfrm>
            <a:off x="4456725" y="2139061"/>
            <a:ext cx="1284044" cy="1284044"/>
          </a:xfrm>
          <a:custGeom>
            <a:avLst/>
            <a:gdLst>
              <a:gd name="connsiteX0" fmla="*/ 0 w 1712059"/>
              <a:gd name="connsiteY0" fmla="*/ 856030 h 1712059"/>
              <a:gd name="connsiteX1" fmla="*/ 856030 w 1712059"/>
              <a:gd name="connsiteY1" fmla="*/ 0 h 1712059"/>
              <a:gd name="connsiteX2" fmla="*/ 1712060 w 1712059"/>
              <a:gd name="connsiteY2" fmla="*/ 856030 h 1712059"/>
              <a:gd name="connsiteX3" fmla="*/ 856030 w 1712059"/>
              <a:gd name="connsiteY3" fmla="*/ 1712060 h 1712059"/>
              <a:gd name="connsiteX4" fmla="*/ 0 w 1712059"/>
              <a:gd name="connsiteY4" fmla="*/ 856030 h 1712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059" h="1712059">
                <a:moveTo>
                  <a:pt x="0" y="856030"/>
                </a:moveTo>
                <a:cubicBezTo>
                  <a:pt x="0" y="383258"/>
                  <a:pt x="383258" y="0"/>
                  <a:pt x="856030" y="0"/>
                </a:cubicBezTo>
                <a:cubicBezTo>
                  <a:pt x="1328802" y="0"/>
                  <a:pt x="1712060" y="383258"/>
                  <a:pt x="1712060" y="856030"/>
                </a:cubicBezTo>
                <a:cubicBezTo>
                  <a:pt x="1712060" y="1328802"/>
                  <a:pt x="1328802" y="1712060"/>
                  <a:pt x="856030" y="1712060"/>
                </a:cubicBezTo>
                <a:cubicBezTo>
                  <a:pt x="383258" y="1712060"/>
                  <a:pt x="0" y="1328802"/>
                  <a:pt x="0" y="856030"/>
                </a:cubicBezTo>
                <a:close/>
              </a:path>
            </a:pathLst>
          </a:custGeom>
          <a:solidFill>
            <a:schemeClr val="bg1"/>
          </a:solidFill>
          <a:ln w="19050" cap="flat" cmpd="sng" algn="ctr">
            <a:solidFill>
              <a:srgbClr val="FDBB00"/>
            </a:solidFill>
            <a:prstDash val="solid"/>
            <a:miter lim="800000"/>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195664" tIns="195664" rIns="195664" bIns="195664" numCol="1" spcCol="1270" anchor="ctr" anchorCtr="0">
            <a:noAutofit/>
          </a:bodyPr>
          <a:lstStyle/>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Market Basket </a:t>
            </a:r>
          </a:p>
          <a:p>
            <a:pPr marL="42863" lvl="1" algn="ctr" defTabSz="300038">
              <a:lnSpc>
                <a:spcPct val="90000"/>
              </a:lnSpc>
              <a:spcBef>
                <a:spcPct val="0"/>
              </a:spcBef>
              <a:spcAft>
                <a:spcPct val="15000"/>
              </a:spcAft>
              <a:buClrTx/>
            </a:pPr>
            <a:r>
              <a:rPr lang="en-GB" sz="1050" b="1" kern="1200" dirty="0">
                <a:solidFill>
                  <a:srgbClr val="000000"/>
                </a:solidFill>
                <a:latin typeface="Maven Pro" panose="020B0604020202020204" charset="0"/>
                <a:cs typeface="Arial"/>
              </a:rPr>
              <a:t>Analysis</a:t>
            </a:r>
            <a:br>
              <a:rPr lang="en-GB" sz="1050" b="1" kern="1200" dirty="0">
                <a:solidFill>
                  <a:srgbClr val="000000"/>
                </a:solidFill>
                <a:latin typeface="Maven Pro" panose="020B0604020202020204" charset="0"/>
                <a:cs typeface="Arial"/>
              </a:rPr>
            </a:br>
            <a:r>
              <a:rPr lang="en-GB" sz="680" kern="1200" dirty="0" err="1">
                <a:solidFill>
                  <a:srgbClr val="000000"/>
                </a:solidFill>
                <a:latin typeface="Maven Pro" panose="020B0604020202020204" charset="0"/>
                <a:cs typeface="Arial"/>
              </a:rPr>
              <a:t>Methode</a:t>
            </a:r>
            <a:r>
              <a:rPr lang="en-GB" sz="680" kern="1200" dirty="0">
                <a:solidFill>
                  <a:srgbClr val="000000"/>
                </a:solidFill>
                <a:latin typeface="Maven Pro" panose="020B0604020202020204" charset="0"/>
                <a:cs typeface="Arial"/>
              </a:rPr>
              <a:t> der </a:t>
            </a:r>
            <a:r>
              <a:rPr lang="en-GB" sz="680" kern="1200" dirty="0" err="1">
                <a:solidFill>
                  <a:srgbClr val="000000"/>
                </a:solidFill>
                <a:latin typeface="Maven Pro" panose="020B0604020202020204" charset="0"/>
                <a:cs typeface="Arial"/>
              </a:rPr>
              <a:t>Datenanalyse</a:t>
            </a:r>
            <a:endParaRPr lang="en-GB" sz="680" kern="1200" dirty="0">
              <a:solidFill>
                <a:srgbClr val="000000"/>
              </a:solidFill>
              <a:latin typeface="Maven Pro" panose="020B0604020202020204" charset="0"/>
              <a:cs typeface="Arial"/>
            </a:endParaRPr>
          </a:p>
        </p:txBody>
      </p:sp>
      <p:sp>
        <p:nvSpPr>
          <p:cNvPr id="45" name="Ellipse 44">
            <a:extLst>
              <a:ext uri="{FF2B5EF4-FFF2-40B4-BE49-F238E27FC236}">
                <a16:creationId xmlns:a16="http://schemas.microsoft.com/office/drawing/2014/main" id="{7E2C1FC0-8434-C6A4-7DEC-8F1950444664}"/>
              </a:ext>
            </a:extLst>
          </p:cNvPr>
          <p:cNvSpPr/>
          <p:nvPr/>
        </p:nvSpPr>
        <p:spPr>
          <a:xfrm>
            <a:off x="687243" y="1153952"/>
            <a:ext cx="216000" cy="216000"/>
          </a:xfrm>
          <a:prstGeom prst="ellipse">
            <a:avLst/>
          </a:prstGeom>
          <a:solidFill>
            <a:srgbClr val="A6CBC2"/>
          </a:solidFill>
          <a:ln w="12700" cap="flat" cmpd="sng" algn="ctr">
            <a:noFill/>
            <a:prstDash val="solid"/>
            <a:miter lim="800000"/>
          </a:ln>
          <a:effectLst/>
        </p:spPr>
        <p:txBody>
          <a:bodyPr spcFirstLastPara="0" vert="horz" wrap="square" lIns="9525" tIns="9525" rIns="9525" bIns="9525" numCol="1" spcCol="1270" anchor="ctr" anchorCtr="0">
            <a:noAutofit/>
          </a:bodyPr>
          <a:lstStyle/>
          <a:p>
            <a:pPr defTabSz="685800">
              <a:buSzPts val="1000"/>
              <a:defRPr/>
            </a:pPr>
            <a:endParaRPr lang="fr-FR" sz="750" b="1" kern="1200">
              <a:solidFill>
                <a:prstClr val="black"/>
              </a:solidFill>
              <a:latin typeface="Maven Pro" panose="020B0604020202020204" charset="0"/>
            </a:endParaRPr>
          </a:p>
        </p:txBody>
      </p:sp>
      <p:sp>
        <p:nvSpPr>
          <p:cNvPr id="46" name="Rectangle : coins arrondis 67">
            <a:extLst>
              <a:ext uri="{FF2B5EF4-FFF2-40B4-BE49-F238E27FC236}">
                <a16:creationId xmlns:a16="http://schemas.microsoft.com/office/drawing/2014/main" id="{B84C27C6-69DA-EC93-DEBA-F703FD10A937}"/>
              </a:ext>
            </a:extLst>
          </p:cNvPr>
          <p:cNvSpPr/>
          <p:nvPr/>
        </p:nvSpPr>
        <p:spPr>
          <a:xfrm>
            <a:off x="966730" y="1153952"/>
            <a:ext cx="1900562" cy="2043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533400">
              <a:spcBef>
                <a:spcPts val="900"/>
              </a:spcBef>
              <a:buClrTx/>
              <a:defRPr/>
            </a:pPr>
            <a:r>
              <a:rPr lang="en-GB" sz="1200" dirty="0" err="1">
                <a:solidFill>
                  <a:schemeClr val="bg1"/>
                </a:solidFill>
                <a:latin typeface="Maven Pro" panose="020B0604020202020204" charset="0"/>
                <a:cs typeface="Times New Roman" panose="02020603050405020304" pitchFamily="18" charset="0"/>
              </a:rPr>
              <a:t>Algorithmen</a:t>
            </a:r>
            <a:endParaRPr lang="en-GB" sz="600" dirty="0">
              <a:solidFill>
                <a:schemeClr val="bg1"/>
              </a:solidFill>
              <a:latin typeface="Maven Pro" panose="020B0604020202020204" charset="0"/>
              <a:cs typeface="Times New Roman" panose="02020603050405020304" pitchFamily="18" charset="0"/>
            </a:endParaRPr>
          </a:p>
        </p:txBody>
      </p:sp>
      <p:grpSp>
        <p:nvGrpSpPr>
          <p:cNvPr id="36" name="Groupe 15">
            <a:extLst>
              <a:ext uri="{FF2B5EF4-FFF2-40B4-BE49-F238E27FC236}">
                <a16:creationId xmlns:a16="http://schemas.microsoft.com/office/drawing/2014/main" id="{61915B8D-1A31-549B-397F-19D373CB9376}"/>
              </a:ext>
            </a:extLst>
          </p:cNvPr>
          <p:cNvGrpSpPr/>
          <p:nvPr/>
        </p:nvGrpSpPr>
        <p:grpSpPr>
          <a:xfrm>
            <a:off x="266700" y="986452"/>
            <a:ext cx="2449878" cy="3732836"/>
            <a:chOff x="-375920" y="1315269"/>
            <a:chExt cx="3266504" cy="4977115"/>
          </a:xfrm>
        </p:grpSpPr>
        <p:sp>
          <p:nvSpPr>
            <p:cNvPr id="37" name="Rechteck 26">
              <a:extLst>
                <a:ext uri="{FF2B5EF4-FFF2-40B4-BE49-F238E27FC236}">
                  <a16:creationId xmlns:a16="http://schemas.microsoft.com/office/drawing/2014/main" id="{B9FE6497-D3D2-D350-994E-6709E1E2C84A}"/>
                </a:ext>
              </a:extLst>
            </p:cNvPr>
            <p:cNvSpPr/>
            <p:nvPr/>
          </p:nvSpPr>
          <p:spPr>
            <a:xfrm>
              <a:off x="-375920" y="1315269"/>
              <a:ext cx="3266504" cy="4977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de-DE" sz="1350" kern="1200">
                <a:solidFill>
                  <a:prstClr val="white"/>
                </a:solidFill>
                <a:latin typeface="Maven Pro" panose="020B0604020202020204" charset="0"/>
                <a:cs typeface="Arial"/>
              </a:endParaRPr>
            </a:p>
          </p:txBody>
        </p:sp>
        <p:sp>
          <p:nvSpPr>
            <p:cNvPr id="38" name="Rectangle 49">
              <a:extLst>
                <a:ext uri="{FF2B5EF4-FFF2-40B4-BE49-F238E27FC236}">
                  <a16:creationId xmlns:a16="http://schemas.microsoft.com/office/drawing/2014/main" id="{01E5A384-AD3D-25BA-633E-1038FD82A32C}"/>
                </a:ext>
              </a:extLst>
            </p:cNvPr>
            <p:cNvSpPr/>
            <p:nvPr>
              <p:custDataLst>
                <p:tags r:id="rId5"/>
              </p:custDataLst>
            </p:nvPr>
          </p:nvSpPr>
          <p:spPr bwMode="gray">
            <a:xfrm>
              <a:off x="247797" y="1931445"/>
              <a:ext cx="2377249" cy="38779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FP-Growth</a:t>
              </a: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en-GB" sz="1050" kern="1200" dirty="0">
                  <a:solidFill>
                    <a:srgbClr val="FFFFFF"/>
                  </a:solidFill>
                  <a:latin typeface="Maven Pro" panose="020B0604020202020204" charset="0"/>
                  <a:ea typeface="+mn-lt"/>
                  <a:cs typeface="Arial"/>
                </a:rPr>
                <a:t>Predictive </a:t>
              </a:r>
              <a:r>
                <a:rPr lang="en-GB" sz="1050" kern="1200" dirty="0" err="1">
                  <a:solidFill>
                    <a:srgbClr val="FFFFFF"/>
                  </a:solidFill>
                  <a:latin typeface="Maven Pro" panose="020B0604020202020204" charset="0"/>
                  <a:ea typeface="+mn-lt"/>
                  <a:cs typeface="Arial"/>
                </a:rPr>
                <a:t>Apriori</a:t>
              </a: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en-GB" sz="1050" kern="1200" dirty="0">
                <a:solidFill>
                  <a:srgbClr val="FFFFFF"/>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Neural Networks</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Collaborative </a:t>
              </a:r>
              <a:r>
                <a:rPr lang="fr-FR" sz="1050" kern="1200" dirty="0" err="1">
                  <a:solidFill>
                    <a:schemeClr val="bg1"/>
                  </a:solidFill>
                  <a:latin typeface="Maven Pro" panose="020B0604020202020204" charset="0"/>
                  <a:ea typeface="+mn-lt"/>
                  <a:cs typeface="Arial"/>
                </a:rPr>
                <a:t>Filtering</a:t>
              </a: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a:solidFill>
                    <a:schemeClr val="bg1"/>
                  </a:solidFill>
                  <a:latin typeface="Maven Pro" panose="020B0604020202020204" charset="0"/>
                  <a:ea typeface="+mn-lt"/>
                  <a:cs typeface="Arial"/>
                </a:rPr>
                <a:t>Eclat</a:t>
              </a:r>
            </a:p>
            <a:p>
              <a:pPr marL="171450" indent="-171450" defTabSz="533400">
                <a:buClrTx/>
                <a:buFont typeface="Arial" panose="020B0604020202020204" pitchFamily="34" charset="0"/>
                <a:buChar char="•"/>
                <a:defRPr/>
              </a:pPr>
              <a:endParaRPr lang="fr-FR" sz="1050" kern="1200" dirty="0">
                <a:solidFill>
                  <a:schemeClr val="bg1"/>
                </a:solidFill>
                <a:latin typeface="Maven Pro" panose="020B0604020202020204" charset="0"/>
                <a:ea typeface="+mn-lt"/>
                <a:cs typeface="Arial"/>
              </a:endParaRPr>
            </a:p>
            <a:p>
              <a:pPr marL="171450" indent="-171450" defTabSz="533400">
                <a:buClrTx/>
                <a:buFont typeface="Arial" panose="020B0604020202020204" pitchFamily="34" charset="0"/>
                <a:buChar char="•"/>
                <a:defRPr/>
              </a:pPr>
              <a:r>
                <a:rPr lang="fr-FR" sz="1050" kern="1200" dirty="0" err="1">
                  <a:solidFill>
                    <a:schemeClr val="bg1"/>
                  </a:solidFill>
                  <a:latin typeface="Maven Pro" panose="020B0604020202020204" charset="0"/>
                  <a:ea typeface="+mn-lt"/>
                  <a:cs typeface="Arial"/>
                </a:rPr>
                <a:t>Weitere</a:t>
              </a:r>
              <a:r>
                <a:rPr lang="fr-FR" sz="1050" kern="1200" dirty="0">
                  <a:solidFill>
                    <a:schemeClr val="bg1"/>
                  </a:solidFill>
                  <a:latin typeface="Maven Pro" panose="020B0604020202020204" charset="0"/>
                  <a:ea typeface="+mn-lt"/>
                  <a:cs typeface="Arial"/>
                </a:rPr>
                <a:t>: </a:t>
              </a:r>
              <a:br>
                <a:rPr lang="fr-F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AIS</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BA</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P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CMAR</a:t>
              </a:r>
              <a:br>
                <a:rPr lang="pt-BR" sz="1050" kern="1200" dirty="0">
                  <a:solidFill>
                    <a:schemeClr val="bg1"/>
                  </a:solidFill>
                  <a:latin typeface="Maven Pro" panose="020B0604020202020204" charset="0"/>
                  <a:ea typeface="+mn-lt"/>
                  <a:cs typeface="Arial"/>
                </a:rPr>
              </a:br>
              <a:r>
                <a:rPr lang="pt-BR" sz="1050" kern="1200" dirty="0">
                  <a:solidFill>
                    <a:schemeClr val="bg1"/>
                  </a:solidFill>
                  <a:latin typeface="Maven Pro" panose="020B0604020202020204" charset="0"/>
                  <a:ea typeface="+mn-lt"/>
                  <a:cs typeface="Arial"/>
                </a:rPr>
                <a:t>-MCAR</a:t>
              </a:r>
            </a:p>
          </p:txBody>
        </p:sp>
      </p:grpSp>
      <p:sp>
        <p:nvSpPr>
          <p:cNvPr id="47" name="Oval 29">
            <a:extLst>
              <a:ext uri="{FF2B5EF4-FFF2-40B4-BE49-F238E27FC236}">
                <a16:creationId xmlns:a16="http://schemas.microsoft.com/office/drawing/2014/main" id="{E33FE60D-A981-B7CA-5483-FB238EC695AA}"/>
              </a:ext>
            </a:extLst>
          </p:cNvPr>
          <p:cNvSpPr/>
          <p:nvPr>
            <p:custDataLst>
              <p:tags r:id="rId4"/>
            </p:custDataLst>
          </p:nvPr>
        </p:nvSpPr>
        <p:spPr>
          <a:xfrm>
            <a:off x="2700304" y="3083162"/>
            <a:ext cx="546380" cy="546629"/>
          </a:xfrm>
          <a:prstGeom prst="ellipse">
            <a:avLst/>
          </a:prstGeom>
          <a:solidFill>
            <a:srgbClr val="FF99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685800">
              <a:spcBef>
                <a:spcPct val="0"/>
              </a:spcBef>
              <a:spcAft>
                <a:spcPct val="0"/>
              </a:spcAft>
              <a:buClrTx/>
              <a:defRPr/>
            </a:pPr>
            <a:r>
              <a:rPr lang="en-US" sz="1000" kern="1200" dirty="0" err="1">
                <a:solidFill>
                  <a:schemeClr val="bg2"/>
                </a:solidFill>
                <a:latin typeface="Maven Pro" panose="020B0604020202020204" charset="0"/>
                <a:cs typeface="Arial"/>
              </a:rPr>
              <a:t>Apriori</a:t>
            </a:r>
            <a:endParaRPr lang="en-US" sz="1000" kern="1200" dirty="0">
              <a:solidFill>
                <a:schemeClr val="bg2"/>
              </a:solidFill>
              <a:latin typeface="Maven Pro" panose="020B0604020202020204" charset="0"/>
              <a:cs typeface="Arial"/>
            </a:endParaRPr>
          </a:p>
        </p:txBody>
      </p:sp>
    </p:spTree>
    <p:extLst>
      <p:ext uri="{BB962C8B-B14F-4D97-AF65-F5344CB8AC3E}">
        <p14:creationId xmlns:p14="http://schemas.microsoft.com/office/powerpoint/2010/main" val="477488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B31C40E7-88F0-51FC-668C-ED16234DA2A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tretch>
            <a:fillRect/>
          </a:stretch>
        </p:blipFill>
        <p:spPr>
          <a:xfrm>
            <a:off x="3651097" y="3149288"/>
            <a:ext cx="1841805" cy="1994212"/>
          </a:xfrm>
          <a:prstGeom prst="rect">
            <a:avLst/>
          </a:prstGeom>
        </p:spPr>
      </p:pic>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Wissenschaftliche</a:t>
            </a:r>
            <a:r>
              <a:rPr lang="en-US" dirty="0">
                <a:solidFill>
                  <a:schemeClr val="bg1"/>
                </a:solidFill>
                <a:latin typeface="Maven Pro" panose="020B0604020202020204" charset="0"/>
              </a:rPr>
              <a:t> Werke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rundl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m</a:t>
            </a:r>
            <a:r>
              <a:rPr lang="en-US" dirty="0">
                <a:solidFill>
                  <a:schemeClr val="bg1"/>
                </a:solidFill>
                <a:latin typeface="Maven Pro" panose="020B0604020202020204" charset="0"/>
              </a:rPr>
              <a:t> Thema Market Basket Analysis:</a:t>
            </a:r>
          </a:p>
          <a:p>
            <a:endParaRPr lang="en-US" dirty="0">
              <a:solidFill>
                <a:schemeClr val="bg1"/>
              </a:solidFill>
              <a:latin typeface="Maven Pro" panose="020B0604020202020204" charset="0"/>
            </a:endParaRP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lcan, D., </a:t>
            </a:r>
            <a:r>
              <a:rPr lang="en-US" sz="1000" dirty="0" err="1">
                <a:solidFill>
                  <a:schemeClr val="bg1"/>
                </a:solidFill>
                <a:latin typeface="Maven Pro" panose="020B0604020202020204" charset="0"/>
              </a:rPr>
              <a:t>Ozdemir</a:t>
            </a:r>
            <a:r>
              <a:rPr lang="en-US" sz="1000" dirty="0">
                <a:solidFill>
                  <a:schemeClr val="bg1"/>
                </a:solidFill>
                <a:latin typeface="Maven Pro" panose="020B0604020202020204" charset="0"/>
              </a:rPr>
              <a:t>, K., </a:t>
            </a:r>
            <a:r>
              <a:rPr lang="en-US" sz="1000" dirty="0" err="1">
                <a:solidFill>
                  <a:schemeClr val="bg1"/>
                </a:solidFill>
                <a:latin typeface="Maven Pro" panose="020B0604020202020204" charset="0"/>
              </a:rPr>
              <a:t>Ozkan</a:t>
            </a:r>
            <a:r>
              <a:rPr lang="en-US" sz="1000" dirty="0">
                <a:solidFill>
                  <a:schemeClr val="bg1"/>
                </a:solidFill>
                <a:latin typeface="Maven Pro" panose="020B0604020202020204" charset="0"/>
              </a:rPr>
              <a:t>, B., </a:t>
            </a:r>
            <a:r>
              <a:rPr lang="en-US" sz="1000" dirty="0" err="1">
                <a:solidFill>
                  <a:schemeClr val="bg1"/>
                </a:solidFill>
                <a:latin typeface="Maven Pro" panose="020B0604020202020204" charset="0"/>
              </a:rPr>
              <a:t>Mucan</a:t>
            </a:r>
            <a:r>
              <a:rPr lang="en-US" sz="1000" dirty="0">
                <a:solidFill>
                  <a:schemeClr val="bg1"/>
                </a:solidFill>
                <a:latin typeface="Maven Pro" panose="020B0604020202020204" charset="0"/>
              </a:rPr>
              <a:t>, A.Y., </a:t>
            </a:r>
            <a:r>
              <a:rPr lang="en-US" sz="1000" dirty="0" err="1">
                <a:solidFill>
                  <a:schemeClr val="bg1"/>
                </a:solidFill>
                <a:latin typeface="Maven Pro" panose="020B0604020202020204" charset="0"/>
              </a:rPr>
              <a:t>Ozcan</a:t>
            </a:r>
            <a:r>
              <a:rPr lang="en-US" sz="1000" dirty="0">
                <a:solidFill>
                  <a:schemeClr val="bg1"/>
                </a:solidFill>
                <a:latin typeface="Maven Pro" panose="020B0604020202020204" charset="0"/>
              </a:rPr>
              <a:t>, T. (</a:t>
            </a:r>
            <a:r>
              <a:rPr lang="en-US" sz="1000" b="1" dirty="0">
                <a:solidFill>
                  <a:srgbClr val="00CFCC"/>
                </a:solidFill>
                <a:latin typeface="Maven Pro" panose="020B0604020202020204" charset="0"/>
              </a:rPr>
              <a:t>2023</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A Comparative Analysis of </a:t>
            </a:r>
            <a:r>
              <a:rPr lang="en-US" sz="1000" b="1" dirty="0" err="1">
                <a:solidFill>
                  <a:schemeClr val="bg1"/>
                </a:solidFill>
                <a:latin typeface="Maven Pro" panose="020B0604020202020204" charset="0"/>
              </a:rPr>
              <a:t>Apriori</a:t>
            </a:r>
            <a:r>
              <a:rPr lang="en-US" sz="1000" b="1" dirty="0">
                <a:solidFill>
                  <a:schemeClr val="bg1"/>
                </a:solidFill>
                <a:latin typeface="Maven Pro" panose="020B0604020202020204" charset="0"/>
              </a:rPr>
              <a:t> and FP-Growth Algorithms for Market Basket Analysis Using Multi-level Association Rule Mining</a:t>
            </a:r>
            <a:r>
              <a:rPr lang="en-US" sz="1000" dirty="0">
                <a:solidFill>
                  <a:schemeClr val="bg1"/>
                </a:solidFill>
                <a:latin typeface="Maven Pro" panose="020B0604020202020204" charset="0"/>
              </a:rPr>
              <a:t>. In: </a:t>
            </a:r>
            <a:r>
              <a:rPr lang="en-US" sz="1000" dirty="0" err="1">
                <a:solidFill>
                  <a:schemeClr val="bg1"/>
                </a:solidFill>
                <a:latin typeface="Maven Pro" panose="020B0604020202020204" charset="0"/>
              </a:rPr>
              <a:t>Calisir</a:t>
            </a:r>
            <a:r>
              <a:rPr lang="en-US" sz="1000" dirty="0">
                <a:solidFill>
                  <a:schemeClr val="bg1"/>
                </a:solidFill>
                <a:latin typeface="Maven Pro" panose="020B0604020202020204" charset="0"/>
              </a:rPr>
              <a:t>, F., </a:t>
            </a:r>
            <a:r>
              <a:rPr lang="en-US" sz="1000" dirty="0" err="1">
                <a:solidFill>
                  <a:schemeClr val="bg1"/>
                </a:solidFill>
                <a:latin typeface="Maven Pro" panose="020B0604020202020204" charset="0"/>
              </a:rPr>
              <a:t>Durucu</a:t>
            </a:r>
            <a:r>
              <a:rPr lang="en-US" sz="1000" dirty="0">
                <a:solidFill>
                  <a:schemeClr val="bg1"/>
                </a:solidFill>
                <a:latin typeface="Maven Pro" panose="020B0604020202020204" charset="0"/>
              </a:rPr>
              <a:t>, M. (eds) Industrial Engineering in the Covid-19 Era. GJCIE 2022. Lecture Notes in Management and Industrial Engineering. Springer, Cham. </a:t>
            </a:r>
            <a:r>
              <a:rPr lang="en-US" sz="1000" dirty="0">
                <a:solidFill>
                  <a:schemeClr val="bg1"/>
                </a:solidFill>
                <a:latin typeface="Maven Pro" panose="020B0604020202020204" charset="0"/>
                <a:hlinkClick r:id="rId7"/>
              </a:rPr>
              <a:t>https://doi.org/10.1007/978-3-031-25847-3_13</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nsari, S. Y. </a:t>
            </a:r>
            <a:r>
              <a:rPr lang="de-DE" sz="1000" b="1" dirty="0">
                <a:solidFill>
                  <a:srgbClr val="00CFCC"/>
                </a:solidFill>
                <a:latin typeface="Maven Pro" panose="020B0604020202020204" charset="0"/>
              </a:rPr>
              <a:t>(</a:t>
            </a:r>
            <a:r>
              <a:rPr lang="en-US" sz="1000" b="1" dirty="0">
                <a:solidFill>
                  <a:srgbClr val="00CFCC"/>
                </a:solidFill>
                <a:latin typeface="Maven Pro" panose="020B0604020202020204" charset="0"/>
              </a:rPr>
              <a:t>2019).</a:t>
            </a:r>
            <a:r>
              <a:rPr lang="en-US" sz="1000" b="1" dirty="0">
                <a:solidFill>
                  <a:schemeClr val="bg1"/>
                </a:solidFill>
                <a:latin typeface="Maven Pro" panose="020B0604020202020204" charset="0"/>
              </a:rPr>
              <a:t> Market Basket Analysis Trend Analysis of Association rules in different time periods. </a:t>
            </a:r>
            <a:r>
              <a:rPr lang="en-US" sz="1000" dirty="0">
                <a:solidFill>
                  <a:schemeClr val="bg1"/>
                </a:solidFill>
                <a:latin typeface="Maven Pro" panose="020B0604020202020204" charset="0"/>
              </a:rPr>
              <a:t>NOVA IMS </a:t>
            </a:r>
            <a:r>
              <a:rPr lang="en-US" sz="1000" dirty="0">
                <a:solidFill>
                  <a:schemeClr val="bg1"/>
                </a:solidFill>
                <a:latin typeface="Maven Pro" panose="020B0604020202020204" charset="0"/>
                <a:hlinkClick r:id="rId8">
                  <a:extLst>
                    <a:ext uri="{A12FA001-AC4F-418D-AE19-62706E023703}">
                      <ahyp:hlinkClr xmlns:ahyp="http://schemas.microsoft.com/office/drawing/2018/hyperlinkcolor" val="tx"/>
                    </a:ext>
                  </a:extLst>
                </a:hlinkClick>
              </a:rPr>
              <a:t>https://run.unl.pt/bitstream/10362/80955/1/TEGI0458.pdf</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err="1">
                <a:solidFill>
                  <a:schemeClr val="bg1"/>
                </a:solidFill>
                <a:latin typeface="Maven Pro" panose="020B0604020202020204" charset="0"/>
              </a:rPr>
              <a:t>Sammut</a:t>
            </a:r>
            <a:r>
              <a:rPr lang="en-US" sz="1000" dirty="0">
                <a:solidFill>
                  <a:schemeClr val="bg1"/>
                </a:solidFill>
                <a:latin typeface="Maven Pro" panose="020B0604020202020204" charset="0"/>
              </a:rPr>
              <a:t>, C., Webb, G.I. (eds) (</a:t>
            </a:r>
            <a:r>
              <a:rPr lang="en-US" sz="1000" b="1" dirty="0">
                <a:solidFill>
                  <a:srgbClr val="00CFCC"/>
                </a:solidFill>
                <a:latin typeface="Maven Pro" panose="020B0604020202020204" charset="0"/>
              </a:rPr>
              <a:t>201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Encyclopedia of Machine Learning and Data Mining: Market Basket Analysis </a:t>
            </a:r>
            <a:r>
              <a:rPr lang="en-US" sz="1000" dirty="0">
                <a:solidFill>
                  <a:schemeClr val="bg1"/>
                </a:solidFill>
                <a:latin typeface="Maven Pro" panose="020B0604020202020204" charset="0"/>
              </a:rPr>
              <a:t>Springer, Boston, MA. </a:t>
            </a:r>
            <a:r>
              <a:rPr lang="en-US" sz="1000" dirty="0">
                <a:solidFill>
                  <a:schemeClr val="bg1"/>
                </a:solidFill>
                <a:latin typeface="Maven Pro" panose="020B0604020202020204" charset="0"/>
                <a:hlinkClick r:id="rId9"/>
              </a:rPr>
              <a:t>https://doi.org/10.1007/978-1-4899-7687-1_100284</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Kurniawan, F., </a:t>
            </a:r>
            <a:r>
              <a:rPr lang="en-US" sz="1000" dirty="0" err="1">
                <a:solidFill>
                  <a:schemeClr val="bg1"/>
                </a:solidFill>
                <a:latin typeface="Maven Pro" panose="020B0604020202020204" charset="0"/>
              </a:rPr>
              <a:t>Umayah</a:t>
            </a:r>
            <a:r>
              <a:rPr lang="en-US" sz="1000" dirty="0">
                <a:solidFill>
                  <a:schemeClr val="bg1"/>
                </a:solidFill>
                <a:latin typeface="Maven Pro" panose="020B0604020202020204" charset="0"/>
              </a:rPr>
              <a:t>, B. Hammad, J. Nugroho, S. </a:t>
            </a:r>
            <a:r>
              <a:rPr lang="en-US" sz="1000" dirty="0" err="1">
                <a:solidFill>
                  <a:schemeClr val="bg1"/>
                </a:solidFill>
                <a:latin typeface="Maven Pro" panose="020B0604020202020204" charset="0"/>
              </a:rPr>
              <a:t>Hariadi</a:t>
            </a:r>
            <a:r>
              <a:rPr lang="en-US" sz="1000" dirty="0">
                <a:solidFill>
                  <a:schemeClr val="bg1"/>
                </a:solidFill>
                <a:latin typeface="Maven Pro" panose="020B0604020202020204" charset="0"/>
              </a:rPr>
              <a:t>, M. </a:t>
            </a:r>
            <a:r>
              <a:rPr lang="en-US" sz="1000" b="1" dirty="0">
                <a:solidFill>
                  <a:srgbClr val="00CFCC"/>
                </a:solidFill>
                <a:latin typeface="Maven Pro" panose="020B0604020202020204" charset="0"/>
              </a:rPr>
              <a:t>(2017)</a:t>
            </a:r>
            <a:r>
              <a:rPr lang="en-US" sz="1000" b="1" dirty="0">
                <a:solidFill>
                  <a:schemeClr val="bg1"/>
                </a:solidFill>
                <a:latin typeface="Maven Pro" panose="020B0604020202020204" charset="0"/>
              </a:rPr>
              <a:t> Market Basket Analysis to Identify Customer Behaviors  by Way of Transaction Dat. </a:t>
            </a:r>
            <a:r>
              <a:rPr lang="en-US" sz="1000" dirty="0">
                <a:solidFill>
                  <a:schemeClr val="bg1"/>
                </a:solidFill>
                <a:latin typeface="Maven Pro" panose="020B0604020202020204" charset="0"/>
              </a:rPr>
              <a:t>CC BY-S. </a:t>
            </a:r>
            <a:r>
              <a:rPr lang="en-US" sz="1000" dirty="0">
                <a:solidFill>
                  <a:schemeClr val="bg1"/>
                </a:solidFill>
                <a:latin typeface="Maven Pro" panose="020B0604020202020204" charset="0"/>
                <a:hlinkClick r:id="rId10">
                  <a:extLst>
                    <a:ext uri="{A12FA001-AC4F-418D-AE19-62706E023703}">
                      <ahyp:hlinkClr xmlns:ahyp="http://schemas.microsoft.com/office/drawing/2018/hyperlinkcolor" val="tx"/>
                    </a:ext>
                  </a:extLst>
                </a:hlinkClick>
              </a:rPr>
              <a:t>https://www.researchgate.net/publication/322161863_Market_Basket_Analysis_to_Identify_Customer_Behaviours_by_Way_of_Transaction_Data</a:t>
            </a:r>
            <a:r>
              <a:rPr lang="en-US" sz="1000" dirty="0">
                <a:solidFill>
                  <a:schemeClr val="bg1"/>
                </a:solidFill>
                <a:latin typeface="Maven Pro" panose="020B0604020202020204" charset="0"/>
              </a:rPr>
              <a:t>.</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S. Brin, R. Motwani, J. D. Ullman, and S. </a:t>
            </a:r>
            <a:r>
              <a:rPr lang="en-US" sz="1000" dirty="0" err="1">
                <a:solidFill>
                  <a:schemeClr val="bg1"/>
                </a:solidFill>
                <a:latin typeface="Maven Pro" panose="020B0604020202020204" charset="0"/>
              </a:rPr>
              <a:t>Tsur</a:t>
            </a:r>
            <a:r>
              <a:rPr lang="en-US" sz="1000" dirty="0">
                <a:solidFill>
                  <a:schemeClr val="bg1"/>
                </a:solidFill>
                <a:latin typeface="Maven Pro" panose="020B0604020202020204" charset="0"/>
              </a:rPr>
              <a:t>. (</a:t>
            </a:r>
            <a:r>
              <a:rPr lang="en-US" sz="1000" b="1" dirty="0">
                <a:solidFill>
                  <a:srgbClr val="00CFCC"/>
                </a:solidFill>
                <a:latin typeface="Maven Pro" panose="020B0604020202020204" charset="0"/>
              </a:rPr>
              <a:t>1997</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Dynamic itemset counting and implication rules for market basket data</a:t>
            </a:r>
            <a:r>
              <a:rPr lang="en-US" sz="1000" dirty="0">
                <a:solidFill>
                  <a:schemeClr val="bg1"/>
                </a:solidFill>
                <a:latin typeface="Maven Pro" panose="020B0604020202020204" charset="0"/>
              </a:rPr>
              <a:t>. In Proceedings of the 1997 ACM SIGMOD international conference on Management of data, pages 255–264, 1997.</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Agrawal, R., &amp; Srikant, R. (</a:t>
            </a:r>
            <a:r>
              <a:rPr lang="en-US" sz="1000" b="1" dirty="0">
                <a:solidFill>
                  <a:srgbClr val="00CFCC"/>
                </a:solidFill>
                <a:latin typeface="Maven Pro" panose="020B0604020202020204" charset="0"/>
              </a:rPr>
              <a:t>1994</a:t>
            </a:r>
            <a:r>
              <a:rPr lang="en-US" sz="1000" dirty="0">
                <a:solidFill>
                  <a:schemeClr val="bg1"/>
                </a:solidFill>
                <a:latin typeface="Maven Pro" panose="020B0604020202020204" charset="0"/>
              </a:rPr>
              <a:t>): </a:t>
            </a:r>
            <a:r>
              <a:rPr lang="en-US" sz="1000" b="1" dirty="0">
                <a:solidFill>
                  <a:schemeClr val="bg1"/>
                </a:solidFill>
                <a:latin typeface="Maven Pro" panose="020B0604020202020204" charset="0"/>
              </a:rPr>
              <a:t>Fast algorithms for mining association rules in large databases</a:t>
            </a:r>
            <a:r>
              <a:rPr lang="en-US" sz="1000" dirty="0">
                <a:solidFill>
                  <a:schemeClr val="bg1"/>
                </a:solidFill>
                <a:latin typeface="Maven Pro" panose="020B0604020202020204" charset="0"/>
              </a:rPr>
              <a:t>. In Proceedings of the 20th international conference on Very large data bases (pp. 487-499).</a:t>
            </a:r>
          </a:p>
          <a:p>
            <a:pPr marL="457200" indent="-304800">
              <a:spcBef>
                <a:spcPts val="600"/>
              </a:spcBef>
              <a:buClr>
                <a:schemeClr val="lt1"/>
              </a:buClr>
              <a:buSzPts val="1200"/>
              <a:buFont typeface="Maven Pro"/>
              <a:buAutoNum type="arabicPeriod"/>
            </a:pPr>
            <a:r>
              <a:rPr lang="en-US" sz="1000" dirty="0">
                <a:solidFill>
                  <a:schemeClr val="bg1"/>
                </a:solidFill>
                <a:latin typeface="Maven Pro" panose="020B0604020202020204" charset="0"/>
              </a:rPr>
              <a:t>MacQueen, B. (</a:t>
            </a:r>
            <a:r>
              <a:rPr lang="en-US" sz="1000" b="1" dirty="0">
                <a:solidFill>
                  <a:srgbClr val="00CFCC"/>
                </a:solidFill>
                <a:latin typeface="Maven Pro" panose="020B0604020202020204" charset="0"/>
              </a:rPr>
              <a:t>1967</a:t>
            </a:r>
            <a:r>
              <a:rPr lang="en-US" sz="1000" dirty="0">
                <a:solidFill>
                  <a:schemeClr val="bg1"/>
                </a:solidFill>
                <a:latin typeface="Maven Pro" panose="020B0604020202020204" charset="0"/>
              </a:rPr>
              <a:t>): </a:t>
            </a:r>
            <a:r>
              <a:rPr lang="en-US" sz="1000" b="1" dirty="0" err="1">
                <a:solidFill>
                  <a:schemeClr val="bg1"/>
                </a:solidFill>
                <a:latin typeface="Maven Pro" panose="020B0604020202020204" charset="0"/>
              </a:rPr>
              <a:t>JSome</a:t>
            </a:r>
            <a:r>
              <a:rPr lang="en-US" sz="1000" b="1" dirty="0">
                <a:solidFill>
                  <a:schemeClr val="bg1"/>
                </a:solidFill>
                <a:latin typeface="Maven Pro" panose="020B0604020202020204" charset="0"/>
              </a:rPr>
              <a:t> methods for classification and analysis of multivariate observations</a:t>
            </a:r>
            <a:r>
              <a:rPr lang="en-US" sz="1000" dirty="0">
                <a:solidFill>
                  <a:schemeClr val="bg1"/>
                </a:solidFill>
                <a:latin typeface="Maven Pro" panose="020B0604020202020204" charset="0"/>
              </a:rPr>
              <a:t>. In Proceedings of 5-th Berkeley Symposium on Mathematical Statistics and Probability, volume 1, pages 281–297.</a:t>
            </a:r>
          </a:p>
        </p:txBody>
      </p:sp>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271142" cy="577800"/>
          </a:xfrm>
        </p:spPr>
        <p:txBody>
          <a:bodyPr vert="horz"/>
          <a:lstStyle/>
          <a:p>
            <a:r>
              <a:rPr lang="de-DE" dirty="0"/>
              <a:t>Domain Exploration – </a:t>
            </a:r>
            <a:r>
              <a:rPr lang="de-DE" dirty="0" err="1"/>
              <a:t>Selection</a:t>
            </a:r>
            <a:r>
              <a:rPr lang="de-DE" dirty="0"/>
              <a:t> </a:t>
            </a:r>
            <a:r>
              <a:rPr lang="de-DE" dirty="0" err="1"/>
              <a:t>of</a:t>
            </a:r>
            <a:r>
              <a:rPr lang="de-DE" dirty="0"/>
              <a:t> </a:t>
            </a:r>
            <a:r>
              <a:rPr lang="de-DE" dirty="0" err="1"/>
              <a:t>algorithm</a:t>
            </a:r>
            <a:endParaRPr lang="de-DE" dirty="0"/>
          </a:p>
        </p:txBody>
      </p:sp>
    </p:spTree>
    <p:extLst>
      <p:ext uri="{BB962C8B-B14F-4D97-AF65-F5344CB8AC3E}">
        <p14:creationId xmlns:p14="http://schemas.microsoft.com/office/powerpoint/2010/main" val="1502915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4068A91-4C7D-3073-107B-F4684A9E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B4068A91-4C7D-3073-107B-F4684A9E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847D0AF8-9ADF-6C7E-DC73-E227A300C791}"/>
              </a:ext>
            </a:extLst>
          </p:cNvPr>
          <p:cNvSpPr>
            <a:spLocks noGrp="1"/>
          </p:cNvSpPr>
          <p:nvPr>
            <p:ph type="ctrTitle"/>
          </p:nvPr>
        </p:nvSpPr>
        <p:spPr>
          <a:xfrm>
            <a:off x="603584" y="416755"/>
            <a:ext cx="8005843" cy="577800"/>
          </a:xfrm>
        </p:spPr>
        <p:txBody>
          <a:bodyPr/>
          <a:lstStyle/>
          <a:p>
            <a:r>
              <a:rPr lang="de-DE" dirty="0" err="1"/>
              <a:t>Comparison</a:t>
            </a:r>
            <a:r>
              <a:rPr lang="de-DE" dirty="0"/>
              <a:t> </a:t>
            </a:r>
            <a:r>
              <a:rPr lang="de-DE" dirty="0" err="1"/>
              <a:t>of</a:t>
            </a:r>
            <a:r>
              <a:rPr lang="de-DE" dirty="0"/>
              <a:t> Frequent Pattern Mining </a:t>
            </a:r>
            <a:r>
              <a:rPr lang="de-DE" dirty="0" err="1"/>
              <a:t>Algorithms</a:t>
            </a:r>
            <a:endParaRPr lang="de-DE" dirty="0"/>
          </a:p>
        </p:txBody>
      </p:sp>
      <p:graphicFrame>
        <p:nvGraphicFramePr>
          <p:cNvPr id="6" name="Tabelle 6">
            <a:extLst>
              <a:ext uri="{FF2B5EF4-FFF2-40B4-BE49-F238E27FC236}">
                <a16:creationId xmlns:a16="http://schemas.microsoft.com/office/drawing/2014/main" id="{D3A4102F-610E-9ED4-E80F-9C6B3A85590B}"/>
              </a:ext>
            </a:extLst>
          </p:cNvPr>
          <p:cNvGraphicFramePr>
            <a:graphicFrameLocks noGrp="1"/>
          </p:cNvGraphicFramePr>
          <p:nvPr>
            <p:extLst>
              <p:ext uri="{D42A27DB-BD31-4B8C-83A1-F6EECF244321}">
                <p14:modId xmlns:p14="http://schemas.microsoft.com/office/powerpoint/2010/main" val="1415199241"/>
              </p:ext>
            </p:extLst>
          </p:nvPr>
        </p:nvGraphicFramePr>
        <p:xfrm>
          <a:off x="707628" y="907764"/>
          <a:ext cx="8005844" cy="3474474"/>
        </p:xfrm>
        <a:graphic>
          <a:graphicData uri="http://schemas.openxmlformats.org/drawingml/2006/table">
            <a:tbl>
              <a:tblPr firstRow="1" bandRow="1">
                <a:tableStyleId>{E723F757-1103-4035-A6BF-FC693B604208}</a:tableStyleId>
              </a:tblPr>
              <a:tblGrid>
                <a:gridCol w="1072364">
                  <a:extLst>
                    <a:ext uri="{9D8B030D-6E8A-4147-A177-3AD203B41FA5}">
                      <a16:colId xmlns:a16="http://schemas.microsoft.com/office/drawing/2014/main" val="3371099145"/>
                    </a:ext>
                  </a:extLst>
                </a:gridCol>
                <a:gridCol w="1750608">
                  <a:extLst>
                    <a:ext uri="{9D8B030D-6E8A-4147-A177-3AD203B41FA5}">
                      <a16:colId xmlns:a16="http://schemas.microsoft.com/office/drawing/2014/main" val="4137587088"/>
                    </a:ext>
                  </a:extLst>
                </a:gridCol>
                <a:gridCol w="1798320">
                  <a:extLst>
                    <a:ext uri="{9D8B030D-6E8A-4147-A177-3AD203B41FA5}">
                      <a16:colId xmlns:a16="http://schemas.microsoft.com/office/drawing/2014/main" val="1470421591"/>
                    </a:ext>
                  </a:extLst>
                </a:gridCol>
                <a:gridCol w="1894840">
                  <a:extLst>
                    <a:ext uri="{9D8B030D-6E8A-4147-A177-3AD203B41FA5}">
                      <a16:colId xmlns:a16="http://schemas.microsoft.com/office/drawing/2014/main" val="3692932486"/>
                    </a:ext>
                  </a:extLst>
                </a:gridCol>
                <a:gridCol w="1489712">
                  <a:extLst>
                    <a:ext uri="{9D8B030D-6E8A-4147-A177-3AD203B41FA5}">
                      <a16:colId xmlns:a16="http://schemas.microsoft.com/office/drawing/2014/main" val="1575056618"/>
                    </a:ext>
                  </a:extLst>
                </a:gridCol>
              </a:tblGrid>
              <a:tr h="174276">
                <a:tc>
                  <a:txBody>
                    <a:bodyPr/>
                    <a:lstStyle/>
                    <a:p>
                      <a:pPr algn="r"/>
                      <a:endParaRPr lang="de-DE" sz="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chemeClr val="accent1"/>
                          </a:solidFill>
                          <a:latin typeface="Share Tech"/>
                          <a:sym typeface="Share Tech"/>
                        </a:rPr>
                        <a:t>FP-Grow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a:lnSpc>
                          <a:spcPct val="100000"/>
                        </a:lnSpc>
                        <a:spcBef>
                          <a:spcPts val="0"/>
                        </a:spcBef>
                        <a:spcAft>
                          <a:spcPts val="0"/>
                        </a:spcAft>
                        <a:buClr>
                          <a:schemeClr val="lt1"/>
                        </a:buClr>
                        <a:buSzPts val="2800"/>
                        <a:buFont typeface="Share Tech"/>
                        <a:buNone/>
                      </a:pPr>
                      <a:r>
                        <a:rPr lang="de-DE" sz="900" b="0" i="0" u="none" strike="noStrike" cap="none" dirty="0">
                          <a:solidFill>
                            <a:srgbClr val="00CFCC"/>
                          </a:solidFill>
                          <a:latin typeface="Share Tech"/>
                          <a:cs typeface="Arial"/>
                          <a:sym typeface="Arial"/>
                        </a:rPr>
                        <a:t>Apriori</a:t>
                      </a:r>
                      <a:endParaRPr lang="de-DE" sz="900" b="0" i="0" u="none" strike="noStrike" cap="none" dirty="0">
                        <a:solidFill>
                          <a:schemeClr val="accent1"/>
                        </a:solidFill>
                        <a:latin typeface="Share Tech"/>
                        <a:sym typeface="Share Tech"/>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err="1">
                          <a:solidFill>
                            <a:srgbClr val="5EFFFD"/>
                          </a:solidFill>
                          <a:latin typeface="Share Tech"/>
                          <a:cs typeface="Arial"/>
                          <a:sym typeface="Arial"/>
                        </a:rPr>
                        <a:t>Predictive</a:t>
                      </a:r>
                      <a:r>
                        <a:rPr lang="de-DE" sz="900" b="0" i="0" u="none" strike="noStrike" cap="none" dirty="0">
                          <a:solidFill>
                            <a:srgbClr val="5EFFFD"/>
                          </a:solidFill>
                          <a:latin typeface="Share Tech"/>
                          <a:cs typeface="Arial"/>
                          <a:sym typeface="Arial"/>
                        </a:rPr>
                        <a:t> Aprio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900" b="0" i="0" u="none" strike="noStrike" cap="none" dirty="0">
                          <a:solidFill>
                            <a:srgbClr val="FF9973"/>
                          </a:solidFill>
                          <a:latin typeface="Share Tech"/>
                          <a:cs typeface="Arial"/>
                          <a:sym typeface="Arial"/>
                        </a:rPr>
                        <a:t>ASP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29192"/>
                  </a:ext>
                </a:extLst>
              </a:tr>
              <a:tr h="456954">
                <a:tc>
                  <a:txBody>
                    <a:bodyPr/>
                    <a:lstStyle/>
                    <a:p>
                      <a:pPr algn="r"/>
                      <a:r>
                        <a:rPr lang="de-DE" sz="900" b="1" dirty="0" err="1">
                          <a:solidFill>
                            <a:schemeClr val="bg1"/>
                          </a:solidFill>
                          <a:latin typeface="Share Tech" panose="020B0604020202020204" charset="0"/>
                        </a:rPr>
                        <a:t>Usag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sz="700" dirty="0">
                          <a:solidFill>
                            <a:schemeClr val="bg1"/>
                          </a:solidFill>
                        </a:rPr>
                        <a:t>Association rule mining algorithms, which means they look for patterns or relationships between different attributes in a datab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a:txBody>
                    <a:bodyPr/>
                    <a:lstStyle/>
                    <a:p>
                      <a:r>
                        <a:rPr lang="en-US" sz="700" dirty="0">
                          <a:solidFill>
                            <a:schemeClr val="bg1"/>
                          </a:solidFill>
                        </a:rPr>
                        <a:t>Extension of the classical </a:t>
                      </a:r>
                      <a:r>
                        <a:rPr lang="en-US" sz="700" dirty="0" err="1">
                          <a:solidFill>
                            <a:schemeClr val="bg1"/>
                          </a:solidFill>
                        </a:rPr>
                        <a:t>Apriori</a:t>
                      </a:r>
                      <a:r>
                        <a:rPr lang="en-US" sz="700" dirty="0">
                          <a:solidFill>
                            <a:schemeClr val="bg1"/>
                          </a:solidFill>
                        </a:rPr>
                        <a:t> algorithm, which additionally implements a prediction function to predict future 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Two phases: Association pattern mining phase and sequence pattern mining phas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6555574"/>
                  </a:ext>
                </a:extLst>
              </a:tr>
              <a:tr h="0">
                <a:tc>
                  <a:txBody>
                    <a:bodyPr/>
                    <a:lstStyle/>
                    <a:p>
                      <a:pPr algn="r"/>
                      <a:r>
                        <a:rPr lang="de-DE" sz="900" b="1" dirty="0" err="1">
                          <a:solidFill>
                            <a:schemeClr val="bg1"/>
                          </a:solidFill>
                          <a:latin typeface="Share Tech" panose="020B0604020202020204" charset="0"/>
                        </a:rPr>
                        <a:t>Techniqu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Divide and </a:t>
                      </a:r>
                      <a:r>
                        <a:rPr lang="de-DE" sz="700" dirty="0" err="1">
                          <a:solidFill>
                            <a:schemeClr val="bg1"/>
                          </a:solidFill>
                        </a:rPr>
                        <a:t>conquer</a:t>
                      </a:r>
                      <a:r>
                        <a:rPr lang="de-DE" sz="700" dirty="0">
                          <a:solidFill>
                            <a:schemeClr val="bg1"/>
                          </a:solidFill>
                        </a:rPr>
                        <a:t> </a:t>
                      </a:r>
                      <a:r>
                        <a:rPr lang="de-DE" sz="700" dirty="0" err="1">
                          <a:solidFill>
                            <a:schemeClr val="bg1"/>
                          </a:solidFill>
                        </a:rPr>
                        <a:t>using</a:t>
                      </a:r>
                      <a:r>
                        <a:rPr lang="de-DE" sz="700" dirty="0">
                          <a:solidFill>
                            <a:schemeClr val="bg1"/>
                          </a:solidFill>
                        </a:rPr>
                        <a:t> </a:t>
                      </a:r>
                      <a:r>
                        <a:rPr lang="en-US" sz="700" dirty="0">
                          <a:solidFill>
                            <a:schemeClr val="bg1"/>
                          </a:solidFill>
                        </a:rPr>
                        <a:t>Frequent Pattern Tree (FP-Tree), which allows to reduce the number of candidates to be searched in the database</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readth first search &amp; </a:t>
                      </a:r>
                      <a:r>
                        <a:rPr lang="en-US" sz="700" dirty="0" err="1">
                          <a:solidFill>
                            <a:schemeClr val="bg1"/>
                          </a:solidFill>
                        </a:rPr>
                        <a:t>Apriori</a:t>
                      </a:r>
                      <a:r>
                        <a:rPr lang="en-US" sz="700" dirty="0">
                          <a:solidFill>
                            <a:schemeClr val="bg1"/>
                          </a:solidFill>
                        </a:rPr>
                        <a:t> property (for Pruning): Creation of candidate sets of attribute combinations and subsequent searching of the database for these candi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Uses historical data to train a model that allows it to make predictions about which attribute combinations will occur frequently in the future. This predictive function can be used to make future decis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BSM(Branch Sort Method) using merge sort</a:t>
                      </a:r>
                    </a:p>
                    <a:p>
                      <a:endParaRPr lang="en-US"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873485"/>
                  </a:ext>
                </a:extLst>
              </a:tr>
              <a:tr h="0">
                <a:tc>
                  <a:txBody>
                    <a:bodyPr/>
                    <a:lstStyle/>
                    <a:p>
                      <a:pPr algn="r"/>
                      <a:r>
                        <a:rPr lang="de-DE" sz="900" b="1" dirty="0">
                          <a:solidFill>
                            <a:schemeClr val="bg1"/>
                          </a:solidFill>
                          <a:latin typeface="Share Tech" panose="020B0604020202020204" charset="0"/>
                        </a:rPr>
                        <a:t>Databas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two times only</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Database is scanned for each time a candidate item set is generated</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Database is scanned for each time a candidate item set is generated</a:t>
                      </a:r>
                      <a:r>
                        <a:rPr lang="de-DE" sz="700" dirty="0">
                          <a:solidFill>
                            <a:schemeClr val="bg1"/>
                          </a:solidFill>
                        </a:rPr>
                        <a:t> + </a:t>
                      </a:r>
                      <a:r>
                        <a:rPr lang="de-DE" sz="700" dirty="0" err="1">
                          <a:solidFill>
                            <a:schemeClr val="bg1"/>
                          </a:solidFill>
                        </a:rPr>
                        <a:t>training</a:t>
                      </a:r>
                      <a:r>
                        <a:rPr lang="de-DE" sz="700" dirty="0">
                          <a:solidFill>
                            <a:schemeClr val="bg1"/>
                          </a:solidFill>
                        </a:rPr>
                        <a:t> a </a:t>
                      </a:r>
                      <a:r>
                        <a:rPr lang="de-DE" sz="700" dirty="0" err="1">
                          <a:solidFill>
                            <a:schemeClr val="bg1"/>
                          </a:solidFill>
                        </a:rPr>
                        <a:t>model</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historical</a:t>
                      </a:r>
                      <a:r>
                        <a:rPr lang="de-DE" sz="700" dirty="0">
                          <a:solidFill>
                            <a:schemeClr val="bg1"/>
                          </a:solidFill>
                        </a:rPr>
                        <a:t> </a:t>
                      </a:r>
                      <a:r>
                        <a:rPr lang="de-DE" sz="700" dirty="0" err="1">
                          <a:solidFill>
                            <a:schemeClr val="bg1"/>
                          </a:solidFill>
                        </a:rPr>
                        <a:t>data</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One time</a:t>
                      </a: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1790751"/>
                  </a:ext>
                </a:extLst>
              </a:tr>
              <a:tr h="128556">
                <a:tc>
                  <a:txBody>
                    <a:bodyPr/>
                    <a:lstStyle/>
                    <a:p>
                      <a:pPr algn="r"/>
                      <a:r>
                        <a:rPr lang="de-DE" sz="900" b="1" dirty="0" err="1">
                          <a:solidFill>
                            <a:schemeClr val="bg1"/>
                          </a:solidFill>
                          <a:latin typeface="Share Tech" panose="020B0604020202020204" charset="0"/>
                        </a:rPr>
                        <a:t>Execution</a:t>
                      </a:r>
                      <a:r>
                        <a:rPr lang="de-DE" sz="900" b="1" dirty="0">
                          <a:solidFill>
                            <a:schemeClr val="bg1"/>
                          </a:solidFill>
                          <a:latin typeface="Share Tech" panose="020B0604020202020204" charset="0"/>
                        </a:rPr>
                        <a:t> Ti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Less time as compared to </a:t>
                      </a:r>
                      <a:r>
                        <a:rPr lang="en-US" sz="700" dirty="0" err="1">
                          <a:solidFill>
                            <a:schemeClr val="bg1"/>
                          </a:solidFill>
                        </a:rPr>
                        <a:t>Apriori</a:t>
                      </a:r>
                      <a:r>
                        <a:rPr lang="en-US" sz="700" dirty="0">
                          <a:solidFill>
                            <a:schemeClr val="bg1"/>
                          </a:solidFill>
                        </a:rPr>
                        <a:t> algorithm</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lower than FP-Growth as time is consumed in scanning database for each candidate item set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700" dirty="0">
                          <a:solidFill>
                            <a:schemeClr val="bg1"/>
                          </a:solidFill>
                        </a:rPr>
                        <a:t>Longest execution tim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00" dirty="0">
                        <a:solidFill>
                          <a:schemeClr val="bg1"/>
                        </a:solidFil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astest in </a:t>
                      </a:r>
                      <a:r>
                        <a:rPr lang="de-DE" sz="700" dirty="0" err="1">
                          <a:solidFill>
                            <a:schemeClr val="bg1"/>
                          </a:solidFill>
                        </a:rPr>
                        <a:t>this</a:t>
                      </a:r>
                      <a:r>
                        <a:rPr lang="de-DE" sz="700" dirty="0">
                          <a:solidFill>
                            <a:schemeClr val="bg1"/>
                          </a:solidFill>
                        </a:rPr>
                        <a:t> </a:t>
                      </a:r>
                      <a:r>
                        <a:rPr lang="de-DE" sz="700" dirty="0" err="1">
                          <a:solidFill>
                            <a:schemeClr val="bg1"/>
                          </a:solidFill>
                        </a:rPr>
                        <a:t>comparison</a:t>
                      </a:r>
                      <a:endParaRPr lang="de-DE" sz="700" dirty="0">
                        <a:solidFill>
                          <a:schemeClr val="bg1"/>
                        </a:solidFill>
                      </a:endParaRPr>
                    </a:p>
                    <a:p>
                      <a:endParaRPr lang="de-DE" sz="700" dirty="0">
                        <a:solidFill>
                          <a:schemeClr val="bg1"/>
                        </a:solidFill>
                      </a:endParaRPr>
                    </a:p>
                    <a:p>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0342241"/>
                  </a:ext>
                </a:extLst>
              </a:tr>
              <a:tr h="204756">
                <a:tc>
                  <a:txBody>
                    <a:bodyPr/>
                    <a:lstStyle/>
                    <a:p>
                      <a:pPr algn="r"/>
                      <a:r>
                        <a:rPr lang="de-DE" sz="900" b="1" dirty="0" err="1">
                          <a:solidFill>
                            <a:schemeClr val="bg1"/>
                          </a:solidFill>
                          <a:latin typeface="Share Tech" panose="020B0604020202020204" charset="0"/>
                        </a:rPr>
                        <a:t>Drawback</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Tree is expensive to build and consumes more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Too many Candidate Itemset. Too many passes over database. Requires large memory space</a:t>
                      </a:r>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Slow, </a:t>
                      </a:r>
                      <a:r>
                        <a:rPr lang="en-US" sz="700" dirty="0">
                          <a:solidFill>
                            <a:schemeClr val="bg1"/>
                          </a:solidFill>
                        </a:rPr>
                        <a:t>Presence of outliers or unexpected patterns in the historical data affect the predictive ability of the model and lead to inaccurate predictions</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Strongly increasing resource requirements with increasing data volum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9065350"/>
                  </a:ext>
                </a:extLst>
              </a:tr>
              <a:tr h="0">
                <a:tc>
                  <a:txBody>
                    <a:bodyPr/>
                    <a:lstStyle/>
                    <a:p>
                      <a:pPr algn="r"/>
                      <a:r>
                        <a:rPr lang="de-DE" sz="900" b="1" dirty="0">
                          <a:solidFill>
                            <a:schemeClr val="bg1"/>
                          </a:solidFill>
                          <a:latin typeface="Share Tech" panose="020B0604020202020204" charset="0"/>
                        </a:rPr>
                        <a:t>Advan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Database is scanned only two times. No candidate generation</a:t>
                      </a:r>
                    </a:p>
                    <a:p>
                      <a:endParaRPr lang="en-US" sz="700" dirty="0">
                        <a:solidFill>
                          <a:schemeClr val="bg1"/>
                        </a:solidFill>
                      </a:endParaRP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a:solidFill>
                            <a:schemeClr val="bg1"/>
                          </a:solidFill>
                        </a:rPr>
                        <a:t>Use large itemset property. Easy to Implement</a:t>
                      </a:r>
                    </a:p>
                    <a:p>
                      <a:endParaRPr lang="en-US"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Predict future data and make decisions on this basis. Can improve the business 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Highly suitable for interactive mining. It requires less memory because of its compression feature in ASPs 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197609"/>
                  </a:ext>
                </a:extLst>
              </a:tr>
              <a:tr h="265777">
                <a:tc>
                  <a:txBody>
                    <a:bodyPr/>
                    <a:lstStyle/>
                    <a:p>
                      <a:pPr algn="r"/>
                      <a:r>
                        <a:rPr lang="de-DE" sz="900" b="1" dirty="0">
                          <a:solidFill>
                            <a:schemeClr val="bg1"/>
                          </a:solidFill>
                          <a:latin typeface="Share Tech" panose="020B0604020202020204" charset="0"/>
                        </a:rPr>
                        <a:t>Storage </a:t>
                      </a:r>
                      <a:r>
                        <a:rPr lang="de-DE" sz="900" b="1" dirty="0" err="1">
                          <a:solidFill>
                            <a:schemeClr val="bg1"/>
                          </a:solidFill>
                          <a:latin typeface="Share Tech" panose="020B0604020202020204" charset="0"/>
                        </a:rPr>
                        <a:t>Structure</a:t>
                      </a:r>
                      <a:endParaRPr lang="de-DE" sz="900" b="1" dirty="0">
                        <a:solidFill>
                          <a:schemeClr val="bg1"/>
                        </a:solidFill>
                        <a:latin typeface="Share Tech" panose="020B060402020202020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rr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FP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dirty="0">
                          <a:solidFill>
                            <a:schemeClr val="bg1"/>
                          </a:solidFill>
                        </a:rPr>
                        <a:t>FP Tree structure with </a:t>
                      </a:r>
                      <a:r>
                        <a:rPr lang="en-US" sz="700" dirty="0" err="1">
                          <a:solidFill>
                            <a:schemeClr val="bg1"/>
                          </a:solidFill>
                        </a:rPr>
                        <a:t>itemsets</a:t>
                      </a:r>
                      <a:r>
                        <a:rPr lang="en-US" sz="700" dirty="0">
                          <a:solidFill>
                            <a:schemeClr val="bg1"/>
                          </a:solidFill>
                        </a:rPr>
                        <a:t> that exceed a certain support threshold</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700" dirty="0">
                          <a:solidFill>
                            <a:schemeClr val="bg1"/>
                          </a:solidFill>
                        </a:rPr>
                        <a:t>ASP Miner </a:t>
                      </a:r>
                      <a:r>
                        <a:rPr lang="de-DE" sz="700" dirty="0" err="1">
                          <a:solidFill>
                            <a:schemeClr val="bg1"/>
                          </a:solidFill>
                        </a:rPr>
                        <a:t>Tree</a:t>
                      </a:r>
                      <a:endParaRPr lang="de-DE" sz="7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695601"/>
                  </a:ext>
                </a:extLst>
              </a:tr>
            </a:tbl>
          </a:graphicData>
        </a:graphic>
      </p:graphicFrame>
      <p:sp>
        <p:nvSpPr>
          <p:cNvPr id="10" name="Textfeld 9">
            <a:extLst>
              <a:ext uri="{FF2B5EF4-FFF2-40B4-BE49-F238E27FC236}">
                <a16:creationId xmlns:a16="http://schemas.microsoft.com/office/drawing/2014/main" id="{07D03EE6-E647-5D1C-1F02-32FFD8C199AC}"/>
              </a:ext>
            </a:extLst>
          </p:cNvPr>
          <p:cNvSpPr txBox="1"/>
          <p:nvPr/>
        </p:nvSpPr>
        <p:spPr>
          <a:xfrm>
            <a:off x="806688" y="4937821"/>
            <a:ext cx="8524240" cy="200055"/>
          </a:xfrm>
          <a:prstGeom prst="rect">
            <a:avLst/>
          </a:prstGeom>
          <a:noFill/>
        </p:spPr>
        <p:txBody>
          <a:bodyPr wrap="square" rtlCol="0">
            <a:spAutoFit/>
          </a:bodyPr>
          <a:lstStyle/>
          <a:p>
            <a:r>
              <a:rPr lang="de-DE" sz="700" i="1" dirty="0">
                <a:solidFill>
                  <a:schemeClr val="bg1"/>
                </a:solidFill>
              </a:rPr>
              <a:t>Source: Frequent Pattern Mining </a:t>
            </a:r>
            <a:r>
              <a:rPr lang="de-DE" sz="700" i="1" dirty="0" err="1">
                <a:solidFill>
                  <a:schemeClr val="bg1"/>
                </a:solidFill>
              </a:rPr>
              <a:t>Algorithms</a:t>
            </a:r>
            <a:r>
              <a:rPr lang="de-DE" sz="700" i="1" dirty="0">
                <a:solidFill>
                  <a:schemeClr val="bg1"/>
                </a:solidFill>
              </a:rPr>
              <a:t> </a:t>
            </a:r>
            <a:r>
              <a:rPr lang="de-DE" sz="700" i="1" dirty="0" err="1">
                <a:solidFill>
                  <a:schemeClr val="bg1"/>
                </a:solidFill>
              </a:rPr>
              <a:t>for</a:t>
            </a:r>
            <a:r>
              <a:rPr lang="de-DE" sz="700" i="1" dirty="0">
                <a:solidFill>
                  <a:schemeClr val="bg1"/>
                </a:solidFill>
              </a:rPr>
              <a:t> </a:t>
            </a:r>
            <a:r>
              <a:rPr lang="de-DE" sz="700" i="1" dirty="0" err="1">
                <a:solidFill>
                  <a:schemeClr val="bg1"/>
                </a:solidFill>
              </a:rPr>
              <a:t>Finding</a:t>
            </a:r>
            <a:r>
              <a:rPr lang="de-DE" sz="700" i="1" dirty="0">
                <a:solidFill>
                  <a:schemeClr val="bg1"/>
                </a:solidFill>
              </a:rPr>
              <a:t> Associated Frequent Patterns </a:t>
            </a:r>
            <a:r>
              <a:rPr lang="de-DE" sz="700" i="1" dirty="0" err="1">
                <a:solidFill>
                  <a:schemeClr val="bg1"/>
                </a:solidFill>
              </a:rPr>
              <a:t>for</a:t>
            </a:r>
            <a:r>
              <a:rPr lang="de-DE" sz="700" i="1" dirty="0">
                <a:solidFill>
                  <a:schemeClr val="bg1"/>
                </a:solidFill>
              </a:rPr>
              <a:t> Data Streams: A Survey; S. Nasreen, M. Azam, K. </a:t>
            </a:r>
            <a:r>
              <a:rPr lang="de-DE" sz="700" i="1" dirty="0" err="1">
                <a:solidFill>
                  <a:schemeClr val="bg1"/>
                </a:solidFill>
              </a:rPr>
              <a:t>Shezhad</a:t>
            </a:r>
            <a:r>
              <a:rPr lang="de-DE" sz="700" i="1" dirty="0">
                <a:solidFill>
                  <a:schemeClr val="bg1"/>
                </a:solidFill>
              </a:rPr>
              <a:t>, U. Naeem, M. </a:t>
            </a:r>
            <a:r>
              <a:rPr lang="de-DE" sz="700" i="1" dirty="0" err="1">
                <a:solidFill>
                  <a:schemeClr val="bg1"/>
                </a:solidFill>
              </a:rPr>
              <a:t>Ghazanfar</a:t>
            </a:r>
            <a:r>
              <a:rPr lang="de-DE" sz="700" i="1" dirty="0">
                <a:solidFill>
                  <a:schemeClr val="bg1"/>
                </a:solidFill>
              </a:rPr>
              <a:t>; 2014</a:t>
            </a:r>
          </a:p>
        </p:txBody>
      </p:sp>
      <p:pic>
        <p:nvPicPr>
          <p:cNvPr id="4" name="Grafik 3">
            <a:extLst>
              <a:ext uri="{FF2B5EF4-FFF2-40B4-BE49-F238E27FC236}">
                <a16:creationId xmlns:a16="http://schemas.microsoft.com/office/drawing/2014/main" id="{49EA09C7-D07E-1D7C-E43B-B8288C07F26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5570" b="99093" l="9958" r="89902">
                        <a14:foregroundMark x1="27209" y1="25389" x2="38008" y2="67876"/>
                        <a14:foregroundMark x1="31136" y1="42487" x2="28471" y2="93782"/>
                        <a14:foregroundMark x1="45021" y1="76036" x2="75877" y2="89249"/>
                        <a14:foregroundMark x1="75877" y1="89249" x2="76297" y2="89249"/>
                        <a14:foregroundMark x1="77560" y1="92617" x2="21318" y2="93653"/>
                        <a14:foregroundMark x1="19074" y1="86658" x2="57924" y2="81477"/>
                        <a14:foregroundMark x1="84993" y1="93394" x2="50491" y2="91969"/>
                        <a14:foregroundMark x1="50491" y1="91969" x2="50491" y2="91969"/>
                        <a14:foregroundMark x1="68163" y1="10363" x2="69986" y2="8161"/>
                        <a14:foregroundMark x1="79944" y1="28886" x2="76438" y2="34974"/>
                        <a14:foregroundMark x1="68303" y1="7513" x2="68583" y2="6995"/>
                        <a14:foregroundMark x1="71669" y1="6347" x2="70968" y2="7254"/>
                        <a14:foregroundMark x1="69986" y1="5570" x2="69986" y2="5570"/>
                        <a14:foregroundMark x1="21038" y1="27332" x2="18233" y2="31218"/>
                        <a14:foregroundMark x1="20056" y1="31218" x2="18093" y2="30829"/>
                        <a14:foregroundMark x1="20617" y1="31218" x2="16690" y2="31218"/>
                        <a14:foregroundMark x1="18794" y1="77591" x2="18794" y2="96503"/>
                        <a14:foregroundMark x1="17532" y1="76295" x2="16269" y2="76295"/>
                        <a14:foregroundMark x1="83310" y1="88472" x2="84292" y2="98964"/>
                        <a14:foregroundMark x1="86957" y1="87176" x2="86957" y2="87176"/>
                        <a14:foregroundMark x1="86536" y1="87824" x2="86536" y2="87824"/>
                        <a14:foregroundMark x1="85835" y1="91321" x2="85133" y2="99093"/>
                        <a14:foregroundMark x1="84712" y1="64637" x2="84712" y2="64637"/>
                        <a14:foregroundMark x1="85133" y1="64767" x2="85133" y2="64767"/>
                        <a14:foregroundMark x1="85554" y1="65415" x2="85554" y2="65415"/>
                        <a14:foregroundMark x1="86396" y1="93523" x2="86396" y2="93523"/>
                        <a14:foregroundMark x1="86396" y1="94689" x2="86396" y2="94689"/>
                        <a14:foregroundMark x1="86536" y1="94689" x2="86536" y2="94689"/>
                        <a14:foregroundMark x1="15568" y1="92098" x2="15568" y2="92098"/>
                        <a14:foregroundMark x1="21599" y1="45207" x2="21599" y2="45207"/>
                        <a14:foregroundMark x1="20898" y1="45207" x2="20898" y2="45207"/>
                        <a14:foregroundMark x1="16410" y1="59197" x2="16550" y2="56347"/>
                        <a14:foregroundMark x1="16690" y1="58031" x2="16550" y2="54663"/>
                        <a14:foregroundMark x1="15428" y1="76166" x2="15428" y2="76166"/>
                        <a14:foregroundMark x1="15708" y1="85363" x2="15708" y2="85363"/>
                        <a14:foregroundMark x1="14586" y1="90415" x2="14586" y2="92617"/>
                        <a14:foregroundMark x1="20898" y1="36140" x2="20898" y2="36140"/>
                        <a14:foregroundMark x1="20337" y1="36269" x2="20337" y2="36269"/>
                      </a14:backgroundRemoval>
                    </a14:imgEffect>
                  </a14:imgLayer>
                </a14:imgProps>
              </a:ext>
            </a:extLst>
          </a:blip>
          <a:srcRect b="2837"/>
          <a:stretch/>
        </p:blipFill>
        <p:spPr>
          <a:xfrm>
            <a:off x="24513" y="1981074"/>
            <a:ext cx="631093" cy="663927"/>
          </a:xfrm>
          <a:prstGeom prst="rect">
            <a:avLst/>
          </a:prstGeom>
        </p:spPr>
      </p:pic>
      <p:sp>
        <p:nvSpPr>
          <p:cNvPr id="8" name="Pfeil: nach rechts 7">
            <a:extLst>
              <a:ext uri="{FF2B5EF4-FFF2-40B4-BE49-F238E27FC236}">
                <a16:creationId xmlns:a16="http://schemas.microsoft.com/office/drawing/2014/main" id="{4CAFC7DF-49F3-D229-17B7-D92EBA9BAB8A}"/>
              </a:ext>
            </a:extLst>
          </p:cNvPr>
          <p:cNvSpPr/>
          <p:nvPr/>
        </p:nvSpPr>
        <p:spPr>
          <a:xfrm>
            <a:off x="452100" y="2169242"/>
            <a:ext cx="356096" cy="32505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5555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702975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en" dirty="0"/>
              <a:t>Best Practices</a:t>
            </a:r>
            <a:endParaRPr dirty="0"/>
          </a:p>
        </p:txBody>
      </p:sp>
      <p:graphicFrame>
        <p:nvGraphicFramePr>
          <p:cNvPr id="1243" name="Google Shape;1243;p44"/>
          <p:cNvGraphicFramePr/>
          <p:nvPr>
            <p:extLst>
              <p:ext uri="{D42A27DB-BD31-4B8C-83A1-F6EECF244321}">
                <p14:modId xmlns:p14="http://schemas.microsoft.com/office/powerpoint/2010/main" val="888777908"/>
              </p:ext>
            </p:extLst>
          </p:nvPr>
        </p:nvGraphicFramePr>
        <p:xfrm>
          <a:off x="819303" y="1330852"/>
          <a:ext cx="7390354" cy="2726415"/>
        </p:xfrm>
        <a:graphic>
          <a:graphicData uri="http://schemas.openxmlformats.org/drawingml/2006/table">
            <a:tbl>
              <a:tblPr>
                <a:noFill/>
                <a:tableStyleId>{E723F757-1103-4035-A6BF-FC693B604208}</a:tableStyleId>
              </a:tblPr>
              <a:tblGrid>
                <a:gridCol w="2379613">
                  <a:extLst>
                    <a:ext uri="{9D8B030D-6E8A-4147-A177-3AD203B41FA5}">
                      <a16:colId xmlns:a16="http://schemas.microsoft.com/office/drawing/2014/main" val="20000"/>
                    </a:ext>
                  </a:extLst>
                </a:gridCol>
                <a:gridCol w="1670247">
                  <a:extLst>
                    <a:ext uri="{9D8B030D-6E8A-4147-A177-3AD203B41FA5}">
                      <a16:colId xmlns:a16="http://schemas.microsoft.com/office/drawing/2014/main" val="20001"/>
                    </a:ext>
                  </a:extLst>
                </a:gridCol>
                <a:gridCol w="3340494">
                  <a:extLst>
                    <a:ext uri="{9D8B030D-6E8A-4147-A177-3AD203B41FA5}">
                      <a16:colId xmlns:a16="http://schemas.microsoft.com/office/drawing/2014/main" val="20003"/>
                    </a:ext>
                  </a:extLst>
                </a:gridCol>
              </a:tblGrid>
              <a:tr h="664975">
                <a:tc>
                  <a:txBody>
                    <a:bodyPr/>
                    <a:lstStyle/>
                    <a:p>
                      <a:pPr marL="0" lvl="0" indent="0" algn="l" rtl="0">
                        <a:spcBef>
                          <a:spcPts val="0"/>
                        </a:spcBef>
                        <a:spcAft>
                          <a:spcPts val="0"/>
                        </a:spcAft>
                        <a:buNone/>
                      </a:pPr>
                      <a:endParaRPr sz="1200"/>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dirty="0">
                          <a:solidFill>
                            <a:schemeClr val="lt1"/>
                          </a:solidFill>
                          <a:latin typeface="Maven Pro"/>
                          <a:ea typeface="Maven Pro"/>
                          <a:cs typeface="Maven Pro"/>
                          <a:sym typeface="Maven Pro"/>
                        </a:rPr>
                        <a:t>Startdatum</a:t>
                      </a:r>
                      <a:endParaRPr sz="1400" dirty="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l" rtl="0">
                        <a:spcBef>
                          <a:spcPts val="0"/>
                        </a:spcBef>
                        <a:spcAft>
                          <a:spcPts val="0"/>
                        </a:spcAft>
                        <a:buNone/>
                      </a:pPr>
                      <a:r>
                        <a:rPr lang="en" sz="1800" dirty="0">
                          <a:solidFill>
                            <a:schemeClr val="lt1"/>
                          </a:solidFill>
                          <a:latin typeface="Maven Pro"/>
                          <a:ea typeface="Maven Pro"/>
                          <a:cs typeface="Maven Pro"/>
                          <a:sym typeface="Maven Pro"/>
                        </a:rPr>
                        <a:t>Use Case</a:t>
                      </a:r>
                      <a:endParaRPr sz="1800" dirty="0">
                        <a:solidFill>
                          <a:schemeClr val="lt1"/>
                        </a:solidFill>
                        <a:latin typeface="Maven Pro"/>
                        <a:ea typeface="Maven Pro"/>
                        <a:cs typeface="Maven Pro"/>
                        <a:sym typeface="Maven Pro"/>
                      </a:endParaRPr>
                    </a:p>
                  </a:txBody>
                  <a:tcPr marL="91425" marR="91425" marT="91425" marB="91425">
                    <a:lnL w="9525" cap="flat" cmpd="sng" algn="ctr">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lgn="ctr">
                      <a:solidFill>
                        <a:schemeClr val="accent2">
                          <a:alpha val="0"/>
                        </a:schemeClr>
                      </a:solidFill>
                      <a:prstDash val="solid"/>
                      <a:round/>
                      <a:headEnd type="none" w="sm" len="sm"/>
                      <a:tailEnd type="none" w="sm" len="sm"/>
                    </a:lnB>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1800" dirty="0">
                          <a:solidFill>
                            <a:schemeClr val="accent2"/>
                          </a:solidFill>
                          <a:latin typeface="Share Tech"/>
                          <a:ea typeface="Share Tech"/>
                          <a:cs typeface="Share Tech"/>
                          <a:sym typeface="Share Tech"/>
                        </a:rPr>
                        <a:t>Walmart</a:t>
                      </a:r>
                      <a:endParaRPr sz="1800" dirty="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1990er</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verstehen und Effizienz der Lieferkette zu verbesser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chemeClr val="accent2">
                          <a:alpha val="0"/>
                        </a:scheme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1800" dirty="0">
                          <a:solidFill>
                            <a:schemeClr val="accent1"/>
                          </a:solidFill>
                          <a:latin typeface="Share Tech"/>
                          <a:ea typeface="Share Tech"/>
                          <a:cs typeface="Share Tech"/>
                          <a:sym typeface="Share Tech"/>
                        </a:rPr>
                        <a:t>Amazon</a:t>
                      </a:r>
                      <a:endParaRPr sz="1800" dirty="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de-DE" sz="1200" dirty="0">
                          <a:solidFill>
                            <a:schemeClr val="lt1"/>
                          </a:solidFill>
                          <a:latin typeface="Maven Pro"/>
                          <a:ea typeface="Maven Pro"/>
                          <a:cs typeface="Maven Pro"/>
                          <a:sym typeface="Maven Pro"/>
                        </a:rPr>
                        <a:t>1990er</a:t>
                      </a: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en" sz="1200" dirty="0">
                          <a:solidFill>
                            <a:schemeClr val="lt1"/>
                          </a:solidFill>
                          <a:latin typeface="Maven Pro"/>
                          <a:ea typeface="Maven Pro"/>
                          <a:cs typeface="Maven Pro"/>
                          <a:sym typeface="Maven Pro"/>
                        </a:rPr>
                        <a:t>Recommendation Engine</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lgn="ctr">
                      <a:solidFill>
                        <a:srgbClr val="9E9E9E">
                          <a:alpha val="0"/>
                        </a:srgbClr>
                      </a:solidFill>
                      <a:prstDash val="solid"/>
                      <a:round/>
                      <a:headEnd type="none" w="sm" len="sm"/>
                      <a:tailEnd type="none" w="sm" len="sm"/>
                    </a:lnB>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1800" dirty="0">
                          <a:solidFill>
                            <a:schemeClr val="accent3"/>
                          </a:solidFill>
                          <a:latin typeface="Share Tech"/>
                          <a:ea typeface="Share Tech"/>
                          <a:cs typeface="Share Tech"/>
                          <a:sym typeface="Share Tech"/>
                        </a:rPr>
                        <a:t>Tesco</a:t>
                      </a:r>
                      <a:endParaRPr sz="1800" dirty="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chemeClr val="lt1"/>
                          </a:solidFill>
                          <a:latin typeface="Maven Pro"/>
                          <a:ea typeface="Maven Pro"/>
                          <a:cs typeface="Maven Pro"/>
                          <a:sym typeface="Maven Pro"/>
                        </a:rPr>
                        <a:t>2016</a:t>
                      </a:r>
                      <a:endParaRPr sz="1200" dirty="0">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l" rtl="0">
                        <a:spcBef>
                          <a:spcPts val="0"/>
                        </a:spcBef>
                        <a:spcAft>
                          <a:spcPts val="0"/>
                        </a:spcAft>
                        <a:buNone/>
                      </a:pPr>
                      <a:r>
                        <a:rPr lang="de-DE" sz="1200" dirty="0">
                          <a:solidFill>
                            <a:schemeClr val="lt1"/>
                          </a:solidFill>
                          <a:latin typeface="Maven Pro"/>
                          <a:ea typeface="Maven Pro"/>
                          <a:cs typeface="Maven Pro"/>
                          <a:sym typeface="Maven Pro"/>
                        </a:rPr>
                        <a:t>Kaufverhalten der Kunden analysieren und personalisierte Werbeaktionen und Angebote unterbreiten</a:t>
                      </a:r>
                      <a:endParaRPr sz="1200" dirty="0">
                        <a:solidFill>
                          <a:schemeClr val="lt1"/>
                        </a:solidFill>
                        <a:latin typeface="Maven Pro"/>
                        <a:ea typeface="Maven Pro"/>
                        <a:cs typeface="Maven Pro"/>
                        <a:sym typeface="Maven Pro"/>
                      </a:endParaRPr>
                    </a:p>
                  </a:txBody>
                  <a:tcPr marL="91425" marR="91425" marT="91425" marB="91425" anchor="ctr">
                    <a:lnL w="9525" cap="flat" cmpd="sng" algn="ctr">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lgn="ctr">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24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Dataset </a:t>
            </a:r>
            <a:r>
              <a:rPr lang="de-DE" dirty="0" err="1"/>
              <a:t>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Observations</a:t>
            </a:r>
            <a:endParaRPr dirty="0"/>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NaN Values</a:t>
            </a:r>
            <a:endParaRPr dirty="0"/>
          </a:p>
        </p:txBody>
      </p:sp>
      <p:sp>
        <p:nvSpPr>
          <p:cNvPr id="603" name="Google Shape;603;p30"/>
          <p:cNvSpPr txBox="1">
            <a:spLocks noGrp="1"/>
          </p:cNvSpPr>
          <p:nvPr>
            <p:ph type="subTitle" idx="7"/>
          </p:nvPr>
        </p:nvSpPr>
        <p:spPr>
          <a:xfrm>
            <a:off x="5952855" y="3271106"/>
            <a:ext cx="2084699"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mportieren von Wetterdaten anhand der Geolocation &amp; Feiertagskalenderdaten</a:t>
            </a:r>
            <a:endParaRPr dirty="0"/>
          </a:p>
        </p:txBody>
      </p:sp>
      <p:sp>
        <p:nvSpPr>
          <p:cNvPr id="604" name="Google Shape;604;p30"/>
          <p:cNvSpPr txBox="1">
            <a:spLocks noGrp="1"/>
          </p:cNvSpPr>
          <p:nvPr>
            <p:ph type="ctrTitle"/>
          </p:nvPr>
        </p:nvSpPr>
        <p:spPr>
          <a:xfrm>
            <a:off x="116769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Attributes</a:t>
            </a:r>
            <a:endParaRPr dirty="0"/>
          </a:p>
        </p:txBody>
      </p:sp>
      <p:sp>
        <p:nvSpPr>
          <p:cNvPr id="605" name="Google Shape;605;p30"/>
          <p:cNvSpPr txBox="1">
            <a:spLocks noGrp="1"/>
          </p:cNvSpPr>
          <p:nvPr>
            <p:ph type="subTitle" idx="1"/>
          </p:nvPr>
        </p:nvSpPr>
        <p:spPr>
          <a:xfrm>
            <a:off x="1116841" y="1865495"/>
            <a:ext cx="19830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de-DE" dirty="0"/>
              <a:t>5 Attribute: </a:t>
            </a:r>
            <a:r>
              <a:rPr lang="de-DE" dirty="0" err="1"/>
              <a:t>TransactionNo</a:t>
            </a:r>
            <a:r>
              <a:rPr lang="de-DE" dirty="0"/>
              <a:t>, Items, </a:t>
            </a:r>
            <a:r>
              <a:rPr lang="de-DE" dirty="0" err="1"/>
              <a:t>DateTime</a:t>
            </a:r>
            <a:r>
              <a:rPr lang="de-DE" dirty="0"/>
              <a:t>, </a:t>
            </a:r>
            <a:r>
              <a:rPr lang="de-DE" dirty="0" err="1"/>
              <a:t>Daypart</a:t>
            </a:r>
            <a:r>
              <a:rPr lang="de-DE" dirty="0"/>
              <a:t>, </a:t>
            </a:r>
            <a:r>
              <a:rPr lang="de-DE" dirty="0" err="1"/>
              <a:t>DayType</a:t>
            </a:r>
            <a:endParaRPr dirty="0"/>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Über 9.000 Transaktionen</a:t>
            </a:r>
            <a:endParaRPr dirty="0"/>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Keine unvollständigen Observationen</a:t>
            </a:r>
            <a:endParaRPr dirty="0"/>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2</a:t>
            </a:r>
            <a:r>
              <a:rPr lang="en" baseline="30000" dirty="0"/>
              <a:t>nd</a:t>
            </a:r>
            <a:r>
              <a:rPr lang="en" dirty="0"/>
              <a:t> &amp; 3</a:t>
            </a:r>
            <a:r>
              <a:rPr lang="en" baseline="30000" dirty="0"/>
              <a:t>rd</a:t>
            </a:r>
            <a:r>
              <a:rPr lang="en" dirty="0"/>
              <a:t> Dataset</a:t>
            </a:r>
            <a:endParaRPr dirty="0"/>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cxnSpLocks/>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pic>
        <p:nvPicPr>
          <p:cNvPr id="1026" name="Picture 2">
            <a:extLst>
              <a:ext uri="{FF2B5EF4-FFF2-40B4-BE49-F238E27FC236}">
                <a16:creationId xmlns:a16="http://schemas.microsoft.com/office/drawing/2014/main" id="{C3B588B2-0034-86B0-4586-E2C7D2124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77956" y="1816430"/>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8EC1D109-99C1-EB32-9DF2-3B9D78DF6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051730" y="1836131"/>
            <a:ext cx="438989" cy="4389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998A6EE-0E37-1A38-37ED-36B669F143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4547992" y="3066720"/>
            <a:ext cx="1427744" cy="79307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764545FF-3760-FD61-DB8F-6D7E460791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647344" y="3271106"/>
            <a:ext cx="451161" cy="38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455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9"/>
        <p:cNvGrpSpPr/>
        <p:nvPr/>
      </p:nvGrpSpPr>
      <p:grpSpPr>
        <a:xfrm>
          <a:off x="0" y="0"/>
          <a:ext cx="0" cy="0"/>
          <a:chOff x="0" y="0"/>
          <a:chExt cx="0" cy="0"/>
        </a:xfrm>
      </p:grpSpPr>
      <p:pic>
        <p:nvPicPr>
          <p:cNvPr id="1071" name="Picture 2" descr="The Bread Basket | Kaggle">
            <a:extLst>
              <a:ext uri="{FF2B5EF4-FFF2-40B4-BE49-F238E27FC236}">
                <a16:creationId xmlns:a16="http://schemas.microsoft.com/office/drawing/2014/main" id="{406F0980-4EE9-3681-71F4-A59818A619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169"/>
          <a:stretch/>
        </p:blipFill>
        <p:spPr bwMode="auto">
          <a:xfrm>
            <a:off x="751444" y="1545499"/>
            <a:ext cx="3294776" cy="2967718"/>
          </a:xfrm>
          <a:prstGeom prst="rect">
            <a:avLst/>
          </a:prstGeom>
          <a:noFill/>
          <a:extLst>
            <a:ext uri="{909E8E84-426E-40DD-AFC4-6F175D3DCCD1}">
              <a14:hiddenFill xmlns:a14="http://schemas.microsoft.com/office/drawing/2010/main">
                <a:solidFill>
                  <a:srgbClr val="FFFFFF"/>
                </a:solidFill>
              </a14:hiddenFill>
            </a:ext>
          </a:extLst>
        </p:spPr>
      </p:pic>
      <p:sp>
        <p:nvSpPr>
          <p:cNvPr id="600" name="Google Shape;600;p30"/>
          <p:cNvSpPr txBox="1">
            <a:spLocks noGrp="1"/>
          </p:cNvSpPr>
          <p:nvPr>
            <p:ph type="ctrTitle" idx="8"/>
          </p:nvPr>
        </p:nvSpPr>
        <p:spPr>
          <a:xfrm>
            <a:off x="621629" y="411675"/>
            <a:ext cx="6836445"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de-DE" dirty="0"/>
              <a:t>Domain Exploration – </a:t>
            </a:r>
            <a:r>
              <a:rPr lang="de-DE" dirty="0" err="1"/>
              <a:t>Product</a:t>
            </a:r>
            <a:r>
              <a:rPr lang="de-DE" dirty="0"/>
              <a:t> </a:t>
            </a:r>
            <a:r>
              <a:rPr lang="de-DE" dirty="0" err="1"/>
              <a:t>overview</a:t>
            </a:r>
            <a:endParaRPr sz="3000" dirty="0"/>
          </a:p>
        </p:txBody>
      </p:sp>
      <p:sp>
        <p:nvSpPr>
          <p:cNvPr id="12" name="Parallelogramm 11">
            <a:extLst>
              <a:ext uri="{FF2B5EF4-FFF2-40B4-BE49-F238E27FC236}">
                <a16:creationId xmlns:a16="http://schemas.microsoft.com/office/drawing/2014/main" id="{F860FE54-9E52-F5CA-CEAC-DA756FBC32FE}"/>
              </a:ext>
            </a:extLst>
          </p:cNvPr>
          <p:cNvSpPr/>
          <p:nvPr/>
        </p:nvSpPr>
        <p:spPr>
          <a:xfrm>
            <a:off x="4696349" y="1376856"/>
            <a:ext cx="4154758" cy="169932"/>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Products</a:t>
            </a:r>
          </a:p>
        </p:txBody>
      </p:sp>
      <p:sp>
        <p:nvSpPr>
          <p:cNvPr id="13" name="Parallelogramm 12">
            <a:extLst>
              <a:ext uri="{FF2B5EF4-FFF2-40B4-BE49-F238E27FC236}">
                <a16:creationId xmlns:a16="http://schemas.microsoft.com/office/drawing/2014/main" id="{08A11F24-7E9B-ECD0-495B-B3CF0AF0967C}"/>
              </a:ext>
            </a:extLst>
          </p:cNvPr>
          <p:cNvSpPr/>
          <p:nvPr/>
        </p:nvSpPr>
        <p:spPr>
          <a:xfrm>
            <a:off x="752475" y="1377568"/>
            <a:ext cx="3333750" cy="169220"/>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ctr"/>
          <a:lstStyle/>
          <a:p>
            <a:pPr algn="ctr"/>
            <a:r>
              <a:rPr lang="de-DE" sz="800" dirty="0">
                <a:solidFill>
                  <a:srgbClr val="000000"/>
                </a:solidFill>
                <a:latin typeface="Maven Pro" panose="020B0604020202020204" charset="0"/>
              </a:rPr>
              <a:t>The </a:t>
            </a:r>
            <a:r>
              <a:rPr lang="de-DE" sz="800" dirty="0" err="1">
                <a:solidFill>
                  <a:srgbClr val="000000"/>
                </a:solidFill>
                <a:latin typeface="Maven Pro" panose="020B0604020202020204" charset="0"/>
              </a:rPr>
              <a:t>Bread</a:t>
            </a:r>
            <a:r>
              <a:rPr lang="de-DE" sz="800" dirty="0">
                <a:solidFill>
                  <a:srgbClr val="000000"/>
                </a:solidFill>
                <a:latin typeface="Maven Pro" panose="020B0604020202020204" charset="0"/>
              </a:rPr>
              <a:t> Basket </a:t>
            </a: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in Edinburgh</a:t>
            </a:r>
          </a:p>
        </p:txBody>
      </p:sp>
      <p:graphicFrame>
        <p:nvGraphicFramePr>
          <p:cNvPr id="1072" name="Tabelle 1071">
            <a:extLst>
              <a:ext uri="{FF2B5EF4-FFF2-40B4-BE49-F238E27FC236}">
                <a16:creationId xmlns:a16="http://schemas.microsoft.com/office/drawing/2014/main" id="{47360AC6-5E3B-CC54-6DD9-564D621ECCD8}"/>
              </a:ext>
            </a:extLst>
          </p:cNvPr>
          <p:cNvGraphicFramePr>
            <a:graphicFrameLocks noGrp="1"/>
          </p:cNvGraphicFramePr>
          <p:nvPr>
            <p:extLst>
              <p:ext uri="{D42A27DB-BD31-4B8C-83A1-F6EECF244321}">
                <p14:modId xmlns:p14="http://schemas.microsoft.com/office/powerpoint/2010/main" val="2703619647"/>
              </p:ext>
            </p:extLst>
          </p:nvPr>
        </p:nvGraphicFramePr>
        <p:xfrm>
          <a:off x="4696348" y="1545498"/>
          <a:ext cx="4097130" cy="2978567"/>
        </p:xfrm>
        <a:graphic>
          <a:graphicData uri="http://schemas.openxmlformats.org/drawingml/2006/table">
            <a:tbl>
              <a:tblPr firstRow="1" bandRow="1">
                <a:tableStyleId>{E723F757-1103-4035-A6BF-FC693B604208}</a:tableStyleId>
              </a:tblPr>
              <a:tblGrid>
                <a:gridCol w="682855">
                  <a:extLst>
                    <a:ext uri="{9D8B030D-6E8A-4147-A177-3AD203B41FA5}">
                      <a16:colId xmlns:a16="http://schemas.microsoft.com/office/drawing/2014/main" val="191198610"/>
                    </a:ext>
                  </a:extLst>
                </a:gridCol>
                <a:gridCol w="682855">
                  <a:extLst>
                    <a:ext uri="{9D8B030D-6E8A-4147-A177-3AD203B41FA5}">
                      <a16:colId xmlns:a16="http://schemas.microsoft.com/office/drawing/2014/main" val="3191087314"/>
                    </a:ext>
                  </a:extLst>
                </a:gridCol>
                <a:gridCol w="682855">
                  <a:extLst>
                    <a:ext uri="{9D8B030D-6E8A-4147-A177-3AD203B41FA5}">
                      <a16:colId xmlns:a16="http://schemas.microsoft.com/office/drawing/2014/main" val="2711806052"/>
                    </a:ext>
                  </a:extLst>
                </a:gridCol>
                <a:gridCol w="682855">
                  <a:extLst>
                    <a:ext uri="{9D8B030D-6E8A-4147-A177-3AD203B41FA5}">
                      <a16:colId xmlns:a16="http://schemas.microsoft.com/office/drawing/2014/main" val="2657045843"/>
                    </a:ext>
                  </a:extLst>
                </a:gridCol>
                <a:gridCol w="682855">
                  <a:extLst>
                    <a:ext uri="{9D8B030D-6E8A-4147-A177-3AD203B41FA5}">
                      <a16:colId xmlns:a16="http://schemas.microsoft.com/office/drawing/2014/main" val="3556940677"/>
                    </a:ext>
                  </a:extLst>
                </a:gridCol>
                <a:gridCol w="682855">
                  <a:extLst>
                    <a:ext uri="{9D8B030D-6E8A-4147-A177-3AD203B41FA5}">
                      <a16:colId xmlns:a16="http://schemas.microsoft.com/office/drawing/2014/main" val="2132256943"/>
                    </a:ext>
                  </a:extLst>
                </a:gridCol>
              </a:tblGrid>
              <a:tr h="344009">
                <a:tc>
                  <a:txBody>
                    <a:bodyPr/>
                    <a:lstStyle/>
                    <a:p>
                      <a:r>
                        <a:rPr lang="de-DE" sz="700" dirty="0">
                          <a:solidFill>
                            <a:srgbClr val="000000"/>
                          </a:solidFill>
                        </a:rPr>
                        <a:t>Cold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Hot </a:t>
                      </a:r>
                      <a:r>
                        <a:rPr lang="de-DE" sz="700" dirty="0" err="1">
                          <a:solidFill>
                            <a:srgbClr val="000000"/>
                          </a:solidFill>
                        </a:rPr>
                        <a:t>drink</a:t>
                      </a:r>
                      <a:endParaRPr lang="de-DE" sz="700" dirty="0">
                        <a:solidFill>
                          <a:srgbClr val="000000"/>
                        </a:solidFill>
                      </a:endParaRPr>
                    </a:p>
                  </a:txBody>
                  <a:tcPr>
                    <a:solidFill>
                      <a:schemeClr val="bg1"/>
                    </a:solidFill>
                  </a:tcPr>
                </a:tc>
                <a:tc>
                  <a:txBody>
                    <a:bodyPr/>
                    <a:lstStyle/>
                    <a:p>
                      <a:r>
                        <a:rPr lang="de-DE" sz="700" dirty="0">
                          <a:solidFill>
                            <a:srgbClr val="000000"/>
                          </a:solidFill>
                        </a:rPr>
                        <a:t>Plain</a:t>
                      </a:r>
                    </a:p>
                  </a:txBody>
                  <a:tcPr>
                    <a:solidFill>
                      <a:schemeClr val="bg1"/>
                    </a:solidFill>
                  </a:tcPr>
                </a:tc>
                <a:tc>
                  <a:txBody>
                    <a:bodyPr/>
                    <a:lstStyle/>
                    <a:p>
                      <a:r>
                        <a:rPr lang="de-DE" sz="700" dirty="0" err="1">
                          <a:solidFill>
                            <a:srgbClr val="000000"/>
                          </a:solidFill>
                        </a:rPr>
                        <a:t>Savoury</a:t>
                      </a:r>
                      <a:endParaRPr lang="de-DE" sz="700" dirty="0">
                        <a:solidFill>
                          <a:srgbClr val="000000"/>
                        </a:solidFill>
                      </a:endParaRPr>
                    </a:p>
                  </a:txBody>
                  <a:tcPr>
                    <a:solidFill>
                      <a:schemeClr val="bg1"/>
                    </a:solidFill>
                  </a:tcPr>
                </a:tc>
                <a:tc>
                  <a:txBody>
                    <a:bodyPr/>
                    <a:lstStyle/>
                    <a:p>
                      <a:r>
                        <a:rPr lang="de-DE" sz="700" dirty="0">
                          <a:solidFill>
                            <a:srgbClr val="000000"/>
                          </a:solidFill>
                        </a:rPr>
                        <a:t>Sweet</a:t>
                      </a:r>
                    </a:p>
                  </a:txBody>
                  <a:tcPr>
                    <a:solidFill>
                      <a:schemeClr val="bg1"/>
                    </a:solidFill>
                  </a:tcPr>
                </a:tc>
                <a:tc>
                  <a:txBody>
                    <a:bodyPr/>
                    <a:lstStyle/>
                    <a:p>
                      <a:r>
                        <a:rPr lang="de-DE" sz="700" dirty="0">
                          <a:solidFill>
                            <a:srgbClr val="000000"/>
                          </a:solidFill>
                        </a:rPr>
                        <a:t>Other</a:t>
                      </a:r>
                    </a:p>
                  </a:txBody>
                  <a:tcPr>
                    <a:solidFill>
                      <a:schemeClr val="bg1"/>
                    </a:solidFill>
                  </a:tcPr>
                </a:tc>
                <a:extLst>
                  <a:ext uri="{0D108BD9-81ED-4DB2-BD59-A6C34878D82A}">
                    <a16:rowId xmlns:a16="http://schemas.microsoft.com/office/drawing/2014/main" val="1162773933"/>
                  </a:ext>
                </a:extLst>
              </a:tr>
              <a:tr h="400631">
                <a:tc>
                  <a:txBody>
                    <a:bodyPr/>
                    <a:lstStyle/>
                    <a:p>
                      <a:r>
                        <a:rPr lang="de-DE" sz="700" dirty="0">
                          <a:solidFill>
                            <a:schemeClr val="bg1"/>
                          </a:solidFill>
                        </a:rPr>
                        <a:t>Coke</a:t>
                      </a:r>
                    </a:p>
                  </a:txBody>
                  <a:tcPr/>
                </a:tc>
                <a:tc>
                  <a:txBody>
                    <a:bodyPr/>
                    <a:lstStyle/>
                    <a:p>
                      <a:r>
                        <a:rPr lang="de-DE" sz="700" dirty="0">
                          <a:solidFill>
                            <a:schemeClr val="bg1"/>
                          </a:solidFill>
                        </a:rPr>
                        <a:t>Coffee</a:t>
                      </a:r>
                    </a:p>
                  </a:txBody>
                  <a:tcPr/>
                </a:tc>
                <a:tc>
                  <a:txBody>
                    <a:bodyPr/>
                    <a:lstStyle/>
                    <a:p>
                      <a:r>
                        <a:rPr lang="de-DE" sz="700" dirty="0">
                          <a:solidFill>
                            <a:schemeClr val="bg1"/>
                          </a:solidFill>
                        </a:rPr>
                        <a:t>Baguette</a:t>
                      </a:r>
                    </a:p>
                  </a:txBody>
                  <a:tcPr/>
                </a:tc>
                <a:tc>
                  <a:txBody>
                    <a:bodyPr/>
                    <a:lstStyle/>
                    <a:p>
                      <a:r>
                        <a:rPr lang="de-DE" sz="700" dirty="0">
                          <a:solidFill>
                            <a:schemeClr val="bg1"/>
                          </a:solidFill>
                        </a:rPr>
                        <a:t>Bacon</a:t>
                      </a:r>
                    </a:p>
                  </a:txBody>
                  <a:tcPr/>
                </a:tc>
                <a:tc>
                  <a:txBody>
                    <a:bodyPr/>
                    <a:lstStyle/>
                    <a:p>
                      <a:r>
                        <a:rPr lang="de-DE" sz="700" dirty="0" err="1">
                          <a:solidFill>
                            <a:schemeClr val="bg1"/>
                          </a:solidFill>
                        </a:rPr>
                        <a:t>Alfajores</a:t>
                      </a:r>
                      <a:endParaRPr lang="de-DE" sz="700" dirty="0">
                        <a:solidFill>
                          <a:schemeClr val="bg1"/>
                        </a:solidFill>
                      </a:endParaRPr>
                    </a:p>
                  </a:txBody>
                  <a:tcPr/>
                </a:tc>
                <a:tc>
                  <a:txBody>
                    <a:bodyPr/>
                    <a:lstStyle/>
                    <a:p>
                      <a:r>
                        <a:rPr lang="de-DE" sz="700" dirty="0" err="1">
                          <a:solidFill>
                            <a:schemeClr val="bg1"/>
                          </a:solidFill>
                        </a:rPr>
                        <a:t>Afternoon</a:t>
                      </a:r>
                      <a:r>
                        <a:rPr lang="de-DE" sz="700" dirty="0">
                          <a:solidFill>
                            <a:schemeClr val="bg1"/>
                          </a:solidFill>
                        </a:rPr>
                        <a:t> </a:t>
                      </a:r>
                      <a:r>
                        <a:rPr lang="de-DE" sz="700" dirty="0" err="1">
                          <a:solidFill>
                            <a:schemeClr val="bg1"/>
                          </a:solidFill>
                        </a:rPr>
                        <a:t>with</a:t>
                      </a:r>
                      <a:r>
                        <a:rPr lang="de-DE" sz="700" dirty="0">
                          <a:solidFill>
                            <a:schemeClr val="bg1"/>
                          </a:solidFill>
                        </a:rPr>
                        <a:t> </a:t>
                      </a:r>
                      <a:r>
                        <a:rPr lang="de-DE" sz="700" dirty="0" err="1">
                          <a:solidFill>
                            <a:schemeClr val="bg1"/>
                          </a:solidFill>
                        </a:rPr>
                        <a:t>the</a:t>
                      </a:r>
                      <a:r>
                        <a:rPr lang="de-DE" sz="700" dirty="0">
                          <a:solidFill>
                            <a:schemeClr val="bg1"/>
                          </a:solidFill>
                        </a:rPr>
                        <a:t> </a:t>
                      </a:r>
                      <a:r>
                        <a:rPr lang="de-DE" sz="700" dirty="0" err="1">
                          <a:solidFill>
                            <a:schemeClr val="bg1"/>
                          </a:solidFill>
                        </a:rPr>
                        <a:t>baker</a:t>
                      </a:r>
                      <a:endParaRPr lang="de-DE" sz="700" dirty="0">
                        <a:solidFill>
                          <a:schemeClr val="bg1"/>
                        </a:solidFill>
                      </a:endParaRPr>
                    </a:p>
                  </a:txBody>
                  <a:tcPr/>
                </a:tc>
                <a:extLst>
                  <a:ext uri="{0D108BD9-81ED-4DB2-BD59-A6C34878D82A}">
                    <a16:rowId xmlns:a16="http://schemas.microsoft.com/office/drawing/2014/main" val="2210292210"/>
                  </a:ext>
                </a:extLst>
              </a:tr>
              <a:tr h="375180">
                <a:tc>
                  <a:txBody>
                    <a:bodyPr/>
                    <a:lstStyle/>
                    <a:p>
                      <a:r>
                        <a:rPr lang="de-DE" sz="700" dirty="0">
                          <a:solidFill>
                            <a:schemeClr val="bg1"/>
                          </a:solidFill>
                        </a:rPr>
                        <a:t>Juice</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Bare Popcorn</a:t>
                      </a:r>
                    </a:p>
                  </a:txBody>
                  <a:tcPr/>
                </a:tc>
                <a:tc>
                  <a:txBody>
                    <a:bodyPr/>
                    <a:lstStyle/>
                    <a:p>
                      <a:r>
                        <a:rPr lang="de-DE" sz="700" dirty="0">
                          <a:solidFill>
                            <a:schemeClr val="bg1"/>
                          </a:solidFill>
                        </a:rPr>
                        <a:t>Bowl Nic Pitt</a:t>
                      </a:r>
                    </a:p>
                  </a:txBody>
                  <a:tcPr/>
                </a:tc>
                <a:tc>
                  <a:txBody>
                    <a:bodyPr/>
                    <a:lstStyle/>
                    <a:p>
                      <a:r>
                        <a:rPr lang="de-DE" sz="700" dirty="0" err="1">
                          <a:solidFill>
                            <a:schemeClr val="bg1"/>
                          </a:solidFill>
                        </a:rPr>
                        <a:t>Bakewell</a:t>
                      </a:r>
                      <a:endParaRPr lang="de-DE" sz="700" dirty="0">
                        <a:solidFill>
                          <a:schemeClr val="bg1"/>
                        </a:solidFill>
                      </a:endParaRPr>
                    </a:p>
                  </a:txBody>
                  <a:tcPr/>
                </a:tc>
                <a:tc>
                  <a:txBody>
                    <a:bodyPr/>
                    <a:lstStyle/>
                    <a:p>
                      <a:r>
                        <a:rPr lang="de-DE" sz="700" dirty="0">
                          <a:solidFill>
                            <a:schemeClr val="bg1"/>
                          </a:solidFill>
                        </a:rPr>
                        <a:t>Argentina Night</a:t>
                      </a:r>
                    </a:p>
                  </a:txBody>
                  <a:tcPr/>
                </a:tc>
                <a:extLst>
                  <a:ext uri="{0D108BD9-81ED-4DB2-BD59-A6C34878D82A}">
                    <a16:rowId xmlns:a16="http://schemas.microsoft.com/office/drawing/2014/main" val="2067720360"/>
                  </a:ext>
                </a:extLst>
              </a:tr>
              <a:tr h="386338">
                <a:tc>
                  <a:txBody>
                    <a:bodyPr/>
                    <a:lstStyle/>
                    <a:p>
                      <a:r>
                        <a:rPr lang="de-DE" sz="700" dirty="0">
                          <a:solidFill>
                            <a:schemeClr val="bg1"/>
                          </a:solidFill>
                        </a:rPr>
                        <a:t>Mineral </a:t>
                      </a:r>
                      <a:r>
                        <a:rPr lang="de-DE" sz="700" dirty="0" err="1">
                          <a:solidFill>
                            <a:schemeClr val="bg1"/>
                          </a:solidFill>
                        </a:rPr>
                        <a:t>water</a:t>
                      </a:r>
                      <a:endParaRPr lang="de-DE" sz="700" dirty="0">
                        <a:solidFill>
                          <a:schemeClr val="bg1"/>
                        </a:solidFill>
                      </a:endParaRPr>
                    </a:p>
                  </a:txBody>
                  <a:tcPr/>
                </a:tc>
                <a:tc>
                  <a:txBody>
                    <a:bodyPr/>
                    <a:lstStyle/>
                    <a:p>
                      <a:r>
                        <a:rPr lang="de-DE" sz="700" dirty="0">
                          <a:solidFill>
                            <a:schemeClr val="bg1"/>
                          </a:solidFill>
                        </a:rPr>
                        <a:t>Tea</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Brioche and </a:t>
                      </a:r>
                      <a:r>
                        <a:rPr lang="de-DE" sz="700" dirty="0" err="1">
                          <a:solidFill>
                            <a:schemeClr val="bg1"/>
                          </a:solidFill>
                        </a:rPr>
                        <a:t>salami</a:t>
                      </a:r>
                      <a:endParaRPr lang="de-DE" sz="700" dirty="0">
                        <a:solidFill>
                          <a:schemeClr val="bg1"/>
                        </a:solidFill>
                      </a:endParaRPr>
                    </a:p>
                  </a:txBody>
                  <a:tcPr/>
                </a:tc>
                <a:tc>
                  <a:txBody>
                    <a:bodyPr/>
                    <a:lstStyle/>
                    <a:p>
                      <a:r>
                        <a:rPr lang="de-DE" sz="700" dirty="0" err="1">
                          <a:solidFill>
                            <a:schemeClr val="bg1"/>
                          </a:solidFill>
                        </a:rPr>
                        <a:t>Bread</a:t>
                      </a:r>
                      <a:r>
                        <a:rPr lang="de-DE" sz="700" dirty="0">
                          <a:solidFill>
                            <a:schemeClr val="bg1"/>
                          </a:solidFill>
                        </a:rPr>
                        <a:t> Pudding</a:t>
                      </a:r>
                    </a:p>
                  </a:txBody>
                  <a:tcPr/>
                </a:tc>
                <a:tc>
                  <a:txBody>
                    <a:bodyPr/>
                    <a:lstStyle/>
                    <a:p>
                      <a:r>
                        <a:rPr lang="de-DE" sz="700" dirty="0">
                          <a:solidFill>
                            <a:schemeClr val="bg1"/>
                          </a:solidFill>
                        </a:rPr>
                        <a:t>Art Tray</a:t>
                      </a:r>
                    </a:p>
                  </a:txBody>
                  <a:tcPr/>
                </a:tc>
                <a:extLst>
                  <a:ext uri="{0D108BD9-81ED-4DB2-BD59-A6C34878D82A}">
                    <a16:rowId xmlns:a16="http://schemas.microsoft.com/office/drawing/2014/main" val="2588053028"/>
                  </a:ext>
                </a:extLst>
              </a:tr>
              <a:tr h="436254">
                <a:tc>
                  <a:txBody>
                    <a:bodyPr/>
                    <a:lstStyle/>
                    <a:p>
                      <a:r>
                        <a:rPr lang="de-DE" sz="700" dirty="0">
                          <a:solidFill>
                            <a:schemeClr val="bg1"/>
                          </a:solidFill>
                        </a:rPr>
                        <a:t>My-5 Fruit Shoot</a:t>
                      </a:r>
                    </a:p>
                  </a:txBody>
                  <a:tcPr/>
                </a:tc>
                <a:tc>
                  <a:txBody>
                    <a:bodyPr/>
                    <a:lstStyle/>
                    <a:p>
                      <a:endParaRPr lang="de-DE" sz="700" dirty="0">
                        <a:solidFill>
                          <a:schemeClr val="bg1"/>
                        </a:solidFill>
                      </a:endParaRPr>
                    </a:p>
                  </a:txBody>
                  <a:tcPr/>
                </a:tc>
                <a:tc>
                  <a:txBody>
                    <a:bodyPr/>
                    <a:lstStyle/>
                    <a:p>
                      <a:r>
                        <a:rPr lang="de-DE" sz="700" dirty="0">
                          <a:solidFill>
                            <a:schemeClr val="bg1"/>
                          </a:solidFill>
                        </a:rPr>
                        <a:t>Nomad </a:t>
                      </a:r>
                      <a:r>
                        <a:rPr lang="de-DE" sz="700" dirty="0" err="1">
                          <a:solidFill>
                            <a:schemeClr val="bg1"/>
                          </a:solidFill>
                        </a:rPr>
                        <a:t>bag</a:t>
                      </a:r>
                      <a:endParaRPr lang="de-DE" sz="700" dirty="0">
                        <a:solidFill>
                          <a:schemeClr val="bg1"/>
                        </a:solidFill>
                      </a:endParaRPr>
                    </a:p>
                  </a:txBody>
                  <a:tcPr/>
                </a:tc>
                <a:tc>
                  <a:txBody>
                    <a:bodyPr/>
                    <a:lstStyle/>
                    <a:p>
                      <a:r>
                        <a:rPr lang="de-DE" sz="700" dirty="0">
                          <a:solidFill>
                            <a:schemeClr val="bg1"/>
                          </a:solidFill>
                        </a:rPr>
                        <a:t>Chicken </a:t>
                      </a:r>
                      <a:r>
                        <a:rPr lang="de-DE" sz="700" dirty="0" err="1">
                          <a:solidFill>
                            <a:schemeClr val="bg1"/>
                          </a:solidFill>
                        </a:rPr>
                        <a:t>sand</a:t>
                      </a:r>
                      <a:endParaRPr lang="de-DE" sz="700" dirty="0">
                        <a:solidFill>
                          <a:schemeClr val="bg1"/>
                        </a:solidFill>
                      </a:endParaRPr>
                    </a:p>
                  </a:txBody>
                  <a:tcPr/>
                </a:tc>
                <a:tc>
                  <a:txBody>
                    <a:bodyPr/>
                    <a:lstStyle/>
                    <a:p>
                      <a:r>
                        <a:rPr lang="de-DE" sz="700" dirty="0">
                          <a:solidFill>
                            <a:schemeClr val="bg1"/>
                          </a:solidFill>
                        </a:rPr>
                        <a:t>Brownie</a:t>
                      </a:r>
                    </a:p>
                  </a:txBody>
                  <a:tcPr/>
                </a:tc>
                <a:tc>
                  <a:txBody>
                    <a:bodyPr/>
                    <a:lstStyle/>
                    <a:p>
                      <a:r>
                        <a:rPr lang="de-DE" sz="700" dirty="0">
                          <a:solidFill>
                            <a:schemeClr val="bg1"/>
                          </a:solidFill>
                        </a:rPr>
                        <a:t>Basket</a:t>
                      </a:r>
                    </a:p>
                  </a:txBody>
                  <a:tcPr/>
                </a:tc>
                <a:extLst>
                  <a:ext uri="{0D108BD9-81ED-4DB2-BD59-A6C34878D82A}">
                    <a16:rowId xmlns:a16="http://schemas.microsoft.com/office/drawing/2014/main" val="1817787189"/>
                  </a:ext>
                </a:extLst>
              </a:tr>
              <a:tr h="589052">
                <a:tc>
                  <a:txBody>
                    <a:bodyPr/>
                    <a:lstStyle/>
                    <a:p>
                      <a:r>
                        <a:rPr lang="de-DE" sz="700" dirty="0">
                          <a:solidFill>
                            <a:schemeClr val="bg1"/>
                          </a:solidFill>
                        </a:rPr>
                        <a:t>Smoothies</a:t>
                      </a:r>
                    </a:p>
                  </a:txBody>
                  <a:tcPr/>
                </a:tc>
                <a:tc>
                  <a:txBody>
                    <a:bodyPr/>
                    <a:lstStyle/>
                    <a:p>
                      <a:endParaRPr lang="de-DE" sz="700" dirty="0">
                        <a:solidFill>
                          <a:schemeClr val="bg1"/>
                        </a:solidFill>
                      </a:endParaRPr>
                    </a:p>
                  </a:txBody>
                  <a:tcPr/>
                </a:tc>
                <a:tc>
                  <a:txBody>
                    <a:bodyPr/>
                    <a:lstStyle/>
                    <a:p>
                      <a:r>
                        <a:rPr lang="de-DE" sz="700" dirty="0">
                          <a:solidFill>
                            <a:schemeClr val="bg1"/>
                          </a:solidFill>
                        </a:rPr>
                        <a:t>Raw Bars</a:t>
                      </a:r>
                    </a:p>
                  </a:txBody>
                  <a:tcPr/>
                </a:tc>
                <a:tc>
                  <a:txBody>
                    <a:bodyPr/>
                    <a:lstStyle/>
                    <a:p>
                      <a:r>
                        <a:rPr lang="de-DE" sz="700" dirty="0">
                          <a:solidFill>
                            <a:schemeClr val="bg1"/>
                          </a:solidFill>
                        </a:rPr>
                        <a:t>Chicken </a:t>
                      </a:r>
                      <a:r>
                        <a:rPr lang="de-DE" sz="700" dirty="0" err="1">
                          <a:solidFill>
                            <a:schemeClr val="bg1"/>
                          </a:solidFill>
                        </a:rPr>
                        <a:t>stew</a:t>
                      </a:r>
                      <a:endParaRPr lang="de-DE" sz="700" dirty="0">
                        <a:solidFill>
                          <a:schemeClr val="bg1"/>
                        </a:solidFill>
                      </a:endParaRPr>
                    </a:p>
                  </a:txBody>
                  <a:tcPr/>
                </a:tc>
                <a:tc>
                  <a:txBody>
                    <a:bodyPr/>
                    <a:lstStyle/>
                    <a:p>
                      <a:r>
                        <a:rPr lang="de-DE" sz="700" dirty="0">
                          <a:solidFill>
                            <a:schemeClr val="bg1"/>
                          </a:solidFill>
                        </a:rPr>
                        <a:t>Cake</a:t>
                      </a:r>
                    </a:p>
                  </a:txBody>
                  <a:tcPr/>
                </a:tc>
                <a:tc>
                  <a:txBody>
                    <a:bodyPr/>
                    <a:lstStyle/>
                    <a:p>
                      <a:r>
                        <a:rPr lang="de-DE" sz="700" dirty="0">
                          <a:solidFill>
                            <a:schemeClr val="bg1"/>
                          </a:solidFill>
                        </a:rPr>
                        <a:t>Gift </a:t>
                      </a:r>
                      <a:r>
                        <a:rPr lang="de-DE" sz="700" dirty="0" err="1">
                          <a:solidFill>
                            <a:schemeClr val="bg1"/>
                          </a:solidFill>
                        </a:rPr>
                        <a:t>voucher</a:t>
                      </a:r>
                      <a:endParaRPr lang="de-DE" sz="700" dirty="0">
                        <a:solidFill>
                          <a:schemeClr val="bg1"/>
                        </a:solidFill>
                      </a:endParaRPr>
                    </a:p>
                  </a:txBody>
                  <a:tcPr/>
                </a:tc>
                <a:extLst>
                  <a:ext uri="{0D108BD9-81ED-4DB2-BD59-A6C34878D82A}">
                    <a16:rowId xmlns:a16="http://schemas.microsoft.com/office/drawing/2014/main" val="405736865"/>
                  </a:ext>
                </a:extLst>
              </a:tr>
              <a:tr h="436254">
                <a:tc>
                  <a:txBody>
                    <a:bodyPr/>
                    <a:lstStyle/>
                    <a:p>
                      <a:endParaRPr lang="de-DE" sz="700" dirty="0">
                        <a:solidFill>
                          <a:schemeClr val="bg1"/>
                        </a:solidFill>
                      </a:endParaRP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798193919"/>
                  </a:ext>
                </a:extLst>
              </a:tr>
            </a:tbl>
          </a:graphicData>
        </a:graphic>
      </p:graphicFrame>
    </p:spTree>
    <p:extLst>
      <p:ext uri="{BB962C8B-B14F-4D97-AF65-F5344CB8AC3E}">
        <p14:creationId xmlns:p14="http://schemas.microsoft.com/office/powerpoint/2010/main" val="1139285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1/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039337" cy="1221636"/>
        </p:xfrm>
        <a:graphic>
          <a:graphicData uri="http://schemas.openxmlformats.org/drawingml/2006/table">
            <a:tbl>
              <a:tblPr firstRow="1" bandRow="1">
                <a:tableStyleId>{E723F757-1103-4035-A6BF-FC693B604208}</a:tableStyleId>
              </a:tblPr>
              <a:tblGrid>
                <a:gridCol w="434191">
                  <a:extLst>
                    <a:ext uri="{9D8B030D-6E8A-4147-A177-3AD203B41FA5}">
                      <a16:colId xmlns:a16="http://schemas.microsoft.com/office/drawing/2014/main" val="694928707"/>
                    </a:ext>
                  </a:extLst>
                </a:gridCol>
                <a:gridCol w="434191">
                  <a:extLst>
                    <a:ext uri="{9D8B030D-6E8A-4147-A177-3AD203B41FA5}">
                      <a16:colId xmlns:a16="http://schemas.microsoft.com/office/drawing/2014/main" val="191198610"/>
                    </a:ext>
                  </a:extLst>
                </a:gridCol>
                <a:gridCol w="434191">
                  <a:extLst>
                    <a:ext uri="{9D8B030D-6E8A-4147-A177-3AD203B41FA5}">
                      <a16:colId xmlns:a16="http://schemas.microsoft.com/office/drawing/2014/main" val="3191087314"/>
                    </a:ext>
                  </a:extLst>
                </a:gridCol>
                <a:gridCol w="434191">
                  <a:extLst>
                    <a:ext uri="{9D8B030D-6E8A-4147-A177-3AD203B41FA5}">
                      <a16:colId xmlns:a16="http://schemas.microsoft.com/office/drawing/2014/main" val="2711806052"/>
                    </a:ext>
                  </a:extLst>
                </a:gridCol>
                <a:gridCol w="434191">
                  <a:extLst>
                    <a:ext uri="{9D8B030D-6E8A-4147-A177-3AD203B41FA5}">
                      <a16:colId xmlns:a16="http://schemas.microsoft.com/office/drawing/2014/main" val="2657045843"/>
                    </a:ext>
                  </a:extLst>
                </a:gridCol>
                <a:gridCol w="434191">
                  <a:extLst>
                    <a:ext uri="{9D8B030D-6E8A-4147-A177-3AD203B41FA5}">
                      <a16:colId xmlns:a16="http://schemas.microsoft.com/office/drawing/2014/main" val="3556940677"/>
                    </a:ext>
                  </a:extLst>
                </a:gridCol>
                <a:gridCol w="434191">
                  <a:extLst>
                    <a:ext uri="{9D8B030D-6E8A-4147-A177-3AD203B41FA5}">
                      <a16:colId xmlns:a16="http://schemas.microsoft.com/office/drawing/2014/main" val="2132256943"/>
                    </a:ext>
                  </a:extLst>
                </a:gridCol>
              </a:tblGrid>
              <a:tr h="236369">
                <a:tc>
                  <a:txBody>
                    <a:bodyPr/>
                    <a:lstStyle/>
                    <a:p>
                      <a:r>
                        <a:rPr lang="de-DE" sz="700" dirty="0" err="1">
                          <a:solidFill>
                            <a:srgbClr val="000000"/>
                          </a:solidFill>
                        </a:rPr>
                        <a:t>year</a:t>
                      </a:r>
                      <a:endParaRPr lang="de-DE" sz="700" dirty="0">
                        <a:solidFill>
                          <a:srgbClr val="000000"/>
                        </a:solidFill>
                      </a:endParaRPr>
                    </a:p>
                  </a:txBody>
                  <a:tcPr>
                    <a:solidFill>
                      <a:schemeClr val="bg1"/>
                    </a:solidFill>
                  </a:tcPr>
                </a:tc>
                <a:tc>
                  <a:txBody>
                    <a:bodyPr/>
                    <a:lstStyle/>
                    <a:p>
                      <a:r>
                        <a:rPr lang="de-DE" sz="700" dirty="0" err="1">
                          <a:solidFill>
                            <a:srgbClr val="000000"/>
                          </a:solidFill>
                        </a:rPr>
                        <a:t>month</a:t>
                      </a:r>
                      <a:endParaRPr lang="de-DE" sz="700" dirty="0">
                        <a:solidFill>
                          <a:srgbClr val="000000"/>
                        </a:solidFill>
                      </a:endParaRPr>
                    </a:p>
                  </a:txBody>
                  <a:tcPr>
                    <a:solidFill>
                      <a:schemeClr val="bg1"/>
                    </a:solidFill>
                  </a:tcPr>
                </a:tc>
                <a:tc>
                  <a:txBody>
                    <a:bodyPr/>
                    <a:lstStyle/>
                    <a:p>
                      <a:r>
                        <a:rPr lang="de-DE" sz="700" dirty="0" err="1">
                          <a:solidFill>
                            <a:srgbClr val="000000"/>
                          </a:solidFill>
                        </a:rPr>
                        <a:t>tmax</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tmin</a:t>
                      </a:r>
                      <a:r>
                        <a:rPr lang="de-DE" sz="700" dirty="0">
                          <a:solidFill>
                            <a:srgbClr val="000000"/>
                          </a:solidFill>
                        </a:rPr>
                        <a:t> </a:t>
                      </a:r>
                      <a:r>
                        <a:rPr lang="de-DE" sz="700" dirty="0" err="1">
                          <a:solidFill>
                            <a:srgbClr val="000000"/>
                          </a:solidFill>
                        </a:rPr>
                        <a:t>degC</a:t>
                      </a:r>
                      <a:endParaRPr lang="de-DE" sz="700" dirty="0">
                        <a:solidFill>
                          <a:srgbClr val="000000"/>
                        </a:solidFill>
                      </a:endParaRPr>
                    </a:p>
                  </a:txBody>
                  <a:tcPr>
                    <a:solidFill>
                      <a:schemeClr val="bg1"/>
                    </a:solidFill>
                  </a:tcPr>
                </a:tc>
                <a:tc>
                  <a:txBody>
                    <a:bodyPr/>
                    <a:lstStyle/>
                    <a:p>
                      <a:r>
                        <a:rPr lang="de-DE" sz="700" dirty="0" err="1">
                          <a:solidFill>
                            <a:srgbClr val="000000"/>
                          </a:solidFill>
                        </a:rPr>
                        <a:t>af</a:t>
                      </a:r>
                      <a:r>
                        <a:rPr lang="de-DE" sz="700" dirty="0">
                          <a:solidFill>
                            <a:srgbClr val="000000"/>
                          </a:solidFill>
                        </a:rPr>
                        <a:t> </a:t>
                      </a:r>
                      <a:r>
                        <a:rPr lang="de-DE" sz="700" dirty="0" err="1">
                          <a:solidFill>
                            <a:srgbClr val="000000"/>
                          </a:solidFill>
                        </a:rPr>
                        <a:t>days</a:t>
                      </a:r>
                      <a:endParaRPr lang="de-DE" sz="700" dirty="0">
                        <a:solidFill>
                          <a:srgbClr val="000000"/>
                        </a:solidFill>
                      </a:endParaRPr>
                    </a:p>
                  </a:txBody>
                  <a:tcPr>
                    <a:solidFill>
                      <a:schemeClr val="bg1"/>
                    </a:solidFill>
                  </a:tcPr>
                </a:tc>
                <a:tc>
                  <a:txBody>
                    <a:bodyPr/>
                    <a:lstStyle/>
                    <a:p>
                      <a:r>
                        <a:rPr lang="de-DE" sz="700" dirty="0">
                          <a:solidFill>
                            <a:srgbClr val="000000"/>
                          </a:solidFill>
                        </a:rPr>
                        <a:t>Rain mm</a:t>
                      </a:r>
                    </a:p>
                  </a:txBody>
                  <a:tcPr>
                    <a:solidFill>
                      <a:schemeClr val="bg1"/>
                    </a:solidFill>
                  </a:tcPr>
                </a:tc>
                <a:tc>
                  <a:txBody>
                    <a:bodyPr/>
                    <a:lstStyle/>
                    <a:p>
                      <a:r>
                        <a:rPr lang="de-DE" sz="700" dirty="0" err="1">
                          <a:solidFill>
                            <a:srgbClr val="000000"/>
                          </a:solidFill>
                        </a:rPr>
                        <a:t>sun</a:t>
                      </a:r>
                      <a:r>
                        <a:rPr lang="de-DE" sz="700" dirty="0">
                          <a:solidFill>
                            <a:srgbClr val="000000"/>
                          </a:solidFill>
                        </a:rPr>
                        <a:t> </a:t>
                      </a:r>
                      <a:r>
                        <a:rPr lang="de-DE" sz="700" dirty="0" err="1">
                          <a:solidFill>
                            <a:srgbClr val="000000"/>
                          </a:solidFill>
                        </a:rPr>
                        <a:t>hours</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29209">
                <a:tc>
                  <a:txBody>
                    <a:bodyPr/>
                    <a:lstStyle/>
                    <a:p>
                      <a:r>
                        <a:rPr lang="de-DE" sz="700" dirty="0">
                          <a:solidFill>
                            <a:schemeClr val="bg1"/>
                          </a:solidFill>
                        </a:rPr>
                        <a:t>2016</a:t>
                      </a:r>
                    </a:p>
                  </a:txBody>
                  <a:tcPr/>
                </a:tc>
                <a:tc>
                  <a:txBody>
                    <a:bodyPr/>
                    <a:lstStyle/>
                    <a:p>
                      <a:r>
                        <a:rPr lang="de-DE" sz="700" dirty="0">
                          <a:solidFill>
                            <a:schemeClr val="bg1"/>
                          </a:solidFill>
                        </a:rPr>
                        <a:t>4</a:t>
                      </a:r>
                    </a:p>
                  </a:txBody>
                  <a:tcPr/>
                </a:tc>
                <a:tc>
                  <a:txBody>
                    <a:bodyPr/>
                    <a:lstStyle/>
                    <a:p>
                      <a:r>
                        <a:rPr lang="de-DE" sz="700" dirty="0">
                          <a:solidFill>
                            <a:schemeClr val="bg1"/>
                          </a:solidFill>
                        </a:rPr>
                        <a:t>11.3</a:t>
                      </a:r>
                    </a:p>
                  </a:txBody>
                  <a:tcPr/>
                </a:tc>
                <a:tc>
                  <a:txBody>
                    <a:bodyPr/>
                    <a:lstStyle/>
                    <a:p>
                      <a:r>
                        <a:rPr lang="de-DE" sz="700" dirty="0">
                          <a:solidFill>
                            <a:schemeClr val="bg1"/>
                          </a:solidFill>
                        </a:rPr>
                        <a:t>6.2</a:t>
                      </a:r>
                    </a:p>
                  </a:txBody>
                  <a:tcPr/>
                </a:tc>
                <a:tc>
                  <a:txBody>
                    <a:bodyPr/>
                    <a:lstStyle/>
                    <a:p>
                      <a:r>
                        <a:rPr lang="de-DE" sz="700" dirty="0">
                          <a:solidFill>
                            <a:schemeClr val="bg1"/>
                          </a:solidFill>
                        </a:rPr>
                        <a:t>0</a:t>
                      </a:r>
                    </a:p>
                  </a:txBody>
                  <a:tcPr/>
                </a:tc>
                <a:tc>
                  <a:txBody>
                    <a:bodyPr/>
                    <a:lstStyle/>
                    <a:p>
                      <a:r>
                        <a:rPr lang="de-DE" sz="700" dirty="0">
                          <a:solidFill>
                            <a:schemeClr val="bg1"/>
                          </a:solidFill>
                        </a:rPr>
                        <a:t>7.4</a:t>
                      </a:r>
                    </a:p>
                  </a:txBody>
                  <a:tcPr/>
                </a:tc>
                <a:tc>
                  <a:txBody>
                    <a:bodyPr/>
                    <a:lstStyle/>
                    <a:p>
                      <a:r>
                        <a:rPr lang="de-DE" sz="700" dirty="0">
                          <a:solidFill>
                            <a:schemeClr val="bg1"/>
                          </a:solidFill>
                        </a:rPr>
                        <a:t>181.1</a:t>
                      </a:r>
                    </a:p>
                  </a:txBody>
                  <a:tcPr/>
                </a:tc>
                <a:extLst>
                  <a:ext uri="{0D108BD9-81ED-4DB2-BD59-A6C34878D82A}">
                    <a16:rowId xmlns:a16="http://schemas.microsoft.com/office/drawing/2014/main" val="2210292210"/>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229209">
                <a:tc>
                  <a:txBody>
                    <a:bodyPr/>
                    <a:lstStyle/>
                    <a:p>
                      <a:r>
                        <a:rPr lang="de-DE" sz="700" dirty="0">
                          <a:solidFill>
                            <a:schemeClr val="bg1"/>
                          </a:solidFill>
                        </a:rPr>
                        <a:t>2017</a:t>
                      </a:r>
                    </a:p>
                  </a:txBody>
                  <a:tcPr/>
                </a:tc>
                <a:tc>
                  <a:txBody>
                    <a:bodyPr/>
                    <a:lstStyle/>
                    <a:p>
                      <a:r>
                        <a:rPr lang="de-DE" sz="700" dirty="0">
                          <a:solidFill>
                            <a:schemeClr val="bg1"/>
                          </a:solidFill>
                        </a:rPr>
                        <a:t>9</a:t>
                      </a:r>
                    </a:p>
                  </a:txBody>
                  <a:tcPr/>
                </a:tc>
                <a:tc>
                  <a:txBody>
                    <a:bodyPr/>
                    <a:lstStyle/>
                    <a:p>
                      <a:r>
                        <a:rPr lang="de-DE" sz="700" dirty="0">
                          <a:solidFill>
                            <a:schemeClr val="bg1"/>
                          </a:solidFill>
                        </a:rPr>
                        <a:t>17.6</a:t>
                      </a:r>
                    </a:p>
                  </a:txBody>
                  <a:tcPr/>
                </a:tc>
                <a:tc>
                  <a:txBody>
                    <a:bodyPr/>
                    <a:lstStyle/>
                    <a:p>
                      <a:r>
                        <a:rPr lang="de-DE" sz="700" dirty="0">
                          <a:solidFill>
                            <a:schemeClr val="bg1"/>
                          </a:solidFill>
                        </a:rPr>
                        <a:t>12.1</a:t>
                      </a:r>
                    </a:p>
                  </a:txBody>
                  <a:tcPr/>
                </a:tc>
                <a:tc>
                  <a:txBody>
                    <a:bodyPr/>
                    <a:lstStyle/>
                    <a:p>
                      <a:r>
                        <a:rPr lang="de-DE" sz="700" dirty="0">
                          <a:solidFill>
                            <a:schemeClr val="bg1"/>
                          </a:solidFill>
                        </a:rPr>
                        <a:t>0</a:t>
                      </a:r>
                    </a:p>
                  </a:txBody>
                  <a:tcPr/>
                </a:tc>
                <a:tc>
                  <a:txBody>
                    <a:bodyPr/>
                    <a:lstStyle/>
                    <a:p>
                      <a:r>
                        <a:rPr lang="de-DE" sz="700" dirty="0">
                          <a:solidFill>
                            <a:schemeClr val="bg1"/>
                          </a:solidFill>
                        </a:rPr>
                        <a:t>184.5</a:t>
                      </a:r>
                    </a:p>
                  </a:txBody>
                  <a:tcPr/>
                </a:tc>
                <a:tc>
                  <a:txBody>
                    <a:bodyPr/>
                    <a:lstStyle/>
                    <a:p>
                      <a:r>
                        <a:rPr lang="de-DE" sz="700" dirty="0">
                          <a:solidFill>
                            <a:schemeClr val="bg1"/>
                          </a:solidFill>
                        </a:rPr>
                        <a:t>141.5</a:t>
                      </a:r>
                    </a:p>
                  </a:txBody>
                  <a:tcPr/>
                </a:tc>
                <a:extLst>
                  <a:ext uri="{0D108BD9-81ED-4DB2-BD59-A6C34878D82A}">
                    <a16:rowId xmlns:a16="http://schemas.microsoft.com/office/drawing/2014/main" val="2588053028"/>
                  </a:ext>
                </a:extLst>
              </a:tr>
              <a:tr h="229209">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070418"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Weather</a:t>
            </a:r>
            <a:r>
              <a:rPr lang="de-DE" sz="800" dirty="0">
                <a:solidFill>
                  <a:srgbClr val="000000"/>
                </a:solidFill>
                <a:latin typeface="Maven Pro" panose="020B0604020202020204" charset="0"/>
              </a:rPr>
              <a:t> Data Set</a:t>
            </a:r>
          </a:p>
        </p:txBody>
      </p:sp>
      <p:grpSp>
        <p:nvGrpSpPr>
          <p:cNvPr id="18" name="Gruppieren 17">
            <a:extLst>
              <a:ext uri="{FF2B5EF4-FFF2-40B4-BE49-F238E27FC236}">
                <a16:creationId xmlns:a16="http://schemas.microsoft.com/office/drawing/2014/main" id="{C983A3E9-AB73-B6C7-A679-3BD4F186B748}"/>
              </a:ext>
            </a:extLst>
          </p:cNvPr>
          <p:cNvGrpSpPr/>
          <p:nvPr/>
        </p:nvGrpSpPr>
        <p:grpSpPr>
          <a:xfrm>
            <a:off x="5343783" y="2658518"/>
            <a:ext cx="1895205" cy="2323511"/>
            <a:chOff x="4123667" y="957522"/>
            <a:chExt cx="1818782" cy="2229816"/>
          </a:xfrm>
        </p:grpSpPr>
        <p:pic>
          <p:nvPicPr>
            <p:cNvPr id="15" name="Grafik 14">
              <a:extLst>
                <a:ext uri="{FF2B5EF4-FFF2-40B4-BE49-F238E27FC236}">
                  <a16:creationId xmlns:a16="http://schemas.microsoft.com/office/drawing/2014/main" id="{E5BBB81F-DCCF-7C1B-32E0-107BDA192895}"/>
                </a:ext>
              </a:extLst>
            </p:cNvPr>
            <p:cNvPicPr>
              <a:picLocks noChangeAspect="1"/>
            </p:cNvPicPr>
            <p:nvPr/>
          </p:nvPicPr>
          <p:blipFill>
            <a:blip r:embed="rId5"/>
            <a:stretch>
              <a:fillRect/>
            </a:stretch>
          </p:blipFill>
          <p:spPr>
            <a:xfrm>
              <a:off x="4123667" y="1191458"/>
              <a:ext cx="1644446" cy="1995880"/>
            </a:xfrm>
            <a:prstGeom prst="rect">
              <a:avLst/>
            </a:prstGeom>
          </p:spPr>
        </p:pic>
        <p:pic>
          <p:nvPicPr>
            <p:cNvPr id="7" name="Grafik 6" descr="Markierung mit einfarbiger Füllung">
              <a:extLst>
                <a:ext uri="{FF2B5EF4-FFF2-40B4-BE49-F238E27FC236}">
                  <a16:creationId xmlns:a16="http://schemas.microsoft.com/office/drawing/2014/main" id="{85AC88FA-C36D-7BA0-AAB3-774646230B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77247" y="2017172"/>
              <a:ext cx="229661" cy="229661"/>
            </a:xfrm>
            <a:prstGeom prst="rect">
              <a:avLst/>
            </a:prstGeom>
          </p:spPr>
        </p:pic>
        <p:sp>
          <p:nvSpPr>
            <p:cNvPr id="11" name="Sprechblase: rechteckig 10">
              <a:extLst>
                <a:ext uri="{FF2B5EF4-FFF2-40B4-BE49-F238E27FC236}">
                  <a16:creationId xmlns:a16="http://schemas.microsoft.com/office/drawing/2014/main" id="{9E3EBFA7-FFEE-A4C8-4249-3D39D104A2D4}"/>
                </a:ext>
              </a:extLst>
            </p:cNvPr>
            <p:cNvSpPr/>
            <p:nvPr/>
          </p:nvSpPr>
          <p:spPr>
            <a:xfrm>
              <a:off x="5006907" y="2017172"/>
              <a:ext cx="560097" cy="286807"/>
            </a:xfrm>
            <a:prstGeom prst="wedgeRectCallout">
              <a:avLst>
                <a:gd name="adj1" fmla="val -61634"/>
                <a:gd name="adj2" fmla="val -13991"/>
              </a:avLst>
            </a:prstGeom>
            <a:solidFill>
              <a:srgbClr val="2A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err="1">
                  <a:solidFill>
                    <a:schemeClr val="bg1"/>
                  </a:solidFill>
                </a:rPr>
                <a:t>Bakery</a:t>
              </a:r>
              <a:r>
                <a:rPr lang="de-DE" sz="600" dirty="0">
                  <a:solidFill>
                    <a:schemeClr val="bg1"/>
                  </a:solidFill>
                </a:rPr>
                <a:t> Edinburgh</a:t>
              </a:r>
            </a:p>
          </p:txBody>
        </p:sp>
        <p:sp>
          <p:nvSpPr>
            <p:cNvPr id="17" name="Pfeil: eingekerbt nach rechts 16">
              <a:extLst>
                <a:ext uri="{FF2B5EF4-FFF2-40B4-BE49-F238E27FC236}">
                  <a16:creationId xmlns:a16="http://schemas.microsoft.com/office/drawing/2014/main" id="{D3A889B5-701D-2F06-D04F-C10B1CE12871}"/>
                </a:ext>
              </a:extLst>
            </p:cNvPr>
            <p:cNvSpPr/>
            <p:nvPr/>
          </p:nvSpPr>
          <p:spPr>
            <a:xfrm rot="19473403">
              <a:off x="5009470" y="957522"/>
              <a:ext cx="932979" cy="306977"/>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6" name="Grafik 5" descr="Regen Silhouette">
            <a:extLst>
              <a:ext uri="{FF2B5EF4-FFF2-40B4-BE49-F238E27FC236}">
                <a16:creationId xmlns:a16="http://schemas.microsoft.com/office/drawing/2014/main" id="{AC84421B-E036-8E9C-30EA-7E2262B3EE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4011" y="2780059"/>
            <a:ext cx="914400" cy="914400"/>
          </a:xfrm>
          <a:prstGeom prst="rect">
            <a:avLst/>
          </a:prstGeom>
        </p:spPr>
      </p:pic>
      <p:pic>
        <p:nvPicPr>
          <p:cNvPr id="20" name="Grafik 19" descr="Sonne Silhouette">
            <a:extLst>
              <a:ext uri="{FF2B5EF4-FFF2-40B4-BE49-F238E27FC236}">
                <a16:creationId xmlns:a16="http://schemas.microsoft.com/office/drawing/2014/main" id="{F444EE2E-3627-407F-0FF2-24A077C2DE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841" y="4113591"/>
            <a:ext cx="914400" cy="914400"/>
          </a:xfrm>
          <a:prstGeom prst="rect">
            <a:avLst/>
          </a:prstGeom>
        </p:spPr>
      </p:pic>
      <p:pic>
        <p:nvPicPr>
          <p:cNvPr id="22" name="Grafik 21" descr="Thermometer Silhouette">
            <a:extLst>
              <a:ext uri="{FF2B5EF4-FFF2-40B4-BE49-F238E27FC236}">
                <a16:creationId xmlns:a16="http://schemas.microsoft.com/office/drawing/2014/main" id="{F4656A06-DC3B-5523-4EC5-30EE647777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32392" y="3326042"/>
            <a:ext cx="914400" cy="914400"/>
          </a:xfrm>
          <a:prstGeom prst="rect">
            <a:avLst/>
          </a:prstGeom>
        </p:spPr>
      </p:pic>
    </p:spTree>
    <p:extLst>
      <p:ext uri="{BB962C8B-B14F-4D97-AF65-F5344CB8AC3E}">
        <p14:creationId xmlns:p14="http://schemas.microsoft.com/office/powerpoint/2010/main" val="877234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1318645-DDAF-8695-D73C-1D54228A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Objekt 7" hidden="1">
                        <a:extLst>
                          <a:ext uri="{FF2B5EF4-FFF2-40B4-BE49-F238E27FC236}">
                            <a16:creationId xmlns:a16="http://schemas.microsoft.com/office/drawing/2014/main" id="{81318645-DDAF-8695-D73C-1D54228A5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D787B6-571C-1D39-B9F2-A8065E03BFA1}"/>
              </a:ext>
            </a:extLst>
          </p:cNvPr>
          <p:cNvSpPr>
            <a:spLocks noGrp="1"/>
          </p:cNvSpPr>
          <p:nvPr>
            <p:ph type="ctrTitle"/>
          </p:nvPr>
        </p:nvSpPr>
        <p:spPr>
          <a:xfrm>
            <a:off x="618824" y="411675"/>
            <a:ext cx="7042542" cy="577800"/>
          </a:xfrm>
        </p:spPr>
        <p:txBody>
          <a:bodyPr vert="horz"/>
          <a:lstStyle/>
          <a:p>
            <a:r>
              <a:rPr lang="de-DE" dirty="0"/>
              <a:t>Domain Exploration – Combine Datasets (2/2)</a:t>
            </a:r>
          </a:p>
        </p:txBody>
      </p:sp>
      <p:sp>
        <p:nvSpPr>
          <p:cNvPr id="12" name="Google Shape;465;p26">
            <a:extLst>
              <a:ext uri="{FF2B5EF4-FFF2-40B4-BE49-F238E27FC236}">
                <a16:creationId xmlns:a16="http://schemas.microsoft.com/office/drawing/2014/main" id="{993FD2C6-9FA8-1380-0164-DFB443C56B4C}"/>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1600"/>
              </a:spcBef>
              <a:spcAft>
                <a:spcPts val="1600"/>
              </a:spcAft>
            </a:pPr>
            <a:endParaRPr lang="en-US" dirty="0">
              <a:solidFill>
                <a:schemeClr val="bg1"/>
              </a:solidFill>
              <a:latin typeface="Maven Pro" panose="020B0604020202020204" charset="0"/>
            </a:endParaRPr>
          </a:p>
        </p:txBody>
      </p:sp>
      <p:graphicFrame>
        <p:nvGraphicFramePr>
          <p:cNvPr id="4" name="Tabelle 4">
            <a:extLst>
              <a:ext uri="{FF2B5EF4-FFF2-40B4-BE49-F238E27FC236}">
                <a16:creationId xmlns:a16="http://schemas.microsoft.com/office/drawing/2014/main" id="{9CA63040-0CF1-D827-4697-3B2C3F2CC7A5}"/>
              </a:ext>
            </a:extLst>
          </p:cNvPr>
          <p:cNvGraphicFramePr>
            <a:graphicFrameLocks noGrp="1"/>
          </p:cNvGraphicFramePr>
          <p:nvPr/>
        </p:nvGraphicFramePr>
        <p:xfrm>
          <a:off x="753292" y="1191461"/>
          <a:ext cx="3095586" cy="2148840"/>
        </p:xfrm>
        <a:graphic>
          <a:graphicData uri="http://schemas.openxmlformats.org/drawingml/2006/table">
            <a:tbl>
              <a:tblPr firstRow="1" bandRow="1">
                <a:tableStyleId>{E723F757-1103-4035-A6BF-FC693B604208}</a:tableStyleId>
              </a:tblPr>
              <a:tblGrid>
                <a:gridCol w="570767">
                  <a:extLst>
                    <a:ext uri="{9D8B030D-6E8A-4147-A177-3AD203B41FA5}">
                      <a16:colId xmlns:a16="http://schemas.microsoft.com/office/drawing/2014/main" val="694928707"/>
                    </a:ext>
                  </a:extLst>
                </a:gridCol>
                <a:gridCol w="633732">
                  <a:extLst>
                    <a:ext uri="{9D8B030D-6E8A-4147-A177-3AD203B41FA5}">
                      <a16:colId xmlns:a16="http://schemas.microsoft.com/office/drawing/2014/main" val="191198610"/>
                    </a:ext>
                  </a:extLst>
                </a:gridCol>
                <a:gridCol w="749553">
                  <a:extLst>
                    <a:ext uri="{9D8B030D-6E8A-4147-A177-3AD203B41FA5}">
                      <a16:colId xmlns:a16="http://schemas.microsoft.com/office/drawing/2014/main" val="3191087314"/>
                    </a:ext>
                  </a:extLst>
                </a:gridCol>
                <a:gridCol w="570767">
                  <a:extLst>
                    <a:ext uri="{9D8B030D-6E8A-4147-A177-3AD203B41FA5}">
                      <a16:colId xmlns:a16="http://schemas.microsoft.com/office/drawing/2014/main" val="2711806052"/>
                    </a:ext>
                  </a:extLst>
                </a:gridCol>
                <a:gridCol w="570767">
                  <a:extLst>
                    <a:ext uri="{9D8B030D-6E8A-4147-A177-3AD203B41FA5}">
                      <a16:colId xmlns:a16="http://schemas.microsoft.com/office/drawing/2014/main" val="2657045843"/>
                    </a:ext>
                  </a:extLst>
                </a:gridCol>
              </a:tblGrid>
              <a:tr h="245943">
                <a:tc>
                  <a:txBody>
                    <a:bodyPr/>
                    <a:lstStyle/>
                    <a:p>
                      <a:r>
                        <a:rPr lang="de-DE" sz="700" dirty="0">
                          <a:solidFill>
                            <a:srgbClr val="000000"/>
                          </a:solidFill>
                        </a:rPr>
                        <a:t>#Trans-actionNo</a:t>
                      </a:r>
                    </a:p>
                  </a:txBody>
                  <a:tcPr>
                    <a:solidFill>
                      <a:schemeClr val="bg1"/>
                    </a:solidFill>
                  </a:tcPr>
                </a:tc>
                <a:tc>
                  <a:txBody>
                    <a:bodyPr/>
                    <a:lstStyle/>
                    <a:p>
                      <a:r>
                        <a:rPr lang="de-DE" sz="700" dirty="0">
                          <a:solidFill>
                            <a:srgbClr val="000000"/>
                          </a:solidFill>
                        </a:rPr>
                        <a:t>Items</a:t>
                      </a:r>
                    </a:p>
                  </a:txBody>
                  <a:tcPr>
                    <a:solidFill>
                      <a:schemeClr val="bg1"/>
                    </a:solidFill>
                  </a:tcPr>
                </a:tc>
                <a:tc>
                  <a:txBody>
                    <a:bodyPr/>
                    <a:lstStyle/>
                    <a:p>
                      <a:r>
                        <a:rPr lang="de-DE" sz="700" dirty="0" err="1">
                          <a:solidFill>
                            <a:srgbClr val="000000"/>
                          </a:solidFill>
                        </a:rPr>
                        <a:t>DateTime</a:t>
                      </a:r>
                      <a:endParaRPr lang="de-DE" sz="700" dirty="0">
                        <a:solidFill>
                          <a:srgbClr val="000000"/>
                        </a:solidFill>
                      </a:endParaRPr>
                    </a:p>
                  </a:txBody>
                  <a:tcPr>
                    <a:solidFill>
                      <a:schemeClr val="bg1"/>
                    </a:solidFill>
                  </a:tcPr>
                </a:tc>
                <a:tc>
                  <a:txBody>
                    <a:bodyPr/>
                    <a:lstStyle/>
                    <a:p>
                      <a:r>
                        <a:rPr lang="de-DE" sz="700" dirty="0" err="1">
                          <a:solidFill>
                            <a:srgbClr val="000000"/>
                          </a:solidFill>
                        </a:rPr>
                        <a:t>Daypart</a:t>
                      </a:r>
                      <a:endParaRPr lang="de-DE" sz="700" dirty="0">
                        <a:solidFill>
                          <a:srgbClr val="000000"/>
                        </a:solidFill>
                      </a:endParaRPr>
                    </a:p>
                  </a:txBody>
                  <a:tcPr>
                    <a:solidFill>
                      <a:schemeClr val="bg1"/>
                    </a:solidFill>
                  </a:tcPr>
                </a:tc>
                <a:tc>
                  <a:txBody>
                    <a:bodyPr/>
                    <a:lstStyle/>
                    <a:p>
                      <a:r>
                        <a:rPr lang="de-DE" sz="700" dirty="0" err="1">
                          <a:solidFill>
                            <a:srgbClr val="000000"/>
                          </a:solidFill>
                        </a:rPr>
                        <a:t>DayType</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45943">
                <a:tc>
                  <a:txBody>
                    <a:bodyPr/>
                    <a:lstStyle/>
                    <a:p>
                      <a:r>
                        <a:rPr lang="de-DE" sz="700" dirty="0">
                          <a:solidFill>
                            <a:schemeClr val="bg1"/>
                          </a:solidFill>
                        </a:rPr>
                        <a:t>1</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09:58:11</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210292210"/>
                  </a:ext>
                </a:extLst>
              </a:tr>
              <a:tr h="332023">
                <a:tc>
                  <a:txBody>
                    <a:bodyPr/>
                    <a:lstStyle/>
                    <a:p>
                      <a:r>
                        <a:rPr lang="de-DE" sz="700" dirty="0">
                          <a:solidFill>
                            <a:schemeClr val="bg1"/>
                          </a:solidFill>
                        </a:rPr>
                        <a:t>1</a:t>
                      </a:r>
                    </a:p>
                  </a:txBody>
                  <a:tcPr/>
                </a:tc>
                <a:tc>
                  <a:txBody>
                    <a:bodyPr/>
                    <a:lstStyle/>
                    <a:p>
                      <a:r>
                        <a:rPr lang="de-DE" sz="700" dirty="0">
                          <a:solidFill>
                            <a:schemeClr val="bg1"/>
                          </a:solidFill>
                        </a:rPr>
                        <a:t>Hot </a:t>
                      </a:r>
                      <a:r>
                        <a:rPr lang="de-DE" sz="700" dirty="0" err="1">
                          <a:solidFill>
                            <a:schemeClr val="bg1"/>
                          </a:solidFill>
                        </a:rPr>
                        <a:t>chocolate</a:t>
                      </a:r>
                      <a:endParaRPr lang="de-DE" sz="700" dirty="0">
                        <a:solidFill>
                          <a:schemeClr val="bg1"/>
                        </a:solidFill>
                      </a:endParaRP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067720360"/>
                  </a:ext>
                </a:extLst>
              </a:tr>
              <a:tr h="332023">
                <a:tc>
                  <a:txBody>
                    <a:bodyPr/>
                    <a:lstStyle/>
                    <a:p>
                      <a:r>
                        <a:rPr lang="de-DE" sz="700" dirty="0">
                          <a:solidFill>
                            <a:schemeClr val="bg1"/>
                          </a:solidFill>
                        </a:rPr>
                        <a:t>2</a:t>
                      </a:r>
                    </a:p>
                  </a:txBody>
                  <a:tcPr/>
                </a:tc>
                <a:tc>
                  <a:txBody>
                    <a:bodyPr/>
                    <a:lstStyle/>
                    <a:p>
                      <a:r>
                        <a:rPr lang="de-DE" sz="700" dirty="0">
                          <a:solidFill>
                            <a:schemeClr val="bg1"/>
                          </a:solidFill>
                        </a:rPr>
                        <a:t>Jam</a:t>
                      </a:r>
                    </a:p>
                  </a:txBody>
                  <a:tcPr/>
                </a:tc>
                <a:tc>
                  <a:txBody>
                    <a:bodyPr/>
                    <a:lstStyle/>
                    <a:p>
                      <a:r>
                        <a:rPr lang="de-DE" sz="700" dirty="0">
                          <a:solidFill>
                            <a:schemeClr val="bg1"/>
                          </a:solidFill>
                        </a:rPr>
                        <a:t>2016-10-30 10:05:34</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588053028"/>
                  </a:ext>
                </a:extLst>
              </a:tr>
              <a:tr h="245943">
                <a:tc>
                  <a:txBody>
                    <a:bodyPr/>
                    <a:lstStyle/>
                    <a:p>
                      <a:r>
                        <a:rPr lang="de-DE" sz="700" dirty="0">
                          <a:solidFill>
                            <a:schemeClr val="bg1"/>
                          </a:solidFill>
                        </a:rPr>
                        <a:t>2</a:t>
                      </a:r>
                    </a:p>
                  </a:txBody>
                  <a:tcPr/>
                </a:tc>
                <a:tc>
                  <a:txBody>
                    <a:bodyPr/>
                    <a:lstStyle/>
                    <a:p>
                      <a:r>
                        <a:rPr lang="de-DE" sz="700" dirty="0">
                          <a:solidFill>
                            <a:schemeClr val="bg1"/>
                          </a:solidFill>
                        </a:rPr>
                        <a:t>Cookies</a:t>
                      </a:r>
                    </a:p>
                  </a:txBody>
                  <a:tcPr/>
                </a:tc>
                <a:tc>
                  <a:txBody>
                    <a:bodyPr/>
                    <a:lstStyle/>
                    <a:p>
                      <a:r>
                        <a:rPr lang="de-DE" sz="700" dirty="0">
                          <a:solidFill>
                            <a:schemeClr val="bg1"/>
                          </a:solidFill>
                        </a:rPr>
                        <a:t>2016-10-30 10:05:34</a:t>
                      </a: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1817787189"/>
                  </a:ext>
                </a:extLst>
              </a:tr>
              <a:tr h="332745">
                <a:tc>
                  <a:txBody>
                    <a:bodyPr/>
                    <a:lstStyle/>
                    <a:p>
                      <a:r>
                        <a:rPr lang="de-DE" sz="700" dirty="0">
                          <a:solidFill>
                            <a:schemeClr val="bg1"/>
                          </a:solidFill>
                        </a:rPr>
                        <a:t>3</a:t>
                      </a:r>
                    </a:p>
                  </a:txBody>
                  <a:tcPr/>
                </a:tc>
                <a:tc>
                  <a:txBody>
                    <a:bodyPr/>
                    <a:lstStyle/>
                    <a:p>
                      <a:r>
                        <a:rPr lang="de-DE" sz="700" dirty="0" err="1">
                          <a:solidFill>
                            <a:schemeClr val="bg1"/>
                          </a:solidFill>
                        </a:rPr>
                        <a:t>Bread</a:t>
                      </a:r>
                      <a:endParaRPr lang="de-DE" sz="700" dirty="0">
                        <a:solidFill>
                          <a:schemeClr val="bg1"/>
                        </a:solidFill>
                      </a:endParaRPr>
                    </a:p>
                  </a:txBody>
                  <a:tcPr/>
                </a:tc>
                <a:tc>
                  <a:txBody>
                    <a:bodyPr/>
                    <a:lstStyle/>
                    <a:p>
                      <a:r>
                        <a:rPr lang="de-DE" sz="700" dirty="0">
                          <a:solidFill>
                            <a:schemeClr val="bg1"/>
                          </a:solidFill>
                        </a:rPr>
                        <a:t>2016-10-30 10:07:57</a:t>
                      </a:r>
                    </a:p>
                    <a:p>
                      <a:endParaRPr lang="de-DE" sz="700" dirty="0">
                        <a:solidFill>
                          <a:schemeClr val="bg1"/>
                        </a:solidFill>
                      </a:endParaRPr>
                    </a:p>
                  </a:txBody>
                  <a:tcPr/>
                </a:tc>
                <a:tc>
                  <a:txBody>
                    <a:bodyPr/>
                    <a:lstStyle/>
                    <a:p>
                      <a:r>
                        <a:rPr lang="de-DE" sz="700" dirty="0">
                          <a:solidFill>
                            <a:schemeClr val="bg1"/>
                          </a:solidFill>
                        </a:rPr>
                        <a:t>Morning</a:t>
                      </a:r>
                    </a:p>
                  </a:txBody>
                  <a:tcPr/>
                </a:tc>
                <a:tc>
                  <a:txBody>
                    <a:bodyPr/>
                    <a:lstStyle/>
                    <a:p>
                      <a:r>
                        <a:rPr lang="de-DE" sz="700" dirty="0">
                          <a:solidFill>
                            <a:schemeClr val="bg1"/>
                          </a:solidFill>
                        </a:rPr>
                        <a:t>Weekend</a:t>
                      </a:r>
                    </a:p>
                  </a:txBody>
                  <a:tcPr/>
                </a:tc>
                <a:extLst>
                  <a:ext uri="{0D108BD9-81ED-4DB2-BD59-A6C34878D82A}">
                    <a16:rowId xmlns:a16="http://schemas.microsoft.com/office/drawing/2014/main" val="2309264189"/>
                  </a:ext>
                </a:extLst>
              </a:tr>
            </a:tbl>
          </a:graphicData>
        </a:graphic>
      </p:graphicFrame>
      <p:graphicFrame>
        <p:nvGraphicFramePr>
          <p:cNvPr id="5" name="Tabelle 4">
            <a:extLst>
              <a:ext uri="{FF2B5EF4-FFF2-40B4-BE49-F238E27FC236}">
                <a16:creationId xmlns:a16="http://schemas.microsoft.com/office/drawing/2014/main" id="{CA70A770-D0FC-11D1-5555-89A38ACE7E4E}"/>
              </a:ext>
            </a:extLst>
          </p:cNvPr>
          <p:cNvGraphicFramePr>
            <a:graphicFrameLocks noGrp="1"/>
          </p:cNvGraphicFramePr>
          <p:nvPr/>
        </p:nvGraphicFramePr>
        <p:xfrm>
          <a:off x="5343784" y="1184638"/>
          <a:ext cx="3168554" cy="1524000"/>
        </p:xfrm>
        <a:graphic>
          <a:graphicData uri="http://schemas.openxmlformats.org/drawingml/2006/table">
            <a:tbl>
              <a:tblPr firstRow="1" bandRow="1">
                <a:tableStyleId>{E723F757-1103-4035-A6BF-FC693B604208}</a:tableStyleId>
              </a:tblPr>
              <a:tblGrid>
                <a:gridCol w="652067">
                  <a:extLst>
                    <a:ext uri="{9D8B030D-6E8A-4147-A177-3AD203B41FA5}">
                      <a16:colId xmlns:a16="http://schemas.microsoft.com/office/drawing/2014/main" val="694928707"/>
                    </a:ext>
                  </a:extLst>
                </a:gridCol>
                <a:gridCol w="352698">
                  <a:extLst>
                    <a:ext uri="{9D8B030D-6E8A-4147-A177-3AD203B41FA5}">
                      <a16:colId xmlns:a16="http://schemas.microsoft.com/office/drawing/2014/main" val="672172236"/>
                    </a:ext>
                  </a:extLst>
                </a:gridCol>
                <a:gridCol w="596792">
                  <a:extLst>
                    <a:ext uri="{9D8B030D-6E8A-4147-A177-3AD203B41FA5}">
                      <a16:colId xmlns:a16="http://schemas.microsoft.com/office/drawing/2014/main" val="191198610"/>
                    </a:ext>
                  </a:extLst>
                </a:gridCol>
                <a:gridCol w="330670">
                  <a:extLst>
                    <a:ext uri="{9D8B030D-6E8A-4147-A177-3AD203B41FA5}">
                      <a16:colId xmlns:a16="http://schemas.microsoft.com/office/drawing/2014/main" val="3191087314"/>
                    </a:ext>
                  </a:extLst>
                </a:gridCol>
                <a:gridCol w="431075">
                  <a:extLst>
                    <a:ext uri="{9D8B030D-6E8A-4147-A177-3AD203B41FA5}">
                      <a16:colId xmlns:a16="http://schemas.microsoft.com/office/drawing/2014/main" val="2711806052"/>
                    </a:ext>
                  </a:extLst>
                </a:gridCol>
                <a:gridCol w="805252">
                  <a:extLst>
                    <a:ext uri="{9D8B030D-6E8A-4147-A177-3AD203B41FA5}">
                      <a16:colId xmlns:a16="http://schemas.microsoft.com/office/drawing/2014/main" val="2657045843"/>
                    </a:ext>
                  </a:extLst>
                </a:gridCol>
              </a:tblGrid>
              <a:tr h="280798">
                <a:tc>
                  <a:txBody>
                    <a:bodyPr/>
                    <a:lstStyle/>
                    <a:p>
                      <a:r>
                        <a:rPr lang="de-DE" sz="700" dirty="0">
                          <a:solidFill>
                            <a:srgbClr val="000000"/>
                          </a:solidFill>
                        </a:rPr>
                        <a:t>date</a:t>
                      </a:r>
                    </a:p>
                  </a:txBody>
                  <a:tcPr>
                    <a:solidFill>
                      <a:schemeClr val="bg1"/>
                    </a:solidFill>
                  </a:tcPr>
                </a:tc>
                <a:tc>
                  <a:txBody>
                    <a:bodyPr/>
                    <a:lstStyle/>
                    <a:p>
                      <a:r>
                        <a:rPr lang="de-DE" sz="700" dirty="0" err="1">
                          <a:solidFill>
                            <a:srgbClr val="000000"/>
                          </a:solidFill>
                        </a:rPr>
                        <a:t>day</a:t>
                      </a:r>
                      <a:endParaRPr lang="de-DE" sz="700" dirty="0">
                        <a:solidFill>
                          <a:srgbClr val="000000"/>
                        </a:solidFill>
                      </a:endParaRPr>
                    </a:p>
                  </a:txBody>
                  <a:tcPr>
                    <a:solidFill>
                      <a:schemeClr val="bg1"/>
                    </a:solidFill>
                  </a:tcPr>
                </a:tc>
                <a:tc>
                  <a:txBody>
                    <a:bodyPr/>
                    <a:lstStyle/>
                    <a:p>
                      <a:r>
                        <a:rPr lang="de-DE" sz="700" dirty="0" err="1">
                          <a:solidFill>
                            <a:srgbClr val="000000"/>
                          </a:solidFill>
                        </a:rPr>
                        <a:t>public</a:t>
                      </a:r>
                      <a:r>
                        <a:rPr lang="de-DE" sz="700" dirty="0">
                          <a:solidFill>
                            <a:srgbClr val="000000"/>
                          </a:solidFill>
                        </a:rPr>
                        <a:t> </a:t>
                      </a:r>
                      <a:r>
                        <a:rPr lang="de-DE" sz="700" dirty="0" err="1">
                          <a:solidFill>
                            <a:srgbClr val="000000"/>
                          </a:solidFill>
                        </a:rPr>
                        <a:t>holiday</a:t>
                      </a:r>
                      <a:endParaRPr lang="de-DE" sz="700" dirty="0">
                        <a:solidFill>
                          <a:srgbClr val="000000"/>
                        </a:solidFill>
                      </a:endParaRPr>
                    </a:p>
                  </a:txBody>
                  <a:tcPr>
                    <a:solidFill>
                      <a:schemeClr val="bg1"/>
                    </a:solidFill>
                  </a:tcPr>
                </a:tc>
                <a:tc>
                  <a:txBody>
                    <a:bodyPr/>
                    <a:lstStyle/>
                    <a:p>
                      <a:r>
                        <a:rPr lang="de-DE" sz="700" dirty="0" err="1">
                          <a:solidFill>
                            <a:srgbClr val="000000"/>
                          </a:solidFill>
                        </a:rPr>
                        <a:t>cw</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endParaRPr lang="de-DE" sz="700" dirty="0">
                        <a:solidFill>
                          <a:srgbClr val="000000"/>
                        </a:solidFill>
                      </a:endParaRPr>
                    </a:p>
                  </a:txBody>
                  <a:tcPr>
                    <a:solidFill>
                      <a:schemeClr val="bg1"/>
                    </a:solidFill>
                  </a:tcPr>
                </a:tc>
                <a:tc>
                  <a:txBody>
                    <a:bodyPr/>
                    <a:lstStyle/>
                    <a:p>
                      <a:r>
                        <a:rPr lang="de-DE" sz="700" dirty="0" err="1">
                          <a:solidFill>
                            <a:srgbClr val="000000"/>
                          </a:solidFill>
                        </a:rPr>
                        <a:t>class</a:t>
                      </a:r>
                      <a:r>
                        <a:rPr lang="de-DE" sz="700" dirty="0">
                          <a:solidFill>
                            <a:srgbClr val="000000"/>
                          </a:solidFill>
                        </a:rPr>
                        <a:t> </a:t>
                      </a:r>
                      <a:r>
                        <a:rPr lang="de-DE" sz="700" dirty="0" err="1">
                          <a:solidFill>
                            <a:srgbClr val="000000"/>
                          </a:solidFill>
                        </a:rPr>
                        <a:t>description</a:t>
                      </a:r>
                      <a:endParaRPr lang="de-DE" sz="700" dirty="0">
                        <a:solidFill>
                          <a:srgbClr val="000000"/>
                        </a:solidFill>
                      </a:endParaRPr>
                    </a:p>
                  </a:txBody>
                  <a:tcPr>
                    <a:solidFill>
                      <a:schemeClr val="bg1"/>
                    </a:solidFill>
                  </a:tcPr>
                </a:tc>
                <a:extLst>
                  <a:ext uri="{0D108BD9-81ED-4DB2-BD59-A6C34878D82A}">
                    <a16:rowId xmlns:a16="http://schemas.microsoft.com/office/drawing/2014/main" val="1162773933"/>
                  </a:ext>
                </a:extLst>
              </a:tr>
              <a:tr h="280798">
                <a:tc>
                  <a:txBody>
                    <a:bodyPr/>
                    <a:lstStyle/>
                    <a:p>
                      <a:r>
                        <a:rPr lang="de-DE" sz="700" dirty="0">
                          <a:solidFill>
                            <a:schemeClr val="bg1"/>
                          </a:solidFill>
                        </a:rPr>
                        <a:t>04.01.2016</a:t>
                      </a:r>
                    </a:p>
                  </a:txBody>
                  <a:tcPr/>
                </a:tc>
                <a:tc>
                  <a:txBody>
                    <a:bodyPr/>
                    <a:lstStyle/>
                    <a:p>
                      <a:r>
                        <a:rPr lang="de-DE" sz="700" dirty="0">
                          <a:solidFill>
                            <a:schemeClr val="bg1"/>
                          </a:solidFill>
                        </a:rPr>
                        <a:t>Mo</a:t>
                      </a:r>
                    </a:p>
                  </a:txBody>
                  <a:tcPr/>
                </a:tc>
                <a:tc>
                  <a:txBody>
                    <a:bodyPr/>
                    <a:lstStyle/>
                    <a:p>
                      <a:r>
                        <a:rPr lang="de-DE" sz="700" dirty="0">
                          <a:solidFill>
                            <a:schemeClr val="bg1"/>
                          </a:solidFill>
                        </a:rPr>
                        <a:t>New </a:t>
                      </a:r>
                      <a:r>
                        <a:rPr lang="de-DE" sz="700" dirty="0" err="1">
                          <a:solidFill>
                            <a:schemeClr val="bg1"/>
                          </a:solidFill>
                        </a:rPr>
                        <a:t>Year´s</a:t>
                      </a:r>
                      <a:r>
                        <a:rPr lang="de-DE" sz="700" dirty="0">
                          <a:solidFill>
                            <a:schemeClr val="bg1"/>
                          </a:solidFill>
                        </a:rPr>
                        <a:t> Day</a:t>
                      </a:r>
                    </a:p>
                  </a:txBody>
                  <a:tcPr/>
                </a:tc>
                <a:tc>
                  <a:txBody>
                    <a:bodyPr/>
                    <a:lstStyle/>
                    <a:p>
                      <a:r>
                        <a:rPr lang="de-DE" sz="700" dirty="0">
                          <a:solidFill>
                            <a:schemeClr val="bg1"/>
                          </a:solidFill>
                        </a:rPr>
                        <a:t>1</a:t>
                      </a:r>
                    </a:p>
                  </a:txBody>
                  <a:tcPr/>
                </a:tc>
                <a:tc>
                  <a:txBody>
                    <a:bodyPr/>
                    <a:lstStyle/>
                    <a:p>
                      <a:r>
                        <a:rPr lang="de-DE" sz="700" dirty="0">
                          <a:solidFill>
                            <a:schemeClr val="bg1"/>
                          </a:solidFill>
                        </a:rPr>
                        <a:t>1</a:t>
                      </a:r>
                    </a:p>
                  </a:txBody>
                  <a:tcPr/>
                </a:tc>
                <a:tc>
                  <a:txBody>
                    <a:bodyPr/>
                    <a:lstStyle/>
                    <a:p>
                      <a:r>
                        <a:rPr lang="de-DE" sz="700" dirty="0">
                          <a:solidFill>
                            <a:schemeClr val="bg1"/>
                          </a:solidFill>
                        </a:rPr>
                        <a:t>Official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210292210"/>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2067720360"/>
                  </a:ext>
                </a:extLst>
              </a:tr>
              <a:tr h="353597">
                <a:tc>
                  <a:txBody>
                    <a:bodyPr/>
                    <a:lstStyle/>
                    <a:p>
                      <a:r>
                        <a:rPr lang="de-DE" sz="700" dirty="0">
                          <a:solidFill>
                            <a:schemeClr val="bg1"/>
                          </a:solidFill>
                        </a:rPr>
                        <a:t>30.11.2017</a:t>
                      </a:r>
                    </a:p>
                  </a:txBody>
                  <a:tcPr/>
                </a:tc>
                <a:tc>
                  <a:txBody>
                    <a:bodyPr/>
                    <a:lstStyle/>
                    <a:p>
                      <a:r>
                        <a:rPr lang="de-DE" sz="700" dirty="0">
                          <a:solidFill>
                            <a:schemeClr val="bg1"/>
                          </a:solidFill>
                        </a:rPr>
                        <a:t>Th</a:t>
                      </a:r>
                    </a:p>
                  </a:txBody>
                  <a:tcPr/>
                </a:tc>
                <a:tc>
                  <a:txBody>
                    <a:bodyPr/>
                    <a:lstStyle/>
                    <a:p>
                      <a:r>
                        <a:rPr lang="de-DE" sz="700" dirty="0">
                          <a:solidFill>
                            <a:schemeClr val="bg1"/>
                          </a:solidFill>
                        </a:rPr>
                        <a:t>Saint </a:t>
                      </a:r>
                      <a:r>
                        <a:rPr lang="de-DE" sz="700" dirty="0" err="1">
                          <a:solidFill>
                            <a:schemeClr val="bg1"/>
                          </a:solidFill>
                        </a:rPr>
                        <a:t>Andrew's</a:t>
                      </a:r>
                      <a:r>
                        <a:rPr lang="de-DE" sz="700" dirty="0">
                          <a:solidFill>
                            <a:schemeClr val="bg1"/>
                          </a:solidFill>
                        </a:rPr>
                        <a:t> Day</a:t>
                      </a:r>
                    </a:p>
                  </a:txBody>
                  <a:tcPr/>
                </a:tc>
                <a:tc>
                  <a:txBody>
                    <a:bodyPr/>
                    <a:lstStyle/>
                    <a:p>
                      <a:r>
                        <a:rPr lang="de-DE" sz="700" dirty="0">
                          <a:solidFill>
                            <a:schemeClr val="bg1"/>
                          </a:solidFill>
                        </a:rPr>
                        <a:t>48</a:t>
                      </a:r>
                    </a:p>
                  </a:txBody>
                  <a:tcPr/>
                </a:tc>
                <a:tc>
                  <a:txBody>
                    <a:bodyPr/>
                    <a:lstStyle/>
                    <a:p>
                      <a:r>
                        <a:rPr lang="de-DE" sz="700" dirty="0">
                          <a:solidFill>
                            <a:schemeClr val="bg1"/>
                          </a:solidFill>
                        </a:rPr>
                        <a:t>4</a:t>
                      </a:r>
                    </a:p>
                  </a:txBody>
                  <a:tcPr/>
                </a:tc>
                <a:tc>
                  <a:txBody>
                    <a:bodyPr/>
                    <a:lstStyle/>
                    <a:p>
                      <a:r>
                        <a:rPr lang="de-DE" sz="700" dirty="0" err="1">
                          <a:solidFill>
                            <a:schemeClr val="bg1"/>
                          </a:solidFill>
                        </a:rPr>
                        <a:t>legally</a:t>
                      </a:r>
                      <a:r>
                        <a:rPr lang="de-DE" sz="700" dirty="0">
                          <a:solidFill>
                            <a:schemeClr val="bg1"/>
                          </a:solidFill>
                        </a:rPr>
                        <a:t> not </a:t>
                      </a:r>
                      <a:r>
                        <a:rPr lang="de-DE" sz="700" dirty="0" err="1">
                          <a:solidFill>
                            <a:schemeClr val="bg1"/>
                          </a:solidFill>
                        </a:rPr>
                        <a:t>recognized</a:t>
                      </a:r>
                      <a:r>
                        <a:rPr lang="de-DE" sz="700" dirty="0">
                          <a:solidFill>
                            <a:schemeClr val="bg1"/>
                          </a:solidFill>
                        </a:rPr>
                        <a:t> </a:t>
                      </a:r>
                      <a:r>
                        <a:rPr lang="de-DE" sz="700" dirty="0" err="1">
                          <a:solidFill>
                            <a:schemeClr val="bg1"/>
                          </a:solidFill>
                        </a:rPr>
                        <a:t>holiday</a:t>
                      </a:r>
                      <a:endParaRPr lang="de-DE" sz="700" dirty="0">
                        <a:solidFill>
                          <a:schemeClr val="bg1"/>
                        </a:solidFill>
                      </a:endParaRPr>
                    </a:p>
                  </a:txBody>
                  <a:tcPr/>
                </a:tc>
                <a:extLst>
                  <a:ext uri="{0D108BD9-81ED-4DB2-BD59-A6C34878D82A}">
                    <a16:rowId xmlns:a16="http://schemas.microsoft.com/office/drawing/2014/main" val="2588053028"/>
                  </a:ext>
                </a:extLst>
              </a:tr>
              <a:tr h="135199">
                <a:tc>
                  <a:txBody>
                    <a:bodyPr/>
                    <a:lstStyle/>
                    <a:p>
                      <a:r>
                        <a:rPr lang="de-DE" sz="700" dirty="0">
                          <a:solidFill>
                            <a:schemeClr val="bg1"/>
                          </a:solidFill>
                        </a:rPr>
                        <a:t>…</a:t>
                      </a:r>
                    </a:p>
                  </a:txBody>
                  <a:tcPr/>
                </a:tc>
                <a:tc>
                  <a:txBody>
                    <a:bodyPr/>
                    <a:lstStyle/>
                    <a:p>
                      <a:endParaRPr lang="de-DE" sz="700" dirty="0">
                        <a:solidFill>
                          <a:schemeClr val="bg1"/>
                        </a:solidFill>
                      </a:endParaRP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tc>
                  <a:txBody>
                    <a:bodyPr/>
                    <a:lstStyle/>
                    <a:p>
                      <a:r>
                        <a:rPr lang="de-DE" sz="700" dirty="0">
                          <a:solidFill>
                            <a:schemeClr val="bg1"/>
                          </a:solidFill>
                        </a:rPr>
                        <a:t>…</a:t>
                      </a:r>
                    </a:p>
                  </a:txBody>
                  <a:tcPr/>
                </a:tc>
                <a:extLst>
                  <a:ext uri="{0D108BD9-81ED-4DB2-BD59-A6C34878D82A}">
                    <a16:rowId xmlns:a16="http://schemas.microsoft.com/office/drawing/2014/main" val="1817787189"/>
                  </a:ext>
                </a:extLst>
              </a:tr>
            </a:tbl>
          </a:graphicData>
        </a:graphic>
      </p:graphicFrame>
      <p:grpSp>
        <p:nvGrpSpPr>
          <p:cNvPr id="13" name="Gruppieren 12">
            <a:extLst>
              <a:ext uri="{FF2B5EF4-FFF2-40B4-BE49-F238E27FC236}">
                <a16:creationId xmlns:a16="http://schemas.microsoft.com/office/drawing/2014/main" id="{2D8EB56C-5FDF-1E86-7349-E7C1C04F1FD5}"/>
              </a:ext>
            </a:extLst>
          </p:cNvPr>
          <p:cNvGrpSpPr/>
          <p:nvPr/>
        </p:nvGrpSpPr>
        <p:grpSpPr>
          <a:xfrm>
            <a:off x="4116450" y="1459904"/>
            <a:ext cx="1015140" cy="671104"/>
            <a:chOff x="2023398" y="2028006"/>
            <a:chExt cx="2472401" cy="1634492"/>
          </a:xfrm>
        </p:grpSpPr>
        <p:sp>
          <p:nvSpPr>
            <p:cNvPr id="9" name="Ellipse 8">
              <a:extLst>
                <a:ext uri="{FF2B5EF4-FFF2-40B4-BE49-F238E27FC236}">
                  <a16:creationId xmlns:a16="http://schemas.microsoft.com/office/drawing/2014/main" id="{3D2F2106-8832-1C54-67A7-FBF3FA4D5C06}"/>
                </a:ext>
              </a:extLst>
            </p:cNvPr>
            <p:cNvSpPr/>
            <p:nvPr/>
          </p:nvSpPr>
          <p:spPr>
            <a:xfrm>
              <a:off x="2023398" y="2028006"/>
              <a:ext cx="1647515" cy="16344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2BAEB312-1814-ACFB-C435-C3110955697C}"/>
                </a:ext>
              </a:extLst>
            </p:cNvPr>
            <p:cNvSpPr/>
            <p:nvPr/>
          </p:nvSpPr>
          <p:spPr>
            <a:xfrm>
              <a:off x="2848284" y="2028006"/>
              <a:ext cx="1647515" cy="1634492"/>
            </a:xfrm>
            <a:prstGeom prst="ellipse">
              <a:avLst/>
            </a:prstGeom>
            <a:solidFill>
              <a:srgbClr val="00CFCC"/>
            </a:solidFill>
            <a:ln>
              <a:solidFill>
                <a:srgbClr val="00C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 name="Parallelogramm 13">
            <a:extLst>
              <a:ext uri="{FF2B5EF4-FFF2-40B4-BE49-F238E27FC236}">
                <a16:creationId xmlns:a16="http://schemas.microsoft.com/office/drawing/2014/main" id="{4A59130D-F487-8A5A-AD09-04838E848CD8}"/>
              </a:ext>
            </a:extLst>
          </p:cNvPr>
          <p:cNvSpPr/>
          <p:nvPr/>
        </p:nvSpPr>
        <p:spPr>
          <a:xfrm>
            <a:off x="753292" y="1063525"/>
            <a:ext cx="3141997"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Bakery</a:t>
            </a:r>
            <a:r>
              <a:rPr lang="de-DE" sz="800" dirty="0">
                <a:solidFill>
                  <a:srgbClr val="000000"/>
                </a:solidFill>
                <a:latin typeface="Maven Pro" panose="020B0604020202020204" charset="0"/>
              </a:rPr>
              <a:t> Data Set</a:t>
            </a:r>
          </a:p>
        </p:txBody>
      </p:sp>
      <p:sp>
        <p:nvSpPr>
          <p:cNvPr id="16" name="Parallelogramm 15">
            <a:extLst>
              <a:ext uri="{FF2B5EF4-FFF2-40B4-BE49-F238E27FC236}">
                <a16:creationId xmlns:a16="http://schemas.microsoft.com/office/drawing/2014/main" id="{B777913C-FD29-1FC1-12EB-5A0C288DEFB8}"/>
              </a:ext>
            </a:extLst>
          </p:cNvPr>
          <p:cNvSpPr/>
          <p:nvPr/>
        </p:nvSpPr>
        <p:spPr>
          <a:xfrm>
            <a:off x="5343785" y="1063525"/>
            <a:ext cx="320284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Events and Holidays Data Set</a:t>
            </a:r>
          </a:p>
        </p:txBody>
      </p:sp>
      <p:pic>
        <p:nvPicPr>
          <p:cNvPr id="6" name="Grafik 5" descr="Tageskalender Silhouette">
            <a:extLst>
              <a:ext uri="{FF2B5EF4-FFF2-40B4-BE49-F238E27FC236}">
                <a16:creationId xmlns:a16="http://schemas.microsoft.com/office/drawing/2014/main" id="{AF301435-9912-9DE5-D73B-3D8DD3C785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3661" y="2883101"/>
            <a:ext cx="914400" cy="914400"/>
          </a:xfrm>
          <a:prstGeom prst="rect">
            <a:avLst/>
          </a:prstGeom>
        </p:spPr>
      </p:pic>
      <p:pic>
        <p:nvPicPr>
          <p:cNvPr id="11" name="Grafik 10" descr="Konfettiball Silhouette">
            <a:extLst>
              <a:ext uri="{FF2B5EF4-FFF2-40B4-BE49-F238E27FC236}">
                <a16:creationId xmlns:a16="http://schemas.microsoft.com/office/drawing/2014/main" id="{06681C98-939D-B49C-1D67-963EA3752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38968" y="2883101"/>
            <a:ext cx="914400" cy="914400"/>
          </a:xfrm>
          <a:prstGeom prst="rect">
            <a:avLst/>
          </a:prstGeom>
        </p:spPr>
      </p:pic>
    </p:spTree>
    <p:extLst>
      <p:ext uri="{BB962C8B-B14F-4D97-AF65-F5344CB8AC3E}">
        <p14:creationId xmlns:p14="http://schemas.microsoft.com/office/powerpoint/2010/main" val="143365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Exploration</a:t>
            </a:r>
            <a:endParaRPr dirty="0">
              <a:solidFill>
                <a:schemeClr val="bg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FF9973"/>
                </a:solidFill>
              </a:rPr>
              <a:t>02</a:t>
            </a:r>
            <a:endParaRPr sz="2800" dirty="0">
              <a:solidFill>
                <a:srgbClr val="FF9973"/>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621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368507" cy="577800"/>
          </a:xfrm>
        </p:spPr>
        <p:txBody>
          <a:bodyPr vert="horz"/>
          <a:lstStyle/>
          <a:p>
            <a:r>
              <a:rPr lang="de-DE" dirty="0"/>
              <a:t>Data Exploration - Einkaufkorb</a:t>
            </a:r>
          </a:p>
        </p:txBody>
      </p:sp>
      <p:graphicFrame>
        <p:nvGraphicFramePr>
          <p:cNvPr id="8" name="Diagramm 7">
            <a:extLst>
              <a:ext uri="{FF2B5EF4-FFF2-40B4-BE49-F238E27FC236}">
                <a16:creationId xmlns:a16="http://schemas.microsoft.com/office/drawing/2014/main" id="{893EE61F-9B5F-B347-04C6-B12916EC0F06}"/>
              </a:ext>
            </a:extLst>
          </p:cNvPr>
          <p:cNvGraphicFramePr/>
          <p:nvPr>
            <p:extLst>
              <p:ext uri="{D42A27DB-BD31-4B8C-83A1-F6EECF244321}">
                <p14:modId xmlns:p14="http://schemas.microsoft.com/office/powerpoint/2010/main" val="43506685"/>
              </p:ext>
            </p:extLst>
          </p:nvPr>
        </p:nvGraphicFramePr>
        <p:xfrm>
          <a:off x="513080" y="989475"/>
          <a:ext cx="4358640" cy="3653790"/>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12" name="Diagramm 11">
                <a:extLst>
                  <a:ext uri="{FF2B5EF4-FFF2-40B4-BE49-F238E27FC236}">
                    <a16:creationId xmlns:a16="http://schemas.microsoft.com/office/drawing/2014/main" id="{D1BAA631-43EA-7D23-B2DD-102BB959F0E6}"/>
                  </a:ext>
                </a:extLst>
              </p:cNvPr>
              <p:cNvGraphicFramePr/>
              <p:nvPr>
                <p:extLst>
                  <p:ext uri="{D42A27DB-BD31-4B8C-83A1-F6EECF244321}">
                    <p14:modId xmlns:p14="http://schemas.microsoft.com/office/powerpoint/2010/main" val="1808483403"/>
                  </p:ext>
                </p:extLst>
              </p:nvPr>
            </p:nvGraphicFramePr>
            <p:xfrm>
              <a:off x="5090745" y="989475"/>
              <a:ext cx="3532380" cy="381713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Diagramm 11">
                <a:extLst>
                  <a:ext uri="{FF2B5EF4-FFF2-40B4-BE49-F238E27FC236}">
                    <a16:creationId xmlns:a16="http://schemas.microsoft.com/office/drawing/2014/main" id="{D1BAA631-43EA-7D23-B2DD-102BB959F0E6}"/>
                  </a:ext>
                </a:extLst>
              </p:cNvPr>
              <p:cNvPicPr>
                <a:picLocks noGrp="1" noRot="1" noChangeAspect="1" noMove="1" noResize="1" noEditPoints="1" noAdjustHandles="1" noChangeArrowheads="1" noChangeShapeType="1"/>
              </p:cNvPicPr>
              <p:nvPr/>
            </p:nvPicPr>
            <p:blipFill>
              <a:blip r:embed="rId7"/>
              <a:stretch>
                <a:fillRect/>
              </a:stretch>
            </p:blipFill>
            <p:spPr>
              <a:xfrm>
                <a:off x="5090745" y="989475"/>
                <a:ext cx="3532380" cy="3817130"/>
              </a:xfrm>
              <a:prstGeom prst="rect">
                <a:avLst/>
              </a:prstGeom>
            </p:spPr>
          </p:pic>
        </mc:Fallback>
      </mc:AlternateContent>
    </p:spTree>
    <p:extLst>
      <p:ext uri="{BB962C8B-B14F-4D97-AF65-F5344CB8AC3E}">
        <p14:creationId xmlns:p14="http://schemas.microsoft.com/office/powerpoint/2010/main" val="40191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pic>
        <p:nvPicPr>
          <p:cNvPr id="2" name="Grafik 1" descr="Landwirtschaft Silhouette">
            <a:extLst>
              <a:ext uri="{FF2B5EF4-FFF2-40B4-BE49-F238E27FC236}">
                <a16:creationId xmlns:a16="http://schemas.microsoft.com/office/drawing/2014/main" id="{01EE9291-E672-8F1C-1DA4-A189144B36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3" name="Grafik 2" descr="Recherche Silhouette">
            <a:extLst>
              <a:ext uri="{FF2B5EF4-FFF2-40B4-BE49-F238E27FC236}">
                <a16:creationId xmlns:a16="http://schemas.microsoft.com/office/drawing/2014/main" id="{41B7992F-E382-276F-4A59-E6459701E6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4" name="Grafik 3" descr="Datenbank Silhouette">
            <a:extLst>
              <a:ext uri="{FF2B5EF4-FFF2-40B4-BE49-F238E27FC236}">
                <a16:creationId xmlns:a16="http://schemas.microsoft.com/office/drawing/2014/main" id="{DBFFFDCA-E2A9-6EAF-D2D1-5CA0F3385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5" name="Picture 2" descr="Vorbereitung - Kostenlose sonstiges Icons">
            <a:extLst>
              <a:ext uri="{FF2B5EF4-FFF2-40B4-BE49-F238E27FC236}">
                <a16:creationId xmlns:a16="http://schemas.microsoft.com/office/drawing/2014/main" id="{5BB76A7B-6CC2-D3E6-AE18-62AC31B4C3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odeling - Free computer icons">
            <a:extLst>
              <a:ext uri="{FF2B5EF4-FFF2-40B4-BE49-F238E27FC236}">
                <a16:creationId xmlns:a16="http://schemas.microsoft.com/office/drawing/2014/main" id="{C9A41933-9758-9857-648E-A57C130926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007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996918" cy="577800"/>
          </a:xfrm>
        </p:spPr>
        <p:txBody>
          <a:bodyPr vert="horz"/>
          <a:lstStyle/>
          <a:p>
            <a:r>
              <a:rPr lang="de-DE" dirty="0"/>
              <a:t>Data Exploration – Übersicht Monate</a:t>
            </a:r>
          </a:p>
        </p:txBody>
      </p:sp>
      <p:graphicFrame>
        <p:nvGraphicFramePr>
          <p:cNvPr id="7" name="Diagramm 6">
            <a:extLst>
              <a:ext uri="{FF2B5EF4-FFF2-40B4-BE49-F238E27FC236}">
                <a16:creationId xmlns:a16="http://schemas.microsoft.com/office/drawing/2014/main" id="{058EAE84-13F0-CC34-826A-10C992B44730}"/>
              </a:ext>
            </a:extLst>
          </p:cNvPr>
          <p:cNvGraphicFramePr>
            <a:graphicFrameLocks/>
          </p:cNvGraphicFramePr>
          <p:nvPr>
            <p:extLst>
              <p:ext uri="{D42A27DB-BD31-4B8C-83A1-F6EECF244321}">
                <p14:modId xmlns:p14="http://schemas.microsoft.com/office/powerpoint/2010/main" val="2062112314"/>
              </p:ext>
            </p:extLst>
          </p:nvPr>
        </p:nvGraphicFramePr>
        <p:xfrm>
          <a:off x="618825" y="116834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9" name="Google Shape;465;p26">
            <a:extLst>
              <a:ext uri="{FF2B5EF4-FFF2-40B4-BE49-F238E27FC236}">
                <a16:creationId xmlns:a16="http://schemas.microsoft.com/office/drawing/2014/main" id="{6EAACF0C-0BA8-7A54-1082-7B82281E5444}"/>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dirty="0">
              <a:solidFill>
                <a:schemeClr val="bg1"/>
              </a:solidFill>
              <a:latin typeface="Maven Pro" panose="020B0604020202020204" charset="0"/>
            </a:endParaRPr>
          </a:p>
        </p:txBody>
      </p:sp>
      <p:sp>
        <p:nvSpPr>
          <p:cNvPr id="10" name="Google Shape;465;p26">
            <a:extLst>
              <a:ext uri="{FF2B5EF4-FFF2-40B4-BE49-F238E27FC236}">
                <a16:creationId xmlns:a16="http://schemas.microsoft.com/office/drawing/2014/main" id="{7B190115-2A22-01C2-91DB-1EEE3C97B5E3}"/>
              </a:ext>
            </a:extLst>
          </p:cNvPr>
          <p:cNvSpPr txBox="1">
            <a:spLocks/>
          </p:cNvSpPr>
          <p:nvPr/>
        </p:nvSpPr>
        <p:spPr>
          <a:xfrm>
            <a:off x="6768143" y="15235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Meh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ktober</a:t>
            </a:r>
            <a:r>
              <a:rPr lang="en-US" dirty="0">
                <a:solidFill>
                  <a:schemeClr val="bg1"/>
                </a:solidFill>
                <a:latin typeface="Maven Pro" panose="020B0604020202020204" charset="0"/>
              </a:rPr>
              <a:t> 2016 und April 2017.</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I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Januar</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März</a:t>
            </a:r>
            <a:r>
              <a:rPr lang="en-US" dirty="0">
                <a:solidFill>
                  <a:schemeClr val="bg1"/>
                </a:solidFill>
                <a:latin typeface="Maven Pro" panose="020B0604020202020204" charset="0"/>
              </a:rPr>
              <a:t>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meis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40233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5463923" cy="577800"/>
          </a:xfrm>
        </p:spPr>
        <p:txBody>
          <a:bodyPr vert="horz"/>
          <a:lstStyle/>
          <a:p>
            <a:r>
              <a:rPr lang="de-DE" dirty="0"/>
              <a:t>Data Exploration - Wochentage</a:t>
            </a:r>
          </a:p>
        </p:txBody>
      </p:sp>
      <p:graphicFrame>
        <p:nvGraphicFramePr>
          <p:cNvPr id="8" name="Diagramm 7">
            <a:extLst>
              <a:ext uri="{FF2B5EF4-FFF2-40B4-BE49-F238E27FC236}">
                <a16:creationId xmlns:a16="http://schemas.microsoft.com/office/drawing/2014/main" id="{A7E2F6FF-4985-B488-ABD5-3D32C750685B}"/>
              </a:ext>
            </a:extLst>
          </p:cNvPr>
          <p:cNvGraphicFramePr/>
          <p:nvPr>
            <p:extLst>
              <p:ext uri="{D42A27DB-BD31-4B8C-83A1-F6EECF244321}">
                <p14:modId xmlns:p14="http://schemas.microsoft.com/office/powerpoint/2010/main" val="2172083777"/>
              </p:ext>
            </p:extLst>
          </p:nvPr>
        </p:nvGraphicFramePr>
        <p:xfrm>
          <a:off x="729003" y="918892"/>
          <a:ext cx="5760000" cy="34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Diagramm 1">
            <a:extLst>
              <a:ext uri="{FF2B5EF4-FFF2-40B4-BE49-F238E27FC236}">
                <a16:creationId xmlns:a16="http://schemas.microsoft.com/office/drawing/2014/main" id="{42AEBFFF-1F21-95DC-2E0D-5901E5F52801}"/>
              </a:ext>
            </a:extLst>
          </p:cNvPr>
          <p:cNvGraphicFramePr>
            <a:graphicFrameLocks/>
          </p:cNvGraphicFramePr>
          <p:nvPr>
            <p:extLst>
              <p:ext uri="{D42A27DB-BD31-4B8C-83A1-F6EECF244321}">
                <p14:modId xmlns:p14="http://schemas.microsoft.com/office/powerpoint/2010/main" val="700961493"/>
              </p:ext>
            </p:extLst>
          </p:nvPr>
        </p:nvGraphicFramePr>
        <p:xfrm>
          <a:off x="6599182" y="984468"/>
          <a:ext cx="2361930" cy="16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m 2">
            <a:extLst>
              <a:ext uri="{FF2B5EF4-FFF2-40B4-BE49-F238E27FC236}">
                <a16:creationId xmlns:a16="http://schemas.microsoft.com/office/drawing/2014/main" id="{6C32BE18-7A29-E252-1357-07603F359E73}"/>
              </a:ext>
            </a:extLst>
          </p:cNvPr>
          <p:cNvGraphicFramePr>
            <a:graphicFrameLocks/>
          </p:cNvGraphicFramePr>
          <p:nvPr>
            <p:extLst>
              <p:ext uri="{D42A27DB-BD31-4B8C-83A1-F6EECF244321}">
                <p14:modId xmlns:p14="http://schemas.microsoft.com/office/powerpoint/2010/main" val="2206907354"/>
              </p:ext>
            </p:extLst>
          </p:nvPr>
        </p:nvGraphicFramePr>
        <p:xfrm>
          <a:off x="6599182" y="2571749"/>
          <a:ext cx="2361930" cy="162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785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op 10 Items</a:t>
            </a:r>
          </a:p>
        </p:txBody>
      </p:sp>
      <p:graphicFrame>
        <p:nvGraphicFramePr>
          <p:cNvPr id="12" name="Diagramm 11">
            <a:extLst>
              <a:ext uri="{FF2B5EF4-FFF2-40B4-BE49-F238E27FC236}">
                <a16:creationId xmlns:a16="http://schemas.microsoft.com/office/drawing/2014/main" id="{B7354BAE-AEB1-85D7-CCB4-19F02203FE93}"/>
              </a:ext>
            </a:extLst>
          </p:cNvPr>
          <p:cNvGraphicFramePr/>
          <p:nvPr>
            <p:extLst>
              <p:ext uri="{D42A27DB-BD31-4B8C-83A1-F6EECF244321}">
                <p14:modId xmlns:p14="http://schemas.microsoft.com/office/powerpoint/2010/main" val="2285598030"/>
              </p:ext>
            </p:extLst>
          </p:nvPr>
        </p:nvGraphicFramePr>
        <p:xfrm>
          <a:off x="522599" y="989474"/>
          <a:ext cx="5760000" cy="3836967"/>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207CCEE3-9E74-700A-2E11-1ECABDC5F23F}"/>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Top 3 </a:t>
            </a:r>
            <a:r>
              <a:rPr lang="en-US" dirty="0" err="1">
                <a:solidFill>
                  <a:schemeClr val="bg1"/>
                </a:solidFill>
                <a:latin typeface="Maven Pro" panose="020B0604020202020204" charset="0"/>
              </a:rPr>
              <a:t>macht</a:t>
            </a:r>
            <a:r>
              <a:rPr lang="en-US" dirty="0">
                <a:solidFill>
                  <a:schemeClr val="bg1"/>
                </a:solidFill>
                <a:latin typeface="Maven Pro" panose="020B0604020202020204" charset="0"/>
              </a:rPr>
              <a:t> 50 % der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us.</a:t>
            </a:r>
            <a:r>
              <a:rPr lang="en-US" dirty="0">
                <a:solidFill>
                  <a:schemeClr val="bg1"/>
                </a:solidFill>
                <a:latin typeface="Maven Pro" panose="020B0604020202020204" charset="0"/>
              </a:rPr>
              <a:t> </a:t>
            </a:r>
          </a:p>
          <a:p>
            <a:endParaRPr lang="en-US" dirty="0">
              <a:solidFill>
                <a:schemeClr val="bg1"/>
              </a:solidFill>
              <a:latin typeface="Maven Pro" panose="020B0604020202020204" charset="0"/>
            </a:endParaRPr>
          </a:p>
          <a:p>
            <a:r>
              <a:rPr lang="en-US" dirty="0">
                <a:solidFill>
                  <a:schemeClr val="bg1"/>
                </a:solidFill>
                <a:latin typeface="Maven Pro" panose="020B0604020202020204" charset="0"/>
              </a:rPr>
              <a:t>Top 10 </a:t>
            </a:r>
            <a:r>
              <a:rPr lang="en-US" dirty="0" err="1">
                <a:solidFill>
                  <a:schemeClr val="bg1"/>
                </a:solidFill>
                <a:latin typeface="Maven Pro" panose="020B0604020202020204" charset="0"/>
              </a:rPr>
              <a:t>ungefähr</a:t>
            </a:r>
            <a:r>
              <a:rPr lang="en-US" dirty="0">
                <a:solidFill>
                  <a:schemeClr val="bg1"/>
                </a:solidFill>
                <a:latin typeface="Maven Pro" panose="020B0604020202020204" charset="0"/>
              </a:rPr>
              <a:t> 60 %. </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2652374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3070DD-6A0C-A970-6016-B97AF0E88D0A}"/>
              </a:ext>
            </a:extLst>
          </p:cNvPr>
          <p:cNvSpPr>
            <a:spLocks noGrp="1"/>
          </p:cNvSpPr>
          <p:nvPr>
            <p:ph type="ctrTitle"/>
          </p:nvPr>
        </p:nvSpPr>
        <p:spPr>
          <a:xfrm>
            <a:off x="618824" y="411675"/>
            <a:ext cx="5420853" cy="577800"/>
          </a:xfrm>
        </p:spPr>
        <p:txBody>
          <a:bodyPr/>
          <a:lstStyle/>
          <a:p>
            <a:r>
              <a:rPr lang="de-DE" dirty="0"/>
              <a:t>Data Exploration – Top 10 Items</a:t>
            </a:r>
          </a:p>
        </p:txBody>
      </p:sp>
      <p:graphicFrame>
        <p:nvGraphicFramePr>
          <p:cNvPr id="3" name="Tabelle 3">
            <a:extLst>
              <a:ext uri="{FF2B5EF4-FFF2-40B4-BE49-F238E27FC236}">
                <a16:creationId xmlns:a16="http://schemas.microsoft.com/office/drawing/2014/main" id="{F21C734F-6DB9-2ECD-978E-46B19224540B}"/>
              </a:ext>
            </a:extLst>
          </p:cNvPr>
          <p:cNvGraphicFramePr>
            <a:graphicFrameLocks noGrp="1"/>
          </p:cNvGraphicFramePr>
          <p:nvPr/>
        </p:nvGraphicFramePr>
        <p:xfrm>
          <a:off x="1174142" y="1131505"/>
          <a:ext cx="6920286" cy="3600320"/>
        </p:xfrm>
        <a:graphic>
          <a:graphicData uri="http://schemas.openxmlformats.org/drawingml/2006/table">
            <a:tbl>
              <a:tblPr firstRow="1" bandRow="1">
                <a:tableStyleId>{E723F757-1103-4035-A6BF-FC693B604208}</a:tableStyleId>
              </a:tblPr>
              <a:tblGrid>
                <a:gridCol w="557989">
                  <a:extLst>
                    <a:ext uri="{9D8B030D-6E8A-4147-A177-3AD203B41FA5}">
                      <a16:colId xmlns:a16="http://schemas.microsoft.com/office/drawing/2014/main" val="2067654013"/>
                    </a:ext>
                  </a:extLst>
                </a:gridCol>
                <a:gridCol w="1313143">
                  <a:extLst>
                    <a:ext uri="{9D8B030D-6E8A-4147-A177-3AD203B41FA5}">
                      <a16:colId xmlns:a16="http://schemas.microsoft.com/office/drawing/2014/main" val="2701489182"/>
                    </a:ext>
                  </a:extLst>
                </a:gridCol>
                <a:gridCol w="779303">
                  <a:extLst>
                    <a:ext uri="{9D8B030D-6E8A-4147-A177-3AD203B41FA5}">
                      <a16:colId xmlns:a16="http://schemas.microsoft.com/office/drawing/2014/main" val="1216951268"/>
                    </a:ext>
                  </a:extLst>
                </a:gridCol>
                <a:gridCol w="1375576">
                  <a:extLst>
                    <a:ext uri="{9D8B030D-6E8A-4147-A177-3AD203B41FA5}">
                      <a16:colId xmlns:a16="http://schemas.microsoft.com/office/drawing/2014/main" val="2376430700"/>
                    </a:ext>
                  </a:extLst>
                </a:gridCol>
                <a:gridCol w="747422">
                  <a:extLst>
                    <a:ext uri="{9D8B030D-6E8A-4147-A177-3AD203B41FA5}">
                      <a16:colId xmlns:a16="http://schemas.microsoft.com/office/drawing/2014/main" val="1504272815"/>
                    </a:ext>
                  </a:extLst>
                </a:gridCol>
                <a:gridCol w="1359673">
                  <a:extLst>
                    <a:ext uri="{9D8B030D-6E8A-4147-A177-3AD203B41FA5}">
                      <a16:colId xmlns:a16="http://schemas.microsoft.com/office/drawing/2014/main" val="16134645"/>
                    </a:ext>
                  </a:extLst>
                </a:gridCol>
                <a:gridCol w="787180">
                  <a:extLst>
                    <a:ext uri="{9D8B030D-6E8A-4147-A177-3AD203B41FA5}">
                      <a16:colId xmlns:a16="http://schemas.microsoft.com/office/drawing/2014/main" val="375367653"/>
                    </a:ext>
                  </a:extLst>
                </a:gridCol>
              </a:tblGrid>
              <a:tr h="281844">
                <a:tc>
                  <a:txBody>
                    <a:bodyPr/>
                    <a:lstStyle/>
                    <a:p>
                      <a:r>
                        <a:rPr lang="de-DE" dirty="0">
                          <a:solidFill>
                            <a:srgbClr val="E898AC"/>
                          </a:solidFill>
                        </a:rPr>
                        <a:t>Top</a:t>
                      </a:r>
                    </a:p>
                  </a:txBody>
                  <a:tcPr/>
                </a:tc>
                <a:tc>
                  <a:txBody>
                    <a:bodyPr/>
                    <a:lstStyle/>
                    <a:p>
                      <a:r>
                        <a:rPr lang="de-DE" dirty="0">
                          <a:solidFill>
                            <a:srgbClr val="E898AC"/>
                          </a:solidFill>
                        </a:rPr>
                        <a:t>Insgesamt</a:t>
                      </a:r>
                    </a:p>
                  </a:txBody>
                  <a:tcPr/>
                </a:tc>
                <a:tc>
                  <a:txBody>
                    <a:bodyPr/>
                    <a:lstStyle/>
                    <a:p>
                      <a:r>
                        <a:rPr lang="de-DE" dirty="0">
                          <a:solidFill>
                            <a:srgbClr val="E898AC"/>
                          </a:solidFill>
                        </a:rPr>
                        <a:t>Share</a:t>
                      </a:r>
                    </a:p>
                  </a:txBody>
                  <a:tcPr/>
                </a:tc>
                <a:tc>
                  <a:txBody>
                    <a:bodyPr/>
                    <a:lstStyle/>
                    <a:p>
                      <a:r>
                        <a:rPr lang="de-DE" dirty="0">
                          <a:solidFill>
                            <a:srgbClr val="E898AC"/>
                          </a:solidFill>
                        </a:rPr>
                        <a:t>Arbeitstag</a:t>
                      </a:r>
                    </a:p>
                  </a:txBody>
                  <a:tcPr/>
                </a:tc>
                <a:tc>
                  <a:txBody>
                    <a:bodyPr/>
                    <a:lstStyle/>
                    <a:p>
                      <a:r>
                        <a:rPr lang="de-DE" dirty="0">
                          <a:solidFill>
                            <a:srgbClr val="E898AC"/>
                          </a:solidFill>
                        </a:rPr>
                        <a:t>Share</a:t>
                      </a:r>
                    </a:p>
                  </a:txBody>
                  <a:tcPr/>
                </a:tc>
                <a:tc>
                  <a:txBody>
                    <a:bodyPr/>
                    <a:lstStyle/>
                    <a:p>
                      <a:r>
                        <a:rPr lang="de-DE" dirty="0">
                          <a:solidFill>
                            <a:srgbClr val="E898AC"/>
                          </a:solidFill>
                        </a:rPr>
                        <a:t>Wochenende</a:t>
                      </a:r>
                    </a:p>
                  </a:txBody>
                  <a:tcPr/>
                </a:tc>
                <a:tc>
                  <a:txBody>
                    <a:bodyPr/>
                    <a:lstStyle/>
                    <a:p>
                      <a:r>
                        <a:rPr lang="de-DE" dirty="0">
                          <a:solidFill>
                            <a:srgbClr val="E898AC"/>
                          </a:solidFill>
                        </a:rPr>
                        <a:t>Share</a:t>
                      </a:r>
                    </a:p>
                  </a:txBody>
                  <a:tcPr/>
                </a:tc>
                <a:extLst>
                  <a:ext uri="{0D108BD9-81ED-4DB2-BD59-A6C34878D82A}">
                    <a16:rowId xmlns:a16="http://schemas.microsoft.com/office/drawing/2014/main" val="134697354"/>
                  </a:ext>
                </a:extLst>
              </a:tr>
              <a:tr h="329552">
                <a:tc>
                  <a:txBody>
                    <a:bodyPr/>
                    <a:lstStyle/>
                    <a:p>
                      <a:r>
                        <a:rPr lang="de-DE" dirty="0">
                          <a:solidFill>
                            <a:schemeClr val="bg1"/>
                          </a:solidFill>
                        </a:rPr>
                        <a:t>1</a:t>
                      </a:r>
                    </a:p>
                  </a:txBody>
                  <a:tcPr/>
                </a:tc>
                <a:tc>
                  <a:txBody>
                    <a:bodyPr/>
                    <a:lstStyle/>
                    <a:p>
                      <a:r>
                        <a:rPr lang="de-DE" dirty="0">
                          <a:solidFill>
                            <a:schemeClr val="bg1"/>
                          </a:solidFill>
                        </a:rPr>
                        <a:t>Coffee</a:t>
                      </a:r>
                    </a:p>
                  </a:txBody>
                  <a:tcPr/>
                </a:tc>
                <a:tc>
                  <a:txBody>
                    <a:bodyPr/>
                    <a:lstStyle/>
                    <a:p>
                      <a:r>
                        <a:rPr lang="de-DE" dirty="0">
                          <a:solidFill>
                            <a:schemeClr val="bg1"/>
                          </a:solidFill>
                        </a:rPr>
                        <a:t>26,7 %</a:t>
                      </a:r>
                    </a:p>
                  </a:txBody>
                  <a:tcPr/>
                </a:tc>
                <a:tc>
                  <a:txBody>
                    <a:bodyPr/>
                    <a:lstStyle/>
                    <a:p>
                      <a:r>
                        <a:rPr lang="de-DE" dirty="0">
                          <a:solidFill>
                            <a:schemeClr val="bg1"/>
                          </a:solidFill>
                        </a:rPr>
                        <a:t>Coffee</a:t>
                      </a:r>
                    </a:p>
                  </a:txBody>
                  <a:tcPr/>
                </a:tc>
                <a:tc>
                  <a:txBody>
                    <a:bodyPr/>
                    <a:lstStyle/>
                    <a:p>
                      <a:r>
                        <a:rPr lang="de-DE" dirty="0">
                          <a:solidFill>
                            <a:schemeClr val="bg1"/>
                          </a:solidFill>
                        </a:rPr>
                        <a:t>27,2 %</a:t>
                      </a:r>
                    </a:p>
                  </a:txBody>
                  <a:tcPr/>
                </a:tc>
                <a:tc>
                  <a:txBody>
                    <a:bodyPr/>
                    <a:lstStyle/>
                    <a:p>
                      <a:r>
                        <a:rPr lang="de-DE" dirty="0">
                          <a:solidFill>
                            <a:schemeClr val="bg1"/>
                          </a:solidFill>
                        </a:rPr>
                        <a:t>Coffee</a:t>
                      </a:r>
                    </a:p>
                  </a:txBody>
                  <a:tcPr/>
                </a:tc>
                <a:tc>
                  <a:txBody>
                    <a:bodyPr/>
                    <a:lstStyle/>
                    <a:p>
                      <a:r>
                        <a:rPr lang="de-DE" dirty="0">
                          <a:solidFill>
                            <a:schemeClr val="bg1"/>
                          </a:solidFill>
                        </a:rPr>
                        <a:t>25,5 %</a:t>
                      </a:r>
                    </a:p>
                  </a:txBody>
                  <a:tcPr/>
                </a:tc>
                <a:extLst>
                  <a:ext uri="{0D108BD9-81ED-4DB2-BD59-A6C34878D82A}">
                    <a16:rowId xmlns:a16="http://schemas.microsoft.com/office/drawing/2014/main" val="195991190"/>
                  </a:ext>
                </a:extLst>
              </a:tr>
              <a:tr h="329552">
                <a:tc>
                  <a:txBody>
                    <a:bodyPr/>
                    <a:lstStyle/>
                    <a:p>
                      <a:r>
                        <a:rPr lang="de-DE" dirty="0">
                          <a:solidFill>
                            <a:schemeClr val="bg1"/>
                          </a:solidFill>
                        </a:rPr>
                        <a:t>2</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tc>
                  <a:txBody>
                    <a:bodyPr/>
                    <a:lstStyle/>
                    <a:p>
                      <a:r>
                        <a:rPr lang="de-DE" dirty="0" err="1">
                          <a:solidFill>
                            <a:schemeClr val="bg1"/>
                          </a:solidFill>
                        </a:rPr>
                        <a:t>Bread</a:t>
                      </a:r>
                      <a:endParaRPr lang="de-DE" dirty="0">
                        <a:solidFill>
                          <a:schemeClr val="bg1"/>
                        </a:solidFill>
                      </a:endParaRPr>
                    </a:p>
                  </a:txBody>
                  <a:tcPr/>
                </a:tc>
                <a:tc>
                  <a:txBody>
                    <a:bodyPr/>
                    <a:lstStyle/>
                    <a:p>
                      <a:r>
                        <a:rPr lang="de-DE" dirty="0">
                          <a:solidFill>
                            <a:schemeClr val="bg1"/>
                          </a:solidFill>
                        </a:rPr>
                        <a:t>16,2 %</a:t>
                      </a:r>
                    </a:p>
                  </a:txBody>
                  <a:tcPr/>
                </a:tc>
                <a:extLst>
                  <a:ext uri="{0D108BD9-81ED-4DB2-BD59-A6C34878D82A}">
                    <a16:rowId xmlns:a16="http://schemas.microsoft.com/office/drawing/2014/main" val="1586955517"/>
                  </a:ext>
                </a:extLst>
              </a:tr>
              <a:tr h="329552">
                <a:tc>
                  <a:txBody>
                    <a:bodyPr/>
                    <a:lstStyle/>
                    <a:p>
                      <a:r>
                        <a:rPr lang="de-DE" dirty="0">
                          <a:solidFill>
                            <a:schemeClr val="bg1"/>
                          </a:solidFill>
                        </a:rPr>
                        <a:t>3</a:t>
                      </a:r>
                    </a:p>
                  </a:txBody>
                  <a:tcPr/>
                </a:tc>
                <a:tc>
                  <a:txBody>
                    <a:bodyPr/>
                    <a:lstStyle/>
                    <a:p>
                      <a:r>
                        <a:rPr lang="de-DE" dirty="0">
                          <a:solidFill>
                            <a:schemeClr val="bg1"/>
                          </a:solidFill>
                        </a:rPr>
                        <a:t>Tea</a:t>
                      </a:r>
                    </a:p>
                  </a:txBody>
                  <a:tcPr/>
                </a:tc>
                <a:tc>
                  <a:txBody>
                    <a:bodyPr/>
                    <a:lstStyle/>
                    <a:p>
                      <a:r>
                        <a:rPr lang="de-DE" dirty="0">
                          <a:solidFill>
                            <a:schemeClr val="bg1"/>
                          </a:solidFill>
                        </a:rPr>
                        <a:t>7,0 %</a:t>
                      </a:r>
                    </a:p>
                  </a:txBody>
                  <a:tcPr/>
                </a:tc>
                <a:tc>
                  <a:txBody>
                    <a:bodyPr/>
                    <a:lstStyle/>
                    <a:p>
                      <a:r>
                        <a:rPr lang="de-DE" dirty="0">
                          <a:solidFill>
                            <a:schemeClr val="bg1"/>
                          </a:solidFill>
                        </a:rPr>
                        <a:t>Tea</a:t>
                      </a:r>
                    </a:p>
                  </a:txBody>
                  <a:tcPr/>
                </a:tc>
                <a:tc>
                  <a:txBody>
                    <a:bodyPr/>
                    <a:lstStyle/>
                    <a:p>
                      <a:r>
                        <a:rPr lang="de-DE" dirty="0">
                          <a:solidFill>
                            <a:schemeClr val="bg1"/>
                          </a:solidFill>
                        </a:rPr>
                        <a:t>7,4 %</a:t>
                      </a:r>
                    </a:p>
                  </a:txBody>
                  <a:tcPr/>
                </a:tc>
                <a:tc>
                  <a:txBody>
                    <a:bodyPr/>
                    <a:lstStyle/>
                    <a:p>
                      <a:r>
                        <a:rPr lang="de-DE" dirty="0">
                          <a:solidFill>
                            <a:schemeClr val="bg1"/>
                          </a:solidFill>
                        </a:rPr>
                        <a:t>Tea</a:t>
                      </a:r>
                    </a:p>
                  </a:txBody>
                  <a:tcPr/>
                </a:tc>
                <a:tc>
                  <a:txBody>
                    <a:bodyPr/>
                    <a:lstStyle/>
                    <a:p>
                      <a:r>
                        <a:rPr lang="de-DE" dirty="0">
                          <a:solidFill>
                            <a:schemeClr val="bg1"/>
                          </a:solidFill>
                        </a:rPr>
                        <a:t>6,1 %</a:t>
                      </a:r>
                    </a:p>
                  </a:txBody>
                  <a:tcPr/>
                </a:tc>
                <a:extLst>
                  <a:ext uri="{0D108BD9-81ED-4DB2-BD59-A6C34878D82A}">
                    <a16:rowId xmlns:a16="http://schemas.microsoft.com/office/drawing/2014/main" val="288596437"/>
                  </a:ext>
                </a:extLst>
              </a:tr>
              <a:tr h="329552">
                <a:tc>
                  <a:txBody>
                    <a:bodyPr/>
                    <a:lstStyle/>
                    <a:p>
                      <a:r>
                        <a:rPr lang="de-DE" dirty="0">
                          <a:solidFill>
                            <a:schemeClr val="bg1"/>
                          </a:solidFill>
                        </a:rPr>
                        <a:t>4</a:t>
                      </a:r>
                    </a:p>
                  </a:txBody>
                  <a:tcPr/>
                </a:tc>
                <a:tc>
                  <a:txBody>
                    <a:bodyPr/>
                    <a:lstStyle/>
                    <a:p>
                      <a:r>
                        <a:rPr lang="de-DE" dirty="0">
                          <a:solidFill>
                            <a:schemeClr val="bg1"/>
                          </a:solidFill>
                        </a:rPr>
                        <a:t>Cake</a:t>
                      </a:r>
                    </a:p>
                  </a:txBody>
                  <a:tcPr/>
                </a:tc>
                <a:tc>
                  <a:txBody>
                    <a:bodyPr/>
                    <a:lstStyle/>
                    <a:p>
                      <a:r>
                        <a:rPr lang="de-DE" dirty="0">
                          <a:solidFill>
                            <a:schemeClr val="bg1"/>
                          </a:solidFill>
                        </a:rPr>
                        <a:t>5,0 %</a:t>
                      </a:r>
                    </a:p>
                  </a:txBody>
                  <a:tcPr/>
                </a:tc>
                <a:tc>
                  <a:txBody>
                    <a:bodyPr/>
                    <a:lstStyle/>
                    <a:p>
                      <a:r>
                        <a:rPr lang="de-DE" dirty="0">
                          <a:solidFill>
                            <a:schemeClr val="bg1"/>
                          </a:solidFill>
                        </a:rPr>
                        <a:t>Cake</a:t>
                      </a:r>
                    </a:p>
                  </a:txBody>
                  <a:tcPr/>
                </a:tc>
                <a:tc>
                  <a:txBody>
                    <a:bodyPr/>
                    <a:lstStyle/>
                    <a:p>
                      <a:r>
                        <a:rPr lang="de-DE" dirty="0">
                          <a:solidFill>
                            <a:schemeClr val="bg1"/>
                          </a:solidFill>
                        </a:rPr>
                        <a:t>4,8 %</a:t>
                      </a:r>
                    </a:p>
                  </a:txBody>
                  <a:tcPr/>
                </a:tc>
                <a:tc>
                  <a:txBody>
                    <a:bodyPr/>
                    <a:lstStyle/>
                    <a:p>
                      <a:r>
                        <a:rPr lang="de-DE" dirty="0">
                          <a:solidFill>
                            <a:schemeClr val="bg1"/>
                          </a:solidFill>
                        </a:rPr>
                        <a:t>Cake</a:t>
                      </a:r>
                    </a:p>
                  </a:txBody>
                  <a:tcPr/>
                </a:tc>
                <a:tc>
                  <a:txBody>
                    <a:bodyPr/>
                    <a:lstStyle/>
                    <a:p>
                      <a:r>
                        <a:rPr lang="de-DE" dirty="0">
                          <a:solidFill>
                            <a:schemeClr val="bg1"/>
                          </a:solidFill>
                        </a:rPr>
                        <a:t>5,4 %</a:t>
                      </a:r>
                    </a:p>
                  </a:txBody>
                  <a:tcPr/>
                </a:tc>
                <a:extLst>
                  <a:ext uri="{0D108BD9-81ED-4DB2-BD59-A6C34878D82A}">
                    <a16:rowId xmlns:a16="http://schemas.microsoft.com/office/drawing/2014/main" val="2779348225"/>
                  </a:ext>
                </a:extLst>
              </a:tr>
              <a:tr h="329552">
                <a:tc>
                  <a:txBody>
                    <a:bodyPr/>
                    <a:lstStyle/>
                    <a:p>
                      <a:r>
                        <a:rPr lang="de-DE" dirty="0">
                          <a:solidFill>
                            <a:schemeClr val="bg1"/>
                          </a:solidFill>
                        </a:rPr>
                        <a:t>5</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2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4,4 %</a:t>
                      </a:r>
                    </a:p>
                  </a:txBody>
                  <a:tcPr/>
                </a:tc>
                <a:tc>
                  <a:txBody>
                    <a:bodyPr/>
                    <a:lstStyle/>
                    <a:p>
                      <a:r>
                        <a:rPr lang="de-DE" dirty="0" err="1">
                          <a:solidFill>
                            <a:schemeClr val="bg1"/>
                          </a:solidFill>
                        </a:rPr>
                        <a:t>Pastry</a:t>
                      </a:r>
                      <a:endParaRPr lang="de-DE" dirty="0">
                        <a:solidFill>
                          <a:schemeClr val="bg1"/>
                        </a:solidFill>
                      </a:endParaRPr>
                    </a:p>
                  </a:txBody>
                  <a:tcPr/>
                </a:tc>
                <a:tc>
                  <a:txBody>
                    <a:bodyPr/>
                    <a:lstStyle/>
                    <a:p>
                      <a:r>
                        <a:rPr lang="de-DE" dirty="0">
                          <a:solidFill>
                            <a:schemeClr val="bg1"/>
                          </a:solidFill>
                        </a:rPr>
                        <a:t>3,8 %</a:t>
                      </a:r>
                    </a:p>
                  </a:txBody>
                  <a:tcPr/>
                </a:tc>
                <a:extLst>
                  <a:ext uri="{0D108BD9-81ED-4DB2-BD59-A6C34878D82A}">
                    <a16:rowId xmlns:a16="http://schemas.microsoft.com/office/drawing/2014/main" val="1455429895"/>
                  </a:ext>
                </a:extLst>
              </a:tr>
              <a:tr h="329552">
                <a:tc>
                  <a:txBody>
                    <a:bodyPr/>
                    <a:lstStyle/>
                    <a:p>
                      <a:r>
                        <a:rPr lang="de-DE" dirty="0">
                          <a:solidFill>
                            <a:schemeClr val="bg1"/>
                          </a:solidFill>
                        </a:rPr>
                        <a:t>6</a:t>
                      </a:r>
                    </a:p>
                  </a:txBody>
                  <a:tcPr/>
                </a:tc>
                <a:tc>
                  <a:txBody>
                    <a:bodyPr/>
                    <a:lstStyle/>
                    <a:p>
                      <a:r>
                        <a:rPr lang="de-DE" dirty="0">
                          <a:solidFill>
                            <a:schemeClr val="bg1"/>
                          </a:solidFill>
                        </a:rPr>
                        <a:t>Sandwich</a:t>
                      </a:r>
                    </a:p>
                  </a:txBody>
                  <a:tcPr/>
                </a:tc>
                <a:tc>
                  <a:txBody>
                    <a:bodyPr/>
                    <a:lstStyle/>
                    <a:p>
                      <a:r>
                        <a:rPr lang="de-DE" dirty="0">
                          <a:solidFill>
                            <a:schemeClr val="bg1"/>
                          </a:solidFill>
                        </a:rPr>
                        <a:t>3,8 %</a:t>
                      </a:r>
                    </a:p>
                  </a:txBody>
                  <a:tcPr/>
                </a:tc>
                <a:tc>
                  <a:txBody>
                    <a:bodyPr/>
                    <a:lstStyle/>
                    <a:p>
                      <a:r>
                        <a:rPr lang="de-DE" dirty="0">
                          <a:solidFill>
                            <a:schemeClr val="bg1"/>
                          </a:solidFill>
                        </a:rPr>
                        <a:t>Sandwich</a:t>
                      </a:r>
                    </a:p>
                  </a:txBody>
                  <a:tcPr/>
                </a:tc>
                <a:tc>
                  <a:txBody>
                    <a:bodyPr/>
                    <a:lstStyle/>
                    <a:p>
                      <a:r>
                        <a:rPr lang="de-DE" dirty="0">
                          <a:solidFill>
                            <a:schemeClr val="bg1"/>
                          </a:solidFill>
                        </a:rPr>
                        <a:t>3,9 %</a:t>
                      </a:r>
                    </a:p>
                  </a:txBody>
                  <a:tcPr/>
                </a:tc>
                <a:tc>
                  <a:txBody>
                    <a:bodyPr/>
                    <a:lstStyle/>
                    <a:p>
                      <a:r>
                        <a:rPr lang="de-DE" dirty="0">
                          <a:solidFill>
                            <a:schemeClr val="bg1"/>
                          </a:solidFill>
                        </a:rPr>
                        <a:t>Medialuna</a:t>
                      </a:r>
                    </a:p>
                  </a:txBody>
                  <a:tcPr/>
                </a:tc>
                <a:tc>
                  <a:txBody>
                    <a:bodyPr/>
                    <a:lstStyle/>
                    <a:p>
                      <a:r>
                        <a:rPr lang="de-DE" dirty="0">
                          <a:solidFill>
                            <a:schemeClr val="bg1"/>
                          </a:solidFill>
                        </a:rPr>
                        <a:t>3,6 %</a:t>
                      </a:r>
                    </a:p>
                  </a:txBody>
                  <a:tcPr/>
                </a:tc>
                <a:extLst>
                  <a:ext uri="{0D108BD9-81ED-4DB2-BD59-A6C34878D82A}">
                    <a16:rowId xmlns:a16="http://schemas.microsoft.com/office/drawing/2014/main" val="2451722620"/>
                  </a:ext>
                </a:extLst>
              </a:tr>
              <a:tr h="329552">
                <a:tc>
                  <a:txBody>
                    <a:bodyPr/>
                    <a:lstStyle/>
                    <a:p>
                      <a:r>
                        <a:rPr lang="de-DE" dirty="0">
                          <a:solidFill>
                            <a:schemeClr val="bg1"/>
                          </a:solidFill>
                        </a:rPr>
                        <a:t>7</a:t>
                      </a:r>
                    </a:p>
                  </a:txBody>
                  <a:tcPr/>
                </a:tc>
                <a:tc>
                  <a:txBody>
                    <a:bodyPr/>
                    <a:lstStyle/>
                    <a:p>
                      <a:r>
                        <a:rPr lang="de-DE" dirty="0">
                          <a:solidFill>
                            <a:schemeClr val="bg1"/>
                          </a:solidFill>
                        </a:rPr>
                        <a:t>Medialuna</a:t>
                      </a:r>
                    </a:p>
                  </a:txBody>
                  <a:tcPr/>
                </a:tc>
                <a:tc>
                  <a:txBody>
                    <a:bodyPr/>
                    <a:lstStyle/>
                    <a:p>
                      <a:r>
                        <a:rPr lang="de-DE" dirty="0">
                          <a:solidFill>
                            <a:schemeClr val="bg1"/>
                          </a:solidFill>
                        </a:rPr>
                        <a:t>3,0 %</a:t>
                      </a:r>
                    </a:p>
                  </a:txBody>
                  <a:tcPr/>
                </a:tc>
                <a:tc>
                  <a:txBody>
                    <a:bodyPr/>
                    <a:lstStyle/>
                    <a:p>
                      <a:r>
                        <a:rPr lang="de-DE" dirty="0">
                          <a:solidFill>
                            <a:schemeClr val="bg1"/>
                          </a:solidFill>
                        </a:rPr>
                        <a:t>Cookies</a:t>
                      </a:r>
                    </a:p>
                  </a:txBody>
                  <a:tcPr/>
                </a:tc>
                <a:tc>
                  <a:txBody>
                    <a:bodyPr/>
                    <a:lstStyle/>
                    <a:p>
                      <a:r>
                        <a:rPr lang="de-DE" dirty="0">
                          <a:solidFill>
                            <a:schemeClr val="bg1"/>
                          </a:solidFill>
                        </a:rPr>
                        <a:t>2,9 %</a:t>
                      </a:r>
                    </a:p>
                  </a:txBody>
                  <a:tcPr/>
                </a:tc>
                <a:tc>
                  <a:txBody>
                    <a:bodyPr/>
                    <a:lstStyle/>
                    <a:p>
                      <a:r>
                        <a:rPr lang="de-DE" dirty="0">
                          <a:solidFill>
                            <a:schemeClr val="bg1"/>
                          </a:solidFill>
                        </a:rPr>
                        <a:t>Sandwich</a:t>
                      </a:r>
                    </a:p>
                  </a:txBody>
                  <a:tcPr/>
                </a:tc>
                <a:tc>
                  <a:txBody>
                    <a:bodyPr/>
                    <a:lstStyle/>
                    <a:p>
                      <a:r>
                        <a:rPr lang="de-DE" dirty="0">
                          <a:solidFill>
                            <a:schemeClr val="bg1"/>
                          </a:solidFill>
                        </a:rPr>
                        <a:t>3,5 %</a:t>
                      </a:r>
                    </a:p>
                  </a:txBody>
                  <a:tcPr/>
                </a:tc>
                <a:extLst>
                  <a:ext uri="{0D108BD9-81ED-4DB2-BD59-A6C34878D82A}">
                    <a16:rowId xmlns:a16="http://schemas.microsoft.com/office/drawing/2014/main" val="3835855623"/>
                  </a:ext>
                </a:extLst>
              </a:tr>
              <a:tr h="329552">
                <a:tc>
                  <a:txBody>
                    <a:bodyPr/>
                    <a:lstStyle/>
                    <a:p>
                      <a:r>
                        <a:rPr lang="de-DE" dirty="0">
                          <a:solidFill>
                            <a:schemeClr val="bg1"/>
                          </a:solidFill>
                        </a:rPr>
                        <a:t>8</a:t>
                      </a:r>
                    </a:p>
                  </a:txBody>
                  <a:tcPr/>
                </a:tc>
                <a:tc>
                  <a:txBody>
                    <a:bodyPr/>
                    <a:lstStyle/>
                    <a:p>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r>
                        <a:rPr lang="de-DE" dirty="0">
                          <a:solidFill>
                            <a:schemeClr val="bg1"/>
                          </a:solidFill>
                        </a:rPr>
                        <a:t>2,9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2,7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Hot </a:t>
                      </a:r>
                      <a:r>
                        <a:rPr lang="de-DE" dirty="0" err="1">
                          <a:solidFill>
                            <a:schemeClr val="bg1"/>
                          </a:solidFill>
                        </a:rPr>
                        <a:t>Chocolate</a:t>
                      </a:r>
                      <a:endParaRPr lang="de-DE" dirty="0">
                        <a:solidFill>
                          <a:schemeClr val="bg1"/>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de-DE" dirty="0">
                          <a:solidFill>
                            <a:schemeClr val="bg1"/>
                          </a:solidFill>
                        </a:rPr>
                        <a:t>3,2 %</a:t>
                      </a:r>
                    </a:p>
                  </a:txBody>
                  <a:tcPr/>
                </a:tc>
                <a:extLst>
                  <a:ext uri="{0D108BD9-81ED-4DB2-BD59-A6C34878D82A}">
                    <a16:rowId xmlns:a16="http://schemas.microsoft.com/office/drawing/2014/main" val="2099998639"/>
                  </a:ext>
                </a:extLst>
              </a:tr>
              <a:tr h="329552">
                <a:tc>
                  <a:txBody>
                    <a:bodyPr/>
                    <a:lstStyle/>
                    <a:p>
                      <a:r>
                        <a:rPr lang="de-DE" dirty="0">
                          <a:solidFill>
                            <a:schemeClr val="bg1"/>
                          </a:solidFill>
                        </a:rPr>
                        <a:t>9</a:t>
                      </a:r>
                    </a:p>
                  </a:txBody>
                  <a:tcPr/>
                </a:tc>
                <a:tc>
                  <a:txBody>
                    <a:bodyPr/>
                    <a:lstStyle/>
                    <a:p>
                      <a:r>
                        <a:rPr lang="de-DE" dirty="0">
                          <a:solidFill>
                            <a:schemeClr val="bg1"/>
                          </a:solidFill>
                        </a:rPr>
                        <a:t>Cookies</a:t>
                      </a:r>
                    </a:p>
                  </a:txBody>
                  <a:tcPr/>
                </a:tc>
                <a:tc>
                  <a:txBody>
                    <a:bodyPr/>
                    <a:lstStyle/>
                    <a:p>
                      <a:r>
                        <a:rPr lang="de-DE" dirty="0">
                          <a:solidFill>
                            <a:schemeClr val="bg1"/>
                          </a:solidFill>
                        </a:rPr>
                        <a:t>2,6 %</a:t>
                      </a:r>
                    </a:p>
                  </a:txBody>
                  <a:tcPr/>
                </a:tc>
                <a:tc>
                  <a:txBody>
                    <a:bodyPr/>
                    <a:lstStyle/>
                    <a:p>
                      <a:r>
                        <a:rPr lang="de-DE" dirty="0">
                          <a:solidFill>
                            <a:schemeClr val="bg1"/>
                          </a:solidFill>
                        </a:rPr>
                        <a:t>Medialuna</a:t>
                      </a:r>
                    </a:p>
                  </a:txBody>
                  <a:tcPr/>
                </a:tc>
                <a:tc>
                  <a:txBody>
                    <a:bodyPr/>
                    <a:lstStyle/>
                    <a:p>
                      <a:r>
                        <a:rPr lang="de-DE" dirty="0">
                          <a:solidFill>
                            <a:schemeClr val="bg1"/>
                          </a:solidFill>
                        </a:rPr>
                        <a:t>2,7 %</a:t>
                      </a:r>
                    </a:p>
                  </a:txBody>
                  <a:tcPr/>
                </a:tc>
                <a:tc>
                  <a:txBody>
                    <a:bodyPr/>
                    <a:lstStyle/>
                    <a:p>
                      <a:r>
                        <a:rPr lang="de-DE" dirty="0">
                          <a:solidFill>
                            <a:schemeClr val="bg1"/>
                          </a:solidFill>
                        </a:rPr>
                        <a:t>Scone</a:t>
                      </a:r>
                    </a:p>
                  </a:txBody>
                  <a:tcPr/>
                </a:tc>
                <a:tc>
                  <a:txBody>
                    <a:bodyPr/>
                    <a:lstStyle/>
                    <a:p>
                      <a:r>
                        <a:rPr lang="de-DE" dirty="0">
                          <a:solidFill>
                            <a:schemeClr val="bg1"/>
                          </a:solidFill>
                        </a:rPr>
                        <a:t>2,2 %</a:t>
                      </a:r>
                    </a:p>
                  </a:txBody>
                  <a:tcPr/>
                </a:tc>
                <a:extLst>
                  <a:ext uri="{0D108BD9-81ED-4DB2-BD59-A6C34878D82A}">
                    <a16:rowId xmlns:a16="http://schemas.microsoft.com/office/drawing/2014/main" val="2134290992"/>
                  </a:ext>
                </a:extLst>
              </a:tr>
              <a:tr h="329552">
                <a:tc>
                  <a:txBody>
                    <a:bodyPr/>
                    <a:lstStyle/>
                    <a:p>
                      <a:r>
                        <a:rPr lang="de-DE" dirty="0">
                          <a:solidFill>
                            <a:schemeClr val="bg1"/>
                          </a:solidFill>
                        </a:rPr>
                        <a:t>10</a:t>
                      </a:r>
                    </a:p>
                  </a:txBody>
                  <a:tcPr/>
                </a:tc>
                <a:tc>
                  <a:txBody>
                    <a:bodyPr/>
                    <a:lstStyle/>
                    <a:p>
                      <a:r>
                        <a:rPr lang="de-DE" dirty="0">
                          <a:solidFill>
                            <a:schemeClr val="bg1"/>
                          </a:solidFill>
                        </a:rPr>
                        <a:t>Brownie</a:t>
                      </a:r>
                    </a:p>
                  </a:txBody>
                  <a:tcPr/>
                </a:tc>
                <a:tc>
                  <a:txBody>
                    <a:bodyPr/>
                    <a:lstStyle/>
                    <a:p>
                      <a:r>
                        <a:rPr lang="de-DE" dirty="0">
                          <a:solidFill>
                            <a:schemeClr val="bg1"/>
                          </a:solidFill>
                        </a:rPr>
                        <a:t>1,8 %</a:t>
                      </a:r>
                    </a:p>
                  </a:txBody>
                  <a:tcPr/>
                </a:tc>
                <a:tc>
                  <a:txBody>
                    <a:bodyPr/>
                    <a:lstStyle/>
                    <a:p>
                      <a:r>
                        <a:rPr lang="de-DE" dirty="0" err="1">
                          <a:solidFill>
                            <a:schemeClr val="bg1"/>
                          </a:solidFill>
                        </a:rPr>
                        <a:t>Soup</a:t>
                      </a:r>
                      <a:endParaRPr lang="de-DE" dirty="0">
                        <a:solidFill>
                          <a:schemeClr val="bg1"/>
                        </a:solidFill>
                      </a:endParaRPr>
                    </a:p>
                  </a:txBody>
                  <a:tcPr/>
                </a:tc>
                <a:tc>
                  <a:txBody>
                    <a:bodyPr/>
                    <a:lstStyle/>
                    <a:p>
                      <a:r>
                        <a:rPr lang="de-DE" dirty="0">
                          <a:solidFill>
                            <a:schemeClr val="bg1"/>
                          </a:solidFill>
                        </a:rPr>
                        <a:t>1,9 %</a:t>
                      </a:r>
                    </a:p>
                  </a:txBody>
                  <a:tcPr/>
                </a:tc>
                <a:tc>
                  <a:txBody>
                    <a:bodyPr/>
                    <a:lstStyle/>
                    <a:p>
                      <a:r>
                        <a:rPr lang="de-DE" dirty="0">
                          <a:solidFill>
                            <a:schemeClr val="bg1"/>
                          </a:solidFill>
                        </a:rPr>
                        <a:t>Muffin</a:t>
                      </a:r>
                    </a:p>
                  </a:txBody>
                  <a:tcPr/>
                </a:tc>
                <a:tc>
                  <a:txBody>
                    <a:bodyPr/>
                    <a:lstStyle/>
                    <a:p>
                      <a:r>
                        <a:rPr lang="de-DE" dirty="0">
                          <a:solidFill>
                            <a:schemeClr val="bg1"/>
                          </a:solidFill>
                        </a:rPr>
                        <a:t>2,1 %</a:t>
                      </a:r>
                    </a:p>
                  </a:txBody>
                  <a:tcPr/>
                </a:tc>
                <a:extLst>
                  <a:ext uri="{0D108BD9-81ED-4DB2-BD59-A6C34878D82A}">
                    <a16:rowId xmlns:a16="http://schemas.microsoft.com/office/drawing/2014/main" val="2914239064"/>
                  </a:ext>
                </a:extLst>
              </a:tr>
            </a:tbl>
          </a:graphicData>
        </a:graphic>
      </p:graphicFrame>
    </p:spTree>
    <p:extLst>
      <p:ext uri="{BB962C8B-B14F-4D97-AF65-F5344CB8AC3E}">
        <p14:creationId xmlns:p14="http://schemas.microsoft.com/office/powerpoint/2010/main" val="747651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5" y="411675"/>
            <a:ext cx="5432118" cy="577800"/>
          </a:xfrm>
        </p:spPr>
        <p:txBody>
          <a:bodyPr vert="horz"/>
          <a:lstStyle/>
          <a:p>
            <a:r>
              <a:rPr lang="de-DE" dirty="0"/>
              <a:t>Data Exploration - Tagesverlauf</a:t>
            </a:r>
          </a:p>
        </p:txBody>
      </p:sp>
      <p:graphicFrame>
        <p:nvGraphicFramePr>
          <p:cNvPr id="4" name="Diagramm 3">
            <a:extLst>
              <a:ext uri="{FF2B5EF4-FFF2-40B4-BE49-F238E27FC236}">
                <a16:creationId xmlns:a16="http://schemas.microsoft.com/office/drawing/2014/main" id="{20670345-0466-FB1C-EF9A-0D8078634143}"/>
              </a:ext>
            </a:extLst>
          </p:cNvPr>
          <p:cNvGraphicFramePr>
            <a:graphicFrameLocks/>
          </p:cNvGraphicFramePr>
          <p:nvPr>
            <p:extLst>
              <p:ext uri="{D42A27DB-BD31-4B8C-83A1-F6EECF244321}">
                <p14:modId xmlns:p14="http://schemas.microsoft.com/office/powerpoint/2010/main" val="2157619058"/>
              </p:ext>
            </p:extLst>
          </p:nvPr>
        </p:nvGraphicFramePr>
        <p:xfrm>
          <a:off x="618825" y="989475"/>
          <a:ext cx="5760000" cy="342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Google Shape;465;p26">
            <a:extLst>
              <a:ext uri="{FF2B5EF4-FFF2-40B4-BE49-F238E27FC236}">
                <a16:creationId xmlns:a16="http://schemas.microsoft.com/office/drawing/2014/main" id="{A08AFEA1-A352-3988-C309-738417C160CD}"/>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Vormittag</a:t>
            </a:r>
            <a:r>
              <a:rPr lang="en-US" dirty="0">
                <a:solidFill>
                  <a:schemeClr val="bg1"/>
                </a:solidFill>
                <a:latin typeface="Maven Pro" panose="020B0604020202020204" charset="0"/>
              </a:rPr>
              <a:t>: </a:t>
            </a:r>
          </a:p>
          <a:p>
            <a:r>
              <a:rPr lang="en-US" dirty="0">
                <a:solidFill>
                  <a:schemeClr val="bg1"/>
                </a:solidFill>
                <a:latin typeface="Maven Pro" panose="020B0604020202020204" charset="0"/>
              </a:rPr>
              <a:t>Coffee, Bread und Pastry.</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Mittags</a:t>
            </a:r>
            <a:r>
              <a:rPr lang="en-US" dirty="0">
                <a:solidFill>
                  <a:schemeClr val="bg1"/>
                </a:solidFill>
                <a:latin typeface="Maven Pro" panose="020B0604020202020204" charset="0"/>
              </a:rPr>
              <a:t>:</a:t>
            </a:r>
          </a:p>
          <a:p>
            <a:r>
              <a:rPr lang="en-US" dirty="0">
                <a:solidFill>
                  <a:schemeClr val="bg1"/>
                </a:solidFill>
                <a:latin typeface="Maven Pro" panose="020B0604020202020204" charset="0"/>
              </a:rPr>
              <a:t>Coffee, Bread und Pastry </a:t>
            </a:r>
            <a:r>
              <a:rPr lang="en-US" dirty="0" err="1">
                <a:solidFill>
                  <a:schemeClr val="bg1"/>
                </a:solidFill>
                <a:latin typeface="Maven Pro" panose="020B0604020202020204" charset="0"/>
              </a:rPr>
              <a:t>rückgängig</a:t>
            </a:r>
            <a:r>
              <a:rPr lang="en-US" dirty="0">
                <a:solidFill>
                  <a:schemeClr val="bg1"/>
                </a:solidFill>
                <a:latin typeface="Maven Pro" panose="020B0604020202020204" charset="0"/>
              </a:rPr>
              <a:t>.</a:t>
            </a:r>
          </a:p>
          <a:p>
            <a:r>
              <a:rPr lang="en-US" dirty="0" err="1">
                <a:solidFill>
                  <a:schemeClr val="bg1"/>
                </a:solidFill>
                <a:latin typeface="Maven Pro" panose="020B0604020202020204" charset="0"/>
              </a:rPr>
              <a:t>Anstieg</a:t>
            </a:r>
            <a:r>
              <a:rPr lang="en-US" dirty="0">
                <a:solidFill>
                  <a:schemeClr val="bg1"/>
                </a:solidFill>
                <a:latin typeface="Maven Pro" panose="020B0604020202020204" charset="0"/>
              </a:rPr>
              <a:t> von Tea und Cake.</a:t>
            </a: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100748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405CD4-3740-16BC-8439-42A10905E817}"/>
              </a:ext>
            </a:extLst>
          </p:cNvPr>
          <p:cNvSpPr>
            <a:spLocks noGrp="1"/>
          </p:cNvSpPr>
          <p:nvPr>
            <p:ph type="ctrTitle"/>
          </p:nvPr>
        </p:nvSpPr>
        <p:spPr>
          <a:xfrm>
            <a:off x="618825" y="411675"/>
            <a:ext cx="5638852" cy="577800"/>
          </a:xfrm>
        </p:spPr>
        <p:txBody>
          <a:bodyPr/>
          <a:lstStyle/>
          <a:p>
            <a:r>
              <a:rPr lang="de-DE" dirty="0"/>
              <a:t>Data Exploration - Weihnachten</a:t>
            </a:r>
          </a:p>
        </p:txBody>
      </p:sp>
      <p:graphicFrame>
        <p:nvGraphicFramePr>
          <p:cNvPr id="3" name="Diagramm 2">
            <a:extLst>
              <a:ext uri="{FF2B5EF4-FFF2-40B4-BE49-F238E27FC236}">
                <a16:creationId xmlns:a16="http://schemas.microsoft.com/office/drawing/2014/main" id="{464D2C6C-7FD3-460F-ABBA-7ECD3BAC27BB}"/>
              </a:ext>
            </a:extLst>
          </p:cNvPr>
          <p:cNvGraphicFramePr>
            <a:graphicFrameLocks/>
          </p:cNvGraphicFramePr>
          <p:nvPr/>
        </p:nvGraphicFramePr>
        <p:xfrm>
          <a:off x="737284"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465;p26">
            <a:extLst>
              <a:ext uri="{FF2B5EF4-FFF2-40B4-BE49-F238E27FC236}">
                <a16:creationId xmlns:a16="http://schemas.microsoft.com/office/drawing/2014/main" id="{3A9B2C9D-E8F8-3EB7-E146-B113D83FFD73}"/>
              </a:ext>
            </a:extLst>
          </p:cNvPr>
          <p:cNvSpPr txBox="1">
            <a:spLocks/>
          </p:cNvSpPr>
          <p:nvPr/>
        </p:nvSpPr>
        <p:spPr>
          <a:xfrm>
            <a:off x="6615743" y="1371199"/>
            <a:ext cx="1790973"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Kein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5.12. (So) und 26.12. (M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Weni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käufe</a:t>
            </a:r>
            <a:r>
              <a:rPr lang="en-US" dirty="0">
                <a:solidFill>
                  <a:schemeClr val="bg1"/>
                </a:solidFill>
                <a:latin typeface="Maven Pro" panose="020B0604020202020204" charset="0"/>
              </a:rPr>
              <a:t> am 27.12. (Boxing Day).</a:t>
            </a:r>
          </a:p>
          <a:p>
            <a:endParaRPr lang="en-US" dirty="0">
              <a:solidFill>
                <a:schemeClr val="bg1"/>
              </a:solidFill>
              <a:latin typeface="Maven Pro" panose="020B0604020202020204" charset="0"/>
            </a:endParaRPr>
          </a:p>
          <a:p>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8028363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A629AE-27F6-F1BF-74D2-7AAF94A3CA22}"/>
              </a:ext>
            </a:extLst>
          </p:cNvPr>
          <p:cNvSpPr>
            <a:spLocks noGrp="1"/>
          </p:cNvSpPr>
          <p:nvPr>
            <p:ph type="ctrTitle"/>
          </p:nvPr>
        </p:nvSpPr>
        <p:spPr/>
        <p:txBody>
          <a:bodyPr/>
          <a:lstStyle/>
          <a:p>
            <a:r>
              <a:rPr lang="de-DE" dirty="0"/>
              <a:t>Data Exploration - Neujahr</a:t>
            </a:r>
          </a:p>
        </p:txBody>
      </p:sp>
      <p:sp>
        <p:nvSpPr>
          <p:cNvPr id="4" name="Google Shape;465;p26">
            <a:extLst>
              <a:ext uri="{FF2B5EF4-FFF2-40B4-BE49-F238E27FC236}">
                <a16:creationId xmlns:a16="http://schemas.microsoft.com/office/drawing/2014/main" id="{5F460089-3949-D371-4414-483610DC9B54}"/>
              </a:ext>
            </a:extLst>
          </p:cNvPr>
          <p:cNvSpPr txBox="1">
            <a:spLocks/>
          </p:cNvSpPr>
          <p:nvPr/>
        </p:nvSpPr>
        <p:spPr>
          <a:xfrm>
            <a:off x="6613462" y="1375348"/>
            <a:ext cx="1787727"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ine </a:t>
            </a:r>
            <a:r>
              <a:rPr lang="en-US" dirty="0" err="1">
                <a:solidFill>
                  <a:schemeClr val="bg1"/>
                </a:solidFill>
                <a:latin typeface="Maven Pro" panose="020B0604020202020204" charset="0"/>
              </a:rPr>
              <a:t>Bestellung</a:t>
            </a:r>
            <a:r>
              <a:rPr lang="en-US" dirty="0">
                <a:solidFill>
                  <a:schemeClr val="bg1"/>
                </a:solidFill>
                <a:latin typeface="Maven Pro" panose="020B0604020202020204" charset="0"/>
              </a:rPr>
              <a:t> am 01.01. (So).</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Bestellungen</a:t>
            </a:r>
            <a:r>
              <a:rPr lang="en-US" dirty="0">
                <a:solidFill>
                  <a:schemeClr val="bg1"/>
                </a:solidFill>
                <a:latin typeface="Maven Pro" panose="020B0604020202020204" charset="0"/>
              </a:rPr>
              <a:t> am Boxing Day (02.01.) </a:t>
            </a:r>
            <a:r>
              <a:rPr lang="en-US" dirty="0" err="1">
                <a:solidFill>
                  <a:schemeClr val="bg1"/>
                </a:solidFill>
                <a:latin typeface="Maven Pro" panose="020B0604020202020204" charset="0"/>
              </a:rPr>
              <a:t>unauffällig</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p:txBody>
      </p:sp>
      <p:graphicFrame>
        <p:nvGraphicFramePr>
          <p:cNvPr id="5" name="Diagramm 4">
            <a:extLst>
              <a:ext uri="{FF2B5EF4-FFF2-40B4-BE49-F238E27FC236}">
                <a16:creationId xmlns:a16="http://schemas.microsoft.com/office/drawing/2014/main" id="{6FC2685B-CC9C-B036-F50A-890B713EB4B4}"/>
              </a:ext>
            </a:extLst>
          </p:cNvPr>
          <p:cNvGraphicFramePr>
            <a:graphicFrameLocks/>
          </p:cNvGraphicFramePr>
          <p:nvPr/>
        </p:nvGraphicFramePr>
        <p:xfrm>
          <a:off x="742811" y="1035969"/>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1664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340273" cy="577800"/>
          </a:xfrm>
        </p:spPr>
        <p:txBody>
          <a:bodyPr/>
          <a:lstStyle/>
          <a:p>
            <a:r>
              <a:rPr lang="de-DE" dirty="0"/>
              <a:t>Data Exploration - Temperaturen</a:t>
            </a:r>
          </a:p>
        </p:txBody>
      </p:sp>
      <p:graphicFrame>
        <p:nvGraphicFramePr>
          <p:cNvPr id="3" name="Diagramm 2">
            <a:extLst>
              <a:ext uri="{FF2B5EF4-FFF2-40B4-BE49-F238E27FC236}">
                <a16:creationId xmlns:a16="http://schemas.microsoft.com/office/drawing/2014/main" id="{4C10494E-FC82-ECF2-4CCD-419AFC14F594}"/>
              </a:ext>
            </a:extLst>
          </p:cNvPr>
          <p:cNvGraphicFramePr>
            <a:graphicFrameLocks/>
          </p:cNvGraphicFramePr>
          <p:nvPr/>
        </p:nvGraphicFramePr>
        <p:xfrm>
          <a:off x="673068"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Bei </a:t>
            </a:r>
            <a:r>
              <a:rPr lang="en-US" dirty="0" err="1">
                <a:solidFill>
                  <a:schemeClr val="bg1"/>
                </a:solidFill>
                <a:latin typeface="Maven Pro" panose="020B0604020202020204" charset="0"/>
              </a:rPr>
              <a:t>niedrig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emperatu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r>
              <a:rPr lang="en-US" dirty="0">
                <a:solidFill>
                  <a:schemeClr val="bg1"/>
                </a:solidFill>
                <a:latin typeface="Maven Pro" panose="020B0604020202020204" charset="0"/>
              </a:rPr>
              <a:t>.</a:t>
            </a:r>
          </a:p>
          <a:p>
            <a:endParaRPr lang="en-US" dirty="0">
              <a:solidFill>
                <a:schemeClr val="bg1"/>
              </a:solidFill>
              <a:latin typeface="Maven Pro" panose="020B0604020202020204" charset="0"/>
            </a:endParaRPr>
          </a:p>
          <a:p>
            <a:r>
              <a:rPr lang="en-US" dirty="0" err="1">
                <a:solidFill>
                  <a:schemeClr val="bg1"/>
                </a:solidFill>
                <a:latin typeface="Maven Pro" panose="020B0604020202020204" charset="0"/>
              </a:rPr>
              <a:t>Nich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übertragbar</a:t>
            </a:r>
            <a:r>
              <a:rPr lang="en-US" dirty="0">
                <a:solidFill>
                  <a:schemeClr val="bg1"/>
                </a:solidFill>
                <a:latin typeface="Maven Pro" panose="020B0604020202020204" charset="0"/>
              </a:rPr>
              <a:t> auf </a:t>
            </a:r>
            <a:r>
              <a:rPr lang="en-US" dirty="0" err="1">
                <a:solidFill>
                  <a:schemeClr val="bg1"/>
                </a:solidFill>
                <a:latin typeface="Maven Pro" panose="020B0604020202020204" charset="0"/>
              </a:rPr>
              <a:t>Anfang</a:t>
            </a:r>
            <a:r>
              <a:rPr lang="en-US" dirty="0">
                <a:solidFill>
                  <a:schemeClr val="bg1"/>
                </a:solidFill>
                <a:latin typeface="Maven Pro" panose="020B0604020202020204" charset="0"/>
              </a:rPr>
              <a:t> 2016 und Ende 2017.</a:t>
            </a:r>
          </a:p>
        </p:txBody>
      </p:sp>
    </p:spTree>
    <p:extLst>
      <p:ext uri="{BB962C8B-B14F-4D97-AF65-F5344CB8AC3E}">
        <p14:creationId xmlns:p14="http://schemas.microsoft.com/office/powerpoint/2010/main" val="1171641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063D30-C83E-E4F0-3416-9E99C50BC233}"/>
              </a:ext>
            </a:extLst>
          </p:cNvPr>
          <p:cNvSpPr>
            <a:spLocks noGrp="1"/>
          </p:cNvSpPr>
          <p:nvPr>
            <p:ph type="ctrTitle"/>
          </p:nvPr>
        </p:nvSpPr>
        <p:spPr>
          <a:xfrm>
            <a:off x="618824" y="411675"/>
            <a:ext cx="5874966" cy="577800"/>
          </a:xfrm>
        </p:spPr>
        <p:txBody>
          <a:bodyPr/>
          <a:lstStyle/>
          <a:p>
            <a:r>
              <a:rPr lang="de-DE" dirty="0"/>
              <a:t>Data Exploration – Regen und Sonne</a:t>
            </a:r>
          </a:p>
        </p:txBody>
      </p:sp>
      <p:sp>
        <p:nvSpPr>
          <p:cNvPr id="4" name="Google Shape;465;p26">
            <a:extLst>
              <a:ext uri="{FF2B5EF4-FFF2-40B4-BE49-F238E27FC236}">
                <a16:creationId xmlns:a16="http://schemas.microsoft.com/office/drawing/2014/main" id="{811777BF-18DD-3F86-5303-0CA83578D418}"/>
              </a:ext>
            </a:extLst>
          </p:cNvPr>
          <p:cNvSpPr txBox="1">
            <a:spLocks/>
          </p:cNvSpPr>
          <p:nvPr/>
        </p:nvSpPr>
        <p:spPr>
          <a:xfrm>
            <a:off x="6613462" y="1375348"/>
            <a:ext cx="1802118" cy="2896225"/>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Es </a:t>
            </a:r>
            <a:r>
              <a:rPr lang="en-US" dirty="0" err="1">
                <a:solidFill>
                  <a:schemeClr val="bg1"/>
                </a:solidFill>
                <a:latin typeface="Maven Pro" panose="020B0604020202020204" charset="0"/>
              </a:rPr>
              <a:t>lässt</a:t>
            </a:r>
            <a:r>
              <a:rPr lang="en-US" dirty="0">
                <a:solidFill>
                  <a:schemeClr val="bg1"/>
                </a:solidFill>
                <a:latin typeface="Maven Pro" panose="020B0604020202020204" charset="0"/>
              </a:rPr>
              <a:t> dich </a:t>
            </a:r>
            <a:r>
              <a:rPr lang="en-US" dirty="0" err="1">
                <a:solidFill>
                  <a:schemeClr val="bg1"/>
                </a:solidFill>
                <a:latin typeface="Maven Pro" panose="020B0604020202020204" charset="0"/>
              </a:rPr>
              <a:t>kei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ha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m </a:t>
            </a:r>
            <a:r>
              <a:rPr lang="en-US" dirty="0" err="1">
                <a:solidFill>
                  <a:schemeClr val="bg1"/>
                </a:solidFill>
                <a:latin typeface="Maven Pro" panose="020B0604020202020204" charset="0"/>
              </a:rPr>
              <a:t>Niederschl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oder</a:t>
            </a:r>
            <a:r>
              <a:rPr lang="en-US" dirty="0">
                <a:solidFill>
                  <a:schemeClr val="bg1"/>
                </a:solidFill>
                <a:latin typeface="Maven Pro" panose="020B0604020202020204" charset="0"/>
              </a:rPr>
              <a:t> den </a:t>
            </a:r>
            <a:r>
              <a:rPr lang="en-US" dirty="0" err="1">
                <a:solidFill>
                  <a:schemeClr val="bg1"/>
                </a:solidFill>
                <a:latin typeface="Maven Pro" panose="020B0604020202020204" charset="0"/>
              </a:rPr>
              <a:t>Sonnenstu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stellen</a:t>
            </a:r>
            <a:r>
              <a:rPr lang="en-US" dirty="0">
                <a:solidFill>
                  <a:schemeClr val="bg1"/>
                </a:solidFill>
                <a:latin typeface="Maven Pro" panose="020B0604020202020204" charset="0"/>
              </a:rPr>
              <a:t>.</a:t>
            </a:r>
          </a:p>
        </p:txBody>
      </p:sp>
      <p:graphicFrame>
        <p:nvGraphicFramePr>
          <p:cNvPr id="5" name="Diagramm 4">
            <a:extLst>
              <a:ext uri="{FF2B5EF4-FFF2-40B4-BE49-F238E27FC236}">
                <a16:creationId xmlns:a16="http://schemas.microsoft.com/office/drawing/2014/main" id="{0365E989-349D-6FCF-7A51-E936587D6093}"/>
              </a:ext>
            </a:extLst>
          </p:cNvPr>
          <p:cNvGraphicFramePr>
            <a:graphicFrameLocks/>
          </p:cNvGraphicFramePr>
          <p:nvPr>
            <p:extLst>
              <p:ext uri="{D42A27DB-BD31-4B8C-83A1-F6EECF244321}">
                <p14:modId xmlns:p14="http://schemas.microsoft.com/office/powerpoint/2010/main" val="2764561373"/>
              </p:ext>
            </p:extLst>
          </p:nvPr>
        </p:nvGraphicFramePr>
        <p:xfrm>
          <a:off x="676307" y="989475"/>
          <a:ext cx="5760000" cy="34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47324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bg1"/>
                </a:solidFill>
              </a:rPr>
              <a:t>Data Preparation</a:t>
            </a:r>
            <a:endParaRPr dirty="0">
              <a:solidFill>
                <a:schemeClr val="bg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rgbClr val="E898AC"/>
                </a:solidFill>
              </a:rPr>
              <a:t>03</a:t>
            </a:r>
            <a:endParaRPr sz="2800" dirty="0">
              <a:solidFill>
                <a:srgbClr val="E898AC"/>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E898AC"/>
          </a:solidFill>
          <a:ln>
            <a:solidFill>
              <a:srgbClr val="E898AC"/>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Google Shape;486;p27">
            <a:extLst>
              <a:ext uri="{FF2B5EF4-FFF2-40B4-BE49-F238E27FC236}">
                <a16:creationId xmlns:a16="http://schemas.microsoft.com/office/drawing/2014/main" id="{07F9E3CB-FDA1-5B78-EF71-99BD93A6496B}"/>
              </a:ext>
            </a:extLst>
          </p:cNvPr>
          <p:cNvCxnSpPr/>
          <p:nvPr/>
        </p:nvCxnSpPr>
        <p:spPr>
          <a:xfrm rot="10800000" flipV="1">
            <a:off x="4069421"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383396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tx1"/>
                </a:solidFill>
              </a:rPr>
              <a:t>Modeling</a:t>
            </a:r>
          </a:p>
          <a:p>
            <a:endParaRPr lang="de-DE" dirty="0">
              <a:solidFill>
                <a:schemeClr val="tx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933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chemeClr val="bg1"/>
                </a:solidFill>
              </a:rPr>
              <a:t>Modeling</a:t>
            </a:r>
          </a:p>
          <a:p>
            <a:endParaRPr lang="de-DE" dirty="0">
              <a:solidFill>
                <a:schemeClr val="bg1"/>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sults</a:t>
            </a:r>
            <a:endParaRPr lang="de-DE" dirty="0">
              <a:solidFill>
                <a:schemeClr val="tx1"/>
              </a:solidFill>
            </a:endParaRPr>
          </a:p>
          <a:p>
            <a:endParaRPr lang="de-DE" dirty="0">
              <a:solidFill>
                <a:schemeClr val="tx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1691035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a:t>Modeling - Ziel</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err="1">
                <a:solidFill>
                  <a:schemeClr val="bg1"/>
                </a:solidFill>
                <a:latin typeface="Maven Pro" panose="020B0604020202020204" charset="0"/>
              </a:rPr>
              <a:t>Modellier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ssoziationsanalyse</a:t>
            </a:r>
            <a:r>
              <a:rPr lang="en-US" dirty="0">
                <a:solidFill>
                  <a:schemeClr val="bg1"/>
                </a:solidFill>
                <a:latin typeface="Maven Pro" panose="020B0604020202020204" charset="0"/>
              </a:rPr>
              <a:t>, um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antworten</a:t>
            </a:r>
            <a:r>
              <a:rPr lang="en-US" dirty="0">
                <a:solidFill>
                  <a:schemeClr val="bg1"/>
                </a:solidFill>
                <a:latin typeface="Maven Pro" panose="020B0604020202020204" charset="0"/>
              </a:rPr>
              <a:t>:</a:t>
            </a: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Durchsuchen</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Datenban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na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en</a:t>
            </a:r>
            <a:r>
              <a:rPr lang="en-US" dirty="0">
                <a:solidFill>
                  <a:schemeClr val="bg1"/>
                </a:solidFill>
                <a:latin typeface="Maven Pro" panose="020B0604020202020204" charset="0"/>
              </a:rPr>
              <a:t> Items je Itemset in den </a:t>
            </a:r>
            <a:r>
              <a:rPr lang="en-US" dirty="0" err="1">
                <a:solidFill>
                  <a:schemeClr val="bg1"/>
                </a:solidFill>
                <a:latin typeface="Maven Pro" panose="020B0604020202020204" charset="0"/>
              </a:rPr>
              <a:t>jeweili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457200" indent="-304800">
              <a:buClr>
                <a:schemeClr val="lt1"/>
              </a:buClr>
              <a:buSzPts val="1200"/>
              <a:buFont typeface="Maven Pro"/>
              <a:buAutoNum type="arabicPeriod"/>
            </a:pPr>
            <a:r>
              <a:rPr lang="en-US" dirty="0" err="1">
                <a:solidFill>
                  <a:schemeClr val="bg1"/>
                </a:solidFill>
                <a:latin typeface="Maven Pro" panose="020B0604020202020204" charset="0"/>
              </a:rPr>
              <a:t>Fi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Regeln</a:t>
            </a:r>
            <a:r>
              <a:rPr lang="en-US" dirty="0">
                <a:solidFill>
                  <a:schemeClr val="bg1"/>
                </a:solidFill>
                <a:latin typeface="Maven Pro" panose="020B0604020202020204" charset="0"/>
              </a:rPr>
              <a:t>, die </a:t>
            </a:r>
            <a:r>
              <a:rPr lang="de-DE" dirty="0">
                <a:solidFill>
                  <a:schemeClr val="bg1"/>
                </a:solidFill>
                <a:latin typeface="Maven Pro" panose="020B0604020202020204" charset="0"/>
              </a:rPr>
              <a:t>das Auftreten eines Items auf der Grundlage des Auftretens anderer Items in diesen Transaktionen vorhersagen. </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Auswertung und Interpretation dieser Regeln</a:t>
            </a:r>
          </a:p>
          <a:p>
            <a:pPr marL="457200" indent="-304800">
              <a:buClr>
                <a:schemeClr val="lt1"/>
              </a:buClr>
              <a:buSzPts val="1200"/>
              <a:buFont typeface="Maven Pro"/>
              <a:buAutoNum type="arabicPeriod"/>
            </a:pPr>
            <a:r>
              <a:rPr lang="de-DE" dirty="0">
                <a:solidFill>
                  <a:schemeClr val="bg1"/>
                </a:solidFill>
                <a:latin typeface="Maven Pro" panose="020B0604020202020204" charset="0"/>
              </a:rPr>
              <a:t>Indikationen zu potentiellen Marketingkampagnen geben, um Umsätze zu steigern</a:t>
            </a:r>
          </a:p>
          <a:p>
            <a:pPr marL="457200" indent="-304800">
              <a:buClr>
                <a:schemeClr val="lt1"/>
              </a:buClr>
              <a:buSzPts val="1200"/>
              <a:buFont typeface="Maven Pro"/>
              <a:buAutoNum type="arabicPeriod"/>
            </a:pPr>
            <a:endParaRPr lang="de-DE" dirty="0">
              <a:solidFill>
                <a:schemeClr val="bg1"/>
              </a:solidFill>
              <a:latin typeface="Maven Pro" panose="020B0604020202020204" charset="0"/>
            </a:endParaRPr>
          </a:p>
          <a:p>
            <a:pPr marL="152400">
              <a:buClr>
                <a:schemeClr val="lt1"/>
              </a:buClr>
              <a:buSzPts val="1200"/>
            </a:pPr>
            <a:r>
              <a:rPr lang="de-DE" dirty="0">
                <a:solidFill>
                  <a:schemeClr val="bg1"/>
                </a:solidFill>
                <a:latin typeface="Maven Pro" panose="020B0604020202020204" charset="0"/>
              </a:rPr>
              <a:t>Modellierung und Vergleich der Algorithmen </a:t>
            </a:r>
            <a:r>
              <a:rPr lang="de-DE" b="1" dirty="0">
                <a:solidFill>
                  <a:srgbClr val="00CFCC"/>
                </a:solidFill>
                <a:latin typeface="Maven Pro" panose="020B0604020202020204" charset="0"/>
              </a:rPr>
              <a:t>FP-Growth</a:t>
            </a:r>
            <a:r>
              <a:rPr lang="de-DE" dirty="0">
                <a:solidFill>
                  <a:schemeClr val="bg1"/>
                </a:solidFill>
                <a:latin typeface="Maven Pro" panose="020B0604020202020204" charset="0"/>
              </a:rPr>
              <a:t>, </a:t>
            </a:r>
            <a:r>
              <a:rPr lang="de-DE" b="1" dirty="0">
                <a:solidFill>
                  <a:srgbClr val="00CFCC"/>
                </a:solidFill>
                <a:latin typeface="Maven Pro" panose="020B0604020202020204" charset="0"/>
              </a:rPr>
              <a:t>Apriori</a:t>
            </a:r>
            <a:r>
              <a:rPr lang="de-DE" dirty="0">
                <a:solidFill>
                  <a:schemeClr val="bg1"/>
                </a:solidFill>
                <a:latin typeface="Maven Pro" panose="020B0604020202020204" charset="0"/>
              </a:rPr>
              <a:t> und </a:t>
            </a:r>
            <a:r>
              <a:rPr lang="de-DE" b="1" dirty="0" err="1">
                <a:solidFill>
                  <a:srgbClr val="00CFCC"/>
                </a:solidFill>
                <a:latin typeface="Maven Pro" panose="020B0604020202020204" charset="0"/>
              </a:rPr>
              <a:t>Predictive</a:t>
            </a:r>
            <a:r>
              <a:rPr lang="de-DE" b="1" dirty="0">
                <a:solidFill>
                  <a:srgbClr val="00CFCC"/>
                </a:solidFill>
                <a:latin typeface="Maven Pro" panose="020B0604020202020204" charset="0"/>
              </a:rPr>
              <a:t> Apriori</a:t>
            </a:r>
          </a:p>
          <a:p>
            <a:pPr marL="457200" lvl="2" indent="-304800">
              <a:buClr>
                <a:schemeClr val="lt1"/>
              </a:buClr>
              <a:buSzPts val="1200"/>
              <a:buFont typeface="Maven Pro"/>
              <a:buAutoNum type="arabicPeriod"/>
            </a:pPr>
            <a:endParaRPr lang="en-US" dirty="0">
              <a:solidFill>
                <a:schemeClr val="bg1"/>
              </a:solidFill>
              <a:latin typeface="Maven Pro" panose="020B0604020202020204" charset="0"/>
            </a:endParaRPr>
          </a:p>
        </p:txBody>
      </p:sp>
      <p:pic>
        <p:nvPicPr>
          <p:cNvPr id="1026" name="Picture 2">
            <a:extLst>
              <a:ext uri="{FF2B5EF4-FFF2-40B4-BE49-F238E27FC236}">
                <a16:creationId xmlns:a16="http://schemas.microsoft.com/office/drawing/2014/main" id="{CBE96952-0B4E-8128-BA91-0FA4B4C7B7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269" y="3504476"/>
            <a:ext cx="2606603" cy="1467145"/>
          </a:xfrm>
          <a:prstGeom prst="rect">
            <a:avLst/>
          </a:prstGeom>
          <a:noFill/>
          <a:extLst>
            <a:ext uri="{909E8E84-426E-40DD-AFC4-6F175D3DCCD1}">
              <a14:hiddenFill xmlns:a14="http://schemas.microsoft.com/office/drawing/2010/main">
                <a:solidFill>
                  <a:srgbClr val="FFFFFF"/>
                </a:solidFill>
              </a14:hiddenFill>
            </a:ext>
          </a:extLst>
        </p:spPr>
      </p:pic>
      <p:sp>
        <p:nvSpPr>
          <p:cNvPr id="2" name="Pfeil: eingekerbt nach rechts 1">
            <a:extLst>
              <a:ext uri="{FF2B5EF4-FFF2-40B4-BE49-F238E27FC236}">
                <a16:creationId xmlns:a16="http://schemas.microsoft.com/office/drawing/2014/main" id="{B49AE204-73B5-A899-5823-17B06DD96055}"/>
              </a:ext>
            </a:extLst>
          </p:cNvPr>
          <p:cNvSpPr/>
          <p:nvPr/>
        </p:nvSpPr>
        <p:spPr>
          <a:xfrm rot="6727416">
            <a:off x="7463491" y="3452543"/>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feil: eingekerbt nach rechts 2">
            <a:extLst>
              <a:ext uri="{FF2B5EF4-FFF2-40B4-BE49-F238E27FC236}">
                <a16:creationId xmlns:a16="http://schemas.microsoft.com/office/drawing/2014/main" id="{275375AD-9437-10CD-9272-024AB966031F}"/>
              </a:ext>
            </a:extLst>
          </p:cNvPr>
          <p:cNvSpPr/>
          <p:nvPr/>
        </p:nvSpPr>
        <p:spPr>
          <a:xfrm rot="3346571">
            <a:off x="4498416" y="3405126"/>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Pfeil: eingekerbt nach rechts 6">
            <a:extLst>
              <a:ext uri="{FF2B5EF4-FFF2-40B4-BE49-F238E27FC236}">
                <a16:creationId xmlns:a16="http://schemas.microsoft.com/office/drawing/2014/main" id="{992B1024-0330-4C2D-603B-422006DF6CF7}"/>
              </a:ext>
            </a:extLst>
          </p:cNvPr>
          <p:cNvSpPr/>
          <p:nvPr/>
        </p:nvSpPr>
        <p:spPr>
          <a:xfrm rot="5815964">
            <a:off x="5638242" y="3350321"/>
            <a:ext cx="219023" cy="81099"/>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C79BEE4-839B-9E1B-81FC-354ACD195BEA}"/>
              </a:ext>
            </a:extLst>
          </p:cNvPr>
          <p:cNvSpPr txBox="1"/>
          <p:nvPr/>
        </p:nvSpPr>
        <p:spPr>
          <a:xfrm>
            <a:off x="4859318" y="3504476"/>
            <a:ext cx="617805" cy="184666"/>
          </a:xfrm>
          <a:prstGeom prst="rect">
            <a:avLst/>
          </a:prstGeom>
          <a:noFill/>
        </p:spPr>
        <p:txBody>
          <a:bodyPr wrap="square" rtlCol="0">
            <a:spAutoFit/>
          </a:bodyPr>
          <a:lstStyle/>
          <a:p>
            <a:r>
              <a:rPr lang="de-DE" sz="600" b="1" dirty="0">
                <a:latin typeface="Maven Pro" panose="020B0604020202020204" charset="0"/>
              </a:rPr>
              <a:t>Parameter</a:t>
            </a:r>
          </a:p>
        </p:txBody>
      </p:sp>
    </p:spTree>
    <p:extLst>
      <p:ext uri="{BB962C8B-B14F-4D97-AF65-F5344CB8AC3E}">
        <p14:creationId xmlns:p14="http://schemas.microsoft.com/office/powerpoint/2010/main" val="2737920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D4E22-7A5F-2767-7C3F-9C5741E9571A}"/>
              </a:ext>
            </a:extLst>
          </p:cNvPr>
          <p:cNvSpPr>
            <a:spLocks noGrp="1"/>
          </p:cNvSpPr>
          <p:nvPr>
            <p:ph type="ctrTitle"/>
          </p:nvPr>
        </p:nvSpPr>
        <p:spPr/>
        <p:txBody>
          <a:bodyPr/>
          <a:lstStyle/>
          <a:p>
            <a:r>
              <a:rPr lang="de-DE" dirty="0"/>
              <a:t>Modeling - Challenges</a:t>
            </a:r>
          </a:p>
        </p:txBody>
      </p:sp>
      <p:grpSp>
        <p:nvGrpSpPr>
          <p:cNvPr id="43" name="Gruppieren 42">
            <a:extLst>
              <a:ext uri="{FF2B5EF4-FFF2-40B4-BE49-F238E27FC236}">
                <a16:creationId xmlns:a16="http://schemas.microsoft.com/office/drawing/2014/main" id="{82AD1FC9-2C95-7FB6-CDF4-F8C63AE70DB9}"/>
              </a:ext>
            </a:extLst>
          </p:cNvPr>
          <p:cNvGrpSpPr/>
          <p:nvPr/>
        </p:nvGrpSpPr>
        <p:grpSpPr>
          <a:xfrm>
            <a:off x="728434" y="1559040"/>
            <a:ext cx="2683568" cy="577944"/>
            <a:chOff x="745432" y="1840935"/>
            <a:chExt cx="3278714" cy="706117"/>
          </a:xfrm>
        </p:grpSpPr>
        <p:sp>
          <p:nvSpPr>
            <p:cNvPr id="5" name="Rounded Rectangle 5">
              <a:extLst>
                <a:ext uri="{FF2B5EF4-FFF2-40B4-BE49-F238E27FC236}">
                  <a16:creationId xmlns:a16="http://schemas.microsoft.com/office/drawing/2014/main" id="{42D3974E-4BFC-ECB8-B1CD-2FED9D3780B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de-DE" sz="700" dirty="0">
                  <a:solidFill>
                    <a:schemeClr val="bg1"/>
                  </a:solidFill>
                  <a:latin typeface="Maven Pro" panose="020B0604020202020204" charset="0"/>
                </a:rPr>
                <a:t>Verfügbarkeit der Operatoren: Standardmäßig</a:t>
              </a:r>
            </a:p>
            <a:p>
              <a:r>
                <a:rPr lang="de-DE" sz="700" dirty="0">
                  <a:solidFill>
                    <a:schemeClr val="bg1"/>
                  </a:solidFill>
                  <a:latin typeface="Maven Pro" panose="020B0604020202020204" charset="0"/>
                </a:rPr>
                <a:t>ist nur der FP-Growth Operator in unserer </a:t>
              </a:r>
            </a:p>
            <a:p>
              <a:r>
                <a:rPr lang="de-DE" sz="700" dirty="0">
                  <a:solidFill>
                    <a:schemeClr val="bg1"/>
                  </a:solidFill>
                  <a:latin typeface="Maven Pro" panose="020B0604020202020204" charset="0"/>
                </a:rPr>
                <a:t>genutzten </a:t>
              </a:r>
              <a:r>
                <a:rPr lang="de-DE" sz="700" dirty="0" err="1">
                  <a:solidFill>
                    <a:schemeClr val="bg1"/>
                  </a:solidFill>
                  <a:latin typeface="Maven Pro" panose="020B0604020202020204" charset="0"/>
                </a:rPr>
                <a:t>RapidMiner</a:t>
              </a:r>
              <a:r>
                <a:rPr lang="de-DE" sz="700" dirty="0">
                  <a:solidFill>
                    <a:schemeClr val="bg1"/>
                  </a:solidFill>
                  <a:latin typeface="Maven Pro" panose="020B0604020202020204" charset="0"/>
                </a:rPr>
                <a:t> Version verfügbar</a:t>
              </a:r>
              <a:endParaRPr lang="en-US" sz="700" dirty="0">
                <a:solidFill>
                  <a:schemeClr val="bg1"/>
                </a:solidFill>
              </a:endParaRPr>
            </a:p>
          </p:txBody>
        </p:sp>
        <p:grpSp>
          <p:nvGrpSpPr>
            <p:cNvPr id="42" name="Gruppieren 41">
              <a:extLst>
                <a:ext uri="{FF2B5EF4-FFF2-40B4-BE49-F238E27FC236}">
                  <a16:creationId xmlns:a16="http://schemas.microsoft.com/office/drawing/2014/main" id="{443C0A37-08AD-C1E2-1673-9B34971D7A65}"/>
                </a:ext>
              </a:extLst>
            </p:cNvPr>
            <p:cNvGrpSpPr/>
            <p:nvPr/>
          </p:nvGrpSpPr>
          <p:grpSpPr>
            <a:xfrm>
              <a:off x="3446545" y="1840935"/>
              <a:ext cx="577601" cy="706117"/>
              <a:chOff x="2551032" y="1906295"/>
              <a:chExt cx="577601" cy="706117"/>
            </a:xfrm>
          </p:grpSpPr>
          <p:sp>
            <p:nvSpPr>
              <p:cNvPr id="6" name="Oval 9">
                <a:extLst>
                  <a:ext uri="{FF2B5EF4-FFF2-40B4-BE49-F238E27FC236}">
                    <a16:creationId xmlns:a16="http://schemas.microsoft.com/office/drawing/2014/main" id="{E64B0F6E-3DEA-9FFE-989A-5274FCD28A2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 name="Graphic 14">
                <a:extLst>
                  <a:ext uri="{FF2B5EF4-FFF2-40B4-BE49-F238E27FC236}">
                    <a16:creationId xmlns:a16="http://schemas.microsoft.com/office/drawing/2014/main" id="{773D6A4A-3B01-E988-5BD7-E64120DA3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sp>
        <p:nvSpPr>
          <p:cNvPr id="35" name="Pfeil: Chevron 34">
            <a:extLst>
              <a:ext uri="{FF2B5EF4-FFF2-40B4-BE49-F238E27FC236}">
                <a16:creationId xmlns:a16="http://schemas.microsoft.com/office/drawing/2014/main" id="{80B5F292-FCA3-10C5-5DFF-8D957F993334}"/>
              </a:ext>
            </a:extLst>
          </p:cNvPr>
          <p:cNvSpPr/>
          <p:nvPr/>
        </p:nvSpPr>
        <p:spPr>
          <a:xfrm>
            <a:off x="728434" y="1149003"/>
            <a:ext cx="2683568" cy="267286"/>
          </a:xfrm>
          <a:prstGeom prst="chevron">
            <a:avLst/>
          </a:prstGeom>
          <a:solidFill>
            <a:srgbClr val="F64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Challenges</a:t>
            </a:r>
          </a:p>
        </p:txBody>
      </p:sp>
      <p:grpSp>
        <p:nvGrpSpPr>
          <p:cNvPr id="40" name="Gruppieren 39">
            <a:extLst>
              <a:ext uri="{FF2B5EF4-FFF2-40B4-BE49-F238E27FC236}">
                <a16:creationId xmlns:a16="http://schemas.microsoft.com/office/drawing/2014/main" id="{12FC4597-2FD1-95EC-1CF1-4FEACB82F8D3}"/>
              </a:ext>
            </a:extLst>
          </p:cNvPr>
          <p:cNvGrpSpPr/>
          <p:nvPr/>
        </p:nvGrpSpPr>
        <p:grpSpPr>
          <a:xfrm>
            <a:off x="3674038" y="888031"/>
            <a:ext cx="1060258" cy="983097"/>
            <a:chOff x="3524341" y="1130731"/>
            <a:chExt cx="914400" cy="847854"/>
          </a:xfrm>
        </p:grpSpPr>
        <p:pic>
          <p:nvPicPr>
            <p:cNvPr id="37" name="Grafik 36" descr="Linke Gehirnhälfte Silhouette">
              <a:extLst>
                <a:ext uri="{FF2B5EF4-FFF2-40B4-BE49-F238E27FC236}">
                  <a16:creationId xmlns:a16="http://schemas.microsoft.com/office/drawing/2014/main" id="{308DCDA3-F76C-6B70-E2A5-21BA63D4AC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3524341" y="1130731"/>
              <a:ext cx="914400" cy="847854"/>
            </a:xfrm>
            <a:prstGeom prst="rect">
              <a:avLst/>
            </a:prstGeom>
          </p:spPr>
        </p:pic>
        <p:pic>
          <p:nvPicPr>
            <p:cNvPr id="39" name="Grafik 38" descr="Fragezeichen Silhouette">
              <a:extLst>
                <a:ext uri="{FF2B5EF4-FFF2-40B4-BE49-F238E27FC236}">
                  <a16:creationId xmlns:a16="http://schemas.microsoft.com/office/drawing/2014/main" id="{04396E28-D9CA-0783-E060-88EB6FEA9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5882" y="1427871"/>
              <a:ext cx="247084" cy="247084"/>
            </a:xfrm>
            <a:prstGeom prst="rect">
              <a:avLst/>
            </a:prstGeom>
          </p:spPr>
        </p:pic>
      </p:grpSp>
      <p:grpSp>
        <p:nvGrpSpPr>
          <p:cNvPr id="44" name="Gruppieren 43">
            <a:extLst>
              <a:ext uri="{FF2B5EF4-FFF2-40B4-BE49-F238E27FC236}">
                <a16:creationId xmlns:a16="http://schemas.microsoft.com/office/drawing/2014/main" id="{B5DD2228-9855-019A-50ED-77E14D29B5CC}"/>
              </a:ext>
            </a:extLst>
          </p:cNvPr>
          <p:cNvGrpSpPr/>
          <p:nvPr/>
        </p:nvGrpSpPr>
        <p:grpSpPr>
          <a:xfrm>
            <a:off x="728434" y="2217988"/>
            <a:ext cx="2683568" cy="577944"/>
            <a:chOff x="745432" y="1840935"/>
            <a:chExt cx="3278714" cy="706117"/>
          </a:xfrm>
        </p:grpSpPr>
        <p:sp>
          <p:nvSpPr>
            <p:cNvPr id="45" name="Rounded Rectangle 5">
              <a:extLst>
                <a:ext uri="{FF2B5EF4-FFF2-40B4-BE49-F238E27FC236}">
                  <a16:creationId xmlns:a16="http://schemas.microsoft.com/office/drawing/2014/main" id="{4D49D6ED-2E70-372F-CE6A-9BAC8D171A59}"/>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solidFill>
                    <a:schemeClr val="bg1"/>
                  </a:solidFill>
                  <a:latin typeface="Maven Pro" panose="020B0604020202020204" charset="0"/>
                </a:rPr>
                <a:t>Unterschiedliches, akzeptiertes Format der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im Vergleich zu integriertem FP-Growth Operator in </a:t>
              </a:r>
              <a:r>
                <a:rPr lang="de-DE" sz="700" dirty="0" err="1">
                  <a:solidFill>
                    <a:schemeClr val="bg1"/>
                  </a:solidFill>
                  <a:latin typeface="Maven Pro" panose="020B0604020202020204" charset="0"/>
                </a:rPr>
                <a:t>RapidMiner</a:t>
              </a:r>
              <a:endParaRPr lang="en-US" sz="700" dirty="0">
                <a:solidFill>
                  <a:schemeClr val="bg1"/>
                </a:solidFill>
              </a:endParaRPr>
            </a:p>
          </p:txBody>
        </p:sp>
        <p:grpSp>
          <p:nvGrpSpPr>
            <p:cNvPr id="46" name="Gruppieren 45">
              <a:extLst>
                <a:ext uri="{FF2B5EF4-FFF2-40B4-BE49-F238E27FC236}">
                  <a16:creationId xmlns:a16="http://schemas.microsoft.com/office/drawing/2014/main" id="{70845442-DE27-AEA3-7C8D-6EB438D6753E}"/>
                </a:ext>
              </a:extLst>
            </p:cNvPr>
            <p:cNvGrpSpPr/>
            <p:nvPr/>
          </p:nvGrpSpPr>
          <p:grpSpPr>
            <a:xfrm>
              <a:off x="3446545" y="1840935"/>
              <a:ext cx="577601" cy="706117"/>
              <a:chOff x="2551032" y="1906295"/>
              <a:chExt cx="577601" cy="706117"/>
            </a:xfrm>
          </p:grpSpPr>
          <p:sp>
            <p:nvSpPr>
              <p:cNvPr id="47" name="Oval 9">
                <a:extLst>
                  <a:ext uri="{FF2B5EF4-FFF2-40B4-BE49-F238E27FC236}">
                    <a16:creationId xmlns:a16="http://schemas.microsoft.com/office/drawing/2014/main" id="{46E0A363-2B50-66E6-A9CB-6AC76B13B5D7}"/>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48" name="Graphic 14">
                <a:extLst>
                  <a:ext uri="{FF2B5EF4-FFF2-40B4-BE49-F238E27FC236}">
                    <a16:creationId xmlns:a16="http://schemas.microsoft.com/office/drawing/2014/main" id="{B106585F-E04C-C720-361D-F9ED95D89A1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49" name="Gruppieren 48">
            <a:extLst>
              <a:ext uri="{FF2B5EF4-FFF2-40B4-BE49-F238E27FC236}">
                <a16:creationId xmlns:a16="http://schemas.microsoft.com/office/drawing/2014/main" id="{7250D288-BAFC-755B-316B-7C07A5B59CB0}"/>
              </a:ext>
            </a:extLst>
          </p:cNvPr>
          <p:cNvGrpSpPr/>
          <p:nvPr/>
        </p:nvGrpSpPr>
        <p:grpSpPr>
          <a:xfrm>
            <a:off x="728434" y="2873979"/>
            <a:ext cx="2683568" cy="577944"/>
            <a:chOff x="745432" y="1840935"/>
            <a:chExt cx="3278714" cy="706117"/>
          </a:xfrm>
        </p:grpSpPr>
        <p:sp>
          <p:nvSpPr>
            <p:cNvPr id="50" name="Rounded Rectangle 5">
              <a:extLst>
                <a:ext uri="{FF2B5EF4-FFF2-40B4-BE49-F238E27FC236}">
                  <a16:creationId xmlns:a16="http://schemas.microsoft.com/office/drawing/2014/main" id="{AE129BA3-7C14-5706-A343-C4DFD725042A}"/>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Unterschiedlich angewendete Hyperparameter der </a:t>
              </a:r>
              <a:r>
                <a:rPr lang="de-DE" sz="700" dirty="0" err="1">
                  <a:latin typeface="Maven Pro" panose="020B0604020202020204" charset="0"/>
                </a:rPr>
                <a:t>Weka</a:t>
              </a:r>
              <a:r>
                <a:rPr lang="de-DE" sz="700" dirty="0">
                  <a:latin typeface="Maven Pro" panose="020B0604020202020204" charset="0"/>
                </a:rPr>
                <a:t>-Operatoren im Vergleich zu integriertem FP-Growth Operator in </a:t>
              </a:r>
              <a:r>
                <a:rPr lang="de-DE" sz="700" dirty="0" err="1">
                  <a:latin typeface="Maven Pro" panose="020B0604020202020204" charset="0"/>
                </a:rPr>
                <a:t>RapidMiner</a:t>
              </a:r>
              <a:endParaRPr lang="en-US" sz="700" dirty="0">
                <a:latin typeface="Maven Pro" panose="020B0604020202020204" charset="0"/>
              </a:endParaRPr>
            </a:p>
          </p:txBody>
        </p:sp>
        <p:grpSp>
          <p:nvGrpSpPr>
            <p:cNvPr id="51" name="Gruppieren 50">
              <a:extLst>
                <a:ext uri="{FF2B5EF4-FFF2-40B4-BE49-F238E27FC236}">
                  <a16:creationId xmlns:a16="http://schemas.microsoft.com/office/drawing/2014/main" id="{865EDFCC-14D7-ADC0-276F-84C3AD547CD1}"/>
                </a:ext>
              </a:extLst>
            </p:cNvPr>
            <p:cNvGrpSpPr/>
            <p:nvPr/>
          </p:nvGrpSpPr>
          <p:grpSpPr>
            <a:xfrm>
              <a:off x="3446545" y="1840935"/>
              <a:ext cx="577601" cy="706117"/>
              <a:chOff x="2551032" y="1906295"/>
              <a:chExt cx="577601" cy="706117"/>
            </a:xfrm>
          </p:grpSpPr>
          <p:sp>
            <p:nvSpPr>
              <p:cNvPr id="52" name="Oval 9">
                <a:extLst>
                  <a:ext uri="{FF2B5EF4-FFF2-40B4-BE49-F238E27FC236}">
                    <a16:creationId xmlns:a16="http://schemas.microsoft.com/office/drawing/2014/main" id="{4B83BBEE-BB2C-344A-268A-E2A2314EA456}"/>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3" name="Graphic 14">
                <a:extLst>
                  <a:ext uri="{FF2B5EF4-FFF2-40B4-BE49-F238E27FC236}">
                    <a16:creationId xmlns:a16="http://schemas.microsoft.com/office/drawing/2014/main" id="{33D52DF2-DC82-383C-B8DC-95F5CAD71A2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4" name="Gruppieren 53">
            <a:extLst>
              <a:ext uri="{FF2B5EF4-FFF2-40B4-BE49-F238E27FC236}">
                <a16:creationId xmlns:a16="http://schemas.microsoft.com/office/drawing/2014/main" id="{9C3CD040-0730-A757-422D-10CCC362D698}"/>
              </a:ext>
            </a:extLst>
          </p:cNvPr>
          <p:cNvGrpSpPr/>
          <p:nvPr/>
        </p:nvGrpSpPr>
        <p:grpSpPr>
          <a:xfrm>
            <a:off x="728434" y="3566443"/>
            <a:ext cx="2683568" cy="577944"/>
            <a:chOff x="745432" y="1840935"/>
            <a:chExt cx="3278714" cy="706117"/>
          </a:xfrm>
        </p:grpSpPr>
        <p:sp>
          <p:nvSpPr>
            <p:cNvPr id="55" name="Rounded Rectangle 5">
              <a:extLst>
                <a:ext uri="{FF2B5EF4-FFF2-40B4-BE49-F238E27FC236}">
                  <a16:creationId xmlns:a16="http://schemas.microsoft.com/office/drawing/2014/main" id="{9E1D9D9F-4143-704F-43E8-6103F451BC50}"/>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err="1">
                  <a:latin typeface="Maven Pro" panose="020B0604020202020204" charset="0"/>
                </a:rPr>
                <a:t>Pivotierung</a:t>
              </a:r>
              <a:r>
                <a:rPr lang="de-DE" sz="700" dirty="0">
                  <a:latin typeface="Maven Pro" panose="020B0604020202020204" charset="0"/>
                </a:rPr>
                <a:t> des </a:t>
              </a:r>
              <a:r>
                <a:rPr lang="de-DE" sz="700" dirty="0" err="1">
                  <a:latin typeface="Maven Pro" panose="020B0604020202020204" charset="0"/>
                </a:rPr>
                <a:t>Itemsets</a:t>
              </a:r>
              <a:r>
                <a:rPr lang="de-DE" sz="700" dirty="0">
                  <a:latin typeface="Maven Pro" panose="020B0604020202020204" charset="0"/>
                </a:rPr>
                <a:t> und gleichzeitiges Behalten der </a:t>
              </a:r>
              <a:r>
                <a:rPr lang="de-DE" sz="700" dirty="0" err="1">
                  <a:latin typeface="Maven Pro" panose="020B0604020202020204" charset="0"/>
                </a:rPr>
                <a:t>Itemspalte</a:t>
              </a:r>
              <a:r>
                <a:rPr lang="de-DE" sz="700" dirty="0">
                  <a:latin typeface="Maven Pro" panose="020B0604020202020204" charset="0"/>
                </a:rPr>
                <a:t> führt zu Assoziationsregeln mit jeweiliger Confidence von 1</a:t>
              </a:r>
              <a:endParaRPr lang="en-US" dirty="0"/>
            </a:p>
          </p:txBody>
        </p:sp>
        <p:grpSp>
          <p:nvGrpSpPr>
            <p:cNvPr id="56" name="Gruppieren 55">
              <a:extLst>
                <a:ext uri="{FF2B5EF4-FFF2-40B4-BE49-F238E27FC236}">
                  <a16:creationId xmlns:a16="http://schemas.microsoft.com/office/drawing/2014/main" id="{8F6CC25D-26C5-51BF-F717-63CA0471B8AF}"/>
                </a:ext>
              </a:extLst>
            </p:cNvPr>
            <p:cNvGrpSpPr/>
            <p:nvPr/>
          </p:nvGrpSpPr>
          <p:grpSpPr>
            <a:xfrm>
              <a:off x="3446545" y="1840935"/>
              <a:ext cx="577601" cy="706117"/>
              <a:chOff x="2551032" y="1906295"/>
              <a:chExt cx="577601" cy="706117"/>
            </a:xfrm>
          </p:grpSpPr>
          <p:sp>
            <p:nvSpPr>
              <p:cNvPr id="57" name="Oval 9">
                <a:extLst>
                  <a:ext uri="{FF2B5EF4-FFF2-40B4-BE49-F238E27FC236}">
                    <a16:creationId xmlns:a16="http://schemas.microsoft.com/office/drawing/2014/main" id="{DCF45B7F-8F82-0EFD-9267-1567D631DACF}"/>
                  </a:ext>
                </a:extLst>
              </p:cNvPr>
              <p:cNvSpPr/>
              <p:nvPr/>
            </p:nvSpPr>
            <p:spPr>
              <a:xfrm flipH="1">
                <a:off x="2551032" y="190629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58" name="Graphic 14">
                <a:extLst>
                  <a:ext uri="{FF2B5EF4-FFF2-40B4-BE49-F238E27FC236}">
                    <a16:creationId xmlns:a16="http://schemas.microsoft.com/office/drawing/2014/main" id="{F049047A-AF2E-35FF-275E-D208BAD839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787718" y="2535495"/>
                <a:ext cx="104229" cy="76917"/>
              </a:xfrm>
              <a:prstGeom prst="rect">
                <a:avLst/>
              </a:prstGeom>
            </p:spPr>
          </p:pic>
        </p:grpSp>
      </p:grpSp>
      <p:grpSp>
        <p:nvGrpSpPr>
          <p:cNvPr id="59" name="Gruppieren 58">
            <a:extLst>
              <a:ext uri="{FF2B5EF4-FFF2-40B4-BE49-F238E27FC236}">
                <a16:creationId xmlns:a16="http://schemas.microsoft.com/office/drawing/2014/main" id="{1FE1C48F-146D-9367-89FC-18D07A7BD0A9}"/>
              </a:ext>
            </a:extLst>
          </p:cNvPr>
          <p:cNvGrpSpPr/>
          <p:nvPr/>
        </p:nvGrpSpPr>
        <p:grpSpPr>
          <a:xfrm>
            <a:off x="728434" y="4258907"/>
            <a:ext cx="2683568" cy="472918"/>
            <a:chOff x="745432" y="1840935"/>
            <a:chExt cx="3278714" cy="577799"/>
          </a:xfrm>
        </p:grpSpPr>
        <p:sp>
          <p:nvSpPr>
            <p:cNvPr id="60" name="Rounded Rectangle 5">
              <a:extLst>
                <a:ext uri="{FF2B5EF4-FFF2-40B4-BE49-F238E27FC236}">
                  <a16:creationId xmlns:a16="http://schemas.microsoft.com/office/drawing/2014/main" id="{1B3914FF-6C6F-AF59-C745-932AC32E0E74}"/>
                </a:ext>
              </a:extLst>
            </p:cNvPr>
            <p:cNvSpPr/>
            <p:nvPr/>
          </p:nvSpPr>
          <p:spPr>
            <a:xfrm flipH="1">
              <a:off x="745432" y="1978585"/>
              <a:ext cx="2876998" cy="428265"/>
            </a:xfrm>
            <a:prstGeom prst="roundRect">
              <a:avLst>
                <a:gd name="adj" fmla="val 23913"/>
              </a:avLst>
            </a:prstGeom>
            <a:solidFill>
              <a:schemeClr val="accent4"/>
            </a:solid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00" dirty="0">
                  <a:latin typeface="Maven Pro" panose="020B0604020202020204" charset="0"/>
                </a:rPr>
                <a:t>Metadatenfehler aufgrund Import der CSV Datei: Attribute können nicht in Operatoren selektiert werden</a:t>
              </a:r>
              <a:endParaRPr lang="en-US" dirty="0"/>
            </a:p>
          </p:txBody>
        </p:sp>
        <p:sp>
          <p:nvSpPr>
            <p:cNvPr id="62" name="Oval 9">
              <a:extLst>
                <a:ext uri="{FF2B5EF4-FFF2-40B4-BE49-F238E27FC236}">
                  <a16:creationId xmlns:a16="http://schemas.microsoft.com/office/drawing/2014/main" id="{CAE5CD25-5549-949E-931D-220CC25FE831}"/>
                </a:ext>
              </a:extLst>
            </p:cNvPr>
            <p:cNvSpPr/>
            <p:nvPr/>
          </p:nvSpPr>
          <p:spPr>
            <a:xfrm flipH="1">
              <a:off x="3446545" y="1840935"/>
              <a:ext cx="577601" cy="577799"/>
            </a:xfrm>
            <a:prstGeom prst="ellipse">
              <a:avLst/>
            </a:prstGeom>
            <a:solidFill>
              <a:schemeClr val="accent4"/>
            </a:solid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grpSp>
        <p:nvGrpSpPr>
          <p:cNvPr id="64" name="Gruppieren 63">
            <a:extLst>
              <a:ext uri="{FF2B5EF4-FFF2-40B4-BE49-F238E27FC236}">
                <a16:creationId xmlns:a16="http://schemas.microsoft.com/office/drawing/2014/main" id="{BEE040BE-E4B6-1058-4A7D-47C4488DDBFF}"/>
              </a:ext>
            </a:extLst>
          </p:cNvPr>
          <p:cNvGrpSpPr/>
          <p:nvPr/>
        </p:nvGrpSpPr>
        <p:grpSpPr>
          <a:xfrm flipH="1">
            <a:off x="5092007" y="1559040"/>
            <a:ext cx="2683568" cy="577944"/>
            <a:chOff x="745432" y="1840935"/>
            <a:chExt cx="3278714" cy="706117"/>
          </a:xfrm>
          <a:solidFill>
            <a:srgbClr val="00CFCC"/>
          </a:solidFill>
        </p:grpSpPr>
        <p:sp>
          <p:nvSpPr>
            <p:cNvPr id="65" name="Rounded Rectangle 5">
              <a:extLst>
                <a:ext uri="{FF2B5EF4-FFF2-40B4-BE49-F238E27FC236}">
                  <a16:creationId xmlns:a16="http://schemas.microsoft.com/office/drawing/2014/main" id="{B2BE7A48-92AC-88E6-2178-2F5D2CF408C8}"/>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Integration von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Operatoren aus dem Marketplace (Siehe </a:t>
              </a:r>
              <a:r>
                <a:rPr lang="de-DE" sz="700" dirty="0" err="1">
                  <a:solidFill>
                    <a:schemeClr val="bg1"/>
                  </a:solidFill>
                  <a:latin typeface="Maven Pro" panose="020B0604020202020204" charset="0"/>
                </a:rPr>
                <a:t>Weka</a:t>
              </a:r>
              <a:r>
                <a:rPr lang="de-DE" sz="700" dirty="0">
                  <a:solidFill>
                    <a:schemeClr val="bg1"/>
                  </a:solidFill>
                  <a:latin typeface="Maven Pro" panose="020B0604020202020204" charset="0"/>
                </a:rPr>
                <a:t>-Tool)</a:t>
              </a:r>
              <a:endParaRPr lang="en-US" sz="700" dirty="0">
                <a:solidFill>
                  <a:schemeClr val="bg1"/>
                </a:solidFill>
              </a:endParaRPr>
            </a:p>
          </p:txBody>
        </p:sp>
        <p:grpSp>
          <p:nvGrpSpPr>
            <p:cNvPr id="66" name="Gruppieren 65">
              <a:extLst>
                <a:ext uri="{FF2B5EF4-FFF2-40B4-BE49-F238E27FC236}">
                  <a16:creationId xmlns:a16="http://schemas.microsoft.com/office/drawing/2014/main" id="{24B38D58-70C2-CC65-63B1-96AAA8A8FF52}"/>
                </a:ext>
              </a:extLst>
            </p:cNvPr>
            <p:cNvGrpSpPr/>
            <p:nvPr/>
          </p:nvGrpSpPr>
          <p:grpSpPr>
            <a:xfrm>
              <a:off x="3446545" y="1840935"/>
              <a:ext cx="577601" cy="706117"/>
              <a:chOff x="2551032" y="1906295"/>
              <a:chExt cx="577601" cy="706117"/>
            </a:xfrm>
            <a:grpFill/>
          </p:grpSpPr>
          <p:sp>
            <p:nvSpPr>
              <p:cNvPr id="67" name="Oval 9">
                <a:extLst>
                  <a:ext uri="{FF2B5EF4-FFF2-40B4-BE49-F238E27FC236}">
                    <a16:creationId xmlns:a16="http://schemas.microsoft.com/office/drawing/2014/main" id="{119C25A3-5137-FF94-159D-3E64E69CBF5D}"/>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68" name="Graphic 14">
                <a:extLst>
                  <a:ext uri="{FF2B5EF4-FFF2-40B4-BE49-F238E27FC236}">
                    <a16:creationId xmlns:a16="http://schemas.microsoft.com/office/drawing/2014/main" id="{4AFA7260-FAFC-E28C-54A0-C191E563D3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sp>
        <p:nvSpPr>
          <p:cNvPr id="69" name="Pfeil: Chevron 68">
            <a:extLst>
              <a:ext uri="{FF2B5EF4-FFF2-40B4-BE49-F238E27FC236}">
                <a16:creationId xmlns:a16="http://schemas.microsoft.com/office/drawing/2014/main" id="{27722754-DE03-470A-DA9A-BA44DD07E0C2}"/>
              </a:ext>
            </a:extLst>
          </p:cNvPr>
          <p:cNvSpPr/>
          <p:nvPr/>
        </p:nvSpPr>
        <p:spPr>
          <a:xfrm flipH="1">
            <a:off x="5092007" y="1149003"/>
            <a:ext cx="2683568" cy="267286"/>
          </a:xfrm>
          <a:prstGeom prst="chevron">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latin typeface="Maven Pro" panose="020B0604020202020204" charset="0"/>
              </a:rPr>
              <a:t>Solutions</a:t>
            </a:r>
          </a:p>
        </p:txBody>
      </p:sp>
      <p:grpSp>
        <p:nvGrpSpPr>
          <p:cNvPr id="70" name="Gruppieren 69">
            <a:extLst>
              <a:ext uri="{FF2B5EF4-FFF2-40B4-BE49-F238E27FC236}">
                <a16:creationId xmlns:a16="http://schemas.microsoft.com/office/drawing/2014/main" id="{92CCC1B4-60E9-DCDD-BA50-C8B9B1687F4E}"/>
              </a:ext>
            </a:extLst>
          </p:cNvPr>
          <p:cNvGrpSpPr/>
          <p:nvPr/>
        </p:nvGrpSpPr>
        <p:grpSpPr>
          <a:xfrm flipH="1">
            <a:off x="5092007" y="2217988"/>
            <a:ext cx="2683568" cy="577944"/>
            <a:chOff x="745432" y="1840935"/>
            <a:chExt cx="3278714" cy="706117"/>
          </a:xfrm>
          <a:solidFill>
            <a:srgbClr val="00CFCC"/>
          </a:solidFill>
        </p:grpSpPr>
        <p:sp>
          <p:nvSpPr>
            <p:cNvPr id="71" name="Rounded Rectangle 5">
              <a:extLst>
                <a:ext uri="{FF2B5EF4-FFF2-40B4-BE49-F238E27FC236}">
                  <a16:creationId xmlns:a16="http://schemas.microsoft.com/office/drawing/2014/main" id="{4F3A4424-CC66-D75F-2331-F95088E0590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solidFill>
                    <a:schemeClr val="bg1"/>
                  </a:solidFill>
                  <a:latin typeface="Maven Pro" panose="020B0604020202020204" charset="0"/>
                </a:rPr>
                <a:t>Zusätzliche Data </a:t>
              </a:r>
              <a:r>
                <a:rPr lang="de-DE" sz="700" dirty="0" err="1">
                  <a:solidFill>
                    <a:schemeClr val="bg1"/>
                  </a:solidFill>
                  <a:latin typeface="Maven Pro" panose="020B0604020202020204" charset="0"/>
                </a:rPr>
                <a:t>Preparation</a:t>
              </a:r>
              <a:r>
                <a:rPr lang="de-DE" sz="700" dirty="0">
                  <a:solidFill>
                    <a:schemeClr val="bg1"/>
                  </a:solidFill>
                  <a:latin typeface="Maven Pro" panose="020B0604020202020204" charset="0"/>
                </a:rPr>
                <a:t> als Vorbereitung für die Operatoren</a:t>
              </a:r>
              <a:endParaRPr lang="en-US" sz="700" dirty="0">
                <a:solidFill>
                  <a:schemeClr val="bg1"/>
                </a:solidFill>
              </a:endParaRPr>
            </a:p>
          </p:txBody>
        </p:sp>
        <p:grpSp>
          <p:nvGrpSpPr>
            <p:cNvPr id="72" name="Gruppieren 71">
              <a:extLst>
                <a:ext uri="{FF2B5EF4-FFF2-40B4-BE49-F238E27FC236}">
                  <a16:creationId xmlns:a16="http://schemas.microsoft.com/office/drawing/2014/main" id="{6461D94E-5354-6644-83B9-8EB482F3F86B}"/>
                </a:ext>
              </a:extLst>
            </p:cNvPr>
            <p:cNvGrpSpPr/>
            <p:nvPr/>
          </p:nvGrpSpPr>
          <p:grpSpPr>
            <a:xfrm>
              <a:off x="3446545" y="1840935"/>
              <a:ext cx="577601" cy="706117"/>
              <a:chOff x="2551032" y="1906295"/>
              <a:chExt cx="577601" cy="706117"/>
            </a:xfrm>
            <a:grpFill/>
          </p:grpSpPr>
          <p:sp>
            <p:nvSpPr>
              <p:cNvPr id="73" name="Oval 9">
                <a:extLst>
                  <a:ext uri="{FF2B5EF4-FFF2-40B4-BE49-F238E27FC236}">
                    <a16:creationId xmlns:a16="http://schemas.microsoft.com/office/drawing/2014/main" id="{3CA25C34-70F0-9A6E-B48B-9FF77CCDB881}"/>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4" name="Graphic 14">
                <a:extLst>
                  <a:ext uri="{FF2B5EF4-FFF2-40B4-BE49-F238E27FC236}">
                    <a16:creationId xmlns:a16="http://schemas.microsoft.com/office/drawing/2014/main" id="{55EA0430-8999-B3B0-7FD8-69DC176B98B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75" name="Gruppieren 74">
            <a:extLst>
              <a:ext uri="{FF2B5EF4-FFF2-40B4-BE49-F238E27FC236}">
                <a16:creationId xmlns:a16="http://schemas.microsoft.com/office/drawing/2014/main" id="{19826805-C9D3-4321-3E57-58959F812F5F}"/>
              </a:ext>
            </a:extLst>
          </p:cNvPr>
          <p:cNvGrpSpPr/>
          <p:nvPr/>
        </p:nvGrpSpPr>
        <p:grpSpPr>
          <a:xfrm flipH="1">
            <a:off x="5092007" y="2873979"/>
            <a:ext cx="2683568" cy="577944"/>
            <a:chOff x="745432" y="1840935"/>
            <a:chExt cx="3278714" cy="706117"/>
          </a:xfrm>
          <a:solidFill>
            <a:srgbClr val="00CFCC"/>
          </a:solidFill>
        </p:grpSpPr>
        <p:sp>
          <p:nvSpPr>
            <p:cNvPr id="76" name="Rounded Rectangle 5">
              <a:extLst>
                <a:ext uri="{FF2B5EF4-FFF2-40B4-BE49-F238E27FC236}">
                  <a16:creationId xmlns:a16="http://schemas.microsoft.com/office/drawing/2014/main" id="{D91DBF9C-81FD-82BB-DD1C-69AA3E7CD671}"/>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700" dirty="0">
                  <a:latin typeface="Maven Pro" panose="020B0604020202020204" charset="0"/>
                </a:rPr>
                <a:t>It</a:t>
              </a:r>
              <a:r>
                <a:rPr lang="de-DE" sz="700" dirty="0" err="1">
                  <a:latin typeface="Maven Pro" panose="020B0604020202020204" charset="0"/>
                </a:rPr>
                <a:t>erative</a:t>
              </a:r>
              <a:r>
                <a:rPr lang="de-DE" sz="700" dirty="0">
                  <a:latin typeface="Maven Pro" panose="020B0604020202020204" charset="0"/>
                </a:rPr>
                <a:t> Verwendung, Vergleich und Anpassung</a:t>
              </a:r>
            </a:p>
            <a:p>
              <a:pPr algn="r"/>
              <a:r>
                <a:rPr lang="de-DE" sz="700" dirty="0">
                  <a:latin typeface="Maven Pro" panose="020B0604020202020204" charset="0"/>
                </a:rPr>
                <a:t>der Hyperparameter aller Operatoren</a:t>
              </a:r>
              <a:endParaRPr lang="en-US" sz="700" dirty="0">
                <a:latin typeface="Maven Pro" panose="020B0604020202020204" charset="0"/>
              </a:endParaRPr>
            </a:p>
          </p:txBody>
        </p:sp>
        <p:grpSp>
          <p:nvGrpSpPr>
            <p:cNvPr id="77" name="Gruppieren 76">
              <a:extLst>
                <a:ext uri="{FF2B5EF4-FFF2-40B4-BE49-F238E27FC236}">
                  <a16:creationId xmlns:a16="http://schemas.microsoft.com/office/drawing/2014/main" id="{F037B010-9883-D321-FACA-D986A4AAE653}"/>
                </a:ext>
              </a:extLst>
            </p:cNvPr>
            <p:cNvGrpSpPr/>
            <p:nvPr/>
          </p:nvGrpSpPr>
          <p:grpSpPr>
            <a:xfrm>
              <a:off x="3446545" y="1840935"/>
              <a:ext cx="577601" cy="706117"/>
              <a:chOff x="2551032" y="1906295"/>
              <a:chExt cx="577601" cy="706117"/>
            </a:xfrm>
            <a:grpFill/>
          </p:grpSpPr>
          <p:sp>
            <p:nvSpPr>
              <p:cNvPr id="78" name="Oval 9">
                <a:extLst>
                  <a:ext uri="{FF2B5EF4-FFF2-40B4-BE49-F238E27FC236}">
                    <a16:creationId xmlns:a16="http://schemas.microsoft.com/office/drawing/2014/main" id="{E0AA40D9-85F6-106E-A4B8-8468C8D06DC6}"/>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79" name="Graphic 14">
                <a:extLst>
                  <a:ext uri="{FF2B5EF4-FFF2-40B4-BE49-F238E27FC236}">
                    <a16:creationId xmlns:a16="http://schemas.microsoft.com/office/drawing/2014/main" id="{09E04418-477F-67C1-A609-AAB9E03541F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0" name="Gruppieren 79">
            <a:extLst>
              <a:ext uri="{FF2B5EF4-FFF2-40B4-BE49-F238E27FC236}">
                <a16:creationId xmlns:a16="http://schemas.microsoft.com/office/drawing/2014/main" id="{623DD5F5-46C4-DE54-7921-270496015321}"/>
              </a:ext>
            </a:extLst>
          </p:cNvPr>
          <p:cNvGrpSpPr/>
          <p:nvPr/>
        </p:nvGrpSpPr>
        <p:grpSpPr>
          <a:xfrm flipH="1">
            <a:off x="5092007" y="3566443"/>
            <a:ext cx="2683568" cy="577944"/>
            <a:chOff x="745432" y="1840935"/>
            <a:chExt cx="3278714" cy="706117"/>
          </a:xfrm>
          <a:solidFill>
            <a:srgbClr val="00CFCC"/>
          </a:solidFill>
        </p:grpSpPr>
        <p:sp>
          <p:nvSpPr>
            <p:cNvPr id="81" name="Rounded Rectangle 5">
              <a:extLst>
                <a:ext uri="{FF2B5EF4-FFF2-40B4-BE49-F238E27FC236}">
                  <a16:creationId xmlns:a16="http://schemas.microsoft.com/office/drawing/2014/main" id="{8D9F04B5-F19C-C038-9F66-655B71EA8FC9}"/>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sz="700" dirty="0">
                  <a:latin typeface="Maven Pro" panose="020B0604020202020204" charset="0"/>
                </a:rPr>
                <a:t>Zusätzliche, invertierte Selektierung der Spalten Item und </a:t>
              </a:r>
              <a:r>
                <a:rPr lang="de-DE" sz="700" dirty="0" err="1">
                  <a:latin typeface="Maven Pro" panose="020B0604020202020204" charset="0"/>
                </a:rPr>
                <a:t>TransactionNo</a:t>
              </a:r>
              <a:endParaRPr lang="en-US" sz="700" dirty="0">
                <a:latin typeface="Maven Pro" panose="020B0604020202020204" charset="0"/>
              </a:endParaRPr>
            </a:p>
          </p:txBody>
        </p:sp>
        <p:grpSp>
          <p:nvGrpSpPr>
            <p:cNvPr id="82" name="Gruppieren 81">
              <a:extLst>
                <a:ext uri="{FF2B5EF4-FFF2-40B4-BE49-F238E27FC236}">
                  <a16:creationId xmlns:a16="http://schemas.microsoft.com/office/drawing/2014/main" id="{B752B090-EB09-6435-3AE9-6B19B227C162}"/>
                </a:ext>
              </a:extLst>
            </p:cNvPr>
            <p:cNvGrpSpPr/>
            <p:nvPr/>
          </p:nvGrpSpPr>
          <p:grpSpPr>
            <a:xfrm>
              <a:off x="3446545" y="1840935"/>
              <a:ext cx="577601" cy="706117"/>
              <a:chOff x="2551032" y="1906295"/>
              <a:chExt cx="577601" cy="706117"/>
            </a:xfrm>
            <a:grpFill/>
          </p:grpSpPr>
          <p:sp>
            <p:nvSpPr>
              <p:cNvPr id="83" name="Oval 9">
                <a:extLst>
                  <a:ext uri="{FF2B5EF4-FFF2-40B4-BE49-F238E27FC236}">
                    <a16:creationId xmlns:a16="http://schemas.microsoft.com/office/drawing/2014/main" id="{ADD61924-CF9B-D48C-6D53-AD375EC5D6FB}"/>
                  </a:ext>
                </a:extLst>
              </p:cNvPr>
              <p:cNvSpPr/>
              <p:nvPr/>
            </p:nvSpPr>
            <p:spPr>
              <a:xfrm flipH="1">
                <a:off x="2551032" y="190629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pic>
            <p:nvPicPr>
              <p:cNvPr id="84" name="Graphic 14">
                <a:extLst>
                  <a:ext uri="{FF2B5EF4-FFF2-40B4-BE49-F238E27FC236}">
                    <a16:creationId xmlns:a16="http://schemas.microsoft.com/office/drawing/2014/main" id="{61C41F2E-6D2E-F240-D5CE-458DE771BA0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2787718" y="2535495"/>
                <a:ext cx="104229" cy="76917"/>
              </a:xfrm>
              <a:prstGeom prst="rect">
                <a:avLst/>
              </a:prstGeom>
            </p:spPr>
          </p:pic>
        </p:grpSp>
      </p:grpSp>
      <p:grpSp>
        <p:nvGrpSpPr>
          <p:cNvPr id="85" name="Gruppieren 84">
            <a:extLst>
              <a:ext uri="{FF2B5EF4-FFF2-40B4-BE49-F238E27FC236}">
                <a16:creationId xmlns:a16="http://schemas.microsoft.com/office/drawing/2014/main" id="{ED17F546-24E8-F66E-09F5-0D12CE80AAD2}"/>
              </a:ext>
            </a:extLst>
          </p:cNvPr>
          <p:cNvGrpSpPr/>
          <p:nvPr/>
        </p:nvGrpSpPr>
        <p:grpSpPr>
          <a:xfrm flipH="1">
            <a:off x="5092007" y="4258907"/>
            <a:ext cx="2683568" cy="472918"/>
            <a:chOff x="745432" y="1840935"/>
            <a:chExt cx="3278714" cy="577799"/>
          </a:xfrm>
          <a:solidFill>
            <a:srgbClr val="00CFCC"/>
          </a:solidFill>
        </p:grpSpPr>
        <p:sp>
          <p:nvSpPr>
            <p:cNvPr id="86" name="Rounded Rectangle 5">
              <a:extLst>
                <a:ext uri="{FF2B5EF4-FFF2-40B4-BE49-F238E27FC236}">
                  <a16:creationId xmlns:a16="http://schemas.microsoft.com/office/drawing/2014/main" id="{26DFABF9-884B-A551-AAD0-5EC4E107B1E5}"/>
                </a:ext>
              </a:extLst>
            </p:cNvPr>
            <p:cNvSpPr/>
            <p:nvPr/>
          </p:nvSpPr>
          <p:spPr>
            <a:xfrm flipH="1">
              <a:off x="745432" y="1978585"/>
              <a:ext cx="2876998" cy="428265"/>
            </a:xfrm>
            <a:prstGeom prst="roundRect">
              <a:avLst>
                <a:gd name="adj" fmla="val 23913"/>
              </a:avLst>
            </a:prstGeom>
            <a:grpFill/>
            <a:ln>
              <a:noFill/>
            </a:ln>
            <a:effectLst>
              <a:outerShdw blurRad="215900" dist="50800" dir="5400000" algn="ctr"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latin typeface="Maven Pro" panose="020B0604020202020204" charset="0"/>
                </a:rPr>
                <a:t>Option „Synchronisierung der Metadaten mit realen Daten“ aktivieren und zusätzliche Erstellung eines integrierten </a:t>
              </a:r>
              <a:r>
                <a:rPr lang="de-DE" sz="700" dirty="0" err="1">
                  <a:latin typeface="Maven Pro" panose="020B0604020202020204" charset="0"/>
                </a:rPr>
                <a:t>RapidMiner</a:t>
              </a:r>
              <a:r>
                <a:rPr lang="de-DE" sz="700" dirty="0">
                  <a:latin typeface="Maven Pro" panose="020B0604020202020204" charset="0"/>
                </a:rPr>
                <a:t> </a:t>
              </a:r>
              <a:r>
                <a:rPr lang="de-DE" sz="700" dirty="0" err="1">
                  <a:latin typeface="Maven Pro" panose="020B0604020202020204" charset="0"/>
                </a:rPr>
                <a:t>Tables</a:t>
              </a:r>
              <a:r>
                <a:rPr lang="de-DE" sz="700" dirty="0">
                  <a:latin typeface="Maven Pro" panose="020B0604020202020204" charset="0"/>
                </a:rPr>
                <a:t> je </a:t>
              </a:r>
              <a:r>
                <a:rPr lang="de-DE" sz="700" dirty="0" err="1">
                  <a:latin typeface="Maven Pro" panose="020B0604020202020204" charset="0"/>
                </a:rPr>
                <a:t>import</a:t>
              </a:r>
              <a:r>
                <a:rPr lang="de-DE" sz="700" dirty="0">
                  <a:latin typeface="Maven Pro" panose="020B0604020202020204" charset="0"/>
                </a:rPr>
                <a:t>. Datensatz</a:t>
              </a:r>
              <a:endParaRPr lang="en-US" sz="700" dirty="0">
                <a:latin typeface="Maven Pro" panose="020B0604020202020204" charset="0"/>
              </a:endParaRPr>
            </a:p>
          </p:txBody>
        </p:sp>
        <p:sp>
          <p:nvSpPr>
            <p:cNvPr id="87" name="Oval 9">
              <a:extLst>
                <a:ext uri="{FF2B5EF4-FFF2-40B4-BE49-F238E27FC236}">
                  <a16:creationId xmlns:a16="http://schemas.microsoft.com/office/drawing/2014/main" id="{DEA317D4-8C1C-9C81-1BED-C40863545217}"/>
                </a:ext>
              </a:extLst>
            </p:cNvPr>
            <p:cNvSpPr/>
            <p:nvPr/>
          </p:nvSpPr>
          <p:spPr>
            <a:xfrm flipH="1">
              <a:off x="3446545" y="1840935"/>
              <a:ext cx="577601" cy="577799"/>
            </a:xfrm>
            <a:prstGeom prst="ellipse">
              <a:avLst/>
            </a:prstGeom>
            <a:grpFill/>
            <a:ln>
              <a:noFill/>
            </a:ln>
            <a:effectLst>
              <a:outerShdw blurRad="215900" dist="50800" dir="5400000" algn="tl" rotWithShape="0">
                <a:schemeClr val="accent2">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R" dirty="0"/>
            </a:p>
          </p:txBody>
        </p:sp>
      </p:grpSp>
      <p:cxnSp>
        <p:nvCxnSpPr>
          <p:cNvPr id="89" name="Gerader Verbinder 88">
            <a:extLst>
              <a:ext uri="{FF2B5EF4-FFF2-40B4-BE49-F238E27FC236}">
                <a16:creationId xmlns:a16="http://schemas.microsoft.com/office/drawing/2014/main" id="{0015445A-0AB4-9FF4-5F69-5EA8CBFE5D58}"/>
              </a:ext>
            </a:extLst>
          </p:cNvPr>
          <p:cNvCxnSpPr/>
          <p:nvPr/>
        </p:nvCxnSpPr>
        <p:spPr>
          <a:xfrm>
            <a:off x="4204167" y="2022231"/>
            <a:ext cx="0" cy="2603109"/>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633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Challenges</a:t>
            </a:r>
          </a:p>
        </p:txBody>
      </p:sp>
      <p:pic>
        <p:nvPicPr>
          <p:cNvPr id="4" name="Grafik 3">
            <a:extLst>
              <a:ext uri="{FF2B5EF4-FFF2-40B4-BE49-F238E27FC236}">
                <a16:creationId xmlns:a16="http://schemas.microsoft.com/office/drawing/2014/main" id="{291E97D5-43DC-B167-E11B-1CFFFC25B51F}"/>
              </a:ext>
            </a:extLst>
          </p:cNvPr>
          <p:cNvPicPr>
            <a:picLocks noChangeAspect="1"/>
          </p:cNvPicPr>
          <p:nvPr/>
        </p:nvPicPr>
        <p:blipFill>
          <a:blip r:embed="rId5"/>
          <a:stretch>
            <a:fillRect/>
          </a:stretch>
        </p:blipFill>
        <p:spPr>
          <a:xfrm>
            <a:off x="738392" y="906779"/>
            <a:ext cx="4549887" cy="3474711"/>
          </a:xfrm>
          <a:prstGeom prst="rect">
            <a:avLst/>
          </a:prstGeom>
        </p:spPr>
      </p:pic>
      <p:pic>
        <p:nvPicPr>
          <p:cNvPr id="7" name="Grafik 6">
            <a:extLst>
              <a:ext uri="{FF2B5EF4-FFF2-40B4-BE49-F238E27FC236}">
                <a16:creationId xmlns:a16="http://schemas.microsoft.com/office/drawing/2014/main" id="{61D782A5-A2CA-D016-2A7F-53E36AF370B6}"/>
              </a:ext>
            </a:extLst>
          </p:cNvPr>
          <p:cNvPicPr>
            <a:picLocks noChangeAspect="1"/>
          </p:cNvPicPr>
          <p:nvPr/>
        </p:nvPicPr>
        <p:blipFill rotWithShape="1">
          <a:blip r:embed="rId6"/>
          <a:srcRect l="67288" r="261"/>
          <a:stretch/>
        </p:blipFill>
        <p:spPr>
          <a:xfrm>
            <a:off x="5963745" y="906778"/>
            <a:ext cx="2102796" cy="3474712"/>
          </a:xfrm>
          <a:prstGeom prst="rect">
            <a:avLst/>
          </a:prstGeom>
        </p:spPr>
      </p:pic>
      <p:sp>
        <p:nvSpPr>
          <p:cNvPr id="8" name="Pfeil: eingekerbt nach rechts 7">
            <a:extLst>
              <a:ext uri="{FF2B5EF4-FFF2-40B4-BE49-F238E27FC236}">
                <a16:creationId xmlns:a16="http://schemas.microsoft.com/office/drawing/2014/main" id="{50A666F9-354D-D6F2-0F21-B8FFB77CB03A}"/>
              </a:ext>
            </a:extLst>
          </p:cNvPr>
          <p:cNvSpPr/>
          <p:nvPr/>
        </p:nvSpPr>
        <p:spPr>
          <a:xfrm>
            <a:off x="5453809" y="2592201"/>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993B0DC8-F389-DCFC-F7F2-123ABD45F8CE}"/>
              </a:ext>
            </a:extLst>
          </p:cNvPr>
          <p:cNvSpPr/>
          <p:nvPr/>
        </p:nvSpPr>
        <p:spPr>
          <a:xfrm>
            <a:off x="6553200" y="1432560"/>
            <a:ext cx="632460" cy="18364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25E8D1F-6651-357F-516E-E39E31D880F7}"/>
              </a:ext>
            </a:extLst>
          </p:cNvPr>
          <p:cNvSpPr/>
          <p:nvPr/>
        </p:nvSpPr>
        <p:spPr>
          <a:xfrm>
            <a:off x="2278380" y="1546860"/>
            <a:ext cx="739140" cy="19812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C5FC616-0C3B-D79D-798D-5274DA27538B}"/>
              </a:ext>
            </a:extLst>
          </p:cNvPr>
          <p:cNvSpPr/>
          <p:nvPr/>
        </p:nvSpPr>
        <p:spPr>
          <a:xfrm>
            <a:off x="6553200" y="3314700"/>
            <a:ext cx="1276905" cy="457202"/>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3ACE0FE1-B2FD-0A63-20B7-6819D1C22AC2}"/>
              </a:ext>
            </a:extLst>
          </p:cNvPr>
          <p:cNvSpPr txBox="1"/>
          <p:nvPr/>
        </p:nvSpPr>
        <p:spPr>
          <a:xfrm>
            <a:off x="6542298" y="3817622"/>
            <a:ext cx="2232660" cy="307777"/>
          </a:xfrm>
          <a:prstGeom prst="rect">
            <a:avLst/>
          </a:prstGeom>
          <a:noFill/>
        </p:spPr>
        <p:txBody>
          <a:bodyPr wrap="square" rtlCol="0">
            <a:spAutoFit/>
          </a:bodyPr>
          <a:lstStyle/>
          <a:p>
            <a:r>
              <a:rPr lang="de-DE" sz="700" dirty="0"/>
              <a:t>Standardmäßig In </a:t>
            </a:r>
            <a:r>
              <a:rPr lang="de-DE" sz="700" dirty="0" err="1"/>
              <a:t>RapidMiner</a:t>
            </a:r>
            <a:r>
              <a:rPr lang="de-DE" sz="700" dirty="0"/>
              <a:t> </a:t>
            </a:r>
          </a:p>
          <a:p>
            <a:r>
              <a:rPr lang="de-DE" sz="700" dirty="0"/>
              <a:t>enthalten</a:t>
            </a:r>
          </a:p>
        </p:txBody>
      </p:sp>
      <p:sp>
        <p:nvSpPr>
          <p:cNvPr id="13" name="Textfeld 12">
            <a:extLst>
              <a:ext uri="{FF2B5EF4-FFF2-40B4-BE49-F238E27FC236}">
                <a16:creationId xmlns:a16="http://schemas.microsoft.com/office/drawing/2014/main" id="{4EB98759-09F4-45BA-B498-0FDC85688B02}"/>
              </a:ext>
            </a:extLst>
          </p:cNvPr>
          <p:cNvSpPr txBox="1"/>
          <p:nvPr/>
        </p:nvSpPr>
        <p:spPr>
          <a:xfrm>
            <a:off x="7185660" y="2231693"/>
            <a:ext cx="2232660" cy="307777"/>
          </a:xfrm>
          <a:prstGeom prst="rect">
            <a:avLst/>
          </a:prstGeom>
          <a:noFill/>
        </p:spPr>
        <p:txBody>
          <a:bodyPr wrap="square" rtlCol="0">
            <a:spAutoFit/>
          </a:bodyPr>
          <a:lstStyle/>
          <a:p>
            <a:r>
              <a:rPr lang="de-DE" sz="700" dirty="0" err="1"/>
              <a:t>Weka</a:t>
            </a:r>
            <a:r>
              <a:rPr lang="de-DE" sz="700" dirty="0"/>
              <a:t> </a:t>
            </a:r>
            <a:r>
              <a:rPr lang="de-DE" sz="700" dirty="0" err="1"/>
              <a:t>Machine</a:t>
            </a:r>
            <a:r>
              <a:rPr lang="de-DE" sz="700" dirty="0"/>
              <a:t> </a:t>
            </a:r>
          </a:p>
          <a:p>
            <a:r>
              <a:rPr lang="de-DE" sz="700" dirty="0"/>
              <a:t>Learning Library</a:t>
            </a:r>
          </a:p>
        </p:txBody>
      </p:sp>
      <p:pic>
        <p:nvPicPr>
          <p:cNvPr id="2050" name="Picture 2" descr="Weka - Association">
            <a:extLst>
              <a:ext uri="{FF2B5EF4-FFF2-40B4-BE49-F238E27FC236}">
                <a16:creationId xmlns:a16="http://schemas.microsoft.com/office/drawing/2014/main" id="{86A2EDAB-8D4A-DCEF-A7C4-783FB1A0FA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2424" y="3395187"/>
            <a:ext cx="2259152" cy="1683068"/>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eingekerbt nach rechts 13">
            <a:extLst>
              <a:ext uri="{FF2B5EF4-FFF2-40B4-BE49-F238E27FC236}">
                <a16:creationId xmlns:a16="http://schemas.microsoft.com/office/drawing/2014/main" id="{8077E74A-9FBE-6D74-0524-14E5F460065E}"/>
              </a:ext>
            </a:extLst>
          </p:cNvPr>
          <p:cNvSpPr/>
          <p:nvPr/>
        </p:nvSpPr>
        <p:spPr>
          <a:xfrm rot="8874844">
            <a:off x="5488140" y="3127294"/>
            <a:ext cx="344406" cy="103866"/>
          </a:xfrm>
          <a:prstGeom prst="notched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208321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41E1DDAC-E500-3625-8868-43FDF09B26A9}"/>
              </a:ext>
            </a:extLst>
          </p:cNvPr>
          <p:cNvPicPr>
            <a:picLocks noChangeAspect="1"/>
          </p:cNvPicPr>
          <p:nvPr/>
        </p:nvPicPr>
        <p:blipFill rotWithShape="1">
          <a:blip r:embed="rId5"/>
          <a:srcRect l="243" t="4842" r="261"/>
          <a:stretch/>
        </p:blipFill>
        <p:spPr>
          <a:xfrm>
            <a:off x="714374" y="1172387"/>
            <a:ext cx="7245531" cy="3727273"/>
          </a:xfrm>
          <a:prstGeom prst="rect">
            <a:avLst/>
          </a:prstGeom>
        </p:spPr>
      </p:pic>
      <p:sp>
        <p:nvSpPr>
          <p:cNvPr id="4" name="Parallelogramm 3">
            <a:extLst>
              <a:ext uri="{FF2B5EF4-FFF2-40B4-BE49-F238E27FC236}">
                <a16:creationId xmlns:a16="http://schemas.microsoft.com/office/drawing/2014/main" id="{2C5C1505-A296-B503-668B-70A4C1A2A3F0}"/>
              </a:ext>
            </a:extLst>
          </p:cNvPr>
          <p:cNvSpPr/>
          <p:nvPr/>
        </p:nvSpPr>
        <p:spPr>
          <a:xfrm>
            <a:off x="714375" y="1044454"/>
            <a:ext cx="7277100"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Modeling </a:t>
            </a:r>
            <a:r>
              <a:rPr lang="de-DE" sz="800" dirty="0" err="1">
                <a:solidFill>
                  <a:srgbClr val="000000"/>
                </a:solidFill>
                <a:latin typeface="Maven Pro" panose="020B0604020202020204" charset="0"/>
              </a:rPr>
              <a:t>Process</a:t>
            </a:r>
            <a:endParaRPr lang="de-DE" sz="800" dirty="0">
              <a:solidFill>
                <a:srgbClr val="000000"/>
              </a:solidFill>
              <a:latin typeface="Maven Pro" panose="020B0604020202020204" charset="0"/>
            </a:endParaRPr>
          </a:p>
        </p:txBody>
      </p:sp>
      <p:sp>
        <p:nvSpPr>
          <p:cNvPr id="7" name="Sprechblase: oval 6">
            <a:extLst>
              <a:ext uri="{FF2B5EF4-FFF2-40B4-BE49-F238E27FC236}">
                <a16:creationId xmlns:a16="http://schemas.microsoft.com/office/drawing/2014/main" id="{3F504CBF-4411-F27E-89CC-500608340DAC}"/>
              </a:ext>
            </a:extLst>
          </p:cNvPr>
          <p:cNvSpPr/>
          <p:nvPr/>
        </p:nvSpPr>
        <p:spPr>
          <a:xfrm>
            <a:off x="923821" y="2571750"/>
            <a:ext cx="2117159" cy="754022"/>
          </a:xfrm>
          <a:prstGeom prst="wedgeEllipseCallout">
            <a:avLst>
              <a:gd name="adj1" fmla="val -40513"/>
              <a:gd name="adj2" fmla="val -130397"/>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Zu integrierter </a:t>
            </a:r>
            <a:r>
              <a:rPr lang="de-DE" sz="700" dirty="0" err="1">
                <a:latin typeface="Maven Pro" panose="020B0604020202020204" charset="0"/>
              </a:rPr>
              <a:t>RapidMiner</a:t>
            </a:r>
            <a:r>
              <a:rPr lang="de-DE" sz="700" dirty="0">
                <a:latin typeface="Maven Pro" panose="020B0604020202020204" charset="0"/>
              </a:rPr>
              <a:t> Table geändert</a:t>
            </a:r>
            <a:endParaRPr lang="de-DE" sz="700" dirty="0">
              <a:solidFill>
                <a:schemeClr val="bg1"/>
              </a:solidFill>
              <a:latin typeface="Maven Pro" panose="020B0604020202020204" charset="0"/>
            </a:endParaRPr>
          </a:p>
        </p:txBody>
      </p:sp>
    </p:spTree>
    <p:extLst>
      <p:ext uri="{BB962C8B-B14F-4D97-AF65-F5344CB8AC3E}">
        <p14:creationId xmlns:p14="http://schemas.microsoft.com/office/powerpoint/2010/main" val="23551789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3"/>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Hyper</a:t>
            </a:r>
            <a:r>
              <a:rPr lang="de-DE" sz="800" dirty="0">
                <a:solidFill>
                  <a:srgbClr val="000000"/>
                </a:solidFill>
                <a:latin typeface="Maven Pro" panose="020B0604020202020204" charset="0"/>
              </a:rPr>
              <a:t> Parameters after iterative </a:t>
            </a:r>
            <a:r>
              <a:rPr lang="de-DE" sz="800" dirty="0" err="1">
                <a:solidFill>
                  <a:srgbClr val="000000"/>
                </a:solidFill>
                <a:latin typeface="Maven Pro" panose="020B0604020202020204" charset="0"/>
              </a:rPr>
              <a:t>tuning</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N: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numb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T: </a:t>
            </a:r>
            <a:r>
              <a:rPr lang="de-DE" sz="700" dirty="0" err="1">
                <a:solidFill>
                  <a:srgbClr val="000000"/>
                </a:solidFill>
                <a:latin typeface="Maven Pro" panose="020B0604020202020204" charset="0"/>
              </a:rPr>
              <a:t>Metric</a:t>
            </a:r>
            <a:r>
              <a:rPr lang="de-DE" sz="700" dirty="0">
                <a:solidFill>
                  <a:srgbClr val="000000"/>
                </a:solidFill>
                <a:latin typeface="Maven Pro" panose="020B0604020202020204" charset="0"/>
              </a:rPr>
              <a:t> type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o</a:t>
            </a:r>
            <a:r>
              <a:rPr lang="de-DE" sz="700" dirty="0">
                <a:solidFill>
                  <a:srgbClr val="000000"/>
                </a:solidFill>
                <a:latin typeface="Maven Pro" panose="020B0604020202020204" charset="0"/>
              </a:rPr>
              <a:t> rank </a:t>
            </a:r>
            <a:r>
              <a:rPr lang="de-DE" sz="700" dirty="0" err="1">
                <a:solidFill>
                  <a:srgbClr val="000000"/>
                </a:solidFill>
                <a:latin typeface="Maven Pro" panose="020B0604020202020204" charset="0"/>
              </a:rPr>
              <a:t>rules</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C: The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nfidenc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of</a:t>
            </a:r>
            <a:r>
              <a:rPr lang="de-DE" sz="700" dirty="0">
                <a:solidFill>
                  <a:srgbClr val="000000"/>
                </a:solidFill>
                <a:latin typeface="Maven Pro" panose="020B0604020202020204" charset="0"/>
              </a:rPr>
              <a:t> a </a:t>
            </a:r>
            <a:r>
              <a:rPr lang="de-DE" sz="700" dirty="0" err="1">
                <a:solidFill>
                  <a:srgbClr val="000000"/>
                </a:solidFill>
                <a:latin typeface="Maven Pro" panose="020B0604020202020204" charset="0"/>
              </a:rPr>
              <a:t>rule</a:t>
            </a:r>
            <a:r>
              <a:rPr lang="de-DE" sz="700" dirty="0">
                <a:solidFill>
                  <a:srgbClr val="000000"/>
                </a:solidFill>
                <a:latin typeface="Maven Pro" panose="020B0604020202020204" charset="0"/>
              </a:rPr>
              <a:t> – Dieser Hyperparameter hat einen großen </a:t>
            </a:r>
          </a:p>
          <a:p>
            <a:r>
              <a:rPr lang="de-DE" sz="700" dirty="0">
                <a:solidFill>
                  <a:srgbClr val="000000"/>
                </a:solidFill>
                <a:latin typeface="Maven Pro" panose="020B0604020202020204" charset="0"/>
              </a:rPr>
              <a:t>     Einfluss auf die Anzahl der erstellten Regeln</a:t>
            </a:r>
          </a:p>
          <a:p>
            <a:r>
              <a:rPr lang="de-DE" sz="700" dirty="0">
                <a:solidFill>
                  <a:srgbClr val="000000"/>
                </a:solidFill>
                <a:latin typeface="Maven Pro" panose="020B0604020202020204" charset="0"/>
              </a:rPr>
              <a:t>D: Delta </a:t>
            </a:r>
            <a:r>
              <a:rPr lang="de-DE" sz="700" dirty="0" err="1">
                <a:solidFill>
                  <a:srgbClr val="000000"/>
                </a:solidFill>
                <a:latin typeface="Maven Pro" panose="020B0604020202020204" charset="0"/>
              </a:rPr>
              <a:t>b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whi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the</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 </a:t>
            </a:r>
            <a:r>
              <a:rPr lang="de-DE" sz="700" dirty="0" err="1">
                <a:solidFill>
                  <a:srgbClr val="000000"/>
                </a:solidFill>
                <a:latin typeface="Maven Pro" panose="020B0604020202020204" charset="0"/>
              </a:rPr>
              <a:t>i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decreased</a:t>
            </a:r>
            <a:r>
              <a:rPr lang="de-DE" sz="700" dirty="0">
                <a:solidFill>
                  <a:srgbClr val="000000"/>
                </a:solidFill>
                <a:latin typeface="Maven Pro" panose="020B0604020202020204" charset="0"/>
              </a:rPr>
              <a:t> in </a:t>
            </a:r>
            <a:r>
              <a:rPr lang="de-DE" sz="700" dirty="0" err="1">
                <a:solidFill>
                  <a:srgbClr val="000000"/>
                </a:solidFill>
                <a:latin typeface="Maven Pro" panose="020B0604020202020204" charset="0"/>
              </a:rPr>
              <a:t>each</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iteration</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U &amp; M: Upper and </a:t>
            </a:r>
            <a:r>
              <a:rPr lang="de-DE" sz="700" dirty="0" err="1">
                <a:solidFill>
                  <a:srgbClr val="000000"/>
                </a:solidFill>
                <a:latin typeface="Maven Pro" panose="020B0604020202020204" charset="0"/>
              </a:rPr>
              <a:t>lowe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bound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minimum</a:t>
            </a:r>
            <a:r>
              <a:rPr lang="de-DE" sz="700" dirty="0">
                <a:solidFill>
                  <a:srgbClr val="000000"/>
                </a:solidFill>
                <a:latin typeface="Maven Pro" panose="020B0604020202020204" charset="0"/>
              </a:rPr>
              <a:t> support</a:t>
            </a:r>
          </a:p>
          <a:p>
            <a:r>
              <a:rPr lang="de-DE" sz="700" dirty="0">
                <a:solidFill>
                  <a:srgbClr val="000000"/>
                </a:solidFill>
                <a:latin typeface="Maven Pro" panose="020B0604020202020204" charset="0"/>
              </a:rPr>
              <a:t>S: Rules </a:t>
            </a:r>
            <a:r>
              <a:rPr lang="de-DE" sz="700" dirty="0" err="1">
                <a:solidFill>
                  <a:srgbClr val="000000"/>
                </a:solidFill>
                <a:latin typeface="Maven Pro" panose="020B0604020202020204" charset="0"/>
              </a:rPr>
              <a:t>testing</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for</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significance</a:t>
            </a:r>
            <a:endParaRPr lang="de-DE" sz="700" dirty="0">
              <a:solidFill>
                <a:srgbClr val="000000"/>
              </a:solidFill>
              <a:latin typeface="Maven Pro" panose="020B0604020202020204" charset="0"/>
            </a:endParaRPr>
          </a:p>
          <a:p>
            <a:r>
              <a:rPr lang="de-DE" sz="700" dirty="0">
                <a:solidFill>
                  <a:srgbClr val="000000"/>
                </a:solidFill>
                <a:latin typeface="Maven Pro" panose="020B0604020202020204" charset="0"/>
              </a:rPr>
              <a:t>…</a:t>
            </a:r>
          </a:p>
          <a:p>
            <a:r>
              <a:rPr lang="de-DE" sz="700" dirty="0">
                <a:solidFill>
                  <a:srgbClr val="000000"/>
                </a:solidFill>
                <a:latin typeface="Maven Pro" panose="020B0604020202020204" charset="0"/>
              </a:rPr>
              <a:t>Input </a:t>
            </a:r>
            <a:r>
              <a:rPr lang="de-DE" sz="700" dirty="0" err="1">
                <a:solidFill>
                  <a:srgbClr val="000000"/>
                </a:solidFill>
                <a:latin typeface="Maven Pro" panose="020B0604020202020204" charset="0"/>
              </a:rPr>
              <a:t>format</a:t>
            </a:r>
            <a:r>
              <a:rPr lang="de-DE" sz="700" dirty="0">
                <a:solidFill>
                  <a:srgbClr val="000000"/>
                </a:solidFill>
                <a:latin typeface="Maven Pro" panose="020B0604020202020204" charset="0"/>
              </a:rPr>
              <a:t>: „Items in </a:t>
            </a:r>
            <a:r>
              <a:rPr lang="de-DE" sz="700" dirty="0" err="1">
                <a:solidFill>
                  <a:srgbClr val="000000"/>
                </a:solidFill>
                <a:latin typeface="Maven Pro" panose="020B0604020202020204" charset="0"/>
              </a:rPr>
              <a:t>dummy</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ded</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columns</a:t>
            </a:r>
            <a:r>
              <a:rPr lang="de-DE" sz="700" dirty="0">
                <a:solidFill>
                  <a:srgbClr val="000000"/>
                </a:solidFill>
                <a:latin typeface="Maven Pro" panose="020B0604020202020204" charset="0"/>
              </a:rPr>
              <a:t>“ </a:t>
            </a:r>
            <a:r>
              <a:rPr lang="de-DE" sz="700" dirty="0" err="1">
                <a:solidFill>
                  <a:srgbClr val="000000"/>
                </a:solidFill>
                <a:latin typeface="Maven Pro" panose="020B0604020202020204" charset="0"/>
              </a:rPr>
              <a:t>required</a:t>
            </a:r>
            <a:r>
              <a:rPr lang="de-DE" sz="700" dirty="0">
                <a:solidFill>
                  <a:srgbClr val="000000"/>
                </a:solidFill>
                <a:latin typeface="Maven Pro" panose="020B0604020202020204" charset="0"/>
              </a:rPr>
              <a:t>, weil unser Pivot Operator jedes Item in einer separaten Spalte mit </a:t>
            </a:r>
            <a:r>
              <a:rPr lang="de-DE" sz="700" dirty="0" err="1">
                <a:solidFill>
                  <a:srgbClr val="000000"/>
                </a:solidFill>
                <a:latin typeface="Maven Pro" panose="020B0604020202020204" charset="0"/>
              </a:rPr>
              <a:t>binominalen</a:t>
            </a:r>
            <a:r>
              <a:rPr lang="de-DE" sz="700" dirty="0">
                <a:solidFill>
                  <a:srgbClr val="000000"/>
                </a:solidFill>
                <a:latin typeface="Maven Pro" panose="020B0604020202020204" charset="0"/>
              </a:rPr>
              <a:t> Fällen </a:t>
            </a:r>
            <a:r>
              <a:rPr lang="de-DE" sz="700" dirty="0" err="1">
                <a:solidFill>
                  <a:srgbClr val="000000"/>
                </a:solidFill>
                <a:latin typeface="Maven Pro" panose="020B0604020202020204" charset="0"/>
              </a:rPr>
              <a:t>true</a:t>
            </a:r>
            <a:r>
              <a:rPr lang="de-DE" sz="700" dirty="0">
                <a:solidFill>
                  <a:srgbClr val="000000"/>
                </a:solidFill>
                <a:latin typeface="Maven Pro" panose="020B0604020202020204" charset="0"/>
              </a:rPr>
              <a:t> oder </a:t>
            </a:r>
            <a:r>
              <a:rPr lang="de-DE" sz="700" dirty="0" err="1">
                <a:solidFill>
                  <a:srgbClr val="000000"/>
                </a:solidFill>
                <a:latin typeface="Maven Pro" panose="020B0604020202020204" charset="0"/>
              </a:rPr>
              <a:t>false</a:t>
            </a:r>
            <a:r>
              <a:rPr lang="de-DE" sz="700" dirty="0">
                <a:solidFill>
                  <a:srgbClr val="000000"/>
                </a:solidFill>
                <a:latin typeface="Maven Pro" panose="020B0604020202020204" charset="0"/>
              </a:rPr>
              <a:t> geändert hat</a:t>
            </a:r>
          </a:p>
        </p:txBody>
      </p:sp>
      <p:pic>
        <p:nvPicPr>
          <p:cNvPr id="15" name="Grafik 14">
            <a:extLst>
              <a:ext uri="{FF2B5EF4-FFF2-40B4-BE49-F238E27FC236}">
                <a16:creationId xmlns:a16="http://schemas.microsoft.com/office/drawing/2014/main" id="{92895DD7-F4F8-49D2-CA13-F67C771FD35B}"/>
              </a:ext>
            </a:extLst>
          </p:cNvPr>
          <p:cNvPicPr>
            <a:picLocks noChangeAspect="1"/>
          </p:cNvPicPr>
          <p:nvPr/>
        </p:nvPicPr>
        <p:blipFill rotWithShape="1">
          <a:blip r:embed="rId4"/>
          <a:srcRect l="-1" r="1563"/>
          <a:stretch/>
        </p:blipFill>
        <p:spPr>
          <a:xfrm>
            <a:off x="3182231" y="1172392"/>
            <a:ext cx="820955" cy="2290281"/>
          </a:xfrm>
          <a:prstGeom prst="rect">
            <a:avLst/>
          </a:prstGeom>
          <a:ln>
            <a:solidFill>
              <a:srgbClr val="000000"/>
            </a:solidFill>
          </a:ln>
        </p:spPr>
      </p:pic>
      <p:pic>
        <p:nvPicPr>
          <p:cNvPr id="17" name="Grafik 16">
            <a:extLst>
              <a:ext uri="{FF2B5EF4-FFF2-40B4-BE49-F238E27FC236}">
                <a16:creationId xmlns:a16="http://schemas.microsoft.com/office/drawing/2014/main" id="{4DDC1A35-D9F0-971E-983A-51F94BBBC166}"/>
              </a:ext>
            </a:extLst>
          </p:cNvPr>
          <p:cNvPicPr>
            <a:picLocks noChangeAspect="1"/>
          </p:cNvPicPr>
          <p:nvPr/>
        </p:nvPicPr>
        <p:blipFill rotWithShape="1">
          <a:blip r:embed="rId5"/>
          <a:srcRect/>
          <a:stretch/>
        </p:blipFill>
        <p:spPr>
          <a:xfrm>
            <a:off x="4077349" y="1172390"/>
            <a:ext cx="901566" cy="2289556"/>
          </a:xfrm>
          <a:prstGeom prst="rect">
            <a:avLst/>
          </a:prstGeom>
          <a:ln>
            <a:solidFill>
              <a:srgbClr val="000000"/>
            </a:solidFill>
          </a:ln>
        </p:spPr>
      </p:pic>
      <p:sp>
        <p:nvSpPr>
          <p:cNvPr id="18" name="Pfeil: eingekerbt nach rechts 17">
            <a:extLst>
              <a:ext uri="{FF2B5EF4-FFF2-40B4-BE49-F238E27FC236}">
                <a16:creationId xmlns:a16="http://schemas.microsoft.com/office/drawing/2014/main" id="{A41A4475-F26D-A084-B8AF-9C82B2285371}"/>
              </a:ext>
            </a:extLst>
          </p:cNvPr>
          <p:cNvSpPr/>
          <p:nvPr/>
        </p:nvSpPr>
        <p:spPr>
          <a:xfrm>
            <a:off x="1868460" y="2507204"/>
            <a:ext cx="2251103"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a:off x="1870381" y="1837674"/>
            <a:ext cx="1278830"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218ECCC9-7C32-DE92-6C4B-E575D9E3E9B7}"/>
              </a:ext>
            </a:extLst>
          </p:cNvPr>
          <p:cNvPicPr>
            <a:picLocks noChangeAspect="1"/>
          </p:cNvPicPr>
          <p:nvPr/>
        </p:nvPicPr>
        <p:blipFill rotWithShape="1">
          <a:blip r:embed="rId6"/>
          <a:srcRect l="-1" r="1625"/>
          <a:stretch/>
        </p:blipFill>
        <p:spPr>
          <a:xfrm>
            <a:off x="5039355" y="1172390"/>
            <a:ext cx="835752" cy="2289556"/>
          </a:xfrm>
          <a:prstGeom prst="rect">
            <a:avLst/>
          </a:prstGeom>
          <a:ln>
            <a:solidFill>
              <a:srgbClr val="000000"/>
            </a:solidFill>
          </a:ln>
        </p:spPr>
      </p:pic>
      <p:pic>
        <p:nvPicPr>
          <p:cNvPr id="23" name="Grafik 22">
            <a:extLst>
              <a:ext uri="{FF2B5EF4-FFF2-40B4-BE49-F238E27FC236}">
                <a16:creationId xmlns:a16="http://schemas.microsoft.com/office/drawing/2014/main" id="{EA9A42FC-0EBA-ED8A-FFD3-1B6D3BE498FD}"/>
              </a:ext>
            </a:extLst>
          </p:cNvPr>
          <p:cNvPicPr>
            <a:picLocks noChangeAspect="1"/>
          </p:cNvPicPr>
          <p:nvPr/>
        </p:nvPicPr>
        <p:blipFill>
          <a:blip r:embed="rId7"/>
          <a:stretch>
            <a:fillRect/>
          </a:stretch>
        </p:blipFill>
        <p:spPr>
          <a:xfrm>
            <a:off x="5915698" y="1172388"/>
            <a:ext cx="2010827" cy="2289556"/>
          </a:xfrm>
          <a:prstGeom prst="rect">
            <a:avLst/>
          </a:prstGeom>
          <a:ln>
            <a:solidFill>
              <a:srgbClr val="000000"/>
            </a:solidFill>
          </a:ln>
        </p:spPr>
      </p:pic>
      <p:pic>
        <p:nvPicPr>
          <p:cNvPr id="25" name="Grafik 24">
            <a:extLst>
              <a:ext uri="{FF2B5EF4-FFF2-40B4-BE49-F238E27FC236}">
                <a16:creationId xmlns:a16="http://schemas.microsoft.com/office/drawing/2014/main" id="{E2664C94-388C-E72E-7D90-304118075BEB}"/>
              </a:ext>
            </a:extLst>
          </p:cNvPr>
          <p:cNvPicPr>
            <a:picLocks noChangeAspect="1"/>
          </p:cNvPicPr>
          <p:nvPr/>
        </p:nvPicPr>
        <p:blipFill>
          <a:blip r:embed="rId8"/>
          <a:stretch>
            <a:fillRect/>
          </a:stretch>
        </p:blipFill>
        <p:spPr>
          <a:xfrm>
            <a:off x="6815411" y="3516922"/>
            <a:ext cx="1111114" cy="985989"/>
          </a:xfrm>
          <a:prstGeom prst="rect">
            <a:avLst/>
          </a:prstGeom>
          <a:ln>
            <a:solidFill>
              <a:srgbClr val="000000"/>
            </a:solidFill>
          </a:ln>
        </p:spPr>
      </p:pic>
      <p:sp>
        <p:nvSpPr>
          <p:cNvPr id="26" name="Pfeil: eingekerbt nach rechts 25">
            <a:extLst>
              <a:ext uri="{FF2B5EF4-FFF2-40B4-BE49-F238E27FC236}">
                <a16:creationId xmlns:a16="http://schemas.microsoft.com/office/drawing/2014/main" id="{23F8EE0E-45BC-1ED0-CC27-AA052BDB5A8B}"/>
              </a:ext>
            </a:extLst>
          </p:cNvPr>
          <p:cNvSpPr/>
          <p:nvPr/>
        </p:nvSpPr>
        <p:spPr>
          <a:xfrm>
            <a:off x="1826246" y="3227468"/>
            <a:ext cx="3279154"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 name="Gruppieren 28">
            <a:extLst>
              <a:ext uri="{FF2B5EF4-FFF2-40B4-BE49-F238E27FC236}">
                <a16:creationId xmlns:a16="http://schemas.microsoft.com/office/drawing/2014/main" id="{330AE04D-B1C2-5FA9-944D-5BCA00EA84E8}"/>
              </a:ext>
            </a:extLst>
          </p:cNvPr>
          <p:cNvGrpSpPr/>
          <p:nvPr/>
        </p:nvGrpSpPr>
        <p:grpSpPr>
          <a:xfrm>
            <a:off x="2437771" y="3388865"/>
            <a:ext cx="4344619" cy="433213"/>
            <a:chOff x="2437771" y="3388865"/>
            <a:chExt cx="4344619" cy="433213"/>
          </a:xfrm>
        </p:grpSpPr>
        <p:sp>
          <p:nvSpPr>
            <p:cNvPr id="27" name="Pfeil: eingekerbt nach rechts 26">
              <a:extLst>
                <a:ext uri="{FF2B5EF4-FFF2-40B4-BE49-F238E27FC236}">
                  <a16:creationId xmlns:a16="http://schemas.microsoft.com/office/drawing/2014/main" id="{5F674A43-633E-E9AF-8263-2B7C63066E3A}"/>
                </a:ext>
              </a:extLst>
            </p:cNvPr>
            <p:cNvSpPr/>
            <p:nvPr/>
          </p:nvSpPr>
          <p:spPr>
            <a:xfrm>
              <a:off x="2437771" y="3672118"/>
              <a:ext cx="4344619"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Pfeil: eingekerbt nach rechts 27">
              <a:extLst>
                <a:ext uri="{FF2B5EF4-FFF2-40B4-BE49-F238E27FC236}">
                  <a16:creationId xmlns:a16="http://schemas.microsoft.com/office/drawing/2014/main" id="{C2CA6D77-672F-EB79-45BF-0EBB4479D4C8}"/>
                </a:ext>
              </a:extLst>
            </p:cNvPr>
            <p:cNvSpPr/>
            <p:nvPr/>
          </p:nvSpPr>
          <p:spPr>
            <a:xfrm rot="16200000">
              <a:off x="5819009" y="3505403"/>
              <a:ext cx="383035"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Sprechblase: oval 29">
            <a:extLst>
              <a:ext uri="{FF2B5EF4-FFF2-40B4-BE49-F238E27FC236}">
                <a16:creationId xmlns:a16="http://schemas.microsoft.com/office/drawing/2014/main" id="{8901085D-D066-FC69-E06B-8141B2D733DB}"/>
              </a:ext>
            </a:extLst>
          </p:cNvPr>
          <p:cNvSpPr/>
          <p:nvPr/>
        </p:nvSpPr>
        <p:spPr>
          <a:xfrm>
            <a:off x="485335" y="4165331"/>
            <a:ext cx="2696897" cy="754022"/>
          </a:xfrm>
          <a:prstGeom prst="wedgeEllipseCallout">
            <a:avLst>
              <a:gd name="adj1" fmla="val 50363"/>
              <a:gd name="adj2" fmla="val -79090"/>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dirty="0">
                <a:solidFill>
                  <a:schemeClr val="bg1"/>
                </a:solidFill>
                <a:latin typeface="Maven Pro" panose="020B0604020202020204" charset="0"/>
              </a:rPr>
              <a:t>Für unseren speziellen Datensatz mussten wir jeden einzelnen Hyperparameter von den Standardwerten auf verschiedene Werte ändern und abstimmen, bis wir die gewünschten Regelergebnisse erzielten</a:t>
            </a:r>
          </a:p>
        </p:txBody>
      </p:sp>
    </p:spTree>
    <p:extLst>
      <p:ext uri="{BB962C8B-B14F-4D97-AF65-F5344CB8AC3E}">
        <p14:creationId xmlns:p14="http://schemas.microsoft.com/office/powerpoint/2010/main" val="9144950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700" b="1" dirty="0" err="1">
                <a:solidFill>
                  <a:srgbClr val="000000"/>
                </a:solidFill>
                <a:latin typeface="Maven Pro" panose="020B0604020202020204" charset="0"/>
              </a:rPr>
              <a:t>Apriori</a:t>
            </a:r>
            <a:r>
              <a:rPr lang="en-US" sz="700" b="1" dirty="0">
                <a:solidFill>
                  <a:srgbClr val="000000"/>
                </a:solidFill>
                <a:latin typeface="Maven Pro" panose="020B0604020202020204" charset="0"/>
              </a:rPr>
              <a:t>:</a:t>
            </a:r>
          </a:p>
          <a:p>
            <a:r>
              <a:rPr lang="en-US" sz="700" dirty="0">
                <a:solidFill>
                  <a:srgbClr val="000000"/>
                </a:solidFill>
                <a:latin typeface="Maven Pro" panose="020B0604020202020204" charset="0"/>
              </a:rPr>
              <a:t>Minimum support: 0.02 (189 instances) Minimum metric &lt;lift&gt;: 0.01 </a:t>
            </a:r>
          </a:p>
          <a:p>
            <a:r>
              <a:rPr lang="en-US" sz="700" dirty="0">
                <a:solidFill>
                  <a:srgbClr val="000000"/>
                </a:solidFill>
                <a:latin typeface="Maven Pro" panose="020B0604020202020204" charset="0"/>
              </a:rPr>
              <a:t>Number of cycles performed: 20 Generated sets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1): 19</a:t>
            </a:r>
          </a:p>
          <a:p>
            <a:pPr marL="171450" indent="-171450">
              <a:buFont typeface="Arial" panose="020B0604020202020204" pitchFamily="34" charset="0"/>
              <a:buChar char="•"/>
            </a:pPr>
            <a:r>
              <a:rPr lang="en-US" sz="700" dirty="0">
                <a:solidFill>
                  <a:srgbClr val="000000"/>
                </a:solidFill>
                <a:latin typeface="Maven Pro" panose="020B0604020202020204" charset="0"/>
              </a:rPr>
              <a:t>Size of set of large </a:t>
            </a:r>
            <a:r>
              <a:rPr lang="en-US" sz="700" dirty="0" err="1">
                <a:solidFill>
                  <a:srgbClr val="000000"/>
                </a:solidFill>
                <a:latin typeface="Maven Pro" panose="020B0604020202020204" charset="0"/>
              </a:rPr>
              <a:t>itemsets</a:t>
            </a:r>
            <a:r>
              <a:rPr lang="en-US" sz="700" dirty="0">
                <a:solidFill>
                  <a:srgbClr val="000000"/>
                </a:solidFill>
                <a:latin typeface="Maven Pro" panose="020B0604020202020204" charset="0"/>
              </a:rPr>
              <a:t> L(2): 14 </a:t>
            </a:r>
          </a:p>
          <a:p>
            <a:r>
              <a:rPr lang="en-US" sz="700" dirty="0">
                <a:solidFill>
                  <a:srgbClr val="000000"/>
                </a:solidFill>
                <a:latin typeface="Maven Pro" panose="020B0604020202020204" charset="0"/>
              </a:rPr>
              <a:t>Best rules found:</a:t>
            </a:r>
          </a:p>
          <a:p>
            <a:pPr marL="228600" indent="-228600">
              <a:buAutoNum type="arabicPeriod"/>
            </a:pP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983 ==&gt; </a:t>
            </a: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23)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11) </a:t>
            </a:r>
          </a:p>
          <a:p>
            <a:pPr marL="228600" indent="-228600">
              <a:buAutoNum type="arabicPeriod"/>
            </a:pPr>
            <a:r>
              <a:rPr lang="de-DE" altLang="de-DE" sz="700" b="1" dirty="0">
                <a:solidFill>
                  <a:srgbClr val="000000"/>
                </a:solidFill>
                <a:latin typeface="Maven Pro" panose="020B0604020202020204" charset="0"/>
              </a:rPr>
              <a:t>Tea=</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1350 ==&gt; </a:t>
            </a:r>
            <a:r>
              <a:rPr lang="de-DE" altLang="de-DE" sz="700" b="1" dirty="0">
                <a:solidFill>
                  <a:srgbClr val="000000"/>
                </a:solidFill>
                <a:latin typeface="Maven Pro" panose="020B0604020202020204" charset="0"/>
              </a:rPr>
              <a:t>Cak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5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17)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6)&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84]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7) </a:t>
            </a:r>
          </a:p>
          <a:p>
            <a:pPr marL="228600" indent="-228600">
              <a:buAutoNum type="arabicPeriod"/>
            </a:pPr>
            <a:r>
              <a:rPr lang="de-DE" altLang="de-DE" sz="700" b="1" dirty="0">
                <a:solidFill>
                  <a:srgbClr val="000000"/>
                </a:solidFill>
                <a:latin typeface="Maven Pro" panose="020B0604020202020204" charset="0"/>
              </a:rPr>
              <a:t>Coffee=</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4528 ==&gt; </a:t>
            </a:r>
            <a:r>
              <a:rPr lang="de-DE" altLang="de-DE" sz="700" b="1" dirty="0">
                <a:solidFill>
                  <a:srgbClr val="000000"/>
                </a:solidFill>
                <a:latin typeface="Maven Pro" panose="020B0604020202020204" charset="0"/>
              </a:rPr>
              <a:t>Toast=</a:t>
            </a:r>
            <a:r>
              <a:rPr lang="de-DE" altLang="de-DE" sz="700" b="1" dirty="0" err="1">
                <a:solidFill>
                  <a:srgbClr val="000000"/>
                </a:solidFill>
                <a:latin typeface="Maven Pro" panose="020B0604020202020204" charset="0"/>
              </a:rPr>
              <a:t>true</a:t>
            </a:r>
            <a:r>
              <a:rPr lang="de-DE" altLang="de-DE" sz="700" b="1" dirty="0">
                <a:solidFill>
                  <a:srgbClr val="000000"/>
                </a:solidFill>
                <a:latin typeface="Maven Pro" panose="020B0604020202020204" charset="0"/>
              </a:rPr>
              <a:t> </a:t>
            </a:r>
            <a:r>
              <a:rPr lang="de-DE" altLang="de-DE" sz="700" dirty="0">
                <a:solidFill>
                  <a:srgbClr val="000000"/>
                </a:solidFill>
                <a:latin typeface="Maven Pro" panose="020B0604020202020204" charset="0"/>
              </a:rPr>
              <a:t>224 </a:t>
            </a:r>
            <a:r>
              <a:rPr lang="de-DE" altLang="de-DE" sz="700" dirty="0" err="1">
                <a:solidFill>
                  <a:srgbClr val="000000"/>
                </a:solidFill>
                <a:latin typeface="Maven Pro" panose="020B0604020202020204" charset="0"/>
              </a:rPr>
              <a:t>conf</a:t>
            </a:r>
            <a:r>
              <a:rPr lang="de-DE" altLang="de-DE" sz="700" dirty="0">
                <a:solidFill>
                  <a:srgbClr val="000000"/>
                </a:solidFill>
                <a:latin typeface="Maven Pro" panose="020B0604020202020204" charset="0"/>
              </a:rPr>
              <a:t>:(0.05) &lt; </a:t>
            </a:r>
            <a:r>
              <a:rPr lang="de-DE" altLang="de-DE" sz="700" dirty="0" err="1">
                <a:solidFill>
                  <a:srgbClr val="000000"/>
                </a:solidFill>
                <a:latin typeface="Maven Pro" panose="020B0604020202020204" charset="0"/>
              </a:rPr>
              <a:t>lift</a:t>
            </a:r>
            <a:r>
              <a:rPr lang="de-DE" altLang="de-DE" sz="700" dirty="0">
                <a:solidFill>
                  <a:srgbClr val="000000"/>
                </a:solidFill>
                <a:latin typeface="Maven Pro" panose="020B0604020202020204" charset="0"/>
              </a:rPr>
              <a:t>:(1.47)&gt; </a:t>
            </a:r>
            <a:r>
              <a:rPr lang="de-DE" altLang="de-DE" sz="700" dirty="0" err="1">
                <a:solidFill>
                  <a:srgbClr val="000000"/>
                </a:solidFill>
                <a:latin typeface="Maven Pro" panose="020B0604020202020204" charset="0"/>
              </a:rPr>
              <a:t>lev</a:t>
            </a:r>
            <a:r>
              <a:rPr lang="de-DE" altLang="de-DE" sz="700" dirty="0">
                <a:solidFill>
                  <a:srgbClr val="000000"/>
                </a:solidFill>
                <a:latin typeface="Maven Pro" panose="020B0604020202020204" charset="0"/>
              </a:rPr>
              <a:t>:(0.01) [71] </a:t>
            </a:r>
            <a:r>
              <a:rPr lang="de-DE" altLang="de-DE" sz="700" dirty="0" err="1">
                <a:solidFill>
                  <a:srgbClr val="000000"/>
                </a:solidFill>
                <a:latin typeface="Maven Pro" panose="020B0604020202020204" charset="0"/>
              </a:rPr>
              <a:t>conv</a:t>
            </a:r>
            <a:r>
              <a:rPr lang="de-DE" altLang="de-DE" sz="700" dirty="0">
                <a:solidFill>
                  <a:srgbClr val="000000"/>
                </a:solidFill>
                <a:latin typeface="Maven Pro" panose="020B0604020202020204" charset="0"/>
              </a:rPr>
              <a:t>:(1.02)</a:t>
            </a:r>
          </a:p>
          <a:p>
            <a:r>
              <a:rPr lang="de-DE" altLang="de-DE" sz="700" dirty="0">
                <a:solidFill>
                  <a:srgbClr val="000000"/>
                </a:solidFill>
                <a:latin typeface="Maven Pro" panose="020B0604020202020204" charset="0"/>
              </a:rPr>
              <a:t>…</a:t>
            </a:r>
          </a:p>
          <a:p>
            <a:pPr marL="228600" indent="-228600">
              <a:buAutoNum type="arabicPeriod" startAt="28"/>
            </a:pPr>
            <a:r>
              <a:rPr lang="en-US" altLang="de-DE" sz="700" dirty="0">
                <a:solidFill>
                  <a:srgbClr val="000000"/>
                </a:solidFill>
                <a:latin typeface="Maven Pro" panose="020B0604020202020204" charset="0"/>
              </a:rPr>
              <a:t>Coffee=true 4528 ==&gt; Bread=true 852 conf:(0.19) &lt; lift:(0.58)&gt; lev:(-0.07) [-629] conv:(0.83)</a:t>
            </a: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pPr marL="228600" indent="-228600">
              <a:buAutoNum type="arabicPeriod" startAt="28"/>
            </a:pPr>
            <a:endParaRPr lang="en-US" altLang="de-DE" sz="700" dirty="0">
              <a:solidFill>
                <a:srgbClr val="000000"/>
              </a:solidFill>
              <a:latin typeface="Maven Pro" panose="020B0604020202020204" charset="0"/>
            </a:endParaRPr>
          </a:p>
          <a:p>
            <a:r>
              <a:rPr lang="en-US" altLang="de-DE" sz="700" b="1" dirty="0" err="1">
                <a:solidFill>
                  <a:srgbClr val="000000"/>
                </a:solidFill>
                <a:latin typeface="Maven Pro" panose="020B0604020202020204" charset="0"/>
              </a:rPr>
              <a:t>PredictiveApriori</a:t>
            </a:r>
            <a:r>
              <a:rPr lang="en-US" altLang="de-DE" sz="700" b="1"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Best rules found: </a:t>
            </a:r>
          </a:p>
          <a:p>
            <a:pPr marL="228600" indent="-228600">
              <a:buAutoNum type="arabicPeriod"/>
            </a:pPr>
            <a:r>
              <a:rPr lang="en-US" altLang="de-DE" sz="700" b="1" dirty="0">
                <a:solidFill>
                  <a:srgbClr val="000000"/>
                </a:solidFill>
                <a:latin typeface="Maven Pro" panose="020B0604020202020204" charset="0"/>
              </a:rPr>
              <a:t>Cake=true </a:t>
            </a:r>
            <a:r>
              <a:rPr lang="en-US" altLang="de-DE" sz="700" b="1" dirty="0">
                <a:solidFill>
                  <a:srgbClr val="00CFCC"/>
                </a:solidFill>
                <a:latin typeface="Maven Pro" panose="020B0604020202020204" charset="0"/>
              </a:rPr>
              <a:t>Hearty &amp; Seasonal=true </a:t>
            </a:r>
            <a:r>
              <a:rPr lang="en-US" altLang="de-DE" sz="700" dirty="0">
                <a:solidFill>
                  <a:srgbClr val="000000"/>
                </a:solidFill>
                <a:latin typeface="Maven Pro" panose="020B0604020202020204" charset="0"/>
              </a:rPr>
              <a:t>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7 acc:(0.88883) </a:t>
            </a:r>
          </a:p>
          <a:p>
            <a:pPr marL="228600" indent="-228600">
              <a:buAutoNum type="arabicPeriod"/>
            </a:pPr>
            <a:r>
              <a:rPr lang="en-US" altLang="de-DE" sz="700" b="1" dirty="0">
                <a:solidFill>
                  <a:srgbClr val="000000"/>
                </a:solidFill>
                <a:latin typeface="Maven Pro" panose="020B0604020202020204" charset="0"/>
              </a:rPr>
              <a:t>Extra Salami or Feta=true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pPr marL="228600" indent="-228600">
              <a:buAutoNum type="arabicPeriod"/>
            </a:pPr>
            <a:r>
              <a:rPr lang="en-US" altLang="de-DE" sz="700" b="1" dirty="0">
                <a:solidFill>
                  <a:srgbClr val="000000"/>
                </a:solidFill>
                <a:latin typeface="Maven Pro" panose="020B0604020202020204" charset="0"/>
              </a:rPr>
              <a:t>Farm House=true</a:t>
            </a:r>
            <a:r>
              <a:rPr lang="en-US" altLang="de-DE" sz="700" dirty="0">
                <a:solidFill>
                  <a:srgbClr val="000000"/>
                </a:solidFill>
                <a:latin typeface="Maven Pro" panose="020B0604020202020204" charset="0"/>
              </a:rPr>
              <a:t> </a:t>
            </a:r>
            <a:r>
              <a:rPr lang="en-US" altLang="de-DE" sz="700" dirty="0">
                <a:solidFill>
                  <a:srgbClr val="00CFCC"/>
                </a:solidFill>
                <a:latin typeface="Maven Pro" panose="020B0604020202020204" charset="0"/>
              </a:rPr>
              <a:t>Toast=true </a:t>
            </a:r>
            <a:r>
              <a:rPr lang="en-US" altLang="de-DE" sz="700" dirty="0">
                <a:solidFill>
                  <a:srgbClr val="000000"/>
                </a:solidFill>
                <a:latin typeface="Maven Pro" panose="020B0604020202020204" charset="0"/>
              </a:rPr>
              <a:t>6</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6 acc:(0.87495)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50. </a:t>
            </a:r>
            <a:r>
              <a:rPr lang="en-US" altLang="de-DE" sz="700" b="1" dirty="0">
                <a:solidFill>
                  <a:srgbClr val="000000"/>
                </a:solidFill>
                <a:latin typeface="Maven Pro" panose="020B0604020202020204" charset="0"/>
              </a:rPr>
              <a:t>Bakewell=true</a:t>
            </a:r>
            <a:r>
              <a:rPr lang="en-US" altLang="de-DE" sz="700" b="1" dirty="0">
                <a:solidFill>
                  <a:srgbClr val="00CFCC"/>
                </a:solidFill>
                <a:latin typeface="Maven Pro" panose="020B0604020202020204" charset="0"/>
              </a:rPr>
              <a:t> </a:t>
            </a:r>
            <a:r>
              <a:rPr lang="en-US" altLang="de-DE" sz="700" dirty="0">
                <a:solidFill>
                  <a:srgbClr val="00CFCC"/>
                </a:solidFill>
                <a:latin typeface="Maven Pro" panose="020B0604020202020204" charset="0"/>
              </a:rPr>
              <a:t>Juice=true </a:t>
            </a:r>
            <a:r>
              <a:rPr lang="en-US" altLang="de-DE" sz="700" dirty="0">
                <a:solidFill>
                  <a:srgbClr val="000000"/>
                </a:solidFill>
                <a:latin typeface="Maven Pro" panose="020B0604020202020204" charset="0"/>
              </a:rPr>
              <a:t>5</a:t>
            </a:r>
            <a:r>
              <a:rPr lang="en-US" altLang="de-DE" sz="700" dirty="0">
                <a:solidFill>
                  <a:srgbClr val="00CFCC"/>
                </a:solidFill>
                <a:latin typeface="Maven Pro" panose="020B0604020202020204" charset="0"/>
              </a:rPr>
              <a:t> </a:t>
            </a:r>
            <a:r>
              <a:rPr lang="en-US" altLang="de-DE" sz="700" dirty="0">
                <a:solidFill>
                  <a:srgbClr val="000000"/>
                </a:solidFill>
                <a:latin typeface="Maven Pro" panose="020B0604020202020204" charset="0"/>
              </a:rPr>
              <a:t>==&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4 acc:(0.71432) </a:t>
            </a: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endParaRPr lang="en-US" altLang="de-DE" sz="700" dirty="0">
              <a:solidFill>
                <a:srgbClr val="000000"/>
              </a:solidFill>
              <a:latin typeface="Maven Pro" panose="020B0604020202020204" charset="0"/>
            </a:endParaRPr>
          </a:p>
          <a:p>
            <a:r>
              <a:rPr lang="en-US" altLang="de-DE" sz="700" b="1" dirty="0">
                <a:solidFill>
                  <a:srgbClr val="000000"/>
                </a:solidFill>
                <a:latin typeface="Maven Pro" panose="020B0604020202020204" charset="0"/>
              </a:rPr>
              <a:t>Weka-</a:t>
            </a:r>
            <a:r>
              <a:rPr lang="en-US" altLang="de-DE" sz="700" b="1" dirty="0" err="1">
                <a:solidFill>
                  <a:srgbClr val="000000"/>
                </a:solidFill>
                <a:latin typeface="Maven Pro" panose="020B0604020202020204" charset="0"/>
              </a:rPr>
              <a:t>FPGrowth</a:t>
            </a:r>
            <a:r>
              <a:rPr lang="en-US" altLang="de-DE" sz="700" dirty="0">
                <a:solidFill>
                  <a:srgbClr val="000000"/>
                </a:solidFill>
                <a:latin typeface="Maven Pro" panose="020B0604020202020204" charset="0"/>
              </a:rPr>
              <a:t>:</a:t>
            </a:r>
          </a:p>
          <a:p>
            <a:pPr marL="228600" indent="-228600">
              <a:buAutoNum type="arabicPeriod"/>
            </a:pPr>
            <a:r>
              <a:rPr lang="en-US" altLang="de-DE" sz="700" b="1" dirty="0">
                <a:solidFill>
                  <a:srgbClr val="000000"/>
                </a:solidFill>
                <a:latin typeface="Maven Pro" panose="020B0604020202020204" charset="0"/>
              </a:rPr>
              <a:t>[Tea=true]: </a:t>
            </a:r>
            <a:r>
              <a:rPr lang="en-US" altLang="de-DE" sz="700" dirty="0">
                <a:solidFill>
                  <a:srgbClr val="000000"/>
                </a:solidFill>
                <a:latin typeface="Maven Pro" panose="020B0604020202020204" charset="0"/>
              </a:rPr>
              <a:t>1350 ==&gt; </a:t>
            </a:r>
            <a:r>
              <a:rPr lang="en-US" altLang="de-DE" sz="700" b="1" dirty="0">
                <a:solidFill>
                  <a:srgbClr val="000000"/>
                </a:solidFill>
                <a:latin typeface="Maven Pro" panose="020B0604020202020204" charset="0"/>
              </a:rPr>
              <a:t>[Cake=true]:</a:t>
            </a:r>
            <a:r>
              <a:rPr lang="en-US" altLang="de-DE" sz="700" dirty="0">
                <a:solidFill>
                  <a:srgbClr val="000000"/>
                </a:solidFill>
                <a:latin typeface="Maven Pro" panose="020B0604020202020204" charset="0"/>
              </a:rPr>
              <a:t> 225 conf:(0.17) &lt;lift:(1.6)&gt; lev:(0.01) conv:(1.07) </a:t>
            </a:r>
          </a:p>
          <a:p>
            <a:pPr marL="228600" indent="-228600">
              <a:buAutoNum type="arabicPeriod"/>
            </a:pPr>
            <a:r>
              <a:rPr lang="en-US" altLang="de-DE" sz="700" b="1" dirty="0">
                <a:solidFill>
                  <a:srgbClr val="000000"/>
                </a:solidFill>
                <a:latin typeface="Maven Pro" panose="020B0604020202020204" charset="0"/>
              </a:rPr>
              <a:t>[Cake=true]: </a:t>
            </a:r>
            <a:r>
              <a:rPr lang="en-US" altLang="de-DE" sz="700" dirty="0">
                <a:solidFill>
                  <a:srgbClr val="000000"/>
                </a:solidFill>
                <a:latin typeface="Maven Pro" panose="020B0604020202020204" charset="0"/>
              </a:rPr>
              <a:t>983 ==&gt; </a:t>
            </a:r>
            <a:r>
              <a:rPr lang="en-US" altLang="de-DE" sz="700" b="1" dirty="0">
                <a:solidFill>
                  <a:srgbClr val="000000"/>
                </a:solidFill>
                <a:latin typeface="Maven Pro" panose="020B0604020202020204" charset="0"/>
              </a:rPr>
              <a:t>[Tea=true]:</a:t>
            </a:r>
            <a:r>
              <a:rPr lang="en-US" altLang="de-DE" sz="700" dirty="0">
                <a:solidFill>
                  <a:srgbClr val="000000"/>
                </a:solidFill>
                <a:latin typeface="Maven Pro" panose="020B0604020202020204" charset="0"/>
              </a:rPr>
              <a:t> 225 conf:(0.23) &lt;lift:(1.6)&gt; lev:(0.01) conv:(1.11) </a:t>
            </a:r>
          </a:p>
          <a:p>
            <a:pPr marL="228600" indent="-228600">
              <a:buAutoNum type="arabicPeriod"/>
            </a:pPr>
            <a:r>
              <a:rPr lang="en-US" altLang="de-DE" sz="700" b="1" dirty="0">
                <a:solidFill>
                  <a:srgbClr val="000000"/>
                </a:solidFill>
                <a:latin typeface="Maven Pro" panose="020B0604020202020204" charset="0"/>
              </a:rPr>
              <a:t>[Coffee=true]:</a:t>
            </a:r>
            <a:r>
              <a:rPr lang="en-US" altLang="de-DE" sz="700" dirty="0">
                <a:solidFill>
                  <a:srgbClr val="000000"/>
                </a:solidFill>
                <a:latin typeface="Maven Pro" panose="020B0604020202020204" charset="0"/>
              </a:rPr>
              <a:t> 4528 ==&gt; </a:t>
            </a:r>
            <a:r>
              <a:rPr lang="en-US" altLang="de-DE" sz="700" b="1" dirty="0">
                <a:solidFill>
                  <a:srgbClr val="000000"/>
                </a:solidFill>
                <a:latin typeface="Maven Pro" panose="020B0604020202020204" charset="0"/>
              </a:rPr>
              <a:t>[Toast=true]: </a:t>
            </a:r>
            <a:r>
              <a:rPr lang="en-US" altLang="de-DE" sz="700" dirty="0">
                <a:solidFill>
                  <a:srgbClr val="000000"/>
                </a:solidFill>
                <a:latin typeface="Maven Pro" panose="020B0604020202020204" charset="0"/>
              </a:rPr>
              <a:t>224 conf:(0.05) &lt;lift:(1.47)&gt; lev:(0.01) conv:(1.02) </a:t>
            </a:r>
          </a:p>
          <a:p>
            <a:r>
              <a:rPr lang="en-US" altLang="de-DE" sz="700" dirty="0">
                <a:solidFill>
                  <a:srgbClr val="000000"/>
                </a:solidFill>
                <a:latin typeface="Maven Pro" panose="020B0604020202020204" charset="0"/>
              </a:rPr>
              <a:t>…</a:t>
            </a:r>
          </a:p>
          <a:p>
            <a:r>
              <a:rPr lang="en-US" altLang="de-DE" sz="700" dirty="0">
                <a:solidFill>
                  <a:srgbClr val="000000"/>
                </a:solidFill>
                <a:latin typeface="Maven Pro" panose="020B0604020202020204" charset="0"/>
              </a:rPr>
              <a:t>28.    </a:t>
            </a:r>
            <a:r>
              <a:rPr lang="en-US" altLang="de-DE" sz="700" b="1" dirty="0">
                <a:solidFill>
                  <a:srgbClr val="000000"/>
                </a:solidFill>
                <a:latin typeface="Maven Pro" panose="020B0604020202020204" charset="0"/>
              </a:rPr>
              <a:t>[Bread=true]: </a:t>
            </a:r>
            <a:r>
              <a:rPr lang="en-US" altLang="de-DE" sz="700" dirty="0">
                <a:solidFill>
                  <a:srgbClr val="000000"/>
                </a:solidFill>
                <a:latin typeface="Maven Pro" panose="020B0604020202020204" charset="0"/>
              </a:rPr>
              <a:t>3097 ==&gt; </a:t>
            </a:r>
            <a:r>
              <a:rPr lang="en-US" altLang="de-DE" sz="700" b="1" dirty="0">
                <a:solidFill>
                  <a:srgbClr val="000000"/>
                </a:solidFill>
                <a:latin typeface="Maven Pro" panose="020B0604020202020204" charset="0"/>
              </a:rPr>
              <a:t>[Coffee=true]: </a:t>
            </a:r>
            <a:r>
              <a:rPr lang="en-US" altLang="de-DE" sz="700" dirty="0">
                <a:solidFill>
                  <a:srgbClr val="000000"/>
                </a:solidFill>
                <a:latin typeface="Maven Pro" panose="020B0604020202020204" charset="0"/>
              </a:rPr>
              <a:t>852 conf:(0.28) &lt;lift:(0.58)&gt; lev:(-0.07) conv:(0.72) </a:t>
            </a:r>
          </a:p>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sp>
        <p:nvSpPr>
          <p:cNvPr id="18" name="Pfeil: eingekerbt nach rechts 17">
            <a:extLst>
              <a:ext uri="{FF2B5EF4-FFF2-40B4-BE49-F238E27FC236}">
                <a16:creationId xmlns:a16="http://schemas.microsoft.com/office/drawing/2014/main" id="{A41A4475-F26D-A084-B8AF-9C82B2285371}"/>
              </a:ext>
            </a:extLst>
          </p:cNvPr>
          <p:cNvSpPr/>
          <p:nvPr/>
        </p:nvSpPr>
        <p:spPr>
          <a:xfrm rot="500525">
            <a:off x="1873225" y="2625543"/>
            <a:ext cx="1308128"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eingekerbt nach rechts 18">
            <a:extLst>
              <a:ext uri="{FF2B5EF4-FFF2-40B4-BE49-F238E27FC236}">
                <a16:creationId xmlns:a16="http://schemas.microsoft.com/office/drawing/2014/main" id="{5D33DD1D-CFD4-DF0B-3BE7-59E66FD5E6A2}"/>
              </a:ext>
            </a:extLst>
          </p:cNvPr>
          <p:cNvSpPr/>
          <p:nvPr/>
        </p:nvSpPr>
        <p:spPr>
          <a:xfrm rot="20123932">
            <a:off x="1790946" y="1481251"/>
            <a:ext cx="1465502"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eingekerbt nach rechts 25">
            <a:extLst>
              <a:ext uri="{FF2B5EF4-FFF2-40B4-BE49-F238E27FC236}">
                <a16:creationId xmlns:a16="http://schemas.microsoft.com/office/drawing/2014/main" id="{23F8EE0E-45BC-1ED0-CC27-AA052BDB5A8B}"/>
              </a:ext>
            </a:extLst>
          </p:cNvPr>
          <p:cNvSpPr/>
          <p:nvPr/>
        </p:nvSpPr>
        <p:spPr>
          <a:xfrm rot="1734562">
            <a:off x="1751188" y="3575167"/>
            <a:ext cx="1532646" cy="149960"/>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88B13DD7-8BF1-DB09-D20D-9A2AB088BDFE}"/>
              </a:ext>
            </a:extLst>
          </p:cNvPr>
          <p:cNvGrpSpPr/>
          <p:nvPr/>
        </p:nvGrpSpPr>
        <p:grpSpPr>
          <a:xfrm>
            <a:off x="3185310" y="1806457"/>
            <a:ext cx="5193053" cy="2724756"/>
            <a:chOff x="3185310" y="1806457"/>
            <a:chExt cx="5193053" cy="2724756"/>
          </a:xfrm>
        </p:grpSpPr>
        <p:sp>
          <p:nvSpPr>
            <p:cNvPr id="22" name="Rechteck: abgerundete Ecken 21">
              <a:extLst>
                <a:ext uri="{FF2B5EF4-FFF2-40B4-BE49-F238E27FC236}">
                  <a16:creationId xmlns:a16="http://schemas.microsoft.com/office/drawing/2014/main" id="{A8BFD0AE-930E-7F05-CFA9-1414D0A67815}"/>
                </a:ext>
              </a:extLst>
            </p:cNvPr>
            <p:cNvSpPr/>
            <p:nvPr/>
          </p:nvSpPr>
          <p:spPr>
            <a:xfrm>
              <a:off x="3185310" y="1806457"/>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abgerundete Ecken 23">
              <a:extLst>
                <a:ext uri="{FF2B5EF4-FFF2-40B4-BE49-F238E27FC236}">
                  <a16:creationId xmlns:a16="http://schemas.microsoft.com/office/drawing/2014/main" id="{CB53A8D1-6256-A65C-858B-31D58F57DAAE}"/>
                </a:ext>
              </a:extLst>
            </p:cNvPr>
            <p:cNvSpPr/>
            <p:nvPr/>
          </p:nvSpPr>
          <p:spPr>
            <a:xfrm>
              <a:off x="3407560" y="4154023"/>
              <a:ext cx="4060039" cy="377190"/>
            </a:xfrm>
            <a:prstGeom prst="roundRect">
              <a:avLst/>
            </a:prstGeom>
            <a:noFill/>
            <a:ln>
              <a:solidFill>
                <a:srgbClr val="F649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3ECCBDF3-3A9B-F923-166D-F86569C18165}"/>
                </a:ext>
              </a:extLst>
            </p:cNvPr>
            <p:cNvSpPr txBox="1"/>
            <p:nvPr/>
          </p:nvSpPr>
          <p:spPr>
            <a:xfrm>
              <a:off x="6854363" y="3113940"/>
              <a:ext cx="1524000" cy="338554"/>
            </a:xfrm>
            <a:prstGeom prst="rect">
              <a:avLst/>
            </a:prstGeom>
            <a:noFill/>
          </p:spPr>
          <p:txBody>
            <a:bodyPr wrap="square" rtlCol="0">
              <a:spAutoFit/>
            </a:bodyPr>
            <a:lstStyle/>
            <a:p>
              <a:r>
                <a:rPr lang="de-DE" sz="800" dirty="0">
                  <a:latin typeface="Maven Pro" panose="020B0604020202020204" charset="0"/>
                </a:rPr>
                <a:t>Deckungsgleiche Ergebnisse (Bei </a:t>
              </a:r>
              <a:r>
                <a:rPr lang="de-DE" sz="800" dirty="0" err="1">
                  <a:latin typeface="Maven Pro" panose="020B0604020202020204" charset="0"/>
                </a:rPr>
                <a:t>Weka</a:t>
              </a:r>
              <a:r>
                <a:rPr lang="de-DE" sz="800" dirty="0">
                  <a:latin typeface="Maven Pro" panose="020B0604020202020204" charset="0"/>
                </a:rPr>
                <a:t> Operatoren)</a:t>
              </a:r>
            </a:p>
          </p:txBody>
        </p:sp>
        <p:cxnSp>
          <p:nvCxnSpPr>
            <p:cNvPr id="34" name="Gerade Verbindung mit Pfeil 33">
              <a:extLst>
                <a:ext uri="{FF2B5EF4-FFF2-40B4-BE49-F238E27FC236}">
                  <a16:creationId xmlns:a16="http://schemas.microsoft.com/office/drawing/2014/main" id="{ADD7AB8E-4C40-645B-EF89-50097A7C0814}"/>
                </a:ext>
              </a:extLst>
            </p:cNvPr>
            <p:cNvCxnSpPr>
              <a:cxnSpLocks/>
              <a:stCxn id="32" idx="0"/>
            </p:cNvCxnSpPr>
            <p:nvPr/>
          </p:nvCxnSpPr>
          <p:spPr>
            <a:xfrm flipH="1" flipV="1">
              <a:off x="7298002" y="2029560"/>
              <a:ext cx="318361" cy="108438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1372CA1-428A-26DB-C94D-09DF521983CB}"/>
                </a:ext>
              </a:extLst>
            </p:cNvPr>
            <p:cNvCxnSpPr>
              <a:cxnSpLocks/>
              <a:stCxn id="32" idx="2"/>
            </p:cNvCxnSpPr>
            <p:nvPr/>
          </p:nvCxnSpPr>
          <p:spPr>
            <a:xfrm flipH="1">
              <a:off x="7348804" y="3452494"/>
              <a:ext cx="267559" cy="633750"/>
            </a:xfrm>
            <a:prstGeom prst="straightConnector1">
              <a:avLst/>
            </a:prstGeom>
            <a:ln>
              <a:solidFill>
                <a:srgbClr val="F6497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007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48945FC8-1805-E1A9-4EB6-11B26680CA47}"/>
              </a:ext>
            </a:extLst>
          </p:cNvPr>
          <p:cNvSpPr/>
          <p:nvPr/>
        </p:nvSpPr>
        <p:spPr>
          <a:xfrm>
            <a:off x="727972" y="4602746"/>
            <a:ext cx="1918730" cy="316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51DA5C01-3ABE-92BE-6F49-0EB28B2DDEB9}"/>
              </a:ext>
            </a:extLst>
          </p:cNvPr>
          <p:cNvSpPr>
            <a:spLocks noGrp="1"/>
          </p:cNvSpPr>
          <p:nvPr>
            <p:ph type="ctrTitle"/>
          </p:nvPr>
        </p:nvSpPr>
        <p:spPr/>
        <p:txBody>
          <a:bodyPr/>
          <a:lstStyle/>
          <a:p>
            <a:r>
              <a:rPr lang="de-DE" dirty="0"/>
              <a:t>Modeling - </a:t>
            </a:r>
            <a:r>
              <a:rPr lang="de-DE" dirty="0" err="1"/>
              <a:t>Process</a:t>
            </a:r>
            <a:endParaRPr lang="de-DE" dirty="0"/>
          </a:p>
        </p:txBody>
      </p:sp>
      <p:pic>
        <p:nvPicPr>
          <p:cNvPr id="3" name="Grafik 2">
            <a:extLst>
              <a:ext uri="{FF2B5EF4-FFF2-40B4-BE49-F238E27FC236}">
                <a16:creationId xmlns:a16="http://schemas.microsoft.com/office/drawing/2014/main" id="{2E208364-3C5B-FC43-C753-E1DCEEBC3CBF}"/>
              </a:ext>
            </a:extLst>
          </p:cNvPr>
          <p:cNvPicPr>
            <a:picLocks noChangeAspect="1"/>
          </p:cNvPicPr>
          <p:nvPr/>
        </p:nvPicPr>
        <p:blipFill rotWithShape="1">
          <a:blip r:embed="rId2"/>
          <a:srcRect l="67066" r="3323"/>
          <a:stretch/>
        </p:blipFill>
        <p:spPr>
          <a:xfrm>
            <a:off x="727973" y="1117408"/>
            <a:ext cx="1918730" cy="3485338"/>
          </a:xfrm>
          <a:prstGeom prst="rect">
            <a:avLst/>
          </a:prstGeom>
        </p:spPr>
      </p:pic>
      <p:sp>
        <p:nvSpPr>
          <p:cNvPr id="6" name="Parallelogramm 5">
            <a:extLst>
              <a:ext uri="{FF2B5EF4-FFF2-40B4-BE49-F238E27FC236}">
                <a16:creationId xmlns:a16="http://schemas.microsoft.com/office/drawing/2014/main" id="{B4472444-9159-2203-29BA-11F156DF4A6C}"/>
              </a:ext>
            </a:extLst>
          </p:cNvPr>
          <p:cNvSpPr/>
          <p:nvPr/>
        </p:nvSpPr>
        <p:spPr>
          <a:xfrm>
            <a:off x="727972" y="989475"/>
            <a:ext cx="195490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solidFill>
                  <a:srgbClr val="000000"/>
                </a:solidFill>
                <a:latin typeface="Maven Pro" panose="020B0604020202020204" charset="0"/>
              </a:rPr>
              <a:t>Operators</a:t>
            </a:r>
          </a:p>
        </p:txBody>
      </p:sp>
      <p:sp>
        <p:nvSpPr>
          <p:cNvPr id="7" name="Parallelogramm 6">
            <a:extLst>
              <a:ext uri="{FF2B5EF4-FFF2-40B4-BE49-F238E27FC236}">
                <a16:creationId xmlns:a16="http://schemas.microsoft.com/office/drawing/2014/main" id="{9399D649-5B39-6EB3-F971-22F9B5B64A3F}"/>
              </a:ext>
            </a:extLst>
          </p:cNvPr>
          <p:cNvSpPr/>
          <p:nvPr/>
        </p:nvSpPr>
        <p:spPr>
          <a:xfrm>
            <a:off x="3132657" y="989477"/>
            <a:ext cx="5312843" cy="127933"/>
          </a:xfrm>
          <a:prstGeom prst="parallelogram">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err="1">
                <a:solidFill>
                  <a:srgbClr val="000000"/>
                </a:solidFill>
                <a:latin typeface="Maven Pro" panose="020B0604020202020204" charset="0"/>
              </a:rPr>
              <a:t>Execution</a:t>
            </a:r>
            <a:r>
              <a:rPr lang="de-DE" sz="800" dirty="0">
                <a:solidFill>
                  <a:srgbClr val="000000"/>
                </a:solidFill>
                <a:latin typeface="Maven Pro" panose="020B0604020202020204" charset="0"/>
              </a:rPr>
              <a:t> </a:t>
            </a:r>
            <a:r>
              <a:rPr lang="de-DE" sz="800" dirty="0" err="1">
                <a:solidFill>
                  <a:srgbClr val="000000"/>
                </a:solidFill>
                <a:latin typeface="Maven Pro" panose="020B0604020202020204" charset="0"/>
              </a:rPr>
              <a:t>results</a:t>
            </a:r>
            <a:endParaRPr lang="de-DE" sz="800" dirty="0">
              <a:solidFill>
                <a:srgbClr val="000000"/>
              </a:solidFill>
              <a:latin typeface="Maven Pro" panose="020B0604020202020204" charset="0"/>
            </a:endParaRPr>
          </a:p>
        </p:txBody>
      </p:sp>
      <p:sp>
        <p:nvSpPr>
          <p:cNvPr id="8" name="Rechteck 7">
            <a:extLst>
              <a:ext uri="{FF2B5EF4-FFF2-40B4-BE49-F238E27FC236}">
                <a16:creationId xmlns:a16="http://schemas.microsoft.com/office/drawing/2014/main" id="{CF9BC80A-0ED7-6F24-172C-48E2C321491D}"/>
              </a:ext>
            </a:extLst>
          </p:cNvPr>
          <p:cNvSpPr/>
          <p:nvPr/>
        </p:nvSpPr>
        <p:spPr>
          <a:xfrm>
            <a:off x="3132657" y="1117409"/>
            <a:ext cx="5279823" cy="3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de-DE" sz="700" dirty="0">
              <a:solidFill>
                <a:srgbClr val="000000"/>
              </a:solidFill>
              <a:latin typeface="Maven Pro" panose="020B0604020202020204" charset="0"/>
            </a:endParaRPr>
          </a:p>
          <a:p>
            <a:endParaRPr lang="de-DE" altLang="de-DE" sz="700" dirty="0">
              <a:solidFill>
                <a:srgbClr val="000000"/>
              </a:solidFill>
              <a:latin typeface="Maven Pro" panose="020B0604020202020204" charset="0"/>
            </a:endParaRPr>
          </a:p>
          <a:p>
            <a:pPr marL="171450" indent="-171450">
              <a:buFont typeface="Arial" panose="020B0604020202020204" pitchFamily="34" charset="0"/>
              <a:buChar char="•"/>
            </a:pPr>
            <a:endParaRPr lang="en-US" sz="700" dirty="0">
              <a:solidFill>
                <a:srgbClr val="000000"/>
              </a:solidFill>
              <a:latin typeface="Maven Pro" panose="020B0604020202020204" charset="0"/>
            </a:endParaRPr>
          </a:p>
        </p:txBody>
      </p:sp>
      <p:pic>
        <p:nvPicPr>
          <p:cNvPr id="5" name="Grafik 4">
            <a:extLst>
              <a:ext uri="{FF2B5EF4-FFF2-40B4-BE49-F238E27FC236}">
                <a16:creationId xmlns:a16="http://schemas.microsoft.com/office/drawing/2014/main" id="{C29C650F-927F-946D-5C8C-873110C7EFE3}"/>
              </a:ext>
            </a:extLst>
          </p:cNvPr>
          <p:cNvPicPr>
            <a:picLocks noChangeAspect="1"/>
          </p:cNvPicPr>
          <p:nvPr/>
        </p:nvPicPr>
        <p:blipFill>
          <a:blip r:embed="rId3"/>
          <a:stretch>
            <a:fillRect/>
          </a:stretch>
        </p:blipFill>
        <p:spPr>
          <a:xfrm>
            <a:off x="3307433" y="1196606"/>
            <a:ext cx="5055810" cy="3168452"/>
          </a:xfrm>
          <a:prstGeom prst="rect">
            <a:avLst/>
          </a:prstGeom>
        </p:spPr>
      </p:pic>
      <p:sp>
        <p:nvSpPr>
          <p:cNvPr id="26" name="Pfeil: eingekerbt nach rechts 25">
            <a:extLst>
              <a:ext uri="{FF2B5EF4-FFF2-40B4-BE49-F238E27FC236}">
                <a16:creationId xmlns:a16="http://schemas.microsoft.com/office/drawing/2014/main" id="{23F8EE0E-45BC-1ED0-CC27-AA052BDB5A8B}"/>
              </a:ext>
            </a:extLst>
          </p:cNvPr>
          <p:cNvSpPr/>
          <p:nvPr/>
        </p:nvSpPr>
        <p:spPr>
          <a:xfrm rot="17821260">
            <a:off x="1459946" y="2309651"/>
            <a:ext cx="2507475" cy="192677"/>
          </a:xfrm>
          <a:prstGeom prst="notchedRightArrow">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96B332B-5A1F-B6DD-DFED-B9CD9D82232F}"/>
              </a:ext>
            </a:extLst>
          </p:cNvPr>
          <p:cNvPicPr>
            <a:picLocks noChangeAspect="1"/>
          </p:cNvPicPr>
          <p:nvPr/>
        </p:nvPicPr>
        <p:blipFill>
          <a:blip r:embed="rId4"/>
          <a:stretch>
            <a:fillRect/>
          </a:stretch>
        </p:blipFill>
        <p:spPr>
          <a:xfrm>
            <a:off x="3699764" y="1854200"/>
            <a:ext cx="4458267" cy="2788005"/>
          </a:xfrm>
          <a:prstGeom prst="rect">
            <a:avLst/>
          </a:prstGeom>
          <a:ln>
            <a:solidFill>
              <a:srgbClr val="000000"/>
            </a:solidFill>
          </a:ln>
        </p:spPr>
      </p:pic>
    </p:spTree>
    <p:extLst>
      <p:ext uri="{BB962C8B-B14F-4D97-AF65-F5344CB8AC3E}">
        <p14:creationId xmlns:p14="http://schemas.microsoft.com/office/powerpoint/2010/main" val="20036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a:t>Modeling – Additional FP Growth </a:t>
            </a:r>
            <a:r>
              <a:rPr lang="de-DE" dirty="0" err="1"/>
              <a:t>Process</a:t>
            </a:r>
            <a:endParaRPr lang="de-DE" dirty="0"/>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482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3890286" y="989475"/>
            <a:ext cx="4237714"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Zusätzl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iter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onfigura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xperimentiert</a:t>
            </a:r>
            <a:r>
              <a:rPr lang="en-US"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Items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anuell</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Kategori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geteil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Fragestellun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spw</a:t>
            </a:r>
            <a:r>
              <a:rPr lang="en-US" dirty="0">
                <a:solidFill>
                  <a:schemeClr val="bg1"/>
                </a:solidFill>
                <a:latin typeface="Maven Pro" panose="020B0604020202020204" charset="0"/>
              </a:rPr>
              <a:t>. </a:t>
            </a:r>
            <a:r>
              <a:rPr lang="en-US" i="1" dirty="0">
                <a:solidFill>
                  <a:schemeClr val="bg1"/>
                </a:solidFill>
                <a:latin typeface="Maven Pro" panose="020B0604020202020204" charset="0"/>
              </a:rPr>
              <a:t>“Was </a:t>
            </a:r>
            <a:r>
              <a:rPr lang="en-US" i="1" dirty="0" err="1">
                <a:solidFill>
                  <a:schemeClr val="bg1"/>
                </a:solidFill>
                <a:latin typeface="Maven Pro" panose="020B0604020202020204" charset="0"/>
              </a:rPr>
              <a:t>wurd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zu</a:t>
            </a:r>
            <a:r>
              <a:rPr lang="en-US" i="1" dirty="0">
                <a:solidFill>
                  <a:schemeClr val="bg1"/>
                </a:solidFill>
                <a:latin typeface="Maven Pro" panose="020B0604020202020204" charset="0"/>
              </a:rPr>
              <a:t> Hot Drinks </a:t>
            </a:r>
            <a:r>
              <a:rPr lang="en-US" i="1" dirty="0" err="1">
                <a:solidFill>
                  <a:schemeClr val="bg1"/>
                </a:solidFill>
                <a:latin typeface="Maven Pro" panose="020B0604020202020204" charset="0"/>
              </a:rPr>
              <a:t>gekauft</a:t>
            </a:r>
            <a:r>
              <a:rPr lang="en-US" i="1" dirty="0">
                <a:solidFill>
                  <a:schemeClr val="bg1"/>
                </a:solidFill>
                <a:latin typeface="Maven Pro" panose="020B0604020202020204" charset="0"/>
              </a:rPr>
              <a:t>?”</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Verzehrt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rgebnis</a:t>
            </a:r>
            <a:r>
              <a:rPr lang="en-US" dirty="0">
                <a:solidFill>
                  <a:schemeClr val="bg1"/>
                </a:solidFill>
                <a:latin typeface="Maven Pro" panose="020B0604020202020204" charset="0"/>
              </a:rPr>
              <a:t>, da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a:t>
            </a:r>
            <a:r>
              <a:rPr lang="en-US" dirty="0">
                <a:solidFill>
                  <a:schemeClr val="bg1"/>
                </a:solidFill>
                <a:latin typeface="Maven Pro" panose="020B0604020202020204" charset="0"/>
              </a:rPr>
              <a:t> Hot Drink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a:t>
            </a:r>
          </a:p>
          <a:p>
            <a:pPr marL="152400">
              <a:buClr>
                <a:schemeClr val="lt1"/>
              </a:buClr>
              <a:buSzPts val="1200"/>
            </a:pPr>
            <a:r>
              <a:rPr lang="en-US" dirty="0">
                <a:solidFill>
                  <a:schemeClr val="bg1"/>
                </a:solidFill>
                <a:latin typeface="Maven Pro" panose="020B0604020202020204" charset="0"/>
              </a:rPr>
              <a:t>Für Cold Drinks </a:t>
            </a:r>
            <a:r>
              <a:rPr lang="en-US" dirty="0" err="1">
                <a:solidFill>
                  <a:schemeClr val="bg1"/>
                </a:solidFill>
                <a:latin typeface="Maven Pro" panose="020B0604020202020204" charset="0"/>
              </a:rPr>
              <a:t>zu</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n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ransaktion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Herausfiltern</a:t>
            </a:r>
            <a:r>
              <a:rPr lang="en-US" dirty="0">
                <a:solidFill>
                  <a:schemeClr val="bg1"/>
                </a:solidFill>
                <a:latin typeface="Maven Pro" panose="020B0604020202020204" charset="0"/>
              </a:rPr>
              <a:t> von </a:t>
            </a:r>
            <a:r>
              <a:rPr lang="en-US" dirty="0" err="1">
                <a:solidFill>
                  <a:schemeClr val="bg1"/>
                </a:solidFill>
                <a:latin typeface="Maven Pro" panose="020B0604020202020204" charset="0"/>
              </a:rPr>
              <a:t>Transaktion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den Top 3 Items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Tee) -&gt; Zu Kleiner </a:t>
            </a:r>
            <a:r>
              <a:rPr lang="en-US" dirty="0" err="1">
                <a:solidFill>
                  <a:schemeClr val="bg1"/>
                </a:solidFill>
                <a:latin typeface="Maven Pro" panose="020B0604020202020204" charset="0"/>
              </a:rPr>
              <a:t>Datensatz</a:t>
            </a:r>
            <a:endParaRPr lang="en-US" dirty="0">
              <a:solidFill>
                <a:schemeClr val="bg1"/>
              </a:solidFill>
              <a:latin typeface="Maven Pro" panose="020B0604020202020204" charset="0"/>
            </a:endParaRPr>
          </a:p>
        </p:txBody>
      </p:sp>
      <p:pic>
        <p:nvPicPr>
          <p:cNvPr id="11" name="Grafik 10">
            <a:extLst>
              <a:ext uri="{FF2B5EF4-FFF2-40B4-BE49-F238E27FC236}">
                <a16:creationId xmlns:a16="http://schemas.microsoft.com/office/drawing/2014/main" id="{96030B6A-7741-E025-A6F6-7840815EB1C8}"/>
              </a:ext>
            </a:extLst>
          </p:cNvPr>
          <p:cNvPicPr>
            <a:picLocks noChangeAspect="1"/>
          </p:cNvPicPr>
          <p:nvPr/>
        </p:nvPicPr>
        <p:blipFill>
          <a:blip r:embed="rId5"/>
          <a:stretch>
            <a:fillRect/>
          </a:stretch>
        </p:blipFill>
        <p:spPr>
          <a:xfrm>
            <a:off x="754932" y="989475"/>
            <a:ext cx="3135354" cy="3690759"/>
          </a:xfrm>
          <a:prstGeom prst="rect">
            <a:avLst/>
          </a:prstGeom>
        </p:spPr>
      </p:pic>
      <p:sp>
        <p:nvSpPr>
          <p:cNvPr id="12" name="Pfeil: nach rechts 11">
            <a:extLst>
              <a:ext uri="{FF2B5EF4-FFF2-40B4-BE49-F238E27FC236}">
                <a16:creationId xmlns:a16="http://schemas.microsoft.com/office/drawing/2014/main" id="{20E6415E-5859-36C8-330E-BEBEF6E09056}"/>
              </a:ext>
            </a:extLst>
          </p:cNvPr>
          <p:cNvSpPr/>
          <p:nvPr/>
        </p:nvSpPr>
        <p:spPr>
          <a:xfrm>
            <a:off x="3830320" y="4196080"/>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F141DA86-B87F-7274-0A2F-2049935F9B55}"/>
              </a:ext>
            </a:extLst>
          </p:cNvPr>
          <p:cNvSpPr/>
          <p:nvPr/>
        </p:nvSpPr>
        <p:spPr>
          <a:xfrm>
            <a:off x="3783684" y="295990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B2562352-456E-AB8B-AB50-4B87589B43E4}"/>
              </a:ext>
            </a:extLst>
          </p:cNvPr>
          <p:cNvSpPr/>
          <p:nvPr/>
        </p:nvSpPr>
        <p:spPr>
          <a:xfrm>
            <a:off x="3772452" y="1739935"/>
            <a:ext cx="264160" cy="264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3790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sults</a:t>
            </a:r>
            <a:endParaRPr lang="de-DE" dirty="0">
              <a:solidFill>
                <a:schemeClr val="bg1"/>
              </a:solidFill>
            </a:endParaRPr>
          </a:p>
          <a:p>
            <a:endParaRPr lang="de-DE" dirty="0">
              <a:solidFill>
                <a:schemeClr val="bg1"/>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1A5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tx1"/>
                  </a:solidFill>
                </a:rPr>
                <a:t>Reflection</a:t>
              </a:r>
              <a:endParaRPr lang="de-DE" dirty="0">
                <a:solidFill>
                  <a:schemeClr val="tx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chemeClr val="tx1"/>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Tree>
    <p:extLst>
      <p:ext uri="{BB962C8B-B14F-4D97-AF65-F5344CB8AC3E}">
        <p14:creationId xmlns:p14="http://schemas.microsoft.com/office/powerpoint/2010/main" val="3381359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2837232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Der Betreiber einer Bäckerei möchte die </a:t>
            </a:r>
            <a:r>
              <a:rPr lang="de-DE" sz="1400" b="1" dirty="0"/>
              <a:t>Kaufgewohnheiten</a:t>
            </a:r>
            <a:r>
              <a:rPr lang="de-DE" sz="1400" dirty="0"/>
              <a:t> seiner Kunden </a:t>
            </a:r>
            <a:r>
              <a:rPr lang="de-DE" sz="1400" b="1" dirty="0"/>
              <a:t>besser verstehen</a:t>
            </a:r>
            <a:r>
              <a:rPr lang="de-DE" sz="1400" dirty="0"/>
              <a:t>, um Muster zu identifizieren</a:t>
            </a:r>
          </a:p>
          <a:p>
            <a:pPr marL="0" indent="0">
              <a:buNone/>
            </a:pPr>
            <a:endParaRPr lang="de-DE" sz="1400" dirty="0"/>
          </a:p>
          <a:p>
            <a:pPr marL="285750" indent="-285750"/>
            <a:r>
              <a:rPr lang="de-DE" sz="1400" dirty="0"/>
              <a:t>Diese Erkenntnisse möchte er in späteren Schritten nutzen, um gezieltere Marketing-Kampagnen und Angebote bereitstellen zu können</a:t>
            </a:r>
          </a:p>
          <a:p>
            <a:pPr marL="285750" indent="-285750"/>
            <a:endParaRPr lang="de-DE" sz="1400" dirty="0"/>
          </a:p>
          <a:p>
            <a:pPr marL="285750" indent="-285750"/>
            <a:r>
              <a:rPr lang="de-DE" sz="1400" dirty="0"/>
              <a:t>Damit möchte er langfristig eine </a:t>
            </a:r>
            <a:r>
              <a:rPr lang="de-DE" sz="1400" b="1" dirty="0"/>
              <a:t>Umsatzsteigerung</a:t>
            </a:r>
            <a:r>
              <a:rPr lang="de-DE" sz="1400" dirty="0"/>
              <a:t> erreichen</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inführung in den Usecas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028" name="Picture 4" descr="Webcast: Writing a Business Use Case in 7 Steps - IAG Consulting">
            <a:extLst>
              <a:ext uri="{FF2B5EF4-FFF2-40B4-BE49-F238E27FC236}">
                <a16:creationId xmlns:a16="http://schemas.microsoft.com/office/drawing/2014/main" id="{5C7C8DEC-F2B6-0A09-3309-DAA79700DA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1884" y="1723272"/>
            <a:ext cx="2377422" cy="2351512"/>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a:extLst>
              <a:ext uri="{FF2B5EF4-FFF2-40B4-BE49-F238E27FC236}">
                <a16:creationId xmlns:a16="http://schemas.microsoft.com/office/drawing/2014/main" id="{60B1730C-058F-0D7B-37CE-F3DE44F8A182}"/>
              </a:ext>
            </a:extLst>
          </p:cNvPr>
          <p:cNvSpPr/>
          <p:nvPr/>
        </p:nvSpPr>
        <p:spPr>
          <a:xfrm>
            <a:off x="5201884" y="1118198"/>
            <a:ext cx="2377422" cy="603545"/>
          </a:xfrm>
          <a:prstGeom prst="rect">
            <a:avLst/>
          </a:prstGeom>
          <a:solidFill>
            <a:srgbClr val="47A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177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Kenngröß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endParaRPr lang="en-US" dirty="0">
              <a:solidFill>
                <a:schemeClr val="bg1"/>
              </a:solidFill>
              <a:latin typeface="Maven Pro" panose="020B0604020202020204" charset="0"/>
            </a:endParaRPr>
          </a:p>
        </p:txBody>
      </p:sp>
      <p:sp>
        <p:nvSpPr>
          <p:cNvPr id="2" name="Google Shape;465;p26">
            <a:extLst>
              <a:ext uri="{FF2B5EF4-FFF2-40B4-BE49-F238E27FC236}">
                <a16:creationId xmlns:a16="http://schemas.microsoft.com/office/drawing/2014/main" id="{E6278325-EEA2-93C2-A089-D14F2E00A2DA}"/>
              </a:ext>
            </a:extLst>
          </p:cNvPr>
          <p:cNvSpPr txBox="1">
            <a:spLocks/>
          </p:cNvSpPr>
          <p:nvPr/>
        </p:nvSpPr>
        <p:spPr>
          <a:xfrm>
            <a:off x="597375" y="89588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b="1" dirty="0">
                <a:solidFill>
                  <a:srgbClr val="00CFCC"/>
                </a:solidFill>
                <a:latin typeface="Maven Pro" panose="020B0604020202020204" charset="0"/>
              </a:rPr>
              <a:t>Support</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anwendb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a:solidFill>
                  <a:schemeClr val="bg1"/>
                </a:solidFill>
                <a:latin typeface="Maven Pro" panose="020B0604020202020204" charset="0"/>
              </a:rPr>
              <a:t>9% </a:t>
            </a:r>
            <a:r>
              <a:rPr lang="en-US" i="1" dirty="0" err="1">
                <a:solidFill>
                  <a:schemeClr val="bg1"/>
                </a:solidFill>
                <a:latin typeface="Maven Pro" panose="020B0604020202020204" charset="0"/>
              </a:rPr>
              <a:t>all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Transaktion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inhalte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mp;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b="1" dirty="0" err="1">
                <a:solidFill>
                  <a:srgbClr val="00CFCC"/>
                </a:solidFill>
                <a:latin typeface="Maven Pro" panose="020B0604020202020204" charset="0"/>
              </a:rPr>
              <a:t>Konfidenz</a:t>
            </a:r>
            <a:r>
              <a:rPr lang="en-US" dirty="0">
                <a:solidFill>
                  <a:schemeClr val="bg1"/>
                </a:solidFill>
                <a:latin typeface="Maven Pro" panose="020B0604020202020204" charset="0"/>
              </a:rPr>
              <a:t> – relative </a:t>
            </a:r>
            <a:r>
              <a:rPr lang="en-US" dirty="0" err="1">
                <a:solidFill>
                  <a:schemeClr val="bg1"/>
                </a:solidFill>
                <a:latin typeface="Maven Pro" panose="020B0604020202020204" charset="0"/>
              </a:rPr>
              <a:t>Häufigkei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Beispiele</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denen</a:t>
            </a:r>
            <a:r>
              <a:rPr lang="en-US" dirty="0">
                <a:solidFill>
                  <a:schemeClr val="bg1"/>
                </a:solidFill>
                <a:latin typeface="Maven Pro" panose="020B0604020202020204" charset="0"/>
              </a:rPr>
              <a:t> die Regel </a:t>
            </a:r>
            <a:r>
              <a:rPr lang="en-US" dirty="0" err="1">
                <a:solidFill>
                  <a:schemeClr val="bg1"/>
                </a:solidFill>
                <a:latin typeface="Maven Pro" panose="020B0604020202020204" charset="0"/>
              </a:rPr>
              <a:t>richt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in 27,5% der </a:t>
            </a:r>
            <a:r>
              <a:rPr lang="en-US" i="1" dirty="0" err="1">
                <a:solidFill>
                  <a:schemeClr val="bg1"/>
                </a:solidFill>
                <a:latin typeface="Maven Pro" panose="020B0604020202020204" charset="0"/>
              </a:rPr>
              <a:t>Fälle</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endParaRPr lang="en-US" i="1" dirty="0">
              <a:solidFill>
                <a:schemeClr val="bg1"/>
              </a:solidFill>
              <a:latin typeface="Maven Pro" panose="020B0604020202020204" charset="0"/>
            </a:endParaRPr>
          </a:p>
          <a:p>
            <a:pPr marL="152400">
              <a:buClr>
                <a:schemeClr val="lt1"/>
              </a:buClr>
              <a:buSzPts val="1200"/>
            </a:pPr>
            <a:r>
              <a:rPr lang="en-US" b="1" dirty="0">
                <a:solidFill>
                  <a:srgbClr val="00CFCC"/>
                </a:solidFill>
                <a:latin typeface="Maven Pro" panose="020B0604020202020204" charset="0"/>
              </a:rPr>
              <a:t>Lift</a:t>
            </a:r>
            <a:r>
              <a:rPr lang="en-US" dirty="0">
                <a:solidFill>
                  <a:schemeClr val="bg1"/>
                </a:solidFill>
                <a:latin typeface="Maven Pro" panose="020B0604020202020204" charset="0"/>
              </a:rPr>
              <a:t> – </a:t>
            </a:r>
            <a:r>
              <a:rPr lang="en-US" dirty="0" err="1">
                <a:solidFill>
                  <a:schemeClr val="bg1"/>
                </a:solidFill>
                <a:latin typeface="Maven Pro" panose="020B0604020202020204" charset="0"/>
              </a:rPr>
              <a:t>Faktor</a:t>
            </a:r>
            <a:r>
              <a:rPr lang="en-US" dirty="0">
                <a:solidFill>
                  <a:schemeClr val="bg1"/>
                </a:solidFill>
                <a:latin typeface="Maven Pro" panose="020B0604020202020204" charset="0"/>
              </a:rPr>
              <a:t> um den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Wahrscheinlichk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in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s</a:t>
            </a:r>
            <a:r>
              <a:rPr lang="en-US" dirty="0">
                <a:solidFill>
                  <a:schemeClr val="bg1"/>
                </a:solidFill>
                <a:latin typeface="Maven Pro" panose="020B0604020202020204" charset="0"/>
              </a:rPr>
              <a:t> der Conclusion </a:t>
            </a:r>
            <a:r>
              <a:rPr lang="en-US" dirty="0" err="1">
                <a:solidFill>
                  <a:schemeClr val="bg1"/>
                </a:solidFill>
                <a:latin typeface="Maven Pro" panose="020B0604020202020204" charset="0"/>
              </a:rPr>
              <a:t>erhöh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	</a:t>
            </a:r>
            <a:r>
              <a:rPr lang="en-US" i="1" dirty="0" err="1">
                <a:solidFill>
                  <a:schemeClr val="bg1"/>
                </a:solidFill>
                <a:latin typeface="Maven Pro" panose="020B0604020202020204" charset="0"/>
              </a:rPr>
              <a:t>W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ereit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uft</a:t>
            </a:r>
            <a:r>
              <a:rPr lang="en-US" i="1" dirty="0">
                <a:solidFill>
                  <a:schemeClr val="bg1"/>
                </a:solidFill>
                <a:latin typeface="Maven Pro" panose="020B0604020202020204" charset="0"/>
              </a:rPr>
              <a:t> 40% </a:t>
            </a:r>
            <a:r>
              <a:rPr lang="en-US" i="1" dirty="0" err="1">
                <a:solidFill>
                  <a:schemeClr val="bg1"/>
                </a:solidFill>
                <a:latin typeface="Maven Pro" panose="020B0604020202020204" charset="0"/>
              </a:rPr>
              <a:t>unwahrscheinlicher</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uch</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Kaffee</a:t>
            </a:r>
            <a:r>
              <a:rPr lang="en-US" i="1" dirty="0">
                <a:solidFill>
                  <a:schemeClr val="bg1"/>
                </a:solidFill>
                <a:latin typeface="Maven Pro" panose="020B0604020202020204" charset="0"/>
              </a:rPr>
              <a:t>, </a:t>
            </a:r>
          </a:p>
          <a:p>
            <a:pPr marL="152400">
              <a:buClr>
                <a:schemeClr val="lt1"/>
              </a:buClr>
              <a:buSzPts val="1200"/>
            </a:pP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als</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jemand</a:t>
            </a:r>
            <a:r>
              <a:rPr lang="en-US" i="1" dirty="0">
                <a:solidFill>
                  <a:schemeClr val="bg1"/>
                </a:solidFill>
                <a:latin typeface="Maven Pro" panose="020B0604020202020204" charset="0"/>
              </a:rPr>
              <a:t> der </a:t>
            </a:r>
            <a:r>
              <a:rPr lang="en-US" i="1" dirty="0" err="1">
                <a:solidFill>
                  <a:schemeClr val="bg1"/>
                </a:solidFill>
                <a:latin typeface="Maven Pro" panose="020B0604020202020204" charset="0"/>
              </a:rPr>
              <a:t>kein</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Brot</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im</a:t>
            </a:r>
            <a:r>
              <a:rPr lang="en-US" i="1" dirty="0">
                <a:solidFill>
                  <a:schemeClr val="bg1"/>
                </a:solidFill>
                <a:latin typeface="Maven Pro" panose="020B0604020202020204" charset="0"/>
              </a:rPr>
              <a:t> </a:t>
            </a:r>
            <a:r>
              <a:rPr lang="en-US" i="1" dirty="0" err="1">
                <a:solidFill>
                  <a:schemeClr val="bg1"/>
                </a:solidFill>
                <a:latin typeface="Maven Pro" panose="020B0604020202020204" charset="0"/>
              </a:rPr>
              <a:t>Warenkorb</a:t>
            </a:r>
            <a:r>
              <a:rPr lang="en-US" i="1" dirty="0">
                <a:solidFill>
                  <a:schemeClr val="bg1"/>
                </a:solidFill>
                <a:latin typeface="Maven Pro" panose="020B0604020202020204" charset="0"/>
              </a:rPr>
              <a:t> hat</a:t>
            </a:r>
          </a:p>
        </p:txBody>
      </p:sp>
    </p:spTree>
    <p:extLst>
      <p:ext uri="{BB962C8B-B14F-4D97-AF65-F5344CB8AC3E}">
        <p14:creationId xmlns:p14="http://schemas.microsoft.com/office/powerpoint/2010/main" val="18923265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extLst>
              <p:ext uri="{D42A27DB-BD31-4B8C-83A1-F6EECF244321}">
                <p14:modId xmlns:p14="http://schemas.microsoft.com/office/powerpoint/2010/main" val="375467822"/>
              </p:ext>
            </p:extLst>
          </p:nvPr>
        </p:nvGraphicFramePr>
        <p:xfrm>
          <a:off x="618825" y="1567275"/>
          <a:ext cx="7744125" cy="2225040"/>
        </p:xfrm>
        <a:graphic>
          <a:graphicData uri="http://schemas.openxmlformats.org/drawingml/2006/table">
            <a:tbl>
              <a:tblPr firstRow="1" bandRow="1">
                <a:tableStyleId>{E723F757-1103-4035-A6BF-FC693B604208}</a:tableStyleId>
              </a:tblPr>
              <a:tblGrid>
                <a:gridCol w="1548825">
                  <a:extLst>
                    <a:ext uri="{9D8B030D-6E8A-4147-A177-3AD203B41FA5}">
                      <a16:colId xmlns:a16="http://schemas.microsoft.com/office/drawing/2014/main" val="1504757679"/>
                    </a:ext>
                  </a:extLst>
                </a:gridCol>
                <a:gridCol w="1548825">
                  <a:extLst>
                    <a:ext uri="{9D8B030D-6E8A-4147-A177-3AD203B41FA5}">
                      <a16:colId xmlns:a16="http://schemas.microsoft.com/office/drawing/2014/main" val="1996441691"/>
                    </a:ext>
                  </a:extLst>
                </a:gridCol>
                <a:gridCol w="1548825">
                  <a:extLst>
                    <a:ext uri="{9D8B030D-6E8A-4147-A177-3AD203B41FA5}">
                      <a16:colId xmlns:a16="http://schemas.microsoft.com/office/drawing/2014/main" val="3016175260"/>
                    </a:ext>
                  </a:extLst>
                </a:gridCol>
                <a:gridCol w="1548825">
                  <a:extLst>
                    <a:ext uri="{9D8B030D-6E8A-4147-A177-3AD203B41FA5}">
                      <a16:colId xmlns:a16="http://schemas.microsoft.com/office/drawing/2014/main" val="4117700343"/>
                    </a:ext>
                  </a:extLst>
                </a:gridCol>
                <a:gridCol w="1548825">
                  <a:extLst>
                    <a:ext uri="{9D8B030D-6E8A-4147-A177-3AD203B41FA5}">
                      <a16:colId xmlns:a16="http://schemas.microsoft.com/office/drawing/2014/main" val="3136545747"/>
                    </a:ext>
                  </a:extLst>
                </a:gridCol>
              </a:tblGrid>
              <a:tr h="370840">
                <a:tc>
                  <a:txBody>
                    <a:bodyPr/>
                    <a:lstStyle/>
                    <a:p>
                      <a:r>
                        <a:rPr lang="de-DE" sz="1400" b="0" i="0" u="none" strike="noStrike" cap="none" dirty="0" err="1">
                          <a:solidFill>
                            <a:schemeClr val="bg1"/>
                          </a:solidFill>
                          <a:latin typeface="Maven Pro" panose="020B0604020202020204" charset="0"/>
                          <a:cs typeface="Arial"/>
                          <a:sym typeface="Arial"/>
                        </a:rPr>
                        <a:t>Premise</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err="1">
                          <a:solidFill>
                            <a:schemeClr val="bg1"/>
                          </a:solidFill>
                          <a:latin typeface="Maven Pro" panose="020B0604020202020204" charset="0"/>
                          <a:cs typeface="Arial"/>
                          <a:sym typeface="Arial"/>
                        </a:rPr>
                        <a:t>Conclusion</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r>
                        <a:rPr lang="de-DE" sz="1400" b="0" i="0" u="none" strike="noStrike" cap="none" dirty="0">
                          <a:solidFill>
                            <a:schemeClr val="bg1"/>
                          </a:solidFill>
                          <a:latin typeface="Maven Pro" panose="020B0604020202020204" charset="0"/>
                          <a:cs typeface="Arial"/>
                          <a:sym typeface="Arial"/>
                        </a:rPr>
                        <a:t>Confidence</a:t>
                      </a:r>
                    </a:p>
                  </a:txBody>
                  <a:tcPr/>
                </a:tc>
                <a:tc>
                  <a:txBody>
                    <a:bodyPr/>
                    <a:lstStyle/>
                    <a:p>
                      <a:r>
                        <a:rPr lang="de-DE" sz="1400" b="1" i="0" u="none" strike="noStrike" cap="none" dirty="0">
                          <a:solidFill>
                            <a:schemeClr val="bg1"/>
                          </a:solidFill>
                          <a:latin typeface="Maven Pro" panose="020B0604020202020204" charset="0"/>
                          <a:cs typeface="Arial"/>
                          <a:sym typeface="Arial"/>
                        </a:rPr>
                        <a:t>Lift</a:t>
                      </a: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a</a:t>
                      </a: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20,1%</a:t>
                      </a:r>
                    </a:p>
                  </a:txBody>
                  <a:tcPr/>
                </a:tc>
                <a:tc>
                  <a:txBody>
                    <a:bodyPr/>
                    <a:lstStyle/>
                    <a:p>
                      <a:r>
                        <a:rPr lang="de-DE" sz="1400" b="1" i="0" u="none" strike="noStrike" cap="none" dirty="0">
                          <a:solidFill>
                            <a:schemeClr val="bg1"/>
                          </a:solidFill>
                          <a:latin typeface="Maven Pro" panose="020B0604020202020204" charset="0"/>
                          <a:cs typeface="Arial"/>
                          <a:sym typeface="Arial"/>
                        </a:rPr>
                        <a:t>1,94</a:t>
                      </a: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19,6%</a:t>
                      </a:r>
                    </a:p>
                  </a:txBody>
                  <a:tcPr/>
                </a:tc>
                <a:tc>
                  <a:txBody>
                    <a:bodyPr/>
                    <a:lstStyle/>
                    <a:p>
                      <a:r>
                        <a:rPr lang="de-DE" sz="1400" b="1" i="0" u="none" strike="noStrike" cap="none" dirty="0">
                          <a:solidFill>
                            <a:schemeClr val="bg1"/>
                          </a:solidFill>
                          <a:latin typeface="Maven Pro" panose="020B0604020202020204" charset="0"/>
                          <a:cs typeface="Arial"/>
                          <a:sym typeface="Arial"/>
                        </a:rPr>
                        <a:t>1,88</a:t>
                      </a: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ake</a:t>
                      </a:r>
                    </a:p>
                  </a:txBody>
                  <a:tcPr/>
                </a:tc>
                <a:tc>
                  <a:txBody>
                    <a:bodyPr/>
                    <a:lstStyle/>
                    <a:p>
                      <a:r>
                        <a:rPr lang="de-DE" sz="1400" b="0" i="0" u="none" strike="noStrike" cap="none" dirty="0">
                          <a:solidFill>
                            <a:schemeClr val="bg1"/>
                          </a:solidFill>
                          <a:latin typeface="Maven Pro" panose="020B0604020202020204" charset="0"/>
                          <a:cs typeface="Arial"/>
                          <a:sym typeface="Arial"/>
                        </a:rPr>
                        <a:t>Tea</a:t>
                      </a:r>
                    </a:p>
                  </a:txBody>
                  <a:tcPr/>
                </a:tc>
                <a:tc>
                  <a:txBody>
                    <a:bodyPr/>
                    <a:lstStyle/>
                    <a:p>
                      <a:r>
                        <a:rPr lang="de-DE" sz="1400" b="0" i="0" u="none" strike="noStrike" cap="none" dirty="0">
                          <a:solidFill>
                            <a:schemeClr val="bg1"/>
                          </a:solidFill>
                          <a:latin typeface="Maven Pro" panose="020B0604020202020204" charset="0"/>
                          <a:cs typeface="Arial"/>
                          <a:sym typeface="Arial"/>
                        </a:rPr>
                        <a:t>2,4%</a:t>
                      </a:r>
                    </a:p>
                  </a:txBody>
                  <a:tcPr/>
                </a:tc>
                <a:tc>
                  <a:txBody>
                    <a:bodyPr/>
                    <a:lstStyle/>
                    <a:p>
                      <a:r>
                        <a:rPr lang="de-DE" sz="1400" b="0" i="0" u="none" strike="noStrike" cap="none" dirty="0">
                          <a:solidFill>
                            <a:schemeClr val="bg1"/>
                          </a:solidFill>
                          <a:latin typeface="Maven Pro" panose="020B0604020202020204" charset="0"/>
                          <a:cs typeface="Arial"/>
                          <a:sym typeface="Arial"/>
                        </a:rPr>
                        <a:t>22,9%</a:t>
                      </a:r>
                    </a:p>
                  </a:txBody>
                  <a:tcPr/>
                </a:tc>
                <a:tc>
                  <a:txBody>
                    <a:bodyPr/>
                    <a:lstStyle/>
                    <a:p>
                      <a:r>
                        <a:rPr lang="de-DE" sz="1400" b="1" i="0" u="none" strike="noStrike" cap="none" dirty="0">
                          <a:solidFill>
                            <a:schemeClr val="bg1"/>
                          </a:solidFill>
                          <a:latin typeface="Maven Pro" panose="020B0604020202020204" charset="0"/>
                          <a:cs typeface="Arial"/>
                          <a:sym typeface="Arial"/>
                        </a:rPr>
                        <a:t>1,61</a:t>
                      </a: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1" i="0" u="none" strike="noStrike" cap="none" dirty="0">
                          <a:solidFill>
                            <a:schemeClr val="bg1"/>
                          </a:solidFill>
                          <a:latin typeface="Maven Pro" panose="020B0604020202020204" charset="0"/>
                          <a:cs typeface="Arial"/>
                          <a:sym typeface="Arial"/>
                        </a:rPr>
                        <a:t>…</a:t>
                      </a: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a:t>
                      </a:r>
                    </a:p>
                  </a:txBody>
                  <a:tcPr/>
                </a:tc>
                <a:tc>
                  <a:txBody>
                    <a:bodyPr/>
                    <a:lstStyle/>
                    <a:p>
                      <a:r>
                        <a:rPr lang="de-DE" sz="1400" b="0" i="0" u="none" strike="noStrike" cap="none" dirty="0">
                          <a:solidFill>
                            <a:schemeClr val="bg1"/>
                          </a:solidFill>
                          <a:latin typeface="Maven Pro" panose="020B0604020202020204" charset="0"/>
                          <a:cs typeface="Arial"/>
                          <a:sym typeface="Arial"/>
                        </a:rPr>
                        <a:t>18,3%</a:t>
                      </a:r>
                    </a:p>
                  </a:txBody>
                  <a:tcPr/>
                </a:tc>
                <a:tc>
                  <a:txBody>
                    <a:bodyPr/>
                    <a:lstStyle/>
                    <a:p>
                      <a:r>
                        <a:rPr lang="de-DE" sz="1400" b="1" i="0" u="none" strike="noStrike" cap="none" dirty="0">
                          <a:solidFill>
                            <a:schemeClr val="bg1"/>
                          </a:solidFill>
                          <a:latin typeface="Maven Pro" panose="020B0604020202020204" charset="0"/>
                          <a:cs typeface="Arial"/>
                          <a:sym typeface="Arial"/>
                        </a:rPr>
                        <a:t>0,56</a:t>
                      </a:r>
                    </a:p>
                  </a:txBody>
                  <a:tcPr/>
                </a:tc>
                <a:extLst>
                  <a:ext uri="{0D108BD9-81ED-4DB2-BD59-A6C34878D82A}">
                    <a16:rowId xmlns:a16="http://schemas.microsoft.com/office/drawing/2014/main" val="2507735734"/>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52150" y="98947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Starke positive/negative Lift</a:t>
            </a:r>
          </a:p>
        </p:txBody>
      </p:sp>
    </p:spTree>
    <p:extLst>
      <p:ext uri="{BB962C8B-B14F-4D97-AF65-F5344CB8AC3E}">
        <p14:creationId xmlns:p14="http://schemas.microsoft.com/office/powerpoint/2010/main" val="27362725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sults</a:t>
            </a:r>
            <a:endParaRPr lang="de-DE" dirty="0"/>
          </a:p>
        </p:txBody>
      </p:sp>
      <p:graphicFrame>
        <p:nvGraphicFramePr>
          <p:cNvPr id="3" name="Tabelle 3">
            <a:extLst>
              <a:ext uri="{FF2B5EF4-FFF2-40B4-BE49-F238E27FC236}">
                <a16:creationId xmlns:a16="http://schemas.microsoft.com/office/drawing/2014/main" id="{F15C64F5-C241-A955-480C-0FBFE9933782}"/>
              </a:ext>
            </a:extLst>
          </p:cNvPr>
          <p:cNvGraphicFramePr>
            <a:graphicFrameLocks noGrp="1"/>
          </p:cNvGraphicFramePr>
          <p:nvPr/>
        </p:nvGraphicFramePr>
        <p:xfrm>
          <a:off x="618825" y="1534305"/>
          <a:ext cx="8115600" cy="2966720"/>
        </p:xfrm>
        <a:graphic>
          <a:graphicData uri="http://schemas.openxmlformats.org/drawingml/2006/table">
            <a:tbl>
              <a:tblPr firstRow="1" bandRow="1">
                <a:tableStyleId>{E723F757-1103-4035-A6BF-FC693B604208}</a:tableStyleId>
              </a:tblPr>
              <a:tblGrid>
                <a:gridCol w="2323825">
                  <a:extLst>
                    <a:ext uri="{9D8B030D-6E8A-4147-A177-3AD203B41FA5}">
                      <a16:colId xmlns:a16="http://schemas.microsoft.com/office/drawing/2014/main" val="1996441691"/>
                    </a:ext>
                  </a:extLst>
                </a:gridCol>
                <a:gridCol w="1124525">
                  <a:extLst>
                    <a:ext uri="{9D8B030D-6E8A-4147-A177-3AD203B41FA5}">
                      <a16:colId xmlns:a16="http://schemas.microsoft.com/office/drawing/2014/main" val="3016175260"/>
                    </a:ext>
                  </a:extLst>
                </a:gridCol>
                <a:gridCol w="4667250">
                  <a:extLst>
                    <a:ext uri="{9D8B030D-6E8A-4147-A177-3AD203B41FA5}">
                      <a16:colId xmlns:a16="http://schemas.microsoft.com/office/drawing/2014/main" val="298160725"/>
                    </a:ext>
                  </a:extLst>
                </a:gridCol>
              </a:tblGrid>
              <a:tr h="370840">
                <a:tc>
                  <a:txBody>
                    <a:bodyPr/>
                    <a:lstStyle/>
                    <a:p>
                      <a:r>
                        <a:rPr lang="de-DE" sz="1400" b="0" i="0" u="none" strike="noStrike" cap="none" dirty="0">
                          <a:solidFill>
                            <a:schemeClr val="bg1"/>
                          </a:solidFill>
                          <a:latin typeface="Maven Pro" panose="020B0604020202020204" charset="0"/>
                          <a:cs typeface="Arial"/>
                          <a:sym typeface="Arial"/>
                        </a:rPr>
                        <a:t>Kombination</a:t>
                      </a:r>
                    </a:p>
                  </a:txBody>
                  <a:tcPr/>
                </a:tc>
                <a:tc>
                  <a:txBody>
                    <a:bodyPr/>
                    <a:lstStyle/>
                    <a:p>
                      <a:r>
                        <a:rPr lang="de-DE" sz="1400" b="0" i="0" u="none" strike="noStrike" cap="none" dirty="0">
                          <a:solidFill>
                            <a:schemeClr val="bg1"/>
                          </a:solidFill>
                          <a:latin typeface="Maven Pro" panose="020B0604020202020204" charset="0"/>
                          <a:cs typeface="Arial"/>
                          <a:sym typeface="Arial"/>
                        </a:rPr>
                        <a:t>Suppor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1536487"/>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a:t>
                      </a:r>
                      <a:r>
                        <a:rPr lang="de-DE" sz="1400" b="0" i="0" u="none" strike="noStrike" cap="none" dirty="0" err="1">
                          <a:solidFill>
                            <a:schemeClr val="bg1"/>
                          </a:solidFill>
                          <a:latin typeface="Maven Pro" panose="020B0604020202020204" charset="0"/>
                          <a:cs typeface="Arial"/>
                          <a:sym typeface="Arial"/>
                        </a:rPr>
                        <a:t>Bread</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9,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2887436428"/>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Cake</a:t>
                      </a:r>
                    </a:p>
                  </a:txBody>
                  <a:tcPr/>
                </a:tc>
                <a:tc>
                  <a:txBody>
                    <a:bodyPr/>
                    <a:lstStyle/>
                    <a:p>
                      <a:r>
                        <a:rPr lang="de-DE" sz="1400" b="0" i="0" u="none" strike="noStrike" cap="none" dirty="0">
                          <a:solidFill>
                            <a:schemeClr val="bg1"/>
                          </a:solidFill>
                          <a:latin typeface="Maven Pro" panose="020B0604020202020204" charset="0"/>
                          <a:cs typeface="Arial"/>
                          <a:sym typeface="Arial"/>
                        </a:rPr>
                        <a:t>5,5%</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909284464"/>
                  </a:ext>
                </a:extLst>
              </a:tr>
              <a:tr h="370840">
                <a:tc>
                  <a:txBody>
                    <a:bodyPr/>
                    <a:lstStyle/>
                    <a:p>
                      <a:r>
                        <a:rPr lang="de-DE" sz="1400" b="0" i="0" u="none" strike="noStrike" cap="none" dirty="0">
                          <a:solidFill>
                            <a:schemeClr val="bg1"/>
                          </a:solidFill>
                          <a:latin typeface="Maven Pro" panose="020B0604020202020204" charset="0"/>
                          <a:cs typeface="Arial"/>
                          <a:sym typeface="Arial"/>
                        </a:rPr>
                        <a:t>Coffee, Tee</a:t>
                      </a:r>
                    </a:p>
                  </a:txBody>
                  <a:tcPr/>
                </a:tc>
                <a:tc>
                  <a:txBody>
                    <a:bodyPr/>
                    <a:lstStyle/>
                    <a:p>
                      <a:r>
                        <a:rPr lang="de-DE" sz="1400" b="0" i="0" u="none" strike="noStrike" cap="none" dirty="0">
                          <a:solidFill>
                            <a:schemeClr val="bg1"/>
                          </a:solidFill>
                          <a:latin typeface="Maven Pro" panose="020B0604020202020204" charset="0"/>
                          <a:cs typeface="Arial"/>
                          <a:sym typeface="Arial"/>
                        </a:rPr>
                        <a:t>5,0%</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81054641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3117731411"/>
                  </a:ext>
                </a:extLst>
              </a:tr>
              <a:tr h="370840">
                <a:tc>
                  <a:txBody>
                    <a:bodyPr/>
                    <a:lstStyle/>
                    <a:p>
                      <a:r>
                        <a:rPr lang="de-DE" sz="1400" b="0" i="0" u="none" strike="noStrike" cap="none" dirty="0">
                          <a:solidFill>
                            <a:schemeClr val="bg1"/>
                          </a:solidFill>
                          <a:latin typeface="Maven Pro" panose="020B0604020202020204" charset="0"/>
                          <a:cs typeface="Arial"/>
                          <a:sym typeface="Arial"/>
                        </a:rPr>
                        <a:t>Cake, Hot </a:t>
                      </a:r>
                      <a:r>
                        <a:rPr lang="de-DE" sz="1400" b="0" i="0" u="none" strike="noStrike" cap="none" dirty="0" err="1">
                          <a:solidFill>
                            <a:schemeClr val="bg1"/>
                          </a:solidFill>
                          <a:latin typeface="Maven Pro" panose="020B0604020202020204" charset="0"/>
                          <a:cs typeface="Arial"/>
                          <a:sym typeface="Arial"/>
                        </a:rPr>
                        <a:t>Choco</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1%</a:t>
                      </a:r>
                    </a:p>
                  </a:txBody>
                  <a:tcPr/>
                </a:tc>
                <a:tc>
                  <a:txBody>
                    <a:bodyPr/>
                    <a:lstStyle/>
                    <a:p>
                      <a:r>
                        <a:rPr lang="de-DE" sz="1400" b="0" i="0" u="none" strike="noStrike" cap="none" dirty="0">
                          <a:solidFill>
                            <a:schemeClr val="bg1"/>
                          </a:solidFill>
                          <a:latin typeface="Maven Pro" panose="020B0604020202020204" charset="0"/>
                          <a:cs typeface="Arial"/>
                          <a:sym typeface="Arial"/>
                        </a:rPr>
                        <a:t>Erste ohne Top 3 Artikel (Kaffee, Tee, Brot)</a:t>
                      </a:r>
                    </a:p>
                  </a:txBody>
                  <a:tcPr/>
                </a:tc>
                <a:extLst>
                  <a:ext uri="{0D108BD9-81ED-4DB2-BD59-A6C34878D82A}">
                    <a16:rowId xmlns:a16="http://schemas.microsoft.com/office/drawing/2014/main" val="2507735734"/>
                  </a:ext>
                </a:extLst>
              </a:tr>
              <a:tr h="370840">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r>
                        <a:rPr lang="de-DE" sz="1400" b="0" i="0" u="none" strike="noStrike" cap="none" dirty="0">
                          <a:solidFill>
                            <a:schemeClr val="bg1"/>
                          </a:solidFill>
                          <a:latin typeface="Maven Pro" panose="020B0604020202020204" charset="0"/>
                          <a:cs typeface="Arial"/>
                          <a:sym typeface="Arial"/>
                        </a:rPr>
                        <a:t>…</a:t>
                      </a:r>
                    </a:p>
                  </a:txBody>
                  <a:tcPr/>
                </a:tc>
                <a:tc>
                  <a:txBody>
                    <a:bodyPr/>
                    <a:lstStyle/>
                    <a:p>
                      <a:endParaRPr lang="de-DE" sz="1400" b="0" i="0" u="none" strike="noStrike" cap="none" dirty="0">
                        <a:solidFill>
                          <a:schemeClr val="bg1"/>
                        </a:solidFill>
                        <a:latin typeface="Maven Pro" panose="020B0604020202020204" charset="0"/>
                        <a:cs typeface="Arial"/>
                        <a:sym typeface="Arial"/>
                      </a:endParaRPr>
                    </a:p>
                  </a:txBody>
                  <a:tcPr/>
                </a:tc>
                <a:extLst>
                  <a:ext uri="{0D108BD9-81ED-4DB2-BD59-A6C34878D82A}">
                    <a16:rowId xmlns:a16="http://schemas.microsoft.com/office/drawing/2014/main" val="4091182116"/>
                  </a:ext>
                </a:extLst>
              </a:tr>
              <a:tr h="370840">
                <a:tc>
                  <a:txBody>
                    <a:bodyPr/>
                    <a:lstStyle/>
                    <a:p>
                      <a:r>
                        <a:rPr lang="de-DE" sz="1400" b="0" i="0" u="none" strike="noStrike" cap="none" dirty="0" err="1">
                          <a:solidFill>
                            <a:schemeClr val="bg1"/>
                          </a:solidFill>
                          <a:latin typeface="Maven Pro" panose="020B0604020202020204" charset="0"/>
                          <a:cs typeface="Arial"/>
                          <a:sym typeface="Arial"/>
                        </a:rPr>
                        <a:t>Bread</a:t>
                      </a:r>
                      <a:r>
                        <a:rPr lang="de-DE" sz="1400" b="0" i="0" u="none" strike="noStrike" cap="none" dirty="0">
                          <a:solidFill>
                            <a:schemeClr val="bg1"/>
                          </a:solidFill>
                          <a:latin typeface="Maven Pro" panose="020B0604020202020204" charset="0"/>
                          <a:cs typeface="Arial"/>
                          <a:sym typeface="Arial"/>
                        </a:rPr>
                        <a:t>, </a:t>
                      </a:r>
                      <a:r>
                        <a:rPr lang="de-DE" sz="1400" b="0" i="0" u="none" strike="noStrike" cap="none" dirty="0" err="1">
                          <a:solidFill>
                            <a:schemeClr val="bg1"/>
                          </a:solidFill>
                          <a:latin typeface="Maven Pro" panose="020B0604020202020204" charset="0"/>
                          <a:cs typeface="Arial"/>
                          <a:sym typeface="Arial"/>
                        </a:rPr>
                        <a:t>Alfarores</a:t>
                      </a:r>
                      <a:endParaRPr lang="de-DE" sz="1400" b="0" i="0" u="none" strike="noStrike" cap="none" dirty="0">
                        <a:solidFill>
                          <a:schemeClr val="bg1"/>
                        </a:solidFill>
                        <a:latin typeface="Maven Pro" panose="020B0604020202020204" charset="0"/>
                        <a:cs typeface="Arial"/>
                        <a:sym typeface="Arial"/>
                      </a:endParaRPr>
                    </a:p>
                  </a:txBody>
                  <a:tcPr/>
                </a:tc>
                <a:tc>
                  <a:txBody>
                    <a:bodyPr/>
                    <a:lstStyle/>
                    <a:p>
                      <a:r>
                        <a:rPr lang="de-DE" sz="1400" b="0" i="0" u="none" strike="noStrike" cap="none" dirty="0">
                          <a:solidFill>
                            <a:schemeClr val="bg1"/>
                          </a:solidFill>
                          <a:latin typeface="Maven Pro" panose="020B0604020202020204" charset="0"/>
                          <a:cs typeface="Arial"/>
                          <a:sym typeface="Arial"/>
                        </a:rPr>
                        <a:t>1,0%</a:t>
                      </a:r>
                    </a:p>
                  </a:txBody>
                  <a:tcPr/>
                </a:tc>
                <a:tc>
                  <a:txBody>
                    <a:bodyPr/>
                    <a:lstStyle/>
                    <a:p>
                      <a:r>
                        <a:rPr lang="de-DE" sz="1400" b="0" i="0" u="none" strike="noStrike" cap="none" dirty="0">
                          <a:solidFill>
                            <a:schemeClr val="bg1"/>
                          </a:solidFill>
                          <a:latin typeface="Maven Pro" panose="020B0604020202020204" charset="0"/>
                          <a:cs typeface="Arial"/>
                          <a:sym typeface="Arial"/>
                        </a:rPr>
                        <a:t>Kombinationen unter 1% wurden gefiltert</a:t>
                      </a:r>
                    </a:p>
                  </a:txBody>
                  <a:tcPr/>
                </a:tc>
                <a:extLst>
                  <a:ext uri="{0D108BD9-81ED-4DB2-BD59-A6C34878D82A}">
                    <a16:rowId xmlns:a16="http://schemas.microsoft.com/office/drawing/2014/main" val="164217476"/>
                  </a:ext>
                </a:extLst>
              </a:tr>
            </a:tbl>
          </a:graphicData>
        </a:graphic>
      </p:graphicFrame>
      <p:sp>
        <p:nvSpPr>
          <p:cNvPr id="2" name="Titel 4">
            <a:extLst>
              <a:ext uri="{FF2B5EF4-FFF2-40B4-BE49-F238E27FC236}">
                <a16:creationId xmlns:a16="http://schemas.microsoft.com/office/drawing/2014/main" id="{55425FCA-7BEC-5B82-57F4-3EF1D8186B5D}"/>
              </a:ext>
            </a:extLst>
          </p:cNvPr>
          <p:cNvSpPr txBox="1">
            <a:spLocks/>
          </p:cNvSpPr>
          <p:nvPr/>
        </p:nvSpPr>
        <p:spPr>
          <a:xfrm>
            <a:off x="514050" y="956505"/>
            <a:ext cx="4727700" cy="577800"/>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600"/>
              <a:buFont typeface="Share Tech"/>
              <a:buNone/>
              <a:defRPr sz="3000" b="0" i="0" u="none" strike="noStrike" cap="none">
                <a:solidFill>
                  <a:schemeClr val="lt1"/>
                </a:solidFill>
                <a:latin typeface="Share Tech"/>
                <a:ea typeface="Share Tech"/>
                <a:cs typeface="Share Tech"/>
                <a:sym typeface="Share Tech"/>
              </a:defRPr>
            </a:lvl1pPr>
            <a:lvl2pPr marR="0" lvl="1"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2pPr>
            <a:lvl3pPr marR="0" lvl="2"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3pPr>
            <a:lvl4pPr marR="0" lvl="3"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4pPr>
            <a:lvl5pPr marR="0" lvl="4"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5pPr>
            <a:lvl6pPr marR="0" lvl="5"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6pPr>
            <a:lvl7pPr marR="0" lvl="6"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7pPr>
            <a:lvl8pPr marR="0" lvl="7"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8pPr>
            <a:lvl9pPr marR="0" lvl="8" algn="ctr" rtl="0">
              <a:lnSpc>
                <a:spcPct val="100000"/>
              </a:lnSpc>
              <a:spcBef>
                <a:spcPts val="0"/>
              </a:spcBef>
              <a:spcAft>
                <a:spcPts val="0"/>
              </a:spcAft>
              <a:buClr>
                <a:srgbClr val="D9D9D9"/>
              </a:buClr>
              <a:buSzPts val="1800"/>
              <a:buFont typeface="Share Tech"/>
              <a:buNone/>
              <a:defRPr sz="1800" b="0" i="0" u="none" strike="noStrike" cap="none">
                <a:solidFill>
                  <a:srgbClr val="D9D9D9"/>
                </a:solidFill>
                <a:latin typeface="Share Tech"/>
                <a:ea typeface="Share Tech"/>
                <a:cs typeface="Share Tech"/>
                <a:sym typeface="Share Tech"/>
              </a:defRPr>
            </a:lvl9pPr>
          </a:lstStyle>
          <a:p>
            <a:r>
              <a:rPr lang="de-DE" sz="2000" dirty="0"/>
              <a:t>Häufige/Seltene Kombinationen</a:t>
            </a:r>
          </a:p>
        </p:txBody>
      </p:sp>
    </p:spTree>
    <p:extLst>
      <p:ext uri="{BB962C8B-B14F-4D97-AF65-F5344CB8AC3E}">
        <p14:creationId xmlns:p14="http://schemas.microsoft.com/office/powerpoint/2010/main" val="4205131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27%)</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16%)</a:t>
            </a: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Tee (~7%)</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a:t>
            </a:r>
            <a:r>
              <a:rPr lang="en-US" b="1" dirty="0" err="1">
                <a:solidFill>
                  <a:srgbClr val="00CFCC"/>
                </a:solidFill>
                <a:latin typeface="Maven Pro" panose="020B0604020202020204" charset="0"/>
              </a:rPr>
              <a:t>Brot</a:t>
            </a:r>
            <a:r>
              <a:rPr lang="en-US" b="1" dirty="0">
                <a:solidFill>
                  <a:srgbClr val="00CFCC"/>
                </a:solidFill>
                <a:latin typeface="Maven Pro" panose="020B0604020202020204" charset="0"/>
              </a:rPr>
              <a:t> 9,0%</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Kuchen 5,5%</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affee</a:t>
            </a:r>
            <a:r>
              <a:rPr lang="en-US" b="1" dirty="0">
                <a:solidFill>
                  <a:srgbClr val="00CFCC"/>
                </a:solidFill>
                <a:latin typeface="Maven Pro" panose="020B0604020202020204" charset="0"/>
              </a:rPr>
              <a:t> – Tee 5,0%</a:t>
            </a:r>
          </a:p>
          <a:p>
            <a:pPr marL="438150" indent="-285750">
              <a:buClr>
                <a:schemeClr val="lt1"/>
              </a:buClr>
              <a:buSzPts val="1200"/>
              <a:buFontTx/>
              <a:buChar char="-"/>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a:solidFill>
                  <a:srgbClr val="00CFCC"/>
                </a:solidFill>
                <a:latin typeface="Maven Pro" panose="020B0604020202020204" charset="0"/>
              </a:rPr>
              <a:t>Am </a:t>
            </a:r>
            <a:r>
              <a:rPr lang="en-US" b="1" dirty="0" err="1">
                <a:solidFill>
                  <a:srgbClr val="00CFCC"/>
                </a:solidFill>
                <a:latin typeface="Maven Pro" panose="020B0604020202020204" charset="0"/>
              </a:rPr>
              <a:t>Wochenen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1/3 der </a:t>
            </a:r>
            <a:r>
              <a:rPr lang="en-US" b="1" dirty="0" err="1">
                <a:solidFill>
                  <a:srgbClr val="00CFCC"/>
                </a:solidFill>
                <a:latin typeface="Maven Pro" panose="020B0604020202020204" charset="0"/>
              </a:rPr>
              <a:t>Verkäufe</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und </a:t>
            </a:r>
            <a:r>
              <a:rPr lang="en-US" dirty="0" err="1">
                <a:solidFill>
                  <a:schemeClr val="bg1"/>
                </a:solidFill>
                <a:latin typeface="Maven Pro" panose="020B0604020202020204" charset="0"/>
              </a:rPr>
              <a:t>somi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proportional</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viel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Spitzen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Samsta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durchschnittlich</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über</a:t>
            </a:r>
            <a:r>
              <a:rPr lang="en-US" b="1" dirty="0">
                <a:solidFill>
                  <a:srgbClr val="00CFCC"/>
                </a:solidFill>
                <a:latin typeface="Maven Pro" panose="020B0604020202020204" charset="0"/>
              </a:rPr>
              <a:t> 3.500 </a:t>
            </a:r>
            <a:r>
              <a:rPr lang="en-US" b="1" dirty="0" err="1">
                <a:solidFill>
                  <a:srgbClr val="00CFCC"/>
                </a:solidFill>
                <a:latin typeface="Maven Pro" panose="020B0604020202020204" charset="0"/>
              </a:rPr>
              <a:t>Transaktionen</a:t>
            </a:r>
            <a:endParaRPr lang="en-US" b="1" dirty="0">
              <a:solidFill>
                <a:srgbClr val="00CFCC"/>
              </a:solidFill>
              <a:latin typeface="Maven Pro" panose="020B0604020202020204" charset="0"/>
            </a:endParaRPr>
          </a:p>
        </p:txBody>
      </p:sp>
    </p:spTree>
    <p:extLst>
      <p:ext uri="{BB962C8B-B14F-4D97-AF65-F5344CB8AC3E}">
        <p14:creationId xmlns:p14="http://schemas.microsoft.com/office/powerpoint/2010/main" val="19049496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Gegen</a:t>
            </a:r>
            <a:r>
              <a:rPr lang="en-US" b="1" dirty="0">
                <a:solidFill>
                  <a:srgbClr val="00CFCC"/>
                </a:solidFill>
                <a:latin typeface="Maven Pro" panose="020B0604020202020204" charset="0"/>
              </a:rPr>
              <a:t> 11 </a:t>
            </a:r>
            <a:r>
              <a:rPr lang="en-US" b="1" dirty="0" err="1">
                <a:solidFill>
                  <a:srgbClr val="00CFCC"/>
                </a:solidFill>
                <a:latin typeface="Maven Pro" panose="020B0604020202020204" charset="0"/>
              </a:rPr>
              <a:t>U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is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Höhepunkt</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uf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In der </a:t>
            </a:r>
            <a:r>
              <a:rPr lang="en-US" b="1" dirty="0" err="1">
                <a:solidFill>
                  <a:srgbClr val="00CFCC"/>
                </a:solidFill>
                <a:latin typeface="Maven Pro" panose="020B0604020202020204" charset="0"/>
              </a:rPr>
              <a:t>Wintersaison</a:t>
            </a:r>
            <a:r>
              <a:rPr lang="en-US" b="1" dirty="0">
                <a:solidFill>
                  <a:srgbClr val="00CFCC"/>
                </a:solidFill>
                <a:latin typeface="Maven Pro" panose="020B0604020202020204" charset="0"/>
              </a:rPr>
              <a:t> Nov 2016 – Apr 2017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die </a:t>
            </a:r>
            <a:r>
              <a:rPr lang="en-US" b="1" dirty="0" err="1">
                <a:solidFill>
                  <a:srgbClr val="00CFCC"/>
                </a:solidFill>
                <a:latin typeface="Maven Pro" panose="020B0604020202020204" charset="0"/>
              </a:rPr>
              <a:t>meis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ransaktionen</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a:t>
            </a: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Dies </a:t>
            </a:r>
            <a:r>
              <a:rPr lang="en-US" dirty="0" err="1">
                <a:solidFill>
                  <a:schemeClr val="bg1"/>
                </a:solidFill>
                <a:latin typeface="Maven Pro" panose="020B0604020202020204" charset="0"/>
              </a:rPr>
              <a:t>schein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lerding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eher</a:t>
            </a:r>
            <a:r>
              <a:rPr lang="en-US" dirty="0">
                <a:solidFill>
                  <a:schemeClr val="bg1"/>
                </a:solidFill>
                <a:latin typeface="Maven Pro" panose="020B0604020202020204" charset="0"/>
              </a:rPr>
              <a:t> </a:t>
            </a:r>
            <a:r>
              <a:rPr lang="en-US" b="1" dirty="0">
                <a:solidFill>
                  <a:srgbClr val="00CFCC"/>
                </a:solidFill>
                <a:latin typeface="Maven Pro" panose="020B0604020202020204" charset="0"/>
              </a:rPr>
              <a:t>auf </a:t>
            </a:r>
            <a:r>
              <a:rPr lang="en-US" b="1" dirty="0" err="1">
                <a:solidFill>
                  <a:srgbClr val="00CFCC"/>
                </a:solidFill>
                <a:latin typeface="Maven Pro" panose="020B0604020202020204" charset="0"/>
              </a:rPr>
              <a:t>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höher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Datendicht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rückzuführen</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sein, da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elbiges</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nicht</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im</a:t>
            </a:r>
            <a:r>
              <a:rPr lang="en-US" b="1" dirty="0">
                <a:solidFill>
                  <a:srgbClr val="00CFCC"/>
                </a:solidFill>
                <a:latin typeface="Maven Pro" panose="020B0604020202020204" charset="0"/>
              </a:rPr>
              <a:t> Winter 2015/16 </a:t>
            </a:r>
            <a:r>
              <a:rPr lang="en-US" b="1" dirty="0" err="1">
                <a:solidFill>
                  <a:srgbClr val="00CFCC"/>
                </a:solidFill>
                <a:latin typeface="Maven Pro" panose="020B0604020202020204" charset="0"/>
              </a:rPr>
              <a:t>oder</a:t>
            </a:r>
            <a:r>
              <a:rPr lang="en-US" b="1" dirty="0">
                <a:solidFill>
                  <a:srgbClr val="00CFCC"/>
                </a:solidFill>
                <a:latin typeface="Maven Pro" panose="020B0604020202020204" charset="0"/>
              </a:rPr>
              <a:t> 2017/18 </a:t>
            </a:r>
            <a:r>
              <a:rPr lang="en-US" dirty="0" err="1">
                <a:solidFill>
                  <a:schemeClr val="bg1"/>
                </a:solidFill>
                <a:latin typeface="Maven Pro" panose="020B0604020202020204" charset="0"/>
              </a:rPr>
              <a:t>zeig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Kein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signifikante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Unterschiede</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ochentag</a:t>
            </a:r>
            <a:r>
              <a:rPr lang="en-US" dirty="0">
                <a:solidFill>
                  <a:schemeClr val="bg1"/>
                </a:solidFill>
                <a:latin typeface="Maven Pro" panose="020B0604020202020204" charset="0"/>
              </a:rPr>
              <a:t> und </a:t>
            </a:r>
            <a:r>
              <a:rPr lang="en-US" dirty="0" err="1">
                <a:solidFill>
                  <a:schemeClr val="bg1"/>
                </a:solidFill>
                <a:latin typeface="Maven Pro" panose="020B0604020202020204" charset="0"/>
              </a:rPr>
              <a:t>Wochenend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1170911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7509176" cy="577800"/>
          </a:xfrm>
        </p:spPr>
        <p:txBody>
          <a:bodyPr vert="horz"/>
          <a:lstStyle/>
          <a:p>
            <a:r>
              <a:rPr lang="de-DE" dirty="0" err="1"/>
              <a:t>Results</a:t>
            </a:r>
            <a:r>
              <a:rPr lang="de-DE" dirty="0"/>
              <a:t> – Beantwortung der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4" y="1063525"/>
            <a:ext cx="8495825"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Zu </a:t>
            </a:r>
            <a:r>
              <a:rPr lang="en-US" b="1" dirty="0" err="1">
                <a:solidFill>
                  <a:srgbClr val="00CFCC"/>
                </a:solidFill>
                <a:latin typeface="Maven Pro" panose="020B0604020202020204" charset="0"/>
              </a:rPr>
              <a:t>Neujahr</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sowie</a:t>
            </a:r>
            <a:r>
              <a:rPr lang="en-US" dirty="0">
                <a:solidFill>
                  <a:schemeClr val="bg1"/>
                </a:solidFill>
                <a:latin typeface="Maven Pro" panose="020B0604020202020204" charset="0"/>
              </a:rPr>
              <a:t> dem </a:t>
            </a:r>
            <a:r>
              <a:rPr lang="en-US" b="1" dirty="0">
                <a:solidFill>
                  <a:srgbClr val="00CFCC"/>
                </a:solidFill>
                <a:latin typeface="Maven Pro" panose="020B0604020202020204" charset="0"/>
              </a:rPr>
              <a:t>1. und 2. </a:t>
            </a:r>
            <a:r>
              <a:rPr lang="en-US" b="1" dirty="0" err="1">
                <a:solidFill>
                  <a:srgbClr val="00CFCC"/>
                </a:solidFill>
                <a:latin typeface="Maven Pro" panose="020B0604020202020204" charset="0"/>
              </a:rPr>
              <a:t>Weihnachtsfeiertag</a:t>
            </a:r>
            <a:r>
              <a:rPr lang="en-US" b="1" dirty="0">
                <a:solidFill>
                  <a:srgbClr val="00CFCC"/>
                </a:solidFill>
                <a:latin typeface="Maven Pro" panose="020B0604020202020204" charset="0"/>
              </a:rPr>
              <a:t> </a:t>
            </a:r>
            <a:r>
              <a:rPr lang="en-US" dirty="0">
                <a:solidFill>
                  <a:schemeClr val="bg1"/>
                </a:solidFill>
                <a:latin typeface="Maven Pro" panose="020B0604020202020204" charset="0"/>
              </a:rPr>
              <a:t>war die </a:t>
            </a:r>
            <a:r>
              <a:rPr lang="en-US" b="1" dirty="0" err="1">
                <a:solidFill>
                  <a:srgbClr val="00CFCC"/>
                </a:solidFill>
                <a:latin typeface="Maven Pro" panose="020B0604020202020204" charset="0"/>
              </a:rPr>
              <a:t>Bäckerei</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geschlossen</a:t>
            </a:r>
            <a:endParaRPr lang="en-US" b="1" dirty="0">
              <a:solidFill>
                <a:srgbClr val="00CFCC"/>
              </a:solidFill>
              <a:latin typeface="Maven Pro" panose="020B0604020202020204" charset="0"/>
            </a:endParaRPr>
          </a:p>
          <a:p>
            <a:pPr marL="438150" indent="-285750">
              <a:buClr>
                <a:schemeClr val="lt1"/>
              </a:buClr>
              <a:buSzPts val="1200"/>
              <a:buFont typeface="Arial" panose="020B0604020202020204" pitchFamily="34" charset="0"/>
              <a:buChar char="•"/>
            </a:pPr>
            <a:r>
              <a:rPr lang="en-US" b="1" dirty="0" err="1">
                <a:solidFill>
                  <a:srgbClr val="00CFCC"/>
                </a:solidFill>
                <a:latin typeface="Maven Pro" panose="020B0604020202020204" charset="0"/>
              </a:rPr>
              <a:t>Vorhergehende</a:t>
            </a:r>
            <a:r>
              <a:rPr lang="en-US" dirty="0">
                <a:solidFill>
                  <a:schemeClr val="bg1"/>
                </a:solidFill>
                <a:latin typeface="Maven Pro" panose="020B0604020202020204" charset="0"/>
              </a:rPr>
              <a:t> und </a:t>
            </a:r>
            <a:r>
              <a:rPr lang="en-US" b="1" dirty="0" err="1">
                <a:solidFill>
                  <a:srgbClr val="00CFCC"/>
                </a:solidFill>
                <a:latin typeface="Maven Pro" panose="020B0604020202020204" charset="0"/>
              </a:rPr>
              <a:t>folgende</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Tag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unauffällig</a:t>
            </a:r>
            <a:endParaRPr lang="en-US" b="1" dirty="0">
              <a:solidFill>
                <a:srgbClr val="00CFCC"/>
              </a:solidFill>
              <a:latin typeface="Maven Pro" panose="020B0604020202020204" charset="0"/>
            </a:endParaRPr>
          </a:p>
          <a:p>
            <a:pPr marL="152400">
              <a:buClr>
                <a:schemeClr val="lt1"/>
              </a:buClr>
              <a:buSzPts val="1200"/>
            </a:pPr>
            <a:endParaRPr lang="en-US" b="1" dirty="0">
              <a:solidFill>
                <a:srgbClr val="00CFCC"/>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a:solidFill>
                  <a:schemeClr val="bg1"/>
                </a:solidFill>
                <a:latin typeface="Maven Pro" panose="020B0604020202020204" charset="0"/>
              </a:rPr>
              <a:t>Es </a:t>
            </a:r>
            <a:r>
              <a:rPr lang="en-US" dirty="0" err="1">
                <a:solidFill>
                  <a:schemeClr val="bg1"/>
                </a:solidFill>
                <a:latin typeface="Maven Pro" panose="020B0604020202020204" charset="0"/>
              </a:rPr>
              <a:t>konnte</a:t>
            </a:r>
            <a:r>
              <a:rPr lang="en-US" dirty="0">
                <a:solidFill>
                  <a:schemeClr val="bg1"/>
                </a:solidFill>
                <a:latin typeface="Maven Pro" panose="020B0604020202020204" charset="0"/>
              </a:rPr>
              <a:t> </a:t>
            </a:r>
            <a:r>
              <a:rPr lang="en-US" b="1" dirty="0" err="1">
                <a:solidFill>
                  <a:srgbClr val="00CFCC"/>
                </a:solidFill>
                <a:latin typeface="Maven Pro" panose="020B0604020202020204" charset="0"/>
              </a:rPr>
              <a:t>kein</a:t>
            </a:r>
            <a:r>
              <a:rPr lang="en-US" b="1" dirty="0">
                <a:solidFill>
                  <a:srgbClr val="00CFCC"/>
                </a:solidFill>
                <a:latin typeface="Maven Pro" panose="020B0604020202020204" charset="0"/>
              </a:rPr>
              <a:t> </a:t>
            </a:r>
            <a:r>
              <a:rPr lang="en-US" b="1" dirty="0" err="1">
                <a:solidFill>
                  <a:srgbClr val="00CFCC"/>
                </a:solidFill>
                <a:latin typeface="Maven Pro" panose="020B0604020202020204" charset="0"/>
              </a:rPr>
              <a:t>Zusammenhang</a:t>
            </a:r>
            <a:r>
              <a:rPr lang="en-US" b="1" dirty="0">
                <a:solidFill>
                  <a:srgbClr val="00CFCC"/>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dem Wetter und dem </a:t>
            </a:r>
            <a:r>
              <a:rPr lang="en-US" dirty="0" err="1">
                <a:solidFill>
                  <a:schemeClr val="bg1"/>
                </a:solidFill>
                <a:latin typeface="Maven Pro" panose="020B0604020202020204" charset="0"/>
              </a:rPr>
              <a:t>Kaufverhal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estgestell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erden</a:t>
            </a:r>
            <a:endParaRPr lang="en-US" dirty="0">
              <a:solidFill>
                <a:schemeClr val="bg1"/>
              </a:solidFill>
              <a:latin typeface="Maven Pro" panose="020B0604020202020204" charset="0"/>
            </a:endParaRPr>
          </a:p>
          <a:p>
            <a:pPr marL="438150" indent="-285750">
              <a:buClr>
                <a:schemeClr val="lt1"/>
              </a:buClr>
              <a:buSzPts val="1200"/>
              <a:buFont typeface="Arial" panose="020B0604020202020204" pitchFamily="34" charset="0"/>
              <a:buChar char="•"/>
            </a:pPr>
            <a:r>
              <a:rPr lang="en-US" dirty="0" err="1">
                <a:solidFill>
                  <a:schemeClr val="bg1"/>
                </a:solidFill>
                <a:latin typeface="Maven Pro" panose="020B0604020202020204" charset="0"/>
              </a:rPr>
              <a:t>Analys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m</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öglich</a:t>
            </a:r>
            <a:r>
              <a:rPr lang="en-US" dirty="0">
                <a:solidFill>
                  <a:schemeClr val="bg1"/>
                </a:solidFill>
                <a:latin typeface="Maven Pro" panose="020B0604020202020204" charset="0"/>
              </a:rPr>
              <a:t>, da </a:t>
            </a:r>
            <a:r>
              <a:rPr lang="en-US" b="1" dirty="0">
                <a:solidFill>
                  <a:srgbClr val="00CFCC"/>
                </a:solidFill>
                <a:latin typeface="Maven Pro" panose="020B0604020202020204" charset="0"/>
              </a:rPr>
              <a:t>Wetter </a:t>
            </a:r>
            <a:r>
              <a:rPr lang="en-US" b="1" dirty="0" err="1">
                <a:solidFill>
                  <a:srgbClr val="00CFCC"/>
                </a:solidFill>
                <a:latin typeface="Maven Pro" panose="020B0604020202020204" charset="0"/>
              </a:rPr>
              <a:t>nur</a:t>
            </a:r>
            <a:r>
              <a:rPr lang="en-US" b="1" dirty="0">
                <a:solidFill>
                  <a:srgbClr val="00CFCC"/>
                </a:solidFill>
                <a:latin typeface="Maven Pro" panose="020B0604020202020204" charset="0"/>
              </a:rPr>
              <a:t> auf </a:t>
            </a:r>
            <a:r>
              <a:rPr lang="en-US" b="1" dirty="0" err="1">
                <a:solidFill>
                  <a:srgbClr val="00CFCC"/>
                </a:solidFill>
                <a:latin typeface="Maven Pro" panose="020B0604020202020204" charset="0"/>
              </a:rPr>
              <a:t>Monatsbasis</a:t>
            </a:r>
            <a:endParaRPr lang="en-US" b="1" dirty="0">
              <a:solidFill>
                <a:srgbClr val="00CFCC"/>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44049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24737"/>
            <a:ext cx="5644815" cy="1018708"/>
          </a:xfrm>
        </p:spPr>
        <p:txBody>
          <a:bodyPr vert="horz"/>
          <a:lstStyle/>
          <a:p>
            <a:br>
              <a:rPr lang="de-DE" dirty="0"/>
            </a:br>
            <a:br>
              <a:rPr lang="de-DE" dirty="0"/>
            </a:br>
            <a:r>
              <a:rPr lang="de-DE" dirty="0" err="1"/>
              <a:t>Results</a:t>
            </a:r>
            <a:r>
              <a:rPr lang="de-DE" dirty="0"/>
              <a:t> – </a:t>
            </a:r>
            <a:r>
              <a:rPr lang="de-DE" dirty="0" err="1"/>
              <a:t>Examples</a:t>
            </a:r>
            <a:r>
              <a:rPr lang="de-DE" dirty="0"/>
              <a:t> </a:t>
            </a:r>
            <a:r>
              <a:rPr lang="de-DE" dirty="0" err="1"/>
              <a:t>for</a:t>
            </a:r>
            <a:r>
              <a:rPr lang="de-DE" dirty="0"/>
              <a:t> Business &amp; Marketing </a:t>
            </a:r>
            <a:r>
              <a:rPr lang="de-DE" dirty="0" err="1"/>
              <a:t>Recommendations</a:t>
            </a:r>
            <a:endParaRPr lang="de-DE" dirty="0"/>
          </a:p>
        </p:txBody>
      </p:sp>
      <p:pic>
        <p:nvPicPr>
          <p:cNvPr id="6146" name="Picture 2" descr="Bakery Marketing Ideas: 14 Ways to Get More Customers - Wishpond Blog">
            <a:extLst>
              <a:ext uri="{FF2B5EF4-FFF2-40B4-BE49-F238E27FC236}">
                <a16:creationId xmlns:a16="http://schemas.microsoft.com/office/drawing/2014/main" id="{6BF5EECE-5AC5-CF78-600F-36B0D46B5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402" y="1504827"/>
            <a:ext cx="2420691" cy="2514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New Year Cupcakes - Digital Marketing Campaign">
            <a:extLst>
              <a:ext uri="{FF2B5EF4-FFF2-40B4-BE49-F238E27FC236}">
                <a16:creationId xmlns:a16="http://schemas.microsoft.com/office/drawing/2014/main" id="{7F2AFFE6-7BF1-6F4D-D46B-5B2D4AE36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201" y="3153765"/>
            <a:ext cx="1861367" cy="186136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äckerei Flyer Vorlage-Vorlage | PosterMyWall">
            <a:extLst>
              <a:ext uri="{FF2B5EF4-FFF2-40B4-BE49-F238E27FC236}">
                <a16:creationId xmlns:a16="http://schemas.microsoft.com/office/drawing/2014/main" id="{1DCA73E0-AD0B-1E39-EDD8-91DF2FF44C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5781" y="1398604"/>
            <a:ext cx="2364545" cy="354681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Cafe Flyer Templates - Design, Free, Download | Template.net">
            <a:extLst>
              <a:ext uri="{FF2B5EF4-FFF2-40B4-BE49-F238E27FC236}">
                <a16:creationId xmlns:a16="http://schemas.microsoft.com/office/drawing/2014/main" id="{BDA3B919-0AA6-B6B7-4C6A-0FF914B1B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512" y="1329396"/>
            <a:ext cx="2433783" cy="3152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78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Preparation</a:t>
            </a:r>
            <a:endParaRPr dirty="0">
              <a:solidFill>
                <a:schemeClr val="tx1"/>
              </a:solidFill>
            </a:endParaRPr>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ata Exploration</a:t>
            </a:r>
            <a:endParaRPr dirty="0">
              <a:solidFill>
                <a:schemeClr val="tx1"/>
              </a:solidFill>
            </a:endParaRPr>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solidFill>
                  <a:schemeClr val="tx1"/>
                </a:solidFill>
              </a:rPr>
              <a:t>Domain Exploration</a:t>
            </a:r>
            <a:endParaRPr dirty="0">
              <a:solidFill>
                <a:schemeClr val="tx1"/>
              </a:solidFill>
            </a:endParaRPr>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1</a:t>
            </a:r>
            <a:endParaRPr sz="2800" dirty="0">
              <a:solidFill>
                <a:schemeClr val="tx1"/>
              </a:solidFill>
            </a:endParaRPr>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solidFill>
                  <a:schemeClr val="tx1"/>
                </a:solidFill>
              </a:rPr>
              <a:t>02</a:t>
            </a:r>
            <a:endParaRPr sz="2800" dirty="0">
              <a:solidFill>
                <a:schemeClr val="tx1"/>
              </a:solidFill>
            </a:endParaRPr>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ABLE OF CONTENTS</a:t>
            </a:r>
            <a:endParaRPr dirty="0"/>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solidFill>
                  <a:schemeClr val="tx1"/>
                </a:solidFill>
              </a:rPr>
              <a:t>03</a:t>
            </a:r>
            <a:endParaRPr sz="2800">
              <a:solidFill>
                <a:schemeClr val="tx1"/>
              </a:solidFill>
            </a:endParaRPr>
          </a:p>
        </p:txBody>
      </p:sp>
      <p:sp>
        <p:nvSpPr>
          <p:cNvPr id="481" name="Google Shape;481;p27"/>
          <p:cNvSpPr/>
          <p:nvPr/>
        </p:nvSpPr>
        <p:spPr>
          <a:xfrm>
            <a:off x="956600"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rgbClr val="1A5E8F"/>
          </a:solidFill>
          <a:ln>
            <a:solidFill>
              <a:srgbClr val="1A5E8F"/>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solidFill>
                  <a:srgbClr val="1A5E8F"/>
                </a:solidFill>
              </a:rPr>
              <a:t>Modeling</a:t>
            </a:r>
          </a:p>
          <a:p>
            <a:endParaRPr lang="de-DE" dirty="0">
              <a:solidFill>
                <a:srgbClr val="1A5E8F"/>
              </a:solidFill>
            </a:endParaRP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4</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solidFill>
            </a:endParaRPr>
          </a:p>
        </p:txBody>
      </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rgbClr val="1A5E8F"/>
                </a:solidFill>
              </a:rPr>
              <a:t>Results</a:t>
            </a:r>
            <a:endParaRPr lang="de-DE" dirty="0">
              <a:solidFill>
                <a:srgbClr val="1A5E8F"/>
              </a:solidFill>
            </a:endParaRPr>
          </a:p>
          <a:p>
            <a:endParaRPr lang="de-DE" dirty="0">
              <a:solidFill>
                <a:srgbClr val="1A5E8F"/>
              </a:solidFill>
            </a:endParaRP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1A5E8F"/>
                </a:solidFill>
              </a:rPr>
              <a:t>05</a:t>
            </a: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1A5E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solidFill>
            </a:endParaRPr>
          </a:p>
        </p:txBody>
      </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809A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solidFill>
                    <a:schemeClr val="bg1"/>
                  </a:solidFill>
                </a:rPr>
                <a:t>Reflection</a:t>
              </a:r>
              <a:endParaRPr lang="de-DE" dirty="0">
                <a:solidFill>
                  <a:schemeClr val="bg1"/>
                </a:solidFill>
              </a:endParaRPr>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09AAC"/>
                  </a:solidFill>
                </a:rPr>
                <a:t>06</a:t>
              </a:r>
            </a:p>
          </p:txBody>
        </p:sp>
      </p:grpSp>
      <p:pic>
        <p:nvPicPr>
          <p:cNvPr id="8" name="Grafik 7" descr="Landwirtschaft Silhouette">
            <a:extLst>
              <a:ext uri="{FF2B5EF4-FFF2-40B4-BE49-F238E27FC236}">
                <a16:creationId xmlns:a16="http://schemas.microsoft.com/office/drawing/2014/main" id="{3EC3C781-0FE0-68CA-BA91-7B0DAC912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9737" y="1635255"/>
            <a:ext cx="360000" cy="360000"/>
          </a:xfrm>
          <a:prstGeom prst="rect">
            <a:avLst/>
          </a:prstGeom>
        </p:spPr>
      </p:pic>
      <p:pic>
        <p:nvPicPr>
          <p:cNvPr id="10" name="Grafik 9" descr="Recherche Silhouette">
            <a:extLst>
              <a:ext uri="{FF2B5EF4-FFF2-40B4-BE49-F238E27FC236}">
                <a16:creationId xmlns:a16="http://schemas.microsoft.com/office/drawing/2014/main" id="{DE55B091-E9E0-F3E2-4951-E0A962007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5044" y="1626786"/>
            <a:ext cx="360000" cy="360000"/>
          </a:xfrm>
          <a:prstGeom prst="rect">
            <a:avLst/>
          </a:prstGeom>
        </p:spPr>
      </p:pic>
      <p:pic>
        <p:nvPicPr>
          <p:cNvPr id="12" name="Grafik 11" descr="Datenbank Silhouette">
            <a:extLst>
              <a:ext uri="{FF2B5EF4-FFF2-40B4-BE49-F238E27FC236}">
                <a16:creationId xmlns:a16="http://schemas.microsoft.com/office/drawing/2014/main" id="{FA42E386-77DE-B825-E032-618AD84D3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723" y="1636659"/>
            <a:ext cx="360000" cy="360000"/>
          </a:xfrm>
          <a:prstGeom prst="rect">
            <a:avLst/>
          </a:prstGeom>
        </p:spPr>
      </p:pic>
      <p:pic>
        <p:nvPicPr>
          <p:cNvPr id="1026" name="Picture 2" descr="Vorbereitung - Kostenlose sonstiges Icons">
            <a:extLst>
              <a:ext uri="{FF2B5EF4-FFF2-40B4-BE49-F238E27FC236}">
                <a16:creationId xmlns:a16="http://schemas.microsoft.com/office/drawing/2014/main" id="{6825C598-38B4-56CF-ED9C-84F20B50749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0005" y="162407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deling - Free computer icons">
            <a:extLst>
              <a:ext uri="{FF2B5EF4-FFF2-40B4-BE49-F238E27FC236}">
                <a16:creationId xmlns:a16="http://schemas.microsoft.com/office/drawing/2014/main" id="{F838DF0C-821B-01E8-DE84-318D2C6F72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89347" y="1636391"/>
            <a:ext cx="360000" cy="360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oogle Shape;485;p27">
            <a:extLst>
              <a:ext uri="{FF2B5EF4-FFF2-40B4-BE49-F238E27FC236}">
                <a16:creationId xmlns:a16="http://schemas.microsoft.com/office/drawing/2014/main" id="{F8AFFBCE-D2F8-2988-3602-05E4C81CD4A8}"/>
              </a:ext>
            </a:extLst>
          </p:cNvPr>
          <p:cNvCxnSpPr>
            <a:cxnSpLocks/>
          </p:cNvCxnSpPr>
          <p:nvPr/>
        </p:nvCxnSpPr>
        <p:spPr>
          <a:xfrm rot="10800000" flipV="1">
            <a:off x="5684749" y="1824016"/>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cxnSp>
        <p:nvCxnSpPr>
          <p:cNvPr id="4" name="Google Shape;486;p27">
            <a:extLst>
              <a:ext uri="{FF2B5EF4-FFF2-40B4-BE49-F238E27FC236}">
                <a16:creationId xmlns:a16="http://schemas.microsoft.com/office/drawing/2014/main" id="{754B77A5-3E5D-1AE0-9B4A-84D1018A2B4F}"/>
              </a:ext>
            </a:extLst>
          </p:cNvPr>
          <p:cNvCxnSpPr>
            <a:cxnSpLocks/>
          </p:cNvCxnSpPr>
          <p:nvPr/>
        </p:nvCxnSpPr>
        <p:spPr>
          <a:xfrm rot="10800000" flipV="1">
            <a:off x="7287376" y="1815255"/>
            <a:ext cx="12700" cy="1010142"/>
          </a:xfrm>
          <a:prstGeom prst="bentConnector3">
            <a:avLst>
              <a:gd name="adj1" fmla="val 1800000"/>
            </a:avLst>
          </a:prstGeom>
          <a:noFill/>
          <a:ln w="9525" cap="flat" cmpd="sng">
            <a:solidFill>
              <a:srgbClr val="1A5E8F"/>
            </a:solidFill>
            <a:prstDash val="solid"/>
            <a:round/>
            <a:headEnd type="none" w="med" len="med"/>
            <a:tailEnd type="none" w="med" len="med"/>
          </a:ln>
        </p:spPr>
      </p:cxnSp>
    </p:spTree>
    <p:extLst>
      <p:ext uri="{BB962C8B-B14F-4D97-AF65-F5344CB8AC3E}">
        <p14:creationId xmlns:p14="http://schemas.microsoft.com/office/powerpoint/2010/main" val="16652370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0954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Reflection</a:t>
            </a:r>
            <a:endParaRPr lang="de-DE" dirty="0"/>
          </a:p>
        </p:txBody>
      </p:sp>
      <p:sp>
        <p:nvSpPr>
          <p:cNvPr id="2" name="Rechteck 1">
            <a:extLst>
              <a:ext uri="{FF2B5EF4-FFF2-40B4-BE49-F238E27FC236}">
                <a16:creationId xmlns:a16="http://schemas.microsoft.com/office/drawing/2014/main" id="{8426C357-F0B2-1221-7EB4-C528AD94DDF4}"/>
              </a:ext>
            </a:extLst>
          </p:cNvPr>
          <p:cNvSpPr/>
          <p:nvPr/>
        </p:nvSpPr>
        <p:spPr>
          <a:xfrm>
            <a:off x="3991545" y="1120597"/>
            <a:ext cx="2704223" cy="18659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dirty="0">
                <a:solidFill>
                  <a:srgbClr val="000000"/>
                </a:solidFill>
              </a:rPr>
              <a:t>Trial and Error</a:t>
            </a:r>
          </a:p>
          <a:p>
            <a:pPr marL="342900" indent="-342900" algn="ctr">
              <a:buFont typeface="Arial"/>
              <a:buAutoNum type="arabicPeriod"/>
            </a:pPr>
            <a:r>
              <a:rPr lang="de-DE" dirty="0">
                <a:solidFill>
                  <a:srgbClr val="000000"/>
                </a:solidFill>
              </a:rPr>
              <a:t>Self-Support</a:t>
            </a:r>
          </a:p>
          <a:p>
            <a:pPr marL="285750" indent="-285750" algn="ctr">
              <a:buFont typeface="Arial" panose="020B0604020202020204" pitchFamily="34" charset="0"/>
              <a:buChar char="•"/>
            </a:pPr>
            <a:r>
              <a:rPr lang="de-DE" dirty="0">
                <a:solidFill>
                  <a:srgbClr val="000000"/>
                </a:solidFill>
              </a:rPr>
              <a:t>Umgang mit </a:t>
            </a:r>
            <a:r>
              <a:rPr lang="de-DE" dirty="0" err="1">
                <a:solidFill>
                  <a:srgbClr val="000000"/>
                </a:solidFill>
              </a:rPr>
              <a:t>RapidMiner</a:t>
            </a:r>
            <a:r>
              <a:rPr lang="de-DE" dirty="0">
                <a:solidFill>
                  <a:srgbClr val="000000"/>
                </a:solidFill>
              </a:rPr>
              <a:t> Tool Bugs und </a:t>
            </a:r>
            <a:r>
              <a:rPr lang="de-DE" dirty="0" err="1">
                <a:solidFill>
                  <a:srgbClr val="000000"/>
                </a:solidFill>
              </a:rPr>
              <a:t>troubleshooting</a:t>
            </a:r>
            <a:r>
              <a:rPr lang="de-DE" dirty="0">
                <a:solidFill>
                  <a:srgbClr val="000000"/>
                </a:solidFill>
              </a:rPr>
              <a:t> integrieren</a:t>
            </a:r>
          </a:p>
          <a:p>
            <a:pPr marL="285750" indent="-285750" algn="ctr">
              <a:buFont typeface="Arial" panose="020B0604020202020204" pitchFamily="34" charset="0"/>
              <a:buChar char="•"/>
            </a:pPr>
            <a:r>
              <a:rPr lang="de-DE" dirty="0" err="1">
                <a:solidFill>
                  <a:srgbClr val="000000"/>
                </a:solidFill>
              </a:rPr>
              <a:t>rapdiminer</a:t>
            </a:r>
            <a:r>
              <a:rPr lang="de-DE" dirty="0">
                <a:solidFill>
                  <a:srgbClr val="000000"/>
                </a:solidFill>
              </a:rPr>
              <a:t> </a:t>
            </a:r>
            <a:r>
              <a:rPr lang="de-DE" dirty="0" err="1">
                <a:solidFill>
                  <a:srgbClr val="000000"/>
                </a:solidFill>
              </a:rPr>
              <a:t>documentation</a:t>
            </a:r>
            <a:r>
              <a:rPr lang="de-DE" dirty="0">
                <a:solidFill>
                  <a:srgbClr val="000000"/>
                </a:solidFill>
              </a:rPr>
              <a:t>+ </a:t>
            </a:r>
            <a:r>
              <a:rPr lang="de-DE" dirty="0" err="1">
                <a:solidFill>
                  <a:srgbClr val="000000"/>
                </a:solidFill>
              </a:rPr>
              <a:t>rapidminer</a:t>
            </a:r>
            <a:r>
              <a:rPr lang="de-DE" dirty="0">
                <a:solidFill>
                  <a:srgbClr val="000000"/>
                </a:solidFill>
              </a:rPr>
              <a:t> </a:t>
            </a:r>
            <a:r>
              <a:rPr lang="de-DE" dirty="0" err="1">
                <a:solidFill>
                  <a:srgbClr val="000000"/>
                </a:solidFill>
              </a:rPr>
              <a:t>community</a:t>
            </a:r>
            <a:r>
              <a:rPr lang="de-DE" dirty="0">
                <a:solidFill>
                  <a:srgbClr val="000000"/>
                </a:solidFill>
              </a:rPr>
              <a:t> als Support</a:t>
            </a:r>
          </a:p>
        </p:txBody>
      </p:sp>
      <p:sp>
        <p:nvSpPr>
          <p:cNvPr id="3" name="Rechteck 2">
            <a:extLst>
              <a:ext uri="{FF2B5EF4-FFF2-40B4-BE49-F238E27FC236}">
                <a16:creationId xmlns:a16="http://schemas.microsoft.com/office/drawing/2014/main" id="{098354A4-CC45-BAAF-AD15-736CDF43BC00}"/>
              </a:ext>
            </a:extLst>
          </p:cNvPr>
          <p:cNvSpPr/>
          <p:nvPr/>
        </p:nvSpPr>
        <p:spPr>
          <a:xfrm>
            <a:off x="681140" y="989475"/>
            <a:ext cx="3150009" cy="229204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AutoNum type="arabicPeriod"/>
            </a:pPr>
            <a:r>
              <a:rPr lang="de-DE" sz="1000" dirty="0">
                <a:solidFill>
                  <a:srgbClr val="000000"/>
                </a:solidFill>
              </a:rPr>
              <a:t>Dataset hat nicht die gewünschten Ergebnisse geliefert -&gt; zusätzliche Informationen haben gefehlt (Geolocation) um Wetter &amp; Feiertagsbezüge herstellen zu können</a:t>
            </a:r>
          </a:p>
          <a:p>
            <a:pPr marL="342900" indent="-342900" algn="ctr">
              <a:buFont typeface="Arial"/>
              <a:buAutoNum type="arabicPeriod"/>
            </a:pPr>
            <a:r>
              <a:rPr lang="de-DE" sz="1000" dirty="0">
                <a:solidFill>
                  <a:srgbClr val="000000"/>
                </a:solidFill>
              </a:rPr>
              <a:t>&gt;Neuer Datensatz: Verlauf der Transaktionshäufigkeit nicht gleichmäßig über die Tage verteilt</a:t>
            </a:r>
          </a:p>
          <a:p>
            <a:pPr marL="342900" indent="-342900" algn="ctr">
              <a:buAutoNum type="arabicPeriod"/>
            </a:pPr>
            <a:r>
              <a:rPr lang="de-DE" sz="1000" dirty="0">
                <a:solidFill>
                  <a:srgbClr val="000000"/>
                </a:solidFill>
              </a:rPr>
              <a:t>Trotz </a:t>
            </a:r>
            <a:r>
              <a:rPr lang="de-DE" sz="1000" dirty="0" err="1">
                <a:solidFill>
                  <a:srgbClr val="000000"/>
                </a:solidFill>
              </a:rPr>
              <a:t>RapidMiner</a:t>
            </a:r>
            <a:r>
              <a:rPr lang="de-DE" sz="1000" dirty="0">
                <a:solidFill>
                  <a:srgbClr val="000000"/>
                </a:solidFill>
              </a:rPr>
              <a:t> Operatoren war eine manuelle Anpassung (Datenkategorisierung) notwendig</a:t>
            </a:r>
          </a:p>
          <a:p>
            <a:pPr marL="342900" indent="-342900" algn="ctr">
              <a:buAutoNum type="arabicPeriod"/>
            </a:pPr>
            <a:r>
              <a:rPr lang="de-DE" sz="1000" dirty="0">
                <a:solidFill>
                  <a:srgbClr val="000000"/>
                </a:solidFill>
              </a:rPr>
              <a:t>MBA erwies sich als anspruchsvoller als anfangs gedacht</a:t>
            </a:r>
          </a:p>
        </p:txBody>
      </p:sp>
      <p:sp>
        <p:nvSpPr>
          <p:cNvPr id="4" name="Rechteck 3">
            <a:extLst>
              <a:ext uri="{FF2B5EF4-FFF2-40B4-BE49-F238E27FC236}">
                <a16:creationId xmlns:a16="http://schemas.microsoft.com/office/drawing/2014/main" id="{4DCF0333-A3A3-2AD9-ABE9-555417F0E295}"/>
              </a:ext>
            </a:extLst>
          </p:cNvPr>
          <p:cNvSpPr/>
          <p:nvPr/>
        </p:nvSpPr>
        <p:spPr>
          <a:xfrm>
            <a:off x="6496663" y="3742683"/>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solidFill>
                  <a:srgbClr val="000000"/>
                </a:solidFill>
              </a:rPr>
              <a:t>Results</a:t>
            </a:r>
            <a:r>
              <a:rPr lang="de-DE" dirty="0">
                <a:solidFill>
                  <a:srgbClr val="000000"/>
                </a:solidFill>
              </a:rPr>
              <a:t> Blocker</a:t>
            </a:r>
          </a:p>
        </p:txBody>
      </p:sp>
      <p:sp>
        <p:nvSpPr>
          <p:cNvPr id="7" name="Rechteck 6">
            <a:extLst>
              <a:ext uri="{FF2B5EF4-FFF2-40B4-BE49-F238E27FC236}">
                <a16:creationId xmlns:a16="http://schemas.microsoft.com/office/drawing/2014/main" id="{BAF9C05B-1A72-E1B2-73D4-A666D4FD2A48}"/>
              </a:ext>
            </a:extLst>
          </p:cNvPr>
          <p:cNvSpPr/>
          <p:nvPr/>
        </p:nvSpPr>
        <p:spPr>
          <a:xfrm>
            <a:off x="1147914" y="3467712"/>
            <a:ext cx="3932905" cy="139556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Wetterdatensatz auf Monat und nicht auf den Tag &gt; Ungenauer als ursprünglich</a:t>
            </a:r>
          </a:p>
          <a:p>
            <a:pPr algn="ctr"/>
            <a:r>
              <a:rPr lang="de-DE" dirty="0">
                <a:solidFill>
                  <a:srgbClr val="000000"/>
                </a:solidFill>
                <a:sym typeface="Wingdings" panose="05000000000000000000" pitchFamily="2" charset="2"/>
              </a:rPr>
              <a:t> Keine bessere, kostenlose Daten verfügbar </a:t>
            </a:r>
            <a:endParaRPr lang="de-DE" dirty="0">
              <a:solidFill>
                <a:srgbClr val="000000"/>
              </a:solidFill>
            </a:endParaRPr>
          </a:p>
        </p:txBody>
      </p:sp>
      <p:sp>
        <p:nvSpPr>
          <p:cNvPr id="9" name="Rechteck 8">
            <a:extLst>
              <a:ext uri="{FF2B5EF4-FFF2-40B4-BE49-F238E27FC236}">
                <a16:creationId xmlns:a16="http://schemas.microsoft.com/office/drawing/2014/main" id="{DD786147-3A5B-1CAA-83CD-BC3B27916A34}"/>
              </a:ext>
            </a:extLst>
          </p:cNvPr>
          <p:cNvSpPr/>
          <p:nvPr/>
        </p:nvSpPr>
        <p:spPr>
          <a:xfrm>
            <a:off x="6856164" y="2486612"/>
            <a:ext cx="2279843" cy="112059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000000"/>
                </a:solidFill>
              </a:rPr>
              <a:t>Forschungsausblick: Live Demonstration der Assoziationsregel-Ergebnisse</a:t>
            </a:r>
          </a:p>
        </p:txBody>
      </p:sp>
    </p:spTree>
    <p:extLst>
      <p:ext uri="{BB962C8B-B14F-4D97-AF65-F5344CB8AC3E}">
        <p14:creationId xmlns:p14="http://schemas.microsoft.com/office/powerpoint/2010/main" val="40442221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281080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cope</a:t>
            </a:r>
            <a:endParaRPr lang="de-DE" dirty="0"/>
          </a:p>
        </p:txBody>
      </p:sp>
      <p:grpSp>
        <p:nvGrpSpPr>
          <p:cNvPr id="66" name="Gruppieren 65">
            <a:extLst>
              <a:ext uri="{FF2B5EF4-FFF2-40B4-BE49-F238E27FC236}">
                <a16:creationId xmlns:a16="http://schemas.microsoft.com/office/drawing/2014/main" id="{EFD7E1C1-5E23-B524-B2D5-FECE5A9B2089}"/>
              </a:ext>
            </a:extLst>
          </p:cNvPr>
          <p:cNvGrpSpPr/>
          <p:nvPr/>
        </p:nvGrpSpPr>
        <p:grpSpPr>
          <a:xfrm>
            <a:off x="3861131" y="998675"/>
            <a:ext cx="1226338" cy="3916203"/>
            <a:chOff x="3861131" y="998675"/>
            <a:chExt cx="1226338" cy="3916203"/>
          </a:xfrm>
        </p:grpSpPr>
        <p:sp>
          <p:nvSpPr>
            <p:cNvPr id="23" name="Rechteck 22">
              <a:extLst>
                <a:ext uri="{FF2B5EF4-FFF2-40B4-BE49-F238E27FC236}">
                  <a16:creationId xmlns:a16="http://schemas.microsoft.com/office/drawing/2014/main" id="{35CA203C-D741-73F3-8B54-02DF79839E03}"/>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588A8F7-DDF6-EC4B-78A3-17A1CE71BF9F}"/>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411FB81D-ED35-FF85-B533-17E8B02876DF}"/>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D94E0007-4556-9B90-EF58-3740F080774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0883B4B8-BD8A-4DA3-18B1-E4F4BB7ED74F}"/>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274768B3-335D-E016-F153-A174E86E52F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8E0B5ADA-5392-812F-5652-707A847D47C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F4B8CEB2-8C42-6A18-8B0A-EDCCDC233269}"/>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841D61F7-E480-15A6-8654-314F6B4E73DA}"/>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DF5DADB-3FD1-F6AE-F4E0-D8FC5C32F0B3}"/>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58020C84-9017-B463-0C14-ED595CAAEDF1}"/>
                </a:ext>
              </a:extLst>
            </p:cNvPr>
            <p:cNvSpPr/>
            <p:nvPr/>
          </p:nvSpPr>
          <p:spPr>
            <a:xfrm rot="2700000">
              <a:off x="3861131" y="3201480"/>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8EAC37E3-1AF5-9156-0F6B-84BBE0349B07}"/>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77E250E1-3EDA-88AC-6402-3276F1BB0AFF}"/>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lussdiagramm: Alternativer Prozess 27">
              <a:extLst>
                <a:ext uri="{FF2B5EF4-FFF2-40B4-BE49-F238E27FC236}">
                  <a16:creationId xmlns:a16="http://schemas.microsoft.com/office/drawing/2014/main" id="{C92671B7-9555-217F-91BD-AB0A9E8F64DA}"/>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lussdiagramm: Alternativer Prozess 30">
              <a:extLst>
                <a:ext uri="{FF2B5EF4-FFF2-40B4-BE49-F238E27FC236}">
                  <a16:creationId xmlns:a16="http://schemas.microsoft.com/office/drawing/2014/main" id="{EB927ACD-E854-4ADE-7D4A-63920FA2E7BF}"/>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lussdiagramm: Alternativer Prozess 31">
              <a:extLst>
                <a:ext uri="{FF2B5EF4-FFF2-40B4-BE49-F238E27FC236}">
                  <a16:creationId xmlns:a16="http://schemas.microsoft.com/office/drawing/2014/main" id="{3686D34C-C2C3-19D7-55D2-CCFF6E5D7E0A}"/>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Flussdiagramm: Alternativer Prozess 32">
              <a:extLst>
                <a:ext uri="{FF2B5EF4-FFF2-40B4-BE49-F238E27FC236}">
                  <a16:creationId xmlns:a16="http://schemas.microsoft.com/office/drawing/2014/main" id="{C3D648C6-92A0-A94E-1963-92B0A5DEB92E}"/>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lussdiagramm: Alternativer Prozess 33">
              <a:extLst>
                <a:ext uri="{FF2B5EF4-FFF2-40B4-BE49-F238E27FC236}">
                  <a16:creationId xmlns:a16="http://schemas.microsoft.com/office/drawing/2014/main" id="{41034BFF-47C8-5FA3-D36A-8B9F5DD6C6F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lussdiagramm: Alternativer Prozess 34">
              <a:extLst>
                <a:ext uri="{FF2B5EF4-FFF2-40B4-BE49-F238E27FC236}">
                  <a16:creationId xmlns:a16="http://schemas.microsoft.com/office/drawing/2014/main" id="{17C63FEF-8740-16FE-7ACB-3399F1EF9072}"/>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lussdiagramm: Alternativer Prozess 35">
              <a:extLst>
                <a:ext uri="{FF2B5EF4-FFF2-40B4-BE49-F238E27FC236}">
                  <a16:creationId xmlns:a16="http://schemas.microsoft.com/office/drawing/2014/main" id="{AEB3D12F-1C92-8EB6-DEC9-0A8D8549DF21}"/>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oogle Shape;9903;p58">
              <a:extLst>
                <a:ext uri="{FF2B5EF4-FFF2-40B4-BE49-F238E27FC236}">
                  <a16:creationId xmlns:a16="http://schemas.microsoft.com/office/drawing/2014/main" id="{EB4E2EA0-8B45-3D5E-707A-7B9D4AF7AF28}"/>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8FED7FA2-369C-7C92-4340-2096B57056D9}"/>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7430C5FA-3545-7169-4CA8-C7A3A1AB79C7}"/>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746194C5-A573-A8DE-A3B0-8182BB17C41B}"/>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6" name="Picture 4" descr="Market Basket Analysis">
              <a:extLst>
                <a:ext uri="{FF2B5EF4-FFF2-40B4-BE49-F238E27FC236}">
                  <a16:creationId xmlns:a16="http://schemas.microsoft.com/office/drawing/2014/main" id="{16094002-6BE9-D4DB-0712-6BEDBA4ECC9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oogle Shape;11111;p60">
              <a:extLst>
                <a:ext uri="{FF2B5EF4-FFF2-40B4-BE49-F238E27FC236}">
                  <a16:creationId xmlns:a16="http://schemas.microsoft.com/office/drawing/2014/main" id="{569E0D31-63C6-DF8C-5080-594397450A69}"/>
                </a:ext>
              </a:extLst>
            </p:cNvPr>
            <p:cNvGrpSpPr/>
            <p:nvPr/>
          </p:nvGrpSpPr>
          <p:grpSpPr>
            <a:xfrm>
              <a:off x="3943071" y="2187269"/>
              <a:ext cx="452162" cy="407356"/>
              <a:chOff x="3988156" y="3380210"/>
              <a:chExt cx="353954" cy="318880"/>
            </a:xfrm>
            <a:solidFill>
              <a:schemeClr val="bg1"/>
            </a:solidFill>
          </p:grpSpPr>
          <p:sp>
            <p:nvSpPr>
              <p:cNvPr id="48" name="Google Shape;11112;p60">
                <a:extLst>
                  <a:ext uri="{FF2B5EF4-FFF2-40B4-BE49-F238E27FC236}">
                    <a16:creationId xmlns:a16="http://schemas.microsoft.com/office/drawing/2014/main" id="{C6C4ECB1-6B0B-422C-0799-04EFD7A97F65}"/>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113;p60">
                <a:extLst>
                  <a:ext uri="{FF2B5EF4-FFF2-40B4-BE49-F238E27FC236}">
                    <a16:creationId xmlns:a16="http://schemas.microsoft.com/office/drawing/2014/main" id="{E9FBF203-51AA-DD1C-23CD-DA939D639ED8}"/>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114;p60">
                <a:extLst>
                  <a:ext uri="{FF2B5EF4-FFF2-40B4-BE49-F238E27FC236}">
                    <a16:creationId xmlns:a16="http://schemas.microsoft.com/office/drawing/2014/main" id="{8AA5F7EB-3006-6E67-C1B5-9C20308C3F99}"/>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1115;p60">
                <a:extLst>
                  <a:ext uri="{FF2B5EF4-FFF2-40B4-BE49-F238E27FC236}">
                    <a16:creationId xmlns:a16="http://schemas.microsoft.com/office/drawing/2014/main" id="{E3F696CF-B055-3F14-AC80-3BF0A9117AE6}"/>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1116;p60">
                <a:extLst>
                  <a:ext uri="{FF2B5EF4-FFF2-40B4-BE49-F238E27FC236}">
                    <a16:creationId xmlns:a16="http://schemas.microsoft.com/office/drawing/2014/main" id="{B7BF5BD6-3775-1D3F-3CE6-DCE6738A7C95}"/>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13596;p64">
              <a:extLst>
                <a:ext uri="{FF2B5EF4-FFF2-40B4-BE49-F238E27FC236}">
                  <a16:creationId xmlns:a16="http://schemas.microsoft.com/office/drawing/2014/main" id="{E4A9F3A8-AE45-E92C-CF33-D985A9BA9806}"/>
                </a:ext>
              </a:extLst>
            </p:cNvPr>
            <p:cNvGrpSpPr/>
            <p:nvPr/>
          </p:nvGrpSpPr>
          <p:grpSpPr>
            <a:xfrm>
              <a:off x="4486810" y="2781221"/>
              <a:ext cx="491309" cy="416197"/>
              <a:chOff x="2770052" y="2009628"/>
              <a:chExt cx="327085" cy="277080"/>
            </a:xfrm>
            <a:solidFill>
              <a:schemeClr val="bg1"/>
            </a:solidFill>
          </p:grpSpPr>
          <p:sp>
            <p:nvSpPr>
              <p:cNvPr id="54" name="Google Shape;13597;p64">
                <a:extLst>
                  <a:ext uri="{FF2B5EF4-FFF2-40B4-BE49-F238E27FC236}">
                    <a16:creationId xmlns:a16="http://schemas.microsoft.com/office/drawing/2014/main" id="{CA968488-DCCC-A51F-A7DF-1798D1CB1A4F}"/>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3598;p64">
                <a:extLst>
                  <a:ext uri="{FF2B5EF4-FFF2-40B4-BE49-F238E27FC236}">
                    <a16:creationId xmlns:a16="http://schemas.microsoft.com/office/drawing/2014/main" id="{D40254E3-1E70-38FE-EC2D-B4DAD89967E1}"/>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 name="Google Shape;13305;p64">
              <a:extLst>
                <a:ext uri="{FF2B5EF4-FFF2-40B4-BE49-F238E27FC236}">
                  <a16:creationId xmlns:a16="http://schemas.microsoft.com/office/drawing/2014/main" id="{804E30F4-E200-3B26-5FA3-3E2E353A7193}"/>
                </a:ext>
              </a:extLst>
            </p:cNvPr>
            <p:cNvGrpSpPr/>
            <p:nvPr/>
          </p:nvGrpSpPr>
          <p:grpSpPr>
            <a:xfrm>
              <a:off x="3951836" y="3310721"/>
              <a:ext cx="431236" cy="384250"/>
              <a:chOff x="1327676" y="2910480"/>
              <a:chExt cx="347934" cy="310024"/>
            </a:xfrm>
            <a:solidFill>
              <a:schemeClr val="bg1"/>
            </a:solidFill>
          </p:grpSpPr>
          <p:sp>
            <p:nvSpPr>
              <p:cNvPr id="57" name="Google Shape;13306;p64">
                <a:extLst>
                  <a:ext uri="{FF2B5EF4-FFF2-40B4-BE49-F238E27FC236}">
                    <a16:creationId xmlns:a16="http://schemas.microsoft.com/office/drawing/2014/main" id="{C0E70933-FAD6-A43E-0556-4D2014F973C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3307;p64">
                <a:extLst>
                  <a:ext uri="{FF2B5EF4-FFF2-40B4-BE49-F238E27FC236}">
                    <a16:creationId xmlns:a16="http://schemas.microsoft.com/office/drawing/2014/main" id="{5B4F0258-2AE0-4BF6-C588-C56714514300}"/>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3308;p64">
                <a:extLst>
                  <a:ext uri="{FF2B5EF4-FFF2-40B4-BE49-F238E27FC236}">
                    <a16:creationId xmlns:a16="http://schemas.microsoft.com/office/drawing/2014/main" id="{AA7FCD1F-43B0-26E9-6694-6641E24099E2}"/>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3309;p64">
                <a:extLst>
                  <a:ext uri="{FF2B5EF4-FFF2-40B4-BE49-F238E27FC236}">
                    <a16:creationId xmlns:a16="http://schemas.microsoft.com/office/drawing/2014/main" id="{63A042E0-D4C5-AEA4-8DDE-2E46CB299EA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3310;p64">
                <a:extLst>
                  <a:ext uri="{FF2B5EF4-FFF2-40B4-BE49-F238E27FC236}">
                    <a16:creationId xmlns:a16="http://schemas.microsoft.com/office/drawing/2014/main" id="{B9235062-D4FE-0E2E-526D-B421058B6B72}"/>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3" name="Grafik 62" descr="Money outline">
              <a:extLst>
                <a:ext uri="{FF2B5EF4-FFF2-40B4-BE49-F238E27FC236}">
                  <a16:creationId xmlns:a16="http://schemas.microsoft.com/office/drawing/2014/main" id="{6AA91449-F0BD-2E06-C2EB-466A7B884F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3971" y="4351200"/>
              <a:ext cx="444321" cy="444321"/>
            </a:xfrm>
            <a:prstGeom prst="rect">
              <a:avLst/>
            </a:prstGeom>
          </p:spPr>
        </p:pic>
        <p:pic>
          <p:nvPicPr>
            <p:cNvPr id="65" name="Grafik 64" descr="Mandala outline">
              <a:extLst>
                <a:ext uri="{FF2B5EF4-FFF2-40B4-BE49-F238E27FC236}">
                  <a16:creationId xmlns:a16="http://schemas.microsoft.com/office/drawing/2014/main" id="{67509894-9FAE-8944-CEBD-14055F6749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452360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extLst>
              <p:ext uri="{D42A27DB-BD31-4B8C-83A1-F6EECF244321}">
                <p14:modId xmlns:p14="http://schemas.microsoft.com/office/powerpoint/2010/main" val="16987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führen eine </a:t>
            </a:r>
            <a:r>
              <a:rPr lang="de-DE" sz="1400" b="1" dirty="0">
                <a:solidFill>
                  <a:srgbClr val="00CFCC"/>
                </a:solidFill>
              </a:rPr>
              <a:t>Market Basket Analysis</a:t>
            </a:r>
            <a:r>
              <a:rPr lang="de-DE" sz="1400" dirty="0">
                <a:solidFill>
                  <a:srgbClr val="00CFCC"/>
                </a:solidFill>
              </a:rPr>
              <a:t> </a:t>
            </a:r>
            <a:r>
              <a:rPr lang="de-DE" sz="1400" dirty="0"/>
              <a:t>auf Basis einer </a:t>
            </a:r>
            <a:r>
              <a:rPr lang="de-DE" sz="1400" b="1" dirty="0">
                <a:solidFill>
                  <a:srgbClr val="00CFCC"/>
                </a:solidFill>
              </a:rPr>
              <a:t>Kaufhistorie</a:t>
            </a:r>
            <a:r>
              <a:rPr lang="de-DE" sz="1400" dirty="0"/>
              <a:t> durch, um </a:t>
            </a:r>
            <a:r>
              <a:rPr lang="de-DE" sz="1400" b="1" dirty="0">
                <a:solidFill>
                  <a:srgbClr val="00CFCC"/>
                </a:solidFill>
              </a:rPr>
              <a:t>Assoziations-Regeln</a:t>
            </a:r>
            <a:r>
              <a:rPr lang="de-DE" sz="1400" dirty="0"/>
              <a:t> zu identifizieren</a:t>
            </a:r>
          </a:p>
          <a:p>
            <a:pPr marL="0" indent="0">
              <a:buNone/>
            </a:pPr>
            <a:endParaRPr lang="de-DE" sz="1400" dirty="0"/>
          </a:p>
          <a:p>
            <a:pPr marL="285750" indent="-285750"/>
            <a:r>
              <a:rPr lang="de-DE" sz="1400" dirty="0"/>
              <a:t>Kaufen Kunden, die Kaffee kaufen, auch häufig Kuchen? </a:t>
            </a:r>
          </a:p>
          <a:p>
            <a:pPr marL="285750" indent="-285750"/>
            <a:endParaRPr lang="de-DE" sz="1400" dirty="0"/>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ruppieren 2">
            <a:extLst>
              <a:ext uri="{FF2B5EF4-FFF2-40B4-BE49-F238E27FC236}">
                <a16:creationId xmlns:a16="http://schemas.microsoft.com/office/drawing/2014/main" id="{CCA68D0C-09FB-A625-CD6C-B0278CBF6105}"/>
              </a:ext>
            </a:extLst>
          </p:cNvPr>
          <p:cNvGrpSpPr/>
          <p:nvPr/>
        </p:nvGrpSpPr>
        <p:grpSpPr>
          <a:xfrm>
            <a:off x="5953123" y="1193218"/>
            <a:ext cx="874672" cy="2792320"/>
            <a:chOff x="3860749" y="998675"/>
            <a:chExt cx="1226720" cy="3916203"/>
          </a:xfrm>
        </p:grpSpPr>
        <p:sp>
          <p:nvSpPr>
            <p:cNvPr id="4" name="Rechteck 3">
              <a:extLst>
                <a:ext uri="{FF2B5EF4-FFF2-40B4-BE49-F238E27FC236}">
                  <a16:creationId xmlns:a16="http://schemas.microsoft.com/office/drawing/2014/main" id="{27C1D71E-592D-F6BB-EA09-86C93B67BE2E}"/>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F63077E8-5CC1-551A-3A9A-3A7950DAC601}"/>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9C796235-4598-8410-7D32-7EDBAFA67444}"/>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Alternativer Prozess 6">
              <a:extLst>
                <a:ext uri="{FF2B5EF4-FFF2-40B4-BE49-F238E27FC236}">
                  <a16:creationId xmlns:a16="http://schemas.microsoft.com/office/drawing/2014/main" id="{2323277F-84E5-DD05-CECD-9A0B1956483B}"/>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A606C688-AA74-D82E-45BC-D652065D927E}"/>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1803090-6EBC-675B-9340-AE4F88A65751}"/>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0147B25-7F86-2F2E-87F4-5E520F79411E}"/>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lussdiagramm: Alternativer Prozess 10">
              <a:extLst>
                <a:ext uri="{FF2B5EF4-FFF2-40B4-BE49-F238E27FC236}">
                  <a16:creationId xmlns:a16="http://schemas.microsoft.com/office/drawing/2014/main" id="{B7F816A1-7321-B7F5-EB7F-5373EFE8050B}"/>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lussdiagramm: Alternativer Prozess 11">
              <a:extLst>
                <a:ext uri="{FF2B5EF4-FFF2-40B4-BE49-F238E27FC236}">
                  <a16:creationId xmlns:a16="http://schemas.microsoft.com/office/drawing/2014/main" id="{AD1F83DA-8F40-950D-E0FD-6E1AC9C19302}"/>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lussdiagramm: Alternativer Prozess 12">
              <a:extLst>
                <a:ext uri="{FF2B5EF4-FFF2-40B4-BE49-F238E27FC236}">
                  <a16:creationId xmlns:a16="http://schemas.microsoft.com/office/drawing/2014/main" id="{3120AAD4-6658-DD27-278C-244F72F076D0}"/>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lussdiagramm: Alternativer Prozess 13">
              <a:extLst>
                <a:ext uri="{FF2B5EF4-FFF2-40B4-BE49-F238E27FC236}">
                  <a16:creationId xmlns:a16="http://schemas.microsoft.com/office/drawing/2014/main" id="{E79260AB-49CE-C448-1ADE-91E1E7544338}"/>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lussdiagramm: Alternativer Prozess 14">
              <a:extLst>
                <a:ext uri="{FF2B5EF4-FFF2-40B4-BE49-F238E27FC236}">
                  <a16:creationId xmlns:a16="http://schemas.microsoft.com/office/drawing/2014/main" id="{0F51BDC2-27B2-8DEC-35AC-39203B6DB73C}"/>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lussdiagramm: Alternativer Prozess 15">
              <a:extLst>
                <a:ext uri="{FF2B5EF4-FFF2-40B4-BE49-F238E27FC236}">
                  <a16:creationId xmlns:a16="http://schemas.microsoft.com/office/drawing/2014/main" id="{68C7A059-94F8-5BCC-A39B-71B7F85E964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lussdiagramm: Alternativer Prozess 16">
              <a:extLst>
                <a:ext uri="{FF2B5EF4-FFF2-40B4-BE49-F238E27FC236}">
                  <a16:creationId xmlns:a16="http://schemas.microsoft.com/office/drawing/2014/main" id="{B1F71BC3-7A4B-826A-6E68-220E7DC9298E}"/>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lternativer Prozess 17">
              <a:extLst>
                <a:ext uri="{FF2B5EF4-FFF2-40B4-BE49-F238E27FC236}">
                  <a16:creationId xmlns:a16="http://schemas.microsoft.com/office/drawing/2014/main" id="{28A5F707-DFAC-7B57-093C-2A266EA197C5}"/>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lussdiagramm: Alternativer Prozess 18">
              <a:extLst>
                <a:ext uri="{FF2B5EF4-FFF2-40B4-BE49-F238E27FC236}">
                  <a16:creationId xmlns:a16="http://schemas.microsoft.com/office/drawing/2014/main" id="{9E3154E4-2FAF-9C3E-4031-0B916852F24B}"/>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lussdiagramm: Alternativer Prozess 19">
              <a:extLst>
                <a:ext uri="{FF2B5EF4-FFF2-40B4-BE49-F238E27FC236}">
                  <a16:creationId xmlns:a16="http://schemas.microsoft.com/office/drawing/2014/main" id="{55FB4B6F-9447-5A44-C11B-EB9926ABAA8F}"/>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lussdiagramm: Alternativer Prozess 20">
              <a:extLst>
                <a:ext uri="{FF2B5EF4-FFF2-40B4-BE49-F238E27FC236}">
                  <a16:creationId xmlns:a16="http://schemas.microsoft.com/office/drawing/2014/main" id="{45D10ABB-632D-40CF-D52F-6BAB07A00344}"/>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lussdiagramm: Alternativer Prozess 21">
              <a:extLst>
                <a:ext uri="{FF2B5EF4-FFF2-40B4-BE49-F238E27FC236}">
                  <a16:creationId xmlns:a16="http://schemas.microsoft.com/office/drawing/2014/main" id="{CBE368A7-942B-CDA0-6296-F3DC268819BB}"/>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lussdiagramm: Alternativer Prozess 22">
              <a:extLst>
                <a:ext uri="{FF2B5EF4-FFF2-40B4-BE49-F238E27FC236}">
                  <a16:creationId xmlns:a16="http://schemas.microsoft.com/office/drawing/2014/main" id="{231B585A-4008-449C-F6F8-73CF4D9AC3D0}"/>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 name="Google Shape;9903;p58">
              <a:extLst>
                <a:ext uri="{FF2B5EF4-FFF2-40B4-BE49-F238E27FC236}">
                  <a16:creationId xmlns:a16="http://schemas.microsoft.com/office/drawing/2014/main" id="{E5BF7AEB-F12C-EA78-8DEE-040A86A09FDB}"/>
                </a:ext>
              </a:extLst>
            </p:cNvPr>
            <p:cNvGrpSpPr/>
            <p:nvPr/>
          </p:nvGrpSpPr>
          <p:grpSpPr>
            <a:xfrm>
              <a:off x="3969198" y="1151132"/>
              <a:ext cx="372835" cy="342573"/>
              <a:chOff x="1952836" y="2774422"/>
              <a:chExt cx="372835" cy="342573"/>
            </a:xfrm>
            <a:solidFill>
              <a:schemeClr val="bg1"/>
            </a:solidFill>
          </p:grpSpPr>
          <p:sp>
            <p:nvSpPr>
              <p:cNvPr id="43" name="Google Shape;9904;p58">
                <a:extLst>
                  <a:ext uri="{FF2B5EF4-FFF2-40B4-BE49-F238E27FC236}">
                    <a16:creationId xmlns:a16="http://schemas.microsoft.com/office/drawing/2014/main" id="{1BBA9121-79C0-7C12-E97F-5F42E7AC4DFB}"/>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905;p58">
                <a:extLst>
                  <a:ext uri="{FF2B5EF4-FFF2-40B4-BE49-F238E27FC236}">
                    <a16:creationId xmlns:a16="http://schemas.microsoft.com/office/drawing/2014/main" id="{650D3D64-466A-B6FC-C257-D090B2DC0556}"/>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906;p58">
                <a:extLst>
                  <a:ext uri="{FF2B5EF4-FFF2-40B4-BE49-F238E27FC236}">
                    <a16:creationId xmlns:a16="http://schemas.microsoft.com/office/drawing/2014/main" id="{80ECF52D-413E-7C66-6006-9741F09CE342}"/>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5" name="Picture 4" descr="Market Basket Analysis">
              <a:extLst>
                <a:ext uri="{FF2B5EF4-FFF2-40B4-BE49-F238E27FC236}">
                  <a16:creationId xmlns:a16="http://schemas.microsoft.com/office/drawing/2014/main" id="{94ED2C78-E7FF-98A7-B4BD-A4665A58184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oogle Shape;11111;p60">
              <a:extLst>
                <a:ext uri="{FF2B5EF4-FFF2-40B4-BE49-F238E27FC236}">
                  <a16:creationId xmlns:a16="http://schemas.microsoft.com/office/drawing/2014/main" id="{EB82CFAF-A523-EE6B-97B6-CE98F6C49511}"/>
                </a:ext>
              </a:extLst>
            </p:cNvPr>
            <p:cNvGrpSpPr/>
            <p:nvPr/>
          </p:nvGrpSpPr>
          <p:grpSpPr>
            <a:xfrm>
              <a:off x="3943071" y="2187269"/>
              <a:ext cx="452162" cy="407356"/>
              <a:chOff x="3988156" y="3380210"/>
              <a:chExt cx="353954" cy="318880"/>
            </a:xfrm>
            <a:solidFill>
              <a:schemeClr val="bg1"/>
            </a:solidFill>
          </p:grpSpPr>
          <p:sp>
            <p:nvSpPr>
              <p:cNvPr id="38" name="Google Shape;11112;p60">
                <a:extLst>
                  <a:ext uri="{FF2B5EF4-FFF2-40B4-BE49-F238E27FC236}">
                    <a16:creationId xmlns:a16="http://schemas.microsoft.com/office/drawing/2014/main" id="{5F172374-F2F0-9252-B322-301652038E7B}"/>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113;p60">
                <a:extLst>
                  <a:ext uri="{FF2B5EF4-FFF2-40B4-BE49-F238E27FC236}">
                    <a16:creationId xmlns:a16="http://schemas.microsoft.com/office/drawing/2014/main" id="{95CCBA64-C461-08F3-8D03-F060516491EB}"/>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114;p60">
                <a:extLst>
                  <a:ext uri="{FF2B5EF4-FFF2-40B4-BE49-F238E27FC236}">
                    <a16:creationId xmlns:a16="http://schemas.microsoft.com/office/drawing/2014/main" id="{B200889D-921E-C628-6DA4-445AA20F939B}"/>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1115;p60">
                <a:extLst>
                  <a:ext uri="{FF2B5EF4-FFF2-40B4-BE49-F238E27FC236}">
                    <a16:creationId xmlns:a16="http://schemas.microsoft.com/office/drawing/2014/main" id="{DD7DD4E7-5CE4-097B-8C13-F8EFAFCBBCAE}"/>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1116;p60">
                <a:extLst>
                  <a:ext uri="{FF2B5EF4-FFF2-40B4-BE49-F238E27FC236}">
                    <a16:creationId xmlns:a16="http://schemas.microsoft.com/office/drawing/2014/main" id="{E4AB9AC3-0825-675B-A028-AE9B4DE945F7}"/>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7" name="Google Shape;13596;p64">
              <a:extLst>
                <a:ext uri="{FF2B5EF4-FFF2-40B4-BE49-F238E27FC236}">
                  <a16:creationId xmlns:a16="http://schemas.microsoft.com/office/drawing/2014/main" id="{BE1A41AF-3247-FEC1-7E42-E791D88E9C71}"/>
                </a:ext>
              </a:extLst>
            </p:cNvPr>
            <p:cNvGrpSpPr/>
            <p:nvPr/>
          </p:nvGrpSpPr>
          <p:grpSpPr>
            <a:xfrm>
              <a:off x="4486810" y="2781221"/>
              <a:ext cx="491309" cy="416197"/>
              <a:chOff x="2770052" y="2009628"/>
              <a:chExt cx="327085" cy="277080"/>
            </a:xfrm>
            <a:solidFill>
              <a:schemeClr val="bg1"/>
            </a:solidFill>
          </p:grpSpPr>
          <p:sp>
            <p:nvSpPr>
              <p:cNvPr id="36" name="Google Shape;13597;p64">
                <a:extLst>
                  <a:ext uri="{FF2B5EF4-FFF2-40B4-BE49-F238E27FC236}">
                    <a16:creationId xmlns:a16="http://schemas.microsoft.com/office/drawing/2014/main" id="{052821A4-6A92-A105-3D70-1F187D7822B8}"/>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598;p64">
                <a:extLst>
                  <a:ext uri="{FF2B5EF4-FFF2-40B4-BE49-F238E27FC236}">
                    <a16:creationId xmlns:a16="http://schemas.microsoft.com/office/drawing/2014/main" id="{25681056-5AE1-DB99-1E92-9ED7CB0E791A}"/>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 name="Google Shape;13305;p64">
              <a:extLst>
                <a:ext uri="{FF2B5EF4-FFF2-40B4-BE49-F238E27FC236}">
                  <a16:creationId xmlns:a16="http://schemas.microsoft.com/office/drawing/2014/main" id="{F917936F-39C9-19C6-0CFA-1216BAC50B45}"/>
                </a:ext>
              </a:extLst>
            </p:cNvPr>
            <p:cNvGrpSpPr/>
            <p:nvPr/>
          </p:nvGrpSpPr>
          <p:grpSpPr>
            <a:xfrm>
              <a:off x="3951836" y="3310721"/>
              <a:ext cx="431236" cy="384250"/>
              <a:chOff x="1327676" y="2910480"/>
              <a:chExt cx="347934" cy="310024"/>
            </a:xfrm>
            <a:solidFill>
              <a:schemeClr val="bg1"/>
            </a:solidFill>
          </p:grpSpPr>
          <p:sp>
            <p:nvSpPr>
              <p:cNvPr id="31" name="Google Shape;13306;p64">
                <a:extLst>
                  <a:ext uri="{FF2B5EF4-FFF2-40B4-BE49-F238E27FC236}">
                    <a16:creationId xmlns:a16="http://schemas.microsoft.com/office/drawing/2014/main" id="{368EE152-BEB2-F86D-91B4-8E22F2759BEB}"/>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307;p64">
                <a:extLst>
                  <a:ext uri="{FF2B5EF4-FFF2-40B4-BE49-F238E27FC236}">
                    <a16:creationId xmlns:a16="http://schemas.microsoft.com/office/drawing/2014/main" id="{FC2D4312-EB56-592C-ACEE-CDA91C942E06}"/>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308;p64">
                <a:extLst>
                  <a:ext uri="{FF2B5EF4-FFF2-40B4-BE49-F238E27FC236}">
                    <a16:creationId xmlns:a16="http://schemas.microsoft.com/office/drawing/2014/main" id="{77A9A22A-398B-F9FF-1E65-279EE9D7CF68}"/>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309;p64">
                <a:extLst>
                  <a:ext uri="{FF2B5EF4-FFF2-40B4-BE49-F238E27FC236}">
                    <a16:creationId xmlns:a16="http://schemas.microsoft.com/office/drawing/2014/main" id="{C4BADE5B-8755-055D-A828-43AAEB10B2CC}"/>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310;p64">
                <a:extLst>
                  <a:ext uri="{FF2B5EF4-FFF2-40B4-BE49-F238E27FC236}">
                    <a16:creationId xmlns:a16="http://schemas.microsoft.com/office/drawing/2014/main" id="{B4B256AA-C1DF-F38D-834D-6F3589BA9004}"/>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9" name="Grafik 28" descr="Money outline">
              <a:extLst>
                <a:ext uri="{FF2B5EF4-FFF2-40B4-BE49-F238E27FC236}">
                  <a16:creationId xmlns:a16="http://schemas.microsoft.com/office/drawing/2014/main" id="{8CA6E09A-51C2-3222-2CE5-3A9D437D01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30" name="Grafik 29" descr="Mandala outline">
              <a:extLst>
                <a:ext uri="{FF2B5EF4-FFF2-40B4-BE49-F238E27FC236}">
                  <a16:creationId xmlns:a16="http://schemas.microsoft.com/office/drawing/2014/main" id="{C154DB6E-66BC-EAE2-93F6-23A7290F1C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157651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399245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p:txBody>
          <a:bodyPr vert="horz"/>
          <a:lstStyle/>
          <a:p>
            <a:r>
              <a:rPr lang="de-DE" dirty="0" err="1"/>
              <a:t>Selection</a:t>
            </a:r>
            <a:r>
              <a:rPr lang="de-DE" dirty="0"/>
              <a:t> </a:t>
            </a:r>
            <a:r>
              <a:rPr lang="de-DE" dirty="0" err="1"/>
              <a:t>of</a:t>
            </a:r>
            <a:r>
              <a:rPr lang="de-DE" dirty="0"/>
              <a:t> </a:t>
            </a:r>
            <a:r>
              <a:rPr lang="de-DE" dirty="0" err="1"/>
              <a:t>data</a:t>
            </a:r>
            <a:r>
              <a:rPr lang="de-DE" dirty="0"/>
              <a:t> </a:t>
            </a:r>
            <a:r>
              <a:rPr lang="de-DE" dirty="0" err="1"/>
              <a:t>set</a:t>
            </a:r>
            <a:endParaRPr lang="de-DE" dirty="0"/>
          </a:p>
        </p:txBody>
      </p:sp>
      <p:pic>
        <p:nvPicPr>
          <p:cNvPr id="3" name="Grafik 2">
            <a:extLst>
              <a:ext uri="{FF2B5EF4-FFF2-40B4-BE49-F238E27FC236}">
                <a16:creationId xmlns:a16="http://schemas.microsoft.com/office/drawing/2014/main" id="{C2C83B4F-4A0E-A6C2-B8DE-37E2E79F55DC}"/>
              </a:ext>
            </a:extLst>
          </p:cNvPr>
          <p:cNvPicPr>
            <a:picLocks noChangeAspect="1"/>
          </p:cNvPicPr>
          <p:nvPr/>
        </p:nvPicPr>
        <p:blipFill>
          <a:blip r:embed="rId5"/>
          <a:stretch>
            <a:fillRect/>
          </a:stretch>
        </p:blipFill>
        <p:spPr>
          <a:xfrm>
            <a:off x="638011" y="989475"/>
            <a:ext cx="4708514" cy="1811884"/>
          </a:xfrm>
          <a:prstGeom prst="rect">
            <a:avLst/>
          </a:prstGeom>
        </p:spPr>
      </p:pic>
      <p:pic>
        <p:nvPicPr>
          <p:cNvPr id="4" name="Grafik 3">
            <a:extLst>
              <a:ext uri="{FF2B5EF4-FFF2-40B4-BE49-F238E27FC236}">
                <a16:creationId xmlns:a16="http://schemas.microsoft.com/office/drawing/2014/main" id="{94762459-6BC2-B0E3-7072-4B830CC6DCF9}"/>
              </a:ext>
            </a:extLst>
          </p:cNvPr>
          <p:cNvPicPr>
            <a:picLocks noChangeAspect="1"/>
          </p:cNvPicPr>
          <p:nvPr/>
        </p:nvPicPr>
        <p:blipFill>
          <a:blip r:embed="rId6"/>
          <a:stretch>
            <a:fillRect/>
          </a:stretch>
        </p:blipFill>
        <p:spPr>
          <a:xfrm>
            <a:off x="508866" y="2906080"/>
            <a:ext cx="4966804" cy="2016931"/>
          </a:xfrm>
          <a:prstGeom prst="rect">
            <a:avLst/>
          </a:prstGeom>
        </p:spPr>
      </p:pic>
    </p:spTree>
    <p:extLst>
      <p:ext uri="{BB962C8B-B14F-4D97-AF65-F5344CB8AC3E}">
        <p14:creationId xmlns:p14="http://schemas.microsoft.com/office/powerpoint/2010/main" val="26407916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Shape 464"/>
        <p:cNvGrpSpPr/>
        <p:nvPr/>
      </p:nvGrpSpPr>
      <p:grpSpPr>
        <a:xfrm>
          <a:off x="0" y="0"/>
          <a:ext cx="0" cy="0"/>
          <a:chOff x="0" y="0"/>
          <a:chExt cx="0" cy="0"/>
        </a:xfrm>
      </p:grpSpPr>
      <p:sp>
        <p:nvSpPr>
          <p:cNvPr id="465" name="Google Shape;465;p26"/>
          <p:cNvSpPr txBox="1">
            <a:spLocks noGrp="1"/>
          </p:cNvSpPr>
          <p:nvPr>
            <p:ph type="body" idx="1"/>
          </p:nvPr>
        </p:nvSpPr>
        <p:spPr>
          <a:xfrm>
            <a:off x="597375" y="1063525"/>
            <a:ext cx="7866900" cy="3786900"/>
          </a:xfrm>
          <a:prstGeom prst="rect">
            <a:avLst/>
          </a:prstGeom>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dirty="0"/>
              <a:t>Here’s what you’ll find in this </a:t>
            </a:r>
            <a:r>
              <a:rPr lang="en" dirty="0">
                <a:solidFill>
                  <a:schemeClr val="accent2"/>
                </a:solidFill>
                <a:uFill>
                  <a:noFill/>
                </a:uFill>
                <a:latin typeface="Maven Pro SemiBold"/>
                <a:ea typeface="Maven Pro SemiBold"/>
                <a:cs typeface="Maven Pro SemiBold"/>
                <a:sym typeface="Maven Pro SemiBold"/>
                <a:hlinkClick r:id="rId3">
                  <a:extLst>
                    <a:ext uri="{A12FA001-AC4F-418D-AE19-62706E023703}">
                      <ahyp:hlinkClr xmlns:ahyp="http://schemas.microsoft.com/office/drawing/2018/hyperlinkcolor" val="tx"/>
                    </a:ext>
                  </a:extLst>
                </a:hlinkClick>
              </a:rPr>
              <a:t>Slidesgo</a:t>
            </a:r>
            <a:r>
              <a:rPr lang="en" dirty="0">
                <a:uFill>
                  <a:noFill/>
                </a:uFill>
                <a:latin typeface="Maven Pro SemiBold"/>
                <a:ea typeface="Maven Pro SemiBold"/>
                <a:cs typeface="Maven Pro SemiBold"/>
                <a:sym typeface="Maven Pro SemiBold"/>
                <a:hlinkClick r:id="rId3"/>
              </a:rPr>
              <a:t> </a:t>
            </a:r>
            <a:r>
              <a:rPr lang="en" dirty="0"/>
              <a:t>template:</a:t>
            </a:r>
            <a:endParaRPr dirty="0"/>
          </a:p>
          <a:p>
            <a:pPr marL="0" lvl="0" indent="0" algn="l" rtl="0">
              <a:lnSpc>
                <a:spcPct val="100000"/>
              </a:lnSpc>
              <a:spcBef>
                <a:spcPts val="1600"/>
              </a:spcBef>
              <a:spcAft>
                <a:spcPts val="0"/>
              </a:spcAft>
              <a:buNone/>
            </a:pP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slide structure based on a consulting sales pitch, which you can easily adapt to your needs. For more info on how to edit the template, please visit </a:t>
            </a:r>
            <a:r>
              <a:rPr lang="en" dirty="0">
                <a:solidFill>
                  <a:schemeClr val="accent2"/>
                </a:solidFill>
                <a:uFill>
                  <a:noFill/>
                </a:uFill>
                <a:latin typeface="Maven Pro SemiBold"/>
                <a:ea typeface="Maven Pro SemiBold"/>
                <a:cs typeface="Maven Pro SemiBold"/>
                <a:sym typeface="Maven Pro SemiBold"/>
                <a:hlinkClick r:id="rId4">
                  <a:extLst>
                    <a:ext uri="{A12FA001-AC4F-418D-AE19-62706E023703}">
                      <ahyp:hlinkClr xmlns:ahyp="http://schemas.microsoft.com/office/drawing/2018/hyperlinkcolor" val="tx"/>
                    </a:ext>
                  </a:extLst>
                </a:hlinkClick>
              </a:rPr>
              <a:t>Slidesgo School</a:t>
            </a:r>
            <a:r>
              <a:rPr lang="en" dirty="0">
                <a:latin typeface="Maven Pro SemiBold"/>
                <a:ea typeface="Maven Pro SemiBold"/>
                <a:cs typeface="Maven Pro SemiBold"/>
                <a:sym typeface="Maven Pro SemiBold"/>
              </a:rPr>
              <a:t> </a:t>
            </a:r>
            <a:r>
              <a:rPr lang="en" dirty="0"/>
              <a:t>or read our </a:t>
            </a:r>
            <a:r>
              <a:rPr lang="en" dirty="0">
                <a:solidFill>
                  <a:schemeClr val="accent2"/>
                </a:solidFill>
                <a:uFill>
                  <a:noFill/>
                </a:uFill>
                <a:latin typeface="Maven Pro SemiBold"/>
                <a:ea typeface="Maven Pro SemiBold"/>
                <a:cs typeface="Maven Pro SemiBold"/>
                <a:sym typeface="Maven Pro SemiBold"/>
                <a:hlinkClick r:id="rId5">
                  <a:extLst>
                    <a:ext uri="{A12FA001-AC4F-418D-AE19-62706E023703}">
                      <ahyp:hlinkClr xmlns:ahyp="http://schemas.microsoft.com/office/drawing/2018/hyperlinkcolor" val="tx"/>
                    </a:ext>
                  </a:extLst>
                </a:hlinkClick>
              </a:rPr>
              <a:t>FAQs</a:t>
            </a:r>
            <a:r>
              <a:rPr lang="en" dirty="0">
                <a:solidFill>
                  <a:schemeClr val="accent2"/>
                </a:solidFill>
              </a:rPr>
              <a:t>.</a:t>
            </a:r>
            <a:endParaRPr dirty="0">
              <a:solidFill>
                <a:schemeClr val="accent2"/>
              </a:solidFill>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An assortment of illustrations that are suitable for use in the presentation can be found in the </a:t>
            </a:r>
            <a:r>
              <a:rPr lang="en" dirty="0">
                <a:solidFill>
                  <a:schemeClr val="accent2"/>
                </a:solidFill>
                <a:uFill>
                  <a:noFill/>
                </a:uFill>
                <a:latin typeface="Maven Pro SemiBold"/>
                <a:ea typeface="Maven Pro SemiBold"/>
                <a:cs typeface="Maven Pro SemiBold"/>
                <a:sym typeface="Maven Pro SemiBold"/>
                <a:hlinkClick r:id="rId6" action="ppaction://hlinksldjump">
                  <a:extLst>
                    <a:ext uri="{A12FA001-AC4F-418D-AE19-62706E023703}">
                      <ahyp:hlinkClr xmlns:ahyp="http://schemas.microsoft.com/office/drawing/2018/hyperlinkcolor" val="tx"/>
                    </a:ext>
                  </a:extLst>
                </a:hlinkClick>
              </a:rPr>
              <a:t>alternative resources</a:t>
            </a:r>
            <a:r>
              <a:rPr lang="en" dirty="0"/>
              <a:t> slid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7" action="ppaction://hlinksldjump">
                  <a:extLst>
                    <a:ext uri="{A12FA001-AC4F-418D-AE19-62706E023703}">
                      <ahyp:hlinkClr xmlns:ahyp="http://schemas.microsoft.com/office/drawing/2018/hyperlinkcolor" val="tx"/>
                    </a:ext>
                  </a:extLst>
                </a:hlinkClick>
              </a:rPr>
              <a:t>thanks</a:t>
            </a:r>
            <a:r>
              <a:rPr lang="en" dirty="0">
                <a:uFill>
                  <a:noFill/>
                </a:uFill>
                <a:latin typeface="Maven Pro SemiBold"/>
                <a:ea typeface="Maven Pro SemiBold"/>
                <a:cs typeface="Maven Pro SemiBold"/>
                <a:sym typeface="Maven Pro SemiBold"/>
                <a:hlinkClick r:id="rId7" action="ppaction://hlinksldjump"/>
              </a:rPr>
              <a:t> </a:t>
            </a:r>
            <a:r>
              <a:rPr lang="en" dirty="0"/>
              <a:t>slide, which you must keep so that proper credits for our design are given.</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t>A </a:t>
            </a:r>
            <a:r>
              <a:rPr lang="en" dirty="0">
                <a:solidFill>
                  <a:schemeClr val="accent2"/>
                </a:solidFill>
                <a:uFill>
                  <a:noFill/>
                </a:uFill>
                <a:latin typeface="Maven Pro SemiBold"/>
                <a:ea typeface="Maven Pro SemiBold"/>
                <a:cs typeface="Maven Pro SemiBold"/>
                <a:sym typeface="Maven Pro SemiBold"/>
                <a:hlinkClick r:id="rId8" action="ppaction://hlinksldjump">
                  <a:extLst>
                    <a:ext uri="{A12FA001-AC4F-418D-AE19-62706E023703}">
                      <ahyp:hlinkClr xmlns:ahyp="http://schemas.microsoft.com/office/drawing/2018/hyperlinkcolor" val="tx"/>
                    </a:ext>
                  </a:extLst>
                </a:hlinkClick>
              </a:rPr>
              <a:t>resources</a:t>
            </a:r>
            <a:r>
              <a:rPr lang="en" dirty="0">
                <a:uFill>
                  <a:noFill/>
                </a:uFill>
                <a:latin typeface="Maven Pro SemiBold"/>
                <a:ea typeface="Maven Pro SemiBold"/>
                <a:cs typeface="Maven Pro SemiBold"/>
                <a:sym typeface="Maven Pro SemiBold"/>
                <a:hlinkClick r:id="rId8" action="ppaction://hlinksldjump"/>
              </a:rPr>
              <a:t> </a:t>
            </a:r>
            <a:r>
              <a:rPr lang="en" dirty="0"/>
              <a:t>slide, where you’ll find links to all the elements used in the template.</a:t>
            </a:r>
            <a:endParaRPr dirty="0"/>
          </a:p>
          <a:p>
            <a:pPr marL="457200" lvl="0" indent="-304800" algn="l" rtl="0">
              <a:lnSpc>
                <a:spcPct val="100000"/>
              </a:lnSpc>
              <a:spcBef>
                <a:spcPts val="0"/>
              </a:spcBef>
              <a:spcAft>
                <a:spcPts val="0"/>
              </a:spcAft>
              <a:buClr>
                <a:schemeClr val="lt1"/>
              </a:buClr>
              <a:buSzPts val="1200"/>
              <a:buFont typeface="Maven Pro"/>
              <a:buAutoNum type="arabicPeriod"/>
            </a:pPr>
            <a:r>
              <a:rPr lang="en" dirty="0">
                <a:solidFill>
                  <a:schemeClr val="accent2"/>
                </a:solidFill>
                <a:uFill>
                  <a:noFill/>
                </a:uFill>
                <a:latin typeface="Maven Pro SemiBold"/>
                <a:ea typeface="Maven Pro SemiBold"/>
                <a:cs typeface="Maven Pro SemiBold"/>
                <a:sym typeface="Maven Pro SemiBold"/>
                <a:hlinkClick r:id="rId9" action="ppaction://hlinksldjump">
                  <a:extLst>
                    <a:ext uri="{A12FA001-AC4F-418D-AE19-62706E023703}">
                      <ahyp:hlinkClr xmlns:ahyp="http://schemas.microsoft.com/office/drawing/2018/hyperlinkcolor" val="tx"/>
                    </a:ext>
                  </a:extLst>
                </a:hlinkClick>
              </a:rPr>
              <a:t>Instructions for use</a:t>
            </a:r>
            <a:r>
              <a:rPr lang="en" dirty="0">
                <a:latin typeface="Maven Pro SemiBold"/>
                <a:ea typeface="Maven Pro SemiBold"/>
                <a:cs typeface="Maven Pro SemiBold"/>
                <a:sym typeface="Maven Pro SemiBold"/>
              </a:rPr>
              <a:t>.</a:t>
            </a:r>
            <a:endParaRPr dirty="0">
              <a:latin typeface="Maven Pro SemiBold"/>
              <a:ea typeface="Maven Pro SemiBold"/>
              <a:cs typeface="Maven Pro SemiBold"/>
              <a:sym typeface="Maven Pro SemiBold"/>
            </a:endParaRPr>
          </a:p>
          <a:p>
            <a:pPr marL="457200" lvl="0" indent="-304800" algn="l" rtl="0">
              <a:lnSpc>
                <a:spcPct val="100000"/>
              </a:lnSpc>
              <a:spcBef>
                <a:spcPts val="0"/>
              </a:spcBef>
              <a:spcAft>
                <a:spcPts val="0"/>
              </a:spcAft>
              <a:buClr>
                <a:schemeClr val="lt1"/>
              </a:buClr>
              <a:buSzPts val="1200"/>
              <a:buFont typeface="Maven Pro"/>
              <a:buAutoNum type="arabicPeriod"/>
            </a:pPr>
            <a:r>
              <a:rPr lang="en" dirty="0"/>
              <a:t>Final slides with: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The</a:t>
            </a:r>
            <a:r>
              <a:rPr lang="en" dirty="0">
                <a:uFill>
                  <a:noFill/>
                </a:uFill>
                <a:latin typeface="Maven Pro SemiBold"/>
                <a:ea typeface="Maven Pro SemiBold"/>
                <a:cs typeface="Maven Pro SemiBold"/>
                <a:sym typeface="Maven Pro SemiBold"/>
                <a:hlinkClick r:id="rId10" action="ppaction://hlinksldjump"/>
              </a:rPr>
              <a:t> </a:t>
            </a:r>
            <a:r>
              <a:rPr lang="en" dirty="0">
                <a:solidFill>
                  <a:schemeClr val="accent2"/>
                </a:solidFill>
                <a:uFill>
                  <a:noFill/>
                </a:uFill>
                <a:latin typeface="Maven Pro SemiBold"/>
                <a:ea typeface="Maven Pro SemiBold"/>
                <a:cs typeface="Maven Pro SemiBold"/>
                <a:sym typeface="Maven Pro SemiBold"/>
                <a:hlinkClick r:id="rId10" action="ppaction://hlinksldjump">
                  <a:extLst>
                    <a:ext uri="{A12FA001-AC4F-418D-AE19-62706E023703}">
                      <ahyp:hlinkClr xmlns:ahyp="http://schemas.microsoft.com/office/drawing/2018/hyperlinkcolor" val="tx"/>
                    </a:ext>
                  </a:extLst>
                </a:hlinkClick>
              </a:rPr>
              <a:t>fonts and colors</a:t>
            </a:r>
            <a:r>
              <a:rPr lang="en" dirty="0"/>
              <a:t> used in the template.</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More</a:t>
            </a:r>
            <a:r>
              <a:rPr lang="en" dirty="0">
                <a:uFill>
                  <a:noFill/>
                </a:uFill>
                <a:latin typeface="Maven Pro SemiBold"/>
                <a:ea typeface="Maven Pro SemiBold"/>
                <a:cs typeface="Maven Pro SemiBold"/>
                <a:sym typeface="Maven Pro SemiBold"/>
                <a:hlinkClick r:id="rId11" action="ppaction://hlinksldjump"/>
              </a:rPr>
              <a:t> </a:t>
            </a:r>
            <a:r>
              <a:rPr lang="en" dirty="0">
                <a:solidFill>
                  <a:schemeClr val="accent2"/>
                </a:solidFill>
                <a:uFill>
                  <a:noFill/>
                </a:uFill>
                <a:latin typeface="Maven Pro SemiBold"/>
                <a:ea typeface="Maven Pro SemiBold"/>
                <a:cs typeface="Maven Pro SemiBold"/>
                <a:sym typeface="Maven Pro SemiBold"/>
                <a:hlinkClick r:id="rId11" action="ppaction://hlinksldjump">
                  <a:extLst>
                    <a:ext uri="{A12FA001-AC4F-418D-AE19-62706E023703}">
                      <ahyp:hlinkClr xmlns:ahyp="http://schemas.microsoft.com/office/drawing/2018/hyperlinkcolor" val="tx"/>
                    </a:ext>
                  </a:extLst>
                </a:hlinkClick>
              </a:rPr>
              <a:t>infographic resources</a:t>
            </a:r>
            <a:r>
              <a:rPr lang="en" dirty="0"/>
              <a:t>, whose size and color can be edited. </a:t>
            </a:r>
            <a:endParaRPr dirty="0"/>
          </a:p>
          <a:p>
            <a:pPr marL="914400" lvl="0" indent="-304800" algn="l" rtl="0">
              <a:lnSpc>
                <a:spcPct val="100000"/>
              </a:lnSpc>
              <a:spcBef>
                <a:spcPts val="0"/>
              </a:spcBef>
              <a:spcAft>
                <a:spcPts val="0"/>
              </a:spcAft>
              <a:buClr>
                <a:schemeClr val="lt1"/>
              </a:buClr>
              <a:buSzPts val="1200"/>
              <a:buFont typeface="Maven Pro"/>
              <a:buChar char="●"/>
            </a:pPr>
            <a:r>
              <a:rPr lang="en" dirty="0"/>
              <a:t>Sets of </a:t>
            </a:r>
            <a:r>
              <a:rPr lang="en" dirty="0">
                <a:solidFill>
                  <a:schemeClr val="accent2"/>
                </a:solidFill>
                <a:uFill>
                  <a:noFill/>
                </a:uFill>
                <a:latin typeface="Maven Pro SemiBold"/>
                <a:ea typeface="Maven Pro SemiBold"/>
                <a:cs typeface="Maven Pro SemiBold"/>
                <a:sym typeface="Maven Pro SemiBold"/>
                <a:hlinkClick r:id="rId12" action="ppaction://hlinksldjump">
                  <a:extLst>
                    <a:ext uri="{A12FA001-AC4F-418D-AE19-62706E023703}">
                      <ahyp:hlinkClr xmlns:ahyp="http://schemas.microsoft.com/office/drawing/2018/hyperlinkcolor" val="tx"/>
                    </a:ext>
                  </a:extLst>
                </a:hlinkClick>
              </a:rPr>
              <a:t>customizable icons</a:t>
            </a:r>
            <a:r>
              <a:rPr lang="en" dirty="0"/>
              <a:t> of the following themes: general, business, avatar, creative process, education, help &amp; support, medical, nature, performing arts, SEO &amp; marketing, and teamwork.</a:t>
            </a:r>
            <a:endParaRPr dirty="0"/>
          </a:p>
          <a:p>
            <a:pPr marL="0" lvl="0" indent="0" algn="l" rtl="0">
              <a:lnSpc>
                <a:spcPct val="100000"/>
              </a:lnSpc>
              <a:spcBef>
                <a:spcPts val="1600"/>
              </a:spcBef>
              <a:spcAft>
                <a:spcPts val="0"/>
              </a:spcAft>
              <a:buNone/>
            </a:pPr>
            <a:r>
              <a:rPr lang="en" dirty="0"/>
              <a:t>You can delete this slide when you’re done editing the presentation.</a:t>
            </a:r>
            <a:endParaRPr dirty="0"/>
          </a:p>
          <a:p>
            <a:pPr marL="0" lvl="0" indent="0" algn="l" rtl="0">
              <a:lnSpc>
                <a:spcPct val="100000"/>
              </a:lnSpc>
              <a:spcBef>
                <a:spcPts val="1600"/>
              </a:spcBef>
              <a:spcAft>
                <a:spcPts val="1600"/>
              </a:spcAft>
              <a:buNone/>
            </a:pPr>
            <a:endParaRPr dirty="0"/>
          </a:p>
        </p:txBody>
      </p:sp>
      <p:sp>
        <p:nvSpPr>
          <p:cNvPr id="466" name="Google Shape;466;p2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CONTENTS OF THIS TEMPLATE</a:t>
            </a:r>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sp>
        <p:nvSpPr>
          <p:cNvPr id="471" name="Google Shape;471;p27"/>
          <p:cNvSpPr txBox="1">
            <a:spLocks noGrp="1"/>
          </p:cNvSpPr>
          <p:nvPr>
            <p:ph type="ctrTitle" idx="13"/>
          </p:nvPr>
        </p:nvSpPr>
        <p:spPr>
          <a:xfrm>
            <a:off x="4070013" y="3396800"/>
            <a:ext cx="1353755"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Preparation</a:t>
            </a:r>
            <a:endParaRPr dirty="0"/>
          </a:p>
        </p:txBody>
      </p:sp>
      <p:sp>
        <p:nvSpPr>
          <p:cNvPr id="473" name="Google Shape;473;p27"/>
          <p:cNvSpPr txBox="1">
            <a:spLocks noGrp="1"/>
          </p:cNvSpPr>
          <p:nvPr>
            <p:ph type="ctrTitle" idx="4"/>
          </p:nvPr>
        </p:nvSpPr>
        <p:spPr>
          <a:xfrm>
            <a:off x="2508361" y="3396800"/>
            <a:ext cx="146736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 Exploration</a:t>
            </a:r>
            <a:endParaRPr dirty="0"/>
          </a:p>
        </p:txBody>
      </p:sp>
      <p:sp>
        <p:nvSpPr>
          <p:cNvPr id="474" name="Google Shape;474;p27"/>
          <p:cNvSpPr txBox="1">
            <a:spLocks noGrp="1"/>
          </p:cNvSpPr>
          <p:nvPr>
            <p:ph type="ctrTitle"/>
          </p:nvPr>
        </p:nvSpPr>
        <p:spPr>
          <a:xfrm>
            <a:off x="956600" y="3396800"/>
            <a:ext cx="1275846" cy="342478"/>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omain Exploration</a:t>
            </a:r>
            <a:endParaRPr dirty="0"/>
          </a:p>
        </p:txBody>
      </p:sp>
      <p:sp>
        <p:nvSpPr>
          <p:cNvPr id="476" name="Google Shape;476;p27"/>
          <p:cNvSpPr txBox="1">
            <a:spLocks noGrp="1"/>
          </p:cNvSpPr>
          <p:nvPr>
            <p:ph type="title" idx="3"/>
          </p:nvPr>
        </p:nvSpPr>
        <p:spPr>
          <a:xfrm>
            <a:off x="956600"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1</a:t>
            </a:r>
            <a:endParaRPr sz="2800"/>
          </a:p>
        </p:txBody>
      </p:sp>
      <p:sp>
        <p:nvSpPr>
          <p:cNvPr id="478" name="Google Shape;478;p27"/>
          <p:cNvSpPr txBox="1">
            <a:spLocks noGrp="1"/>
          </p:cNvSpPr>
          <p:nvPr>
            <p:ph type="title" idx="6"/>
          </p:nvPr>
        </p:nvSpPr>
        <p:spPr>
          <a:xfrm>
            <a:off x="2508353"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dirty="0"/>
              <a:t>02</a:t>
            </a:r>
            <a:endParaRPr sz="2800" dirty="0"/>
          </a:p>
        </p:txBody>
      </p:sp>
      <p:sp>
        <p:nvSpPr>
          <p:cNvPr id="479" name="Google Shape;479;p27"/>
          <p:cNvSpPr txBox="1">
            <a:spLocks noGrp="1"/>
          </p:cNvSpPr>
          <p:nvPr>
            <p:ph type="ctrTitle" idx="7"/>
          </p:nvPr>
        </p:nvSpPr>
        <p:spPr>
          <a:xfrm>
            <a:off x="618825" y="411675"/>
            <a:ext cx="4576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BLE OF CONTENTS</a:t>
            </a:r>
            <a:endParaRPr/>
          </a:p>
        </p:txBody>
      </p:sp>
      <p:sp>
        <p:nvSpPr>
          <p:cNvPr id="480" name="Google Shape;480;p27"/>
          <p:cNvSpPr txBox="1">
            <a:spLocks noGrp="1"/>
          </p:cNvSpPr>
          <p:nvPr>
            <p:ph type="title" idx="9"/>
          </p:nvPr>
        </p:nvSpPr>
        <p:spPr>
          <a:xfrm>
            <a:off x="4069422" y="2645887"/>
            <a:ext cx="1039526" cy="342478"/>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800"/>
              <a:t>03</a:t>
            </a:r>
            <a:endParaRPr sz="2800"/>
          </a:p>
        </p:txBody>
      </p:sp>
      <p:sp>
        <p:nvSpPr>
          <p:cNvPr id="481" name="Google Shape;481;p27"/>
          <p:cNvSpPr/>
          <p:nvPr/>
        </p:nvSpPr>
        <p:spPr>
          <a:xfrm>
            <a:off x="956600" y="1562750"/>
            <a:ext cx="488467" cy="488467"/>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2508353" y="1562750"/>
            <a:ext cx="488467" cy="488467"/>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27"/>
          <p:cNvSpPr/>
          <p:nvPr/>
        </p:nvSpPr>
        <p:spPr>
          <a:xfrm>
            <a:off x="4069422" y="1562750"/>
            <a:ext cx="488467" cy="488467"/>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84" name="Google Shape;484;p27"/>
          <p:cNvCxnSpPr>
            <a:stCxn id="481" idx="1"/>
            <a:endCxn id="476" idx="1"/>
          </p:cNvCxnSpPr>
          <p:nvPr/>
        </p:nvCxnSpPr>
        <p:spPr>
          <a:xfrm rot="10800000" flipV="1">
            <a:off x="956600"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5" name="Google Shape;485;p27"/>
          <p:cNvCxnSpPr>
            <a:stCxn id="482" idx="1"/>
            <a:endCxn id="478" idx="1"/>
          </p:cNvCxnSpPr>
          <p:nvPr/>
        </p:nvCxnSpPr>
        <p:spPr>
          <a:xfrm rot="10800000" flipV="1">
            <a:off x="250835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86" name="Google Shape;486;p27"/>
          <p:cNvCxnSpPr>
            <a:stCxn id="483" idx="1"/>
            <a:endCxn id="480" idx="1"/>
          </p:cNvCxnSpPr>
          <p:nvPr/>
        </p:nvCxnSpPr>
        <p:spPr>
          <a:xfrm rot="10800000" flipV="1">
            <a:off x="4069422"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87" name="Google Shape;487;p27"/>
          <p:cNvSpPr/>
          <p:nvPr/>
        </p:nvSpPr>
        <p:spPr>
          <a:xfrm>
            <a:off x="2276001" y="132471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488;p27"/>
          <p:cNvSpPr/>
          <p:nvPr/>
        </p:nvSpPr>
        <p:spPr>
          <a:xfrm>
            <a:off x="4893527"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489;p27"/>
          <p:cNvSpPr/>
          <p:nvPr/>
        </p:nvSpPr>
        <p:spPr>
          <a:xfrm>
            <a:off x="1080049" y="1669267"/>
            <a:ext cx="342119" cy="342486"/>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90" name="Google Shape;490;p27"/>
          <p:cNvGrpSpPr/>
          <p:nvPr/>
        </p:nvGrpSpPr>
        <p:grpSpPr>
          <a:xfrm>
            <a:off x="2641084" y="1684660"/>
            <a:ext cx="342128" cy="343949"/>
            <a:chOff x="3095745" y="3805393"/>
            <a:chExt cx="352840" cy="354717"/>
          </a:xfrm>
        </p:grpSpPr>
        <p:sp>
          <p:nvSpPr>
            <p:cNvPr id="491" name="Google Shape;491;p27"/>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492;p27"/>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493;p27"/>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494;p27"/>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27"/>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27"/>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7" name="Google Shape;497;p27"/>
          <p:cNvGrpSpPr/>
          <p:nvPr/>
        </p:nvGrpSpPr>
        <p:grpSpPr>
          <a:xfrm>
            <a:off x="4192887" y="1684647"/>
            <a:ext cx="346044" cy="343968"/>
            <a:chOff x="3541011" y="3367320"/>
            <a:chExt cx="348257" cy="346188"/>
          </a:xfrm>
        </p:grpSpPr>
        <p:sp>
          <p:nvSpPr>
            <p:cNvPr id="498" name="Google Shape;498;p27"/>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27"/>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27"/>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27"/>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51" name="Google Shape;471;p27">
            <a:extLst>
              <a:ext uri="{FF2B5EF4-FFF2-40B4-BE49-F238E27FC236}">
                <a16:creationId xmlns:a16="http://schemas.microsoft.com/office/drawing/2014/main" id="{FDF4AC89-628C-A076-F4E8-EA8362CBBAE9}"/>
              </a:ext>
            </a:extLst>
          </p:cNvPr>
          <p:cNvSpPr txBox="1">
            <a:spLocks/>
          </p:cNvSpPr>
          <p:nvPr/>
        </p:nvSpPr>
        <p:spPr>
          <a:xfrm>
            <a:off x="7280424" y="3396800"/>
            <a:ext cx="1353755"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sults</a:t>
            </a:r>
            <a:endParaRPr lang="de-DE" dirty="0"/>
          </a:p>
          <a:p>
            <a:endParaRPr lang="de-DE" dirty="0"/>
          </a:p>
        </p:txBody>
      </p:sp>
      <p:sp>
        <p:nvSpPr>
          <p:cNvPr id="452" name="Google Shape;473;p27">
            <a:extLst>
              <a:ext uri="{FF2B5EF4-FFF2-40B4-BE49-F238E27FC236}">
                <a16:creationId xmlns:a16="http://schemas.microsoft.com/office/drawing/2014/main" id="{15E323BF-F05A-D1F9-AEBD-1ED6F41F0262}"/>
              </a:ext>
            </a:extLst>
          </p:cNvPr>
          <p:cNvSpPr txBox="1">
            <a:spLocks/>
          </p:cNvSpPr>
          <p:nvPr/>
        </p:nvSpPr>
        <p:spPr>
          <a:xfrm>
            <a:off x="5718772" y="3396800"/>
            <a:ext cx="1467366" cy="342478"/>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a:t>Data Modeling</a:t>
            </a:r>
          </a:p>
        </p:txBody>
      </p:sp>
      <p:sp>
        <p:nvSpPr>
          <p:cNvPr id="453" name="Google Shape;478;p27">
            <a:extLst>
              <a:ext uri="{FF2B5EF4-FFF2-40B4-BE49-F238E27FC236}">
                <a16:creationId xmlns:a16="http://schemas.microsoft.com/office/drawing/2014/main" id="{48F4232B-2D34-9A14-CEB7-DAEACC7D4F8D}"/>
              </a:ext>
            </a:extLst>
          </p:cNvPr>
          <p:cNvSpPr txBox="1">
            <a:spLocks/>
          </p:cNvSpPr>
          <p:nvPr/>
        </p:nvSpPr>
        <p:spPr>
          <a:xfrm>
            <a:off x="5718764"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3"/>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5EFFFD"/>
                </a:solidFill>
              </a:rPr>
              <a:t>04</a:t>
            </a:r>
          </a:p>
        </p:txBody>
      </p:sp>
      <p:sp>
        <p:nvSpPr>
          <p:cNvPr id="454" name="Google Shape;480;p27">
            <a:extLst>
              <a:ext uri="{FF2B5EF4-FFF2-40B4-BE49-F238E27FC236}">
                <a16:creationId xmlns:a16="http://schemas.microsoft.com/office/drawing/2014/main" id="{4D333092-8AC3-3290-068D-9BDE6973BAC6}"/>
              </a:ext>
            </a:extLst>
          </p:cNvPr>
          <p:cNvSpPr txBox="1">
            <a:spLocks/>
          </p:cNvSpPr>
          <p:nvPr/>
        </p:nvSpPr>
        <p:spPr>
          <a:xfrm>
            <a:off x="7279833" y="2645887"/>
            <a:ext cx="1039526"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A6CBC2"/>
                </a:solidFill>
              </a:rPr>
              <a:t>05</a:t>
            </a:r>
          </a:p>
        </p:txBody>
      </p:sp>
      <p:sp>
        <p:nvSpPr>
          <p:cNvPr id="455" name="Google Shape;482;p27">
            <a:extLst>
              <a:ext uri="{FF2B5EF4-FFF2-40B4-BE49-F238E27FC236}">
                <a16:creationId xmlns:a16="http://schemas.microsoft.com/office/drawing/2014/main" id="{BBDE6D9F-7045-F6DA-C19E-1B89D21122F6}"/>
              </a:ext>
            </a:extLst>
          </p:cNvPr>
          <p:cNvSpPr/>
          <p:nvPr/>
        </p:nvSpPr>
        <p:spPr>
          <a:xfrm>
            <a:off x="5718764" y="1562750"/>
            <a:ext cx="488467" cy="488467"/>
          </a:xfrm>
          <a:prstGeom prst="rect">
            <a:avLst/>
          </a:prstGeom>
          <a:solidFill>
            <a:srgbClr val="5EFF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83;p27">
            <a:extLst>
              <a:ext uri="{FF2B5EF4-FFF2-40B4-BE49-F238E27FC236}">
                <a16:creationId xmlns:a16="http://schemas.microsoft.com/office/drawing/2014/main" id="{C6E49EB7-BB4C-67AF-6010-952779CDECB0}"/>
              </a:ext>
            </a:extLst>
          </p:cNvPr>
          <p:cNvSpPr/>
          <p:nvPr/>
        </p:nvSpPr>
        <p:spPr>
          <a:xfrm>
            <a:off x="7279833" y="1562750"/>
            <a:ext cx="488467" cy="488467"/>
          </a:xfrm>
          <a:prstGeom prst="rect">
            <a:avLst/>
          </a:prstGeom>
          <a:solidFill>
            <a:srgbClr val="A6CB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57" name="Google Shape;485;p27">
            <a:extLst>
              <a:ext uri="{FF2B5EF4-FFF2-40B4-BE49-F238E27FC236}">
                <a16:creationId xmlns:a16="http://schemas.microsoft.com/office/drawing/2014/main" id="{EA176D25-906E-167F-C9D7-CE1CA6BB37A2}"/>
              </a:ext>
            </a:extLst>
          </p:cNvPr>
          <p:cNvCxnSpPr>
            <a:stCxn id="455" idx="1"/>
            <a:endCxn id="453" idx="1"/>
          </p:cNvCxnSpPr>
          <p:nvPr/>
        </p:nvCxnSpPr>
        <p:spPr>
          <a:xfrm rot="10800000" flipV="1">
            <a:off x="5718764"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cxnSp>
        <p:nvCxnSpPr>
          <p:cNvPr id="458" name="Google Shape;486;p27">
            <a:extLst>
              <a:ext uri="{FF2B5EF4-FFF2-40B4-BE49-F238E27FC236}">
                <a16:creationId xmlns:a16="http://schemas.microsoft.com/office/drawing/2014/main" id="{4ECB5361-D1E5-A40E-6FC0-A1AC57D4413E}"/>
              </a:ext>
            </a:extLst>
          </p:cNvPr>
          <p:cNvCxnSpPr>
            <a:stCxn id="456" idx="1"/>
            <a:endCxn id="454" idx="1"/>
          </p:cNvCxnSpPr>
          <p:nvPr/>
        </p:nvCxnSpPr>
        <p:spPr>
          <a:xfrm rot="10800000" flipV="1">
            <a:off x="7279833" y="1806984"/>
            <a:ext cx="12700" cy="1010142"/>
          </a:xfrm>
          <a:prstGeom prst="bentConnector3">
            <a:avLst>
              <a:gd name="adj1" fmla="val 1800000"/>
            </a:avLst>
          </a:prstGeom>
          <a:noFill/>
          <a:ln w="9525" cap="flat" cmpd="sng">
            <a:solidFill>
              <a:schemeClr val="lt1"/>
            </a:solidFill>
            <a:prstDash val="solid"/>
            <a:round/>
            <a:headEnd type="none" w="med" len="med"/>
            <a:tailEnd type="none" w="med" len="med"/>
          </a:ln>
        </p:spPr>
      </p:cxnSp>
      <p:sp>
        <p:nvSpPr>
          <p:cNvPr id="459" name="Google Shape;488;p27">
            <a:extLst>
              <a:ext uri="{FF2B5EF4-FFF2-40B4-BE49-F238E27FC236}">
                <a16:creationId xmlns:a16="http://schemas.microsoft.com/office/drawing/2014/main" id="{EBA8C089-AC1B-25AA-A100-B8911705A46D}"/>
              </a:ext>
            </a:extLst>
          </p:cNvPr>
          <p:cNvSpPr/>
          <p:nvPr/>
        </p:nvSpPr>
        <p:spPr>
          <a:xfrm>
            <a:off x="8370638" y="2386863"/>
            <a:ext cx="141504" cy="141088"/>
          </a:xfrm>
          <a:custGeom>
            <a:avLst/>
            <a:gdLst/>
            <a:ahLst/>
            <a:cxnLst/>
            <a:rect l="l" t="t" r="r" b="b"/>
            <a:pathLst>
              <a:path w="6593" h="6575" extrusionOk="0">
                <a:moveTo>
                  <a:pt x="6256" y="338"/>
                </a:moveTo>
                <a:lnTo>
                  <a:pt x="6256" y="6237"/>
                </a:lnTo>
                <a:lnTo>
                  <a:pt x="338" y="6237"/>
                </a:lnTo>
                <a:lnTo>
                  <a:pt x="338" y="338"/>
                </a:lnTo>
                <a:close/>
                <a:moveTo>
                  <a:pt x="1" y="1"/>
                </a:moveTo>
                <a:lnTo>
                  <a:pt x="1" y="6574"/>
                </a:lnTo>
                <a:lnTo>
                  <a:pt x="6593" y="6574"/>
                </a:lnTo>
                <a:lnTo>
                  <a:pt x="659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0" name="Google Shape;490;p27">
            <a:extLst>
              <a:ext uri="{FF2B5EF4-FFF2-40B4-BE49-F238E27FC236}">
                <a16:creationId xmlns:a16="http://schemas.microsoft.com/office/drawing/2014/main" id="{2424E319-39FE-9E86-AE19-B42F05E5A346}"/>
              </a:ext>
            </a:extLst>
          </p:cNvPr>
          <p:cNvGrpSpPr/>
          <p:nvPr/>
        </p:nvGrpSpPr>
        <p:grpSpPr>
          <a:xfrm>
            <a:off x="5851495" y="1684660"/>
            <a:ext cx="342128" cy="343949"/>
            <a:chOff x="3095745" y="3805393"/>
            <a:chExt cx="352840" cy="354717"/>
          </a:xfrm>
        </p:grpSpPr>
        <p:sp>
          <p:nvSpPr>
            <p:cNvPr id="461" name="Google Shape;491;p27">
              <a:extLst>
                <a:ext uri="{FF2B5EF4-FFF2-40B4-BE49-F238E27FC236}">
                  <a16:creationId xmlns:a16="http://schemas.microsoft.com/office/drawing/2014/main" id="{F62097E5-D120-7C3A-F319-8FCB5DE98A06}"/>
                </a:ext>
              </a:extLst>
            </p:cNvPr>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92;p27">
              <a:extLst>
                <a:ext uri="{FF2B5EF4-FFF2-40B4-BE49-F238E27FC236}">
                  <a16:creationId xmlns:a16="http://schemas.microsoft.com/office/drawing/2014/main" id="{47C249F0-E365-5459-F7FA-B61FF9BD6EFD}"/>
                </a:ext>
              </a:extLst>
            </p:cNvPr>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93;p27">
              <a:extLst>
                <a:ext uri="{FF2B5EF4-FFF2-40B4-BE49-F238E27FC236}">
                  <a16:creationId xmlns:a16="http://schemas.microsoft.com/office/drawing/2014/main" id="{1619FE08-371E-E202-E61D-D09A447C5E49}"/>
                </a:ext>
              </a:extLst>
            </p:cNvPr>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94;p27">
              <a:extLst>
                <a:ext uri="{FF2B5EF4-FFF2-40B4-BE49-F238E27FC236}">
                  <a16:creationId xmlns:a16="http://schemas.microsoft.com/office/drawing/2014/main" id="{4E336EA8-8C5A-0CF8-B5C2-716806B3BCAA}"/>
                </a:ext>
              </a:extLst>
            </p:cNvPr>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95;p27">
              <a:extLst>
                <a:ext uri="{FF2B5EF4-FFF2-40B4-BE49-F238E27FC236}">
                  <a16:creationId xmlns:a16="http://schemas.microsoft.com/office/drawing/2014/main" id="{4F0055F9-B35F-BFD9-6176-7F8A6E075263}"/>
                </a:ext>
              </a:extLst>
            </p:cNvPr>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96;p27">
              <a:extLst>
                <a:ext uri="{FF2B5EF4-FFF2-40B4-BE49-F238E27FC236}">
                  <a16:creationId xmlns:a16="http://schemas.microsoft.com/office/drawing/2014/main" id="{35756529-15D3-B6EE-13EA-D98D1EB6C935}"/>
                </a:ext>
              </a:extLst>
            </p:cNvPr>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67" name="Google Shape;497;p27">
            <a:extLst>
              <a:ext uri="{FF2B5EF4-FFF2-40B4-BE49-F238E27FC236}">
                <a16:creationId xmlns:a16="http://schemas.microsoft.com/office/drawing/2014/main" id="{784CB79F-0960-1B9D-2115-ADD2E35F6D80}"/>
              </a:ext>
            </a:extLst>
          </p:cNvPr>
          <p:cNvGrpSpPr/>
          <p:nvPr/>
        </p:nvGrpSpPr>
        <p:grpSpPr>
          <a:xfrm>
            <a:off x="7403298" y="1684647"/>
            <a:ext cx="346044" cy="343968"/>
            <a:chOff x="3541011" y="3367320"/>
            <a:chExt cx="348257" cy="346188"/>
          </a:xfrm>
        </p:grpSpPr>
        <p:sp>
          <p:nvSpPr>
            <p:cNvPr id="468" name="Google Shape;498;p27">
              <a:extLst>
                <a:ext uri="{FF2B5EF4-FFF2-40B4-BE49-F238E27FC236}">
                  <a16:creationId xmlns:a16="http://schemas.microsoft.com/office/drawing/2014/main" id="{A98D9492-522F-E0E2-C78A-B90045BB7993}"/>
                </a:ext>
              </a:extLst>
            </p:cNvPr>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99;p27">
              <a:extLst>
                <a:ext uri="{FF2B5EF4-FFF2-40B4-BE49-F238E27FC236}">
                  <a16:creationId xmlns:a16="http://schemas.microsoft.com/office/drawing/2014/main" id="{344563A5-D1B4-D80A-4620-8D1152A1D8A5}"/>
                </a:ext>
              </a:extLst>
            </p:cNvPr>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500;p27">
              <a:extLst>
                <a:ext uri="{FF2B5EF4-FFF2-40B4-BE49-F238E27FC236}">
                  <a16:creationId xmlns:a16="http://schemas.microsoft.com/office/drawing/2014/main" id="{FF579824-32F7-7360-DFAF-43235A72E6FC}"/>
                </a:ext>
              </a:extLst>
            </p:cNvPr>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1;p27">
              <a:extLst>
                <a:ext uri="{FF2B5EF4-FFF2-40B4-BE49-F238E27FC236}">
                  <a16:creationId xmlns:a16="http://schemas.microsoft.com/office/drawing/2014/main" id="{BFE6776F-E055-F7D5-5DAA-8C193249DD42}"/>
                </a:ext>
              </a:extLst>
            </p:cNvPr>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4" name="Gleichschenkliges Dreieck 503">
            <a:extLst>
              <a:ext uri="{FF2B5EF4-FFF2-40B4-BE49-F238E27FC236}">
                <a16:creationId xmlns:a16="http://schemas.microsoft.com/office/drawing/2014/main" id="{BB1F5D0C-5ECA-AD20-0E9B-077D072A4B59}"/>
              </a:ext>
            </a:extLst>
          </p:cNvPr>
          <p:cNvSpPr/>
          <p:nvPr/>
        </p:nvSpPr>
        <p:spPr>
          <a:xfrm flipV="1">
            <a:off x="747713" y="3951984"/>
            <a:ext cx="7226077" cy="232379"/>
          </a:xfrm>
          <a:prstGeom prst="triangle">
            <a:avLst>
              <a:gd name="adj" fmla="val 48814"/>
            </a:avLst>
          </a:prstGeom>
          <a:solidFill>
            <a:srgbClr val="6E83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1" name="Gruppieren 510">
            <a:extLst>
              <a:ext uri="{FF2B5EF4-FFF2-40B4-BE49-F238E27FC236}">
                <a16:creationId xmlns:a16="http://schemas.microsoft.com/office/drawing/2014/main" id="{118E7DB3-F484-4091-617D-BAD413F50AB6}"/>
              </a:ext>
            </a:extLst>
          </p:cNvPr>
          <p:cNvGrpSpPr/>
          <p:nvPr/>
        </p:nvGrpSpPr>
        <p:grpSpPr>
          <a:xfrm>
            <a:off x="3550507" y="4324955"/>
            <a:ext cx="1861985" cy="416474"/>
            <a:chOff x="3684657" y="4287028"/>
            <a:chExt cx="1861985" cy="416474"/>
          </a:xfrm>
        </p:grpSpPr>
        <p:sp>
          <p:nvSpPr>
            <p:cNvPr id="507" name="Google Shape;471;p27">
              <a:extLst>
                <a:ext uri="{FF2B5EF4-FFF2-40B4-BE49-F238E27FC236}">
                  <a16:creationId xmlns:a16="http://schemas.microsoft.com/office/drawing/2014/main" id="{8019139D-A88D-14DE-7B32-8FFCAADA5892}"/>
                </a:ext>
              </a:extLst>
            </p:cNvPr>
            <p:cNvSpPr txBox="1">
              <a:spLocks/>
            </p:cNvSpPr>
            <p:nvPr/>
          </p:nvSpPr>
          <p:spPr>
            <a:xfrm>
              <a:off x="4192887" y="4287028"/>
              <a:ext cx="1353755" cy="416474"/>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200"/>
                <a:buFont typeface="Advent Pro SemiBold"/>
                <a:buNone/>
                <a:defRPr sz="2000" b="0" i="0" u="none" strike="noStrike" cap="none">
                  <a:solidFill>
                    <a:schemeClr val="lt1"/>
                  </a:solidFill>
                  <a:latin typeface="Advent Pro SemiBold"/>
                  <a:ea typeface="Advent Pro SemiBold"/>
                  <a:cs typeface="Advent Pro SemiBold"/>
                  <a:sym typeface="Advent Pro SemiBold"/>
                </a:defRPr>
              </a:lvl1pPr>
              <a:lvl2pPr marR="0" lvl="1"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2pPr>
              <a:lvl3pPr marR="0" lvl="2"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3pPr>
              <a:lvl4pPr marR="0" lvl="3"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4pPr>
              <a:lvl5pPr marR="0" lvl="4"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5pPr>
              <a:lvl6pPr marR="0" lvl="5"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6pPr>
              <a:lvl7pPr marR="0" lvl="6"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7pPr>
              <a:lvl8pPr marR="0" lvl="7"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8pPr>
              <a:lvl9pPr marR="0" lvl="8" algn="l" rtl="0">
                <a:lnSpc>
                  <a:spcPct val="100000"/>
                </a:lnSpc>
                <a:spcBef>
                  <a:spcPts val="0"/>
                </a:spcBef>
                <a:spcAft>
                  <a:spcPts val="0"/>
                </a:spcAft>
                <a:buClr>
                  <a:srgbClr val="000000"/>
                </a:buClr>
                <a:buSzPts val="1200"/>
                <a:buFont typeface="Advent Pro SemiBold"/>
                <a:buNone/>
                <a:defRPr sz="1200" b="0" i="0" u="none" strike="noStrike" cap="none">
                  <a:solidFill>
                    <a:srgbClr val="000000"/>
                  </a:solidFill>
                  <a:latin typeface="Advent Pro SemiBold"/>
                  <a:ea typeface="Advent Pro SemiBold"/>
                  <a:cs typeface="Advent Pro SemiBold"/>
                  <a:sym typeface="Advent Pro SemiBold"/>
                </a:defRPr>
              </a:lvl9pPr>
            </a:lstStyle>
            <a:p>
              <a:r>
                <a:rPr lang="de-DE" dirty="0" err="1"/>
                <a:t>Reflection</a:t>
              </a:r>
              <a:endParaRPr lang="de-DE" dirty="0"/>
            </a:p>
          </p:txBody>
        </p:sp>
        <p:sp>
          <p:nvSpPr>
            <p:cNvPr id="508" name="Google Shape;480;p27">
              <a:extLst>
                <a:ext uri="{FF2B5EF4-FFF2-40B4-BE49-F238E27FC236}">
                  <a16:creationId xmlns:a16="http://schemas.microsoft.com/office/drawing/2014/main" id="{FA7CF0B1-5E39-E725-2349-9ED59692D3EE}"/>
                </a:ext>
              </a:extLst>
            </p:cNvPr>
            <p:cNvSpPr txBox="1">
              <a:spLocks/>
            </p:cNvSpPr>
            <p:nvPr/>
          </p:nvSpPr>
          <p:spPr>
            <a:xfrm>
              <a:off x="3684657" y="4324026"/>
              <a:ext cx="601832" cy="34247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4800"/>
                <a:buFont typeface="Share Tech"/>
                <a:buNone/>
                <a:defRPr sz="4800" b="0" i="0" u="none" strike="noStrike" cap="none">
                  <a:solidFill>
                    <a:schemeClr val="accent1"/>
                  </a:solidFill>
                  <a:latin typeface="Share Tech"/>
                  <a:ea typeface="Share Tech"/>
                  <a:cs typeface="Share Tech"/>
                  <a:sym typeface="Share Tech"/>
                </a:defRPr>
              </a:lvl1pPr>
              <a:lvl2pPr marR="0" lvl="1"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2pPr>
              <a:lvl3pPr marR="0" lvl="2"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3pPr>
              <a:lvl4pPr marR="0" lvl="3"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4pPr>
              <a:lvl5pPr marR="0" lvl="4"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5pPr>
              <a:lvl6pPr marR="0" lvl="5"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6pPr>
              <a:lvl7pPr marR="0" lvl="6"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7pPr>
              <a:lvl8pPr marR="0" lvl="7"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8pPr>
              <a:lvl9pPr marR="0" lvl="8" algn="l" rtl="0">
                <a:lnSpc>
                  <a:spcPct val="100000"/>
                </a:lnSpc>
                <a:spcBef>
                  <a:spcPts val="0"/>
                </a:spcBef>
                <a:spcAft>
                  <a:spcPts val="0"/>
                </a:spcAft>
                <a:buClr>
                  <a:srgbClr val="000000"/>
                </a:buClr>
                <a:buSzPts val="4800"/>
                <a:buFont typeface="Fira Sans Extra Condensed Medium"/>
                <a:buNone/>
                <a:defRPr sz="4800" b="0" i="0" u="none" strike="noStrike" cap="none">
                  <a:solidFill>
                    <a:srgbClr val="000000"/>
                  </a:solidFill>
                  <a:latin typeface="Fira Sans Extra Condensed Medium"/>
                  <a:ea typeface="Fira Sans Extra Condensed Medium"/>
                  <a:cs typeface="Fira Sans Extra Condensed Medium"/>
                  <a:sym typeface="Fira Sans Extra Condensed Medium"/>
                </a:defRPr>
              </a:lvl9pPr>
            </a:lstStyle>
            <a:p>
              <a:r>
                <a:rPr lang="en" sz="2800" dirty="0">
                  <a:solidFill>
                    <a:srgbClr val="869FB1"/>
                  </a:solidFill>
                </a:rPr>
                <a:t>06</a:t>
              </a:r>
            </a:p>
          </p:txBody>
        </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Shape 570"/>
        <p:cNvGrpSpPr/>
        <p:nvPr/>
      </p:nvGrpSpPr>
      <p:grpSpPr>
        <a:xfrm>
          <a:off x="0" y="0"/>
          <a:ext cx="0" cy="0"/>
          <a:chOff x="0" y="0"/>
          <a:chExt cx="0" cy="0"/>
        </a:xfrm>
      </p:grpSpPr>
      <p:sp>
        <p:nvSpPr>
          <p:cNvPr id="571" name="Google Shape;571;p29"/>
          <p:cNvSpPr txBox="1">
            <a:spLocks noGrp="1"/>
          </p:cNvSpPr>
          <p:nvPr>
            <p:ph type="ctrTitle" idx="4"/>
          </p:nvPr>
        </p:nvSpPr>
        <p:spPr>
          <a:xfrm>
            <a:off x="618825" y="411675"/>
            <a:ext cx="61536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NDERSTANDING THE PROBLEM</a:t>
            </a:r>
            <a:endParaRPr/>
          </a:p>
        </p:txBody>
      </p:sp>
      <p:sp>
        <p:nvSpPr>
          <p:cNvPr id="572" name="Google Shape;572;p29"/>
          <p:cNvSpPr txBox="1">
            <a:spLocks noGrp="1"/>
          </p:cNvSpPr>
          <p:nvPr>
            <p:ph type="ctrTitle"/>
          </p:nvPr>
        </p:nvSpPr>
        <p:spPr>
          <a:xfrm>
            <a:off x="931234" y="1196026"/>
            <a:ext cx="9822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S</a:t>
            </a:r>
            <a:endParaRPr/>
          </a:p>
        </p:txBody>
      </p:sp>
      <p:sp>
        <p:nvSpPr>
          <p:cNvPr id="573" name="Google Shape;573;p29"/>
          <p:cNvSpPr txBox="1">
            <a:spLocks noGrp="1"/>
          </p:cNvSpPr>
          <p:nvPr>
            <p:ph type="subTitle" idx="1"/>
          </p:nvPr>
        </p:nvSpPr>
        <p:spPr>
          <a:xfrm>
            <a:off x="931246" y="1684093"/>
            <a:ext cx="2620500" cy="111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espite being red, Mars is a cold place. It’s full of iron oxide dust, which gives the planet its reddish cast</a:t>
            </a:r>
            <a:endParaRPr/>
          </a:p>
        </p:txBody>
      </p:sp>
      <p:sp>
        <p:nvSpPr>
          <p:cNvPr id="574" name="Google Shape;574;p29"/>
          <p:cNvSpPr txBox="1">
            <a:spLocks noGrp="1"/>
          </p:cNvSpPr>
          <p:nvPr>
            <p:ph type="ctrTitle" idx="2"/>
          </p:nvPr>
        </p:nvSpPr>
        <p:spPr>
          <a:xfrm>
            <a:off x="7050379" y="1196025"/>
            <a:ext cx="1137300" cy="577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a:t>
            </a:r>
            <a:endParaRPr/>
          </a:p>
        </p:txBody>
      </p:sp>
      <p:sp>
        <p:nvSpPr>
          <p:cNvPr id="575" name="Google Shape;575;p29"/>
          <p:cNvSpPr txBox="1">
            <a:spLocks noGrp="1"/>
          </p:cNvSpPr>
          <p:nvPr>
            <p:ph type="subTitle" idx="3"/>
          </p:nvPr>
        </p:nvSpPr>
        <p:spPr>
          <a:xfrm>
            <a:off x="5450166" y="1684093"/>
            <a:ext cx="2737500" cy="11124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 has a beautiful name and is the second planet from the Sun. It’s terribly hot, even hotter than Mercury</a:t>
            </a:r>
            <a:endParaRPr/>
          </a:p>
        </p:txBody>
      </p:sp>
      <p:grpSp>
        <p:nvGrpSpPr>
          <p:cNvPr id="576" name="Google Shape;576;p29"/>
          <p:cNvGrpSpPr/>
          <p:nvPr/>
        </p:nvGrpSpPr>
        <p:grpSpPr>
          <a:xfrm>
            <a:off x="2466797" y="2837754"/>
            <a:ext cx="4594825" cy="1842617"/>
            <a:chOff x="3834069" y="2439811"/>
            <a:chExt cx="2413629" cy="967914"/>
          </a:xfrm>
        </p:grpSpPr>
        <p:grpSp>
          <p:nvGrpSpPr>
            <p:cNvPr id="577" name="Google Shape;577;p29"/>
            <p:cNvGrpSpPr/>
            <p:nvPr/>
          </p:nvGrpSpPr>
          <p:grpSpPr>
            <a:xfrm>
              <a:off x="4960453" y="2469658"/>
              <a:ext cx="1287244" cy="885527"/>
              <a:chOff x="4960453" y="2469658"/>
              <a:chExt cx="1287244" cy="885527"/>
            </a:xfrm>
          </p:grpSpPr>
          <p:sp>
            <p:nvSpPr>
              <p:cNvPr id="578" name="Google Shape;578;p29"/>
              <p:cNvSpPr/>
              <p:nvPr/>
            </p:nvSpPr>
            <p:spPr>
              <a:xfrm>
                <a:off x="4960453" y="3257061"/>
                <a:ext cx="128724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29"/>
              <p:cNvSpPr/>
              <p:nvPr/>
            </p:nvSpPr>
            <p:spPr>
              <a:xfrm>
                <a:off x="4960454" y="3099580"/>
                <a:ext cx="1051349" cy="98140"/>
              </a:xfrm>
              <a:custGeom>
                <a:avLst/>
                <a:gdLst/>
                <a:ahLst/>
                <a:cxnLst/>
                <a:rect l="l" t="t" r="r" b="b"/>
                <a:pathLst>
                  <a:path w="42851" h="6286" extrusionOk="0">
                    <a:moveTo>
                      <a:pt x="0" y="0"/>
                    </a:moveTo>
                    <a:lnTo>
                      <a:pt x="0" y="6285"/>
                    </a:lnTo>
                    <a:lnTo>
                      <a:pt x="42851" y="6285"/>
                    </a:lnTo>
                    <a:lnTo>
                      <a:pt x="428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29"/>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29"/>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29"/>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29"/>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4" name="Google Shape;584;p29"/>
            <p:cNvGrpSpPr/>
            <p:nvPr/>
          </p:nvGrpSpPr>
          <p:grpSpPr>
            <a:xfrm>
              <a:off x="3834069" y="2469658"/>
              <a:ext cx="1129846" cy="885527"/>
              <a:chOff x="3834069" y="2469658"/>
              <a:chExt cx="1129846" cy="885527"/>
            </a:xfrm>
          </p:grpSpPr>
          <p:sp>
            <p:nvSpPr>
              <p:cNvPr id="585" name="Google Shape;585;p29"/>
              <p:cNvSpPr/>
              <p:nvPr/>
            </p:nvSpPr>
            <p:spPr>
              <a:xfrm>
                <a:off x="3834069" y="3257061"/>
                <a:ext cx="1129846"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29"/>
              <p:cNvSpPr/>
              <p:nvPr/>
            </p:nvSpPr>
            <p:spPr>
              <a:xfrm>
                <a:off x="4093459" y="3099580"/>
                <a:ext cx="870365" cy="98140"/>
              </a:xfrm>
              <a:custGeom>
                <a:avLst/>
                <a:gdLst/>
                <a:ahLst/>
                <a:cxnLst/>
                <a:rect l="l" t="t" r="r" b="b"/>
                <a:pathLst>
                  <a:path w="42854" h="6286" extrusionOk="0">
                    <a:moveTo>
                      <a:pt x="0" y="0"/>
                    </a:moveTo>
                    <a:lnTo>
                      <a:pt x="0" y="6285"/>
                    </a:lnTo>
                    <a:lnTo>
                      <a:pt x="42854" y="6285"/>
                    </a:lnTo>
                    <a:lnTo>
                      <a:pt x="428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29"/>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29"/>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29"/>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29"/>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29"/>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chemeClr val="lt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92" name="Google Shape;592;p29"/>
          <p:cNvCxnSpPr>
            <a:stCxn id="572" idx="1"/>
          </p:cNvCxnSpPr>
          <p:nvPr/>
        </p:nvCxnSpPr>
        <p:spPr>
          <a:xfrm>
            <a:off x="931234" y="1484926"/>
            <a:ext cx="2543700" cy="2202000"/>
          </a:xfrm>
          <a:prstGeom prst="bentConnector3">
            <a:avLst>
              <a:gd name="adj1" fmla="val -9361"/>
            </a:avLst>
          </a:prstGeom>
          <a:noFill/>
          <a:ln w="9525" cap="flat" cmpd="sng">
            <a:solidFill>
              <a:schemeClr val="accent2"/>
            </a:solidFill>
            <a:prstDash val="solid"/>
            <a:round/>
            <a:headEnd type="none" w="med" len="med"/>
            <a:tailEnd type="none" w="med" len="med"/>
          </a:ln>
        </p:spPr>
      </p:cxnSp>
      <p:cxnSp>
        <p:nvCxnSpPr>
          <p:cNvPr id="593" name="Google Shape;593;p29"/>
          <p:cNvCxnSpPr>
            <a:stCxn id="574" idx="3"/>
          </p:cNvCxnSpPr>
          <p:nvPr/>
        </p:nvCxnSpPr>
        <p:spPr>
          <a:xfrm flipH="1">
            <a:off x="7041079" y="1484925"/>
            <a:ext cx="1146600" cy="2563800"/>
          </a:xfrm>
          <a:prstGeom prst="bentConnector4">
            <a:avLst>
              <a:gd name="adj1" fmla="val -20768"/>
              <a:gd name="adj2" fmla="val 100745"/>
            </a:avLst>
          </a:prstGeom>
          <a:noFill/>
          <a:ln w="9525" cap="flat" cmpd="sng">
            <a:solidFill>
              <a:schemeClr val="accent3"/>
            </a:solidFill>
            <a:prstDash val="solid"/>
            <a:round/>
            <a:headEnd type="none" w="med" len="med"/>
            <a:tailEnd type="none" w="med" len="med"/>
          </a:ln>
        </p:spPr>
      </p:cxnSp>
      <p:sp>
        <p:nvSpPr>
          <p:cNvPr id="594" name="Google Shape;594;p29"/>
          <p:cNvSpPr/>
          <p:nvPr/>
        </p:nvSpPr>
        <p:spPr>
          <a:xfrm>
            <a:off x="923634" y="3637035"/>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29"/>
          <p:cNvSpPr/>
          <p:nvPr/>
        </p:nvSpPr>
        <p:spPr>
          <a:xfrm>
            <a:off x="8282034" y="2960760"/>
            <a:ext cx="121172" cy="121198"/>
          </a:xfrm>
          <a:custGeom>
            <a:avLst/>
            <a:gdLst/>
            <a:ahLst/>
            <a:cxnLst/>
            <a:rect l="l" t="t" r="r" b="b"/>
            <a:pathLst>
              <a:path w="4624" h="4625" extrusionOk="0">
                <a:moveTo>
                  <a:pt x="0" y="1"/>
                </a:moveTo>
                <a:lnTo>
                  <a:pt x="0" y="4624"/>
                </a:lnTo>
                <a:lnTo>
                  <a:pt x="4624" y="4624"/>
                </a:lnTo>
                <a:lnTo>
                  <a:pt x="462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p30"/>
          <p:cNvSpPr txBox="1">
            <a:spLocks noGrp="1"/>
          </p:cNvSpPr>
          <p:nvPr>
            <p:ph type="ctrTitle" idx="8"/>
          </p:nvPr>
        </p:nvSpPr>
        <p:spPr>
          <a:xfrm>
            <a:off x="621630" y="411675"/>
            <a:ext cx="5888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ATASET OVERVIEW</a:t>
            </a:r>
            <a:endParaRPr sz="3000" dirty="0"/>
          </a:p>
        </p:txBody>
      </p:sp>
      <p:sp>
        <p:nvSpPr>
          <p:cNvPr id="601" name="Google Shape;601;p30"/>
          <p:cNvSpPr txBox="1">
            <a:spLocks noGrp="1"/>
          </p:cNvSpPr>
          <p:nvPr>
            <p:ph type="ctrTitle" idx="2"/>
          </p:nvPr>
        </p:nvSpPr>
        <p:spPr>
          <a:xfrm>
            <a:off x="6054555"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602" name="Google Shape;602;p30"/>
          <p:cNvSpPr txBox="1">
            <a:spLocks noGrp="1"/>
          </p:cNvSpPr>
          <p:nvPr>
            <p:ph type="ctrTitle" idx="4"/>
          </p:nvPr>
        </p:nvSpPr>
        <p:spPr>
          <a:xfrm>
            <a:off x="1218541"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603" name="Google Shape;603;p30"/>
          <p:cNvSpPr txBox="1">
            <a:spLocks noGrp="1"/>
          </p:cNvSpPr>
          <p:nvPr>
            <p:ph type="subTitle" idx="7"/>
          </p:nvPr>
        </p:nvSpPr>
        <p:spPr>
          <a:xfrm>
            <a:off x="6054555" y="3271106"/>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the ringed one and a gas giant</a:t>
            </a:r>
            <a:endParaRPr/>
          </a:p>
        </p:txBody>
      </p:sp>
      <p:sp>
        <p:nvSpPr>
          <p:cNvPr id="604" name="Google Shape;604;p30"/>
          <p:cNvSpPr txBox="1">
            <a:spLocks noGrp="1"/>
          </p:cNvSpPr>
          <p:nvPr>
            <p:ph type="ctrTitle"/>
          </p:nvPr>
        </p:nvSpPr>
        <p:spPr>
          <a:xfrm>
            <a:off x="1218541" y="1373195"/>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MARS</a:t>
            </a:r>
            <a:endParaRPr/>
          </a:p>
        </p:txBody>
      </p:sp>
      <p:sp>
        <p:nvSpPr>
          <p:cNvPr id="605" name="Google Shape;605;p30"/>
          <p:cNvSpPr txBox="1">
            <a:spLocks noGrp="1"/>
          </p:cNvSpPr>
          <p:nvPr>
            <p:ph type="subTitle" idx="1"/>
          </p:nvPr>
        </p:nvSpPr>
        <p:spPr>
          <a:xfrm>
            <a:off x="1218541"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Despite being red, Mars is a cold place</a:t>
            </a:r>
            <a:endParaRPr/>
          </a:p>
        </p:txBody>
      </p:sp>
      <p:sp>
        <p:nvSpPr>
          <p:cNvPr id="606" name="Google Shape;606;p30"/>
          <p:cNvSpPr txBox="1">
            <a:spLocks noGrp="1"/>
          </p:cNvSpPr>
          <p:nvPr>
            <p:ph type="subTitle" idx="3"/>
          </p:nvPr>
        </p:nvSpPr>
        <p:spPr>
          <a:xfrm>
            <a:off x="6054555" y="1865495"/>
            <a:ext cx="18813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farthest planet from the Sun</a:t>
            </a:r>
            <a:endParaRPr/>
          </a:p>
        </p:txBody>
      </p:sp>
      <p:sp>
        <p:nvSpPr>
          <p:cNvPr id="607" name="Google Shape;607;p30"/>
          <p:cNvSpPr txBox="1">
            <a:spLocks noGrp="1"/>
          </p:cNvSpPr>
          <p:nvPr>
            <p:ph type="subTitle" idx="5"/>
          </p:nvPr>
        </p:nvSpPr>
        <p:spPr>
          <a:xfrm>
            <a:off x="1116841" y="3271106"/>
            <a:ext cx="2084700" cy="644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608" name="Google Shape;608;p30"/>
          <p:cNvSpPr txBox="1">
            <a:spLocks noGrp="1"/>
          </p:cNvSpPr>
          <p:nvPr>
            <p:ph type="ctrTitle" idx="6"/>
          </p:nvPr>
        </p:nvSpPr>
        <p:spPr>
          <a:xfrm>
            <a:off x="6054555" y="2778806"/>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609" name="Google Shape;609;p30"/>
          <p:cNvSpPr/>
          <p:nvPr/>
        </p:nvSpPr>
        <p:spPr>
          <a:xfrm>
            <a:off x="3510825" y="16739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30"/>
          <p:cNvSpPr/>
          <p:nvPr/>
        </p:nvSpPr>
        <p:spPr>
          <a:xfrm>
            <a:off x="3510825" y="3082375"/>
            <a:ext cx="723900" cy="723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30"/>
          <p:cNvSpPr/>
          <p:nvPr/>
        </p:nvSpPr>
        <p:spPr>
          <a:xfrm>
            <a:off x="4909275" y="1673975"/>
            <a:ext cx="723900" cy="723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30"/>
          <p:cNvSpPr/>
          <p:nvPr/>
        </p:nvSpPr>
        <p:spPr>
          <a:xfrm>
            <a:off x="4909275" y="3082375"/>
            <a:ext cx="723900" cy="723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13" name="Google Shape;613;p30"/>
          <p:cNvCxnSpPr>
            <a:stCxn id="609" idx="3"/>
            <a:endCxn id="611" idx="1"/>
          </p:cNvCxnSpPr>
          <p:nvPr/>
        </p:nvCxnSpPr>
        <p:spPr>
          <a:xfrm>
            <a:off x="4234725" y="2035925"/>
            <a:ext cx="674700" cy="600"/>
          </a:xfrm>
          <a:prstGeom prst="bentConnector3">
            <a:avLst>
              <a:gd name="adj1" fmla="val 49989"/>
            </a:avLst>
          </a:prstGeom>
          <a:noFill/>
          <a:ln w="9525" cap="flat" cmpd="sng">
            <a:solidFill>
              <a:schemeClr val="lt2"/>
            </a:solidFill>
            <a:prstDash val="solid"/>
            <a:round/>
            <a:headEnd type="none" w="med" len="med"/>
            <a:tailEnd type="none" w="med" len="med"/>
          </a:ln>
        </p:spPr>
      </p:cxnSp>
      <p:cxnSp>
        <p:nvCxnSpPr>
          <p:cNvPr id="614" name="Google Shape;614;p30"/>
          <p:cNvCxnSpPr>
            <a:stCxn id="611" idx="2"/>
            <a:endCxn id="610" idx="0"/>
          </p:cNvCxnSpPr>
          <p:nvPr/>
        </p:nvCxnSpPr>
        <p:spPr>
          <a:xfrm rot="5400000">
            <a:off x="4229775" y="2041025"/>
            <a:ext cx="684600" cy="1398300"/>
          </a:xfrm>
          <a:prstGeom prst="bentConnector3">
            <a:avLst>
              <a:gd name="adj1" fmla="val 49993"/>
            </a:avLst>
          </a:prstGeom>
          <a:noFill/>
          <a:ln w="9525" cap="flat" cmpd="sng">
            <a:solidFill>
              <a:schemeClr val="lt2"/>
            </a:solidFill>
            <a:prstDash val="solid"/>
            <a:round/>
            <a:headEnd type="none" w="med" len="med"/>
            <a:tailEnd type="none" w="med" len="med"/>
          </a:ln>
        </p:spPr>
      </p:cxnSp>
      <p:cxnSp>
        <p:nvCxnSpPr>
          <p:cNvPr id="615" name="Google Shape;615;p30"/>
          <p:cNvCxnSpPr>
            <a:stCxn id="610" idx="3"/>
            <a:endCxn id="612" idx="1"/>
          </p:cNvCxnSpPr>
          <p:nvPr/>
        </p:nvCxnSpPr>
        <p:spPr>
          <a:xfrm>
            <a:off x="4234725" y="3444325"/>
            <a:ext cx="674700" cy="0"/>
          </a:xfrm>
          <a:prstGeom prst="straightConnector1">
            <a:avLst/>
          </a:prstGeom>
          <a:noFill/>
          <a:ln w="9525" cap="flat" cmpd="sng">
            <a:solidFill>
              <a:schemeClr val="lt2"/>
            </a:solidFill>
            <a:prstDash val="solid"/>
            <a:round/>
            <a:headEnd type="none" w="med" len="med"/>
            <a:tailEnd type="none" w="med" len="med"/>
          </a:ln>
        </p:spPr>
      </p:cxnSp>
      <p:grpSp>
        <p:nvGrpSpPr>
          <p:cNvPr id="616" name="Google Shape;616;p30"/>
          <p:cNvGrpSpPr/>
          <p:nvPr/>
        </p:nvGrpSpPr>
        <p:grpSpPr>
          <a:xfrm>
            <a:off x="5072712" y="3212678"/>
            <a:ext cx="402156" cy="456781"/>
            <a:chOff x="5357662" y="4297637"/>
            <a:chExt cx="287275" cy="326296"/>
          </a:xfrm>
        </p:grpSpPr>
        <p:sp>
          <p:nvSpPr>
            <p:cNvPr id="617" name="Google Shape;617;p3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3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3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3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3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22" name="Google Shape;622;p30"/>
          <p:cNvGrpSpPr/>
          <p:nvPr/>
        </p:nvGrpSpPr>
        <p:grpSpPr>
          <a:xfrm>
            <a:off x="3630590" y="3198869"/>
            <a:ext cx="484361" cy="484405"/>
            <a:chOff x="4890434" y="4287389"/>
            <a:chExt cx="345997" cy="346029"/>
          </a:xfrm>
        </p:grpSpPr>
        <p:sp>
          <p:nvSpPr>
            <p:cNvPr id="623" name="Google Shape;623;p3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3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3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3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3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3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3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30"/>
          <p:cNvGrpSpPr/>
          <p:nvPr/>
        </p:nvGrpSpPr>
        <p:grpSpPr>
          <a:xfrm>
            <a:off x="5029465" y="1816807"/>
            <a:ext cx="488638" cy="438246"/>
            <a:chOff x="5778676" y="3826972"/>
            <a:chExt cx="349052" cy="313055"/>
          </a:xfrm>
        </p:grpSpPr>
        <p:sp>
          <p:nvSpPr>
            <p:cNvPr id="631" name="Google Shape;631;p3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3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633;p3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6" name="Google Shape;636;p30"/>
          <p:cNvGrpSpPr/>
          <p:nvPr/>
        </p:nvGrpSpPr>
        <p:grpSpPr>
          <a:xfrm>
            <a:off x="3630860" y="1790353"/>
            <a:ext cx="483826" cy="491133"/>
            <a:chOff x="4874902" y="3808799"/>
            <a:chExt cx="345615" cy="350835"/>
          </a:xfrm>
        </p:grpSpPr>
        <p:sp>
          <p:nvSpPr>
            <p:cNvPr id="637" name="Google Shape;637;p3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3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3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3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3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Shape 657"/>
        <p:cNvGrpSpPr/>
        <p:nvPr/>
      </p:nvGrpSpPr>
      <p:grpSpPr>
        <a:xfrm>
          <a:off x="0" y="0"/>
          <a:ext cx="0" cy="0"/>
          <a:chOff x="0" y="0"/>
          <a:chExt cx="0" cy="0"/>
        </a:xfrm>
      </p:grpSpPr>
      <p:sp>
        <p:nvSpPr>
          <p:cNvPr id="658" name="Google Shape;658;p31"/>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IN COMPETITORS</a:t>
            </a:r>
            <a:endParaRPr/>
          </a:p>
        </p:txBody>
      </p:sp>
      <p:sp>
        <p:nvSpPr>
          <p:cNvPr id="659" name="Google Shape;659;p31"/>
          <p:cNvSpPr/>
          <p:nvPr/>
        </p:nvSpPr>
        <p:spPr>
          <a:xfrm>
            <a:off x="3936789"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1"/>
          <p:cNvSpPr/>
          <p:nvPr/>
        </p:nvSpPr>
        <p:spPr>
          <a:xfrm>
            <a:off x="4922624"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1"/>
          <p:cNvSpPr/>
          <p:nvPr/>
        </p:nvSpPr>
        <p:spPr>
          <a:xfrm>
            <a:off x="5908459" y="1308651"/>
            <a:ext cx="72" cy="3058625"/>
          </a:xfrm>
          <a:custGeom>
            <a:avLst/>
            <a:gdLst/>
            <a:ahLst/>
            <a:cxnLst/>
            <a:rect l="l" t="t" r="r" b="b"/>
            <a:pathLst>
              <a:path w="1" h="42769" fill="none" extrusionOk="0">
                <a:moveTo>
                  <a:pt x="1" y="1"/>
                </a:moveTo>
                <a:lnTo>
                  <a:pt x="1"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31"/>
          <p:cNvSpPr/>
          <p:nvPr/>
        </p:nvSpPr>
        <p:spPr>
          <a:xfrm>
            <a:off x="6894365" y="1308651"/>
            <a:ext cx="72" cy="3058625"/>
          </a:xfrm>
          <a:custGeom>
            <a:avLst/>
            <a:gdLst/>
            <a:ahLst/>
            <a:cxnLst/>
            <a:rect l="l" t="t" r="r" b="b"/>
            <a:pathLst>
              <a:path w="1" h="42769" fill="none" extrusionOk="0">
                <a:moveTo>
                  <a:pt x="0" y="1"/>
                </a:moveTo>
                <a:lnTo>
                  <a:pt x="0" y="42768"/>
                </a:lnTo>
              </a:path>
            </a:pathLst>
          </a:custGeom>
          <a:noFill/>
          <a:ln w="3150" cap="flat" cmpd="sng">
            <a:solidFill>
              <a:srgbClr val="FFD6E1"/>
            </a:solidFill>
            <a:prstDash val="solid"/>
            <a:miter lim="126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63" name="Google Shape;663;p31"/>
          <p:cNvGrpSpPr/>
          <p:nvPr/>
        </p:nvGrpSpPr>
        <p:grpSpPr>
          <a:xfrm>
            <a:off x="3828658" y="3854100"/>
            <a:ext cx="3601799" cy="274905"/>
            <a:chOff x="3828658" y="3897730"/>
            <a:chExt cx="3601799" cy="274905"/>
          </a:xfrm>
        </p:grpSpPr>
        <p:sp>
          <p:nvSpPr>
            <p:cNvPr id="664" name="Google Shape;664;p31"/>
            <p:cNvSpPr/>
            <p:nvPr/>
          </p:nvSpPr>
          <p:spPr>
            <a:xfrm>
              <a:off x="3829516" y="3897730"/>
              <a:ext cx="2234837" cy="106414"/>
            </a:xfrm>
            <a:custGeom>
              <a:avLst/>
              <a:gdLst/>
              <a:ahLst/>
              <a:cxnLst/>
              <a:rect l="l" t="t" r="r" b="b"/>
              <a:pathLst>
                <a:path w="31251" h="1488" extrusionOk="0">
                  <a:moveTo>
                    <a:pt x="744" y="0"/>
                  </a:moveTo>
                  <a:cubicBezTo>
                    <a:pt x="328" y="0"/>
                    <a:pt x="1" y="340"/>
                    <a:pt x="1" y="744"/>
                  </a:cubicBezTo>
                  <a:cubicBezTo>
                    <a:pt x="1" y="1159"/>
                    <a:pt x="328" y="1487"/>
                    <a:pt x="744" y="1487"/>
                  </a:cubicBezTo>
                  <a:lnTo>
                    <a:pt x="30507" y="1487"/>
                  </a:lnTo>
                  <a:cubicBezTo>
                    <a:pt x="30911" y="1487"/>
                    <a:pt x="31251" y="1159"/>
                    <a:pt x="31251" y="744"/>
                  </a:cubicBezTo>
                  <a:cubicBezTo>
                    <a:pt x="31251" y="340"/>
                    <a:pt x="30911" y="0"/>
                    <a:pt x="30507"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1"/>
            <p:cNvSpPr/>
            <p:nvPr/>
          </p:nvSpPr>
          <p:spPr>
            <a:xfrm>
              <a:off x="3828658" y="4067150"/>
              <a:ext cx="3601799" cy="105485"/>
            </a:xfrm>
            <a:custGeom>
              <a:avLst/>
              <a:gdLst/>
              <a:ahLst/>
              <a:cxnLst/>
              <a:rect l="l" t="t" r="r" b="b"/>
              <a:pathLst>
                <a:path w="50366" h="1475" extrusionOk="0">
                  <a:moveTo>
                    <a:pt x="743" y="0"/>
                  </a:moveTo>
                  <a:cubicBezTo>
                    <a:pt x="340" y="0"/>
                    <a:pt x="0" y="328"/>
                    <a:pt x="0" y="731"/>
                  </a:cubicBezTo>
                  <a:cubicBezTo>
                    <a:pt x="13" y="1147"/>
                    <a:pt x="340" y="1474"/>
                    <a:pt x="743" y="1474"/>
                  </a:cubicBezTo>
                  <a:lnTo>
                    <a:pt x="49635" y="1474"/>
                  </a:lnTo>
                  <a:cubicBezTo>
                    <a:pt x="50038" y="1474"/>
                    <a:pt x="50366" y="1147"/>
                    <a:pt x="50366" y="731"/>
                  </a:cubicBezTo>
                  <a:cubicBezTo>
                    <a:pt x="50366" y="328"/>
                    <a:pt x="50038" y="0"/>
                    <a:pt x="496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31"/>
          <p:cNvGrpSpPr/>
          <p:nvPr/>
        </p:nvGrpSpPr>
        <p:grpSpPr>
          <a:xfrm>
            <a:off x="3811494" y="2983302"/>
            <a:ext cx="4240571" cy="274977"/>
            <a:chOff x="3811494" y="3103763"/>
            <a:chExt cx="4240571" cy="274977"/>
          </a:xfrm>
        </p:grpSpPr>
        <p:sp>
          <p:nvSpPr>
            <p:cNvPr id="667" name="Google Shape;667;p31"/>
            <p:cNvSpPr/>
            <p:nvPr/>
          </p:nvSpPr>
          <p:spPr>
            <a:xfrm>
              <a:off x="3811498" y="3103763"/>
              <a:ext cx="4240568" cy="106403"/>
            </a:xfrm>
            <a:custGeom>
              <a:avLst/>
              <a:gdLst/>
              <a:ahLst/>
              <a:cxnLst/>
              <a:rect l="l" t="t" r="r" b="b"/>
              <a:pathLst>
                <a:path w="69772" h="1488" extrusionOk="0">
                  <a:moveTo>
                    <a:pt x="744" y="1"/>
                  </a:moveTo>
                  <a:cubicBezTo>
                    <a:pt x="328" y="1"/>
                    <a:pt x="1" y="341"/>
                    <a:pt x="1" y="744"/>
                  </a:cubicBezTo>
                  <a:cubicBezTo>
                    <a:pt x="1" y="1147"/>
                    <a:pt x="328" y="1488"/>
                    <a:pt x="744" y="1488"/>
                  </a:cubicBezTo>
                  <a:lnTo>
                    <a:pt x="69028" y="1488"/>
                  </a:lnTo>
                  <a:cubicBezTo>
                    <a:pt x="69431" y="1488"/>
                    <a:pt x="69772" y="1147"/>
                    <a:pt x="69772" y="744"/>
                  </a:cubicBezTo>
                  <a:cubicBezTo>
                    <a:pt x="69772" y="341"/>
                    <a:pt x="69431" y="1"/>
                    <a:pt x="6902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1"/>
            <p:cNvSpPr/>
            <p:nvPr/>
          </p:nvSpPr>
          <p:spPr>
            <a:xfrm>
              <a:off x="3811494" y="3272326"/>
              <a:ext cx="1369750" cy="106414"/>
            </a:xfrm>
            <a:custGeom>
              <a:avLst/>
              <a:gdLst/>
              <a:ahLst/>
              <a:cxnLst/>
              <a:rect l="l" t="t" r="r" b="b"/>
              <a:pathLst>
                <a:path w="19154" h="1488" extrusionOk="0">
                  <a:moveTo>
                    <a:pt x="744" y="0"/>
                  </a:moveTo>
                  <a:cubicBezTo>
                    <a:pt x="328" y="0"/>
                    <a:pt x="1" y="340"/>
                    <a:pt x="1" y="744"/>
                  </a:cubicBezTo>
                  <a:cubicBezTo>
                    <a:pt x="1" y="1159"/>
                    <a:pt x="328" y="1487"/>
                    <a:pt x="744" y="1487"/>
                  </a:cubicBezTo>
                  <a:lnTo>
                    <a:pt x="18410" y="1487"/>
                  </a:lnTo>
                  <a:cubicBezTo>
                    <a:pt x="18826" y="1487"/>
                    <a:pt x="19154" y="1147"/>
                    <a:pt x="19154" y="744"/>
                  </a:cubicBezTo>
                  <a:cubicBezTo>
                    <a:pt x="19154" y="340"/>
                    <a:pt x="18826" y="0"/>
                    <a:pt x="1841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9" name="Google Shape;669;p31"/>
          <p:cNvGrpSpPr/>
          <p:nvPr/>
        </p:nvGrpSpPr>
        <p:grpSpPr>
          <a:xfrm>
            <a:off x="3793472" y="2169574"/>
            <a:ext cx="2235767" cy="274905"/>
            <a:chOff x="3793472" y="2309869"/>
            <a:chExt cx="2235767" cy="274905"/>
          </a:xfrm>
        </p:grpSpPr>
        <p:sp>
          <p:nvSpPr>
            <p:cNvPr id="670" name="Google Shape;670;p31"/>
            <p:cNvSpPr/>
            <p:nvPr/>
          </p:nvSpPr>
          <p:spPr>
            <a:xfrm>
              <a:off x="3793472" y="2309869"/>
              <a:ext cx="2235767" cy="106414"/>
            </a:xfrm>
            <a:custGeom>
              <a:avLst/>
              <a:gdLst/>
              <a:ahLst/>
              <a:cxnLst/>
              <a:rect l="l" t="t" r="r" b="b"/>
              <a:pathLst>
                <a:path w="31264" h="1488" extrusionOk="0">
                  <a:moveTo>
                    <a:pt x="744" y="0"/>
                  </a:moveTo>
                  <a:cubicBezTo>
                    <a:pt x="341" y="0"/>
                    <a:pt x="1" y="328"/>
                    <a:pt x="1" y="744"/>
                  </a:cubicBezTo>
                  <a:cubicBezTo>
                    <a:pt x="1" y="1147"/>
                    <a:pt x="341" y="1487"/>
                    <a:pt x="744" y="1487"/>
                  </a:cubicBezTo>
                  <a:lnTo>
                    <a:pt x="30520" y="1487"/>
                  </a:lnTo>
                  <a:cubicBezTo>
                    <a:pt x="30923" y="1487"/>
                    <a:pt x="31263" y="1147"/>
                    <a:pt x="31251" y="744"/>
                  </a:cubicBezTo>
                  <a:cubicBezTo>
                    <a:pt x="31251" y="328"/>
                    <a:pt x="30923" y="0"/>
                    <a:pt x="3052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1"/>
            <p:cNvSpPr/>
            <p:nvPr/>
          </p:nvSpPr>
          <p:spPr>
            <a:xfrm>
              <a:off x="3793472" y="2478360"/>
              <a:ext cx="1508556" cy="106414"/>
            </a:xfrm>
            <a:custGeom>
              <a:avLst/>
              <a:gdLst/>
              <a:ahLst/>
              <a:cxnLst/>
              <a:rect l="l" t="t" r="r" b="b"/>
              <a:pathLst>
                <a:path w="21095" h="1488" extrusionOk="0">
                  <a:moveTo>
                    <a:pt x="744" y="1"/>
                  </a:moveTo>
                  <a:cubicBezTo>
                    <a:pt x="341" y="1"/>
                    <a:pt x="1" y="341"/>
                    <a:pt x="1" y="744"/>
                  </a:cubicBezTo>
                  <a:cubicBezTo>
                    <a:pt x="1" y="1147"/>
                    <a:pt x="341" y="1488"/>
                    <a:pt x="744" y="1488"/>
                  </a:cubicBezTo>
                  <a:lnTo>
                    <a:pt x="20351" y="1488"/>
                  </a:lnTo>
                  <a:cubicBezTo>
                    <a:pt x="20754" y="1488"/>
                    <a:pt x="21094" y="1147"/>
                    <a:pt x="21094" y="744"/>
                  </a:cubicBezTo>
                  <a:cubicBezTo>
                    <a:pt x="21094" y="341"/>
                    <a:pt x="20754" y="1"/>
                    <a:pt x="2035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1"/>
          <p:cNvGrpSpPr/>
          <p:nvPr/>
        </p:nvGrpSpPr>
        <p:grpSpPr>
          <a:xfrm>
            <a:off x="3771875" y="1384049"/>
            <a:ext cx="2876447" cy="274047"/>
            <a:chOff x="3771875" y="1457332"/>
            <a:chExt cx="2876447" cy="274047"/>
          </a:xfrm>
        </p:grpSpPr>
        <p:sp>
          <p:nvSpPr>
            <p:cNvPr id="673" name="Google Shape;673;p31"/>
            <p:cNvSpPr/>
            <p:nvPr/>
          </p:nvSpPr>
          <p:spPr>
            <a:xfrm>
              <a:off x="3771875" y="1457332"/>
              <a:ext cx="962415" cy="105556"/>
            </a:xfrm>
            <a:custGeom>
              <a:avLst/>
              <a:gdLst/>
              <a:ahLst/>
              <a:cxnLst/>
              <a:rect l="l" t="t" r="r" b="b"/>
              <a:pathLst>
                <a:path w="13458" h="1476" extrusionOk="0">
                  <a:moveTo>
                    <a:pt x="744" y="1"/>
                  </a:moveTo>
                  <a:cubicBezTo>
                    <a:pt x="328" y="1"/>
                    <a:pt x="0" y="329"/>
                    <a:pt x="0" y="744"/>
                  </a:cubicBezTo>
                  <a:cubicBezTo>
                    <a:pt x="0" y="1148"/>
                    <a:pt x="328" y="1475"/>
                    <a:pt x="744" y="1475"/>
                  </a:cubicBezTo>
                  <a:lnTo>
                    <a:pt x="12714" y="1475"/>
                  </a:lnTo>
                  <a:cubicBezTo>
                    <a:pt x="13118" y="1475"/>
                    <a:pt x="13458" y="1148"/>
                    <a:pt x="13458" y="744"/>
                  </a:cubicBezTo>
                  <a:cubicBezTo>
                    <a:pt x="13458" y="329"/>
                    <a:pt x="13118" y="1"/>
                    <a:pt x="12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1"/>
            <p:cNvSpPr/>
            <p:nvPr/>
          </p:nvSpPr>
          <p:spPr>
            <a:xfrm>
              <a:off x="3771875" y="1625894"/>
              <a:ext cx="2876447" cy="105485"/>
            </a:xfrm>
            <a:custGeom>
              <a:avLst/>
              <a:gdLst/>
              <a:ahLst/>
              <a:cxnLst/>
              <a:rect l="l" t="t" r="r" b="b"/>
              <a:pathLst>
                <a:path w="40223" h="1475" extrusionOk="0">
                  <a:moveTo>
                    <a:pt x="744" y="0"/>
                  </a:moveTo>
                  <a:cubicBezTo>
                    <a:pt x="340" y="0"/>
                    <a:pt x="13" y="328"/>
                    <a:pt x="0" y="744"/>
                  </a:cubicBezTo>
                  <a:cubicBezTo>
                    <a:pt x="0" y="1147"/>
                    <a:pt x="340" y="1475"/>
                    <a:pt x="744" y="1475"/>
                  </a:cubicBezTo>
                  <a:lnTo>
                    <a:pt x="39479" y="1475"/>
                  </a:lnTo>
                  <a:cubicBezTo>
                    <a:pt x="39895" y="1475"/>
                    <a:pt x="40222" y="1147"/>
                    <a:pt x="40222" y="744"/>
                  </a:cubicBezTo>
                  <a:cubicBezTo>
                    <a:pt x="40222" y="328"/>
                    <a:pt x="39895" y="0"/>
                    <a:pt x="394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5" name="Google Shape;675;p31"/>
          <p:cNvSpPr txBox="1">
            <a:spLocks noGrp="1"/>
          </p:cNvSpPr>
          <p:nvPr>
            <p:ph type="ctrTitle" idx="4294967295"/>
          </p:nvPr>
        </p:nvSpPr>
        <p:spPr>
          <a:xfrm>
            <a:off x="1644300" y="12684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1"/>
                </a:solidFill>
              </a:rPr>
              <a:t>NEPTUNE</a:t>
            </a:r>
            <a:endParaRPr sz="1800">
              <a:solidFill>
                <a:schemeClr val="accent1"/>
              </a:solidFill>
            </a:endParaRPr>
          </a:p>
        </p:txBody>
      </p:sp>
      <p:sp>
        <p:nvSpPr>
          <p:cNvPr id="676" name="Google Shape;676;p31"/>
          <p:cNvSpPr txBox="1">
            <a:spLocks noGrp="1"/>
          </p:cNvSpPr>
          <p:nvPr>
            <p:ph type="subTitle" idx="4294967295"/>
          </p:nvPr>
        </p:nvSpPr>
        <p:spPr>
          <a:xfrm>
            <a:off x="1289823" y="1479500"/>
            <a:ext cx="22359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the farthest planet from the Sun</a:t>
            </a:r>
            <a:endParaRPr sz="1400"/>
          </a:p>
        </p:txBody>
      </p:sp>
      <p:sp>
        <p:nvSpPr>
          <p:cNvPr id="677" name="Google Shape;677;p31"/>
          <p:cNvSpPr txBox="1">
            <a:spLocks noGrp="1"/>
          </p:cNvSpPr>
          <p:nvPr>
            <p:ph type="ctrTitle" idx="4294967295"/>
          </p:nvPr>
        </p:nvSpPr>
        <p:spPr>
          <a:xfrm>
            <a:off x="1644300" y="2070231"/>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2"/>
                </a:solidFill>
              </a:rPr>
              <a:t>MARS</a:t>
            </a:r>
            <a:endParaRPr sz="1800">
              <a:solidFill>
                <a:schemeClr val="accent2"/>
              </a:solidFill>
            </a:endParaRPr>
          </a:p>
        </p:txBody>
      </p:sp>
      <p:sp>
        <p:nvSpPr>
          <p:cNvPr id="678" name="Google Shape;678;p31"/>
          <p:cNvSpPr txBox="1">
            <a:spLocks noGrp="1"/>
          </p:cNvSpPr>
          <p:nvPr>
            <p:ph type="subTitle" idx="4294967295"/>
          </p:nvPr>
        </p:nvSpPr>
        <p:spPr>
          <a:xfrm>
            <a:off x="1369424" y="2281300"/>
            <a:ext cx="21561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Despite being red, Mars is a cold place</a:t>
            </a:r>
            <a:endParaRPr sz="1400"/>
          </a:p>
        </p:txBody>
      </p:sp>
      <p:sp>
        <p:nvSpPr>
          <p:cNvPr id="679" name="Google Shape;679;p31"/>
          <p:cNvSpPr txBox="1">
            <a:spLocks noGrp="1"/>
          </p:cNvSpPr>
          <p:nvPr>
            <p:ph type="ctrTitle" idx="4294967295"/>
          </p:nvPr>
        </p:nvSpPr>
        <p:spPr>
          <a:xfrm>
            <a:off x="1644300" y="2872019"/>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solidFill>
                  <a:schemeClr val="accent3"/>
                </a:solidFill>
              </a:rPr>
              <a:t>VENUS</a:t>
            </a:r>
            <a:endParaRPr sz="1800">
              <a:solidFill>
                <a:schemeClr val="accent3"/>
              </a:solidFill>
            </a:endParaRPr>
          </a:p>
        </p:txBody>
      </p:sp>
      <p:sp>
        <p:nvSpPr>
          <p:cNvPr id="680" name="Google Shape;680;p31"/>
          <p:cNvSpPr txBox="1">
            <a:spLocks noGrp="1"/>
          </p:cNvSpPr>
          <p:nvPr>
            <p:ph type="subTitle" idx="4294967295"/>
          </p:nvPr>
        </p:nvSpPr>
        <p:spPr>
          <a:xfrm>
            <a:off x="1140825" y="3083100"/>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Venus is the second planet from the Sun</a:t>
            </a:r>
            <a:endParaRPr sz="1400"/>
          </a:p>
        </p:txBody>
      </p:sp>
      <p:sp>
        <p:nvSpPr>
          <p:cNvPr id="681" name="Google Shape;681;p31"/>
          <p:cNvSpPr txBox="1">
            <a:spLocks noGrp="1"/>
          </p:cNvSpPr>
          <p:nvPr>
            <p:ph type="ctrTitle" idx="4294967295"/>
          </p:nvPr>
        </p:nvSpPr>
        <p:spPr>
          <a:xfrm>
            <a:off x="1644300" y="3725394"/>
            <a:ext cx="1881300" cy="3933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1800"/>
              <a:t>SATURN</a:t>
            </a:r>
            <a:endParaRPr sz="1800"/>
          </a:p>
        </p:txBody>
      </p:sp>
      <p:sp>
        <p:nvSpPr>
          <p:cNvPr id="682" name="Google Shape;682;p31"/>
          <p:cNvSpPr txBox="1">
            <a:spLocks noGrp="1"/>
          </p:cNvSpPr>
          <p:nvPr>
            <p:ph type="subTitle" idx="4294967295"/>
          </p:nvPr>
        </p:nvSpPr>
        <p:spPr>
          <a:xfrm>
            <a:off x="1140600" y="3936475"/>
            <a:ext cx="2385000" cy="644700"/>
          </a:xfrm>
          <a:prstGeom prst="rect">
            <a:avLst/>
          </a:prstGeom>
        </p:spPr>
        <p:txBody>
          <a:bodyPr spcFirstLastPara="1" wrap="square" lIns="91425" tIns="91425" rIns="91425" bIns="91425" anchor="t" anchorCtr="0">
            <a:noAutofit/>
          </a:bodyPr>
          <a:lstStyle/>
          <a:p>
            <a:pPr marL="0" lvl="0" indent="0" algn="r" rtl="0">
              <a:lnSpc>
                <a:spcPct val="100000"/>
              </a:lnSpc>
              <a:spcBef>
                <a:spcPts val="0"/>
              </a:spcBef>
              <a:spcAft>
                <a:spcPts val="1600"/>
              </a:spcAft>
              <a:buNone/>
            </a:pPr>
            <a:r>
              <a:rPr lang="en" sz="1400"/>
              <a:t>It’s composed mostly of hydrogen and helium</a:t>
            </a:r>
            <a:endParaRPr sz="140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Shape 686"/>
        <p:cNvGrpSpPr/>
        <p:nvPr/>
      </p:nvGrpSpPr>
      <p:grpSpPr>
        <a:xfrm>
          <a:off x="0" y="0"/>
          <a:ext cx="0" cy="0"/>
          <a:chOff x="0" y="0"/>
          <a:chExt cx="0" cy="0"/>
        </a:xfrm>
      </p:grpSpPr>
      <p:sp>
        <p:nvSpPr>
          <p:cNvPr id="687" name="Google Shape;687;p32"/>
          <p:cNvSpPr txBox="1">
            <a:spLocks noGrp="1"/>
          </p:cNvSpPr>
          <p:nvPr>
            <p:ph type="ctrTitle"/>
          </p:nvPr>
        </p:nvSpPr>
        <p:spPr>
          <a:xfrm>
            <a:off x="2031287" y="1742775"/>
            <a:ext cx="26220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COMPANY</a:t>
            </a:r>
            <a:endParaRPr/>
          </a:p>
        </p:txBody>
      </p:sp>
      <p:sp>
        <p:nvSpPr>
          <p:cNvPr id="688" name="Google Shape;688;p32"/>
          <p:cNvSpPr txBox="1">
            <a:spLocks noGrp="1"/>
          </p:cNvSpPr>
          <p:nvPr>
            <p:ph type="subTitle" idx="1"/>
          </p:nvPr>
        </p:nvSpPr>
        <p:spPr>
          <a:xfrm>
            <a:off x="1791587" y="2417450"/>
            <a:ext cx="3101400" cy="1048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You could enter a subtitle here if you need it</a:t>
            </a:r>
            <a:endParaRPr/>
          </a:p>
        </p:txBody>
      </p:sp>
      <p:sp>
        <p:nvSpPr>
          <p:cNvPr id="689" name="Google Shape;689;p32"/>
          <p:cNvSpPr/>
          <p:nvPr/>
        </p:nvSpPr>
        <p:spPr>
          <a:xfrm>
            <a:off x="5782875" y="1868575"/>
            <a:ext cx="1085100" cy="10851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2"/>
          <p:cNvSpPr txBox="1">
            <a:spLocks noGrp="1"/>
          </p:cNvSpPr>
          <p:nvPr>
            <p:ph type="title" idx="2"/>
          </p:nvPr>
        </p:nvSpPr>
        <p:spPr>
          <a:xfrm>
            <a:off x="5834900" y="2122225"/>
            <a:ext cx="981000" cy="57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chemeClr val="dk2"/>
                </a:solidFill>
              </a:rPr>
              <a:t>01</a:t>
            </a:r>
            <a:endParaRPr>
              <a:solidFill>
                <a:schemeClr val="dk2"/>
              </a:solidFill>
            </a:endParaRPr>
          </a:p>
        </p:txBody>
      </p:sp>
      <p:sp>
        <p:nvSpPr>
          <p:cNvPr id="691" name="Google Shape;691;p32"/>
          <p:cNvSpPr/>
          <p:nvPr/>
        </p:nvSpPr>
        <p:spPr>
          <a:xfrm>
            <a:off x="1370476" y="3869000"/>
            <a:ext cx="6279992" cy="104326"/>
          </a:xfrm>
          <a:custGeom>
            <a:avLst/>
            <a:gdLst/>
            <a:ahLst/>
            <a:cxnLst/>
            <a:rect l="l" t="t" r="r" b="b"/>
            <a:pathLst>
              <a:path w="143387" h="2382" extrusionOk="0">
                <a:moveTo>
                  <a:pt x="1185" y="0"/>
                </a:moveTo>
                <a:cubicBezTo>
                  <a:pt x="530" y="0"/>
                  <a:pt x="1" y="529"/>
                  <a:pt x="1" y="1184"/>
                </a:cubicBezTo>
                <a:cubicBezTo>
                  <a:pt x="1" y="1840"/>
                  <a:pt x="530" y="2382"/>
                  <a:pt x="1185" y="2382"/>
                </a:cubicBezTo>
                <a:lnTo>
                  <a:pt x="142189" y="2382"/>
                </a:lnTo>
                <a:cubicBezTo>
                  <a:pt x="142844" y="2382"/>
                  <a:pt x="143386" y="1840"/>
                  <a:pt x="143386" y="1184"/>
                </a:cubicBezTo>
                <a:cubicBezTo>
                  <a:pt x="143386" y="529"/>
                  <a:pt x="142844" y="0"/>
                  <a:pt x="14218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32"/>
          <p:cNvSpPr/>
          <p:nvPr/>
        </p:nvSpPr>
        <p:spPr>
          <a:xfrm>
            <a:off x="1369950" y="3869000"/>
            <a:ext cx="5074478" cy="104326"/>
          </a:xfrm>
          <a:custGeom>
            <a:avLst/>
            <a:gdLst/>
            <a:ahLst/>
            <a:cxnLst/>
            <a:rect l="l" t="t" r="r" b="b"/>
            <a:pathLst>
              <a:path w="87904" h="2382" extrusionOk="0">
                <a:moveTo>
                  <a:pt x="1197" y="0"/>
                </a:moveTo>
                <a:cubicBezTo>
                  <a:pt x="529" y="0"/>
                  <a:pt x="0" y="529"/>
                  <a:pt x="0" y="1184"/>
                </a:cubicBezTo>
                <a:cubicBezTo>
                  <a:pt x="0" y="1840"/>
                  <a:pt x="529" y="2382"/>
                  <a:pt x="1197" y="2382"/>
                </a:cubicBezTo>
                <a:lnTo>
                  <a:pt x="86719" y="2382"/>
                </a:lnTo>
                <a:cubicBezTo>
                  <a:pt x="87375" y="2382"/>
                  <a:pt x="87904" y="1840"/>
                  <a:pt x="87904" y="1184"/>
                </a:cubicBezTo>
                <a:cubicBezTo>
                  <a:pt x="87904" y="529"/>
                  <a:pt x="87375" y="0"/>
                  <a:pt x="86719"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93" name="Google Shape;693;p32"/>
          <p:cNvCxnSpPr>
            <a:stCxn id="689" idx="2"/>
          </p:cNvCxnSpPr>
          <p:nvPr/>
        </p:nvCxnSpPr>
        <p:spPr>
          <a:xfrm>
            <a:off x="6325425" y="2953675"/>
            <a:ext cx="0" cy="978000"/>
          </a:xfrm>
          <a:prstGeom prst="straightConnector1">
            <a:avLst/>
          </a:prstGeom>
          <a:noFill/>
          <a:ln w="19050" cap="flat" cmpd="sng">
            <a:solidFill>
              <a:schemeClr val="accent2"/>
            </a:solidFill>
            <a:prstDash val="solid"/>
            <a:round/>
            <a:headEnd type="none" w="med" len="med"/>
            <a:tailEnd type="none" w="med" len="med"/>
          </a:ln>
        </p:spPr>
      </p:cxn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Shape 697"/>
        <p:cNvGrpSpPr/>
        <p:nvPr/>
      </p:nvGrpSpPr>
      <p:grpSpPr>
        <a:xfrm>
          <a:off x="0" y="0"/>
          <a:ext cx="0" cy="0"/>
          <a:chOff x="0" y="0"/>
          <a:chExt cx="0" cy="0"/>
        </a:xfrm>
      </p:grpSpPr>
      <p:sp>
        <p:nvSpPr>
          <p:cNvPr id="698" name="Google Shape;698;p33"/>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ARKET RESEARCH</a:t>
            </a:r>
            <a:endParaRPr/>
          </a:p>
        </p:txBody>
      </p:sp>
      <p:sp>
        <p:nvSpPr>
          <p:cNvPr id="699" name="Google Shape;699;p33"/>
          <p:cNvSpPr txBox="1">
            <a:spLocks noGrp="1"/>
          </p:cNvSpPr>
          <p:nvPr>
            <p:ph type="ctrTitle" idx="4294967295"/>
          </p:nvPr>
        </p:nvSpPr>
        <p:spPr>
          <a:xfrm>
            <a:off x="4792350" y="1739848"/>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pic>
        <p:nvPicPr>
          <p:cNvPr id="700" name="Google Shape;700;p33" title="Gráfico">
            <a:hlinkClick r:id="rId3"/>
          </p:cNvPr>
          <p:cNvPicPr preferRelativeResize="0"/>
          <p:nvPr/>
        </p:nvPicPr>
        <p:blipFill rotWithShape="1">
          <a:blip r:embed="rId4">
            <a:alphaModFix/>
          </a:blip>
          <a:srcRect r="14850"/>
          <a:stretch/>
        </p:blipFill>
        <p:spPr>
          <a:xfrm>
            <a:off x="774900" y="1519750"/>
            <a:ext cx="3595623" cy="2662600"/>
          </a:xfrm>
          <a:prstGeom prst="rect">
            <a:avLst/>
          </a:prstGeom>
          <a:noFill/>
          <a:ln>
            <a:noFill/>
          </a:ln>
        </p:spPr>
      </p:pic>
      <p:sp>
        <p:nvSpPr>
          <p:cNvPr id="701" name="Google Shape;701;p33"/>
          <p:cNvSpPr txBox="1">
            <a:spLocks noGrp="1"/>
          </p:cNvSpPr>
          <p:nvPr>
            <p:ph type="subTitle" idx="4294967295"/>
          </p:nvPr>
        </p:nvSpPr>
        <p:spPr>
          <a:xfrm>
            <a:off x="4590959" y="1860098"/>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702" name="Google Shape;702;p33"/>
          <p:cNvSpPr/>
          <p:nvPr/>
        </p:nvSpPr>
        <p:spPr>
          <a:xfrm>
            <a:off x="5439938" y="1337773"/>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33"/>
          <p:cNvSpPr txBox="1">
            <a:spLocks noGrp="1"/>
          </p:cNvSpPr>
          <p:nvPr>
            <p:ph type="ctrTitle" idx="4294967295"/>
          </p:nvPr>
        </p:nvSpPr>
        <p:spPr>
          <a:xfrm>
            <a:off x="6732025" y="2594476"/>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MERCURY</a:t>
            </a:r>
            <a:endParaRPr sz="1800"/>
          </a:p>
        </p:txBody>
      </p:sp>
      <p:sp>
        <p:nvSpPr>
          <p:cNvPr id="704" name="Google Shape;704;p33"/>
          <p:cNvSpPr txBox="1">
            <a:spLocks noGrp="1"/>
          </p:cNvSpPr>
          <p:nvPr>
            <p:ph type="subTitle" idx="4294967295"/>
          </p:nvPr>
        </p:nvSpPr>
        <p:spPr>
          <a:xfrm>
            <a:off x="6451125" y="2714726"/>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Mercury is the closest planet to the Sun</a:t>
            </a:r>
            <a:endParaRPr sz="1400"/>
          </a:p>
        </p:txBody>
      </p:sp>
      <p:sp>
        <p:nvSpPr>
          <p:cNvPr id="705" name="Google Shape;705;p33"/>
          <p:cNvSpPr/>
          <p:nvPr/>
        </p:nvSpPr>
        <p:spPr>
          <a:xfrm>
            <a:off x="7379613" y="2192401"/>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3"/>
          <p:cNvSpPr txBox="1">
            <a:spLocks noGrp="1"/>
          </p:cNvSpPr>
          <p:nvPr>
            <p:ph type="ctrTitle" idx="4294967295"/>
          </p:nvPr>
        </p:nvSpPr>
        <p:spPr>
          <a:xfrm>
            <a:off x="4792350" y="3449300"/>
            <a:ext cx="1451100" cy="285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SATURN</a:t>
            </a:r>
            <a:endParaRPr sz="1800"/>
          </a:p>
        </p:txBody>
      </p:sp>
      <p:sp>
        <p:nvSpPr>
          <p:cNvPr id="707" name="Google Shape;707;p33"/>
          <p:cNvSpPr txBox="1">
            <a:spLocks noGrp="1"/>
          </p:cNvSpPr>
          <p:nvPr>
            <p:ph type="subTitle" idx="4294967295"/>
          </p:nvPr>
        </p:nvSpPr>
        <p:spPr>
          <a:xfrm>
            <a:off x="4511463" y="3569550"/>
            <a:ext cx="2040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Saturn is composed of hydrogen and helium</a:t>
            </a:r>
            <a:endParaRPr sz="1400"/>
          </a:p>
        </p:txBody>
      </p:sp>
      <p:sp>
        <p:nvSpPr>
          <p:cNvPr id="708" name="Google Shape;708;p33"/>
          <p:cNvSpPr/>
          <p:nvPr/>
        </p:nvSpPr>
        <p:spPr>
          <a:xfrm>
            <a:off x="5439938" y="3047225"/>
            <a:ext cx="155925" cy="156375"/>
          </a:xfrm>
          <a:custGeom>
            <a:avLst/>
            <a:gdLst/>
            <a:ahLst/>
            <a:cxnLst/>
            <a:rect l="l" t="t" r="r" b="b"/>
            <a:pathLst>
              <a:path w="6237" h="6255" extrusionOk="0">
                <a:moveTo>
                  <a:pt x="0" y="0"/>
                </a:moveTo>
                <a:lnTo>
                  <a:pt x="0" y="6255"/>
                </a:lnTo>
                <a:lnTo>
                  <a:pt x="6236" y="6255"/>
                </a:lnTo>
                <a:lnTo>
                  <a:pt x="623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Shape 712"/>
        <p:cNvGrpSpPr/>
        <p:nvPr/>
      </p:nvGrpSpPr>
      <p:grpSpPr>
        <a:xfrm>
          <a:off x="0" y="0"/>
          <a:ext cx="0" cy="0"/>
          <a:chOff x="0" y="0"/>
          <a:chExt cx="0" cy="0"/>
        </a:xfrm>
      </p:grpSpPr>
      <p:sp>
        <p:nvSpPr>
          <p:cNvPr id="713" name="Google Shape;713;p3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NALYSIS</a:t>
            </a:r>
            <a:endParaRPr/>
          </a:p>
        </p:txBody>
      </p:sp>
      <p:sp>
        <p:nvSpPr>
          <p:cNvPr id="714" name="Google Shape;714;p34"/>
          <p:cNvSpPr txBox="1"/>
          <p:nvPr/>
        </p:nvSpPr>
        <p:spPr>
          <a:xfrm>
            <a:off x="605167" y="1098254"/>
            <a:ext cx="18813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Share Tech"/>
                <a:ea typeface="Share Tech"/>
                <a:cs typeface="Share Tech"/>
                <a:sym typeface="Share Tech"/>
              </a:rPr>
              <a:t>OUTREACH</a:t>
            </a:r>
            <a:endParaRPr sz="2000">
              <a:solidFill>
                <a:schemeClr val="lt1"/>
              </a:solidFill>
              <a:latin typeface="Share Tech"/>
              <a:ea typeface="Share Tech"/>
              <a:cs typeface="Share Tech"/>
              <a:sym typeface="Share Tech"/>
            </a:endParaRPr>
          </a:p>
        </p:txBody>
      </p:sp>
      <p:sp>
        <p:nvSpPr>
          <p:cNvPr id="715" name="Google Shape;715;p34"/>
          <p:cNvSpPr txBox="1"/>
          <p:nvPr/>
        </p:nvSpPr>
        <p:spPr>
          <a:xfrm>
            <a:off x="6355433" y="1098250"/>
            <a:ext cx="2180100" cy="3906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2000">
                <a:solidFill>
                  <a:schemeClr val="lt1"/>
                </a:solidFill>
                <a:latin typeface="Share Tech"/>
                <a:ea typeface="Share Tech"/>
                <a:cs typeface="Share Tech"/>
                <a:sym typeface="Share Tech"/>
              </a:rPr>
              <a:t>TOP RATED VALUES</a:t>
            </a:r>
            <a:endParaRPr sz="2000">
              <a:solidFill>
                <a:schemeClr val="lt1"/>
              </a:solidFill>
              <a:latin typeface="Share Tech"/>
              <a:ea typeface="Share Tech"/>
              <a:cs typeface="Share Tech"/>
              <a:sym typeface="Share Tech"/>
            </a:endParaRPr>
          </a:p>
        </p:txBody>
      </p:sp>
      <p:grpSp>
        <p:nvGrpSpPr>
          <p:cNvPr id="716" name="Google Shape;716;p34"/>
          <p:cNvGrpSpPr/>
          <p:nvPr/>
        </p:nvGrpSpPr>
        <p:grpSpPr>
          <a:xfrm>
            <a:off x="483868" y="1752443"/>
            <a:ext cx="3998392" cy="2213254"/>
            <a:chOff x="2654821" y="2311071"/>
            <a:chExt cx="2279715" cy="1262120"/>
          </a:xfrm>
        </p:grpSpPr>
        <p:grpSp>
          <p:nvGrpSpPr>
            <p:cNvPr id="717" name="Google Shape;717;p34"/>
            <p:cNvGrpSpPr/>
            <p:nvPr/>
          </p:nvGrpSpPr>
          <p:grpSpPr>
            <a:xfrm>
              <a:off x="4034269" y="2840745"/>
              <a:ext cx="40212" cy="36437"/>
              <a:chOff x="4293400" y="2574725"/>
              <a:chExt cx="84425" cy="80100"/>
            </a:xfrm>
          </p:grpSpPr>
          <p:sp>
            <p:nvSpPr>
              <p:cNvPr id="718" name="Google Shape;718;p34"/>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chemeClr val="lt2"/>
              </a:solidFill>
              <a:ln>
                <a:noFill/>
              </a:ln>
            </p:spPr>
          </p:sp>
          <p:sp>
            <p:nvSpPr>
              <p:cNvPr id="719" name="Google Shape;719;p34"/>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20" name="Google Shape;720;p34"/>
            <p:cNvGrpSpPr/>
            <p:nvPr/>
          </p:nvGrpSpPr>
          <p:grpSpPr>
            <a:xfrm>
              <a:off x="3894606" y="2334874"/>
              <a:ext cx="913198" cy="518984"/>
              <a:chOff x="4000175" y="1462675"/>
              <a:chExt cx="1917275" cy="1140875"/>
            </a:xfrm>
          </p:grpSpPr>
          <p:sp>
            <p:nvSpPr>
              <p:cNvPr id="721" name="Google Shape;721;p34"/>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chemeClr val="lt2"/>
              </a:solidFill>
              <a:ln>
                <a:noFill/>
              </a:ln>
            </p:spPr>
          </p:sp>
          <p:grpSp>
            <p:nvGrpSpPr>
              <p:cNvPr id="722" name="Google Shape;722;p34"/>
              <p:cNvGrpSpPr/>
              <p:nvPr/>
            </p:nvGrpSpPr>
            <p:grpSpPr>
              <a:xfrm>
                <a:off x="4000175" y="1462675"/>
                <a:ext cx="1917275" cy="1140875"/>
                <a:chOff x="4000175" y="1462675"/>
                <a:chExt cx="1917275" cy="1140875"/>
              </a:xfrm>
            </p:grpSpPr>
            <p:sp>
              <p:nvSpPr>
                <p:cNvPr id="723" name="Google Shape;723;p34"/>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chemeClr val="lt2"/>
                </a:solidFill>
                <a:ln>
                  <a:noFill/>
                </a:ln>
              </p:spPr>
            </p:sp>
            <p:sp>
              <p:nvSpPr>
                <p:cNvPr id="724" name="Google Shape;724;p34"/>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4"/>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4"/>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4"/>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728" name="Google Shape;728;p34"/>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29" name="Google Shape;729;p34"/>
            <p:cNvGrpSpPr/>
            <p:nvPr/>
          </p:nvGrpSpPr>
          <p:grpSpPr>
            <a:xfrm>
              <a:off x="3875768" y="2846704"/>
              <a:ext cx="44796" cy="47366"/>
              <a:chOff x="3960625" y="2587825"/>
              <a:chExt cx="94050" cy="104125"/>
            </a:xfrm>
          </p:grpSpPr>
          <p:sp>
            <p:nvSpPr>
              <p:cNvPr id="730" name="Google Shape;730;p34"/>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chemeClr val="lt2"/>
              </a:solidFill>
              <a:ln>
                <a:noFill/>
              </a:ln>
            </p:spPr>
          </p:sp>
          <p:sp>
            <p:nvSpPr>
              <p:cNvPr id="731" name="Google Shape;731;p34"/>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2" name="Google Shape;732;p34"/>
            <p:cNvGrpSpPr/>
            <p:nvPr/>
          </p:nvGrpSpPr>
          <p:grpSpPr>
            <a:xfrm>
              <a:off x="3782759" y="2807162"/>
              <a:ext cx="82686" cy="85487"/>
              <a:chOff x="3765350" y="2500900"/>
              <a:chExt cx="173600" cy="187925"/>
            </a:xfrm>
          </p:grpSpPr>
          <p:sp>
            <p:nvSpPr>
              <p:cNvPr id="733" name="Google Shape;733;p34"/>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chemeClr val="lt2"/>
              </a:solidFill>
              <a:ln>
                <a:noFill/>
              </a:ln>
            </p:spPr>
          </p:sp>
          <p:sp>
            <p:nvSpPr>
              <p:cNvPr id="734" name="Google Shape;734;p34"/>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4"/>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4"/>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4"/>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4"/>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39" name="Google Shape;739;p34"/>
            <p:cNvGrpSpPr/>
            <p:nvPr/>
          </p:nvGrpSpPr>
          <p:grpSpPr>
            <a:xfrm>
              <a:off x="3775674" y="2798496"/>
              <a:ext cx="40545" cy="23564"/>
              <a:chOff x="3750475" y="2481850"/>
              <a:chExt cx="85125" cy="51800"/>
            </a:xfrm>
          </p:grpSpPr>
          <p:sp>
            <p:nvSpPr>
              <p:cNvPr id="740" name="Google Shape;740;p34"/>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4"/>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chemeClr val="lt2"/>
              </a:solidFill>
              <a:ln>
                <a:noFill/>
              </a:ln>
            </p:spPr>
          </p:sp>
        </p:grpSp>
        <p:grpSp>
          <p:nvGrpSpPr>
            <p:cNvPr id="742" name="Google Shape;742;p34"/>
            <p:cNvGrpSpPr/>
            <p:nvPr/>
          </p:nvGrpSpPr>
          <p:grpSpPr>
            <a:xfrm>
              <a:off x="3716946" y="2776024"/>
              <a:ext cx="81971" cy="76912"/>
              <a:chOff x="3627175" y="2432450"/>
              <a:chExt cx="172100" cy="169075"/>
            </a:xfrm>
          </p:grpSpPr>
          <p:sp>
            <p:nvSpPr>
              <p:cNvPr id="743" name="Google Shape;743;p34"/>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4"/>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chemeClr val="lt2"/>
              </a:solidFill>
              <a:ln>
                <a:noFill/>
              </a:ln>
            </p:spPr>
          </p:sp>
          <p:sp>
            <p:nvSpPr>
              <p:cNvPr id="745" name="Google Shape;745;p34"/>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chemeClr val="lt2"/>
              </a:solidFill>
              <a:ln>
                <a:noFill/>
              </a:ln>
            </p:spPr>
          </p:sp>
        </p:grpSp>
        <p:grpSp>
          <p:nvGrpSpPr>
            <p:cNvPr id="746" name="Google Shape;746;p34"/>
            <p:cNvGrpSpPr/>
            <p:nvPr/>
          </p:nvGrpSpPr>
          <p:grpSpPr>
            <a:xfrm>
              <a:off x="3685682" y="2845624"/>
              <a:ext cx="29311" cy="45055"/>
              <a:chOff x="3561536" y="2585450"/>
              <a:chExt cx="61539" cy="99045"/>
            </a:xfrm>
          </p:grpSpPr>
          <p:sp>
            <p:nvSpPr>
              <p:cNvPr id="747" name="Google Shape;747;p34"/>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4"/>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chemeClr val="lt2"/>
              </a:solidFill>
              <a:ln>
                <a:noFill/>
              </a:ln>
            </p:spPr>
          </p:sp>
        </p:grpSp>
        <p:grpSp>
          <p:nvGrpSpPr>
            <p:cNvPr id="749" name="Google Shape;749;p34"/>
            <p:cNvGrpSpPr/>
            <p:nvPr/>
          </p:nvGrpSpPr>
          <p:grpSpPr>
            <a:xfrm>
              <a:off x="3849905" y="2572252"/>
              <a:ext cx="74339" cy="119559"/>
              <a:chOff x="3906325" y="1984500"/>
              <a:chExt cx="156075" cy="262825"/>
            </a:xfrm>
          </p:grpSpPr>
          <p:sp>
            <p:nvSpPr>
              <p:cNvPr id="750" name="Google Shape;750;p34"/>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chemeClr val="lt2"/>
              </a:solidFill>
              <a:ln>
                <a:noFill/>
              </a:ln>
            </p:spPr>
          </p:sp>
          <p:sp>
            <p:nvSpPr>
              <p:cNvPr id="751" name="Google Shape;751;p34"/>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52" name="Google Shape;752;p34"/>
            <p:cNvGrpSpPr/>
            <p:nvPr/>
          </p:nvGrpSpPr>
          <p:grpSpPr>
            <a:xfrm>
              <a:off x="2654821" y="2414345"/>
              <a:ext cx="667570" cy="558731"/>
              <a:chOff x="1397225" y="1637375"/>
              <a:chExt cx="1401575" cy="1228250"/>
            </a:xfrm>
          </p:grpSpPr>
          <p:sp>
            <p:nvSpPr>
              <p:cNvPr id="753" name="Google Shape;753;p34"/>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chemeClr val="lt2"/>
              </a:solidFill>
              <a:ln>
                <a:noFill/>
              </a:ln>
            </p:spPr>
          </p:sp>
          <p:grpSp>
            <p:nvGrpSpPr>
              <p:cNvPr id="754" name="Google Shape;754;p34"/>
              <p:cNvGrpSpPr/>
              <p:nvPr/>
            </p:nvGrpSpPr>
            <p:grpSpPr>
              <a:xfrm>
                <a:off x="1397225" y="1637375"/>
                <a:ext cx="1398775" cy="1228250"/>
                <a:chOff x="1397225" y="1637375"/>
                <a:chExt cx="1398775" cy="1228250"/>
              </a:xfrm>
            </p:grpSpPr>
            <p:sp>
              <p:nvSpPr>
                <p:cNvPr id="755" name="Google Shape;755;p34"/>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4"/>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57" name="Google Shape;757;p34"/>
            <p:cNvGrpSpPr/>
            <p:nvPr/>
          </p:nvGrpSpPr>
          <p:grpSpPr>
            <a:xfrm>
              <a:off x="3230417" y="3103734"/>
              <a:ext cx="282982" cy="280332"/>
              <a:chOff x="2605700" y="3152850"/>
              <a:chExt cx="594125" cy="616250"/>
            </a:xfrm>
          </p:grpSpPr>
          <p:sp>
            <p:nvSpPr>
              <p:cNvPr id="758" name="Google Shape;758;p34"/>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chemeClr val="lt2"/>
              </a:solidFill>
              <a:ln>
                <a:noFill/>
              </a:ln>
            </p:spPr>
          </p:sp>
          <p:sp>
            <p:nvSpPr>
              <p:cNvPr id="759" name="Google Shape;759;p34"/>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grpSp>
          <p:nvGrpSpPr>
            <p:cNvPr id="760" name="Google Shape;760;p34"/>
            <p:cNvGrpSpPr/>
            <p:nvPr/>
          </p:nvGrpSpPr>
          <p:grpSpPr>
            <a:xfrm>
              <a:off x="3265985" y="3226989"/>
              <a:ext cx="87151" cy="346202"/>
              <a:chOff x="2680375" y="3423800"/>
              <a:chExt cx="182975" cy="761050"/>
            </a:xfrm>
          </p:grpSpPr>
          <p:sp>
            <p:nvSpPr>
              <p:cNvPr id="761" name="Google Shape;761;p34"/>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chemeClr val="lt2"/>
              </a:solidFill>
              <a:ln>
                <a:noFill/>
              </a:ln>
            </p:spPr>
          </p:sp>
          <p:sp>
            <p:nvSpPr>
              <p:cNvPr id="762" name="Google Shape;762;p34"/>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 name="Google Shape;763;p34"/>
            <p:cNvGrpSpPr/>
            <p:nvPr/>
          </p:nvGrpSpPr>
          <p:grpSpPr>
            <a:xfrm>
              <a:off x="3855466" y="3289811"/>
              <a:ext cx="112514" cy="94210"/>
              <a:chOff x="3918000" y="3561900"/>
              <a:chExt cx="236225" cy="207100"/>
            </a:xfrm>
          </p:grpSpPr>
          <p:sp>
            <p:nvSpPr>
              <p:cNvPr id="764" name="Google Shape;764;p34"/>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chemeClr val="lt2"/>
              </a:solidFill>
              <a:ln>
                <a:noFill/>
              </a:ln>
            </p:spPr>
          </p:sp>
          <p:sp>
            <p:nvSpPr>
              <p:cNvPr id="765" name="Google Shape;765;p34"/>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6" name="Google Shape;766;p34"/>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34"/>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34"/>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grpSp>
          <p:nvGrpSpPr>
            <p:cNvPr id="769" name="Google Shape;769;p34"/>
            <p:cNvGrpSpPr/>
            <p:nvPr/>
          </p:nvGrpSpPr>
          <p:grpSpPr>
            <a:xfrm>
              <a:off x="2905224" y="2311071"/>
              <a:ext cx="596721" cy="528992"/>
              <a:chOff x="1922950" y="1410350"/>
              <a:chExt cx="1252825" cy="1162875"/>
            </a:xfrm>
          </p:grpSpPr>
          <p:sp>
            <p:nvSpPr>
              <p:cNvPr id="770" name="Google Shape;770;p34"/>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34"/>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34"/>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34"/>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774;p34"/>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34"/>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776;p34"/>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777;p34"/>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778;p34"/>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34"/>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34"/>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34"/>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34"/>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34"/>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34"/>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34"/>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grpSp>
        <p:sp>
          <p:nvSpPr>
            <p:cNvPr id="786" name="Google Shape;786;p34"/>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34"/>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34"/>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34"/>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34"/>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34"/>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34"/>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34"/>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34"/>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34"/>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34"/>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34"/>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34"/>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34"/>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34"/>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34"/>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34"/>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803;p34"/>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804;p34"/>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805;p34"/>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806" name="Google Shape;806;p34"/>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07" name="Google Shape;807;p34"/>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8" name="Google Shape;808;p34"/>
            <p:cNvGrpSpPr/>
            <p:nvPr/>
          </p:nvGrpSpPr>
          <p:grpSpPr>
            <a:xfrm>
              <a:off x="3280929" y="3294542"/>
              <a:ext cx="109894" cy="272224"/>
              <a:chOff x="2711750" y="3572300"/>
              <a:chExt cx="230725" cy="598425"/>
            </a:xfrm>
          </p:grpSpPr>
          <p:sp>
            <p:nvSpPr>
              <p:cNvPr id="809" name="Google Shape;809;p34"/>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34"/>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1" name="Google Shape;811;p34"/>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 name="Google Shape;812;p34"/>
            <p:cNvGrpSpPr/>
            <p:nvPr/>
          </p:nvGrpSpPr>
          <p:grpSpPr>
            <a:xfrm>
              <a:off x="3790439" y="2408636"/>
              <a:ext cx="73017" cy="75684"/>
              <a:chOff x="3781475" y="1624825"/>
              <a:chExt cx="153300" cy="166375"/>
            </a:xfrm>
          </p:grpSpPr>
          <p:sp>
            <p:nvSpPr>
              <p:cNvPr id="813" name="Google Shape;813;p34"/>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34"/>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34"/>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34"/>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7" name="Google Shape;817;p34"/>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34"/>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34"/>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34"/>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34"/>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34"/>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34"/>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 name="Google Shape;824;p34"/>
            <p:cNvGrpSpPr/>
            <p:nvPr/>
          </p:nvGrpSpPr>
          <p:grpSpPr>
            <a:xfrm>
              <a:off x="4403342" y="3107749"/>
              <a:ext cx="316680" cy="101374"/>
              <a:chOff x="5068275" y="3161675"/>
              <a:chExt cx="664875" cy="222850"/>
            </a:xfrm>
          </p:grpSpPr>
          <p:sp>
            <p:nvSpPr>
              <p:cNvPr id="825" name="Google Shape;825;p34"/>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34"/>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34"/>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34"/>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9" name="Google Shape;829;p34"/>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34"/>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34"/>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34"/>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34"/>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34"/>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34"/>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34"/>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34"/>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34"/>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34"/>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34"/>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34"/>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34"/>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34"/>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34"/>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34"/>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34"/>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34"/>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34"/>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849;p34"/>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34"/>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34"/>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34"/>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34"/>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34"/>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34"/>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34"/>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34"/>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 name="Google Shape;858;p34"/>
            <p:cNvGrpSpPr/>
            <p:nvPr/>
          </p:nvGrpSpPr>
          <p:grpSpPr>
            <a:xfrm>
              <a:off x="3697513" y="2707266"/>
              <a:ext cx="59549" cy="79733"/>
              <a:chOff x="3586375" y="2281300"/>
              <a:chExt cx="125025" cy="175275"/>
            </a:xfrm>
          </p:grpSpPr>
          <p:sp>
            <p:nvSpPr>
              <p:cNvPr id="859" name="Google Shape;859;p34"/>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34"/>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1" name="Google Shape;861;p34"/>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2" name="Google Shape;862;p34"/>
            <p:cNvGrpSpPr/>
            <p:nvPr/>
          </p:nvGrpSpPr>
          <p:grpSpPr>
            <a:xfrm>
              <a:off x="4513224" y="3221724"/>
              <a:ext cx="274563" cy="280321"/>
              <a:chOff x="5298975" y="3412225"/>
              <a:chExt cx="576450" cy="616225"/>
            </a:xfrm>
          </p:grpSpPr>
          <p:sp>
            <p:nvSpPr>
              <p:cNvPr id="863" name="Google Shape;863;p34"/>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864" name="Google Shape;864;p34"/>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5" name="Google Shape;865;p34"/>
            <p:cNvGrpSpPr/>
            <p:nvPr/>
          </p:nvGrpSpPr>
          <p:grpSpPr>
            <a:xfrm>
              <a:off x="4824403" y="3421846"/>
              <a:ext cx="110132" cy="130647"/>
              <a:chOff x="5952300" y="3852150"/>
              <a:chExt cx="231225" cy="287200"/>
            </a:xfrm>
          </p:grpSpPr>
          <p:sp>
            <p:nvSpPr>
              <p:cNvPr id="866" name="Google Shape;866;p34"/>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34"/>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 name="Google Shape;868;p34"/>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34"/>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34"/>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34"/>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34"/>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34"/>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34"/>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34"/>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 name="Google Shape;876;p34"/>
            <p:cNvGrpSpPr/>
            <p:nvPr/>
          </p:nvGrpSpPr>
          <p:grpSpPr>
            <a:xfrm>
              <a:off x="4295710" y="3079670"/>
              <a:ext cx="14968" cy="27135"/>
              <a:chOff x="4842300" y="3099950"/>
              <a:chExt cx="31425" cy="59650"/>
            </a:xfrm>
          </p:grpSpPr>
          <p:sp>
            <p:nvSpPr>
              <p:cNvPr id="877" name="Google Shape;877;p34"/>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34"/>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34"/>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34"/>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1" name="Google Shape;881;p34"/>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34"/>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34"/>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34"/>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34"/>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34"/>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34"/>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34"/>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89" name="Google Shape;889;p34"/>
            <p:cNvGrpSpPr/>
            <p:nvPr/>
          </p:nvGrpSpPr>
          <p:grpSpPr>
            <a:xfrm>
              <a:off x="3831056" y="2816010"/>
              <a:ext cx="37378" cy="27612"/>
              <a:chOff x="3866750" y="2520350"/>
              <a:chExt cx="78475" cy="60700"/>
            </a:xfrm>
          </p:grpSpPr>
          <p:sp>
            <p:nvSpPr>
              <p:cNvPr id="890" name="Google Shape;890;p34"/>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34"/>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892;p34"/>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34"/>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 name="Google Shape;894;p34"/>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34"/>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34"/>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34"/>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34"/>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34"/>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34"/>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34"/>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34"/>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34"/>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p34"/>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905;p34"/>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906;p34"/>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907;p34"/>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908;p34"/>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p34"/>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p34"/>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11" name="Google Shape;911;p34"/>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p34"/>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p34"/>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p34"/>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p34"/>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p34"/>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917;p34"/>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918;p34"/>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919;p34"/>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920;p34"/>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p34"/>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922;p34"/>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23" name="Google Shape;923;p34"/>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34"/>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34"/>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34"/>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34"/>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34"/>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p34"/>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p34"/>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p34"/>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34"/>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933;p34"/>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934;p34"/>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p34"/>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6" name="Google Shape;936;p34"/>
            <p:cNvGrpSpPr/>
            <p:nvPr/>
          </p:nvGrpSpPr>
          <p:grpSpPr>
            <a:xfrm>
              <a:off x="3632736" y="3051591"/>
              <a:ext cx="63288" cy="45217"/>
              <a:chOff x="3450375" y="3038225"/>
              <a:chExt cx="132875" cy="99400"/>
            </a:xfrm>
          </p:grpSpPr>
          <p:sp>
            <p:nvSpPr>
              <p:cNvPr id="937" name="Google Shape;937;p34"/>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p34"/>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9" name="Google Shape;939;p34"/>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34"/>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34"/>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34"/>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34"/>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34"/>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34"/>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34"/>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34"/>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48" name="Google Shape;948;p34"/>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34"/>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34"/>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34"/>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34"/>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34"/>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34"/>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34"/>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34"/>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34"/>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A6CBC2"/>
                </a:solidFill>
              </a:endParaRPr>
            </a:p>
          </p:txBody>
        </p:sp>
        <p:sp>
          <p:nvSpPr>
            <p:cNvPr id="958" name="Google Shape;958;p34"/>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34"/>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34"/>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34"/>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34"/>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34"/>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6B65"/>
                </a:solidFill>
              </a:endParaRPr>
            </a:p>
          </p:txBody>
        </p:sp>
        <p:sp>
          <p:nvSpPr>
            <p:cNvPr id="964" name="Google Shape;964;p34"/>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34"/>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34"/>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34"/>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34"/>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34"/>
            <p:cNvSpPr/>
            <p:nvPr/>
          </p:nvSpPr>
          <p:spPr>
            <a:xfrm>
              <a:off x="4036853" y="2853608"/>
              <a:ext cx="1250" cy="1205"/>
            </a:xfrm>
            <a:custGeom>
              <a:avLst/>
              <a:gdLst/>
              <a:ahLst/>
              <a:cxnLst/>
              <a:rect l="l" t="t" r="r" b="b"/>
              <a:pathLst>
                <a:path w="105" h="106" fill="none" extrusionOk="0">
                  <a:moveTo>
                    <a:pt x="105" y="105"/>
                  </a:moveTo>
                  <a:lnTo>
                    <a:pt x="0" y="1"/>
                  </a:lnTo>
                </a:path>
              </a:pathLst>
            </a:custGeom>
            <a:solidFill>
              <a:schemeClr val="lt2"/>
            </a:solidFill>
            <a:ln w="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34"/>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34"/>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34"/>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4" name="Google Shape;974;p34"/>
          <p:cNvGrpSpPr/>
          <p:nvPr/>
        </p:nvGrpSpPr>
        <p:grpSpPr>
          <a:xfrm>
            <a:off x="7771352" y="1698225"/>
            <a:ext cx="338852" cy="2014657"/>
            <a:chOff x="7771352" y="1698225"/>
            <a:chExt cx="338852" cy="2014657"/>
          </a:xfrm>
        </p:grpSpPr>
        <p:sp>
          <p:nvSpPr>
            <p:cNvPr id="975" name="Google Shape;975;p34"/>
            <p:cNvSpPr/>
            <p:nvPr/>
          </p:nvSpPr>
          <p:spPr>
            <a:xfrm>
              <a:off x="7771352" y="1698225"/>
              <a:ext cx="338852" cy="2014657"/>
            </a:xfrm>
            <a:custGeom>
              <a:avLst/>
              <a:gdLst/>
              <a:ahLst/>
              <a:cxnLst/>
              <a:rect l="l" t="t" r="r" b="b"/>
              <a:pathLst>
                <a:path w="6831" h="40614" extrusionOk="0">
                  <a:moveTo>
                    <a:pt x="6666" y="152"/>
                  </a:moveTo>
                  <a:lnTo>
                    <a:pt x="6666" y="40450"/>
                  </a:lnTo>
                  <a:lnTo>
                    <a:pt x="164" y="40450"/>
                  </a:lnTo>
                  <a:lnTo>
                    <a:pt x="164" y="152"/>
                  </a:lnTo>
                  <a:close/>
                  <a:moveTo>
                    <a:pt x="1" y="1"/>
                  </a:moveTo>
                  <a:lnTo>
                    <a:pt x="1" y="40613"/>
                  </a:lnTo>
                  <a:lnTo>
                    <a:pt x="6830" y="40613"/>
                  </a:lnTo>
                  <a:lnTo>
                    <a:pt x="6830"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34"/>
            <p:cNvSpPr/>
            <p:nvPr/>
          </p:nvSpPr>
          <p:spPr>
            <a:xfrm>
              <a:off x="7779487" y="3318418"/>
              <a:ext cx="322581" cy="138200"/>
            </a:xfrm>
            <a:custGeom>
              <a:avLst/>
              <a:gdLst/>
              <a:ahLst/>
              <a:cxnLst/>
              <a:rect l="l" t="t" r="r" b="b"/>
              <a:pathLst>
                <a:path w="6503" h="2786" extrusionOk="0">
                  <a:moveTo>
                    <a:pt x="1399" y="0"/>
                  </a:moveTo>
                  <a:cubicBezTo>
                    <a:pt x="618" y="0"/>
                    <a:pt x="0" y="630"/>
                    <a:pt x="0" y="1399"/>
                  </a:cubicBezTo>
                  <a:cubicBezTo>
                    <a:pt x="0" y="2168"/>
                    <a:pt x="618" y="2785"/>
                    <a:pt x="1399" y="2785"/>
                  </a:cubicBezTo>
                  <a:lnTo>
                    <a:pt x="5116" y="2785"/>
                  </a:lnTo>
                  <a:cubicBezTo>
                    <a:pt x="5885" y="2785"/>
                    <a:pt x="6502" y="2168"/>
                    <a:pt x="6502" y="1399"/>
                  </a:cubicBezTo>
                  <a:cubicBezTo>
                    <a:pt x="6502" y="630"/>
                    <a:pt x="5885" y="0"/>
                    <a:pt x="511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34"/>
            <p:cNvSpPr/>
            <p:nvPr/>
          </p:nvSpPr>
          <p:spPr>
            <a:xfrm>
              <a:off x="7779487" y="3083985"/>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34"/>
            <p:cNvSpPr/>
            <p:nvPr/>
          </p:nvSpPr>
          <p:spPr>
            <a:xfrm>
              <a:off x="7779487" y="2849602"/>
              <a:ext cx="322581" cy="138200"/>
            </a:xfrm>
            <a:custGeom>
              <a:avLst/>
              <a:gdLst/>
              <a:ahLst/>
              <a:cxnLst/>
              <a:rect l="l" t="t" r="r" b="b"/>
              <a:pathLst>
                <a:path w="6503" h="2786" extrusionOk="0">
                  <a:moveTo>
                    <a:pt x="5126" y="0"/>
                  </a:moveTo>
                  <a:cubicBezTo>
                    <a:pt x="5119" y="0"/>
                    <a:pt x="5111" y="1"/>
                    <a:pt x="5104" y="1"/>
                  </a:cubicBezTo>
                  <a:lnTo>
                    <a:pt x="1399" y="1"/>
                  </a:lnTo>
                  <a:cubicBezTo>
                    <a:pt x="618" y="1"/>
                    <a:pt x="0" y="618"/>
                    <a:pt x="0" y="1387"/>
                  </a:cubicBezTo>
                  <a:cubicBezTo>
                    <a:pt x="0" y="2155"/>
                    <a:pt x="618" y="2785"/>
                    <a:pt x="1399" y="2785"/>
                  </a:cubicBezTo>
                  <a:lnTo>
                    <a:pt x="5104" y="2785"/>
                  </a:lnTo>
                  <a:cubicBezTo>
                    <a:pt x="5872" y="2785"/>
                    <a:pt x="6502" y="2155"/>
                    <a:pt x="6502" y="1387"/>
                  </a:cubicBezTo>
                  <a:cubicBezTo>
                    <a:pt x="6502" y="626"/>
                    <a:pt x="5885" y="0"/>
                    <a:pt x="512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34"/>
            <p:cNvSpPr/>
            <p:nvPr/>
          </p:nvSpPr>
          <p:spPr>
            <a:xfrm>
              <a:off x="7779487" y="2614575"/>
              <a:ext cx="322581" cy="138200"/>
            </a:xfrm>
            <a:custGeom>
              <a:avLst/>
              <a:gdLst/>
              <a:ahLst/>
              <a:cxnLst/>
              <a:rect l="l" t="t" r="r" b="b"/>
              <a:pathLst>
                <a:path w="6503" h="2786" extrusionOk="0">
                  <a:moveTo>
                    <a:pt x="1386" y="1"/>
                  </a:moveTo>
                  <a:cubicBezTo>
                    <a:pt x="618" y="1"/>
                    <a:pt x="0" y="631"/>
                    <a:pt x="0" y="1399"/>
                  </a:cubicBezTo>
                  <a:cubicBezTo>
                    <a:pt x="0" y="2168"/>
                    <a:pt x="618" y="2786"/>
                    <a:pt x="1386" y="2786"/>
                  </a:cubicBezTo>
                  <a:lnTo>
                    <a:pt x="5104" y="2786"/>
                  </a:lnTo>
                  <a:cubicBezTo>
                    <a:pt x="5872" y="2786"/>
                    <a:pt x="6502" y="2168"/>
                    <a:pt x="6502" y="1399"/>
                  </a:cubicBezTo>
                  <a:cubicBezTo>
                    <a:pt x="6502" y="631"/>
                    <a:pt x="5872" y="1"/>
                    <a:pt x="510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34"/>
            <p:cNvSpPr/>
            <p:nvPr/>
          </p:nvSpPr>
          <p:spPr>
            <a:xfrm>
              <a:off x="7779487" y="3566541"/>
              <a:ext cx="322581" cy="138200"/>
            </a:xfrm>
            <a:custGeom>
              <a:avLst/>
              <a:gdLst/>
              <a:ahLst/>
              <a:cxnLst/>
              <a:rect l="l" t="t" r="r" b="b"/>
              <a:pathLst>
                <a:path w="6503" h="2786" extrusionOk="0">
                  <a:moveTo>
                    <a:pt x="1399" y="1"/>
                  </a:moveTo>
                  <a:cubicBezTo>
                    <a:pt x="618" y="1"/>
                    <a:pt x="0" y="618"/>
                    <a:pt x="0" y="1400"/>
                  </a:cubicBezTo>
                  <a:cubicBezTo>
                    <a:pt x="0" y="2168"/>
                    <a:pt x="618" y="2786"/>
                    <a:pt x="1399" y="2786"/>
                  </a:cubicBezTo>
                  <a:lnTo>
                    <a:pt x="5116" y="2786"/>
                  </a:lnTo>
                  <a:cubicBezTo>
                    <a:pt x="5885" y="2786"/>
                    <a:pt x="6502" y="2168"/>
                    <a:pt x="6502" y="1400"/>
                  </a:cubicBezTo>
                  <a:cubicBezTo>
                    <a:pt x="6502" y="618"/>
                    <a:pt x="5885" y="1"/>
                    <a:pt x="511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1" name="Google Shape;981;p34"/>
          <p:cNvGrpSpPr/>
          <p:nvPr/>
        </p:nvGrpSpPr>
        <p:grpSpPr>
          <a:xfrm>
            <a:off x="6752726" y="1698225"/>
            <a:ext cx="338207" cy="2014657"/>
            <a:chOff x="6905926" y="1698225"/>
            <a:chExt cx="338207" cy="2014657"/>
          </a:xfrm>
        </p:grpSpPr>
        <p:sp>
          <p:nvSpPr>
            <p:cNvPr id="982" name="Google Shape;982;p34"/>
            <p:cNvSpPr/>
            <p:nvPr/>
          </p:nvSpPr>
          <p:spPr>
            <a:xfrm>
              <a:off x="6905926" y="1698225"/>
              <a:ext cx="338207" cy="2014657"/>
            </a:xfrm>
            <a:custGeom>
              <a:avLst/>
              <a:gdLst/>
              <a:ahLst/>
              <a:cxnLst/>
              <a:rect l="l" t="t" r="r" b="b"/>
              <a:pathLst>
                <a:path w="6818" h="40614" extrusionOk="0">
                  <a:moveTo>
                    <a:pt x="6667" y="152"/>
                  </a:moveTo>
                  <a:lnTo>
                    <a:pt x="6667" y="40450"/>
                  </a:lnTo>
                  <a:lnTo>
                    <a:pt x="165" y="40450"/>
                  </a:lnTo>
                  <a:lnTo>
                    <a:pt x="165" y="152"/>
                  </a:lnTo>
                  <a:close/>
                  <a:moveTo>
                    <a:pt x="1" y="1"/>
                  </a:moveTo>
                  <a:lnTo>
                    <a:pt x="1" y="40613"/>
                  </a:lnTo>
                  <a:lnTo>
                    <a:pt x="6818" y="40613"/>
                  </a:lnTo>
                  <a:lnTo>
                    <a:pt x="681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34"/>
            <p:cNvSpPr/>
            <p:nvPr/>
          </p:nvSpPr>
          <p:spPr>
            <a:xfrm>
              <a:off x="6914061" y="3318418"/>
              <a:ext cx="322581" cy="138200"/>
            </a:xfrm>
            <a:custGeom>
              <a:avLst/>
              <a:gdLst/>
              <a:ahLst/>
              <a:cxnLst/>
              <a:rect l="l" t="t" r="r" b="b"/>
              <a:pathLst>
                <a:path w="6503" h="2786" extrusionOk="0">
                  <a:moveTo>
                    <a:pt x="1387" y="0"/>
                  </a:moveTo>
                  <a:cubicBezTo>
                    <a:pt x="618" y="0"/>
                    <a:pt x="1" y="630"/>
                    <a:pt x="1" y="1399"/>
                  </a:cubicBezTo>
                  <a:cubicBezTo>
                    <a:pt x="1" y="2168"/>
                    <a:pt x="618" y="2785"/>
                    <a:pt x="1387" y="2785"/>
                  </a:cubicBezTo>
                  <a:lnTo>
                    <a:pt x="5104" y="2785"/>
                  </a:lnTo>
                  <a:cubicBezTo>
                    <a:pt x="5873" y="2785"/>
                    <a:pt x="6503" y="2168"/>
                    <a:pt x="6503" y="1399"/>
                  </a:cubicBezTo>
                  <a:cubicBezTo>
                    <a:pt x="6503" y="630"/>
                    <a:pt x="5873" y="0"/>
                    <a:pt x="510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34"/>
            <p:cNvSpPr/>
            <p:nvPr/>
          </p:nvSpPr>
          <p:spPr>
            <a:xfrm>
              <a:off x="6914061" y="3083985"/>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34"/>
            <p:cNvSpPr/>
            <p:nvPr/>
          </p:nvSpPr>
          <p:spPr>
            <a:xfrm>
              <a:off x="6913466" y="2849602"/>
              <a:ext cx="322581" cy="138200"/>
            </a:xfrm>
            <a:custGeom>
              <a:avLst/>
              <a:gdLst/>
              <a:ahLst/>
              <a:cxnLst/>
              <a:rect l="l" t="t" r="r" b="b"/>
              <a:pathLst>
                <a:path w="6503" h="2786" extrusionOk="0">
                  <a:moveTo>
                    <a:pt x="1399" y="1"/>
                  </a:moveTo>
                  <a:cubicBezTo>
                    <a:pt x="630" y="1"/>
                    <a:pt x="0" y="618"/>
                    <a:pt x="0" y="1387"/>
                  </a:cubicBezTo>
                  <a:cubicBezTo>
                    <a:pt x="0" y="2155"/>
                    <a:pt x="630" y="2785"/>
                    <a:pt x="1399" y="2785"/>
                  </a:cubicBezTo>
                  <a:lnTo>
                    <a:pt x="5116" y="2785"/>
                  </a:lnTo>
                  <a:cubicBezTo>
                    <a:pt x="5885" y="2785"/>
                    <a:pt x="6502" y="2155"/>
                    <a:pt x="6502" y="1387"/>
                  </a:cubicBezTo>
                  <a:cubicBezTo>
                    <a:pt x="6502" y="618"/>
                    <a:pt x="5885" y="1"/>
                    <a:pt x="5116"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34"/>
            <p:cNvSpPr/>
            <p:nvPr/>
          </p:nvSpPr>
          <p:spPr>
            <a:xfrm>
              <a:off x="6913466" y="2614575"/>
              <a:ext cx="322581" cy="138200"/>
            </a:xfrm>
            <a:custGeom>
              <a:avLst/>
              <a:gdLst/>
              <a:ahLst/>
              <a:cxnLst/>
              <a:rect l="l" t="t" r="r" b="b"/>
              <a:pathLst>
                <a:path w="6503" h="2786" extrusionOk="0">
                  <a:moveTo>
                    <a:pt x="1399" y="1"/>
                  </a:moveTo>
                  <a:cubicBezTo>
                    <a:pt x="630" y="1"/>
                    <a:pt x="0" y="631"/>
                    <a:pt x="0" y="1399"/>
                  </a:cubicBezTo>
                  <a:cubicBezTo>
                    <a:pt x="0" y="2168"/>
                    <a:pt x="630" y="2786"/>
                    <a:pt x="1399" y="2786"/>
                  </a:cubicBezTo>
                  <a:lnTo>
                    <a:pt x="5116" y="2786"/>
                  </a:lnTo>
                  <a:cubicBezTo>
                    <a:pt x="5885" y="2786"/>
                    <a:pt x="6502" y="2168"/>
                    <a:pt x="6502" y="1399"/>
                  </a:cubicBezTo>
                  <a:cubicBezTo>
                    <a:pt x="6502" y="631"/>
                    <a:pt x="5885" y="1"/>
                    <a:pt x="51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34"/>
            <p:cNvSpPr/>
            <p:nvPr/>
          </p:nvSpPr>
          <p:spPr>
            <a:xfrm>
              <a:off x="6913466" y="2380192"/>
              <a:ext cx="322581" cy="138200"/>
            </a:xfrm>
            <a:custGeom>
              <a:avLst/>
              <a:gdLst/>
              <a:ahLst/>
              <a:cxnLst/>
              <a:rect l="l" t="t" r="r" b="b"/>
              <a:pathLst>
                <a:path w="6503" h="2786" extrusionOk="0">
                  <a:moveTo>
                    <a:pt x="1399" y="0"/>
                  </a:moveTo>
                  <a:cubicBezTo>
                    <a:pt x="618" y="0"/>
                    <a:pt x="0" y="618"/>
                    <a:pt x="0" y="1386"/>
                  </a:cubicBezTo>
                  <a:cubicBezTo>
                    <a:pt x="0" y="2155"/>
                    <a:pt x="618" y="2785"/>
                    <a:pt x="1399" y="2785"/>
                  </a:cubicBezTo>
                  <a:lnTo>
                    <a:pt x="5116" y="2785"/>
                  </a:lnTo>
                  <a:cubicBezTo>
                    <a:pt x="5885" y="2785"/>
                    <a:pt x="6502" y="2155"/>
                    <a:pt x="6502" y="1386"/>
                  </a:cubicBezTo>
                  <a:cubicBezTo>
                    <a:pt x="6502" y="618"/>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34"/>
            <p:cNvSpPr/>
            <p:nvPr/>
          </p:nvSpPr>
          <p:spPr>
            <a:xfrm>
              <a:off x="6913466" y="2145164"/>
              <a:ext cx="322581" cy="138795"/>
            </a:xfrm>
            <a:custGeom>
              <a:avLst/>
              <a:gdLst/>
              <a:ahLst/>
              <a:cxnLst/>
              <a:rect l="l" t="t" r="r" b="b"/>
              <a:pathLst>
                <a:path w="6503" h="2798" extrusionOk="0">
                  <a:moveTo>
                    <a:pt x="1399" y="0"/>
                  </a:moveTo>
                  <a:cubicBezTo>
                    <a:pt x="630" y="0"/>
                    <a:pt x="0" y="631"/>
                    <a:pt x="0" y="1399"/>
                  </a:cubicBezTo>
                  <a:cubicBezTo>
                    <a:pt x="0" y="2168"/>
                    <a:pt x="630" y="2798"/>
                    <a:pt x="1399" y="2798"/>
                  </a:cubicBezTo>
                  <a:lnTo>
                    <a:pt x="5116" y="2798"/>
                  </a:lnTo>
                  <a:cubicBezTo>
                    <a:pt x="5885" y="2798"/>
                    <a:pt x="6502" y="2168"/>
                    <a:pt x="6502" y="1399"/>
                  </a:cubicBezTo>
                  <a:cubicBezTo>
                    <a:pt x="6502" y="631"/>
                    <a:pt x="5885" y="0"/>
                    <a:pt x="511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34"/>
            <p:cNvSpPr/>
            <p:nvPr/>
          </p:nvSpPr>
          <p:spPr>
            <a:xfrm>
              <a:off x="6914061" y="3566541"/>
              <a:ext cx="322581" cy="138200"/>
            </a:xfrm>
            <a:custGeom>
              <a:avLst/>
              <a:gdLst/>
              <a:ahLst/>
              <a:cxnLst/>
              <a:rect l="l" t="t" r="r" b="b"/>
              <a:pathLst>
                <a:path w="6503" h="2786" extrusionOk="0">
                  <a:moveTo>
                    <a:pt x="1387" y="1"/>
                  </a:moveTo>
                  <a:cubicBezTo>
                    <a:pt x="618" y="1"/>
                    <a:pt x="1" y="618"/>
                    <a:pt x="1" y="1400"/>
                  </a:cubicBezTo>
                  <a:cubicBezTo>
                    <a:pt x="1" y="2168"/>
                    <a:pt x="618" y="2786"/>
                    <a:pt x="1387" y="2786"/>
                  </a:cubicBezTo>
                  <a:lnTo>
                    <a:pt x="5104" y="2786"/>
                  </a:lnTo>
                  <a:cubicBezTo>
                    <a:pt x="5873" y="2786"/>
                    <a:pt x="6503" y="2168"/>
                    <a:pt x="6503" y="1400"/>
                  </a:cubicBezTo>
                  <a:cubicBezTo>
                    <a:pt x="6503" y="618"/>
                    <a:pt x="5873" y="1"/>
                    <a:pt x="51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 name="Google Shape;990;p34"/>
          <p:cNvGrpSpPr/>
          <p:nvPr/>
        </p:nvGrpSpPr>
        <p:grpSpPr>
          <a:xfrm>
            <a:off x="5734100" y="1698225"/>
            <a:ext cx="338207" cy="2014657"/>
            <a:chOff x="6048625" y="1698225"/>
            <a:chExt cx="338207" cy="2014657"/>
          </a:xfrm>
        </p:grpSpPr>
        <p:sp>
          <p:nvSpPr>
            <p:cNvPr id="991" name="Google Shape;991;p34"/>
            <p:cNvSpPr/>
            <p:nvPr/>
          </p:nvSpPr>
          <p:spPr>
            <a:xfrm>
              <a:off x="6048625" y="1698225"/>
              <a:ext cx="338207" cy="2014657"/>
            </a:xfrm>
            <a:custGeom>
              <a:avLst/>
              <a:gdLst/>
              <a:ahLst/>
              <a:cxnLst/>
              <a:rect l="l" t="t" r="r" b="b"/>
              <a:pathLst>
                <a:path w="6818" h="40614" extrusionOk="0">
                  <a:moveTo>
                    <a:pt x="6654" y="152"/>
                  </a:moveTo>
                  <a:lnTo>
                    <a:pt x="6654" y="40450"/>
                  </a:lnTo>
                  <a:lnTo>
                    <a:pt x="151" y="40450"/>
                  </a:lnTo>
                  <a:lnTo>
                    <a:pt x="151" y="152"/>
                  </a:lnTo>
                  <a:close/>
                  <a:moveTo>
                    <a:pt x="0" y="1"/>
                  </a:moveTo>
                  <a:lnTo>
                    <a:pt x="0" y="40613"/>
                  </a:lnTo>
                  <a:lnTo>
                    <a:pt x="6817" y="40613"/>
                  </a:lnTo>
                  <a:lnTo>
                    <a:pt x="681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34"/>
            <p:cNvSpPr/>
            <p:nvPr/>
          </p:nvSpPr>
          <p:spPr>
            <a:xfrm>
              <a:off x="6056115" y="3318418"/>
              <a:ext cx="323226" cy="138200"/>
            </a:xfrm>
            <a:custGeom>
              <a:avLst/>
              <a:gdLst/>
              <a:ahLst/>
              <a:cxnLst/>
              <a:rect l="l" t="t" r="r" b="b"/>
              <a:pathLst>
                <a:path w="6516" h="2786" extrusionOk="0">
                  <a:moveTo>
                    <a:pt x="1399" y="0"/>
                  </a:moveTo>
                  <a:cubicBezTo>
                    <a:pt x="631" y="0"/>
                    <a:pt x="0" y="630"/>
                    <a:pt x="0" y="1399"/>
                  </a:cubicBezTo>
                  <a:cubicBezTo>
                    <a:pt x="0" y="2168"/>
                    <a:pt x="631" y="2785"/>
                    <a:pt x="1399" y="2785"/>
                  </a:cubicBezTo>
                  <a:lnTo>
                    <a:pt x="5116" y="2785"/>
                  </a:lnTo>
                  <a:cubicBezTo>
                    <a:pt x="5885" y="2785"/>
                    <a:pt x="6503" y="2168"/>
                    <a:pt x="6515" y="1399"/>
                  </a:cubicBezTo>
                  <a:cubicBezTo>
                    <a:pt x="6515" y="630"/>
                    <a:pt x="5885" y="0"/>
                    <a:pt x="5116"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34"/>
            <p:cNvSpPr/>
            <p:nvPr/>
          </p:nvSpPr>
          <p:spPr>
            <a:xfrm>
              <a:off x="6056115" y="3083985"/>
              <a:ext cx="322581" cy="138200"/>
            </a:xfrm>
            <a:custGeom>
              <a:avLst/>
              <a:gdLst/>
              <a:ahLst/>
              <a:cxnLst/>
              <a:rect l="l" t="t" r="r" b="b"/>
              <a:pathLst>
                <a:path w="6503" h="2786" extrusionOk="0">
                  <a:moveTo>
                    <a:pt x="1399" y="1"/>
                  </a:moveTo>
                  <a:cubicBezTo>
                    <a:pt x="631" y="1"/>
                    <a:pt x="0" y="618"/>
                    <a:pt x="0" y="1400"/>
                  </a:cubicBezTo>
                  <a:cubicBezTo>
                    <a:pt x="0" y="2156"/>
                    <a:pt x="631" y="2786"/>
                    <a:pt x="1399" y="2786"/>
                  </a:cubicBezTo>
                  <a:lnTo>
                    <a:pt x="5116" y="2786"/>
                  </a:lnTo>
                  <a:cubicBezTo>
                    <a:pt x="5885" y="2786"/>
                    <a:pt x="6503" y="2168"/>
                    <a:pt x="6503" y="1400"/>
                  </a:cubicBezTo>
                  <a:cubicBezTo>
                    <a:pt x="6503"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34"/>
            <p:cNvSpPr/>
            <p:nvPr/>
          </p:nvSpPr>
          <p:spPr>
            <a:xfrm>
              <a:off x="6056115" y="3566541"/>
              <a:ext cx="323226" cy="138200"/>
            </a:xfrm>
            <a:custGeom>
              <a:avLst/>
              <a:gdLst/>
              <a:ahLst/>
              <a:cxnLst/>
              <a:rect l="l" t="t" r="r" b="b"/>
              <a:pathLst>
                <a:path w="6516" h="2786" extrusionOk="0">
                  <a:moveTo>
                    <a:pt x="1399" y="1"/>
                  </a:moveTo>
                  <a:cubicBezTo>
                    <a:pt x="631" y="1"/>
                    <a:pt x="0" y="618"/>
                    <a:pt x="0" y="1400"/>
                  </a:cubicBezTo>
                  <a:cubicBezTo>
                    <a:pt x="0" y="2156"/>
                    <a:pt x="631" y="2786"/>
                    <a:pt x="1399" y="2786"/>
                  </a:cubicBezTo>
                  <a:lnTo>
                    <a:pt x="5116" y="2786"/>
                  </a:lnTo>
                  <a:cubicBezTo>
                    <a:pt x="5885" y="2786"/>
                    <a:pt x="6503" y="2168"/>
                    <a:pt x="6515" y="1400"/>
                  </a:cubicBezTo>
                  <a:cubicBezTo>
                    <a:pt x="6515" y="618"/>
                    <a:pt x="5885" y="1"/>
                    <a:pt x="511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5" name="Google Shape;995;p34"/>
          <p:cNvSpPr/>
          <p:nvPr/>
        </p:nvSpPr>
        <p:spPr>
          <a:xfrm>
            <a:off x="1143200" y="4267825"/>
            <a:ext cx="138900" cy="1389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34"/>
          <p:cNvSpPr/>
          <p:nvPr/>
        </p:nvSpPr>
        <p:spPr>
          <a:xfrm>
            <a:off x="2810075" y="4267825"/>
            <a:ext cx="138900" cy="138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34"/>
          <p:cNvSpPr txBox="1">
            <a:spLocks noGrp="1"/>
          </p:cNvSpPr>
          <p:nvPr>
            <p:ph type="subTitle" idx="4294967295"/>
          </p:nvPr>
        </p:nvSpPr>
        <p:spPr>
          <a:xfrm>
            <a:off x="1386875" y="4141975"/>
            <a:ext cx="9087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ars</a:t>
            </a:r>
            <a:endParaRPr/>
          </a:p>
        </p:txBody>
      </p:sp>
      <p:sp>
        <p:nvSpPr>
          <p:cNvPr id="998" name="Google Shape;998;p34"/>
          <p:cNvSpPr txBox="1">
            <a:spLocks noGrp="1"/>
          </p:cNvSpPr>
          <p:nvPr>
            <p:ph type="subTitle" idx="4294967295"/>
          </p:nvPr>
        </p:nvSpPr>
        <p:spPr>
          <a:xfrm>
            <a:off x="3053750" y="4141975"/>
            <a:ext cx="1128600" cy="390600"/>
          </a:xfrm>
          <a:prstGeom prst="rect">
            <a:avLst/>
          </a:prstGeom>
        </p:spPr>
        <p:txBody>
          <a:bodyPr spcFirstLastPara="1" wrap="square" lIns="91425" tIns="91425" rIns="91425" bIns="91425" anchor="b" anchorCtr="0">
            <a:noAutofit/>
          </a:bodyPr>
          <a:lstStyle/>
          <a:p>
            <a:pPr marL="0" lvl="0" indent="0" algn="l" rtl="0">
              <a:lnSpc>
                <a:spcPct val="100000"/>
              </a:lnSpc>
              <a:spcBef>
                <a:spcPts val="0"/>
              </a:spcBef>
              <a:spcAft>
                <a:spcPts val="0"/>
              </a:spcAft>
              <a:buNone/>
            </a:pPr>
            <a:r>
              <a:rPr lang="en"/>
              <a:t>Mercury</a:t>
            </a:r>
            <a:endParaRPr/>
          </a:p>
        </p:txBody>
      </p:sp>
      <p:sp>
        <p:nvSpPr>
          <p:cNvPr id="999" name="Google Shape;999;p34"/>
          <p:cNvSpPr txBox="1">
            <a:spLocks noGrp="1"/>
          </p:cNvSpPr>
          <p:nvPr>
            <p:ph type="subTitle" idx="4294967295"/>
          </p:nvPr>
        </p:nvSpPr>
        <p:spPr>
          <a:xfrm>
            <a:off x="544885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Saturn</a:t>
            </a:r>
            <a:endParaRPr/>
          </a:p>
        </p:txBody>
      </p:sp>
      <p:sp>
        <p:nvSpPr>
          <p:cNvPr id="1000" name="Google Shape;1000;p34"/>
          <p:cNvSpPr txBox="1">
            <a:spLocks noGrp="1"/>
          </p:cNvSpPr>
          <p:nvPr>
            <p:ph type="subTitle" idx="4294967295"/>
          </p:nvPr>
        </p:nvSpPr>
        <p:spPr>
          <a:xfrm>
            <a:off x="6357550" y="4141975"/>
            <a:ext cx="11286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Neptune</a:t>
            </a:r>
            <a:endParaRPr/>
          </a:p>
        </p:txBody>
      </p:sp>
      <p:sp>
        <p:nvSpPr>
          <p:cNvPr id="1001" name="Google Shape;1001;p34"/>
          <p:cNvSpPr txBox="1">
            <a:spLocks noGrp="1"/>
          </p:cNvSpPr>
          <p:nvPr>
            <p:ph type="subTitle" idx="4294967295"/>
          </p:nvPr>
        </p:nvSpPr>
        <p:spPr>
          <a:xfrm>
            <a:off x="7486100" y="4141975"/>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a:t>Venus</a:t>
            </a:r>
            <a:endParaRPr/>
          </a:p>
        </p:txBody>
      </p:sp>
      <p:sp>
        <p:nvSpPr>
          <p:cNvPr id="1002" name="Google Shape;1002;p34"/>
          <p:cNvSpPr txBox="1">
            <a:spLocks noGrp="1"/>
          </p:cNvSpPr>
          <p:nvPr>
            <p:ph type="subTitle" idx="4294967295"/>
          </p:nvPr>
        </p:nvSpPr>
        <p:spPr>
          <a:xfrm>
            <a:off x="544885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1"/>
                </a:solidFill>
                <a:latin typeface="Share Tech"/>
                <a:ea typeface="Share Tech"/>
                <a:cs typeface="Share Tech"/>
                <a:sym typeface="Share Tech"/>
              </a:rPr>
              <a:t>30%</a:t>
            </a:r>
            <a:endParaRPr sz="2200">
              <a:solidFill>
                <a:schemeClr val="accent1"/>
              </a:solidFill>
              <a:latin typeface="Share Tech"/>
              <a:ea typeface="Share Tech"/>
              <a:cs typeface="Share Tech"/>
              <a:sym typeface="Share Tech"/>
            </a:endParaRPr>
          </a:p>
        </p:txBody>
      </p:sp>
      <p:sp>
        <p:nvSpPr>
          <p:cNvPr id="1003" name="Google Shape;1003;p34"/>
          <p:cNvSpPr txBox="1">
            <a:spLocks noGrp="1"/>
          </p:cNvSpPr>
          <p:nvPr>
            <p:ph type="subTitle" idx="4294967295"/>
          </p:nvPr>
        </p:nvSpPr>
        <p:spPr>
          <a:xfrm>
            <a:off x="6467475"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2"/>
                </a:solidFill>
                <a:latin typeface="Share Tech"/>
                <a:ea typeface="Share Tech"/>
                <a:cs typeface="Share Tech"/>
                <a:sym typeface="Share Tech"/>
              </a:rPr>
              <a:t>80%</a:t>
            </a:r>
            <a:endParaRPr sz="2200">
              <a:solidFill>
                <a:schemeClr val="accent2"/>
              </a:solidFill>
              <a:latin typeface="Share Tech"/>
              <a:ea typeface="Share Tech"/>
              <a:cs typeface="Share Tech"/>
              <a:sym typeface="Share Tech"/>
            </a:endParaRPr>
          </a:p>
        </p:txBody>
      </p:sp>
      <p:sp>
        <p:nvSpPr>
          <p:cNvPr id="1004" name="Google Shape;1004;p34"/>
          <p:cNvSpPr txBox="1">
            <a:spLocks noGrp="1"/>
          </p:cNvSpPr>
          <p:nvPr>
            <p:ph type="subTitle" idx="4294967295"/>
          </p:nvPr>
        </p:nvSpPr>
        <p:spPr>
          <a:xfrm>
            <a:off x="7486100" y="3856150"/>
            <a:ext cx="908700" cy="3906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2200">
                <a:solidFill>
                  <a:schemeClr val="accent3"/>
                </a:solidFill>
                <a:latin typeface="Share Tech"/>
                <a:ea typeface="Share Tech"/>
                <a:cs typeface="Share Tech"/>
                <a:sym typeface="Share Tech"/>
              </a:rPr>
              <a:t>50%</a:t>
            </a:r>
            <a:endParaRPr sz="2200">
              <a:solidFill>
                <a:schemeClr val="accent3"/>
              </a:solidFill>
              <a:latin typeface="Share Tech"/>
              <a:ea typeface="Share Tech"/>
              <a:cs typeface="Share Tech"/>
              <a:sym typeface="Share Tech"/>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Shape 1008"/>
        <p:cNvGrpSpPr/>
        <p:nvPr/>
      </p:nvGrpSpPr>
      <p:grpSpPr>
        <a:xfrm>
          <a:off x="0" y="0"/>
          <a:ext cx="0" cy="0"/>
          <a:chOff x="0" y="0"/>
          <a:chExt cx="0" cy="0"/>
        </a:xfrm>
      </p:grpSpPr>
      <p:sp>
        <p:nvSpPr>
          <p:cNvPr id="1009" name="Google Shape;1009;p35"/>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ARGET</a:t>
            </a:r>
            <a:endParaRPr/>
          </a:p>
        </p:txBody>
      </p:sp>
      <p:sp>
        <p:nvSpPr>
          <p:cNvPr id="1010" name="Google Shape;1010;p35"/>
          <p:cNvSpPr/>
          <p:nvPr/>
        </p:nvSpPr>
        <p:spPr>
          <a:xfrm>
            <a:off x="1411483" y="1615175"/>
            <a:ext cx="1674020" cy="1674059"/>
          </a:xfrm>
          <a:custGeom>
            <a:avLst/>
            <a:gdLst/>
            <a:ahLst/>
            <a:cxnLst/>
            <a:rect l="l" t="t" r="r" b="b"/>
            <a:pathLst>
              <a:path w="43045" h="43046" extrusionOk="0">
                <a:moveTo>
                  <a:pt x="21522" y="2193"/>
                </a:moveTo>
                <a:cubicBezTo>
                  <a:pt x="32195" y="2206"/>
                  <a:pt x="40839" y="10850"/>
                  <a:pt x="40852" y="21523"/>
                </a:cubicBezTo>
                <a:cubicBezTo>
                  <a:pt x="40852" y="29348"/>
                  <a:pt x="36139" y="36392"/>
                  <a:pt x="28919" y="39391"/>
                </a:cubicBezTo>
                <a:cubicBezTo>
                  <a:pt x="26525" y="40379"/>
                  <a:pt x="24014" y="40860"/>
                  <a:pt x="21525" y="40860"/>
                </a:cubicBezTo>
                <a:cubicBezTo>
                  <a:pt x="16494" y="40860"/>
                  <a:pt x="11551" y="38896"/>
                  <a:pt x="7850" y="35195"/>
                </a:cubicBezTo>
                <a:cubicBezTo>
                  <a:pt x="2319" y="29663"/>
                  <a:pt x="668" y="21346"/>
                  <a:pt x="3654" y="14126"/>
                </a:cubicBezTo>
                <a:cubicBezTo>
                  <a:pt x="6653" y="6893"/>
                  <a:pt x="13697" y="2193"/>
                  <a:pt x="21522" y="2193"/>
                </a:cubicBezTo>
                <a:close/>
                <a:moveTo>
                  <a:pt x="21522" y="1"/>
                </a:moveTo>
                <a:cubicBezTo>
                  <a:pt x="9652" y="1"/>
                  <a:pt x="0" y="9653"/>
                  <a:pt x="0" y="21523"/>
                </a:cubicBezTo>
                <a:cubicBezTo>
                  <a:pt x="0" y="33393"/>
                  <a:pt x="9652" y="43045"/>
                  <a:pt x="21522" y="43045"/>
                </a:cubicBezTo>
                <a:cubicBezTo>
                  <a:pt x="33380" y="43045"/>
                  <a:pt x="43045" y="33393"/>
                  <a:pt x="43045" y="21523"/>
                </a:cubicBezTo>
                <a:cubicBezTo>
                  <a:pt x="43045" y="9653"/>
                  <a:pt x="33392" y="1"/>
                  <a:pt x="21522"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35"/>
          <p:cNvSpPr/>
          <p:nvPr/>
        </p:nvSpPr>
        <p:spPr>
          <a:xfrm>
            <a:off x="1508979" y="1767040"/>
            <a:ext cx="1424618" cy="1370756"/>
          </a:xfrm>
          <a:custGeom>
            <a:avLst/>
            <a:gdLst/>
            <a:ahLst/>
            <a:cxnLst/>
            <a:rect l="l" t="t" r="r" b="b"/>
            <a:pathLst>
              <a:path w="36632" h="35247" extrusionOk="0">
                <a:moveTo>
                  <a:pt x="19015" y="2182"/>
                </a:moveTo>
                <a:cubicBezTo>
                  <a:pt x="27533" y="2194"/>
                  <a:pt x="34439" y="9100"/>
                  <a:pt x="34451" y="17630"/>
                </a:cubicBezTo>
                <a:cubicBezTo>
                  <a:pt x="34451" y="23868"/>
                  <a:pt x="30684" y="29500"/>
                  <a:pt x="24913" y="31882"/>
                </a:cubicBezTo>
                <a:cubicBezTo>
                  <a:pt x="23004" y="32675"/>
                  <a:pt x="21000" y="33060"/>
                  <a:pt x="19011" y="33060"/>
                </a:cubicBezTo>
                <a:cubicBezTo>
                  <a:pt x="14997" y="33060"/>
                  <a:pt x="11048" y="31492"/>
                  <a:pt x="8090" y="28543"/>
                </a:cubicBezTo>
                <a:cubicBezTo>
                  <a:pt x="3680" y="24132"/>
                  <a:pt x="2357" y="17492"/>
                  <a:pt x="4751" y="11721"/>
                </a:cubicBezTo>
                <a:cubicBezTo>
                  <a:pt x="7133" y="5949"/>
                  <a:pt x="12765" y="2194"/>
                  <a:pt x="19015" y="2194"/>
                </a:cubicBezTo>
                <a:lnTo>
                  <a:pt x="19015" y="2182"/>
                </a:lnTo>
                <a:close/>
                <a:moveTo>
                  <a:pt x="19027" y="1"/>
                </a:moveTo>
                <a:cubicBezTo>
                  <a:pt x="14437" y="1"/>
                  <a:pt x="9927" y="1794"/>
                  <a:pt x="6553" y="5168"/>
                </a:cubicBezTo>
                <a:cubicBezTo>
                  <a:pt x="1513" y="10209"/>
                  <a:pt x="1" y="17782"/>
                  <a:pt x="2735" y="24372"/>
                </a:cubicBezTo>
                <a:cubicBezTo>
                  <a:pt x="5457" y="30950"/>
                  <a:pt x="11883" y="35246"/>
                  <a:pt x="19015" y="35246"/>
                </a:cubicBezTo>
                <a:cubicBezTo>
                  <a:pt x="28743" y="35234"/>
                  <a:pt x="36619" y="27358"/>
                  <a:pt x="36631" y="17630"/>
                </a:cubicBezTo>
                <a:cubicBezTo>
                  <a:pt x="36631" y="10498"/>
                  <a:pt x="32334" y="4072"/>
                  <a:pt x="25757" y="1338"/>
                </a:cubicBezTo>
                <a:cubicBezTo>
                  <a:pt x="23578" y="438"/>
                  <a:pt x="21293" y="1"/>
                  <a:pt x="19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35"/>
          <p:cNvSpPr txBox="1"/>
          <p:nvPr/>
        </p:nvSpPr>
        <p:spPr>
          <a:xfrm>
            <a:off x="1446264" y="35144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3"/>
                </a:solidFill>
                <a:latin typeface="Share Tech"/>
                <a:ea typeface="Share Tech"/>
                <a:cs typeface="Share Tech"/>
                <a:sym typeface="Share Tech"/>
              </a:rPr>
              <a:t>75%</a:t>
            </a:r>
            <a:endParaRPr sz="2000">
              <a:solidFill>
                <a:schemeClr val="accent3"/>
              </a:solidFill>
              <a:latin typeface="Share Tech"/>
              <a:ea typeface="Share Tech"/>
              <a:cs typeface="Share Tech"/>
              <a:sym typeface="Share Tech"/>
            </a:endParaRPr>
          </a:p>
        </p:txBody>
      </p:sp>
      <p:sp>
        <p:nvSpPr>
          <p:cNvPr id="1013" name="Google Shape;1013;p35"/>
          <p:cNvSpPr/>
          <p:nvPr/>
        </p:nvSpPr>
        <p:spPr>
          <a:xfrm>
            <a:off x="1411495" y="1615425"/>
            <a:ext cx="1674000" cy="1674000"/>
          </a:xfrm>
          <a:prstGeom prst="blockArc">
            <a:avLst>
              <a:gd name="adj1" fmla="val 5981036"/>
              <a:gd name="adj2" fmla="val 1956664"/>
              <a:gd name="adj3" fmla="val 5171"/>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35"/>
          <p:cNvSpPr/>
          <p:nvPr/>
        </p:nvSpPr>
        <p:spPr>
          <a:xfrm>
            <a:off x="1563257" y="1767013"/>
            <a:ext cx="1370400" cy="1370400"/>
          </a:xfrm>
          <a:prstGeom prst="blockArc">
            <a:avLst>
              <a:gd name="adj1" fmla="val 10800000"/>
              <a:gd name="adj2" fmla="val 1840440"/>
              <a:gd name="adj3" fmla="val 5981"/>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35"/>
          <p:cNvSpPr txBox="1"/>
          <p:nvPr/>
        </p:nvSpPr>
        <p:spPr>
          <a:xfrm>
            <a:off x="1446264"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accent2"/>
                </a:solidFill>
                <a:latin typeface="Share Tech"/>
                <a:ea typeface="Share Tech"/>
                <a:cs typeface="Share Tech"/>
                <a:sym typeface="Share Tech"/>
              </a:rPr>
              <a:t>60%</a:t>
            </a:r>
            <a:endParaRPr sz="2000">
              <a:solidFill>
                <a:schemeClr val="accent2"/>
              </a:solidFill>
              <a:latin typeface="Share Tech"/>
              <a:ea typeface="Share Tech"/>
              <a:cs typeface="Share Tech"/>
              <a:sym typeface="Share Tech"/>
            </a:endParaRPr>
          </a:p>
        </p:txBody>
      </p:sp>
      <p:sp>
        <p:nvSpPr>
          <p:cNvPr id="1016" name="Google Shape;1016;p35"/>
          <p:cNvSpPr txBox="1"/>
          <p:nvPr/>
        </p:nvSpPr>
        <p:spPr>
          <a:xfrm>
            <a:off x="2230880" y="3514400"/>
            <a:ext cx="12048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Female</a:t>
            </a:r>
            <a:endParaRPr sz="2000">
              <a:solidFill>
                <a:schemeClr val="lt1"/>
              </a:solidFill>
              <a:latin typeface="Maven Pro"/>
              <a:ea typeface="Maven Pro"/>
              <a:cs typeface="Maven Pro"/>
              <a:sym typeface="Maven Pro"/>
            </a:endParaRPr>
          </a:p>
        </p:txBody>
      </p:sp>
      <p:sp>
        <p:nvSpPr>
          <p:cNvPr id="1017" name="Google Shape;1017;p35"/>
          <p:cNvSpPr txBox="1"/>
          <p:nvPr/>
        </p:nvSpPr>
        <p:spPr>
          <a:xfrm>
            <a:off x="2230889" y="4068100"/>
            <a:ext cx="841200" cy="39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a:solidFill>
                  <a:schemeClr val="lt1"/>
                </a:solidFill>
                <a:latin typeface="Maven Pro"/>
                <a:ea typeface="Maven Pro"/>
                <a:cs typeface="Maven Pro"/>
                <a:sym typeface="Maven Pro"/>
              </a:rPr>
              <a:t>Male</a:t>
            </a:r>
            <a:endParaRPr sz="2000">
              <a:solidFill>
                <a:schemeClr val="lt1"/>
              </a:solidFill>
              <a:latin typeface="Maven Pro"/>
              <a:ea typeface="Maven Pro"/>
              <a:cs typeface="Maven Pro"/>
              <a:sym typeface="Maven Pro"/>
            </a:endParaRPr>
          </a:p>
        </p:txBody>
      </p:sp>
      <p:cxnSp>
        <p:nvCxnSpPr>
          <p:cNvPr id="1018" name="Google Shape;1018;p35"/>
          <p:cNvCxnSpPr>
            <a:stCxn id="1014" idx="0"/>
            <a:endCxn id="1015" idx="1"/>
          </p:cNvCxnSpPr>
          <p:nvPr/>
        </p:nvCxnSpPr>
        <p:spPr>
          <a:xfrm rot="5400000">
            <a:off x="619639" y="3278713"/>
            <a:ext cx="1811100" cy="158100"/>
          </a:xfrm>
          <a:prstGeom prst="bentConnector4">
            <a:avLst>
              <a:gd name="adj1" fmla="val -1062"/>
              <a:gd name="adj2" fmla="val 250538"/>
            </a:avLst>
          </a:prstGeom>
          <a:noFill/>
          <a:ln w="9525" cap="flat" cmpd="sng">
            <a:solidFill>
              <a:schemeClr val="accent2"/>
            </a:solidFill>
            <a:prstDash val="solid"/>
            <a:round/>
            <a:headEnd type="none" w="med" len="med"/>
            <a:tailEnd type="none" w="med" len="med"/>
          </a:ln>
        </p:spPr>
      </p:cxnSp>
      <p:cxnSp>
        <p:nvCxnSpPr>
          <p:cNvPr id="1019" name="Google Shape;1019;p35"/>
          <p:cNvCxnSpPr/>
          <p:nvPr/>
        </p:nvCxnSpPr>
        <p:spPr>
          <a:xfrm rot="10800000">
            <a:off x="1709408" y="3068100"/>
            <a:ext cx="0" cy="521100"/>
          </a:xfrm>
          <a:prstGeom prst="straightConnector1">
            <a:avLst/>
          </a:prstGeom>
          <a:noFill/>
          <a:ln w="9525" cap="flat" cmpd="sng">
            <a:solidFill>
              <a:schemeClr val="accent3"/>
            </a:solidFill>
            <a:prstDash val="solid"/>
            <a:round/>
            <a:headEnd type="none" w="med" len="med"/>
            <a:tailEnd type="none" w="med" len="med"/>
          </a:ln>
        </p:spPr>
      </p:cxnSp>
      <p:sp>
        <p:nvSpPr>
          <p:cNvPr id="1020" name="Google Shape;1020;p35"/>
          <p:cNvSpPr txBox="1"/>
          <p:nvPr/>
        </p:nvSpPr>
        <p:spPr>
          <a:xfrm>
            <a:off x="3650742" y="1671325"/>
            <a:ext cx="12048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20-39</a:t>
            </a:r>
            <a:endParaRPr>
              <a:solidFill>
                <a:schemeClr val="lt1"/>
              </a:solidFill>
              <a:latin typeface="Maven Pro"/>
              <a:ea typeface="Maven Pro"/>
              <a:cs typeface="Maven Pro"/>
              <a:sym typeface="Maven Pro"/>
            </a:endParaRPr>
          </a:p>
        </p:txBody>
      </p:sp>
      <p:sp>
        <p:nvSpPr>
          <p:cNvPr id="1021" name="Google Shape;1021;p35"/>
          <p:cNvSpPr txBox="1"/>
          <p:nvPr/>
        </p:nvSpPr>
        <p:spPr>
          <a:xfrm>
            <a:off x="4014342" y="2318175"/>
            <a:ext cx="841200" cy="390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a:solidFill>
                  <a:schemeClr val="lt1"/>
                </a:solidFill>
                <a:latin typeface="Maven Pro"/>
                <a:ea typeface="Maven Pro"/>
                <a:cs typeface="Maven Pro"/>
                <a:sym typeface="Maven Pro"/>
              </a:rPr>
              <a:t>40-60</a:t>
            </a:r>
            <a:endParaRPr>
              <a:solidFill>
                <a:schemeClr val="lt1"/>
              </a:solidFill>
              <a:latin typeface="Maven Pro"/>
              <a:ea typeface="Maven Pro"/>
              <a:cs typeface="Maven Pro"/>
              <a:sym typeface="Maven Pro"/>
            </a:endParaRPr>
          </a:p>
        </p:txBody>
      </p:sp>
      <p:sp>
        <p:nvSpPr>
          <p:cNvPr id="1022" name="Google Shape;1022;p35"/>
          <p:cNvSpPr/>
          <p:nvPr/>
        </p:nvSpPr>
        <p:spPr>
          <a:xfrm>
            <a:off x="50905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35"/>
          <p:cNvSpPr/>
          <p:nvPr/>
        </p:nvSpPr>
        <p:spPr>
          <a:xfrm>
            <a:off x="54027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35"/>
          <p:cNvSpPr/>
          <p:nvPr/>
        </p:nvSpPr>
        <p:spPr>
          <a:xfrm>
            <a:off x="57149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35"/>
          <p:cNvSpPr/>
          <p:nvPr/>
        </p:nvSpPr>
        <p:spPr>
          <a:xfrm>
            <a:off x="602710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35"/>
          <p:cNvSpPr/>
          <p:nvPr/>
        </p:nvSpPr>
        <p:spPr>
          <a:xfrm>
            <a:off x="633927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35"/>
          <p:cNvSpPr/>
          <p:nvPr/>
        </p:nvSpPr>
        <p:spPr>
          <a:xfrm>
            <a:off x="6651450"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35"/>
          <p:cNvSpPr/>
          <p:nvPr/>
        </p:nvSpPr>
        <p:spPr>
          <a:xfrm>
            <a:off x="6963625" y="161542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35"/>
          <p:cNvSpPr/>
          <p:nvPr/>
        </p:nvSpPr>
        <p:spPr>
          <a:xfrm>
            <a:off x="50905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35"/>
          <p:cNvSpPr/>
          <p:nvPr/>
        </p:nvSpPr>
        <p:spPr>
          <a:xfrm>
            <a:off x="54027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35"/>
          <p:cNvSpPr/>
          <p:nvPr/>
        </p:nvSpPr>
        <p:spPr>
          <a:xfrm>
            <a:off x="571492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35"/>
          <p:cNvSpPr/>
          <p:nvPr/>
        </p:nvSpPr>
        <p:spPr>
          <a:xfrm>
            <a:off x="602710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35"/>
          <p:cNvSpPr/>
          <p:nvPr/>
        </p:nvSpPr>
        <p:spPr>
          <a:xfrm>
            <a:off x="6339275"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35"/>
          <p:cNvSpPr/>
          <p:nvPr/>
        </p:nvSpPr>
        <p:spPr>
          <a:xfrm>
            <a:off x="6651450" y="190530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35"/>
          <p:cNvSpPr/>
          <p:nvPr/>
        </p:nvSpPr>
        <p:spPr>
          <a:xfrm>
            <a:off x="6963625" y="190530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35"/>
          <p:cNvSpPr/>
          <p:nvPr/>
        </p:nvSpPr>
        <p:spPr>
          <a:xfrm>
            <a:off x="509057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35"/>
          <p:cNvSpPr/>
          <p:nvPr/>
        </p:nvSpPr>
        <p:spPr>
          <a:xfrm>
            <a:off x="5402750"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35"/>
          <p:cNvSpPr/>
          <p:nvPr/>
        </p:nvSpPr>
        <p:spPr>
          <a:xfrm>
            <a:off x="5714925" y="2295775"/>
            <a:ext cx="184200" cy="184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35"/>
          <p:cNvSpPr/>
          <p:nvPr/>
        </p:nvSpPr>
        <p:spPr>
          <a:xfrm>
            <a:off x="602710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35"/>
          <p:cNvSpPr/>
          <p:nvPr/>
        </p:nvSpPr>
        <p:spPr>
          <a:xfrm>
            <a:off x="633927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35"/>
          <p:cNvSpPr/>
          <p:nvPr/>
        </p:nvSpPr>
        <p:spPr>
          <a:xfrm>
            <a:off x="6651450"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35"/>
          <p:cNvSpPr/>
          <p:nvPr/>
        </p:nvSpPr>
        <p:spPr>
          <a:xfrm>
            <a:off x="6963625" y="2295775"/>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35"/>
          <p:cNvSpPr/>
          <p:nvPr/>
        </p:nvSpPr>
        <p:spPr>
          <a:xfrm>
            <a:off x="50905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35"/>
          <p:cNvSpPr/>
          <p:nvPr/>
        </p:nvSpPr>
        <p:spPr>
          <a:xfrm>
            <a:off x="540275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35"/>
          <p:cNvSpPr/>
          <p:nvPr/>
        </p:nvSpPr>
        <p:spPr>
          <a:xfrm>
            <a:off x="571492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35"/>
          <p:cNvSpPr/>
          <p:nvPr/>
        </p:nvSpPr>
        <p:spPr>
          <a:xfrm>
            <a:off x="6027100"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35"/>
          <p:cNvSpPr/>
          <p:nvPr/>
        </p:nvSpPr>
        <p:spPr>
          <a:xfrm>
            <a:off x="6339275" y="2585650"/>
            <a:ext cx="184200" cy="184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35"/>
          <p:cNvSpPr/>
          <p:nvPr/>
        </p:nvSpPr>
        <p:spPr>
          <a:xfrm>
            <a:off x="6651450"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35"/>
          <p:cNvSpPr/>
          <p:nvPr/>
        </p:nvSpPr>
        <p:spPr>
          <a:xfrm>
            <a:off x="6963625" y="2585650"/>
            <a:ext cx="184200" cy="184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35"/>
          <p:cNvSpPr txBox="1"/>
          <p:nvPr/>
        </p:nvSpPr>
        <p:spPr>
          <a:xfrm>
            <a:off x="7275792" y="1671325"/>
            <a:ext cx="12048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80%</a:t>
            </a:r>
            <a:endParaRPr sz="2400">
              <a:solidFill>
                <a:schemeClr val="lt1"/>
              </a:solidFill>
              <a:latin typeface="Share Tech"/>
              <a:ea typeface="Share Tech"/>
              <a:cs typeface="Share Tech"/>
              <a:sym typeface="Share Tech"/>
            </a:endParaRPr>
          </a:p>
        </p:txBody>
      </p:sp>
      <p:sp>
        <p:nvSpPr>
          <p:cNvPr id="1051" name="Google Shape;1051;p35"/>
          <p:cNvSpPr txBox="1"/>
          <p:nvPr/>
        </p:nvSpPr>
        <p:spPr>
          <a:xfrm>
            <a:off x="7275792" y="2332976"/>
            <a:ext cx="841200" cy="390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a:solidFill>
                  <a:schemeClr val="lt1"/>
                </a:solidFill>
                <a:latin typeface="Share Tech"/>
                <a:ea typeface="Share Tech"/>
                <a:cs typeface="Share Tech"/>
                <a:sym typeface="Share Tech"/>
              </a:rPr>
              <a:t>50%</a:t>
            </a:r>
            <a:endParaRPr sz="2400">
              <a:solidFill>
                <a:schemeClr val="lt1"/>
              </a:solidFill>
              <a:latin typeface="Share Tech"/>
              <a:ea typeface="Share Tech"/>
              <a:cs typeface="Share Tech"/>
              <a:sym typeface="Share Tech"/>
            </a:endParaRPr>
          </a:p>
        </p:txBody>
      </p:sp>
      <p:grpSp>
        <p:nvGrpSpPr>
          <p:cNvPr id="1052" name="Google Shape;1052;p35"/>
          <p:cNvGrpSpPr/>
          <p:nvPr/>
        </p:nvGrpSpPr>
        <p:grpSpPr>
          <a:xfrm>
            <a:off x="4923267" y="3422061"/>
            <a:ext cx="417992" cy="1036638"/>
            <a:chOff x="3343310" y="4475555"/>
            <a:chExt cx="127717" cy="316753"/>
          </a:xfrm>
        </p:grpSpPr>
        <p:sp>
          <p:nvSpPr>
            <p:cNvPr id="1053" name="Google Shape;1053;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 name="Google Shape;1055;p35"/>
          <p:cNvSpPr txBox="1"/>
          <p:nvPr/>
        </p:nvSpPr>
        <p:spPr>
          <a:xfrm>
            <a:off x="5756375" y="3422050"/>
            <a:ext cx="1595100" cy="390600"/>
          </a:xfrm>
          <a:prstGeom prst="rect">
            <a:avLst/>
          </a:prstGeom>
          <a:noFill/>
          <a:ln>
            <a:noFill/>
          </a:ln>
        </p:spPr>
        <p:txBody>
          <a:bodyPr spcFirstLastPara="1" wrap="square" lIns="91425" tIns="91425" rIns="91425" bIns="91425" anchor="ctr" anchorCtr="0">
            <a:noAutofit/>
          </a:bodyPr>
          <a:lstStyle/>
          <a:p>
            <a:pPr marL="914400" lvl="0" indent="-914400" algn="ctr" rtl="0">
              <a:spcBef>
                <a:spcPts val="0"/>
              </a:spcBef>
              <a:spcAft>
                <a:spcPts val="0"/>
              </a:spcAft>
              <a:buNone/>
            </a:pPr>
            <a:r>
              <a:rPr lang="en" sz="3000">
                <a:solidFill>
                  <a:schemeClr val="accent3"/>
                </a:solidFill>
                <a:latin typeface="Share Tech"/>
                <a:ea typeface="Share Tech"/>
                <a:cs typeface="Share Tech"/>
                <a:sym typeface="Share Tech"/>
              </a:rPr>
              <a:t>500,000+</a:t>
            </a:r>
            <a:endParaRPr sz="3000">
              <a:solidFill>
                <a:schemeClr val="accent3"/>
              </a:solidFill>
              <a:latin typeface="Share Tech"/>
              <a:ea typeface="Share Tech"/>
              <a:cs typeface="Share Tech"/>
              <a:sym typeface="Share Tech"/>
            </a:endParaRPr>
          </a:p>
        </p:txBody>
      </p:sp>
      <p:sp>
        <p:nvSpPr>
          <p:cNvPr id="1056" name="Google Shape;1056;p35"/>
          <p:cNvSpPr txBox="1"/>
          <p:nvPr/>
        </p:nvSpPr>
        <p:spPr>
          <a:xfrm>
            <a:off x="5680688" y="3830650"/>
            <a:ext cx="17466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Employees</a:t>
            </a:r>
            <a:endParaRPr sz="1800">
              <a:solidFill>
                <a:schemeClr val="lt1"/>
              </a:solidFill>
              <a:latin typeface="Maven Pro"/>
              <a:ea typeface="Maven Pro"/>
              <a:cs typeface="Maven Pro"/>
              <a:sym typeface="Maven Pro"/>
            </a:endParaRPr>
          </a:p>
        </p:txBody>
      </p:sp>
      <p:sp>
        <p:nvSpPr>
          <p:cNvPr id="1057" name="Google Shape;1057;p35"/>
          <p:cNvSpPr/>
          <p:nvPr/>
        </p:nvSpPr>
        <p:spPr>
          <a:xfrm>
            <a:off x="5482538" y="3388075"/>
            <a:ext cx="184200" cy="1104600"/>
          </a:xfrm>
          <a:prstGeom prst="rightBrace">
            <a:avLst>
              <a:gd name="adj1" fmla="val 0"/>
              <a:gd name="adj2" fmla="val 84884"/>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8" name="Google Shape;1058;p35"/>
          <p:cNvCxnSpPr>
            <a:stCxn id="1057" idx="1"/>
          </p:cNvCxnSpPr>
          <p:nvPr/>
        </p:nvCxnSpPr>
        <p:spPr>
          <a:xfrm>
            <a:off x="5666738" y="4325704"/>
            <a:ext cx="1774500" cy="0"/>
          </a:xfrm>
          <a:prstGeom prst="straightConnector1">
            <a:avLst/>
          </a:prstGeom>
          <a:noFill/>
          <a:ln w="9525" cap="flat" cmpd="sng">
            <a:solidFill>
              <a:schemeClr val="lt2"/>
            </a:solidFill>
            <a:prstDash val="solid"/>
            <a:round/>
            <a:headEnd type="none" w="med" len="med"/>
            <a:tailEnd type="none" w="med" len="med"/>
          </a:ln>
        </p:spPr>
      </p:cxnSp>
      <p:grpSp>
        <p:nvGrpSpPr>
          <p:cNvPr id="1059" name="Google Shape;1059;p35"/>
          <p:cNvGrpSpPr/>
          <p:nvPr/>
        </p:nvGrpSpPr>
        <p:grpSpPr>
          <a:xfrm>
            <a:off x="4363992" y="3422061"/>
            <a:ext cx="417992" cy="1036638"/>
            <a:chOff x="3343310" y="4475555"/>
            <a:chExt cx="127717" cy="316753"/>
          </a:xfrm>
        </p:grpSpPr>
        <p:sp>
          <p:nvSpPr>
            <p:cNvPr id="1060" name="Google Shape;1060;p35"/>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35"/>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2" name="Google Shape;1062;p35"/>
          <p:cNvSpPr txBox="1"/>
          <p:nvPr/>
        </p:nvSpPr>
        <p:spPr>
          <a:xfrm>
            <a:off x="1307862"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GENDER</a:t>
            </a:r>
            <a:endParaRPr sz="2000">
              <a:solidFill>
                <a:schemeClr val="lt1"/>
              </a:solidFill>
              <a:latin typeface="Share Tech"/>
              <a:ea typeface="Share Tech"/>
              <a:cs typeface="Share Tech"/>
              <a:sym typeface="Share Tech"/>
            </a:endParaRPr>
          </a:p>
        </p:txBody>
      </p:sp>
      <p:sp>
        <p:nvSpPr>
          <p:cNvPr id="1063" name="Google Shape;1063;p35"/>
          <p:cNvSpPr txBox="1"/>
          <p:nvPr/>
        </p:nvSpPr>
        <p:spPr>
          <a:xfrm>
            <a:off x="5282437" y="1022054"/>
            <a:ext cx="1881300" cy="390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2000">
                <a:solidFill>
                  <a:schemeClr val="lt1"/>
                </a:solidFill>
                <a:latin typeface="Share Tech"/>
                <a:ea typeface="Share Tech"/>
                <a:cs typeface="Share Tech"/>
                <a:sym typeface="Share Tech"/>
              </a:rPr>
              <a:t>AGE</a:t>
            </a:r>
            <a:endParaRPr sz="2000">
              <a:solidFill>
                <a:schemeClr val="lt1"/>
              </a:solidFill>
              <a:latin typeface="Share Tech"/>
              <a:ea typeface="Share Tech"/>
              <a:cs typeface="Share Tech"/>
              <a:sym typeface="Share Tech"/>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t>Wir werten die Kaufhistorie in </a:t>
            </a:r>
            <a:r>
              <a:rPr lang="de-DE" sz="1400" b="1" dirty="0">
                <a:solidFill>
                  <a:srgbClr val="FF9973"/>
                </a:solidFill>
              </a:rPr>
              <a:t>Verbindung mit Wetter-Daten</a:t>
            </a:r>
            <a:r>
              <a:rPr lang="de-DE" sz="1400" dirty="0"/>
              <a:t> sowie einem </a:t>
            </a:r>
            <a:r>
              <a:rPr lang="de-DE" sz="1400" b="1" dirty="0">
                <a:solidFill>
                  <a:srgbClr val="FF9973"/>
                </a:solidFill>
              </a:rPr>
              <a:t>Feiertagskalender</a:t>
            </a:r>
            <a:r>
              <a:rPr lang="de-DE" sz="1400" dirty="0"/>
              <a:t> aus, um </a:t>
            </a:r>
            <a:r>
              <a:rPr lang="de-DE" sz="1400" b="1" dirty="0">
                <a:solidFill>
                  <a:srgbClr val="FF9973"/>
                </a:solidFill>
              </a:rPr>
              <a:t>Zusammenhänge</a:t>
            </a:r>
            <a:r>
              <a:rPr lang="de-DE" sz="1400" dirty="0"/>
              <a:t> zu </a:t>
            </a:r>
            <a:r>
              <a:rPr lang="de-DE" sz="1400" b="1" dirty="0">
                <a:solidFill>
                  <a:srgbClr val="FF9973"/>
                </a:solidFill>
              </a:rPr>
              <a:t>identifizieren</a:t>
            </a:r>
          </a:p>
          <a:p>
            <a:pPr marL="0" indent="0">
              <a:buNone/>
            </a:pPr>
            <a:endParaRPr lang="de-DE" sz="1400" dirty="0"/>
          </a:p>
          <a:p>
            <a:pPr marL="285750" indent="-285750"/>
            <a:r>
              <a:rPr lang="de-DE" sz="1400" dirty="0"/>
              <a:t>Werden an regnerischen Tagen mehr Heißgetränke verkauft?</a:t>
            </a:r>
          </a:p>
        </p:txBody>
      </p:sp>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95" name="Gruppieren 494">
            <a:extLst>
              <a:ext uri="{FF2B5EF4-FFF2-40B4-BE49-F238E27FC236}">
                <a16:creationId xmlns:a16="http://schemas.microsoft.com/office/drawing/2014/main" id="{D5BB797C-C984-01CE-1CD1-B12B65F83EB6}"/>
              </a:ext>
            </a:extLst>
          </p:cNvPr>
          <p:cNvGrpSpPr/>
          <p:nvPr/>
        </p:nvGrpSpPr>
        <p:grpSpPr>
          <a:xfrm>
            <a:off x="5953123" y="1193218"/>
            <a:ext cx="874672" cy="2792320"/>
            <a:chOff x="3860749" y="998675"/>
            <a:chExt cx="1226720" cy="3916203"/>
          </a:xfrm>
        </p:grpSpPr>
        <p:sp>
          <p:nvSpPr>
            <p:cNvPr id="499" name="Rechteck 498">
              <a:extLst>
                <a:ext uri="{FF2B5EF4-FFF2-40B4-BE49-F238E27FC236}">
                  <a16:creationId xmlns:a16="http://schemas.microsoft.com/office/drawing/2014/main" id="{3C71F541-E788-80EC-CCAE-0474573801A6}"/>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6" name="Rechteck 495">
              <a:extLst>
                <a:ext uri="{FF2B5EF4-FFF2-40B4-BE49-F238E27FC236}">
                  <a16:creationId xmlns:a16="http://schemas.microsoft.com/office/drawing/2014/main" id="{50BC5244-BFBA-D18A-3637-847AD6E20F4D}"/>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7" name="Rechteck 496">
              <a:extLst>
                <a:ext uri="{FF2B5EF4-FFF2-40B4-BE49-F238E27FC236}">
                  <a16:creationId xmlns:a16="http://schemas.microsoft.com/office/drawing/2014/main" id="{EE2C9AA5-3748-F465-1F90-D2AD2DA955FE}"/>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lussdiagramm: Alternativer Prozess 2">
              <a:extLst>
                <a:ext uri="{FF2B5EF4-FFF2-40B4-BE49-F238E27FC236}">
                  <a16:creationId xmlns:a16="http://schemas.microsoft.com/office/drawing/2014/main" id="{AA981136-B4BF-E78E-037B-629C0F400B9F}"/>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8" name="Rechteck 497">
              <a:extLst>
                <a:ext uri="{FF2B5EF4-FFF2-40B4-BE49-F238E27FC236}">
                  <a16:creationId xmlns:a16="http://schemas.microsoft.com/office/drawing/2014/main" id="{A2D31473-126C-23AB-DB76-F3ADB0135BD2}"/>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499">
              <a:extLst>
                <a:ext uri="{FF2B5EF4-FFF2-40B4-BE49-F238E27FC236}">
                  <a16:creationId xmlns:a16="http://schemas.microsoft.com/office/drawing/2014/main" id="{6AA8D7B9-57A2-1CF2-AEB1-27B0C9D2A2E7}"/>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1" name="Rechteck 500">
              <a:extLst>
                <a:ext uri="{FF2B5EF4-FFF2-40B4-BE49-F238E27FC236}">
                  <a16:creationId xmlns:a16="http://schemas.microsoft.com/office/drawing/2014/main" id="{11E898CF-EF6B-D014-5929-BEDF17C4D7CF}"/>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2" name="Flussdiagramm: Alternativer Prozess 501">
              <a:extLst>
                <a:ext uri="{FF2B5EF4-FFF2-40B4-BE49-F238E27FC236}">
                  <a16:creationId xmlns:a16="http://schemas.microsoft.com/office/drawing/2014/main" id="{3EFBFBCB-AA4C-A059-00EC-35987A4B7B09}"/>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3" name="Flussdiagramm: Alternativer Prozess 502">
              <a:extLst>
                <a:ext uri="{FF2B5EF4-FFF2-40B4-BE49-F238E27FC236}">
                  <a16:creationId xmlns:a16="http://schemas.microsoft.com/office/drawing/2014/main" id="{FE58C295-C474-FFBA-780D-26B43C5BCA7C}"/>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4" name="Flussdiagramm: Alternativer Prozess 503">
              <a:extLst>
                <a:ext uri="{FF2B5EF4-FFF2-40B4-BE49-F238E27FC236}">
                  <a16:creationId xmlns:a16="http://schemas.microsoft.com/office/drawing/2014/main" id="{D9FA8D9F-3A17-4D41-292F-235445B5FF33}"/>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5" name="Flussdiagramm: Alternativer Prozess 504">
              <a:extLst>
                <a:ext uri="{FF2B5EF4-FFF2-40B4-BE49-F238E27FC236}">
                  <a16:creationId xmlns:a16="http://schemas.microsoft.com/office/drawing/2014/main" id="{083EF45A-D5FC-A19A-B0D5-EED13913E5D9}"/>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9" name="Flussdiagramm: Alternativer Prozess 2048">
              <a:extLst>
                <a:ext uri="{FF2B5EF4-FFF2-40B4-BE49-F238E27FC236}">
                  <a16:creationId xmlns:a16="http://schemas.microsoft.com/office/drawing/2014/main" id="{0E3BB711-DDBC-2284-A25F-0606F56F057A}"/>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1" name="Flussdiagramm: Alternativer Prozess 2050">
              <a:extLst>
                <a:ext uri="{FF2B5EF4-FFF2-40B4-BE49-F238E27FC236}">
                  <a16:creationId xmlns:a16="http://schemas.microsoft.com/office/drawing/2014/main" id="{748297F7-575B-FDE5-E22B-7805EB8C2554}"/>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3" name="Flussdiagramm: Alternativer Prozess 2052">
              <a:extLst>
                <a:ext uri="{FF2B5EF4-FFF2-40B4-BE49-F238E27FC236}">
                  <a16:creationId xmlns:a16="http://schemas.microsoft.com/office/drawing/2014/main" id="{396544FF-09FC-EA95-5449-1DD588D69F67}"/>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4" name="Flussdiagramm: Alternativer Prozess 2053">
              <a:extLst>
                <a:ext uri="{FF2B5EF4-FFF2-40B4-BE49-F238E27FC236}">
                  <a16:creationId xmlns:a16="http://schemas.microsoft.com/office/drawing/2014/main" id="{5BD4945A-8899-0CD8-2481-1ED1FD3BEBCE}"/>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5" name="Flussdiagramm: Alternativer Prozess 2054">
              <a:extLst>
                <a:ext uri="{FF2B5EF4-FFF2-40B4-BE49-F238E27FC236}">
                  <a16:creationId xmlns:a16="http://schemas.microsoft.com/office/drawing/2014/main" id="{93B04E16-1FD2-4E9A-AB77-DEFD3B358A7E}"/>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6" name="Flussdiagramm: Alternativer Prozess 2055">
              <a:extLst>
                <a:ext uri="{FF2B5EF4-FFF2-40B4-BE49-F238E27FC236}">
                  <a16:creationId xmlns:a16="http://schemas.microsoft.com/office/drawing/2014/main" id="{4DAA40AD-3243-B476-8F1E-BFF32B1989B8}"/>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7" name="Flussdiagramm: Alternativer Prozess 2056">
              <a:extLst>
                <a:ext uri="{FF2B5EF4-FFF2-40B4-BE49-F238E27FC236}">
                  <a16:creationId xmlns:a16="http://schemas.microsoft.com/office/drawing/2014/main" id="{F0943BAF-39B3-B519-D742-1609A2FF4929}"/>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8" name="Flussdiagramm: Alternativer Prozess 2057">
              <a:extLst>
                <a:ext uri="{FF2B5EF4-FFF2-40B4-BE49-F238E27FC236}">
                  <a16:creationId xmlns:a16="http://schemas.microsoft.com/office/drawing/2014/main" id="{126249FF-A719-C72D-6AAC-28FFFC7C768D}"/>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59" name="Flussdiagramm: Alternativer Prozess 2058">
              <a:extLst>
                <a:ext uri="{FF2B5EF4-FFF2-40B4-BE49-F238E27FC236}">
                  <a16:creationId xmlns:a16="http://schemas.microsoft.com/office/drawing/2014/main" id="{5E65A6F9-0836-68A7-E8DC-E716A0D8F5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0" name="Google Shape;9903;p58">
              <a:extLst>
                <a:ext uri="{FF2B5EF4-FFF2-40B4-BE49-F238E27FC236}">
                  <a16:creationId xmlns:a16="http://schemas.microsoft.com/office/drawing/2014/main" id="{5B3F2714-4562-26F8-6F40-1CB40994E645}"/>
                </a:ext>
              </a:extLst>
            </p:cNvPr>
            <p:cNvGrpSpPr/>
            <p:nvPr/>
          </p:nvGrpSpPr>
          <p:grpSpPr>
            <a:xfrm>
              <a:off x="3969198" y="1151132"/>
              <a:ext cx="372835" cy="342573"/>
              <a:chOff x="1952836" y="2774422"/>
              <a:chExt cx="372835" cy="342573"/>
            </a:xfrm>
            <a:solidFill>
              <a:schemeClr val="bg1"/>
            </a:solidFill>
          </p:grpSpPr>
          <p:sp>
            <p:nvSpPr>
              <p:cNvPr id="2079" name="Google Shape;9904;p58">
                <a:extLst>
                  <a:ext uri="{FF2B5EF4-FFF2-40B4-BE49-F238E27FC236}">
                    <a16:creationId xmlns:a16="http://schemas.microsoft.com/office/drawing/2014/main" id="{853D40FB-F8F6-4E95-0FB4-DB610E4CB453}"/>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05;p58">
                <a:extLst>
                  <a:ext uri="{FF2B5EF4-FFF2-40B4-BE49-F238E27FC236}">
                    <a16:creationId xmlns:a16="http://schemas.microsoft.com/office/drawing/2014/main" id="{0FB4828F-4C94-97C0-6E11-C6E51E933AC4}"/>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9906;p58">
                <a:extLst>
                  <a:ext uri="{FF2B5EF4-FFF2-40B4-BE49-F238E27FC236}">
                    <a16:creationId xmlns:a16="http://schemas.microsoft.com/office/drawing/2014/main" id="{7DB16960-5CC3-9D47-EE92-A03BB354F513}"/>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1" name="Picture 4" descr="Market Basket Analysis">
              <a:extLst>
                <a:ext uri="{FF2B5EF4-FFF2-40B4-BE49-F238E27FC236}">
                  <a16:creationId xmlns:a16="http://schemas.microsoft.com/office/drawing/2014/main" id="{1EE813CD-CDF1-EDCE-6D86-C9C94962ED6C}"/>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sp>
          <p:nvSpPr>
            <p:cNvPr id="2073" name="Google Shape;13598;p64">
              <a:extLst>
                <a:ext uri="{FF2B5EF4-FFF2-40B4-BE49-F238E27FC236}">
                  <a16:creationId xmlns:a16="http://schemas.microsoft.com/office/drawing/2014/main" id="{8EC3D648-CB6A-087C-D0DF-F65937C8C0D6}"/>
                </a:ext>
              </a:extLst>
            </p:cNvPr>
            <p:cNvSpPr/>
            <p:nvPr/>
          </p:nvSpPr>
          <p:spPr>
            <a:xfrm>
              <a:off x="4922277" y="2781221"/>
              <a:ext cx="55843" cy="40496"/>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064" name="Google Shape;13305;p64">
              <a:extLst>
                <a:ext uri="{FF2B5EF4-FFF2-40B4-BE49-F238E27FC236}">
                  <a16:creationId xmlns:a16="http://schemas.microsoft.com/office/drawing/2014/main" id="{A86F53DE-B113-9E31-65ED-25C81F1A5875}"/>
                </a:ext>
              </a:extLst>
            </p:cNvPr>
            <p:cNvGrpSpPr/>
            <p:nvPr/>
          </p:nvGrpSpPr>
          <p:grpSpPr>
            <a:xfrm>
              <a:off x="3951836" y="3310721"/>
              <a:ext cx="431236" cy="384250"/>
              <a:chOff x="1327676" y="2910480"/>
              <a:chExt cx="347934" cy="310024"/>
            </a:xfrm>
            <a:solidFill>
              <a:schemeClr val="bg1"/>
            </a:solidFill>
          </p:grpSpPr>
          <p:sp>
            <p:nvSpPr>
              <p:cNvPr id="2067" name="Google Shape;13306;p64">
                <a:extLst>
                  <a:ext uri="{FF2B5EF4-FFF2-40B4-BE49-F238E27FC236}">
                    <a16:creationId xmlns:a16="http://schemas.microsoft.com/office/drawing/2014/main" id="{3E0882D1-B113-ADFA-2B7D-63279EE937A1}"/>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13307;p64">
                <a:extLst>
                  <a:ext uri="{FF2B5EF4-FFF2-40B4-BE49-F238E27FC236}">
                    <a16:creationId xmlns:a16="http://schemas.microsoft.com/office/drawing/2014/main" id="{15FE5360-C8A9-AFC4-FEB7-E54A948BB404}"/>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13308;p64">
                <a:extLst>
                  <a:ext uri="{FF2B5EF4-FFF2-40B4-BE49-F238E27FC236}">
                    <a16:creationId xmlns:a16="http://schemas.microsoft.com/office/drawing/2014/main" id="{ABE3A775-BD27-6AAD-5F43-45CC3DF7D5AB}"/>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13309;p64">
                <a:extLst>
                  <a:ext uri="{FF2B5EF4-FFF2-40B4-BE49-F238E27FC236}">
                    <a16:creationId xmlns:a16="http://schemas.microsoft.com/office/drawing/2014/main" id="{6D403B79-DB54-B921-A814-6B0750D96BE4}"/>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13310;p64">
                <a:extLst>
                  <a:ext uri="{FF2B5EF4-FFF2-40B4-BE49-F238E27FC236}">
                    <a16:creationId xmlns:a16="http://schemas.microsoft.com/office/drawing/2014/main" id="{46D3A583-4C2A-E61C-0E95-DD3D69C5D1D5}"/>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65" name="Grafik 2064" descr="Money outline">
              <a:extLst>
                <a:ext uri="{FF2B5EF4-FFF2-40B4-BE49-F238E27FC236}">
                  <a16:creationId xmlns:a16="http://schemas.microsoft.com/office/drawing/2014/main" id="{99170FF2-55E4-B343-9BDB-846E967E62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2066" name="Grafik 2065" descr="Mandala outline">
              <a:extLst>
                <a:ext uri="{FF2B5EF4-FFF2-40B4-BE49-F238E27FC236}">
                  <a16:creationId xmlns:a16="http://schemas.microsoft.com/office/drawing/2014/main" id="{D8DFE1C2-8E97-2CF8-BC9E-A11C826E4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pic>
        <p:nvPicPr>
          <p:cNvPr id="5" name="Grafik 4" descr="Teils sonnig mit einfarbiger Füllung">
            <a:extLst>
              <a:ext uri="{FF2B5EF4-FFF2-40B4-BE49-F238E27FC236}">
                <a16:creationId xmlns:a16="http://schemas.microsoft.com/office/drawing/2014/main" id="{6E1D1203-02AD-954A-5FE5-352AFCB0E3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21471" y="2027191"/>
            <a:ext cx="288000" cy="288000"/>
          </a:xfrm>
          <a:prstGeom prst="rect">
            <a:avLst/>
          </a:prstGeom>
        </p:spPr>
      </p:pic>
      <p:pic>
        <p:nvPicPr>
          <p:cNvPr id="7" name="Grafik 6" descr="Tageskalender mit einfarbiger Füllung">
            <a:extLst>
              <a:ext uri="{FF2B5EF4-FFF2-40B4-BE49-F238E27FC236}">
                <a16:creationId xmlns:a16="http://schemas.microsoft.com/office/drawing/2014/main" id="{855F1EA3-A721-2616-1E11-80B506D1DDD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20113" y="2423675"/>
            <a:ext cx="319317" cy="319317"/>
          </a:xfrm>
          <a:prstGeom prst="rect">
            <a:avLst/>
          </a:prstGeom>
        </p:spPr>
      </p:pic>
    </p:spTree>
    <p:extLst>
      <p:ext uri="{BB962C8B-B14F-4D97-AF65-F5344CB8AC3E}">
        <p14:creationId xmlns:p14="http://schemas.microsoft.com/office/powerpoint/2010/main" val="750550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bg>
      <p:bgPr>
        <a:blipFill>
          <a:blip r:embed="rId3">
            <a:alphaModFix/>
          </a:blip>
          <a:stretch>
            <a:fillRect/>
          </a:stretch>
        </a:blipFill>
        <a:effectLst/>
      </p:bgPr>
    </p:bg>
    <p:spTree>
      <p:nvGrpSpPr>
        <p:cNvPr id="1" name="Shape 1067"/>
        <p:cNvGrpSpPr/>
        <p:nvPr/>
      </p:nvGrpSpPr>
      <p:grpSpPr>
        <a:xfrm>
          <a:off x="0" y="0"/>
          <a:ext cx="0" cy="0"/>
          <a:chOff x="0" y="0"/>
          <a:chExt cx="0" cy="0"/>
        </a:xfrm>
      </p:grpSpPr>
      <p:grpSp>
        <p:nvGrpSpPr>
          <p:cNvPr id="1068" name="Google Shape;1068;p36"/>
          <p:cNvGrpSpPr/>
          <p:nvPr/>
        </p:nvGrpSpPr>
        <p:grpSpPr>
          <a:xfrm>
            <a:off x="0" y="2139400"/>
            <a:ext cx="4962900" cy="3012375"/>
            <a:chOff x="0" y="2139400"/>
            <a:chExt cx="4962900" cy="3012375"/>
          </a:xfrm>
        </p:grpSpPr>
        <p:sp>
          <p:nvSpPr>
            <p:cNvPr id="1069" name="Google Shape;1069;p36"/>
            <p:cNvSpPr/>
            <p:nvPr/>
          </p:nvSpPr>
          <p:spPr>
            <a:xfrm>
              <a:off x="0" y="3486775"/>
              <a:ext cx="4038900" cy="16650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36"/>
            <p:cNvSpPr/>
            <p:nvPr/>
          </p:nvSpPr>
          <p:spPr>
            <a:xfrm>
              <a:off x="4038900" y="4219500"/>
              <a:ext cx="924000" cy="924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1" name="Google Shape;1071;p36"/>
            <p:cNvGrpSpPr/>
            <p:nvPr/>
          </p:nvGrpSpPr>
          <p:grpSpPr>
            <a:xfrm>
              <a:off x="0" y="2139400"/>
              <a:ext cx="1351800" cy="1347375"/>
              <a:chOff x="0" y="2139400"/>
              <a:chExt cx="1351800" cy="1347375"/>
            </a:xfrm>
          </p:grpSpPr>
          <p:sp>
            <p:nvSpPr>
              <p:cNvPr id="1072" name="Google Shape;1072;p36"/>
              <p:cNvSpPr/>
              <p:nvPr/>
            </p:nvSpPr>
            <p:spPr>
              <a:xfrm>
                <a:off x="0" y="2562775"/>
                <a:ext cx="924000" cy="924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36"/>
              <p:cNvSpPr/>
              <p:nvPr/>
            </p:nvSpPr>
            <p:spPr>
              <a:xfrm>
                <a:off x="924000" y="2139400"/>
                <a:ext cx="427800" cy="427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074" name="Google Shape;1074;p36"/>
          <p:cNvSpPr txBox="1">
            <a:spLocks noGrp="1"/>
          </p:cNvSpPr>
          <p:nvPr>
            <p:ph type="title"/>
          </p:nvPr>
        </p:nvSpPr>
        <p:spPr>
          <a:xfrm>
            <a:off x="581925" y="3391646"/>
            <a:ext cx="4126500" cy="1321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 Picture Is Worth a Thousand Words</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Shape 1078"/>
        <p:cNvGrpSpPr/>
        <p:nvPr/>
      </p:nvGrpSpPr>
      <p:grpSpPr>
        <a:xfrm>
          <a:off x="0" y="0"/>
          <a:ext cx="0" cy="0"/>
          <a:chOff x="0" y="0"/>
          <a:chExt cx="0" cy="0"/>
        </a:xfrm>
      </p:grpSpPr>
      <p:sp>
        <p:nvSpPr>
          <p:cNvPr id="1079" name="Google Shape;1079;p37"/>
          <p:cNvSpPr txBox="1">
            <a:spLocks noGrp="1"/>
          </p:cNvSpPr>
          <p:nvPr>
            <p:ph type="title"/>
          </p:nvPr>
        </p:nvSpPr>
        <p:spPr>
          <a:xfrm>
            <a:off x="2037000" y="1496400"/>
            <a:ext cx="5070000" cy="215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AWESOME </a:t>
            </a:r>
            <a:r>
              <a:rPr lang="en">
                <a:solidFill>
                  <a:schemeClr val="accent3"/>
                </a:solidFill>
              </a:rPr>
              <a:t>WORDS</a:t>
            </a:r>
            <a:endParaRPr>
              <a:solidFill>
                <a:schemeClr val="accent3"/>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Shape 1083"/>
        <p:cNvGrpSpPr/>
        <p:nvPr/>
      </p:nvGrpSpPr>
      <p:grpSpPr>
        <a:xfrm>
          <a:off x="0" y="0"/>
          <a:ext cx="0" cy="0"/>
          <a:chOff x="0" y="0"/>
          <a:chExt cx="0" cy="0"/>
        </a:xfrm>
      </p:grpSpPr>
      <p:cxnSp>
        <p:nvCxnSpPr>
          <p:cNvPr id="1084" name="Google Shape;1084;p38"/>
          <p:cNvCxnSpPr/>
          <p:nvPr/>
        </p:nvCxnSpPr>
        <p:spPr>
          <a:xfrm>
            <a:off x="15510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5" name="Google Shape;1085;p38"/>
          <p:cNvCxnSpPr/>
          <p:nvPr/>
        </p:nvCxnSpPr>
        <p:spPr>
          <a:xfrm>
            <a:off x="3587838" y="2976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6" name="Google Shape;1086;p38"/>
          <p:cNvCxnSpPr/>
          <p:nvPr/>
        </p:nvCxnSpPr>
        <p:spPr>
          <a:xfrm>
            <a:off x="5624588" y="2404550"/>
            <a:ext cx="0" cy="455100"/>
          </a:xfrm>
          <a:prstGeom prst="straightConnector1">
            <a:avLst/>
          </a:prstGeom>
          <a:noFill/>
          <a:ln w="19050" cap="flat" cmpd="sng">
            <a:solidFill>
              <a:schemeClr val="lt2"/>
            </a:solidFill>
            <a:prstDash val="solid"/>
            <a:round/>
            <a:headEnd type="none" w="med" len="med"/>
            <a:tailEnd type="none" w="med" len="med"/>
          </a:ln>
        </p:spPr>
      </p:cxnSp>
      <p:cxnSp>
        <p:nvCxnSpPr>
          <p:cNvPr id="1087" name="Google Shape;1087;p38"/>
          <p:cNvCxnSpPr/>
          <p:nvPr/>
        </p:nvCxnSpPr>
        <p:spPr>
          <a:xfrm>
            <a:off x="7661338" y="2976550"/>
            <a:ext cx="0" cy="455100"/>
          </a:xfrm>
          <a:prstGeom prst="straightConnector1">
            <a:avLst/>
          </a:prstGeom>
          <a:noFill/>
          <a:ln w="19050" cap="flat" cmpd="sng">
            <a:solidFill>
              <a:schemeClr val="lt2"/>
            </a:solidFill>
            <a:prstDash val="solid"/>
            <a:round/>
            <a:headEnd type="none" w="med" len="med"/>
            <a:tailEnd type="none" w="med" len="med"/>
          </a:ln>
        </p:spPr>
      </p:cxnSp>
      <p:sp>
        <p:nvSpPr>
          <p:cNvPr id="1088" name="Google Shape;1088;p3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OUR PROCESS</a:t>
            </a:r>
            <a:endParaRPr/>
          </a:p>
        </p:txBody>
      </p:sp>
      <p:cxnSp>
        <p:nvCxnSpPr>
          <p:cNvPr id="1089" name="Google Shape;1089;p38"/>
          <p:cNvCxnSpPr/>
          <p:nvPr/>
        </p:nvCxnSpPr>
        <p:spPr>
          <a:xfrm>
            <a:off x="1034400" y="2918100"/>
            <a:ext cx="7075200" cy="0"/>
          </a:xfrm>
          <a:prstGeom prst="straightConnector1">
            <a:avLst/>
          </a:prstGeom>
          <a:noFill/>
          <a:ln w="19050" cap="flat" cmpd="sng">
            <a:solidFill>
              <a:schemeClr val="lt2"/>
            </a:solidFill>
            <a:prstDash val="solid"/>
            <a:round/>
            <a:headEnd type="none" w="med" len="med"/>
            <a:tailEnd type="none" w="med" len="med"/>
          </a:ln>
        </p:spPr>
      </p:cxnSp>
      <p:grpSp>
        <p:nvGrpSpPr>
          <p:cNvPr id="1090" name="Google Shape;1090;p38"/>
          <p:cNvGrpSpPr/>
          <p:nvPr/>
        </p:nvGrpSpPr>
        <p:grpSpPr>
          <a:xfrm>
            <a:off x="1372725" y="2731350"/>
            <a:ext cx="373500" cy="373500"/>
            <a:chOff x="1372725" y="1912500"/>
            <a:chExt cx="373500" cy="373500"/>
          </a:xfrm>
        </p:grpSpPr>
        <p:sp>
          <p:nvSpPr>
            <p:cNvPr id="1091" name="Google Shape;1091;p38"/>
            <p:cNvSpPr/>
            <p:nvPr/>
          </p:nvSpPr>
          <p:spPr>
            <a:xfrm>
              <a:off x="14640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38"/>
            <p:cNvSpPr/>
            <p:nvPr/>
          </p:nvSpPr>
          <p:spPr>
            <a:xfrm>
              <a:off x="1372725" y="1912500"/>
              <a:ext cx="373500" cy="373500"/>
            </a:xfrm>
            <a:prstGeom prst="donut">
              <a:avLst>
                <a:gd name="adj" fmla="val 10193"/>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 name="Google Shape;1093;p38"/>
          <p:cNvGrpSpPr/>
          <p:nvPr/>
        </p:nvGrpSpPr>
        <p:grpSpPr>
          <a:xfrm>
            <a:off x="3401092" y="2731350"/>
            <a:ext cx="373500" cy="373500"/>
            <a:chOff x="3212675" y="1912500"/>
            <a:chExt cx="373500" cy="373500"/>
          </a:xfrm>
        </p:grpSpPr>
        <p:sp>
          <p:nvSpPr>
            <p:cNvPr id="1094" name="Google Shape;1094;p38"/>
            <p:cNvSpPr/>
            <p:nvPr/>
          </p:nvSpPr>
          <p:spPr>
            <a:xfrm>
              <a:off x="330401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38"/>
            <p:cNvSpPr/>
            <p:nvPr/>
          </p:nvSpPr>
          <p:spPr>
            <a:xfrm>
              <a:off x="3212675" y="1912500"/>
              <a:ext cx="373500" cy="373500"/>
            </a:xfrm>
            <a:prstGeom prst="donut">
              <a:avLst>
                <a:gd name="adj" fmla="val 10193"/>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 name="Google Shape;1096;p38"/>
          <p:cNvGrpSpPr/>
          <p:nvPr/>
        </p:nvGrpSpPr>
        <p:grpSpPr>
          <a:xfrm>
            <a:off x="5429458" y="2731350"/>
            <a:ext cx="373500" cy="373500"/>
            <a:chOff x="5557850" y="1912500"/>
            <a:chExt cx="373500" cy="373500"/>
          </a:xfrm>
        </p:grpSpPr>
        <p:sp>
          <p:nvSpPr>
            <p:cNvPr id="1097" name="Google Shape;1097;p38"/>
            <p:cNvSpPr/>
            <p:nvPr/>
          </p:nvSpPr>
          <p:spPr>
            <a:xfrm>
              <a:off x="5649188"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38"/>
            <p:cNvSpPr/>
            <p:nvPr/>
          </p:nvSpPr>
          <p:spPr>
            <a:xfrm>
              <a:off x="5557850" y="1912500"/>
              <a:ext cx="373500" cy="373500"/>
            </a:xfrm>
            <a:prstGeom prst="donut">
              <a:avLst>
                <a:gd name="adj" fmla="val 1019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 name="Google Shape;1099;p38"/>
          <p:cNvGrpSpPr/>
          <p:nvPr/>
        </p:nvGrpSpPr>
        <p:grpSpPr>
          <a:xfrm>
            <a:off x="7457825" y="2731350"/>
            <a:ext cx="373500" cy="373500"/>
            <a:chOff x="7457825" y="1912500"/>
            <a:chExt cx="373500" cy="373500"/>
          </a:xfrm>
        </p:grpSpPr>
        <p:sp>
          <p:nvSpPr>
            <p:cNvPr id="1100" name="Google Shape;1100;p38"/>
            <p:cNvSpPr/>
            <p:nvPr/>
          </p:nvSpPr>
          <p:spPr>
            <a:xfrm>
              <a:off x="7549163" y="2003850"/>
              <a:ext cx="190800" cy="1908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 name="Google Shape;1101;p38"/>
            <p:cNvSpPr/>
            <p:nvPr/>
          </p:nvSpPr>
          <p:spPr>
            <a:xfrm>
              <a:off x="7457825" y="1912500"/>
              <a:ext cx="373500" cy="373500"/>
            </a:xfrm>
            <a:prstGeom prst="donut">
              <a:avLst>
                <a:gd name="adj" fmla="val 10193"/>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2" name="Google Shape;1102;p38"/>
          <p:cNvSpPr txBox="1">
            <a:spLocks noGrp="1"/>
          </p:cNvSpPr>
          <p:nvPr>
            <p:ph type="ctrTitle" idx="4294967295"/>
          </p:nvPr>
        </p:nvSpPr>
        <p:spPr>
          <a:xfrm>
            <a:off x="610450"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MARS</a:t>
            </a:r>
            <a:endParaRPr sz="1800"/>
          </a:p>
        </p:txBody>
      </p:sp>
      <p:sp>
        <p:nvSpPr>
          <p:cNvPr id="1103" name="Google Shape;1103;p38"/>
          <p:cNvSpPr txBox="1">
            <a:spLocks noGrp="1"/>
          </p:cNvSpPr>
          <p:nvPr>
            <p:ph type="subTitle" idx="4294967295"/>
          </p:nvPr>
        </p:nvSpPr>
        <p:spPr>
          <a:xfrm>
            <a:off x="610438" y="1489956"/>
            <a:ext cx="18813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Despite being red, Mars is a cold place</a:t>
            </a:r>
            <a:endParaRPr sz="1400"/>
          </a:p>
        </p:txBody>
      </p:sp>
      <p:sp>
        <p:nvSpPr>
          <p:cNvPr id="1104" name="Google Shape;1104;p38"/>
          <p:cNvSpPr txBox="1">
            <a:spLocks noGrp="1"/>
          </p:cNvSpPr>
          <p:nvPr>
            <p:ph type="ctrTitle" idx="4294967295"/>
          </p:nvPr>
        </p:nvSpPr>
        <p:spPr>
          <a:xfrm>
            <a:off x="672039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NEPTUNE</a:t>
            </a:r>
            <a:endParaRPr sz="1800"/>
          </a:p>
        </p:txBody>
      </p:sp>
      <p:sp>
        <p:nvSpPr>
          <p:cNvPr id="1105" name="Google Shape;1105;p38"/>
          <p:cNvSpPr txBox="1">
            <a:spLocks noGrp="1"/>
          </p:cNvSpPr>
          <p:nvPr>
            <p:ph type="subTitle" idx="4294967295"/>
          </p:nvPr>
        </p:nvSpPr>
        <p:spPr>
          <a:xfrm>
            <a:off x="6720378" y="3660586"/>
            <a:ext cx="18813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farthest planet from the Sun</a:t>
            </a:r>
            <a:endParaRPr sz="1400"/>
          </a:p>
        </p:txBody>
      </p:sp>
      <p:sp>
        <p:nvSpPr>
          <p:cNvPr id="1106" name="Google Shape;1106;p38"/>
          <p:cNvSpPr txBox="1">
            <a:spLocks noGrp="1"/>
          </p:cNvSpPr>
          <p:nvPr>
            <p:ph type="ctrTitle" idx="4294967295"/>
          </p:nvPr>
        </p:nvSpPr>
        <p:spPr>
          <a:xfrm>
            <a:off x="2647200" y="3438422"/>
            <a:ext cx="1881300" cy="4278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1800"/>
              <a:t>JUPITER</a:t>
            </a:r>
            <a:endParaRPr sz="1800"/>
          </a:p>
        </p:txBody>
      </p:sp>
      <p:sp>
        <p:nvSpPr>
          <p:cNvPr id="1107" name="Google Shape;1107;p38"/>
          <p:cNvSpPr txBox="1">
            <a:spLocks noGrp="1"/>
          </p:cNvSpPr>
          <p:nvPr>
            <p:ph type="subTitle" idx="4294967295"/>
          </p:nvPr>
        </p:nvSpPr>
        <p:spPr>
          <a:xfrm>
            <a:off x="2532864" y="3660598"/>
            <a:ext cx="2109900" cy="6447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1600"/>
              </a:spcAft>
              <a:buNone/>
            </a:pPr>
            <a:r>
              <a:rPr lang="en" sz="1400"/>
              <a:t>It’s the biggest planet in the Solar System</a:t>
            </a:r>
            <a:endParaRPr sz="1400"/>
          </a:p>
        </p:txBody>
      </p:sp>
      <p:sp>
        <p:nvSpPr>
          <p:cNvPr id="1108" name="Google Shape;1108;p38"/>
          <p:cNvSpPr txBox="1">
            <a:spLocks noGrp="1"/>
          </p:cNvSpPr>
          <p:nvPr>
            <p:ph type="ctrTitle" idx="4294967295"/>
          </p:nvPr>
        </p:nvSpPr>
        <p:spPr>
          <a:xfrm>
            <a:off x="4683963" y="1977263"/>
            <a:ext cx="1881300" cy="42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800"/>
              <a:t>SATURN</a:t>
            </a:r>
            <a:endParaRPr sz="1800"/>
          </a:p>
        </p:txBody>
      </p:sp>
      <p:sp>
        <p:nvSpPr>
          <p:cNvPr id="1109" name="Google Shape;1109;p38"/>
          <p:cNvSpPr txBox="1">
            <a:spLocks noGrp="1"/>
          </p:cNvSpPr>
          <p:nvPr>
            <p:ph type="subTitle" idx="4294967295"/>
          </p:nvPr>
        </p:nvSpPr>
        <p:spPr>
          <a:xfrm>
            <a:off x="4569650" y="1489967"/>
            <a:ext cx="2109900" cy="644700"/>
          </a:xfrm>
          <a:prstGeom prst="rect">
            <a:avLst/>
          </a:prstGeom>
        </p:spPr>
        <p:txBody>
          <a:bodyPr spcFirstLastPara="1" wrap="square" lIns="91425" tIns="91425" rIns="91425" bIns="91425" anchor="b" anchorCtr="0">
            <a:noAutofit/>
          </a:bodyPr>
          <a:lstStyle/>
          <a:p>
            <a:pPr marL="0" lvl="0" indent="0" algn="ctr" rtl="0">
              <a:lnSpc>
                <a:spcPct val="100000"/>
              </a:lnSpc>
              <a:spcBef>
                <a:spcPts val="0"/>
              </a:spcBef>
              <a:spcAft>
                <a:spcPts val="0"/>
              </a:spcAft>
              <a:buNone/>
            </a:pPr>
            <a:r>
              <a:rPr lang="en" sz="1400"/>
              <a:t>Saturn is composed of hydrogen and helium</a:t>
            </a:r>
            <a:endParaRPr sz="1400"/>
          </a:p>
        </p:txBody>
      </p:sp>
      <p:sp>
        <p:nvSpPr>
          <p:cNvPr id="1110" name="Google Shape;1110;p38"/>
          <p:cNvSpPr txBox="1">
            <a:spLocks noGrp="1"/>
          </p:cNvSpPr>
          <p:nvPr>
            <p:ph type="ctrTitle" idx="4294967295"/>
          </p:nvPr>
        </p:nvSpPr>
        <p:spPr>
          <a:xfrm>
            <a:off x="9079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2"/>
                </a:solidFill>
              </a:rPr>
              <a:t>DAY 01</a:t>
            </a:r>
            <a:endParaRPr sz="2400">
              <a:solidFill>
                <a:schemeClr val="accent2"/>
              </a:solidFill>
            </a:endParaRPr>
          </a:p>
        </p:txBody>
      </p:sp>
      <p:sp>
        <p:nvSpPr>
          <p:cNvPr id="1111" name="Google Shape;1111;p38"/>
          <p:cNvSpPr txBox="1">
            <a:spLocks noGrp="1"/>
          </p:cNvSpPr>
          <p:nvPr>
            <p:ph type="ctrTitle" idx="4294967295"/>
          </p:nvPr>
        </p:nvSpPr>
        <p:spPr>
          <a:xfrm>
            <a:off x="29446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1"/>
                </a:solidFill>
              </a:rPr>
              <a:t>DAY 02</a:t>
            </a:r>
            <a:endParaRPr sz="2400">
              <a:solidFill>
                <a:schemeClr val="accent1"/>
              </a:solidFill>
            </a:endParaRPr>
          </a:p>
        </p:txBody>
      </p:sp>
      <p:sp>
        <p:nvSpPr>
          <p:cNvPr id="1112" name="Google Shape;1112;p38"/>
          <p:cNvSpPr txBox="1">
            <a:spLocks noGrp="1"/>
          </p:cNvSpPr>
          <p:nvPr>
            <p:ph type="ctrTitle" idx="4294967295"/>
          </p:nvPr>
        </p:nvSpPr>
        <p:spPr>
          <a:xfrm>
            <a:off x="4981400" y="3282474"/>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3"/>
                </a:solidFill>
              </a:rPr>
              <a:t>DAY 03</a:t>
            </a:r>
            <a:endParaRPr sz="2400">
              <a:solidFill>
                <a:schemeClr val="accent3"/>
              </a:solidFill>
            </a:endParaRPr>
          </a:p>
        </p:txBody>
      </p:sp>
      <p:sp>
        <p:nvSpPr>
          <p:cNvPr id="1113" name="Google Shape;1113;p38"/>
          <p:cNvSpPr txBox="1">
            <a:spLocks noGrp="1"/>
          </p:cNvSpPr>
          <p:nvPr>
            <p:ph type="ctrTitle" idx="4294967295"/>
          </p:nvPr>
        </p:nvSpPr>
        <p:spPr>
          <a:xfrm>
            <a:off x="7018150" y="2113408"/>
            <a:ext cx="1286400" cy="427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400">
                <a:solidFill>
                  <a:schemeClr val="accent4"/>
                </a:solidFill>
              </a:rPr>
              <a:t>DAY 04</a:t>
            </a:r>
            <a:endParaRPr sz="2400">
              <a:solidFill>
                <a:schemeClr val="accent4"/>
              </a:solidFill>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Shape 1117"/>
        <p:cNvGrpSpPr/>
        <p:nvPr/>
      </p:nvGrpSpPr>
      <p:grpSpPr>
        <a:xfrm>
          <a:off x="0" y="0"/>
          <a:ext cx="0" cy="0"/>
          <a:chOff x="0" y="0"/>
          <a:chExt cx="0" cy="0"/>
        </a:xfrm>
      </p:grpSpPr>
      <p:pic>
        <p:nvPicPr>
          <p:cNvPr id="1118" name="Google Shape;1118;p39"/>
          <p:cNvPicPr preferRelativeResize="0"/>
          <p:nvPr/>
        </p:nvPicPr>
        <p:blipFill rotWithShape="1">
          <a:blip r:embed="rId3">
            <a:alphaModFix/>
          </a:blip>
          <a:srcRect l="37085" t="8631" r="3972" b="32447"/>
          <a:stretch/>
        </p:blipFill>
        <p:spPr>
          <a:xfrm>
            <a:off x="4545800" y="2883100"/>
            <a:ext cx="2546500" cy="1431900"/>
          </a:xfrm>
          <a:prstGeom prst="rect">
            <a:avLst/>
          </a:prstGeom>
          <a:noFill/>
          <a:ln>
            <a:noFill/>
          </a:ln>
        </p:spPr>
      </p:pic>
      <p:pic>
        <p:nvPicPr>
          <p:cNvPr id="1119" name="Google Shape;1119;p39"/>
          <p:cNvPicPr preferRelativeResize="0"/>
          <p:nvPr/>
        </p:nvPicPr>
        <p:blipFill rotWithShape="1">
          <a:blip r:embed="rId4">
            <a:alphaModFix/>
          </a:blip>
          <a:srcRect l="8853" t="11226" r="15216" b="23880"/>
          <a:stretch/>
        </p:blipFill>
        <p:spPr>
          <a:xfrm>
            <a:off x="2035300" y="1451200"/>
            <a:ext cx="2510395" cy="1431897"/>
          </a:xfrm>
          <a:prstGeom prst="rect">
            <a:avLst/>
          </a:prstGeom>
          <a:noFill/>
          <a:ln>
            <a:noFill/>
          </a:ln>
        </p:spPr>
      </p:pic>
      <p:sp>
        <p:nvSpPr>
          <p:cNvPr id="1120" name="Google Shape;1120;p39"/>
          <p:cNvSpPr/>
          <p:nvPr/>
        </p:nvSpPr>
        <p:spPr>
          <a:xfrm>
            <a:off x="4545850" y="2883100"/>
            <a:ext cx="2546400" cy="1431900"/>
          </a:xfrm>
          <a:prstGeom prst="rect">
            <a:avLst/>
          </a:prstGeom>
          <a:solidFill>
            <a:srgbClr val="FF9973">
              <a:alpha val="460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39"/>
          <p:cNvSpPr/>
          <p:nvPr/>
        </p:nvSpPr>
        <p:spPr>
          <a:xfrm>
            <a:off x="2035300" y="1451200"/>
            <a:ext cx="2510400" cy="1431900"/>
          </a:xfrm>
          <a:prstGeom prst="rect">
            <a:avLst/>
          </a:prstGeom>
          <a:solidFill>
            <a:srgbClr val="00CFCC">
              <a:alpha val="353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39"/>
          <p:cNvSpPr txBox="1">
            <a:spLocks noGrp="1"/>
          </p:cNvSpPr>
          <p:nvPr>
            <p:ph type="ctrTitle" idx="4"/>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CONSULTANTS</a:t>
            </a:r>
            <a:endParaRPr sz="3000"/>
          </a:p>
        </p:txBody>
      </p:sp>
      <p:sp>
        <p:nvSpPr>
          <p:cNvPr id="1123" name="Google Shape;1123;p39"/>
          <p:cNvSpPr txBox="1">
            <a:spLocks noGrp="1"/>
          </p:cNvSpPr>
          <p:nvPr>
            <p:ph type="ctrTitle"/>
          </p:nvPr>
        </p:nvSpPr>
        <p:spPr>
          <a:xfrm>
            <a:off x="4696481" y="1365079"/>
            <a:ext cx="26556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HELENA PATTERSON</a:t>
            </a:r>
            <a:endParaRPr/>
          </a:p>
        </p:txBody>
      </p:sp>
      <p:sp>
        <p:nvSpPr>
          <p:cNvPr id="1124" name="Google Shape;1124;p39"/>
          <p:cNvSpPr txBox="1">
            <a:spLocks noGrp="1"/>
          </p:cNvSpPr>
          <p:nvPr>
            <p:ph type="subTitle" idx="1"/>
          </p:nvPr>
        </p:nvSpPr>
        <p:spPr>
          <a:xfrm>
            <a:off x="4696481" y="1835141"/>
            <a:ext cx="3039300" cy="938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You can replace the image on the screen with your own</a:t>
            </a:r>
            <a:endParaRPr/>
          </a:p>
        </p:txBody>
      </p:sp>
      <p:sp>
        <p:nvSpPr>
          <p:cNvPr id="1125" name="Google Shape;1125;p39"/>
          <p:cNvSpPr txBox="1">
            <a:spLocks noGrp="1"/>
          </p:cNvSpPr>
          <p:nvPr>
            <p:ph type="ctrTitle" idx="2"/>
          </p:nvPr>
        </p:nvSpPr>
        <p:spPr>
          <a:xfrm>
            <a:off x="1900150" y="3127942"/>
            <a:ext cx="24729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JANE DOE</a:t>
            </a:r>
            <a:endParaRPr/>
          </a:p>
        </p:txBody>
      </p:sp>
      <p:sp>
        <p:nvSpPr>
          <p:cNvPr id="1126" name="Google Shape;1126;p39"/>
          <p:cNvSpPr txBox="1">
            <a:spLocks noGrp="1"/>
          </p:cNvSpPr>
          <p:nvPr>
            <p:ph type="subTitle" idx="3"/>
          </p:nvPr>
        </p:nvSpPr>
        <p:spPr>
          <a:xfrm>
            <a:off x="1333875" y="3598390"/>
            <a:ext cx="3039300" cy="11793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You can replace the image on the screen with your own</a:t>
            </a:r>
            <a:endParaRPr/>
          </a:p>
        </p:txBody>
      </p:sp>
      <p:sp>
        <p:nvSpPr>
          <p:cNvPr id="1127" name="Google Shape;1127;p39"/>
          <p:cNvSpPr/>
          <p:nvPr/>
        </p:nvSpPr>
        <p:spPr>
          <a:xfrm>
            <a:off x="1783325" y="1199225"/>
            <a:ext cx="252000" cy="252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39"/>
          <p:cNvSpPr/>
          <p:nvPr/>
        </p:nvSpPr>
        <p:spPr>
          <a:xfrm>
            <a:off x="7092250" y="3891700"/>
            <a:ext cx="423300" cy="4233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1132"/>
        <p:cNvGrpSpPr/>
        <p:nvPr/>
      </p:nvGrpSpPr>
      <p:grpSpPr>
        <a:xfrm>
          <a:off x="0" y="0"/>
          <a:ext cx="0" cy="0"/>
          <a:chOff x="0" y="0"/>
          <a:chExt cx="0" cy="0"/>
        </a:xfrm>
      </p:grpSpPr>
      <p:sp>
        <p:nvSpPr>
          <p:cNvPr id="1133" name="Google Shape;1133;p40"/>
          <p:cNvSpPr txBox="1">
            <a:spLocks noGrp="1"/>
          </p:cNvSpPr>
          <p:nvPr>
            <p:ph type="ctrTitle"/>
          </p:nvPr>
        </p:nvSpPr>
        <p:spPr>
          <a:xfrm>
            <a:off x="3044100" y="3247750"/>
            <a:ext cx="3055800" cy="547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OMEONE FAMOUS</a:t>
            </a:r>
            <a:endParaRPr/>
          </a:p>
        </p:txBody>
      </p:sp>
      <p:sp>
        <p:nvSpPr>
          <p:cNvPr id="1134" name="Google Shape;1134;p40"/>
          <p:cNvSpPr txBox="1">
            <a:spLocks noGrp="1"/>
          </p:cNvSpPr>
          <p:nvPr>
            <p:ph type="subTitle" idx="1"/>
          </p:nvPr>
        </p:nvSpPr>
        <p:spPr>
          <a:xfrm>
            <a:off x="2333000" y="1423125"/>
            <a:ext cx="4478100" cy="1701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2400"/>
              <a:t>“This is a quote. Words full of wisdom that someone important said and can make the reader get inspired.”</a:t>
            </a:r>
            <a:endParaRPr sz="240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Shape 1138"/>
        <p:cNvGrpSpPr/>
        <p:nvPr/>
      </p:nvGrpSpPr>
      <p:grpSpPr>
        <a:xfrm>
          <a:off x="0" y="0"/>
          <a:ext cx="0" cy="0"/>
          <a:chOff x="0" y="0"/>
          <a:chExt cx="0" cy="0"/>
        </a:xfrm>
      </p:grpSpPr>
      <p:sp>
        <p:nvSpPr>
          <p:cNvPr id="1139" name="Google Shape;1139;p41"/>
          <p:cNvSpPr txBox="1">
            <a:spLocks noGrp="1"/>
          </p:cNvSpPr>
          <p:nvPr>
            <p:ph type="ctrTitle" idx="8"/>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3000"/>
              <a:t>OUR PARTNERS</a:t>
            </a:r>
            <a:endParaRPr sz="3000"/>
          </a:p>
        </p:txBody>
      </p:sp>
      <p:sp>
        <p:nvSpPr>
          <p:cNvPr id="1140" name="Google Shape;1140;p41"/>
          <p:cNvSpPr txBox="1">
            <a:spLocks noGrp="1"/>
          </p:cNvSpPr>
          <p:nvPr>
            <p:ph type="ctrTitle"/>
          </p:nvPr>
        </p:nvSpPr>
        <p:spPr>
          <a:xfrm>
            <a:off x="915161" y="2299544"/>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VENUS</a:t>
            </a:r>
            <a:endParaRPr/>
          </a:p>
        </p:txBody>
      </p:sp>
      <p:sp>
        <p:nvSpPr>
          <p:cNvPr id="1141" name="Google Shape;1141;p41"/>
          <p:cNvSpPr txBox="1">
            <a:spLocks noGrp="1"/>
          </p:cNvSpPr>
          <p:nvPr>
            <p:ph type="subTitle" idx="1"/>
          </p:nvPr>
        </p:nvSpPr>
        <p:spPr>
          <a:xfrm>
            <a:off x="879139" y="1777397"/>
            <a:ext cx="1917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Venus has an extremely poisonous atmosphere</a:t>
            </a:r>
            <a:endParaRPr/>
          </a:p>
        </p:txBody>
      </p:sp>
      <p:sp>
        <p:nvSpPr>
          <p:cNvPr id="1142" name="Google Shape;1142;p41"/>
          <p:cNvSpPr txBox="1">
            <a:spLocks noGrp="1"/>
          </p:cNvSpPr>
          <p:nvPr>
            <p:ph type="subTitle" idx="3"/>
          </p:nvPr>
        </p:nvSpPr>
        <p:spPr>
          <a:xfrm>
            <a:off x="6345518" y="1777397"/>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Despite being red, Mars is actually a cold place</a:t>
            </a:r>
            <a:endParaRPr/>
          </a:p>
        </p:txBody>
      </p:sp>
      <p:sp>
        <p:nvSpPr>
          <p:cNvPr id="1143" name="Google Shape;1143;p41"/>
          <p:cNvSpPr txBox="1">
            <a:spLocks noGrp="1"/>
          </p:cNvSpPr>
          <p:nvPr>
            <p:ph type="ctrTitle" idx="2"/>
          </p:nvPr>
        </p:nvSpPr>
        <p:spPr>
          <a:xfrm>
            <a:off x="6345518" y="2299544"/>
            <a:ext cx="18813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ARS</a:t>
            </a:r>
            <a:endParaRPr/>
          </a:p>
        </p:txBody>
      </p:sp>
      <p:sp>
        <p:nvSpPr>
          <p:cNvPr id="1144" name="Google Shape;1144;p41"/>
          <p:cNvSpPr txBox="1">
            <a:spLocks noGrp="1"/>
          </p:cNvSpPr>
          <p:nvPr>
            <p:ph type="ctrTitle" idx="4"/>
          </p:nvPr>
        </p:nvSpPr>
        <p:spPr>
          <a:xfrm>
            <a:off x="915161" y="2861525"/>
            <a:ext cx="1881300" cy="6447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a:t>SATURN</a:t>
            </a:r>
            <a:endParaRPr/>
          </a:p>
        </p:txBody>
      </p:sp>
      <p:sp>
        <p:nvSpPr>
          <p:cNvPr id="1145" name="Google Shape;1145;p41"/>
          <p:cNvSpPr txBox="1">
            <a:spLocks noGrp="1"/>
          </p:cNvSpPr>
          <p:nvPr>
            <p:ph type="subTitle" idx="5"/>
          </p:nvPr>
        </p:nvSpPr>
        <p:spPr>
          <a:xfrm>
            <a:off x="915161" y="3353275"/>
            <a:ext cx="1881300" cy="6447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en"/>
              <a:t>Saturn is composed mostly of hydrogen and helium</a:t>
            </a:r>
            <a:endParaRPr/>
          </a:p>
        </p:txBody>
      </p:sp>
      <p:sp>
        <p:nvSpPr>
          <p:cNvPr id="1146" name="Google Shape;1146;p41"/>
          <p:cNvSpPr txBox="1">
            <a:spLocks noGrp="1"/>
          </p:cNvSpPr>
          <p:nvPr>
            <p:ph type="ctrTitle" idx="6"/>
          </p:nvPr>
        </p:nvSpPr>
        <p:spPr>
          <a:xfrm>
            <a:off x="6345518" y="2861525"/>
            <a:ext cx="1881300" cy="644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MERCURY</a:t>
            </a:r>
            <a:endParaRPr/>
          </a:p>
        </p:txBody>
      </p:sp>
      <p:sp>
        <p:nvSpPr>
          <p:cNvPr id="1147" name="Google Shape;1147;p41"/>
          <p:cNvSpPr txBox="1">
            <a:spLocks noGrp="1"/>
          </p:cNvSpPr>
          <p:nvPr>
            <p:ph type="subTitle" idx="7"/>
          </p:nvPr>
        </p:nvSpPr>
        <p:spPr>
          <a:xfrm>
            <a:off x="6345518" y="3353275"/>
            <a:ext cx="1656600" cy="644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Mercury is the closest planet to the Sun</a:t>
            </a:r>
            <a:endParaRPr/>
          </a:p>
        </p:txBody>
      </p:sp>
      <p:sp>
        <p:nvSpPr>
          <p:cNvPr id="1148" name="Google Shape;1148;p41"/>
          <p:cNvSpPr/>
          <p:nvPr/>
        </p:nvSpPr>
        <p:spPr>
          <a:xfrm>
            <a:off x="3174876" y="1346300"/>
            <a:ext cx="2794205" cy="2794153"/>
          </a:xfrm>
          <a:custGeom>
            <a:avLst/>
            <a:gdLst/>
            <a:ahLst/>
            <a:cxnLst/>
            <a:rect l="l" t="t" r="r" b="b"/>
            <a:pathLst>
              <a:path w="53593" h="53592" extrusionOk="0">
                <a:moveTo>
                  <a:pt x="26790" y="454"/>
                </a:moveTo>
                <a:cubicBezTo>
                  <a:pt x="41319" y="454"/>
                  <a:pt x="53139" y="12273"/>
                  <a:pt x="53139" y="26789"/>
                </a:cubicBezTo>
                <a:cubicBezTo>
                  <a:pt x="53139" y="41318"/>
                  <a:pt x="41319" y="53138"/>
                  <a:pt x="26790" y="53138"/>
                </a:cubicBezTo>
                <a:cubicBezTo>
                  <a:pt x="12274" y="53138"/>
                  <a:pt x="454" y="41318"/>
                  <a:pt x="454" y="26789"/>
                </a:cubicBezTo>
                <a:cubicBezTo>
                  <a:pt x="454" y="12273"/>
                  <a:pt x="12274" y="454"/>
                  <a:pt x="26790" y="454"/>
                </a:cubicBezTo>
                <a:close/>
                <a:moveTo>
                  <a:pt x="26790" y="0"/>
                </a:moveTo>
                <a:cubicBezTo>
                  <a:pt x="12022" y="0"/>
                  <a:pt x="1" y="12021"/>
                  <a:pt x="1" y="26789"/>
                </a:cubicBezTo>
                <a:cubicBezTo>
                  <a:pt x="1" y="41570"/>
                  <a:pt x="12022" y="53591"/>
                  <a:pt x="26790" y="53591"/>
                </a:cubicBezTo>
                <a:cubicBezTo>
                  <a:pt x="41571" y="53591"/>
                  <a:pt x="53592" y="41570"/>
                  <a:pt x="53592" y="26789"/>
                </a:cubicBezTo>
                <a:cubicBezTo>
                  <a:pt x="53592" y="12021"/>
                  <a:pt x="41571" y="0"/>
                  <a:pt x="267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41"/>
          <p:cNvSpPr/>
          <p:nvPr/>
        </p:nvSpPr>
        <p:spPr>
          <a:xfrm>
            <a:off x="3363449" y="1535500"/>
            <a:ext cx="2417042" cy="2416417"/>
          </a:xfrm>
          <a:custGeom>
            <a:avLst/>
            <a:gdLst/>
            <a:ahLst/>
            <a:cxnLst/>
            <a:rect l="l" t="t" r="r" b="b"/>
            <a:pathLst>
              <a:path w="46359" h="46347" extrusionOk="0">
                <a:moveTo>
                  <a:pt x="23173" y="441"/>
                </a:moveTo>
                <a:cubicBezTo>
                  <a:pt x="35711" y="441"/>
                  <a:pt x="45905" y="10635"/>
                  <a:pt x="45905" y="23160"/>
                </a:cubicBezTo>
                <a:cubicBezTo>
                  <a:pt x="45905" y="35698"/>
                  <a:pt x="35711" y="45892"/>
                  <a:pt x="23186" y="45892"/>
                </a:cubicBezTo>
                <a:cubicBezTo>
                  <a:pt x="10661" y="45892"/>
                  <a:pt x="466" y="35698"/>
                  <a:pt x="466" y="23160"/>
                </a:cubicBezTo>
                <a:cubicBezTo>
                  <a:pt x="466" y="10635"/>
                  <a:pt x="10648" y="441"/>
                  <a:pt x="23173" y="441"/>
                </a:cubicBezTo>
                <a:close/>
                <a:moveTo>
                  <a:pt x="23173" y="0"/>
                </a:moveTo>
                <a:cubicBezTo>
                  <a:pt x="10396" y="0"/>
                  <a:pt x="0" y="10383"/>
                  <a:pt x="0" y="23160"/>
                </a:cubicBezTo>
                <a:cubicBezTo>
                  <a:pt x="0" y="35950"/>
                  <a:pt x="10396" y="46346"/>
                  <a:pt x="23173" y="46346"/>
                </a:cubicBezTo>
                <a:cubicBezTo>
                  <a:pt x="35963" y="46346"/>
                  <a:pt x="46359" y="35938"/>
                  <a:pt x="46359" y="23160"/>
                </a:cubicBezTo>
                <a:cubicBezTo>
                  <a:pt x="46359" y="10396"/>
                  <a:pt x="35963" y="0"/>
                  <a:pt x="2317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41"/>
          <p:cNvSpPr/>
          <p:nvPr/>
        </p:nvSpPr>
        <p:spPr>
          <a:xfrm>
            <a:off x="3471839" y="1723396"/>
            <a:ext cx="2120119" cy="2039932"/>
          </a:xfrm>
          <a:custGeom>
            <a:avLst/>
            <a:gdLst/>
            <a:ahLst/>
            <a:cxnLst/>
            <a:rect l="l" t="t" r="r" b="b"/>
            <a:pathLst>
              <a:path w="40664" h="39126" extrusionOk="0">
                <a:moveTo>
                  <a:pt x="21094" y="454"/>
                </a:moveTo>
                <a:cubicBezTo>
                  <a:pt x="31641" y="466"/>
                  <a:pt x="40197" y="9010"/>
                  <a:pt x="40210" y="19556"/>
                </a:cubicBezTo>
                <a:cubicBezTo>
                  <a:pt x="40210" y="27293"/>
                  <a:pt x="35547" y="34262"/>
                  <a:pt x="28415" y="37210"/>
                </a:cubicBezTo>
                <a:cubicBezTo>
                  <a:pt x="26049" y="38191"/>
                  <a:pt x="23565" y="38667"/>
                  <a:pt x="21102" y="38667"/>
                </a:cubicBezTo>
                <a:cubicBezTo>
                  <a:pt x="16129" y="38667"/>
                  <a:pt x="11243" y="36726"/>
                  <a:pt x="7586" y="33077"/>
                </a:cubicBezTo>
                <a:cubicBezTo>
                  <a:pt x="2130" y="27608"/>
                  <a:pt x="492" y="19393"/>
                  <a:pt x="3440" y="12248"/>
                </a:cubicBezTo>
                <a:cubicBezTo>
                  <a:pt x="6402" y="5116"/>
                  <a:pt x="13370" y="454"/>
                  <a:pt x="21094" y="454"/>
                </a:cubicBezTo>
                <a:close/>
                <a:moveTo>
                  <a:pt x="21107" y="0"/>
                </a:moveTo>
                <a:cubicBezTo>
                  <a:pt x="16017" y="0"/>
                  <a:pt x="11015" y="1989"/>
                  <a:pt x="7271" y="5733"/>
                </a:cubicBezTo>
                <a:cubicBezTo>
                  <a:pt x="1676" y="11328"/>
                  <a:pt x="0" y="19733"/>
                  <a:pt x="3025" y="27041"/>
                </a:cubicBezTo>
                <a:cubicBezTo>
                  <a:pt x="6049" y="34362"/>
                  <a:pt x="13181" y="39126"/>
                  <a:pt x="21094" y="39126"/>
                </a:cubicBezTo>
                <a:cubicBezTo>
                  <a:pt x="31893" y="39113"/>
                  <a:pt x="40651" y="30355"/>
                  <a:pt x="40663" y="19556"/>
                </a:cubicBezTo>
                <a:cubicBezTo>
                  <a:pt x="40663" y="11643"/>
                  <a:pt x="35888" y="4511"/>
                  <a:pt x="28579" y="1487"/>
                </a:cubicBezTo>
                <a:cubicBezTo>
                  <a:pt x="26161" y="486"/>
                  <a:pt x="23624" y="0"/>
                  <a:pt x="211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41"/>
          <p:cNvSpPr/>
          <p:nvPr/>
        </p:nvSpPr>
        <p:spPr>
          <a:xfrm>
            <a:off x="3674854" y="1911761"/>
            <a:ext cx="1728515" cy="1663030"/>
          </a:xfrm>
          <a:custGeom>
            <a:avLst/>
            <a:gdLst/>
            <a:ahLst/>
            <a:cxnLst/>
            <a:rect l="l" t="t" r="r" b="b"/>
            <a:pathLst>
              <a:path w="33153" h="31897" extrusionOk="0">
                <a:moveTo>
                  <a:pt x="17200" y="457"/>
                </a:moveTo>
                <a:cubicBezTo>
                  <a:pt x="25756" y="470"/>
                  <a:pt x="32687" y="7400"/>
                  <a:pt x="32699" y="15943"/>
                </a:cubicBezTo>
                <a:cubicBezTo>
                  <a:pt x="32699" y="22219"/>
                  <a:pt x="28919" y="27864"/>
                  <a:pt x="23135" y="30258"/>
                </a:cubicBezTo>
                <a:cubicBezTo>
                  <a:pt x="21216" y="31055"/>
                  <a:pt x="19202" y="31442"/>
                  <a:pt x="17207" y="31442"/>
                </a:cubicBezTo>
                <a:cubicBezTo>
                  <a:pt x="13176" y="31442"/>
                  <a:pt x="9217" y="29864"/>
                  <a:pt x="6250" y="26906"/>
                </a:cubicBezTo>
                <a:cubicBezTo>
                  <a:pt x="1815" y="22471"/>
                  <a:pt x="491" y="15805"/>
                  <a:pt x="2886" y="10021"/>
                </a:cubicBezTo>
                <a:cubicBezTo>
                  <a:pt x="5292" y="4225"/>
                  <a:pt x="10938" y="457"/>
                  <a:pt x="17200" y="457"/>
                </a:cubicBezTo>
                <a:close/>
                <a:moveTo>
                  <a:pt x="17222" y="0"/>
                </a:moveTo>
                <a:cubicBezTo>
                  <a:pt x="13069" y="0"/>
                  <a:pt x="8988" y="1625"/>
                  <a:pt x="5935" y="4678"/>
                </a:cubicBezTo>
                <a:cubicBezTo>
                  <a:pt x="1374" y="9227"/>
                  <a:pt x="0" y="16095"/>
                  <a:pt x="2470" y="22055"/>
                </a:cubicBezTo>
                <a:cubicBezTo>
                  <a:pt x="4940" y="28002"/>
                  <a:pt x="10749" y="31896"/>
                  <a:pt x="17200" y="31896"/>
                </a:cubicBezTo>
                <a:cubicBezTo>
                  <a:pt x="26008" y="31884"/>
                  <a:pt x="33140" y="24751"/>
                  <a:pt x="33153" y="15943"/>
                </a:cubicBezTo>
                <a:cubicBezTo>
                  <a:pt x="33153" y="9504"/>
                  <a:pt x="29272" y="3683"/>
                  <a:pt x="23312" y="1213"/>
                </a:cubicBezTo>
                <a:cubicBezTo>
                  <a:pt x="21341" y="396"/>
                  <a:pt x="19273" y="0"/>
                  <a:pt x="1722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41"/>
          <p:cNvSpPr/>
          <p:nvPr/>
        </p:nvSpPr>
        <p:spPr>
          <a:xfrm rot="-8999970">
            <a:off x="3174921" y="1347034"/>
            <a:ext cx="2794158" cy="2793489"/>
          </a:xfrm>
          <a:prstGeom prst="blockArc">
            <a:avLst>
              <a:gd name="adj1" fmla="val 15791057"/>
              <a:gd name="adj2" fmla="val 10360267"/>
              <a:gd name="adj3" fmla="val 865"/>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41"/>
          <p:cNvSpPr/>
          <p:nvPr/>
        </p:nvSpPr>
        <p:spPr>
          <a:xfrm>
            <a:off x="3363451" y="1535447"/>
            <a:ext cx="2417100" cy="2416500"/>
          </a:xfrm>
          <a:prstGeom prst="blockArc">
            <a:avLst>
              <a:gd name="adj1" fmla="val 18313733"/>
              <a:gd name="adj2" fmla="val 10538502"/>
              <a:gd name="adj3" fmla="val 1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41"/>
          <p:cNvSpPr/>
          <p:nvPr/>
        </p:nvSpPr>
        <p:spPr>
          <a:xfrm rot="4870002">
            <a:off x="3552388" y="1724236"/>
            <a:ext cx="2039591" cy="2038998"/>
          </a:xfrm>
          <a:prstGeom prst="blockArc">
            <a:avLst>
              <a:gd name="adj1" fmla="val 2412399"/>
              <a:gd name="adj2" fmla="val 10510293"/>
              <a:gd name="adj3" fmla="val 1218"/>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41"/>
          <p:cNvSpPr/>
          <p:nvPr/>
        </p:nvSpPr>
        <p:spPr>
          <a:xfrm rot="788870">
            <a:off x="3743754" y="1915710"/>
            <a:ext cx="1656523" cy="1655871"/>
          </a:xfrm>
          <a:prstGeom prst="blockArc">
            <a:avLst>
              <a:gd name="adj1" fmla="val 19721094"/>
              <a:gd name="adj2" fmla="val 10510293"/>
              <a:gd name="adj3" fmla="val 1218"/>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56" name="Google Shape;1156;p41"/>
          <p:cNvCxnSpPr/>
          <p:nvPr/>
        </p:nvCxnSpPr>
        <p:spPr>
          <a:xfrm>
            <a:off x="2068344" y="2735750"/>
            <a:ext cx="1716900" cy="0"/>
          </a:xfrm>
          <a:prstGeom prst="straightConnector1">
            <a:avLst/>
          </a:prstGeom>
          <a:noFill/>
          <a:ln w="19050" cap="flat" cmpd="sng">
            <a:solidFill>
              <a:schemeClr val="accent2"/>
            </a:solidFill>
            <a:prstDash val="solid"/>
            <a:round/>
            <a:headEnd type="none" w="med" len="med"/>
            <a:tailEnd type="oval" w="med" len="med"/>
          </a:ln>
        </p:spPr>
      </p:cxnSp>
      <p:cxnSp>
        <p:nvCxnSpPr>
          <p:cNvPr id="1157" name="Google Shape;1157;p41"/>
          <p:cNvCxnSpPr/>
          <p:nvPr/>
        </p:nvCxnSpPr>
        <p:spPr>
          <a:xfrm>
            <a:off x="2068344" y="3062800"/>
            <a:ext cx="1577400" cy="0"/>
          </a:xfrm>
          <a:prstGeom prst="straightConnector1">
            <a:avLst/>
          </a:prstGeom>
          <a:noFill/>
          <a:ln w="19050" cap="flat" cmpd="sng">
            <a:solidFill>
              <a:schemeClr val="accent4"/>
            </a:solidFill>
            <a:prstDash val="solid"/>
            <a:round/>
            <a:headEnd type="none" w="med" len="med"/>
            <a:tailEnd type="oval" w="med" len="med"/>
          </a:ln>
        </p:spPr>
      </p:cxnSp>
      <p:cxnSp>
        <p:nvCxnSpPr>
          <p:cNvPr id="1158" name="Google Shape;1158;p41"/>
          <p:cNvCxnSpPr/>
          <p:nvPr/>
        </p:nvCxnSpPr>
        <p:spPr>
          <a:xfrm rot="10800000">
            <a:off x="5715844" y="2735750"/>
            <a:ext cx="1310100" cy="0"/>
          </a:xfrm>
          <a:prstGeom prst="straightConnector1">
            <a:avLst/>
          </a:prstGeom>
          <a:noFill/>
          <a:ln w="19050" cap="flat" cmpd="sng">
            <a:solidFill>
              <a:schemeClr val="accent3"/>
            </a:solidFill>
            <a:prstDash val="solid"/>
            <a:round/>
            <a:headEnd type="none" w="med" len="med"/>
            <a:tailEnd type="oval" w="med" len="med"/>
          </a:ln>
        </p:spPr>
      </p:cxnSp>
      <p:cxnSp>
        <p:nvCxnSpPr>
          <p:cNvPr id="1159" name="Google Shape;1159;p41"/>
          <p:cNvCxnSpPr/>
          <p:nvPr/>
        </p:nvCxnSpPr>
        <p:spPr>
          <a:xfrm rot="10800000">
            <a:off x="5878144" y="3062800"/>
            <a:ext cx="1147800" cy="0"/>
          </a:xfrm>
          <a:prstGeom prst="straightConnector1">
            <a:avLst/>
          </a:prstGeom>
          <a:noFill/>
          <a:ln w="19050" cap="flat" cmpd="sng">
            <a:solidFill>
              <a:schemeClr val="accent1"/>
            </a:solidFill>
            <a:prstDash val="solid"/>
            <a:round/>
            <a:headEnd type="none" w="med" len="med"/>
            <a:tailEnd type="oval" w="med" len="med"/>
          </a:ln>
        </p:spPr>
      </p:cxn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Shape 1163"/>
        <p:cNvGrpSpPr/>
        <p:nvPr/>
      </p:nvGrpSpPr>
      <p:grpSpPr>
        <a:xfrm>
          <a:off x="0" y="0"/>
          <a:ext cx="0" cy="0"/>
          <a:chOff x="0" y="0"/>
          <a:chExt cx="0" cy="0"/>
        </a:xfrm>
      </p:grpSpPr>
      <p:sp>
        <p:nvSpPr>
          <p:cNvPr id="1164" name="Google Shape;1164;p42"/>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TESTIMONIALS</a:t>
            </a:r>
            <a:endParaRPr/>
          </a:p>
        </p:txBody>
      </p:sp>
      <p:sp>
        <p:nvSpPr>
          <p:cNvPr id="1165" name="Google Shape;1165;p42"/>
          <p:cNvSpPr txBox="1">
            <a:spLocks noGrp="1"/>
          </p:cNvSpPr>
          <p:nvPr>
            <p:ph type="ctrTitle" idx="2"/>
          </p:nvPr>
        </p:nvSpPr>
        <p:spPr>
          <a:xfrm>
            <a:off x="3628263"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ALIYA FARLEY</a:t>
            </a:r>
            <a:endParaRPr/>
          </a:p>
        </p:txBody>
      </p:sp>
      <p:sp>
        <p:nvSpPr>
          <p:cNvPr id="1166" name="Google Shape;1166;p42"/>
          <p:cNvSpPr txBox="1">
            <a:spLocks noGrp="1"/>
          </p:cNvSpPr>
          <p:nvPr>
            <p:ph type="ctrTitle"/>
          </p:nvPr>
        </p:nvSpPr>
        <p:spPr>
          <a:xfrm>
            <a:off x="892925"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YAN DIXON</a:t>
            </a:r>
            <a:endParaRPr/>
          </a:p>
        </p:txBody>
      </p:sp>
      <p:sp>
        <p:nvSpPr>
          <p:cNvPr id="1167" name="Google Shape;1167;p42"/>
          <p:cNvSpPr txBox="1">
            <a:spLocks noGrp="1"/>
          </p:cNvSpPr>
          <p:nvPr>
            <p:ph type="subTitle" idx="1"/>
          </p:nvPr>
        </p:nvSpPr>
        <p:spPr>
          <a:xfrm>
            <a:off x="733325" y="16437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Mercury is the closest planet to the Sun and the smallest of them all”</a:t>
            </a:r>
            <a:endParaRPr/>
          </a:p>
        </p:txBody>
      </p:sp>
      <p:sp>
        <p:nvSpPr>
          <p:cNvPr id="1168" name="Google Shape;1168;p42"/>
          <p:cNvSpPr txBox="1">
            <a:spLocks noGrp="1"/>
          </p:cNvSpPr>
          <p:nvPr>
            <p:ph type="subTitle" idx="3"/>
          </p:nvPr>
        </p:nvSpPr>
        <p:spPr>
          <a:xfrm>
            <a:off x="3468663" y="1643759"/>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Venus has a beautiful name and is the second planet from the Sun”</a:t>
            </a:r>
            <a:endParaRPr/>
          </a:p>
        </p:txBody>
      </p:sp>
      <p:sp>
        <p:nvSpPr>
          <p:cNvPr id="1169" name="Google Shape;1169;p42"/>
          <p:cNvSpPr txBox="1">
            <a:spLocks noGrp="1"/>
          </p:cNvSpPr>
          <p:nvPr>
            <p:ph type="ctrTitle" idx="4"/>
          </p:nvPr>
        </p:nvSpPr>
        <p:spPr>
          <a:xfrm>
            <a:off x="6371224" y="23022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HENRY McKANE</a:t>
            </a:r>
            <a:endParaRPr/>
          </a:p>
        </p:txBody>
      </p:sp>
      <p:sp>
        <p:nvSpPr>
          <p:cNvPr id="1170" name="Google Shape;1170;p42"/>
          <p:cNvSpPr txBox="1">
            <a:spLocks noGrp="1"/>
          </p:cNvSpPr>
          <p:nvPr>
            <p:ph type="subTitle" idx="5"/>
          </p:nvPr>
        </p:nvSpPr>
        <p:spPr>
          <a:xfrm>
            <a:off x="6176524" y="16437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Jupiter is a gas giant and the biggest planet in the Solar System”</a:t>
            </a:r>
            <a:endParaRPr/>
          </a:p>
        </p:txBody>
      </p:sp>
      <p:sp>
        <p:nvSpPr>
          <p:cNvPr id="1171" name="Google Shape;1171;p42"/>
          <p:cNvSpPr txBox="1">
            <a:spLocks noGrp="1"/>
          </p:cNvSpPr>
          <p:nvPr>
            <p:ph type="ctrTitle" idx="7"/>
          </p:nvPr>
        </p:nvSpPr>
        <p:spPr>
          <a:xfrm>
            <a:off x="892925"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BILLY BROOKS</a:t>
            </a:r>
            <a:endParaRPr/>
          </a:p>
        </p:txBody>
      </p:sp>
      <p:sp>
        <p:nvSpPr>
          <p:cNvPr id="1172" name="Google Shape;1172;p42"/>
          <p:cNvSpPr txBox="1">
            <a:spLocks noGrp="1"/>
          </p:cNvSpPr>
          <p:nvPr>
            <p:ph type="subTitle" idx="8"/>
          </p:nvPr>
        </p:nvSpPr>
        <p:spPr>
          <a:xfrm>
            <a:off x="733325" y="3479251"/>
            <a:ext cx="22005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173" name="Google Shape;1173;p42"/>
          <p:cNvSpPr txBox="1">
            <a:spLocks noGrp="1"/>
          </p:cNvSpPr>
          <p:nvPr>
            <p:ph type="ctrTitle" idx="9"/>
          </p:nvPr>
        </p:nvSpPr>
        <p:spPr>
          <a:xfrm>
            <a:off x="3628263"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LUCY JADE</a:t>
            </a:r>
            <a:endParaRPr/>
          </a:p>
        </p:txBody>
      </p:sp>
      <p:sp>
        <p:nvSpPr>
          <p:cNvPr id="1174" name="Google Shape;1174;p42"/>
          <p:cNvSpPr txBox="1">
            <a:spLocks noGrp="1"/>
          </p:cNvSpPr>
          <p:nvPr>
            <p:ph type="subTitle" idx="13"/>
          </p:nvPr>
        </p:nvSpPr>
        <p:spPr>
          <a:xfrm>
            <a:off x="3533613" y="3479251"/>
            <a:ext cx="20706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he Sun is the star at the center of the Solar System”</a:t>
            </a:r>
            <a:endParaRPr/>
          </a:p>
        </p:txBody>
      </p:sp>
      <p:sp>
        <p:nvSpPr>
          <p:cNvPr id="1175" name="Google Shape;1175;p42"/>
          <p:cNvSpPr txBox="1">
            <a:spLocks noGrp="1"/>
          </p:cNvSpPr>
          <p:nvPr>
            <p:ph type="ctrTitle" idx="14"/>
          </p:nvPr>
        </p:nvSpPr>
        <p:spPr>
          <a:xfrm>
            <a:off x="6371224" y="4134800"/>
            <a:ext cx="1881300" cy="4596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ROSE CLARK</a:t>
            </a:r>
            <a:endParaRPr/>
          </a:p>
        </p:txBody>
      </p:sp>
      <p:sp>
        <p:nvSpPr>
          <p:cNvPr id="1176" name="Google Shape;1176;p42"/>
          <p:cNvSpPr txBox="1">
            <a:spLocks noGrp="1"/>
          </p:cNvSpPr>
          <p:nvPr>
            <p:ph type="subTitle" idx="15"/>
          </p:nvPr>
        </p:nvSpPr>
        <p:spPr>
          <a:xfrm>
            <a:off x="6176524" y="3479251"/>
            <a:ext cx="2270700" cy="824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ourth-largest planet in the Solar System”</a:t>
            </a:r>
            <a:endParaRPr/>
          </a:p>
        </p:txBody>
      </p:sp>
      <p:sp>
        <p:nvSpPr>
          <p:cNvPr id="1177" name="Google Shape;1177;p42"/>
          <p:cNvSpPr/>
          <p:nvPr/>
        </p:nvSpPr>
        <p:spPr>
          <a:xfrm>
            <a:off x="1625825" y="3005284"/>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42"/>
          <p:cNvSpPr/>
          <p:nvPr/>
        </p:nvSpPr>
        <p:spPr>
          <a:xfrm>
            <a:off x="4361163" y="3005284"/>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42"/>
          <p:cNvSpPr/>
          <p:nvPr/>
        </p:nvSpPr>
        <p:spPr>
          <a:xfrm>
            <a:off x="7104124" y="3005284"/>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42"/>
          <p:cNvSpPr/>
          <p:nvPr/>
        </p:nvSpPr>
        <p:spPr>
          <a:xfrm>
            <a:off x="1625825" y="1163242"/>
            <a:ext cx="415500" cy="415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42"/>
          <p:cNvSpPr/>
          <p:nvPr/>
        </p:nvSpPr>
        <p:spPr>
          <a:xfrm>
            <a:off x="4361163" y="1163242"/>
            <a:ext cx="415500" cy="415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42"/>
          <p:cNvSpPr/>
          <p:nvPr/>
        </p:nvSpPr>
        <p:spPr>
          <a:xfrm>
            <a:off x="7104124" y="1163242"/>
            <a:ext cx="415500" cy="415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183" name="Google Shape;1183;p42"/>
          <p:cNvCxnSpPr>
            <a:stCxn id="1180" idx="3"/>
            <a:endCxn id="1178" idx="1"/>
          </p:cNvCxnSpPr>
          <p:nvPr/>
        </p:nvCxnSpPr>
        <p:spPr>
          <a:xfrm>
            <a:off x="2041325" y="1370992"/>
            <a:ext cx="2319900" cy="1842000"/>
          </a:xfrm>
          <a:prstGeom prst="bentConnector3">
            <a:avLst>
              <a:gd name="adj1" fmla="val 49999"/>
            </a:avLst>
          </a:prstGeom>
          <a:noFill/>
          <a:ln w="9525" cap="flat" cmpd="sng">
            <a:solidFill>
              <a:schemeClr val="lt2"/>
            </a:solidFill>
            <a:prstDash val="solid"/>
            <a:round/>
            <a:headEnd type="none" w="med" len="med"/>
            <a:tailEnd type="none" w="med" len="med"/>
          </a:ln>
        </p:spPr>
      </p:cxnSp>
      <p:cxnSp>
        <p:nvCxnSpPr>
          <p:cNvPr id="1184" name="Google Shape;1184;p42"/>
          <p:cNvCxnSpPr>
            <a:stCxn id="1178" idx="3"/>
            <a:endCxn id="1182" idx="1"/>
          </p:cNvCxnSpPr>
          <p:nvPr/>
        </p:nvCxnSpPr>
        <p:spPr>
          <a:xfrm rot="10800000" flipH="1">
            <a:off x="4776663" y="1371034"/>
            <a:ext cx="2327400" cy="1842000"/>
          </a:xfrm>
          <a:prstGeom prst="bentConnector3">
            <a:avLst>
              <a:gd name="adj1" fmla="val 50001"/>
            </a:avLst>
          </a:prstGeom>
          <a:noFill/>
          <a:ln w="9525" cap="flat" cmpd="sng">
            <a:solidFill>
              <a:schemeClr val="lt2"/>
            </a:solidFill>
            <a:prstDash val="solid"/>
            <a:round/>
            <a:headEnd type="none" w="med" len="med"/>
            <a:tailEnd type="none" w="med" len="med"/>
          </a:ln>
        </p:spPr>
      </p:cxnSp>
      <p:grpSp>
        <p:nvGrpSpPr>
          <p:cNvPr id="1185" name="Google Shape;1185;p42"/>
          <p:cNvGrpSpPr/>
          <p:nvPr/>
        </p:nvGrpSpPr>
        <p:grpSpPr>
          <a:xfrm>
            <a:off x="4436544" y="3036686"/>
            <a:ext cx="264813" cy="352693"/>
            <a:chOff x="6703732" y="3346936"/>
            <a:chExt cx="264813" cy="352693"/>
          </a:xfrm>
        </p:grpSpPr>
        <p:sp>
          <p:nvSpPr>
            <p:cNvPr id="1186" name="Google Shape;1186;p42"/>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42"/>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42"/>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42"/>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42"/>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 name="Google Shape;1191;p42"/>
          <p:cNvGrpSpPr/>
          <p:nvPr/>
        </p:nvGrpSpPr>
        <p:grpSpPr>
          <a:xfrm>
            <a:off x="1697949" y="3039620"/>
            <a:ext cx="271244" cy="346801"/>
            <a:chOff x="4899999" y="2882095"/>
            <a:chExt cx="271244" cy="346801"/>
          </a:xfrm>
        </p:grpSpPr>
        <p:sp>
          <p:nvSpPr>
            <p:cNvPr id="1192" name="Google Shape;1192;p42"/>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42"/>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42"/>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42"/>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42"/>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42"/>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42"/>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42"/>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42"/>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42"/>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 name="Google Shape;1202;p42"/>
          <p:cNvGrpSpPr/>
          <p:nvPr/>
        </p:nvGrpSpPr>
        <p:grpSpPr>
          <a:xfrm>
            <a:off x="1707236" y="1198029"/>
            <a:ext cx="260283" cy="345914"/>
            <a:chOff x="8055961" y="2881842"/>
            <a:chExt cx="260283" cy="345914"/>
          </a:xfrm>
        </p:grpSpPr>
        <p:sp>
          <p:nvSpPr>
            <p:cNvPr id="1203" name="Google Shape;1203;p42"/>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42"/>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42"/>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42"/>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 name="Google Shape;1207;p42"/>
          <p:cNvGrpSpPr/>
          <p:nvPr/>
        </p:nvGrpSpPr>
        <p:grpSpPr>
          <a:xfrm>
            <a:off x="7177875" y="1192351"/>
            <a:ext cx="279513" cy="357255"/>
            <a:chOff x="4897750" y="2415639"/>
            <a:chExt cx="279513" cy="357255"/>
          </a:xfrm>
        </p:grpSpPr>
        <p:sp>
          <p:nvSpPr>
            <p:cNvPr id="1208" name="Google Shape;1208;p42"/>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42"/>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42"/>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42"/>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42"/>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42"/>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42"/>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42"/>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6" name="Google Shape;1216;p42"/>
          <p:cNvGrpSpPr/>
          <p:nvPr/>
        </p:nvGrpSpPr>
        <p:grpSpPr>
          <a:xfrm>
            <a:off x="7185420" y="3036299"/>
            <a:ext cx="264433" cy="353454"/>
            <a:chOff x="8054820" y="2416399"/>
            <a:chExt cx="264433" cy="353454"/>
          </a:xfrm>
        </p:grpSpPr>
        <p:sp>
          <p:nvSpPr>
            <p:cNvPr id="1217" name="Google Shape;1217;p42"/>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42"/>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42"/>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42"/>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42"/>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42"/>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 name="Google Shape;1223;p42"/>
          <p:cNvGrpSpPr/>
          <p:nvPr/>
        </p:nvGrpSpPr>
        <p:grpSpPr>
          <a:xfrm>
            <a:off x="4435014" y="1193126"/>
            <a:ext cx="267854" cy="355735"/>
            <a:chOff x="4903389" y="1500214"/>
            <a:chExt cx="267854" cy="355735"/>
          </a:xfrm>
        </p:grpSpPr>
        <p:sp>
          <p:nvSpPr>
            <p:cNvPr id="1224" name="Google Shape;1224;p42"/>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42"/>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42"/>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42"/>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42"/>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Shape 1232"/>
        <p:cNvGrpSpPr/>
        <p:nvPr/>
      </p:nvGrpSpPr>
      <p:grpSpPr>
        <a:xfrm>
          <a:off x="0" y="0"/>
          <a:ext cx="0" cy="0"/>
          <a:chOff x="0" y="0"/>
          <a:chExt cx="0" cy="0"/>
        </a:xfrm>
      </p:grpSpPr>
      <p:cxnSp>
        <p:nvCxnSpPr>
          <p:cNvPr id="1233" name="Google Shape;1233;p43"/>
          <p:cNvCxnSpPr>
            <a:endCxn id="1234" idx="1"/>
          </p:cNvCxnSpPr>
          <p:nvPr/>
        </p:nvCxnSpPr>
        <p:spPr>
          <a:xfrm rot="5400000" flipH="1">
            <a:off x="1203175" y="2002350"/>
            <a:ext cx="2287800" cy="1226700"/>
          </a:xfrm>
          <a:prstGeom prst="bentConnector4">
            <a:avLst>
              <a:gd name="adj1" fmla="val 23940"/>
              <a:gd name="adj2" fmla="val 119412"/>
            </a:avLst>
          </a:prstGeom>
          <a:noFill/>
          <a:ln w="9525" cap="flat" cmpd="sng">
            <a:solidFill>
              <a:schemeClr val="lt2"/>
            </a:solidFill>
            <a:prstDash val="solid"/>
            <a:round/>
            <a:headEnd type="none" w="med" len="med"/>
            <a:tailEnd type="none" w="med" len="med"/>
          </a:ln>
        </p:spPr>
      </p:cxnSp>
      <p:sp>
        <p:nvSpPr>
          <p:cNvPr id="1234" name="Google Shape;1234;p43"/>
          <p:cNvSpPr txBox="1">
            <a:spLocks noGrp="1"/>
          </p:cNvSpPr>
          <p:nvPr>
            <p:ph type="title"/>
          </p:nvPr>
        </p:nvSpPr>
        <p:spPr>
          <a:xfrm>
            <a:off x="1733725" y="856650"/>
            <a:ext cx="5676600" cy="1230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4,498,300,000</a:t>
            </a:r>
            <a:endParaRPr/>
          </a:p>
        </p:txBody>
      </p:sp>
      <p:sp>
        <p:nvSpPr>
          <p:cNvPr id="1235" name="Google Shape;1235;p43"/>
          <p:cNvSpPr txBox="1">
            <a:spLocks noGrp="1"/>
          </p:cNvSpPr>
          <p:nvPr>
            <p:ph type="body" idx="1"/>
          </p:nvPr>
        </p:nvSpPr>
        <p:spPr>
          <a:xfrm>
            <a:off x="3208075" y="2086950"/>
            <a:ext cx="2727900" cy="7155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a:t>Big numbers catch your audience’s attention</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Shape 1239"/>
        <p:cNvGrpSpPr/>
        <p:nvPr/>
      </p:nvGrpSpPr>
      <p:grpSpPr>
        <a:xfrm>
          <a:off x="0" y="0"/>
          <a:ext cx="0" cy="0"/>
          <a:chOff x="0" y="0"/>
          <a:chExt cx="0" cy="0"/>
        </a:xfrm>
      </p:grpSpPr>
      <p:sp>
        <p:nvSpPr>
          <p:cNvPr id="1240" name="Google Shape;1240;p44"/>
          <p:cNvSpPr/>
          <p:nvPr/>
        </p:nvSpPr>
        <p:spPr>
          <a:xfrm>
            <a:off x="819303" y="2003575"/>
            <a:ext cx="7524000" cy="2125200"/>
          </a:xfrm>
          <a:prstGeom prst="roundRect">
            <a:avLst>
              <a:gd name="adj" fmla="val 16667"/>
            </a:avLst>
          </a:prstGeom>
          <a:noFill/>
          <a:ln w="1905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44"/>
          <p:cNvSpPr/>
          <p:nvPr/>
        </p:nvSpPr>
        <p:spPr>
          <a:xfrm>
            <a:off x="952957" y="2111850"/>
            <a:ext cx="7256700" cy="1943700"/>
          </a:xfrm>
          <a:prstGeom prst="roundRect">
            <a:avLst>
              <a:gd name="adj" fmla="val 16667"/>
            </a:avLst>
          </a:prstGeom>
          <a:no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44"/>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WARDS</a:t>
            </a:r>
            <a:endParaRPr/>
          </a:p>
        </p:txBody>
      </p:sp>
      <p:graphicFrame>
        <p:nvGraphicFramePr>
          <p:cNvPr id="1243" name="Google Shape;1243;p44"/>
          <p:cNvGraphicFramePr/>
          <p:nvPr/>
        </p:nvGraphicFramePr>
        <p:xfrm>
          <a:off x="819303" y="1415757"/>
          <a:ext cx="7239000" cy="2659900"/>
        </p:xfrm>
        <a:graphic>
          <a:graphicData uri="http://schemas.openxmlformats.org/drawingml/2006/table">
            <a:tbl>
              <a:tblPr>
                <a:noFill/>
                <a:tableStyleId>{E723F757-1103-4035-A6BF-FC693B604208}</a:tableStyleId>
              </a:tblPr>
              <a:tblGrid>
                <a:gridCol w="1901200">
                  <a:extLst>
                    <a:ext uri="{9D8B030D-6E8A-4147-A177-3AD203B41FA5}">
                      <a16:colId xmlns:a16="http://schemas.microsoft.com/office/drawing/2014/main" val="20000"/>
                    </a:ext>
                  </a:extLst>
                </a:gridCol>
                <a:gridCol w="1334450">
                  <a:extLst>
                    <a:ext uri="{9D8B030D-6E8A-4147-A177-3AD203B41FA5}">
                      <a16:colId xmlns:a16="http://schemas.microsoft.com/office/drawing/2014/main" val="20001"/>
                    </a:ext>
                  </a:extLst>
                </a:gridCol>
                <a:gridCol w="1334450">
                  <a:extLst>
                    <a:ext uri="{9D8B030D-6E8A-4147-A177-3AD203B41FA5}">
                      <a16:colId xmlns:a16="http://schemas.microsoft.com/office/drawing/2014/main" val="20002"/>
                    </a:ext>
                  </a:extLst>
                </a:gridCol>
                <a:gridCol w="1334450">
                  <a:extLst>
                    <a:ext uri="{9D8B030D-6E8A-4147-A177-3AD203B41FA5}">
                      <a16:colId xmlns:a16="http://schemas.microsoft.com/office/drawing/2014/main" val="20003"/>
                    </a:ext>
                  </a:extLst>
                </a:gridCol>
                <a:gridCol w="1334450">
                  <a:extLst>
                    <a:ext uri="{9D8B030D-6E8A-4147-A177-3AD203B41FA5}">
                      <a16:colId xmlns:a16="http://schemas.microsoft.com/office/drawing/2014/main" val="20004"/>
                    </a:ext>
                  </a:extLst>
                </a:gridCol>
              </a:tblGrid>
              <a:tr h="664975">
                <a:tc>
                  <a:txBody>
                    <a:bodyPr/>
                    <a:lstStyle/>
                    <a:p>
                      <a:pPr marL="0" lvl="0" indent="0" algn="l" rtl="0">
                        <a:spcBef>
                          <a:spcPts val="0"/>
                        </a:spcBef>
                        <a:spcAft>
                          <a:spcPts val="0"/>
                        </a:spcAft>
                        <a:buNone/>
                      </a:pPr>
                      <a:endParaRPr/>
                    </a:p>
                  </a:txBody>
                  <a:tcPr marL="91425" marR="91425" marT="91425" marB="91425">
                    <a:lnL w="9525" cap="flat" cmpd="sng">
                      <a:solidFill>
                        <a:srgbClr val="9E9E9E">
                          <a:alpha val="0"/>
                        </a:srgb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DATE</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sz="1800">
                          <a:solidFill>
                            <a:schemeClr val="lt1"/>
                          </a:solidFill>
                          <a:latin typeface="Maven Pro"/>
                          <a:ea typeface="Maven Pro"/>
                          <a:cs typeface="Maven Pro"/>
                          <a:sym typeface="Maven Pro"/>
                        </a:rPr>
                        <a:t>REAS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gridSpan="2">
                  <a:txBody>
                    <a:bodyPr/>
                    <a:lstStyle/>
                    <a:p>
                      <a:pPr marL="0" lvl="0" indent="0" algn="l" rtl="0">
                        <a:spcBef>
                          <a:spcPts val="0"/>
                        </a:spcBef>
                        <a:spcAft>
                          <a:spcPts val="0"/>
                        </a:spcAft>
                        <a:buNone/>
                      </a:pPr>
                      <a:r>
                        <a:rPr lang="en" sz="1800">
                          <a:solidFill>
                            <a:schemeClr val="lt1"/>
                          </a:solidFill>
                          <a:latin typeface="Maven Pro"/>
                          <a:ea typeface="Maven Pro"/>
                          <a:cs typeface="Maven Pro"/>
                          <a:sym typeface="Maven Pro"/>
                        </a:rPr>
                        <a:t>DESCRIPTION</a:t>
                      </a:r>
                      <a:endParaRPr sz="1800">
                        <a:solidFill>
                          <a:schemeClr val="lt1"/>
                        </a:solidFill>
                        <a:latin typeface="Maven Pro"/>
                        <a:ea typeface="Maven Pro"/>
                        <a:cs typeface="Maven Pro"/>
                        <a:sym typeface="Maven Pro"/>
                      </a:endParaRPr>
                    </a:p>
                  </a:txBody>
                  <a:tcPr marL="91425" marR="91425" marT="91425" marB="91425">
                    <a:lnL w="9525" cap="flat" cmpd="sng">
                      <a:solidFill>
                        <a:schemeClr val="accent2">
                          <a:alpha val="0"/>
                        </a:schemeClr>
                      </a:solidFill>
                      <a:prstDash val="solid"/>
                      <a:round/>
                      <a:headEnd type="none" w="sm" len="sm"/>
                      <a:tailEnd type="none" w="sm" len="sm"/>
                    </a:lnL>
                    <a:lnR w="9525" cap="flat" cmpd="sng">
                      <a:solidFill>
                        <a:schemeClr val="accent2">
                          <a:alpha val="0"/>
                        </a:scheme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chemeClr val="accent2">
                          <a:alpha val="0"/>
                        </a:scheme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0"/>
                  </a:ext>
                </a:extLst>
              </a:tr>
              <a:tr h="664975">
                <a:tc>
                  <a:txBody>
                    <a:bodyPr/>
                    <a:lstStyle/>
                    <a:p>
                      <a:pPr marL="0" lvl="0" indent="0" algn="ctr" rtl="0">
                        <a:spcBef>
                          <a:spcPts val="0"/>
                        </a:spcBef>
                        <a:spcAft>
                          <a:spcPts val="0"/>
                        </a:spcAft>
                        <a:buNone/>
                      </a:pPr>
                      <a:r>
                        <a:rPr lang="en" sz="2000">
                          <a:solidFill>
                            <a:schemeClr val="accent2"/>
                          </a:solidFill>
                          <a:latin typeface="Share Tech"/>
                          <a:ea typeface="Share Tech"/>
                          <a:cs typeface="Share Tech"/>
                          <a:sym typeface="Share Tech"/>
                        </a:rPr>
                        <a:t>MERCURY</a:t>
                      </a:r>
                      <a:endParaRPr sz="2000">
                        <a:solidFill>
                          <a:schemeClr val="accent2"/>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0</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Jupiter</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s the closest planet to the Sun and the smallest o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chemeClr val="accent2">
                          <a:alpha val="0"/>
                        </a:scheme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1"/>
                  </a:ext>
                </a:extLst>
              </a:tr>
              <a:tr h="664975">
                <a:tc>
                  <a:txBody>
                    <a:bodyPr/>
                    <a:lstStyle/>
                    <a:p>
                      <a:pPr marL="0" lvl="0" indent="0" algn="ctr" rtl="0">
                        <a:spcBef>
                          <a:spcPts val="0"/>
                        </a:spcBef>
                        <a:spcAft>
                          <a:spcPts val="0"/>
                        </a:spcAft>
                        <a:buNone/>
                      </a:pPr>
                      <a:r>
                        <a:rPr lang="en" sz="2000">
                          <a:solidFill>
                            <a:schemeClr val="accent1"/>
                          </a:solidFill>
                          <a:latin typeface="Share Tech"/>
                          <a:ea typeface="Share Tech"/>
                          <a:cs typeface="Share Tech"/>
                          <a:sym typeface="Share Tech"/>
                        </a:rPr>
                        <a:t>MARS</a:t>
                      </a:r>
                      <a:endParaRPr sz="2000">
                        <a:solidFill>
                          <a:schemeClr val="accent1"/>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2</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Neptun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Despite being red, Mars is actually a cold place</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2"/>
                  </a:ext>
                </a:extLst>
              </a:tr>
              <a:tr h="664975">
                <a:tc>
                  <a:txBody>
                    <a:bodyPr/>
                    <a:lstStyle/>
                    <a:p>
                      <a:pPr marL="0" lvl="0" indent="0" algn="ctr" rtl="0">
                        <a:spcBef>
                          <a:spcPts val="0"/>
                        </a:spcBef>
                        <a:spcAft>
                          <a:spcPts val="0"/>
                        </a:spcAft>
                        <a:buNone/>
                      </a:pPr>
                      <a:r>
                        <a:rPr lang="en" sz="2000">
                          <a:solidFill>
                            <a:schemeClr val="accent3"/>
                          </a:solidFill>
                          <a:latin typeface="Share Tech"/>
                          <a:ea typeface="Share Tech"/>
                          <a:cs typeface="Share Tech"/>
                          <a:sym typeface="Share Tech"/>
                        </a:rPr>
                        <a:t>VENUS</a:t>
                      </a:r>
                      <a:endParaRPr sz="2000">
                        <a:solidFill>
                          <a:schemeClr val="accent3"/>
                        </a:solidFill>
                        <a:latin typeface="Share Tech"/>
                        <a:ea typeface="Share Tech"/>
                        <a:cs typeface="Share Tech"/>
                        <a:sym typeface="Share Tech"/>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chemeClr val="accent1">
                          <a:alpha val="0"/>
                        </a:schemeClr>
                      </a:solidFill>
                      <a:prstDash val="solid"/>
                      <a:round/>
                      <a:headEnd type="none" w="sm" len="sm"/>
                      <a:tailEnd type="none" w="sm" len="sm"/>
                    </a:lnR>
                    <a:lnT w="9525" cap="flat" cmpd="sng">
                      <a:solidFill>
                        <a:schemeClr val="accent1">
                          <a:alpha val="0"/>
                        </a:schemeClr>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2016</a:t>
                      </a:r>
                      <a:endParaRPr>
                        <a:solidFill>
                          <a:schemeClr val="lt1"/>
                        </a:solidFill>
                        <a:latin typeface="Maven Pro"/>
                        <a:ea typeface="Maven Pro"/>
                        <a:cs typeface="Maven Pro"/>
                        <a:sym typeface="Maven Pro"/>
                      </a:endParaRPr>
                    </a:p>
                  </a:txBody>
                  <a:tcPr marL="91425" marR="91425" marT="91425" marB="91425" anchor="ctr">
                    <a:lnL w="9525" cap="flat" cmpd="sng">
                      <a:solidFill>
                        <a:schemeClr val="accent1">
                          <a:alpha val="0"/>
                        </a:scheme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None/>
                      </a:pPr>
                      <a:r>
                        <a:rPr lang="en">
                          <a:solidFill>
                            <a:schemeClr val="lt1"/>
                          </a:solidFill>
                          <a:latin typeface="Maven Pro"/>
                          <a:ea typeface="Maven Pro"/>
                          <a:cs typeface="Maven Pro"/>
                          <a:sym typeface="Maven Pro"/>
                        </a:rPr>
                        <a:t>Satur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gridSpan="2">
                  <a:txBody>
                    <a:bodyPr/>
                    <a:lstStyle/>
                    <a:p>
                      <a:pPr marL="0" lvl="0" indent="0" algn="l" rtl="0">
                        <a:spcBef>
                          <a:spcPts val="0"/>
                        </a:spcBef>
                        <a:spcAft>
                          <a:spcPts val="0"/>
                        </a:spcAft>
                        <a:buNone/>
                      </a:pPr>
                      <a:r>
                        <a:rPr lang="en">
                          <a:solidFill>
                            <a:schemeClr val="lt1"/>
                          </a:solidFill>
                          <a:latin typeface="Maven Pro"/>
                          <a:ea typeface="Maven Pro"/>
                          <a:cs typeface="Maven Pro"/>
                          <a:sym typeface="Maven Pro"/>
                        </a:rPr>
                        <a:t>It has a nice name and is the second planet from the Sun</a:t>
                      </a:r>
                      <a:endParaRPr>
                        <a:solidFill>
                          <a:schemeClr val="lt1"/>
                        </a:solidFill>
                        <a:latin typeface="Maven Pro"/>
                        <a:ea typeface="Maven Pro"/>
                        <a:cs typeface="Maven Pro"/>
                        <a:sym typeface="Maven Pro"/>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hMerge="1">
                  <a:txBody>
                    <a:bodyPr/>
                    <a:lstStyle/>
                    <a:p>
                      <a:endParaRPr lang="de-DE"/>
                    </a:p>
                  </a:txBody>
                  <a:tcPr/>
                </a:tc>
                <a:extLst>
                  <a:ext uri="{0D108BD9-81ED-4DB2-BD59-A6C34878D82A}">
                    <a16:rowId xmlns:a16="http://schemas.microsoft.com/office/drawing/2014/main" val="10003"/>
                  </a:ext>
                </a:extLst>
              </a:tr>
            </a:tbl>
          </a:graphicData>
        </a:graphic>
      </p:graphicFrame>
      <p:grpSp>
        <p:nvGrpSpPr>
          <p:cNvPr id="1244" name="Google Shape;1244;p44"/>
          <p:cNvGrpSpPr/>
          <p:nvPr/>
        </p:nvGrpSpPr>
        <p:grpSpPr>
          <a:xfrm>
            <a:off x="4932526" y="4128777"/>
            <a:ext cx="936653" cy="1300131"/>
            <a:chOff x="4882900" y="-64350"/>
            <a:chExt cx="2493750" cy="2922300"/>
          </a:xfrm>
        </p:grpSpPr>
        <p:sp>
          <p:nvSpPr>
            <p:cNvPr id="1245" name="Google Shape;1245;p44"/>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44"/>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44"/>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44"/>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44"/>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Shape 1253"/>
        <p:cNvGrpSpPr/>
        <p:nvPr/>
      </p:nvGrpSpPr>
      <p:grpSpPr>
        <a:xfrm>
          <a:off x="0" y="0"/>
          <a:ext cx="0" cy="0"/>
          <a:chOff x="0" y="0"/>
          <a:chExt cx="0" cy="0"/>
        </a:xfrm>
      </p:grpSpPr>
      <p:sp>
        <p:nvSpPr>
          <p:cNvPr id="1254" name="Google Shape;1254;p45"/>
          <p:cNvSpPr txBox="1">
            <a:spLocks noGrp="1"/>
          </p:cNvSpPr>
          <p:nvPr>
            <p:ph type="ctrTitle" idx="6"/>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UPCOMING GOALS</a:t>
            </a:r>
            <a:endParaRPr sz="3000"/>
          </a:p>
        </p:txBody>
      </p:sp>
      <p:sp>
        <p:nvSpPr>
          <p:cNvPr id="1255" name="Google Shape;1255;p45"/>
          <p:cNvSpPr txBox="1">
            <a:spLocks noGrp="1"/>
          </p:cNvSpPr>
          <p:nvPr>
            <p:ph type="ctrTitle" idx="2"/>
          </p:nvPr>
        </p:nvSpPr>
        <p:spPr>
          <a:xfrm>
            <a:off x="362377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SATURN</a:t>
            </a:r>
            <a:endParaRPr/>
          </a:p>
        </p:txBody>
      </p:sp>
      <p:sp>
        <p:nvSpPr>
          <p:cNvPr id="1256" name="Google Shape;1256;p45"/>
          <p:cNvSpPr txBox="1">
            <a:spLocks noGrp="1"/>
          </p:cNvSpPr>
          <p:nvPr>
            <p:ph type="ctrTitle"/>
          </p:nvPr>
        </p:nvSpPr>
        <p:spPr>
          <a:xfrm>
            <a:off x="1011830"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JUPITER</a:t>
            </a:r>
            <a:endParaRPr/>
          </a:p>
        </p:txBody>
      </p:sp>
      <p:sp>
        <p:nvSpPr>
          <p:cNvPr id="1257" name="Google Shape;1257;p45"/>
          <p:cNvSpPr txBox="1">
            <a:spLocks noGrp="1"/>
          </p:cNvSpPr>
          <p:nvPr>
            <p:ph type="subTitle" idx="1"/>
          </p:nvPr>
        </p:nvSpPr>
        <p:spPr>
          <a:xfrm>
            <a:off x="1011830"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t’s the biggest planet in the Solar System</a:t>
            </a:r>
            <a:endParaRPr/>
          </a:p>
        </p:txBody>
      </p:sp>
      <p:sp>
        <p:nvSpPr>
          <p:cNvPr id="1258" name="Google Shape;1258;p45"/>
          <p:cNvSpPr txBox="1">
            <a:spLocks noGrp="1"/>
          </p:cNvSpPr>
          <p:nvPr>
            <p:ph type="subTitle" idx="3"/>
          </p:nvPr>
        </p:nvSpPr>
        <p:spPr>
          <a:xfrm>
            <a:off x="362377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Saturn is composed mostly of hydrogen and helium</a:t>
            </a:r>
            <a:endParaRPr/>
          </a:p>
        </p:txBody>
      </p:sp>
      <p:sp>
        <p:nvSpPr>
          <p:cNvPr id="1259" name="Google Shape;1259;p45"/>
          <p:cNvSpPr txBox="1">
            <a:spLocks noGrp="1"/>
          </p:cNvSpPr>
          <p:nvPr>
            <p:ph type="ctrTitle" idx="4"/>
          </p:nvPr>
        </p:nvSpPr>
        <p:spPr>
          <a:xfrm>
            <a:off x="6245198" y="1267450"/>
            <a:ext cx="1881300" cy="644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NEPTUNE</a:t>
            </a:r>
            <a:endParaRPr/>
          </a:p>
        </p:txBody>
      </p:sp>
      <p:sp>
        <p:nvSpPr>
          <p:cNvPr id="1260" name="Google Shape;1260;p45"/>
          <p:cNvSpPr txBox="1">
            <a:spLocks noGrp="1"/>
          </p:cNvSpPr>
          <p:nvPr>
            <p:ph type="subTitle" idx="5"/>
          </p:nvPr>
        </p:nvSpPr>
        <p:spPr>
          <a:xfrm>
            <a:off x="6245198" y="3491100"/>
            <a:ext cx="1881300" cy="111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Neptune is the farthest planet from the Sun</a:t>
            </a:r>
            <a:endParaRPr/>
          </a:p>
        </p:txBody>
      </p:sp>
      <p:grpSp>
        <p:nvGrpSpPr>
          <p:cNvPr id="1261" name="Google Shape;1261;p45"/>
          <p:cNvGrpSpPr/>
          <p:nvPr/>
        </p:nvGrpSpPr>
        <p:grpSpPr>
          <a:xfrm>
            <a:off x="3689974" y="2403057"/>
            <a:ext cx="1748907" cy="960537"/>
            <a:chOff x="2534925" y="2231825"/>
            <a:chExt cx="889350" cy="488475"/>
          </a:xfrm>
        </p:grpSpPr>
        <p:sp>
          <p:nvSpPr>
            <p:cNvPr id="1262" name="Google Shape;1262;p45"/>
            <p:cNvSpPr/>
            <p:nvPr/>
          </p:nvSpPr>
          <p:spPr>
            <a:xfrm>
              <a:off x="3334150" y="2674775"/>
              <a:ext cx="90125" cy="21125"/>
            </a:xfrm>
            <a:custGeom>
              <a:avLst/>
              <a:gdLst/>
              <a:ahLst/>
              <a:cxnLst/>
              <a:rect l="l" t="t" r="r" b="b"/>
              <a:pathLst>
                <a:path w="3605" h="845" extrusionOk="0">
                  <a:moveTo>
                    <a:pt x="353" y="0"/>
                  </a:moveTo>
                  <a:cubicBezTo>
                    <a:pt x="164" y="0"/>
                    <a:pt x="13" y="151"/>
                    <a:pt x="0" y="340"/>
                  </a:cubicBezTo>
                  <a:lnTo>
                    <a:pt x="0" y="353"/>
                  </a:lnTo>
                  <a:cubicBezTo>
                    <a:pt x="0" y="542"/>
                    <a:pt x="152" y="706"/>
                    <a:pt x="341" y="706"/>
                  </a:cubicBezTo>
                  <a:lnTo>
                    <a:pt x="3239" y="844"/>
                  </a:lnTo>
                  <a:cubicBezTo>
                    <a:pt x="3428" y="844"/>
                    <a:pt x="3592" y="693"/>
                    <a:pt x="3604" y="504"/>
                  </a:cubicBezTo>
                  <a:lnTo>
                    <a:pt x="3604" y="365"/>
                  </a:lnTo>
                  <a:cubicBezTo>
                    <a:pt x="3604" y="164"/>
                    <a:pt x="3453" y="0"/>
                    <a:pt x="325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 name="Google Shape;1263;p45"/>
            <p:cNvSpPr/>
            <p:nvPr/>
          </p:nvSpPr>
          <p:spPr>
            <a:xfrm>
              <a:off x="2534925" y="2656800"/>
              <a:ext cx="90125" cy="19875"/>
            </a:xfrm>
            <a:custGeom>
              <a:avLst/>
              <a:gdLst/>
              <a:ahLst/>
              <a:cxnLst/>
              <a:rect l="l" t="t" r="r" b="b"/>
              <a:pathLst>
                <a:path w="3605" h="795" extrusionOk="0">
                  <a:moveTo>
                    <a:pt x="319" y="0"/>
                  </a:moveTo>
                  <a:cubicBezTo>
                    <a:pt x="141" y="0"/>
                    <a:pt x="1" y="146"/>
                    <a:pt x="1" y="316"/>
                  </a:cubicBezTo>
                  <a:lnTo>
                    <a:pt x="1" y="769"/>
                  </a:lnTo>
                  <a:lnTo>
                    <a:pt x="1" y="795"/>
                  </a:lnTo>
                  <a:lnTo>
                    <a:pt x="3605" y="795"/>
                  </a:lnTo>
                  <a:lnTo>
                    <a:pt x="3592" y="769"/>
                  </a:lnTo>
                  <a:lnTo>
                    <a:pt x="3592" y="454"/>
                  </a:lnTo>
                  <a:cubicBezTo>
                    <a:pt x="3605" y="278"/>
                    <a:pt x="3466" y="139"/>
                    <a:pt x="3290" y="127"/>
                  </a:cubicBezTo>
                  <a:lnTo>
                    <a:pt x="341" y="1"/>
                  </a:lnTo>
                  <a:cubicBezTo>
                    <a:pt x="334" y="0"/>
                    <a:pt x="326" y="0"/>
                    <a:pt x="31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 name="Google Shape;1264;p45"/>
            <p:cNvSpPr/>
            <p:nvPr/>
          </p:nvSpPr>
          <p:spPr>
            <a:xfrm>
              <a:off x="3327850" y="2589525"/>
              <a:ext cx="90750" cy="31150"/>
            </a:xfrm>
            <a:custGeom>
              <a:avLst/>
              <a:gdLst/>
              <a:ahLst/>
              <a:cxnLst/>
              <a:rect l="l" t="t" r="r" b="b"/>
              <a:pathLst>
                <a:path w="3630" h="1246" extrusionOk="0">
                  <a:moveTo>
                    <a:pt x="3256" y="1"/>
                  </a:moveTo>
                  <a:cubicBezTo>
                    <a:pt x="3234" y="1"/>
                    <a:pt x="3211" y="3"/>
                    <a:pt x="3188" y="8"/>
                  </a:cubicBezTo>
                  <a:lnTo>
                    <a:pt x="290" y="600"/>
                  </a:lnTo>
                  <a:cubicBezTo>
                    <a:pt x="114" y="625"/>
                    <a:pt x="0" y="789"/>
                    <a:pt x="38" y="965"/>
                  </a:cubicBezTo>
                  <a:cubicBezTo>
                    <a:pt x="61" y="1127"/>
                    <a:pt x="200" y="1246"/>
                    <a:pt x="359" y="1246"/>
                  </a:cubicBezTo>
                  <a:cubicBezTo>
                    <a:pt x="373" y="1246"/>
                    <a:pt x="388" y="1245"/>
                    <a:pt x="404" y="1243"/>
                  </a:cubicBezTo>
                  <a:lnTo>
                    <a:pt x="3327" y="802"/>
                  </a:lnTo>
                  <a:cubicBezTo>
                    <a:pt x="3503" y="776"/>
                    <a:pt x="3629" y="600"/>
                    <a:pt x="3592" y="424"/>
                  </a:cubicBezTo>
                  <a:cubicBezTo>
                    <a:pt x="3592" y="373"/>
                    <a:pt x="3579" y="323"/>
                    <a:pt x="3566" y="272"/>
                  </a:cubicBezTo>
                  <a:cubicBezTo>
                    <a:pt x="3544" y="108"/>
                    <a:pt x="3408" y="1"/>
                    <a:pt x="325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45"/>
            <p:cNvSpPr/>
            <p:nvPr/>
          </p:nvSpPr>
          <p:spPr>
            <a:xfrm>
              <a:off x="2544075" y="2571875"/>
              <a:ext cx="90125" cy="34100"/>
            </a:xfrm>
            <a:custGeom>
              <a:avLst/>
              <a:gdLst/>
              <a:ahLst/>
              <a:cxnLst/>
              <a:rect l="l" t="t" r="r" b="b"/>
              <a:pathLst>
                <a:path w="3605" h="1364" extrusionOk="0">
                  <a:moveTo>
                    <a:pt x="384" y="0"/>
                  </a:moveTo>
                  <a:cubicBezTo>
                    <a:pt x="243" y="0"/>
                    <a:pt x="107" y="96"/>
                    <a:pt x="63" y="248"/>
                  </a:cubicBezTo>
                  <a:lnTo>
                    <a:pt x="38" y="411"/>
                  </a:lnTo>
                  <a:cubicBezTo>
                    <a:pt x="0" y="588"/>
                    <a:pt x="114" y="764"/>
                    <a:pt x="290" y="789"/>
                  </a:cubicBezTo>
                  <a:lnTo>
                    <a:pt x="3188" y="1356"/>
                  </a:lnTo>
                  <a:cubicBezTo>
                    <a:pt x="3210" y="1361"/>
                    <a:pt x="3231" y="1363"/>
                    <a:pt x="3252" y="1363"/>
                  </a:cubicBezTo>
                  <a:cubicBezTo>
                    <a:pt x="3405" y="1363"/>
                    <a:pt x="3544" y="1247"/>
                    <a:pt x="3566" y="1092"/>
                  </a:cubicBezTo>
                  <a:cubicBezTo>
                    <a:pt x="3604" y="928"/>
                    <a:pt x="3503" y="752"/>
                    <a:pt x="3327" y="714"/>
                  </a:cubicBezTo>
                  <a:lnTo>
                    <a:pt x="454" y="8"/>
                  </a:lnTo>
                  <a:cubicBezTo>
                    <a:pt x="431" y="3"/>
                    <a:pt x="408" y="0"/>
                    <a:pt x="38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45"/>
            <p:cNvSpPr/>
            <p:nvPr/>
          </p:nvSpPr>
          <p:spPr>
            <a:xfrm>
              <a:off x="3308325" y="2507375"/>
              <a:ext cx="87900" cy="45050"/>
            </a:xfrm>
            <a:custGeom>
              <a:avLst/>
              <a:gdLst/>
              <a:ahLst/>
              <a:cxnLst/>
              <a:rect l="l" t="t" r="r" b="b"/>
              <a:pathLst>
                <a:path w="3516" h="1802" extrusionOk="0">
                  <a:moveTo>
                    <a:pt x="3105" y="1"/>
                  </a:moveTo>
                  <a:cubicBezTo>
                    <a:pt x="3061" y="1"/>
                    <a:pt x="3017" y="10"/>
                    <a:pt x="2974" y="30"/>
                  </a:cubicBezTo>
                  <a:lnTo>
                    <a:pt x="240" y="1164"/>
                  </a:lnTo>
                  <a:cubicBezTo>
                    <a:pt x="76" y="1227"/>
                    <a:pt x="0" y="1416"/>
                    <a:pt x="76" y="1580"/>
                  </a:cubicBezTo>
                  <a:cubicBezTo>
                    <a:pt x="115" y="1718"/>
                    <a:pt x="239" y="1802"/>
                    <a:pt x="370" y="1802"/>
                  </a:cubicBezTo>
                  <a:cubicBezTo>
                    <a:pt x="406" y="1802"/>
                    <a:pt x="443" y="1795"/>
                    <a:pt x="479" y="1782"/>
                  </a:cubicBezTo>
                  <a:lnTo>
                    <a:pt x="3264" y="761"/>
                  </a:lnTo>
                  <a:cubicBezTo>
                    <a:pt x="3428" y="698"/>
                    <a:pt x="3516" y="509"/>
                    <a:pt x="3453" y="345"/>
                  </a:cubicBezTo>
                  <a:lnTo>
                    <a:pt x="3390" y="207"/>
                  </a:lnTo>
                  <a:cubicBezTo>
                    <a:pt x="3343" y="76"/>
                    <a:pt x="3228" y="1"/>
                    <a:pt x="310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45"/>
            <p:cNvSpPr/>
            <p:nvPr/>
          </p:nvSpPr>
          <p:spPr>
            <a:xfrm>
              <a:off x="2569900" y="2490675"/>
              <a:ext cx="86650" cy="47800"/>
            </a:xfrm>
            <a:custGeom>
              <a:avLst/>
              <a:gdLst/>
              <a:ahLst/>
              <a:cxnLst/>
              <a:rect l="l" t="t" r="r" b="b"/>
              <a:pathLst>
                <a:path w="3466" h="1912" extrusionOk="0">
                  <a:moveTo>
                    <a:pt x="433" y="1"/>
                  </a:moveTo>
                  <a:cubicBezTo>
                    <a:pt x="306" y="1"/>
                    <a:pt x="182" y="74"/>
                    <a:pt x="127" y="194"/>
                  </a:cubicBezTo>
                  <a:cubicBezTo>
                    <a:pt x="114" y="232"/>
                    <a:pt x="89" y="282"/>
                    <a:pt x="64" y="333"/>
                  </a:cubicBezTo>
                  <a:cubicBezTo>
                    <a:pt x="1" y="497"/>
                    <a:pt x="76" y="698"/>
                    <a:pt x="240" y="761"/>
                  </a:cubicBezTo>
                  <a:lnTo>
                    <a:pt x="2974" y="1883"/>
                  </a:lnTo>
                  <a:cubicBezTo>
                    <a:pt x="3017" y="1902"/>
                    <a:pt x="3063" y="1912"/>
                    <a:pt x="3108" y="1912"/>
                  </a:cubicBezTo>
                  <a:cubicBezTo>
                    <a:pt x="3234" y="1912"/>
                    <a:pt x="3356" y="1837"/>
                    <a:pt x="3403" y="1706"/>
                  </a:cubicBezTo>
                  <a:cubicBezTo>
                    <a:pt x="3466" y="1555"/>
                    <a:pt x="3403" y="1366"/>
                    <a:pt x="3239" y="1290"/>
                  </a:cubicBezTo>
                  <a:lnTo>
                    <a:pt x="568" y="30"/>
                  </a:lnTo>
                  <a:cubicBezTo>
                    <a:pt x="524" y="10"/>
                    <a:pt x="478" y="1"/>
                    <a:pt x="43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45"/>
            <p:cNvSpPr/>
            <p:nvPr/>
          </p:nvSpPr>
          <p:spPr>
            <a:xfrm>
              <a:off x="3276175" y="2431275"/>
              <a:ext cx="81625" cy="57700"/>
            </a:xfrm>
            <a:custGeom>
              <a:avLst/>
              <a:gdLst/>
              <a:ahLst/>
              <a:cxnLst/>
              <a:rect l="l" t="t" r="r" b="b"/>
              <a:pathLst>
                <a:path w="3265" h="2308" extrusionOk="0">
                  <a:moveTo>
                    <a:pt x="2817" y="1"/>
                  </a:moveTo>
                  <a:cubicBezTo>
                    <a:pt x="2754" y="1"/>
                    <a:pt x="2691" y="20"/>
                    <a:pt x="2634" y="63"/>
                  </a:cubicBezTo>
                  <a:lnTo>
                    <a:pt x="190" y="1713"/>
                  </a:lnTo>
                  <a:cubicBezTo>
                    <a:pt x="39" y="1801"/>
                    <a:pt x="1" y="2003"/>
                    <a:pt x="102" y="2154"/>
                  </a:cubicBezTo>
                  <a:cubicBezTo>
                    <a:pt x="159" y="2252"/>
                    <a:pt x="263" y="2308"/>
                    <a:pt x="370" y="2308"/>
                  </a:cubicBezTo>
                  <a:cubicBezTo>
                    <a:pt x="429" y="2308"/>
                    <a:pt x="489" y="2291"/>
                    <a:pt x="543" y="2255"/>
                  </a:cubicBezTo>
                  <a:lnTo>
                    <a:pt x="3063" y="718"/>
                  </a:lnTo>
                  <a:cubicBezTo>
                    <a:pt x="3214" y="630"/>
                    <a:pt x="3264" y="428"/>
                    <a:pt x="3176" y="277"/>
                  </a:cubicBezTo>
                  <a:lnTo>
                    <a:pt x="3088" y="151"/>
                  </a:lnTo>
                  <a:cubicBezTo>
                    <a:pt x="3025" y="56"/>
                    <a:pt x="2922" y="1"/>
                    <a:pt x="281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45"/>
            <p:cNvSpPr/>
            <p:nvPr/>
          </p:nvSpPr>
          <p:spPr>
            <a:xfrm>
              <a:off x="2611475" y="2416250"/>
              <a:ext cx="80050" cy="60225"/>
            </a:xfrm>
            <a:custGeom>
              <a:avLst/>
              <a:gdLst/>
              <a:ahLst/>
              <a:cxnLst/>
              <a:rect l="l" t="t" r="r" b="b"/>
              <a:pathLst>
                <a:path w="3202" h="2409" extrusionOk="0">
                  <a:moveTo>
                    <a:pt x="448" y="1"/>
                  </a:moveTo>
                  <a:cubicBezTo>
                    <a:pt x="352" y="1"/>
                    <a:pt x="256" y="46"/>
                    <a:pt x="190" y="134"/>
                  </a:cubicBezTo>
                  <a:lnTo>
                    <a:pt x="102" y="260"/>
                  </a:lnTo>
                  <a:cubicBezTo>
                    <a:pt x="1" y="412"/>
                    <a:pt x="39" y="613"/>
                    <a:pt x="190" y="714"/>
                  </a:cubicBezTo>
                  <a:lnTo>
                    <a:pt x="2647" y="2352"/>
                  </a:lnTo>
                  <a:cubicBezTo>
                    <a:pt x="2704" y="2390"/>
                    <a:pt x="2768" y="2408"/>
                    <a:pt x="2831" y="2408"/>
                  </a:cubicBezTo>
                  <a:cubicBezTo>
                    <a:pt x="2936" y="2408"/>
                    <a:pt x="3038" y="2358"/>
                    <a:pt x="3101" y="2264"/>
                  </a:cubicBezTo>
                  <a:cubicBezTo>
                    <a:pt x="3202" y="2113"/>
                    <a:pt x="3164" y="1924"/>
                    <a:pt x="3025" y="1810"/>
                  </a:cubicBezTo>
                  <a:lnTo>
                    <a:pt x="644" y="71"/>
                  </a:lnTo>
                  <a:cubicBezTo>
                    <a:pt x="586" y="24"/>
                    <a:pt x="517" y="1"/>
                    <a:pt x="44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45"/>
            <p:cNvSpPr/>
            <p:nvPr/>
          </p:nvSpPr>
          <p:spPr>
            <a:xfrm>
              <a:off x="3232400" y="2364300"/>
              <a:ext cx="72475" cy="68850"/>
            </a:xfrm>
            <a:custGeom>
              <a:avLst/>
              <a:gdLst/>
              <a:ahLst/>
              <a:cxnLst/>
              <a:rect l="l" t="t" r="r" b="b"/>
              <a:pathLst>
                <a:path w="2899" h="2754" extrusionOk="0">
                  <a:moveTo>
                    <a:pt x="2439" y="1"/>
                  </a:moveTo>
                  <a:cubicBezTo>
                    <a:pt x="2354" y="1"/>
                    <a:pt x="2268" y="32"/>
                    <a:pt x="2205" y="95"/>
                  </a:cubicBezTo>
                  <a:lnTo>
                    <a:pt x="126" y="2187"/>
                  </a:lnTo>
                  <a:cubicBezTo>
                    <a:pt x="0" y="2313"/>
                    <a:pt x="0" y="2515"/>
                    <a:pt x="126" y="2641"/>
                  </a:cubicBezTo>
                  <a:cubicBezTo>
                    <a:pt x="187" y="2715"/>
                    <a:pt x="277" y="2753"/>
                    <a:pt x="366" y="2753"/>
                  </a:cubicBezTo>
                  <a:cubicBezTo>
                    <a:pt x="444" y="2753"/>
                    <a:pt x="521" y="2724"/>
                    <a:pt x="580" y="2666"/>
                  </a:cubicBezTo>
                  <a:lnTo>
                    <a:pt x="2760" y="675"/>
                  </a:lnTo>
                  <a:cubicBezTo>
                    <a:pt x="2899" y="549"/>
                    <a:pt x="2899" y="335"/>
                    <a:pt x="2772" y="209"/>
                  </a:cubicBezTo>
                  <a:cubicBezTo>
                    <a:pt x="2747" y="171"/>
                    <a:pt x="2709" y="133"/>
                    <a:pt x="2672" y="95"/>
                  </a:cubicBezTo>
                  <a:cubicBezTo>
                    <a:pt x="2609" y="32"/>
                    <a:pt x="2524" y="1"/>
                    <a:pt x="2439"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45"/>
            <p:cNvSpPr/>
            <p:nvPr/>
          </p:nvSpPr>
          <p:spPr>
            <a:xfrm>
              <a:off x="2667250" y="2351575"/>
              <a:ext cx="70275" cy="70725"/>
            </a:xfrm>
            <a:custGeom>
              <a:avLst/>
              <a:gdLst/>
              <a:ahLst/>
              <a:cxnLst/>
              <a:rect l="l" t="t" r="r" b="b"/>
              <a:pathLst>
                <a:path w="2811" h="2829" extrusionOk="0">
                  <a:moveTo>
                    <a:pt x="455" y="1"/>
                  </a:moveTo>
                  <a:cubicBezTo>
                    <a:pt x="376" y="1"/>
                    <a:pt x="298" y="29"/>
                    <a:pt x="240" y="88"/>
                  </a:cubicBezTo>
                  <a:lnTo>
                    <a:pt x="126" y="201"/>
                  </a:lnTo>
                  <a:cubicBezTo>
                    <a:pt x="0" y="315"/>
                    <a:pt x="0" y="529"/>
                    <a:pt x="126" y="655"/>
                  </a:cubicBezTo>
                  <a:lnTo>
                    <a:pt x="2231" y="2734"/>
                  </a:lnTo>
                  <a:cubicBezTo>
                    <a:pt x="2287" y="2797"/>
                    <a:pt x="2369" y="2828"/>
                    <a:pt x="2453" y="2828"/>
                  </a:cubicBezTo>
                  <a:cubicBezTo>
                    <a:pt x="2536" y="2828"/>
                    <a:pt x="2621" y="2797"/>
                    <a:pt x="2684" y="2734"/>
                  </a:cubicBezTo>
                  <a:cubicBezTo>
                    <a:pt x="2810" y="2620"/>
                    <a:pt x="2810" y="2419"/>
                    <a:pt x="2697" y="2280"/>
                  </a:cubicBezTo>
                  <a:lnTo>
                    <a:pt x="706" y="113"/>
                  </a:lnTo>
                  <a:cubicBezTo>
                    <a:pt x="638" y="39"/>
                    <a:pt x="546" y="1"/>
                    <a:pt x="45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45"/>
            <p:cNvSpPr/>
            <p:nvPr/>
          </p:nvSpPr>
          <p:spPr>
            <a:xfrm>
              <a:off x="3178200" y="2308875"/>
              <a:ext cx="62400" cy="78050"/>
            </a:xfrm>
            <a:custGeom>
              <a:avLst/>
              <a:gdLst/>
              <a:ahLst/>
              <a:cxnLst/>
              <a:rect l="l" t="t" r="r" b="b"/>
              <a:pathLst>
                <a:path w="2496" h="3122" extrusionOk="0">
                  <a:moveTo>
                    <a:pt x="1997" y="1"/>
                  </a:moveTo>
                  <a:cubicBezTo>
                    <a:pt x="1892" y="1"/>
                    <a:pt x="1790" y="51"/>
                    <a:pt x="1727" y="145"/>
                  </a:cubicBezTo>
                  <a:lnTo>
                    <a:pt x="89" y="2615"/>
                  </a:lnTo>
                  <a:cubicBezTo>
                    <a:pt x="1" y="2753"/>
                    <a:pt x="39" y="2955"/>
                    <a:pt x="177" y="3056"/>
                  </a:cubicBezTo>
                  <a:cubicBezTo>
                    <a:pt x="237" y="3101"/>
                    <a:pt x="304" y="3122"/>
                    <a:pt x="371" y="3122"/>
                  </a:cubicBezTo>
                  <a:cubicBezTo>
                    <a:pt x="472" y="3122"/>
                    <a:pt x="570" y="3072"/>
                    <a:pt x="631" y="2980"/>
                  </a:cubicBezTo>
                  <a:lnTo>
                    <a:pt x="2383" y="599"/>
                  </a:lnTo>
                  <a:cubicBezTo>
                    <a:pt x="2496" y="460"/>
                    <a:pt x="2458" y="258"/>
                    <a:pt x="2307" y="158"/>
                  </a:cubicBezTo>
                  <a:lnTo>
                    <a:pt x="2181" y="57"/>
                  </a:lnTo>
                  <a:cubicBezTo>
                    <a:pt x="2124" y="19"/>
                    <a:pt x="2060" y="1"/>
                    <a:pt x="199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45"/>
            <p:cNvSpPr/>
            <p:nvPr/>
          </p:nvSpPr>
          <p:spPr>
            <a:xfrm>
              <a:off x="2733725" y="2298900"/>
              <a:ext cx="60175" cy="79600"/>
            </a:xfrm>
            <a:custGeom>
              <a:avLst/>
              <a:gdLst/>
              <a:ahLst/>
              <a:cxnLst/>
              <a:rect l="l" t="t" r="r" b="b"/>
              <a:pathLst>
                <a:path w="2407" h="3184" extrusionOk="0">
                  <a:moveTo>
                    <a:pt x="498" y="1"/>
                  </a:moveTo>
                  <a:cubicBezTo>
                    <a:pt x="439" y="1"/>
                    <a:pt x="380" y="17"/>
                    <a:pt x="328" y="53"/>
                  </a:cubicBezTo>
                  <a:lnTo>
                    <a:pt x="202" y="141"/>
                  </a:lnTo>
                  <a:cubicBezTo>
                    <a:pt x="51" y="242"/>
                    <a:pt x="0" y="443"/>
                    <a:pt x="114" y="594"/>
                  </a:cubicBezTo>
                  <a:lnTo>
                    <a:pt x="1752" y="3039"/>
                  </a:lnTo>
                  <a:cubicBezTo>
                    <a:pt x="1814" y="3133"/>
                    <a:pt x="1921" y="3183"/>
                    <a:pt x="2027" y="3183"/>
                  </a:cubicBezTo>
                  <a:cubicBezTo>
                    <a:pt x="2090" y="3183"/>
                    <a:pt x="2153" y="3165"/>
                    <a:pt x="2205" y="3127"/>
                  </a:cubicBezTo>
                  <a:cubicBezTo>
                    <a:pt x="2356" y="3026"/>
                    <a:pt x="2407" y="2837"/>
                    <a:pt x="2306" y="2686"/>
                  </a:cubicBezTo>
                  <a:lnTo>
                    <a:pt x="781" y="166"/>
                  </a:lnTo>
                  <a:cubicBezTo>
                    <a:pt x="716" y="59"/>
                    <a:pt x="607"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45"/>
            <p:cNvSpPr/>
            <p:nvPr/>
          </p:nvSpPr>
          <p:spPr>
            <a:xfrm>
              <a:off x="3116150" y="2267350"/>
              <a:ext cx="49800" cy="84650"/>
            </a:xfrm>
            <a:custGeom>
              <a:avLst/>
              <a:gdLst/>
              <a:ahLst/>
              <a:cxnLst/>
              <a:rect l="l" t="t" r="r" b="b"/>
              <a:pathLst>
                <a:path w="1992" h="3386" extrusionOk="0">
                  <a:moveTo>
                    <a:pt x="1483" y="0"/>
                  </a:moveTo>
                  <a:cubicBezTo>
                    <a:pt x="1359" y="0"/>
                    <a:pt x="1244" y="75"/>
                    <a:pt x="1198" y="206"/>
                  </a:cubicBezTo>
                  <a:lnTo>
                    <a:pt x="64" y="2927"/>
                  </a:lnTo>
                  <a:cubicBezTo>
                    <a:pt x="1" y="3091"/>
                    <a:pt x="76" y="3280"/>
                    <a:pt x="240" y="3356"/>
                  </a:cubicBezTo>
                  <a:cubicBezTo>
                    <a:pt x="283" y="3376"/>
                    <a:pt x="328" y="3385"/>
                    <a:pt x="373" y="3385"/>
                  </a:cubicBezTo>
                  <a:cubicBezTo>
                    <a:pt x="496" y="3385"/>
                    <a:pt x="613" y="3313"/>
                    <a:pt x="668" y="3192"/>
                  </a:cubicBezTo>
                  <a:lnTo>
                    <a:pt x="1916" y="521"/>
                  </a:lnTo>
                  <a:cubicBezTo>
                    <a:pt x="1992" y="357"/>
                    <a:pt x="1929" y="155"/>
                    <a:pt x="1765" y="92"/>
                  </a:cubicBezTo>
                  <a:lnTo>
                    <a:pt x="1613" y="29"/>
                  </a:lnTo>
                  <a:cubicBezTo>
                    <a:pt x="1571" y="10"/>
                    <a:pt x="1526" y="0"/>
                    <a:pt x="148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5"/>
            <p:cNvSpPr/>
            <p:nvPr/>
          </p:nvSpPr>
          <p:spPr>
            <a:xfrm>
              <a:off x="2809950" y="2260450"/>
              <a:ext cx="48225" cy="85700"/>
            </a:xfrm>
            <a:custGeom>
              <a:avLst/>
              <a:gdLst/>
              <a:ahLst/>
              <a:cxnLst/>
              <a:rect l="l" t="t" r="r" b="b"/>
              <a:pathLst>
                <a:path w="1929" h="3428" extrusionOk="0">
                  <a:moveTo>
                    <a:pt x="514" y="1"/>
                  </a:moveTo>
                  <a:cubicBezTo>
                    <a:pt x="473" y="1"/>
                    <a:pt x="431" y="10"/>
                    <a:pt x="391" y="28"/>
                  </a:cubicBezTo>
                  <a:lnTo>
                    <a:pt x="253" y="78"/>
                  </a:lnTo>
                  <a:cubicBezTo>
                    <a:pt x="76" y="141"/>
                    <a:pt x="1" y="330"/>
                    <a:pt x="76" y="507"/>
                  </a:cubicBezTo>
                  <a:lnTo>
                    <a:pt x="1210" y="3229"/>
                  </a:lnTo>
                  <a:cubicBezTo>
                    <a:pt x="1258" y="3354"/>
                    <a:pt x="1380" y="3427"/>
                    <a:pt x="1507" y="3427"/>
                  </a:cubicBezTo>
                  <a:cubicBezTo>
                    <a:pt x="1547" y="3427"/>
                    <a:pt x="1587" y="3420"/>
                    <a:pt x="1626" y="3405"/>
                  </a:cubicBezTo>
                  <a:lnTo>
                    <a:pt x="1928" y="3292"/>
                  </a:lnTo>
                  <a:lnTo>
                    <a:pt x="807" y="217"/>
                  </a:lnTo>
                  <a:cubicBezTo>
                    <a:pt x="759"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5"/>
            <p:cNvSpPr/>
            <p:nvPr/>
          </p:nvSpPr>
          <p:spPr>
            <a:xfrm>
              <a:off x="3048725" y="2241100"/>
              <a:ext cx="35950" cy="88625"/>
            </a:xfrm>
            <a:custGeom>
              <a:avLst/>
              <a:gdLst/>
              <a:ahLst/>
              <a:cxnLst/>
              <a:rect l="l" t="t" r="r" b="b"/>
              <a:pathLst>
                <a:path w="1438" h="3545" extrusionOk="0">
                  <a:moveTo>
                    <a:pt x="916" y="1"/>
                  </a:moveTo>
                  <a:cubicBezTo>
                    <a:pt x="767" y="1"/>
                    <a:pt x="639" y="107"/>
                    <a:pt x="606" y="260"/>
                  </a:cubicBezTo>
                  <a:lnTo>
                    <a:pt x="39" y="3171"/>
                  </a:lnTo>
                  <a:cubicBezTo>
                    <a:pt x="1" y="3335"/>
                    <a:pt x="114" y="3511"/>
                    <a:pt x="291" y="3536"/>
                  </a:cubicBezTo>
                  <a:cubicBezTo>
                    <a:pt x="314" y="3542"/>
                    <a:pt x="338" y="3544"/>
                    <a:pt x="361" y="3544"/>
                  </a:cubicBezTo>
                  <a:cubicBezTo>
                    <a:pt x="502" y="3544"/>
                    <a:pt x="636" y="3450"/>
                    <a:pt x="669" y="3310"/>
                  </a:cubicBezTo>
                  <a:lnTo>
                    <a:pt x="1387" y="437"/>
                  </a:lnTo>
                  <a:cubicBezTo>
                    <a:pt x="1437" y="260"/>
                    <a:pt x="1324" y="84"/>
                    <a:pt x="1148" y="46"/>
                  </a:cubicBezTo>
                  <a:lnTo>
                    <a:pt x="984" y="8"/>
                  </a:lnTo>
                  <a:cubicBezTo>
                    <a:pt x="961" y="3"/>
                    <a:pt x="938" y="1"/>
                    <a:pt x="91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45"/>
            <p:cNvSpPr/>
            <p:nvPr/>
          </p:nvSpPr>
          <p:spPr>
            <a:xfrm>
              <a:off x="2892475" y="2237650"/>
              <a:ext cx="32475" cy="89225"/>
            </a:xfrm>
            <a:custGeom>
              <a:avLst/>
              <a:gdLst/>
              <a:ahLst/>
              <a:cxnLst/>
              <a:rect l="l" t="t" r="r" b="b"/>
              <a:pathLst>
                <a:path w="1299" h="3569" extrusionOk="0">
                  <a:moveTo>
                    <a:pt x="518" y="1"/>
                  </a:moveTo>
                  <a:cubicBezTo>
                    <a:pt x="497" y="1"/>
                    <a:pt x="476" y="3"/>
                    <a:pt x="455" y="8"/>
                  </a:cubicBezTo>
                  <a:lnTo>
                    <a:pt x="291" y="33"/>
                  </a:lnTo>
                  <a:cubicBezTo>
                    <a:pt x="114" y="71"/>
                    <a:pt x="1" y="234"/>
                    <a:pt x="39" y="411"/>
                  </a:cubicBezTo>
                  <a:lnTo>
                    <a:pt x="618" y="3309"/>
                  </a:lnTo>
                  <a:cubicBezTo>
                    <a:pt x="651" y="3472"/>
                    <a:pt x="786" y="3569"/>
                    <a:pt x="935" y="3569"/>
                  </a:cubicBezTo>
                  <a:cubicBezTo>
                    <a:pt x="960" y="3569"/>
                    <a:pt x="984" y="3566"/>
                    <a:pt x="1009" y="3561"/>
                  </a:cubicBezTo>
                  <a:cubicBezTo>
                    <a:pt x="1173" y="3536"/>
                    <a:pt x="1299" y="3372"/>
                    <a:pt x="1274" y="3196"/>
                  </a:cubicBezTo>
                  <a:lnTo>
                    <a:pt x="820" y="272"/>
                  </a:lnTo>
                  <a:cubicBezTo>
                    <a:pt x="798" y="117"/>
                    <a:pt x="668" y="1"/>
                    <a:pt x="51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45"/>
            <p:cNvSpPr/>
            <p:nvPr/>
          </p:nvSpPr>
          <p:spPr>
            <a:xfrm>
              <a:off x="2978800" y="2231825"/>
              <a:ext cx="19875" cy="89825"/>
            </a:xfrm>
            <a:custGeom>
              <a:avLst/>
              <a:gdLst/>
              <a:ahLst/>
              <a:cxnLst/>
              <a:rect l="l" t="t" r="r" b="b"/>
              <a:pathLst>
                <a:path w="795" h="3593" extrusionOk="0">
                  <a:moveTo>
                    <a:pt x="306" y="0"/>
                  </a:moveTo>
                  <a:cubicBezTo>
                    <a:pt x="139" y="0"/>
                    <a:pt x="1" y="135"/>
                    <a:pt x="1" y="316"/>
                  </a:cubicBezTo>
                  <a:lnTo>
                    <a:pt x="1" y="3265"/>
                  </a:lnTo>
                  <a:cubicBezTo>
                    <a:pt x="1" y="3441"/>
                    <a:pt x="139" y="3580"/>
                    <a:pt x="316" y="3592"/>
                  </a:cubicBezTo>
                  <a:lnTo>
                    <a:pt x="328" y="3592"/>
                  </a:lnTo>
                  <a:cubicBezTo>
                    <a:pt x="505" y="3592"/>
                    <a:pt x="656" y="3454"/>
                    <a:pt x="656" y="3277"/>
                  </a:cubicBezTo>
                  <a:lnTo>
                    <a:pt x="794" y="329"/>
                  </a:lnTo>
                  <a:cubicBezTo>
                    <a:pt x="794" y="152"/>
                    <a:pt x="656" y="1"/>
                    <a:pt x="479" y="1"/>
                  </a:cubicBezTo>
                  <a:lnTo>
                    <a:pt x="328" y="1"/>
                  </a:lnTo>
                  <a:cubicBezTo>
                    <a:pt x="321" y="1"/>
                    <a:pt x="313" y="0"/>
                    <a:pt x="306"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45"/>
            <p:cNvSpPr/>
            <p:nvPr/>
          </p:nvSpPr>
          <p:spPr>
            <a:xfrm>
              <a:off x="2932775" y="2646625"/>
              <a:ext cx="86700" cy="73675"/>
            </a:xfrm>
            <a:custGeom>
              <a:avLst/>
              <a:gdLst/>
              <a:ahLst/>
              <a:cxnLst/>
              <a:rect l="l" t="t" r="r" b="b"/>
              <a:pathLst>
                <a:path w="3468" h="2947" extrusionOk="0">
                  <a:moveTo>
                    <a:pt x="1937" y="1"/>
                  </a:moveTo>
                  <a:cubicBezTo>
                    <a:pt x="692" y="1"/>
                    <a:pt x="1" y="1493"/>
                    <a:pt x="846" y="2449"/>
                  </a:cubicBezTo>
                  <a:cubicBezTo>
                    <a:pt x="1150" y="2792"/>
                    <a:pt x="1546" y="2947"/>
                    <a:pt x="1936" y="2947"/>
                  </a:cubicBezTo>
                  <a:cubicBezTo>
                    <a:pt x="2662" y="2947"/>
                    <a:pt x="3368" y="2412"/>
                    <a:pt x="3417" y="1567"/>
                  </a:cubicBezTo>
                  <a:cubicBezTo>
                    <a:pt x="3467" y="748"/>
                    <a:pt x="2850" y="55"/>
                    <a:pt x="2043" y="5"/>
                  </a:cubicBezTo>
                  <a:cubicBezTo>
                    <a:pt x="2007" y="2"/>
                    <a:pt x="1972" y="1"/>
                    <a:pt x="19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45"/>
            <p:cNvSpPr/>
            <p:nvPr/>
          </p:nvSpPr>
          <p:spPr>
            <a:xfrm>
              <a:off x="2970300" y="2433775"/>
              <a:ext cx="26475" cy="263375"/>
            </a:xfrm>
            <a:custGeom>
              <a:avLst/>
              <a:gdLst/>
              <a:ahLst/>
              <a:cxnLst/>
              <a:rect l="l" t="t" r="r" b="b"/>
              <a:pathLst>
                <a:path w="1059" h="10535" extrusionOk="0">
                  <a:moveTo>
                    <a:pt x="1059" y="0"/>
                  </a:moveTo>
                  <a:lnTo>
                    <a:pt x="0" y="10484"/>
                  </a:lnTo>
                  <a:lnTo>
                    <a:pt x="819" y="10535"/>
                  </a:lnTo>
                  <a:lnTo>
                    <a:pt x="1059"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 name="Google Shape;1281;p45"/>
          <p:cNvGrpSpPr/>
          <p:nvPr/>
        </p:nvGrpSpPr>
        <p:grpSpPr>
          <a:xfrm>
            <a:off x="6309551" y="2397797"/>
            <a:ext cx="1752594" cy="965797"/>
            <a:chOff x="3672800" y="2231525"/>
            <a:chExt cx="891225" cy="491150"/>
          </a:xfrm>
        </p:grpSpPr>
        <p:sp>
          <p:nvSpPr>
            <p:cNvPr id="1282" name="Google Shape;1282;p45"/>
            <p:cNvSpPr/>
            <p:nvPr/>
          </p:nvSpPr>
          <p:spPr>
            <a:xfrm>
              <a:off x="3672800" y="2657125"/>
              <a:ext cx="90125" cy="19550"/>
            </a:xfrm>
            <a:custGeom>
              <a:avLst/>
              <a:gdLst/>
              <a:ahLst/>
              <a:cxnLst/>
              <a:rect l="l" t="t" r="r" b="b"/>
              <a:pathLst>
                <a:path w="3605" h="782" extrusionOk="0">
                  <a:moveTo>
                    <a:pt x="353" y="0"/>
                  </a:moveTo>
                  <a:cubicBezTo>
                    <a:pt x="164" y="0"/>
                    <a:pt x="13" y="139"/>
                    <a:pt x="13" y="315"/>
                  </a:cubicBezTo>
                  <a:lnTo>
                    <a:pt x="13" y="454"/>
                  </a:lnTo>
                  <a:cubicBezTo>
                    <a:pt x="0" y="630"/>
                    <a:pt x="152" y="782"/>
                    <a:pt x="328" y="782"/>
                  </a:cubicBezTo>
                  <a:lnTo>
                    <a:pt x="3277" y="782"/>
                  </a:lnTo>
                  <a:cubicBezTo>
                    <a:pt x="3453" y="782"/>
                    <a:pt x="3604" y="643"/>
                    <a:pt x="3604" y="467"/>
                  </a:cubicBezTo>
                  <a:cubicBezTo>
                    <a:pt x="3604" y="290"/>
                    <a:pt x="3466" y="139"/>
                    <a:pt x="3289" y="126"/>
                  </a:cubicBezTo>
                  <a:lnTo>
                    <a:pt x="353" y="0"/>
                  </a:ln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5"/>
            <p:cNvSpPr/>
            <p:nvPr/>
          </p:nvSpPr>
          <p:spPr>
            <a:xfrm>
              <a:off x="4473900" y="2667525"/>
              <a:ext cx="90125" cy="19875"/>
            </a:xfrm>
            <a:custGeom>
              <a:avLst/>
              <a:gdLst/>
              <a:ahLst/>
              <a:cxnLst/>
              <a:rect l="l" t="t" r="r" b="b"/>
              <a:pathLst>
                <a:path w="3605" h="795" extrusionOk="0">
                  <a:moveTo>
                    <a:pt x="3251" y="0"/>
                  </a:moveTo>
                  <a:lnTo>
                    <a:pt x="315" y="126"/>
                  </a:lnTo>
                  <a:cubicBezTo>
                    <a:pt x="139" y="139"/>
                    <a:pt x="0" y="290"/>
                    <a:pt x="0" y="466"/>
                  </a:cubicBezTo>
                  <a:cubicBezTo>
                    <a:pt x="0" y="643"/>
                    <a:pt x="152" y="794"/>
                    <a:pt x="328" y="794"/>
                  </a:cubicBezTo>
                  <a:lnTo>
                    <a:pt x="3277" y="794"/>
                  </a:lnTo>
                  <a:cubicBezTo>
                    <a:pt x="3453" y="781"/>
                    <a:pt x="3604" y="643"/>
                    <a:pt x="3592" y="454"/>
                  </a:cubicBezTo>
                  <a:lnTo>
                    <a:pt x="3592" y="315"/>
                  </a:lnTo>
                  <a:cubicBezTo>
                    <a:pt x="3592" y="139"/>
                    <a:pt x="3440" y="0"/>
                    <a:pt x="3251"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45"/>
            <p:cNvSpPr/>
            <p:nvPr/>
          </p:nvSpPr>
          <p:spPr>
            <a:xfrm>
              <a:off x="4466025" y="2589525"/>
              <a:ext cx="90425" cy="31175"/>
            </a:xfrm>
            <a:custGeom>
              <a:avLst/>
              <a:gdLst/>
              <a:ahLst/>
              <a:cxnLst/>
              <a:rect l="l" t="t" r="r" b="b"/>
              <a:pathLst>
                <a:path w="3617" h="1247" extrusionOk="0">
                  <a:moveTo>
                    <a:pt x="3244" y="0"/>
                  </a:moveTo>
                  <a:cubicBezTo>
                    <a:pt x="3222" y="0"/>
                    <a:pt x="3199" y="3"/>
                    <a:pt x="3176" y="8"/>
                  </a:cubicBezTo>
                  <a:lnTo>
                    <a:pt x="278" y="587"/>
                  </a:lnTo>
                  <a:cubicBezTo>
                    <a:pt x="114" y="625"/>
                    <a:pt x="0" y="789"/>
                    <a:pt x="26" y="965"/>
                  </a:cubicBezTo>
                  <a:lnTo>
                    <a:pt x="26" y="978"/>
                  </a:lnTo>
                  <a:cubicBezTo>
                    <a:pt x="48" y="1138"/>
                    <a:pt x="185" y="1246"/>
                    <a:pt x="342" y="1246"/>
                  </a:cubicBezTo>
                  <a:cubicBezTo>
                    <a:pt x="358" y="1246"/>
                    <a:pt x="374" y="1245"/>
                    <a:pt x="391" y="1243"/>
                  </a:cubicBezTo>
                  <a:lnTo>
                    <a:pt x="3314" y="789"/>
                  </a:lnTo>
                  <a:cubicBezTo>
                    <a:pt x="3491" y="764"/>
                    <a:pt x="3617" y="600"/>
                    <a:pt x="3592" y="424"/>
                  </a:cubicBezTo>
                  <a:cubicBezTo>
                    <a:pt x="3579" y="373"/>
                    <a:pt x="3566" y="310"/>
                    <a:pt x="3566" y="260"/>
                  </a:cubicBezTo>
                  <a:cubicBezTo>
                    <a:pt x="3533" y="106"/>
                    <a:pt x="3396" y="0"/>
                    <a:pt x="324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45"/>
            <p:cNvSpPr/>
            <p:nvPr/>
          </p:nvSpPr>
          <p:spPr>
            <a:xfrm>
              <a:off x="3681925" y="2572075"/>
              <a:ext cx="90125" cy="34200"/>
            </a:xfrm>
            <a:custGeom>
              <a:avLst/>
              <a:gdLst/>
              <a:ahLst/>
              <a:cxnLst/>
              <a:rect l="l" t="t" r="r" b="b"/>
              <a:pathLst>
                <a:path w="3605" h="1368" extrusionOk="0">
                  <a:moveTo>
                    <a:pt x="374" y="1"/>
                  </a:moveTo>
                  <a:cubicBezTo>
                    <a:pt x="237" y="1"/>
                    <a:pt x="106" y="104"/>
                    <a:pt x="64" y="252"/>
                  </a:cubicBezTo>
                  <a:lnTo>
                    <a:pt x="39" y="403"/>
                  </a:lnTo>
                  <a:cubicBezTo>
                    <a:pt x="1" y="580"/>
                    <a:pt x="114" y="756"/>
                    <a:pt x="291" y="781"/>
                  </a:cubicBezTo>
                  <a:lnTo>
                    <a:pt x="3189" y="1361"/>
                  </a:lnTo>
                  <a:cubicBezTo>
                    <a:pt x="3210" y="1366"/>
                    <a:pt x="3231" y="1368"/>
                    <a:pt x="3252" y="1368"/>
                  </a:cubicBezTo>
                  <a:cubicBezTo>
                    <a:pt x="3405" y="1368"/>
                    <a:pt x="3545" y="1252"/>
                    <a:pt x="3567" y="1096"/>
                  </a:cubicBezTo>
                  <a:cubicBezTo>
                    <a:pt x="3605" y="920"/>
                    <a:pt x="3504" y="744"/>
                    <a:pt x="3327" y="706"/>
                  </a:cubicBezTo>
                  <a:lnTo>
                    <a:pt x="454" y="13"/>
                  </a:lnTo>
                  <a:cubicBezTo>
                    <a:pt x="428" y="5"/>
                    <a:pt x="401" y="1"/>
                    <a:pt x="37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45"/>
            <p:cNvSpPr/>
            <p:nvPr/>
          </p:nvSpPr>
          <p:spPr>
            <a:xfrm>
              <a:off x="4446175" y="2507375"/>
              <a:ext cx="87925" cy="45050"/>
            </a:xfrm>
            <a:custGeom>
              <a:avLst/>
              <a:gdLst/>
              <a:ahLst/>
              <a:cxnLst/>
              <a:rect l="l" t="t" r="r" b="b"/>
              <a:pathLst>
                <a:path w="3517" h="1802" extrusionOk="0">
                  <a:moveTo>
                    <a:pt x="3105" y="1"/>
                  </a:moveTo>
                  <a:cubicBezTo>
                    <a:pt x="3062" y="1"/>
                    <a:pt x="3017" y="10"/>
                    <a:pt x="2974" y="30"/>
                  </a:cubicBezTo>
                  <a:lnTo>
                    <a:pt x="240" y="1164"/>
                  </a:lnTo>
                  <a:cubicBezTo>
                    <a:pt x="76" y="1240"/>
                    <a:pt x="0" y="1416"/>
                    <a:pt x="76" y="1580"/>
                  </a:cubicBezTo>
                  <a:cubicBezTo>
                    <a:pt x="115" y="1718"/>
                    <a:pt x="240" y="1802"/>
                    <a:pt x="370" y="1802"/>
                  </a:cubicBezTo>
                  <a:cubicBezTo>
                    <a:pt x="407" y="1802"/>
                    <a:pt x="444" y="1795"/>
                    <a:pt x="479" y="1782"/>
                  </a:cubicBezTo>
                  <a:lnTo>
                    <a:pt x="3264" y="761"/>
                  </a:lnTo>
                  <a:cubicBezTo>
                    <a:pt x="3428" y="698"/>
                    <a:pt x="3516" y="522"/>
                    <a:pt x="3453" y="345"/>
                  </a:cubicBezTo>
                  <a:cubicBezTo>
                    <a:pt x="3428" y="295"/>
                    <a:pt x="3415" y="257"/>
                    <a:pt x="3390" y="207"/>
                  </a:cubicBezTo>
                  <a:cubicBezTo>
                    <a:pt x="3344" y="76"/>
                    <a:pt x="3228" y="1"/>
                    <a:pt x="310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45"/>
            <p:cNvSpPr/>
            <p:nvPr/>
          </p:nvSpPr>
          <p:spPr>
            <a:xfrm>
              <a:off x="3707450" y="2490950"/>
              <a:ext cx="86975" cy="47850"/>
            </a:xfrm>
            <a:custGeom>
              <a:avLst/>
              <a:gdLst/>
              <a:ahLst/>
              <a:cxnLst/>
              <a:rect l="l" t="t" r="r" b="b"/>
              <a:pathLst>
                <a:path w="3479" h="1914" extrusionOk="0">
                  <a:moveTo>
                    <a:pt x="431" y="0"/>
                  </a:moveTo>
                  <a:cubicBezTo>
                    <a:pt x="312" y="0"/>
                    <a:pt x="193" y="66"/>
                    <a:pt x="139" y="183"/>
                  </a:cubicBezTo>
                  <a:cubicBezTo>
                    <a:pt x="126" y="234"/>
                    <a:pt x="101" y="284"/>
                    <a:pt x="76" y="334"/>
                  </a:cubicBezTo>
                  <a:cubicBezTo>
                    <a:pt x="0" y="498"/>
                    <a:pt x="89" y="687"/>
                    <a:pt x="252" y="763"/>
                  </a:cubicBezTo>
                  <a:lnTo>
                    <a:pt x="2987" y="1884"/>
                  </a:lnTo>
                  <a:cubicBezTo>
                    <a:pt x="3030" y="1904"/>
                    <a:pt x="3074" y="1913"/>
                    <a:pt x="3118" y="1913"/>
                  </a:cubicBezTo>
                  <a:cubicBezTo>
                    <a:pt x="3241" y="1913"/>
                    <a:pt x="3356" y="1838"/>
                    <a:pt x="3403" y="1708"/>
                  </a:cubicBezTo>
                  <a:cubicBezTo>
                    <a:pt x="3478" y="1544"/>
                    <a:pt x="3415" y="1355"/>
                    <a:pt x="3251" y="1279"/>
                  </a:cubicBezTo>
                  <a:lnTo>
                    <a:pt x="567" y="32"/>
                  </a:lnTo>
                  <a:cubicBezTo>
                    <a:pt x="525" y="10"/>
                    <a:pt x="478" y="0"/>
                    <a:pt x="431"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45"/>
            <p:cNvSpPr/>
            <p:nvPr/>
          </p:nvSpPr>
          <p:spPr>
            <a:xfrm>
              <a:off x="4414050" y="2431425"/>
              <a:ext cx="81600" cy="57650"/>
            </a:xfrm>
            <a:custGeom>
              <a:avLst/>
              <a:gdLst/>
              <a:ahLst/>
              <a:cxnLst/>
              <a:rect l="l" t="t" r="r" b="b"/>
              <a:pathLst>
                <a:path w="3264" h="2306" extrusionOk="0">
                  <a:moveTo>
                    <a:pt x="2818" y="0"/>
                  </a:moveTo>
                  <a:cubicBezTo>
                    <a:pt x="2755" y="0"/>
                    <a:pt x="2691" y="19"/>
                    <a:pt x="2634" y="57"/>
                  </a:cubicBezTo>
                  <a:lnTo>
                    <a:pt x="177" y="1707"/>
                  </a:lnTo>
                  <a:cubicBezTo>
                    <a:pt x="38" y="1808"/>
                    <a:pt x="0" y="1997"/>
                    <a:pt x="101" y="2148"/>
                  </a:cubicBezTo>
                  <a:cubicBezTo>
                    <a:pt x="160" y="2249"/>
                    <a:pt x="269" y="2305"/>
                    <a:pt x="380" y="2305"/>
                  </a:cubicBezTo>
                  <a:cubicBezTo>
                    <a:pt x="436" y="2305"/>
                    <a:pt x="492" y="2291"/>
                    <a:pt x="542" y="2262"/>
                  </a:cubicBezTo>
                  <a:lnTo>
                    <a:pt x="3062" y="724"/>
                  </a:lnTo>
                  <a:cubicBezTo>
                    <a:pt x="3213" y="636"/>
                    <a:pt x="3264" y="435"/>
                    <a:pt x="3163" y="271"/>
                  </a:cubicBezTo>
                  <a:lnTo>
                    <a:pt x="3087" y="145"/>
                  </a:lnTo>
                  <a:cubicBezTo>
                    <a:pt x="3025" y="50"/>
                    <a:pt x="2923" y="0"/>
                    <a:pt x="28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45"/>
            <p:cNvSpPr/>
            <p:nvPr/>
          </p:nvSpPr>
          <p:spPr>
            <a:xfrm>
              <a:off x="3749350" y="2416200"/>
              <a:ext cx="80025" cy="60275"/>
            </a:xfrm>
            <a:custGeom>
              <a:avLst/>
              <a:gdLst/>
              <a:ahLst/>
              <a:cxnLst/>
              <a:rect l="l" t="t" r="r" b="b"/>
              <a:pathLst>
                <a:path w="3201" h="2411" extrusionOk="0">
                  <a:moveTo>
                    <a:pt x="452" y="0"/>
                  </a:moveTo>
                  <a:cubicBezTo>
                    <a:pt x="351" y="0"/>
                    <a:pt x="250" y="46"/>
                    <a:pt x="189" y="136"/>
                  </a:cubicBezTo>
                  <a:lnTo>
                    <a:pt x="101" y="262"/>
                  </a:lnTo>
                  <a:cubicBezTo>
                    <a:pt x="0" y="414"/>
                    <a:pt x="38" y="615"/>
                    <a:pt x="189" y="716"/>
                  </a:cubicBezTo>
                  <a:lnTo>
                    <a:pt x="2647" y="2354"/>
                  </a:lnTo>
                  <a:cubicBezTo>
                    <a:pt x="2703" y="2392"/>
                    <a:pt x="2768" y="2410"/>
                    <a:pt x="2831" y="2410"/>
                  </a:cubicBezTo>
                  <a:cubicBezTo>
                    <a:pt x="2935" y="2410"/>
                    <a:pt x="3037" y="2360"/>
                    <a:pt x="3100" y="2266"/>
                  </a:cubicBezTo>
                  <a:cubicBezTo>
                    <a:pt x="3201" y="2115"/>
                    <a:pt x="3176" y="1913"/>
                    <a:pt x="3025" y="1812"/>
                  </a:cubicBezTo>
                  <a:lnTo>
                    <a:pt x="643" y="61"/>
                  </a:lnTo>
                  <a:cubicBezTo>
                    <a:pt x="588" y="20"/>
                    <a:pt x="520" y="0"/>
                    <a:pt x="452"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 name="Google Shape;1290;p45"/>
            <p:cNvSpPr/>
            <p:nvPr/>
          </p:nvSpPr>
          <p:spPr>
            <a:xfrm>
              <a:off x="4370250" y="2364375"/>
              <a:ext cx="72475" cy="68675"/>
            </a:xfrm>
            <a:custGeom>
              <a:avLst/>
              <a:gdLst/>
              <a:ahLst/>
              <a:cxnLst/>
              <a:rect l="l" t="t" r="r" b="b"/>
              <a:pathLst>
                <a:path w="2899" h="2747" extrusionOk="0">
                  <a:moveTo>
                    <a:pt x="2441" y="1"/>
                  </a:moveTo>
                  <a:cubicBezTo>
                    <a:pt x="2357" y="1"/>
                    <a:pt x="2275" y="36"/>
                    <a:pt x="2218" y="105"/>
                  </a:cubicBezTo>
                  <a:lnTo>
                    <a:pt x="127" y="2197"/>
                  </a:lnTo>
                  <a:cubicBezTo>
                    <a:pt x="1" y="2323"/>
                    <a:pt x="1" y="2524"/>
                    <a:pt x="127" y="2650"/>
                  </a:cubicBezTo>
                  <a:cubicBezTo>
                    <a:pt x="191" y="2715"/>
                    <a:pt x="273" y="2746"/>
                    <a:pt x="355" y="2746"/>
                  </a:cubicBezTo>
                  <a:cubicBezTo>
                    <a:pt x="433" y="2746"/>
                    <a:pt x="513" y="2718"/>
                    <a:pt x="580" y="2663"/>
                  </a:cubicBezTo>
                  <a:lnTo>
                    <a:pt x="2760" y="672"/>
                  </a:lnTo>
                  <a:cubicBezTo>
                    <a:pt x="2899" y="546"/>
                    <a:pt x="2899" y="344"/>
                    <a:pt x="2773" y="218"/>
                  </a:cubicBezTo>
                  <a:lnTo>
                    <a:pt x="2672" y="105"/>
                  </a:lnTo>
                  <a:cubicBezTo>
                    <a:pt x="2609" y="36"/>
                    <a:pt x="2524" y="1"/>
                    <a:pt x="244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5"/>
            <p:cNvSpPr/>
            <p:nvPr/>
          </p:nvSpPr>
          <p:spPr>
            <a:xfrm>
              <a:off x="3805100" y="2351575"/>
              <a:ext cx="70600" cy="70875"/>
            </a:xfrm>
            <a:custGeom>
              <a:avLst/>
              <a:gdLst/>
              <a:ahLst/>
              <a:cxnLst/>
              <a:rect l="l" t="t" r="r" b="b"/>
              <a:pathLst>
                <a:path w="2824" h="2835" extrusionOk="0">
                  <a:moveTo>
                    <a:pt x="462" y="1"/>
                  </a:moveTo>
                  <a:cubicBezTo>
                    <a:pt x="386" y="1"/>
                    <a:pt x="311" y="29"/>
                    <a:pt x="253" y="88"/>
                  </a:cubicBezTo>
                  <a:lnTo>
                    <a:pt x="139" y="201"/>
                  </a:lnTo>
                  <a:cubicBezTo>
                    <a:pt x="1" y="327"/>
                    <a:pt x="1" y="529"/>
                    <a:pt x="139" y="655"/>
                  </a:cubicBezTo>
                  <a:lnTo>
                    <a:pt x="2231" y="2747"/>
                  </a:lnTo>
                  <a:cubicBezTo>
                    <a:pt x="2291" y="2806"/>
                    <a:pt x="2368" y="2835"/>
                    <a:pt x="2446" y="2835"/>
                  </a:cubicBezTo>
                  <a:cubicBezTo>
                    <a:pt x="2532" y="2835"/>
                    <a:pt x="2619" y="2800"/>
                    <a:pt x="2685" y="2734"/>
                  </a:cubicBezTo>
                  <a:cubicBezTo>
                    <a:pt x="2823" y="2620"/>
                    <a:pt x="2823" y="2419"/>
                    <a:pt x="2710" y="2293"/>
                  </a:cubicBezTo>
                  <a:lnTo>
                    <a:pt x="706" y="113"/>
                  </a:lnTo>
                  <a:cubicBezTo>
                    <a:pt x="639" y="39"/>
                    <a:pt x="550" y="1"/>
                    <a:pt x="4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5"/>
            <p:cNvSpPr/>
            <p:nvPr/>
          </p:nvSpPr>
          <p:spPr>
            <a:xfrm>
              <a:off x="4315750" y="2309200"/>
              <a:ext cx="62725" cy="77850"/>
            </a:xfrm>
            <a:custGeom>
              <a:avLst/>
              <a:gdLst/>
              <a:ahLst/>
              <a:cxnLst/>
              <a:rect l="l" t="t" r="r" b="b"/>
              <a:pathLst>
                <a:path w="2509" h="3114" extrusionOk="0">
                  <a:moveTo>
                    <a:pt x="2009" y="0"/>
                  </a:moveTo>
                  <a:cubicBezTo>
                    <a:pt x="1905" y="0"/>
                    <a:pt x="1802" y="50"/>
                    <a:pt x="1740" y="145"/>
                  </a:cubicBezTo>
                  <a:lnTo>
                    <a:pt x="102" y="2602"/>
                  </a:lnTo>
                  <a:cubicBezTo>
                    <a:pt x="1" y="2753"/>
                    <a:pt x="39" y="2942"/>
                    <a:pt x="190" y="3043"/>
                  </a:cubicBezTo>
                  <a:cubicBezTo>
                    <a:pt x="253" y="3090"/>
                    <a:pt x="325" y="3113"/>
                    <a:pt x="394" y="3113"/>
                  </a:cubicBezTo>
                  <a:cubicBezTo>
                    <a:pt x="492" y="3113"/>
                    <a:pt x="585" y="3068"/>
                    <a:pt x="643" y="2980"/>
                  </a:cubicBezTo>
                  <a:lnTo>
                    <a:pt x="2395" y="598"/>
                  </a:lnTo>
                  <a:cubicBezTo>
                    <a:pt x="2508" y="447"/>
                    <a:pt x="2470" y="245"/>
                    <a:pt x="2319" y="145"/>
                  </a:cubicBezTo>
                  <a:lnTo>
                    <a:pt x="2193" y="56"/>
                  </a:lnTo>
                  <a:cubicBezTo>
                    <a:pt x="2136" y="18"/>
                    <a:pt x="2072" y="0"/>
                    <a:pt x="200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45"/>
            <p:cNvSpPr/>
            <p:nvPr/>
          </p:nvSpPr>
          <p:spPr>
            <a:xfrm>
              <a:off x="3871575" y="2298900"/>
              <a:ext cx="60200" cy="79600"/>
            </a:xfrm>
            <a:custGeom>
              <a:avLst/>
              <a:gdLst/>
              <a:ahLst/>
              <a:cxnLst/>
              <a:rect l="l" t="t" r="r" b="b"/>
              <a:pathLst>
                <a:path w="2408" h="3184" extrusionOk="0">
                  <a:moveTo>
                    <a:pt x="498" y="1"/>
                  </a:moveTo>
                  <a:cubicBezTo>
                    <a:pt x="440" y="1"/>
                    <a:pt x="381" y="17"/>
                    <a:pt x="328" y="53"/>
                  </a:cubicBezTo>
                  <a:lnTo>
                    <a:pt x="202" y="141"/>
                  </a:lnTo>
                  <a:cubicBezTo>
                    <a:pt x="51" y="242"/>
                    <a:pt x="0" y="443"/>
                    <a:pt x="114" y="594"/>
                  </a:cubicBezTo>
                  <a:lnTo>
                    <a:pt x="1765" y="3039"/>
                  </a:lnTo>
                  <a:cubicBezTo>
                    <a:pt x="1820" y="3133"/>
                    <a:pt x="1924" y="3183"/>
                    <a:pt x="2028" y="3183"/>
                  </a:cubicBezTo>
                  <a:cubicBezTo>
                    <a:pt x="2091" y="3183"/>
                    <a:pt x="2153" y="3165"/>
                    <a:pt x="2206" y="3127"/>
                  </a:cubicBezTo>
                  <a:cubicBezTo>
                    <a:pt x="2357" y="3026"/>
                    <a:pt x="2407" y="2825"/>
                    <a:pt x="2306" y="2686"/>
                  </a:cubicBezTo>
                  <a:lnTo>
                    <a:pt x="769" y="166"/>
                  </a:lnTo>
                  <a:cubicBezTo>
                    <a:pt x="712" y="59"/>
                    <a:pt x="606" y="1"/>
                    <a:pt x="498"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45"/>
            <p:cNvSpPr/>
            <p:nvPr/>
          </p:nvSpPr>
          <p:spPr>
            <a:xfrm>
              <a:off x="4253700" y="2267350"/>
              <a:ext cx="50100" cy="84650"/>
            </a:xfrm>
            <a:custGeom>
              <a:avLst/>
              <a:gdLst/>
              <a:ahLst/>
              <a:cxnLst/>
              <a:rect l="l" t="t" r="r" b="b"/>
              <a:pathLst>
                <a:path w="2004" h="3386" extrusionOk="0">
                  <a:moveTo>
                    <a:pt x="1487" y="0"/>
                  </a:moveTo>
                  <a:cubicBezTo>
                    <a:pt x="1359" y="0"/>
                    <a:pt x="1244" y="75"/>
                    <a:pt x="1197" y="206"/>
                  </a:cubicBezTo>
                  <a:lnTo>
                    <a:pt x="76" y="2940"/>
                  </a:lnTo>
                  <a:cubicBezTo>
                    <a:pt x="0" y="3104"/>
                    <a:pt x="76" y="3293"/>
                    <a:pt x="240" y="3356"/>
                  </a:cubicBezTo>
                  <a:lnTo>
                    <a:pt x="252" y="3356"/>
                  </a:lnTo>
                  <a:cubicBezTo>
                    <a:pt x="296" y="3376"/>
                    <a:pt x="341" y="3386"/>
                    <a:pt x="385" y="3386"/>
                  </a:cubicBezTo>
                  <a:cubicBezTo>
                    <a:pt x="504" y="3386"/>
                    <a:pt x="616" y="3315"/>
                    <a:pt x="681" y="3205"/>
                  </a:cubicBezTo>
                  <a:lnTo>
                    <a:pt x="1928" y="521"/>
                  </a:lnTo>
                  <a:cubicBezTo>
                    <a:pt x="2004" y="357"/>
                    <a:pt x="1928" y="168"/>
                    <a:pt x="1764" y="92"/>
                  </a:cubicBezTo>
                  <a:lnTo>
                    <a:pt x="1626" y="29"/>
                  </a:lnTo>
                  <a:cubicBezTo>
                    <a:pt x="1580" y="10"/>
                    <a:pt x="1533" y="0"/>
                    <a:pt x="148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45"/>
            <p:cNvSpPr/>
            <p:nvPr/>
          </p:nvSpPr>
          <p:spPr>
            <a:xfrm>
              <a:off x="3947800" y="2260450"/>
              <a:ext cx="46975" cy="85825"/>
            </a:xfrm>
            <a:custGeom>
              <a:avLst/>
              <a:gdLst/>
              <a:ahLst/>
              <a:cxnLst/>
              <a:rect l="l" t="t" r="r" b="b"/>
              <a:pathLst>
                <a:path w="1879" h="3433" extrusionOk="0">
                  <a:moveTo>
                    <a:pt x="514" y="1"/>
                  </a:moveTo>
                  <a:cubicBezTo>
                    <a:pt x="473" y="1"/>
                    <a:pt x="432" y="10"/>
                    <a:pt x="392" y="28"/>
                  </a:cubicBezTo>
                  <a:lnTo>
                    <a:pt x="253" y="78"/>
                  </a:lnTo>
                  <a:cubicBezTo>
                    <a:pt x="76" y="141"/>
                    <a:pt x="1" y="330"/>
                    <a:pt x="76" y="494"/>
                  </a:cubicBezTo>
                  <a:lnTo>
                    <a:pt x="1211" y="3229"/>
                  </a:lnTo>
                  <a:cubicBezTo>
                    <a:pt x="1258" y="3352"/>
                    <a:pt x="1377" y="3432"/>
                    <a:pt x="1503" y="3432"/>
                  </a:cubicBezTo>
                  <a:cubicBezTo>
                    <a:pt x="1544" y="3432"/>
                    <a:pt x="1586" y="3424"/>
                    <a:pt x="1626" y="3405"/>
                  </a:cubicBezTo>
                  <a:cubicBezTo>
                    <a:pt x="1803" y="3342"/>
                    <a:pt x="1878" y="3153"/>
                    <a:pt x="1815" y="2989"/>
                  </a:cubicBezTo>
                  <a:lnTo>
                    <a:pt x="807" y="217"/>
                  </a:lnTo>
                  <a:cubicBezTo>
                    <a:pt x="760" y="84"/>
                    <a:pt x="640" y="1"/>
                    <a:pt x="51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45"/>
            <p:cNvSpPr/>
            <p:nvPr/>
          </p:nvSpPr>
          <p:spPr>
            <a:xfrm>
              <a:off x="4186900" y="2241100"/>
              <a:ext cx="35325" cy="88925"/>
            </a:xfrm>
            <a:custGeom>
              <a:avLst/>
              <a:gdLst/>
              <a:ahLst/>
              <a:cxnLst/>
              <a:rect l="l" t="t" r="r" b="b"/>
              <a:pathLst>
                <a:path w="1413" h="3557" extrusionOk="0">
                  <a:moveTo>
                    <a:pt x="904" y="1"/>
                  </a:moveTo>
                  <a:cubicBezTo>
                    <a:pt x="755" y="1"/>
                    <a:pt x="626" y="108"/>
                    <a:pt x="593" y="273"/>
                  </a:cubicBezTo>
                  <a:lnTo>
                    <a:pt x="26" y="3171"/>
                  </a:lnTo>
                  <a:cubicBezTo>
                    <a:pt x="1" y="3335"/>
                    <a:pt x="102" y="3511"/>
                    <a:pt x="278" y="3549"/>
                  </a:cubicBezTo>
                  <a:cubicBezTo>
                    <a:pt x="303" y="3554"/>
                    <a:pt x="328" y="3557"/>
                    <a:pt x="352" y="3557"/>
                  </a:cubicBezTo>
                  <a:cubicBezTo>
                    <a:pt x="498" y="3557"/>
                    <a:pt x="625" y="3461"/>
                    <a:pt x="669" y="3310"/>
                  </a:cubicBezTo>
                  <a:lnTo>
                    <a:pt x="1374" y="437"/>
                  </a:lnTo>
                  <a:cubicBezTo>
                    <a:pt x="1412" y="260"/>
                    <a:pt x="1311" y="84"/>
                    <a:pt x="1135" y="46"/>
                  </a:cubicBezTo>
                  <a:lnTo>
                    <a:pt x="971" y="8"/>
                  </a:lnTo>
                  <a:cubicBezTo>
                    <a:pt x="948" y="3"/>
                    <a:pt x="926" y="1"/>
                    <a:pt x="90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45"/>
            <p:cNvSpPr/>
            <p:nvPr/>
          </p:nvSpPr>
          <p:spPr>
            <a:xfrm>
              <a:off x="4030025" y="2237750"/>
              <a:ext cx="33100" cy="89125"/>
            </a:xfrm>
            <a:custGeom>
              <a:avLst/>
              <a:gdLst/>
              <a:ahLst/>
              <a:cxnLst/>
              <a:rect l="l" t="t" r="r" b="b"/>
              <a:pathLst>
                <a:path w="1324" h="3565" extrusionOk="0">
                  <a:moveTo>
                    <a:pt x="503" y="0"/>
                  </a:moveTo>
                  <a:cubicBezTo>
                    <a:pt x="487" y="0"/>
                    <a:pt x="471" y="1"/>
                    <a:pt x="454" y="4"/>
                  </a:cubicBezTo>
                  <a:lnTo>
                    <a:pt x="303" y="41"/>
                  </a:lnTo>
                  <a:cubicBezTo>
                    <a:pt x="127" y="67"/>
                    <a:pt x="1" y="243"/>
                    <a:pt x="51" y="419"/>
                  </a:cubicBezTo>
                  <a:lnTo>
                    <a:pt x="643" y="3318"/>
                  </a:lnTo>
                  <a:cubicBezTo>
                    <a:pt x="665" y="3460"/>
                    <a:pt x="801" y="3564"/>
                    <a:pt x="953" y="3564"/>
                  </a:cubicBezTo>
                  <a:cubicBezTo>
                    <a:pt x="975" y="3564"/>
                    <a:pt x="998" y="3562"/>
                    <a:pt x="1021" y="3557"/>
                  </a:cubicBezTo>
                  <a:cubicBezTo>
                    <a:pt x="1198" y="3532"/>
                    <a:pt x="1324" y="3368"/>
                    <a:pt x="1286" y="3192"/>
                  </a:cubicBezTo>
                  <a:lnTo>
                    <a:pt x="832" y="281"/>
                  </a:lnTo>
                  <a:cubicBezTo>
                    <a:pt x="810" y="109"/>
                    <a:pt x="662" y="0"/>
                    <a:pt x="50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5"/>
            <p:cNvSpPr/>
            <p:nvPr/>
          </p:nvSpPr>
          <p:spPr>
            <a:xfrm>
              <a:off x="4111925" y="2231525"/>
              <a:ext cx="20200" cy="90125"/>
            </a:xfrm>
            <a:custGeom>
              <a:avLst/>
              <a:gdLst/>
              <a:ahLst/>
              <a:cxnLst/>
              <a:rect l="l" t="t" r="r" b="b"/>
              <a:pathLst>
                <a:path w="808" h="3605" extrusionOk="0">
                  <a:moveTo>
                    <a:pt x="329" y="1"/>
                  </a:moveTo>
                  <a:cubicBezTo>
                    <a:pt x="152" y="1"/>
                    <a:pt x="1" y="152"/>
                    <a:pt x="14" y="328"/>
                  </a:cubicBezTo>
                  <a:lnTo>
                    <a:pt x="77" y="3289"/>
                  </a:lnTo>
                  <a:cubicBezTo>
                    <a:pt x="64" y="3466"/>
                    <a:pt x="215" y="3604"/>
                    <a:pt x="404" y="3604"/>
                  </a:cubicBezTo>
                  <a:cubicBezTo>
                    <a:pt x="581" y="3604"/>
                    <a:pt x="732" y="3466"/>
                    <a:pt x="732" y="3289"/>
                  </a:cubicBezTo>
                  <a:lnTo>
                    <a:pt x="795" y="328"/>
                  </a:lnTo>
                  <a:cubicBezTo>
                    <a:pt x="807" y="152"/>
                    <a:pt x="669" y="1"/>
                    <a:pt x="480"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5"/>
            <p:cNvSpPr/>
            <p:nvPr/>
          </p:nvSpPr>
          <p:spPr>
            <a:xfrm>
              <a:off x="4081375" y="2648975"/>
              <a:ext cx="77200" cy="73700"/>
            </a:xfrm>
            <a:custGeom>
              <a:avLst/>
              <a:gdLst/>
              <a:ahLst/>
              <a:cxnLst/>
              <a:rect l="l" t="t" r="r" b="b"/>
              <a:pathLst>
                <a:path w="3088" h="2948" extrusionOk="0">
                  <a:moveTo>
                    <a:pt x="1488" y="1"/>
                  </a:moveTo>
                  <a:cubicBezTo>
                    <a:pt x="729" y="1"/>
                    <a:pt x="1" y="595"/>
                    <a:pt x="1" y="1486"/>
                  </a:cubicBezTo>
                  <a:cubicBezTo>
                    <a:pt x="9" y="2368"/>
                    <a:pt x="732" y="2947"/>
                    <a:pt x="1483" y="2947"/>
                  </a:cubicBezTo>
                  <a:cubicBezTo>
                    <a:pt x="1848" y="2947"/>
                    <a:pt x="2220" y="2811"/>
                    <a:pt x="2521" y="2506"/>
                  </a:cubicBezTo>
                  <a:cubicBezTo>
                    <a:pt x="3088" y="1939"/>
                    <a:pt x="3088" y="1007"/>
                    <a:pt x="2508" y="427"/>
                  </a:cubicBezTo>
                  <a:cubicBezTo>
                    <a:pt x="2210" y="133"/>
                    <a:pt x="1845" y="1"/>
                    <a:pt x="14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45"/>
            <p:cNvSpPr/>
            <p:nvPr/>
          </p:nvSpPr>
          <p:spPr>
            <a:xfrm>
              <a:off x="4101850" y="2507800"/>
              <a:ext cx="192200" cy="194700"/>
            </a:xfrm>
            <a:custGeom>
              <a:avLst/>
              <a:gdLst/>
              <a:ahLst/>
              <a:cxnLst/>
              <a:rect l="l" t="t" r="r" b="b"/>
              <a:pathLst>
                <a:path w="7688" h="7788" extrusionOk="0">
                  <a:moveTo>
                    <a:pt x="7687" y="1"/>
                  </a:moveTo>
                  <a:lnTo>
                    <a:pt x="1" y="7221"/>
                  </a:lnTo>
                  <a:lnTo>
                    <a:pt x="580" y="7788"/>
                  </a:lnTo>
                  <a:lnTo>
                    <a:pt x="768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 name="Google Shape;1301;p45"/>
          <p:cNvGrpSpPr/>
          <p:nvPr/>
        </p:nvGrpSpPr>
        <p:grpSpPr>
          <a:xfrm>
            <a:off x="1076798" y="2389341"/>
            <a:ext cx="1751365" cy="974253"/>
            <a:chOff x="4811600" y="2231525"/>
            <a:chExt cx="890600" cy="495450"/>
          </a:xfrm>
        </p:grpSpPr>
        <p:sp>
          <p:nvSpPr>
            <p:cNvPr id="1302" name="Google Shape;1302;p45"/>
            <p:cNvSpPr/>
            <p:nvPr/>
          </p:nvSpPr>
          <p:spPr>
            <a:xfrm>
              <a:off x="5604200" y="2591000"/>
              <a:ext cx="90750" cy="31025"/>
            </a:xfrm>
            <a:custGeom>
              <a:avLst/>
              <a:gdLst/>
              <a:ahLst/>
              <a:cxnLst/>
              <a:rect l="l" t="t" r="r" b="b"/>
              <a:pathLst>
                <a:path w="3630" h="1241" extrusionOk="0">
                  <a:moveTo>
                    <a:pt x="3267" y="1"/>
                  </a:moveTo>
                  <a:cubicBezTo>
                    <a:pt x="3241" y="1"/>
                    <a:pt x="3215" y="4"/>
                    <a:pt x="3188" y="12"/>
                  </a:cubicBezTo>
                  <a:lnTo>
                    <a:pt x="290" y="591"/>
                  </a:lnTo>
                  <a:cubicBezTo>
                    <a:pt x="114" y="617"/>
                    <a:pt x="0" y="793"/>
                    <a:pt x="38" y="957"/>
                  </a:cubicBezTo>
                  <a:lnTo>
                    <a:pt x="38" y="969"/>
                  </a:lnTo>
                  <a:cubicBezTo>
                    <a:pt x="60" y="1125"/>
                    <a:pt x="190" y="1241"/>
                    <a:pt x="341" y="1241"/>
                  </a:cubicBezTo>
                  <a:cubicBezTo>
                    <a:pt x="361" y="1241"/>
                    <a:pt x="382" y="1239"/>
                    <a:pt x="404" y="1234"/>
                  </a:cubicBezTo>
                  <a:lnTo>
                    <a:pt x="3327" y="793"/>
                  </a:lnTo>
                  <a:cubicBezTo>
                    <a:pt x="3503" y="768"/>
                    <a:pt x="3629" y="591"/>
                    <a:pt x="3592" y="415"/>
                  </a:cubicBezTo>
                  <a:cubicBezTo>
                    <a:pt x="3579" y="365"/>
                    <a:pt x="3579" y="314"/>
                    <a:pt x="3566" y="264"/>
                  </a:cubicBezTo>
                  <a:cubicBezTo>
                    <a:pt x="3534" y="114"/>
                    <a:pt x="3411" y="1"/>
                    <a:pt x="326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45"/>
            <p:cNvSpPr/>
            <p:nvPr/>
          </p:nvSpPr>
          <p:spPr>
            <a:xfrm>
              <a:off x="4820100" y="2573450"/>
              <a:ext cx="90450" cy="34100"/>
            </a:xfrm>
            <a:custGeom>
              <a:avLst/>
              <a:gdLst/>
              <a:ahLst/>
              <a:cxnLst/>
              <a:rect l="l" t="t" r="r" b="b"/>
              <a:pathLst>
                <a:path w="3618" h="1364" extrusionOk="0">
                  <a:moveTo>
                    <a:pt x="393" y="0"/>
                  </a:moveTo>
                  <a:cubicBezTo>
                    <a:pt x="244" y="0"/>
                    <a:pt x="109" y="96"/>
                    <a:pt x="76" y="248"/>
                  </a:cubicBezTo>
                  <a:cubicBezTo>
                    <a:pt x="64" y="311"/>
                    <a:pt x="51" y="361"/>
                    <a:pt x="39" y="411"/>
                  </a:cubicBezTo>
                  <a:cubicBezTo>
                    <a:pt x="1" y="588"/>
                    <a:pt x="114" y="764"/>
                    <a:pt x="291" y="789"/>
                  </a:cubicBezTo>
                  <a:lnTo>
                    <a:pt x="3201" y="1356"/>
                  </a:lnTo>
                  <a:cubicBezTo>
                    <a:pt x="3223" y="1361"/>
                    <a:pt x="3244" y="1364"/>
                    <a:pt x="3265" y="1364"/>
                  </a:cubicBezTo>
                  <a:cubicBezTo>
                    <a:pt x="3409" y="1364"/>
                    <a:pt x="3546" y="1258"/>
                    <a:pt x="3579" y="1104"/>
                  </a:cubicBezTo>
                  <a:lnTo>
                    <a:pt x="3579" y="1092"/>
                  </a:lnTo>
                  <a:cubicBezTo>
                    <a:pt x="3617" y="928"/>
                    <a:pt x="3504" y="752"/>
                    <a:pt x="3340" y="714"/>
                  </a:cubicBezTo>
                  <a:lnTo>
                    <a:pt x="467" y="8"/>
                  </a:lnTo>
                  <a:cubicBezTo>
                    <a:pt x="442" y="3"/>
                    <a:pt x="417" y="0"/>
                    <a:pt x="39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45"/>
            <p:cNvSpPr/>
            <p:nvPr/>
          </p:nvSpPr>
          <p:spPr>
            <a:xfrm>
              <a:off x="5584675" y="2508700"/>
              <a:ext cx="87900" cy="45000"/>
            </a:xfrm>
            <a:custGeom>
              <a:avLst/>
              <a:gdLst/>
              <a:ahLst/>
              <a:cxnLst/>
              <a:rect l="l" t="t" r="r" b="b"/>
              <a:pathLst>
                <a:path w="3516" h="1800" extrusionOk="0">
                  <a:moveTo>
                    <a:pt x="3087" y="0"/>
                  </a:moveTo>
                  <a:cubicBezTo>
                    <a:pt x="3045" y="0"/>
                    <a:pt x="3002" y="9"/>
                    <a:pt x="2961" y="28"/>
                  </a:cubicBezTo>
                  <a:lnTo>
                    <a:pt x="239" y="1174"/>
                  </a:lnTo>
                  <a:cubicBezTo>
                    <a:pt x="76" y="1237"/>
                    <a:pt x="0" y="1426"/>
                    <a:pt x="63" y="1590"/>
                  </a:cubicBezTo>
                  <a:cubicBezTo>
                    <a:pt x="112" y="1718"/>
                    <a:pt x="238" y="1799"/>
                    <a:pt x="368" y="1799"/>
                  </a:cubicBezTo>
                  <a:cubicBezTo>
                    <a:pt x="405" y="1799"/>
                    <a:pt x="443" y="1793"/>
                    <a:pt x="479" y="1779"/>
                  </a:cubicBezTo>
                  <a:lnTo>
                    <a:pt x="3251" y="771"/>
                  </a:lnTo>
                  <a:cubicBezTo>
                    <a:pt x="3427" y="708"/>
                    <a:pt x="3516" y="519"/>
                    <a:pt x="3440" y="355"/>
                  </a:cubicBezTo>
                  <a:lnTo>
                    <a:pt x="3390" y="204"/>
                  </a:lnTo>
                  <a:cubicBezTo>
                    <a:pt x="3342" y="81"/>
                    <a:pt x="3216" y="0"/>
                    <a:pt x="308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45"/>
            <p:cNvSpPr/>
            <p:nvPr/>
          </p:nvSpPr>
          <p:spPr>
            <a:xfrm>
              <a:off x="4845925" y="2492075"/>
              <a:ext cx="86975" cy="47975"/>
            </a:xfrm>
            <a:custGeom>
              <a:avLst/>
              <a:gdLst/>
              <a:ahLst/>
              <a:cxnLst/>
              <a:rect l="l" t="t" r="r" b="b"/>
              <a:pathLst>
                <a:path w="3479" h="1919" extrusionOk="0">
                  <a:moveTo>
                    <a:pt x="423" y="0"/>
                  </a:moveTo>
                  <a:cubicBezTo>
                    <a:pt x="305" y="0"/>
                    <a:pt x="193" y="72"/>
                    <a:pt x="140" y="189"/>
                  </a:cubicBezTo>
                  <a:cubicBezTo>
                    <a:pt x="114" y="239"/>
                    <a:pt x="102" y="289"/>
                    <a:pt x="77" y="340"/>
                  </a:cubicBezTo>
                  <a:cubicBezTo>
                    <a:pt x="1" y="504"/>
                    <a:pt x="77" y="693"/>
                    <a:pt x="253" y="756"/>
                  </a:cubicBezTo>
                  <a:lnTo>
                    <a:pt x="2987" y="1890"/>
                  </a:lnTo>
                  <a:cubicBezTo>
                    <a:pt x="3027" y="1909"/>
                    <a:pt x="3070" y="1919"/>
                    <a:pt x="3113" y="1919"/>
                  </a:cubicBezTo>
                  <a:cubicBezTo>
                    <a:pt x="3235" y="1919"/>
                    <a:pt x="3357" y="1844"/>
                    <a:pt x="3403" y="1713"/>
                  </a:cubicBezTo>
                  <a:cubicBezTo>
                    <a:pt x="3479" y="1549"/>
                    <a:pt x="3403" y="1360"/>
                    <a:pt x="3252" y="1285"/>
                  </a:cubicBezTo>
                  <a:lnTo>
                    <a:pt x="568" y="37"/>
                  </a:lnTo>
                  <a:cubicBezTo>
                    <a:pt x="521" y="12"/>
                    <a:pt x="471" y="0"/>
                    <a:pt x="42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45"/>
            <p:cNvSpPr/>
            <p:nvPr/>
          </p:nvSpPr>
          <p:spPr>
            <a:xfrm>
              <a:off x="5552225" y="2432700"/>
              <a:ext cx="81925" cy="57850"/>
            </a:xfrm>
            <a:custGeom>
              <a:avLst/>
              <a:gdLst/>
              <a:ahLst/>
              <a:cxnLst/>
              <a:rect l="l" t="t" r="r" b="b"/>
              <a:pathLst>
                <a:path w="3277" h="2314" extrusionOk="0">
                  <a:moveTo>
                    <a:pt x="2821" y="0"/>
                  </a:moveTo>
                  <a:cubicBezTo>
                    <a:pt x="2759" y="0"/>
                    <a:pt x="2698" y="19"/>
                    <a:pt x="2646" y="56"/>
                  </a:cubicBezTo>
                  <a:lnTo>
                    <a:pt x="189" y="1707"/>
                  </a:lnTo>
                  <a:cubicBezTo>
                    <a:pt x="38" y="1807"/>
                    <a:pt x="0" y="2009"/>
                    <a:pt x="101" y="2160"/>
                  </a:cubicBezTo>
                  <a:cubicBezTo>
                    <a:pt x="158" y="2258"/>
                    <a:pt x="262" y="2314"/>
                    <a:pt x="373" y="2314"/>
                  </a:cubicBezTo>
                  <a:cubicBezTo>
                    <a:pt x="434" y="2314"/>
                    <a:pt x="497" y="2297"/>
                    <a:pt x="555" y="2261"/>
                  </a:cubicBezTo>
                  <a:lnTo>
                    <a:pt x="3075" y="724"/>
                  </a:lnTo>
                  <a:cubicBezTo>
                    <a:pt x="3226" y="636"/>
                    <a:pt x="3276" y="434"/>
                    <a:pt x="3176" y="283"/>
                  </a:cubicBezTo>
                  <a:cubicBezTo>
                    <a:pt x="3150" y="232"/>
                    <a:pt x="3125" y="195"/>
                    <a:pt x="3087" y="157"/>
                  </a:cubicBezTo>
                  <a:cubicBezTo>
                    <a:pt x="3032" y="54"/>
                    <a:pt x="2926" y="0"/>
                    <a:pt x="282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45"/>
            <p:cNvSpPr/>
            <p:nvPr/>
          </p:nvSpPr>
          <p:spPr>
            <a:xfrm>
              <a:off x="4887825" y="2417825"/>
              <a:ext cx="80050" cy="60225"/>
            </a:xfrm>
            <a:custGeom>
              <a:avLst/>
              <a:gdLst/>
              <a:ahLst/>
              <a:cxnLst/>
              <a:rect l="l" t="t" r="r" b="b"/>
              <a:pathLst>
                <a:path w="3202" h="2409" extrusionOk="0">
                  <a:moveTo>
                    <a:pt x="444" y="1"/>
                  </a:moveTo>
                  <a:cubicBezTo>
                    <a:pt x="346" y="1"/>
                    <a:pt x="249" y="46"/>
                    <a:pt x="190" y="134"/>
                  </a:cubicBezTo>
                  <a:lnTo>
                    <a:pt x="102" y="260"/>
                  </a:lnTo>
                  <a:cubicBezTo>
                    <a:pt x="1" y="412"/>
                    <a:pt x="39" y="613"/>
                    <a:pt x="190" y="714"/>
                  </a:cubicBezTo>
                  <a:lnTo>
                    <a:pt x="2647" y="2352"/>
                  </a:lnTo>
                  <a:cubicBezTo>
                    <a:pt x="2699" y="2390"/>
                    <a:pt x="2762" y="2408"/>
                    <a:pt x="2826" y="2408"/>
                  </a:cubicBezTo>
                  <a:cubicBezTo>
                    <a:pt x="2931" y="2408"/>
                    <a:pt x="3038" y="2358"/>
                    <a:pt x="3101" y="2264"/>
                  </a:cubicBezTo>
                  <a:cubicBezTo>
                    <a:pt x="3202" y="2125"/>
                    <a:pt x="3164" y="1924"/>
                    <a:pt x="3025" y="1823"/>
                  </a:cubicBezTo>
                  <a:lnTo>
                    <a:pt x="644" y="71"/>
                  </a:lnTo>
                  <a:cubicBezTo>
                    <a:pt x="586" y="24"/>
                    <a:pt x="515" y="1"/>
                    <a:pt x="44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45"/>
            <p:cNvSpPr/>
            <p:nvPr/>
          </p:nvSpPr>
          <p:spPr>
            <a:xfrm>
              <a:off x="5508425" y="2365875"/>
              <a:ext cx="72800" cy="68850"/>
            </a:xfrm>
            <a:custGeom>
              <a:avLst/>
              <a:gdLst/>
              <a:ahLst/>
              <a:cxnLst/>
              <a:rect l="l" t="t" r="r" b="b"/>
              <a:pathLst>
                <a:path w="2912" h="2754" extrusionOk="0">
                  <a:moveTo>
                    <a:pt x="2445" y="1"/>
                  </a:moveTo>
                  <a:cubicBezTo>
                    <a:pt x="2363" y="1"/>
                    <a:pt x="2281" y="32"/>
                    <a:pt x="2218" y="95"/>
                  </a:cubicBezTo>
                  <a:lnTo>
                    <a:pt x="127" y="2187"/>
                  </a:lnTo>
                  <a:cubicBezTo>
                    <a:pt x="1" y="2313"/>
                    <a:pt x="1" y="2515"/>
                    <a:pt x="127" y="2641"/>
                  </a:cubicBezTo>
                  <a:cubicBezTo>
                    <a:pt x="194" y="2715"/>
                    <a:pt x="283" y="2753"/>
                    <a:pt x="371" y="2753"/>
                  </a:cubicBezTo>
                  <a:cubicBezTo>
                    <a:pt x="447" y="2753"/>
                    <a:pt x="522" y="2724"/>
                    <a:pt x="580" y="2666"/>
                  </a:cubicBezTo>
                  <a:lnTo>
                    <a:pt x="2760" y="662"/>
                  </a:lnTo>
                  <a:cubicBezTo>
                    <a:pt x="2899" y="549"/>
                    <a:pt x="2911" y="335"/>
                    <a:pt x="2785" y="209"/>
                  </a:cubicBezTo>
                  <a:lnTo>
                    <a:pt x="2672" y="95"/>
                  </a:lnTo>
                  <a:cubicBezTo>
                    <a:pt x="2609" y="32"/>
                    <a:pt x="2527" y="1"/>
                    <a:pt x="244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45"/>
            <p:cNvSpPr/>
            <p:nvPr/>
          </p:nvSpPr>
          <p:spPr>
            <a:xfrm>
              <a:off x="4943275" y="2353000"/>
              <a:ext cx="70600" cy="70875"/>
            </a:xfrm>
            <a:custGeom>
              <a:avLst/>
              <a:gdLst/>
              <a:ahLst/>
              <a:cxnLst/>
              <a:rect l="l" t="t" r="r" b="b"/>
              <a:pathLst>
                <a:path w="2824" h="2835" extrusionOk="0">
                  <a:moveTo>
                    <a:pt x="472" y="1"/>
                  </a:moveTo>
                  <a:cubicBezTo>
                    <a:pt x="390" y="1"/>
                    <a:pt x="308" y="32"/>
                    <a:pt x="240" y="94"/>
                  </a:cubicBezTo>
                  <a:lnTo>
                    <a:pt x="127" y="195"/>
                  </a:lnTo>
                  <a:cubicBezTo>
                    <a:pt x="1" y="321"/>
                    <a:pt x="1" y="535"/>
                    <a:pt x="127" y="661"/>
                  </a:cubicBezTo>
                  <a:lnTo>
                    <a:pt x="2231" y="2740"/>
                  </a:lnTo>
                  <a:cubicBezTo>
                    <a:pt x="2288" y="2803"/>
                    <a:pt x="2370" y="2834"/>
                    <a:pt x="2453" y="2834"/>
                  </a:cubicBezTo>
                  <a:cubicBezTo>
                    <a:pt x="2537" y="2834"/>
                    <a:pt x="2622" y="2803"/>
                    <a:pt x="2685" y="2740"/>
                  </a:cubicBezTo>
                  <a:cubicBezTo>
                    <a:pt x="2811" y="2614"/>
                    <a:pt x="2823" y="2412"/>
                    <a:pt x="2697" y="2286"/>
                  </a:cubicBezTo>
                  <a:lnTo>
                    <a:pt x="706" y="106"/>
                  </a:lnTo>
                  <a:cubicBezTo>
                    <a:pt x="642" y="35"/>
                    <a:pt x="557" y="1"/>
                    <a:pt x="47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45"/>
            <p:cNvSpPr/>
            <p:nvPr/>
          </p:nvSpPr>
          <p:spPr>
            <a:xfrm>
              <a:off x="5454250" y="2310450"/>
              <a:ext cx="62400" cy="77925"/>
            </a:xfrm>
            <a:custGeom>
              <a:avLst/>
              <a:gdLst/>
              <a:ahLst/>
              <a:cxnLst/>
              <a:rect l="l" t="t" r="r" b="b"/>
              <a:pathLst>
                <a:path w="2496" h="3117" extrusionOk="0">
                  <a:moveTo>
                    <a:pt x="2006" y="1"/>
                  </a:moveTo>
                  <a:cubicBezTo>
                    <a:pt x="1904" y="1"/>
                    <a:pt x="1802" y="51"/>
                    <a:pt x="1739" y="145"/>
                  </a:cubicBezTo>
                  <a:lnTo>
                    <a:pt x="101" y="2602"/>
                  </a:lnTo>
                  <a:cubicBezTo>
                    <a:pt x="0" y="2753"/>
                    <a:pt x="38" y="2955"/>
                    <a:pt x="189" y="3056"/>
                  </a:cubicBezTo>
                  <a:cubicBezTo>
                    <a:pt x="245" y="3096"/>
                    <a:pt x="310" y="3116"/>
                    <a:pt x="376" y="3116"/>
                  </a:cubicBezTo>
                  <a:cubicBezTo>
                    <a:pt x="475" y="3116"/>
                    <a:pt x="575" y="3071"/>
                    <a:pt x="643" y="2980"/>
                  </a:cubicBezTo>
                  <a:lnTo>
                    <a:pt x="2382" y="599"/>
                  </a:lnTo>
                  <a:cubicBezTo>
                    <a:pt x="2495" y="460"/>
                    <a:pt x="2470" y="246"/>
                    <a:pt x="2319" y="145"/>
                  </a:cubicBezTo>
                  <a:lnTo>
                    <a:pt x="2180" y="57"/>
                  </a:lnTo>
                  <a:cubicBezTo>
                    <a:pt x="2128" y="19"/>
                    <a:pt x="2067" y="1"/>
                    <a:pt x="200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45"/>
            <p:cNvSpPr/>
            <p:nvPr/>
          </p:nvSpPr>
          <p:spPr>
            <a:xfrm>
              <a:off x="5010075" y="2300475"/>
              <a:ext cx="60175" cy="79300"/>
            </a:xfrm>
            <a:custGeom>
              <a:avLst/>
              <a:gdLst/>
              <a:ahLst/>
              <a:cxnLst/>
              <a:rect l="l" t="t" r="r" b="b"/>
              <a:pathLst>
                <a:path w="2407" h="3172" extrusionOk="0">
                  <a:moveTo>
                    <a:pt x="500" y="0"/>
                  </a:moveTo>
                  <a:cubicBezTo>
                    <a:pt x="441" y="0"/>
                    <a:pt x="381" y="17"/>
                    <a:pt x="328" y="53"/>
                  </a:cubicBezTo>
                  <a:lnTo>
                    <a:pt x="202" y="128"/>
                  </a:lnTo>
                  <a:cubicBezTo>
                    <a:pt x="50" y="229"/>
                    <a:pt x="0" y="431"/>
                    <a:pt x="113" y="582"/>
                  </a:cubicBezTo>
                  <a:lnTo>
                    <a:pt x="1764" y="3039"/>
                  </a:lnTo>
                  <a:cubicBezTo>
                    <a:pt x="1826" y="3124"/>
                    <a:pt x="1927" y="3172"/>
                    <a:pt x="2027" y="3172"/>
                  </a:cubicBezTo>
                  <a:cubicBezTo>
                    <a:pt x="2090" y="3172"/>
                    <a:pt x="2152" y="3153"/>
                    <a:pt x="2205" y="3115"/>
                  </a:cubicBezTo>
                  <a:cubicBezTo>
                    <a:pt x="2356" y="3026"/>
                    <a:pt x="2407" y="2825"/>
                    <a:pt x="2306" y="2674"/>
                  </a:cubicBezTo>
                  <a:lnTo>
                    <a:pt x="769" y="153"/>
                  </a:lnTo>
                  <a:cubicBezTo>
                    <a:pt x="712" y="56"/>
                    <a:pt x="607" y="0"/>
                    <a:pt x="50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45"/>
            <p:cNvSpPr/>
            <p:nvPr/>
          </p:nvSpPr>
          <p:spPr>
            <a:xfrm>
              <a:off x="5392175" y="2268775"/>
              <a:ext cx="49800" cy="84550"/>
            </a:xfrm>
            <a:custGeom>
              <a:avLst/>
              <a:gdLst/>
              <a:ahLst/>
              <a:cxnLst/>
              <a:rect l="l" t="t" r="r" b="b"/>
              <a:pathLst>
                <a:path w="1992" h="3382" extrusionOk="0">
                  <a:moveTo>
                    <a:pt x="1495" y="1"/>
                  </a:moveTo>
                  <a:cubicBezTo>
                    <a:pt x="1367" y="1"/>
                    <a:pt x="1246" y="74"/>
                    <a:pt x="1198" y="199"/>
                  </a:cubicBezTo>
                  <a:lnTo>
                    <a:pt x="64" y="2933"/>
                  </a:lnTo>
                  <a:cubicBezTo>
                    <a:pt x="1" y="3097"/>
                    <a:pt x="76" y="3286"/>
                    <a:pt x="240" y="3349"/>
                  </a:cubicBezTo>
                  <a:cubicBezTo>
                    <a:pt x="287" y="3371"/>
                    <a:pt x="335" y="3381"/>
                    <a:pt x="383" y="3381"/>
                  </a:cubicBezTo>
                  <a:cubicBezTo>
                    <a:pt x="502" y="3381"/>
                    <a:pt x="615" y="3315"/>
                    <a:pt x="669" y="3198"/>
                  </a:cubicBezTo>
                  <a:lnTo>
                    <a:pt x="1916" y="527"/>
                  </a:lnTo>
                  <a:cubicBezTo>
                    <a:pt x="1992" y="363"/>
                    <a:pt x="1929" y="161"/>
                    <a:pt x="1765" y="98"/>
                  </a:cubicBezTo>
                  <a:lnTo>
                    <a:pt x="1614" y="23"/>
                  </a:lnTo>
                  <a:cubicBezTo>
                    <a:pt x="1575" y="8"/>
                    <a:pt x="1535" y="1"/>
                    <a:pt x="1495"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45"/>
            <p:cNvSpPr/>
            <p:nvPr/>
          </p:nvSpPr>
          <p:spPr>
            <a:xfrm>
              <a:off x="5085975" y="2261900"/>
              <a:ext cx="47275" cy="85675"/>
            </a:xfrm>
            <a:custGeom>
              <a:avLst/>
              <a:gdLst/>
              <a:ahLst/>
              <a:cxnLst/>
              <a:rect l="l" t="t" r="r" b="b"/>
              <a:pathLst>
                <a:path w="1891" h="3427" extrusionOk="0">
                  <a:moveTo>
                    <a:pt x="508" y="0"/>
                  </a:moveTo>
                  <a:cubicBezTo>
                    <a:pt x="470" y="0"/>
                    <a:pt x="430" y="7"/>
                    <a:pt x="391" y="20"/>
                  </a:cubicBezTo>
                  <a:lnTo>
                    <a:pt x="253" y="83"/>
                  </a:lnTo>
                  <a:cubicBezTo>
                    <a:pt x="89" y="146"/>
                    <a:pt x="1" y="335"/>
                    <a:pt x="76" y="499"/>
                  </a:cubicBezTo>
                  <a:lnTo>
                    <a:pt x="1211" y="3234"/>
                  </a:lnTo>
                  <a:cubicBezTo>
                    <a:pt x="1266" y="3354"/>
                    <a:pt x="1383" y="3427"/>
                    <a:pt x="1506" y="3427"/>
                  </a:cubicBezTo>
                  <a:cubicBezTo>
                    <a:pt x="1551" y="3427"/>
                    <a:pt x="1596" y="3418"/>
                    <a:pt x="1639" y="3397"/>
                  </a:cubicBezTo>
                  <a:cubicBezTo>
                    <a:pt x="1803" y="3347"/>
                    <a:pt x="1891" y="3158"/>
                    <a:pt x="1828" y="2994"/>
                  </a:cubicBezTo>
                  <a:lnTo>
                    <a:pt x="807" y="209"/>
                  </a:lnTo>
                  <a:cubicBezTo>
                    <a:pt x="768" y="82"/>
                    <a:pt x="644" y="0"/>
                    <a:pt x="50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45"/>
            <p:cNvSpPr/>
            <p:nvPr/>
          </p:nvSpPr>
          <p:spPr>
            <a:xfrm>
              <a:off x="5324775" y="2242575"/>
              <a:ext cx="35625" cy="88725"/>
            </a:xfrm>
            <a:custGeom>
              <a:avLst/>
              <a:gdLst/>
              <a:ahLst/>
              <a:cxnLst/>
              <a:rect l="l" t="t" r="r" b="b"/>
              <a:pathLst>
                <a:path w="1425" h="3549" extrusionOk="0">
                  <a:moveTo>
                    <a:pt x="898" y="0"/>
                  </a:moveTo>
                  <a:cubicBezTo>
                    <a:pt x="754" y="0"/>
                    <a:pt x="626" y="104"/>
                    <a:pt x="605" y="252"/>
                  </a:cubicBezTo>
                  <a:lnTo>
                    <a:pt x="38" y="3162"/>
                  </a:lnTo>
                  <a:cubicBezTo>
                    <a:pt x="0" y="3326"/>
                    <a:pt x="114" y="3503"/>
                    <a:pt x="290" y="3540"/>
                  </a:cubicBezTo>
                  <a:lnTo>
                    <a:pt x="303" y="3540"/>
                  </a:lnTo>
                  <a:cubicBezTo>
                    <a:pt x="326" y="3546"/>
                    <a:pt x="349" y="3548"/>
                    <a:pt x="372" y="3548"/>
                  </a:cubicBezTo>
                  <a:cubicBezTo>
                    <a:pt x="513" y="3548"/>
                    <a:pt x="648" y="3453"/>
                    <a:pt x="681" y="3301"/>
                  </a:cubicBezTo>
                  <a:lnTo>
                    <a:pt x="1386" y="428"/>
                  </a:lnTo>
                  <a:cubicBezTo>
                    <a:pt x="1424" y="252"/>
                    <a:pt x="1323" y="75"/>
                    <a:pt x="1147" y="37"/>
                  </a:cubicBezTo>
                  <a:lnTo>
                    <a:pt x="983" y="12"/>
                  </a:lnTo>
                  <a:cubicBezTo>
                    <a:pt x="955" y="4"/>
                    <a:pt x="926" y="0"/>
                    <a:pt x="898"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45"/>
            <p:cNvSpPr/>
            <p:nvPr/>
          </p:nvSpPr>
          <p:spPr>
            <a:xfrm>
              <a:off x="5168825" y="2239225"/>
              <a:ext cx="32475" cy="89225"/>
            </a:xfrm>
            <a:custGeom>
              <a:avLst/>
              <a:gdLst/>
              <a:ahLst/>
              <a:cxnLst/>
              <a:rect l="l" t="t" r="r" b="b"/>
              <a:pathLst>
                <a:path w="1299" h="3569" extrusionOk="0">
                  <a:moveTo>
                    <a:pt x="509" y="1"/>
                  </a:moveTo>
                  <a:cubicBezTo>
                    <a:pt x="487" y="1"/>
                    <a:pt x="465" y="3"/>
                    <a:pt x="442" y="8"/>
                  </a:cubicBezTo>
                  <a:lnTo>
                    <a:pt x="291" y="33"/>
                  </a:lnTo>
                  <a:cubicBezTo>
                    <a:pt x="114" y="58"/>
                    <a:pt x="1" y="234"/>
                    <a:pt x="39" y="411"/>
                  </a:cubicBezTo>
                  <a:lnTo>
                    <a:pt x="618" y="3309"/>
                  </a:lnTo>
                  <a:cubicBezTo>
                    <a:pt x="640" y="3463"/>
                    <a:pt x="777" y="3568"/>
                    <a:pt x="928" y="3568"/>
                  </a:cubicBezTo>
                  <a:cubicBezTo>
                    <a:pt x="951" y="3568"/>
                    <a:pt x="973" y="3566"/>
                    <a:pt x="996" y="3561"/>
                  </a:cubicBezTo>
                  <a:cubicBezTo>
                    <a:pt x="1173" y="3536"/>
                    <a:pt x="1299" y="3372"/>
                    <a:pt x="1261" y="3196"/>
                  </a:cubicBezTo>
                  <a:lnTo>
                    <a:pt x="820" y="272"/>
                  </a:lnTo>
                  <a:cubicBezTo>
                    <a:pt x="798" y="117"/>
                    <a:pt x="668" y="1"/>
                    <a:pt x="50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45"/>
            <p:cNvSpPr/>
            <p:nvPr/>
          </p:nvSpPr>
          <p:spPr>
            <a:xfrm>
              <a:off x="5252000" y="2231525"/>
              <a:ext cx="19875" cy="90125"/>
            </a:xfrm>
            <a:custGeom>
              <a:avLst/>
              <a:gdLst/>
              <a:ahLst/>
              <a:cxnLst/>
              <a:rect l="l" t="t" r="r" b="b"/>
              <a:pathLst>
                <a:path w="795" h="3605" extrusionOk="0">
                  <a:moveTo>
                    <a:pt x="316" y="1"/>
                  </a:moveTo>
                  <a:cubicBezTo>
                    <a:pt x="139" y="1"/>
                    <a:pt x="1" y="152"/>
                    <a:pt x="1" y="328"/>
                  </a:cubicBezTo>
                  <a:lnTo>
                    <a:pt x="51" y="3289"/>
                  </a:lnTo>
                  <a:cubicBezTo>
                    <a:pt x="51" y="3466"/>
                    <a:pt x="190" y="3604"/>
                    <a:pt x="379" y="3604"/>
                  </a:cubicBezTo>
                  <a:cubicBezTo>
                    <a:pt x="555" y="3604"/>
                    <a:pt x="694" y="3466"/>
                    <a:pt x="706" y="3289"/>
                  </a:cubicBezTo>
                  <a:lnTo>
                    <a:pt x="794" y="328"/>
                  </a:lnTo>
                  <a:cubicBezTo>
                    <a:pt x="794" y="152"/>
                    <a:pt x="656" y="1"/>
                    <a:pt x="479"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45"/>
            <p:cNvSpPr/>
            <p:nvPr/>
          </p:nvSpPr>
          <p:spPr>
            <a:xfrm>
              <a:off x="5218300" y="2653400"/>
              <a:ext cx="95775" cy="73575"/>
            </a:xfrm>
            <a:custGeom>
              <a:avLst/>
              <a:gdLst/>
              <a:ahLst/>
              <a:cxnLst/>
              <a:rect l="l" t="t" r="r" b="b"/>
              <a:pathLst>
                <a:path w="3831" h="2943" extrusionOk="0">
                  <a:moveTo>
                    <a:pt x="1923" y="0"/>
                  </a:moveTo>
                  <a:cubicBezTo>
                    <a:pt x="1629" y="0"/>
                    <a:pt x="1331" y="89"/>
                    <a:pt x="1071" y="275"/>
                  </a:cubicBezTo>
                  <a:cubicBezTo>
                    <a:pt x="0" y="1019"/>
                    <a:pt x="378" y="2695"/>
                    <a:pt x="1676" y="2922"/>
                  </a:cubicBezTo>
                  <a:cubicBezTo>
                    <a:pt x="1762" y="2936"/>
                    <a:pt x="1847" y="2943"/>
                    <a:pt x="1930" y="2943"/>
                  </a:cubicBezTo>
                  <a:cubicBezTo>
                    <a:pt x="3077" y="2943"/>
                    <a:pt x="3830" y="1616"/>
                    <a:pt x="3125" y="628"/>
                  </a:cubicBezTo>
                  <a:cubicBezTo>
                    <a:pt x="2840" y="220"/>
                    <a:pt x="2386" y="0"/>
                    <a:pt x="192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45"/>
            <p:cNvSpPr/>
            <p:nvPr/>
          </p:nvSpPr>
          <p:spPr>
            <a:xfrm>
              <a:off x="5122200" y="2485750"/>
              <a:ext cx="158175" cy="217850"/>
            </a:xfrm>
            <a:custGeom>
              <a:avLst/>
              <a:gdLst/>
              <a:ahLst/>
              <a:cxnLst/>
              <a:rect l="l" t="t" r="r" b="b"/>
              <a:pathLst>
                <a:path w="6327" h="8714" extrusionOk="0">
                  <a:moveTo>
                    <a:pt x="1" y="0"/>
                  </a:moveTo>
                  <a:lnTo>
                    <a:pt x="5558" y="8569"/>
                  </a:lnTo>
                  <a:cubicBezTo>
                    <a:pt x="5613" y="8663"/>
                    <a:pt x="5717" y="8714"/>
                    <a:pt x="5824" y="8714"/>
                  </a:cubicBezTo>
                  <a:cubicBezTo>
                    <a:pt x="5889" y="8714"/>
                    <a:pt x="5955" y="8695"/>
                    <a:pt x="6012" y="8657"/>
                  </a:cubicBezTo>
                  <a:lnTo>
                    <a:pt x="6138" y="8569"/>
                  </a:lnTo>
                  <a:cubicBezTo>
                    <a:pt x="6289" y="8456"/>
                    <a:pt x="6327" y="8254"/>
                    <a:pt x="6213" y="8103"/>
                  </a:cubicBezTo>
                  <a:lnTo>
                    <a:pt x="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45"/>
            <p:cNvSpPr/>
            <p:nvPr/>
          </p:nvSpPr>
          <p:spPr>
            <a:xfrm>
              <a:off x="5612075" y="2674425"/>
              <a:ext cx="90125" cy="19575"/>
            </a:xfrm>
            <a:custGeom>
              <a:avLst/>
              <a:gdLst/>
              <a:ahLst/>
              <a:cxnLst/>
              <a:rect l="l" t="t" r="r" b="b"/>
              <a:pathLst>
                <a:path w="3605" h="783" extrusionOk="0">
                  <a:moveTo>
                    <a:pt x="3288" y="1"/>
                  </a:moveTo>
                  <a:cubicBezTo>
                    <a:pt x="3280" y="1"/>
                    <a:pt x="3272" y="1"/>
                    <a:pt x="3264" y="1"/>
                  </a:cubicBezTo>
                  <a:lnTo>
                    <a:pt x="315" y="127"/>
                  </a:lnTo>
                  <a:cubicBezTo>
                    <a:pt x="139" y="127"/>
                    <a:pt x="0" y="279"/>
                    <a:pt x="0" y="455"/>
                  </a:cubicBezTo>
                  <a:lnTo>
                    <a:pt x="0" y="468"/>
                  </a:lnTo>
                  <a:cubicBezTo>
                    <a:pt x="13" y="644"/>
                    <a:pt x="152" y="783"/>
                    <a:pt x="328" y="783"/>
                  </a:cubicBezTo>
                  <a:lnTo>
                    <a:pt x="3277" y="783"/>
                  </a:lnTo>
                  <a:cubicBezTo>
                    <a:pt x="3466" y="783"/>
                    <a:pt x="3604" y="631"/>
                    <a:pt x="3604" y="442"/>
                  </a:cubicBezTo>
                  <a:lnTo>
                    <a:pt x="3604" y="316"/>
                  </a:lnTo>
                  <a:cubicBezTo>
                    <a:pt x="3604" y="135"/>
                    <a:pt x="3465" y="1"/>
                    <a:pt x="3288"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45"/>
            <p:cNvSpPr/>
            <p:nvPr/>
          </p:nvSpPr>
          <p:spPr>
            <a:xfrm>
              <a:off x="4811600" y="2666250"/>
              <a:ext cx="90125" cy="19575"/>
            </a:xfrm>
            <a:custGeom>
              <a:avLst/>
              <a:gdLst/>
              <a:ahLst/>
              <a:cxnLst/>
              <a:rect l="l" t="t" r="r" b="b"/>
              <a:pathLst>
                <a:path w="3605" h="783" extrusionOk="0">
                  <a:moveTo>
                    <a:pt x="353" y="1"/>
                  </a:moveTo>
                  <a:cubicBezTo>
                    <a:pt x="164" y="1"/>
                    <a:pt x="13" y="139"/>
                    <a:pt x="13" y="316"/>
                  </a:cubicBezTo>
                  <a:lnTo>
                    <a:pt x="13" y="454"/>
                  </a:lnTo>
                  <a:cubicBezTo>
                    <a:pt x="0" y="643"/>
                    <a:pt x="152" y="782"/>
                    <a:pt x="328" y="782"/>
                  </a:cubicBezTo>
                  <a:lnTo>
                    <a:pt x="3277" y="782"/>
                  </a:lnTo>
                  <a:cubicBezTo>
                    <a:pt x="3453" y="782"/>
                    <a:pt x="3604" y="643"/>
                    <a:pt x="3604" y="467"/>
                  </a:cubicBezTo>
                  <a:cubicBezTo>
                    <a:pt x="3604" y="291"/>
                    <a:pt x="3466" y="139"/>
                    <a:pt x="3289" y="127"/>
                  </a:cubicBezTo>
                  <a:lnTo>
                    <a:pt x="353"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 name="Google Shape;1321;p45"/>
          <p:cNvSpPr txBox="1">
            <a:spLocks noGrp="1"/>
          </p:cNvSpPr>
          <p:nvPr>
            <p:ph type="ctrTitle" idx="2"/>
          </p:nvPr>
        </p:nvSpPr>
        <p:spPr>
          <a:xfrm>
            <a:off x="362377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2"/>
                </a:solidFill>
              </a:rPr>
              <a:t>OCTOBER 14</a:t>
            </a:r>
            <a:endParaRPr sz="1600">
              <a:solidFill>
                <a:schemeClr val="accent2"/>
              </a:solidFill>
            </a:endParaRPr>
          </a:p>
        </p:txBody>
      </p:sp>
      <p:sp>
        <p:nvSpPr>
          <p:cNvPr id="1322" name="Google Shape;1322;p45"/>
          <p:cNvSpPr txBox="1">
            <a:spLocks noGrp="1"/>
          </p:cNvSpPr>
          <p:nvPr>
            <p:ph type="ctrTitle"/>
          </p:nvPr>
        </p:nvSpPr>
        <p:spPr>
          <a:xfrm>
            <a:off x="1011829"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1"/>
                </a:solidFill>
              </a:rPr>
              <a:t>JUNE 2</a:t>
            </a:r>
            <a:endParaRPr sz="1600">
              <a:solidFill>
                <a:schemeClr val="accent1"/>
              </a:solidFill>
            </a:endParaRPr>
          </a:p>
        </p:txBody>
      </p:sp>
      <p:sp>
        <p:nvSpPr>
          <p:cNvPr id="1323" name="Google Shape;1323;p45"/>
          <p:cNvSpPr txBox="1">
            <a:spLocks noGrp="1"/>
          </p:cNvSpPr>
          <p:nvPr>
            <p:ph type="ctrTitle" idx="4"/>
          </p:nvPr>
        </p:nvSpPr>
        <p:spPr>
          <a:xfrm>
            <a:off x="6245202" y="1801977"/>
            <a:ext cx="1881300" cy="4215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600">
                <a:solidFill>
                  <a:schemeClr val="accent3"/>
                </a:solidFill>
              </a:rPr>
              <a:t>JANUARY 23</a:t>
            </a:r>
            <a:endParaRPr sz="1600">
              <a:solidFill>
                <a:schemeClr val="accent3"/>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4735AC-29F3-6EF6-29A4-9F378893E6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2" name="Objekt 1" hidden="1">
                        <a:extLst>
                          <a:ext uri="{FF2B5EF4-FFF2-40B4-BE49-F238E27FC236}">
                            <a16:creationId xmlns:a16="http://schemas.microsoft.com/office/drawing/2014/main" id="{9D4735AC-29F3-6EF6-29A4-9F378893E6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28"/>
          <p:cNvSpPr txBox="1">
            <a:spLocks noGrp="1"/>
          </p:cNvSpPr>
          <p:nvPr>
            <p:ph type="ctrTitle"/>
          </p:nvPr>
        </p:nvSpPr>
        <p:spPr>
          <a:xfrm>
            <a:off x="618825" y="411675"/>
            <a:ext cx="5071252"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cope</a:t>
            </a:r>
            <a:endParaRPr dirty="0"/>
          </a:p>
        </p:txBody>
      </p:sp>
      <p:grpSp>
        <p:nvGrpSpPr>
          <p:cNvPr id="508" name="Google Shape;508;p28"/>
          <p:cNvGrpSpPr/>
          <p:nvPr/>
        </p:nvGrpSpPr>
        <p:grpSpPr>
          <a:xfrm>
            <a:off x="4834661" y="989482"/>
            <a:ext cx="2851442" cy="3213988"/>
            <a:chOff x="2501950" y="1507050"/>
            <a:chExt cx="2392350" cy="2696525"/>
          </a:xfrm>
        </p:grpSpPr>
        <p:sp>
          <p:nvSpPr>
            <p:cNvPr id="509" name="Google Shape;509;p28"/>
            <p:cNvSpPr/>
            <p:nvPr/>
          </p:nvSpPr>
          <p:spPr>
            <a:xfrm>
              <a:off x="4032450" y="3778325"/>
              <a:ext cx="0" cy="25"/>
            </a:xfrm>
            <a:custGeom>
              <a:avLst/>
              <a:gdLst/>
              <a:ahLst/>
              <a:cxnLst/>
              <a:rect l="l" t="t" r="r" b="b"/>
              <a:pathLst>
                <a:path h="1" extrusionOk="0">
                  <a:moveTo>
                    <a:pt x="0" y="0"/>
                  </a:move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28"/>
            <p:cNvSpPr/>
            <p:nvPr/>
          </p:nvSpPr>
          <p:spPr>
            <a:xfrm>
              <a:off x="2720475" y="1507050"/>
              <a:ext cx="2173825" cy="2696525"/>
            </a:xfrm>
            <a:custGeom>
              <a:avLst/>
              <a:gdLst/>
              <a:ahLst/>
              <a:cxnLst/>
              <a:rect l="l" t="t" r="r" b="b"/>
              <a:pathLst>
                <a:path w="86953" h="107861" extrusionOk="0">
                  <a:moveTo>
                    <a:pt x="81393" y="927"/>
                  </a:moveTo>
                  <a:cubicBezTo>
                    <a:pt x="83963" y="927"/>
                    <a:pt x="86043" y="3008"/>
                    <a:pt x="86043" y="5577"/>
                  </a:cubicBezTo>
                  <a:lnTo>
                    <a:pt x="86043" y="102284"/>
                  </a:lnTo>
                  <a:cubicBezTo>
                    <a:pt x="86043" y="104854"/>
                    <a:pt x="83963" y="106934"/>
                    <a:pt x="81393" y="106934"/>
                  </a:cubicBezTo>
                  <a:lnTo>
                    <a:pt x="5559" y="106934"/>
                  </a:lnTo>
                  <a:cubicBezTo>
                    <a:pt x="2989" y="106934"/>
                    <a:pt x="909" y="104854"/>
                    <a:pt x="909" y="102284"/>
                  </a:cubicBezTo>
                  <a:lnTo>
                    <a:pt x="909" y="5577"/>
                  </a:lnTo>
                  <a:cubicBezTo>
                    <a:pt x="909" y="3008"/>
                    <a:pt x="2989" y="927"/>
                    <a:pt x="5559" y="927"/>
                  </a:cubicBezTo>
                  <a:close/>
                  <a:moveTo>
                    <a:pt x="5559" y="1"/>
                  </a:moveTo>
                  <a:cubicBezTo>
                    <a:pt x="2482" y="18"/>
                    <a:pt x="0" y="2501"/>
                    <a:pt x="0" y="5577"/>
                  </a:cubicBezTo>
                  <a:lnTo>
                    <a:pt x="0" y="102284"/>
                  </a:lnTo>
                  <a:cubicBezTo>
                    <a:pt x="0" y="105361"/>
                    <a:pt x="2482" y="107843"/>
                    <a:pt x="5559" y="107860"/>
                  </a:cubicBezTo>
                  <a:lnTo>
                    <a:pt x="81393" y="107860"/>
                  </a:lnTo>
                  <a:cubicBezTo>
                    <a:pt x="84470" y="107843"/>
                    <a:pt x="86952" y="105361"/>
                    <a:pt x="86952" y="102284"/>
                  </a:cubicBezTo>
                  <a:lnTo>
                    <a:pt x="86952" y="5577"/>
                  </a:lnTo>
                  <a:cubicBezTo>
                    <a:pt x="86952" y="2501"/>
                    <a:pt x="84470" y="18"/>
                    <a:pt x="81393" y="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28"/>
            <p:cNvSpPr/>
            <p:nvPr/>
          </p:nvSpPr>
          <p:spPr>
            <a:xfrm>
              <a:off x="2810050" y="1616325"/>
              <a:ext cx="1994650" cy="2478000"/>
            </a:xfrm>
            <a:custGeom>
              <a:avLst/>
              <a:gdLst/>
              <a:ahLst/>
              <a:cxnLst/>
              <a:rect l="l" t="t" r="r" b="b"/>
              <a:pathLst>
                <a:path w="79786" h="99120" extrusionOk="0">
                  <a:moveTo>
                    <a:pt x="74961" y="227"/>
                  </a:moveTo>
                  <a:cubicBezTo>
                    <a:pt x="77495" y="227"/>
                    <a:pt x="79576" y="2290"/>
                    <a:pt x="79576" y="4842"/>
                  </a:cubicBezTo>
                  <a:lnTo>
                    <a:pt x="79576" y="94277"/>
                  </a:lnTo>
                  <a:cubicBezTo>
                    <a:pt x="79576" y="96829"/>
                    <a:pt x="77495" y="98892"/>
                    <a:pt x="74961" y="98892"/>
                  </a:cubicBezTo>
                  <a:lnTo>
                    <a:pt x="4843" y="98892"/>
                  </a:lnTo>
                  <a:cubicBezTo>
                    <a:pt x="2291" y="98892"/>
                    <a:pt x="210" y="96829"/>
                    <a:pt x="210" y="94277"/>
                  </a:cubicBezTo>
                  <a:lnTo>
                    <a:pt x="210" y="4842"/>
                  </a:lnTo>
                  <a:cubicBezTo>
                    <a:pt x="210" y="2290"/>
                    <a:pt x="2291" y="227"/>
                    <a:pt x="4843" y="227"/>
                  </a:cubicBezTo>
                  <a:close/>
                  <a:moveTo>
                    <a:pt x="4843" y="0"/>
                  </a:moveTo>
                  <a:cubicBezTo>
                    <a:pt x="2168" y="18"/>
                    <a:pt x="1" y="2168"/>
                    <a:pt x="1" y="4842"/>
                  </a:cubicBezTo>
                  <a:lnTo>
                    <a:pt x="1" y="94277"/>
                  </a:lnTo>
                  <a:cubicBezTo>
                    <a:pt x="1" y="96951"/>
                    <a:pt x="2168" y="99102"/>
                    <a:pt x="4843" y="99119"/>
                  </a:cubicBezTo>
                  <a:lnTo>
                    <a:pt x="74961" y="99119"/>
                  </a:lnTo>
                  <a:cubicBezTo>
                    <a:pt x="77618" y="99102"/>
                    <a:pt x="79786" y="96951"/>
                    <a:pt x="79786" y="94277"/>
                  </a:cubicBezTo>
                  <a:lnTo>
                    <a:pt x="79786" y="4842"/>
                  </a:lnTo>
                  <a:cubicBezTo>
                    <a:pt x="79786" y="2168"/>
                    <a:pt x="77618" y="18"/>
                    <a:pt x="749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28"/>
            <p:cNvSpPr/>
            <p:nvPr/>
          </p:nvSpPr>
          <p:spPr>
            <a:xfrm>
              <a:off x="2501950" y="240647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28"/>
            <p:cNvSpPr/>
            <p:nvPr/>
          </p:nvSpPr>
          <p:spPr>
            <a:xfrm>
              <a:off x="2501950" y="234180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8"/>
            <p:cNvSpPr/>
            <p:nvPr/>
          </p:nvSpPr>
          <p:spPr>
            <a:xfrm>
              <a:off x="2501950" y="247115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8"/>
            <p:cNvSpPr/>
            <p:nvPr/>
          </p:nvSpPr>
          <p:spPr>
            <a:xfrm>
              <a:off x="2501950" y="2535400"/>
              <a:ext cx="100100" cy="30600"/>
            </a:xfrm>
            <a:custGeom>
              <a:avLst/>
              <a:gdLst/>
              <a:ahLst/>
              <a:cxnLst/>
              <a:rect l="l" t="t" r="r" b="b"/>
              <a:pathLst>
                <a:path w="4004" h="1224" extrusionOk="0">
                  <a:moveTo>
                    <a:pt x="0" y="0"/>
                  </a:moveTo>
                  <a:lnTo>
                    <a:pt x="0" y="1224"/>
                  </a:lnTo>
                  <a:lnTo>
                    <a:pt x="4004" y="1224"/>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8"/>
            <p:cNvSpPr/>
            <p:nvPr/>
          </p:nvSpPr>
          <p:spPr>
            <a:xfrm>
              <a:off x="2501950" y="2600075"/>
              <a:ext cx="100100" cy="30625"/>
            </a:xfrm>
            <a:custGeom>
              <a:avLst/>
              <a:gdLst/>
              <a:ahLst/>
              <a:cxnLst/>
              <a:rect l="l" t="t" r="r" b="b"/>
              <a:pathLst>
                <a:path w="4004" h="1225" extrusionOk="0">
                  <a:moveTo>
                    <a:pt x="0" y="1"/>
                  </a:moveTo>
                  <a:lnTo>
                    <a:pt x="0" y="1224"/>
                  </a:lnTo>
                  <a:lnTo>
                    <a:pt x="4004" y="1224"/>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8"/>
            <p:cNvSpPr/>
            <p:nvPr/>
          </p:nvSpPr>
          <p:spPr>
            <a:xfrm>
              <a:off x="2501950" y="2083075"/>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8"/>
            <p:cNvSpPr/>
            <p:nvPr/>
          </p:nvSpPr>
          <p:spPr>
            <a:xfrm>
              <a:off x="2501950" y="2018375"/>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8"/>
            <p:cNvSpPr/>
            <p:nvPr/>
          </p:nvSpPr>
          <p:spPr>
            <a:xfrm>
              <a:off x="2501950" y="2147750"/>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8"/>
            <p:cNvSpPr/>
            <p:nvPr/>
          </p:nvSpPr>
          <p:spPr>
            <a:xfrm>
              <a:off x="2501950" y="221242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8"/>
            <p:cNvSpPr/>
            <p:nvPr/>
          </p:nvSpPr>
          <p:spPr>
            <a:xfrm>
              <a:off x="2501950" y="227710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8"/>
            <p:cNvSpPr/>
            <p:nvPr/>
          </p:nvSpPr>
          <p:spPr>
            <a:xfrm>
              <a:off x="2501950" y="1759650"/>
              <a:ext cx="100100" cy="30200"/>
            </a:xfrm>
            <a:custGeom>
              <a:avLst/>
              <a:gdLst/>
              <a:ahLst/>
              <a:cxnLst/>
              <a:rect l="l" t="t" r="r" b="b"/>
              <a:pathLst>
                <a:path w="4004" h="1208"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8"/>
            <p:cNvSpPr/>
            <p:nvPr/>
          </p:nvSpPr>
          <p:spPr>
            <a:xfrm>
              <a:off x="2501950" y="1694975"/>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8"/>
            <p:cNvSpPr/>
            <p:nvPr/>
          </p:nvSpPr>
          <p:spPr>
            <a:xfrm>
              <a:off x="2501950" y="1824350"/>
              <a:ext cx="100100" cy="30175"/>
            </a:xfrm>
            <a:custGeom>
              <a:avLst/>
              <a:gdLst/>
              <a:ahLst/>
              <a:cxnLst/>
              <a:rect l="l" t="t" r="r" b="b"/>
              <a:pathLst>
                <a:path w="4004" h="1207" extrusionOk="0">
                  <a:moveTo>
                    <a:pt x="0" y="0"/>
                  </a:moveTo>
                  <a:lnTo>
                    <a:pt x="0" y="1206"/>
                  </a:lnTo>
                  <a:lnTo>
                    <a:pt x="4004" y="1206"/>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8"/>
            <p:cNvSpPr/>
            <p:nvPr/>
          </p:nvSpPr>
          <p:spPr>
            <a:xfrm>
              <a:off x="2501950" y="1889025"/>
              <a:ext cx="100100" cy="30175"/>
            </a:xfrm>
            <a:custGeom>
              <a:avLst/>
              <a:gdLst/>
              <a:ahLst/>
              <a:cxnLst/>
              <a:rect l="l" t="t" r="r" b="b"/>
              <a:pathLst>
                <a:path w="4004" h="1207" extrusionOk="0">
                  <a:moveTo>
                    <a:pt x="0" y="0"/>
                  </a:moveTo>
                  <a:lnTo>
                    <a:pt x="0" y="1207"/>
                  </a:lnTo>
                  <a:lnTo>
                    <a:pt x="4004" y="1207"/>
                  </a:lnTo>
                  <a:lnTo>
                    <a:pt x="4004" y="0"/>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8"/>
            <p:cNvSpPr/>
            <p:nvPr/>
          </p:nvSpPr>
          <p:spPr>
            <a:xfrm>
              <a:off x="2501950" y="1953700"/>
              <a:ext cx="100100" cy="30175"/>
            </a:xfrm>
            <a:custGeom>
              <a:avLst/>
              <a:gdLst/>
              <a:ahLst/>
              <a:cxnLst/>
              <a:rect l="l" t="t" r="r" b="b"/>
              <a:pathLst>
                <a:path w="4004" h="1207" extrusionOk="0">
                  <a:moveTo>
                    <a:pt x="0" y="1"/>
                  </a:moveTo>
                  <a:lnTo>
                    <a:pt x="0" y="1207"/>
                  </a:lnTo>
                  <a:lnTo>
                    <a:pt x="4004" y="1207"/>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8"/>
            <p:cNvSpPr/>
            <p:nvPr/>
          </p:nvSpPr>
          <p:spPr>
            <a:xfrm>
              <a:off x="2501950" y="2668250"/>
              <a:ext cx="100100" cy="1423000"/>
            </a:xfrm>
            <a:custGeom>
              <a:avLst/>
              <a:gdLst/>
              <a:ahLst/>
              <a:cxnLst/>
              <a:rect l="l" t="t" r="r" b="b"/>
              <a:pathLst>
                <a:path w="4004" h="56920" extrusionOk="0">
                  <a:moveTo>
                    <a:pt x="0" y="1"/>
                  </a:moveTo>
                  <a:lnTo>
                    <a:pt x="0" y="56920"/>
                  </a:lnTo>
                  <a:lnTo>
                    <a:pt x="4004" y="56920"/>
                  </a:lnTo>
                  <a:lnTo>
                    <a:pt x="4004" y="1"/>
                  </a:ln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28" name="Google Shape;528;p28"/>
          <p:cNvGrpSpPr/>
          <p:nvPr/>
        </p:nvGrpSpPr>
        <p:grpSpPr>
          <a:xfrm>
            <a:off x="7686104" y="-476250"/>
            <a:ext cx="2291257" cy="2922300"/>
            <a:chOff x="4882900" y="-64350"/>
            <a:chExt cx="2493750" cy="2922300"/>
          </a:xfrm>
        </p:grpSpPr>
        <p:sp>
          <p:nvSpPr>
            <p:cNvPr id="529" name="Google Shape;529;p28"/>
            <p:cNvSpPr/>
            <p:nvPr/>
          </p:nvSpPr>
          <p:spPr>
            <a:xfrm>
              <a:off x="4882900" y="2852675"/>
              <a:ext cx="2493750" cy="5275"/>
            </a:xfrm>
            <a:custGeom>
              <a:avLst/>
              <a:gdLst/>
              <a:ahLst/>
              <a:cxnLst/>
              <a:rect l="l" t="t" r="r" b="b"/>
              <a:pathLst>
                <a:path w="99750" h="211" extrusionOk="0">
                  <a:moveTo>
                    <a:pt x="1" y="1"/>
                  </a:moveTo>
                  <a:lnTo>
                    <a:pt x="1" y="210"/>
                  </a:lnTo>
                  <a:lnTo>
                    <a:pt x="99749" y="210"/>
                  </a:lnTo>
                  <a:lnTo>
                    <a:pt x="99749"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8"/>
            <p:cNvSpPr/>
            <p:nvPr/>
          </p:nvSpPr>
          <p:spPr>
            <a:xfrm>
              <a:off x="4987800" y="-64350"/>
              <a:ext cx="1082975" cy="2914922"/>
            </a:xfrm>
            <a:custGeom>
              <a:avLst/>
              <a:gdLst/>
              <a:ahLst/>
              <a:cxnLst/>
              <a:rect l="l" t="t" r="r" b="b"/>
              <a:pathLst>
                <a:path w="43319" h="94995" extrusionOk="0">
                  <a:moveTo>
                    <a:pt x="0" y="1"/>
                  </a:moveTo>
                  <a:lnTo>
                    <a:pt x="0" y="30716"/>
                  </a:lnTo>
                  <a:lnTo>
                    <a:pt x="43127" y="30716"/>
                  </a:lnTo>
                  <a:lnTo>
                    <a:pt x="43127" y="94994"/>
                  </a:lnTo>
                  <a:lnTo>
                    <a:pt x="43319" y="94994"/>
                  </a:lnTo>
                  <a:lnTo>
                    <a:pt x="43319" y="30523"/>
                  </a:lnTo>
                  <a:lnTo>
                    <a:pt x="210" y="30523"/>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8"/>
            <p:cNvSpPr/>
            <p:nvPr/>
          </p:nvSpPr>
          <p:spPr>
            <a:xfrm>
              <a:off x="6127150" y="2700150"/>
              <a:ext cx="105350" cy="107100"/>
            </a:xfrm>
            <a:custGeom>
              <a:avLst/>
              <a:gdLst/>
              <a:ahLst/>
              <a:cxnLst/>
              <a:rect l="l" t="t" r="r" b="b"/>
              <a:pathLst>
                <a:path w="4214" h="4284" extrusionOk="0">
                  <a:moveTo>
                    <a:pt x="0" y="1"/>
                  </a:moveTo>
                  <a:lnTo>
                    <a:pt x="0" y="4284"/>
                  </a:lnTo>
                  <a:lnTo>
                    <a:pt x="4213" y="4284"/>
                  </a:lnTo>
                  <a:lnTo>
                    <a:pt x="4213" y="4074"/>
                  </a:lnTo>
                  <a:lnTo>
                    <a:pt x="210" y="4074"/>
                  </a:lnTo>
                  <a:lnTo>
                    <a:pt x="210"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8"/>
            <p:cNvSpPr/>
            <p:nvPr/>
          </p:nvSpPr>
          <p:spPr>
            <a:xfrm>
              <a:off x="5950575" y="939175"/>
              <a:ext cx="76075" cy="78250"/>
            </a:xfrm>
            <a:custGeom>
              <a:avLst/>
              <a:gdLst/>
              <a:ahLst/>
              <a:cxnLst/>
              <a:rect l="l" t="t" r="r" b="b"/>
              <a:pathLst>
                <a:path w="3043" h="3130" extrusionOk="0">
                  <a:moveTo>
                    <a:pt x="1" y="0"/>
                  </a:moveTo>
                  <a:lnTo>
                    <a:pt x="1" y="210"/>
                  </a:lnTo>
                  <a:lnTo>
                    <a:pt x="2833" y="210"/>
                  </a:lnTo>
                  <a:lnTo>
                    <a:pt x="2833" y="3130"/>
                  </a:lnTo>
                  <a:lnTo>
                    <a:pt x="3042" y="3130"/>
                  </a:lnTo>
                  <a:lnTo>
                    <a:pt x="3042" y="0"/>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8"/>
            <p:cNvSpPr/>
            <p:nvPr/>
          </p:nvSpPr>
          <p:spPr>
            <a:xfrm>
              <a:off x="5032375" y="744525"/>
              <a:ext cx="77800" cy="78250"/>
            </a:xfrm>
            <a:custGeom>
              <a:avLst/>
              <a:gdLst/>
              <a:ahLst/>
              <a:cxnLst/>
              <a:rect l="l" t="t" r="r" b="b"/>
              <a:pathLst>
                <a:path w="3112" h="3130" extrusionOk="0">
                  <a:moveTo>
                    <a:pt x="0" y="1"/>
                  </a:moveTo>
                  <a:lnTo>
                    <a:pt x="0" y="3130"/>
                  </a:lnTo>
                  <a:lnTo>
                    <a:pt x="3112" y="3130"/>
                  </a:lnTo>
                  <a:lnTo>
                    <a:pt x="3112" y="2920"/>
                  </a:lnTo>
                  <a:lnTo>
                    <a:pt x="193" y="2920"/>
                  </a:lnTo>
                  <a:lnTo>
                    <a:pt x="193" y="1"/>
                  </a:lnTo>
                  <a:close/>
                </a:path>
              </a:pathLst>
            </a:custGeom>
            <a:solidFill>
              <a:srgbClr val="FF9973"/>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6" name="Google Shape;506;p28"/>
          <p:cNvSpPr txBox="1">
            <a:spLocks noGrp="1"/>
          </p:cNvSpPr>
          <p:nvPr>
            <p:ph type="body" idx="1"/>
          </p:nvPr>
        </p:nvSpPr>
        <p:spPr>
          <a:xfrm>
            <a:off x="618825" y="1119726"/>
            <a:ext cx="3534300" cy="2949863"/>
          </a:xfrm>
          <a:prstGeom prst="rect">
            <a:avLst/>
          </a:prstGeom>
        </p:spPr>
        <p:txBody>
          <a:bodyPr spcFirstLastPara="1" wrap="square" lIns="91425" tIns="91425" rIns="91425" bIns="91425" anchor="t" anchorCtr="0">
            <a:noAutofit/>
          </a:bodyPr>
          <a:lstStyle/>
          <a:p>
            <a:pPr marL="285750" indent="-285750"/>
            <a:r>
              <a:rPr lang="de-DE" sz="1400" dirty="0">
                <a:sym typeface="Wingdings" panose="05000000000000000000" pitchFamily="2" charset="2"/>
              </a:rPr>
              <a:t>Die </a:t>
            </a:r>
            <a:r>
              <a:rPr lang="de-DE" sz="1400" dirty="0"/>
              <a:t>Analyse ermöglicht es dem Betreiber, </a:t>
            </a:r>
            <a:r>
              <a:rPr lang="de-DE" sz="1400" b="1" dirty="0">
                <a:solidFill>
                  <a:srgbClr val="E898AC"/>
                </a:solidFill>
              </a:rPr>
              <a:t>Kundenkaufmuster</a:t>
            </a:r>
            <a:r>
              <a:rPr lang="de-DE" sz="1400" b="1" dirty="0"/>
              <a:t> </a:t>
            </a:r>
            <a:r>
              <a:rPr lang="de-DE" sz="1400" b="1" dirty="0">
                <a:solidFill>
                  <a:srgbClr val="E898AC"/>
                </a:solidFill>
              </a:rPr>
              <a:t>zu</a:t>
            </a:r>
            <a:r>
              <a:rPr lang="de-DE" sz="1400" b="1" dirty="0"/>
              <a:t> </a:t>
            </a:r>
            <a:r>
              <a:rPr lang="de-DE" sz="1400" b="1" dirty="0">
                <a:solidFill>
                  <a:srgbClr val="E898AC"/>
                </a:solidFill>
              </a:rPr>
              <a:t>identifizieren</a:t>
            </a:r>
            <a:r>
              <a:rPr lang="de-DE" sz="1400" b="1" dirty="0"/>
              <a:t> </a:t>
            </a:r>
            <a:r>
              <a:rPr lang="de-DE" sz="1400" dirty="0"/>
              <a:t>und </a:t>
            </a:r>
            <a:r>
              <a:rPr lang="de-DE" sz="1400" b="1" dirty="0">
                <a:solidFill>
                  <a:srgbClr val="E898AC"/>
                </a:solidFill>
              </a:rPr>
              <a:t>umsatzsteigernde</a:t>
            </a:r>
            <a:r>
              <a:rPr lang="de-DE" sz="1400" dirty="0"/>
              <a:t> Marketing- und Verkaufsstrategien zu entwickeln</a:t>
            </a:r>
          </a:p>
          <a:p>
            <a:pPr marL="0" indent="0">
              <a:buNone/>
            </a:pPr>
            <a:endParaRPr lang="de-DE" sz="1400" dirty="0"/>
          </a:p>
          <a:p>
            <a:pPr marL="285750" indent="-285750"/>
            <a:r>
              <a:rPr lang="de-DE" sz="1400" dirty="0">
                <a:solidFill>
                  <a:schemeClr val="bg1"/>
                </a:solidFill>
              </a:rPr>
              <a:t>Welche häufig zusammen gekaufte Artikel können wir als attraktives Angebot bewerben?</a:t>
            </a:r>
          </a:p>
        </p:txBody>
      </p:sp>
      <p:grpSp>
        <p:nvGrpSpPr>
          <p:cNvPr id="453" name="Gruppieren 452">
            <a:extLst>
              <a:ext uri="{FF2B5EF4-FFF2-40B4-BE49-F238E27FC236}">
                <a16:creationId xmlns:a16="http://schemas.microsoft.com/office/drawing/2014/main" id="{094D0897-3289-1069-7054-E5849BCB76FB}"/>
              </a:ext>
            </a:extLst>
          </p:cNvPr>
          <p:cNvGrpSpPr/>
          <p:nvPr/>
        </p:nvGrpSpPr>
        <p:grpSpPr>
          <a:xfrm>
            <a:off x="5953123" y="1193218"/>
            <a:ext cx="874672" cy="2792320"/>
            <a:chOff x="3860749" y="998675"/>
            <a:chExt cx="1226720" cy="3916203"/>
          </a:xfrm>
        </p:grpSpPr>
        <p:sp>
          <p:nvSpPr>
            <p:cNvPr id="454" name="Rechteck 453">
              <a:extLst>
                <a:ext uri="{FF2B5EF4-FFF2-40B4-BE49-F238E27FC236}">
                  <a16:creationId xmlns:a16="http://schemas.microsoft.com/office/drawing/2014/main" id="{8F252DE5-9EBE-8927-A83F-FA8C7A3B45CB}"/>
                </a:ext>
              </a:extLst>
            </p:cNvPr>
            <p:cNvSpPr/>
            <p:nvPr/>
          </p:nvSpPr>
          <p:spPr>
            <a:xfrm rot="8100000">
              <a:off x="3990378" y="305462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5" name="Rechteck 454">
              <a:extLst>
                <a:ext uri="{FF2B5EF4-FFF2-40B4-BE49-F238E27FC236}">
                  <a16:creationId xmlns:a16="http://schemas.microsoft.com/office/drawing/2014/main" id="{C083BF5E-888B-B0B5-DD3D-F29133CD5DE9}"/>
                </a:ext>
              </a:extLst>
            </p:cNvPr>
            <p:cNvSpPr/>
            <p:nvPr/>
          </p:nvSpPr>
          <p:spPr>
            <a:xfrm rot="2692725">
              <a:off x="4026337" y="2508465"/>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6" name="Rechteck 455">
              <a:extLst>
                <a:ext uri="{FF2B5EF4-FFF2-40B4-BE49-F238E27FC236}">
                  <a16:creationId xmlns:a16="http://schemas.microsoft.com/office/drawing/2014/main" id="{FA9258A4-ECF9-D442-3F7E-163DB0D0D7B7}"/>
                </a:ext>
              </a:extLst>
            </p:cNvPr>
            <p:cNvSpPr/>
            <p:nvPr/>
          </p:nvSpPr>
          <p:spPr>
            <a:xfrm rot="2692725">
              <a:off x="4026337" y="3600773"/>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7" name="Flussdiagramm: Alternativer Prozess 456">
              <a:extLst>
                <a:ext uri="{FF2B5EF4-FFF2-40B4-BE49-F238E27FC236}">
                  <a16:creationId xmlns:a16="http://schemas.microsoft.com/office/drawing/2014/main" id="{90F7B899-32D2-6EEB-D5F8-DF087DC0A122}"/>
                </a:ext>
              </a:extLst>
            </p:cNvPr>
            <p:cNvSpPr/>
            <p:nvPr/>
          </p:nvSpPr>
          <p:spPr>
            <a:xfrm rot="2700000">
              <a:off x="3860748" y="3208819"/>
              <a:ext cx="612001" cy="611999"/>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8" name="Rechteck 457">
              <a:extLst>
                <a:ext uri="{FF2B5EF4-FFF2-40B4-BE49-F238E27FC236}">
                  <a16:creationId xmlns:a16="http://schemas.microsoft.com/office/drawing/2014/main" id="{47A8B6F1-5414-C768-F8FA-E0EB538C3D27}"/>
                </a:ext>
              </a:extLst>
            </p:cNvPr>
            <p:cNvSpPr/>
            <p:nvPr/>
          </p:nvSpPr>
          <p:spPr>
            <a:xfrm rot="8100000">
              <a:off x="3995672" y="4173401"/>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9" name="Rechteck 458">
              <a:extLst>
                <a:ext uri="{FF2B5EF4-FFF2-40B4-BE49-F238E27FC236}">
                  <a16:creationId xmlns:a16="http://schemas.microsoft.com/office/drawing/2014/main" id="{9277DF0F-8269-D4C0-41D6-9501E1020C73}"/>
                </a:ext>
              </a:extLst>
            </p:cNvPr>
            <p:cNvSpPr/>
            <p:nvPr/>
          </p:nvSpPr>
          <p:spPr>
            <a:xfrm rot="8100000">
              <a:off x="3998304" y="1949416"/>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0" name="Rechteck 459">
              <a:extLst>
                <a:ext uri="{FF2B5EF4-FFF2-40B4-BE49-F238E27FC236}">
                  <a16:creationId xmlns:a16="http://schemas.microsoft.com/office/drawing/2014/main" id="{13B4F3A6-E612-5FC3-28F1-9CA1974D6F50}"/>
                </a:ext>
              </a:extLst>
            </p:cNvPr>
            <p:cNvSpPr/>
            <p:nvPr/>
          </p:nvSpPr>
          <p:spPr>
            <a:xfrm rot="2692725">
              <a:off x="4026338" y="1381330"/>
              <a:ext cx="860487" cy="406400"/>
            </a:xfrm>
            <a:prstGeom prst="rect">
              <a:avLst/>
            </a:prstGeom>
            <a:solidFill>
              <a:srgbClr val="FFD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1" name="Flussdiagramm: Alternativer Prozess 460">
              <a:extLst>
                <a:ext uri="{FF2B5EF4-FFF2-40B4-BE49-F238E27FC236}">
                  <a16:creationId xmlns:a16="http://schemas.microsoft.com/office/drawing/2014/main" id="{F96EEDE2-9896-2E7B-1919-7D583624CE0A}"/>
                </a:ext>
              </a:extLst>
            </p:cNvPr>
            <p:cNvSpPr/>
            <p:nvPr/>
          </p:nvSpPr>
          <p:spPr>
            <a:xfrm rot="2700000">
              <a:off x="3861131" y="998675"/>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2" name="Flussdiagramm: Alternativer Prozess 461">
              <a:extLst>
                <a:ext uri="{FF2B5EF4-FFF2-40B4-BE49-F238E27FC236}">
                  <a16:creationId xmlns:a16="http://schemas.microsoft.com/office/drawing/2014/main" id="{18F78A10-8A16-410C-F843-172AEF0A3093}"/>
                </a:ext>
              </a:extLst>
            </p:cNvPr>
            <p:cNvSpPr/>
            <p:nvPr/>
          </p:nvSpPr>
          <p:spPr>
            <a:xfrm rot="2700000">
              <a:off x="4416951" y="1544570"/>
              <a:ext cx="612000" cy="612000"/>
            </a:xfrm>
            <a:prstGeom prst="flowChartAlternateProcess">
              <a:avLst/>
            </a:prstGeom>
            <a:solidFill>
              <a:srgbClr val="00C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Flussdiagramm: Alternativer Prozess 462">
              <a:extLst>
                <a:ext uri="{FF2B5EF4-FFF2-40B4-BE49-F238E27FC236}">
                  <a16:creationId xmlns:a16="http://schemas.microsoft.com/office/drawing/2014/main" id="{D7249293-4AF9-5E16-9116-04D1DACF6F61}"/>
                </a:ext>
              </a:extLst>
            </p:cNvPr>
            <p:cNvSpPr/>
            <p:nvPr/>
          </p:nvSpPr>
          <p:spPr>
            <a:xfrm rot="2700000">
              <a:off x="3861132" y="2100079"/>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Flussdiagramm: Alternativer Prozess 463">
              <a:extLst>
                <a:ext uri="{FF2B5EF4-FFF2-40B4-BE49-F238E27FC236}">
                  <a16:creationId xmlns:a16="http://schemas.microsoft.com/office/drawing/2014/main" id="{B03B3124-0E42-EC8D-B605-0F51083A7D1E}"/>
                </a:ext>
              </a:extLst>
            </p:cNvPr>
            <p:cNvSpPr/>
            <p:nvPr/>
          </p:nvSpPr>
          <p:spPr>
            <a:xfrm rot="2700000">
              <a:off x="4426465" y="2645972"/>
              <a:ext cx="612000" cy="612000"/>
            </a:xfrm>
            <a:prstGeom prst="flowChartAlternateProcess">
              <a:avLst/>
            </a:prstGeom>
            <a:solidFill>
              <a:srgbClr val="FF9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Flussdiagramm: Alternativer Prozess 464">
              <a:extLst>
                <a:ext uri="{FF2B5EF4-FFF2-40B4-BE49-F238E27FC236}">
                  <a16:creationId xmlns:a16="http://schemas.microsoft.com/office/drawing/2014/main" id="{68631453-C051-FA33-C20A-D9D41A6CFE15}"/>
                </a:ext>
              </a:extLst>
            </p:cNvPr>
            <p:cNvSpPr/>
            <p:nvPr/>
          </p:nvSpPr>
          <p:spPr>
            <a:xfrm rot="2700000">
              <a:off x="4458484" y="3747371"/>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Flussdiagramm: Alternativer Prozess 465">
              <a:extLst>
                <a:ext uri="{FF2B5EF4-FFF2-40B4-BE49-F238E27FC236}">
                  <a16:creationId xmlns:a16="http://schemas.microsoft.com/office/drawing/2014/main" id="{E3DA371B-C41E-711A-4280-BBF040C2697C}"/>
                </a:ext>
              </a:extLst>
            </p:cNvPr>
            <p:cNvSpPr/>
            <p:nvPr/>
          </p:nvSpPr>
          <p:spPr>
            <a:xfrm rot="2700000">
              <a:off x="3861132" y="4302878"/>
              <a:ext cx="612000" cy="612000"/>
            </a:xfrm>
            <a:prstGeom prst="flowChartAlternateProcess">
              <a:avLst/>
            </a:prstGeom>
            <a:solidFill>
              <a:srgbClr val="E89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Flussdiagramm: Alternativer Prozess 466">
              <a:extLst>
                <a:ext uri="{FF2B5EF4-FFF2-40B4-BE49-F238E27FC236}">
                  <a16:creationId xmlns:a16="http://schemas.microsoft.com/office/drawing/2014/main" id="{DF0DE4CE-A6B2-D78A-FB9F-50C0CE3AE552}"/>
                </a:ext>
              </a:extLst>
            </p:cNvPr>
            <p:cNvSpPr/>
            <p:nvPr/>
          </p:nvSpPr>
          <p:spPr>
            <a:xfrm rot="2700000">
              <a:off x="3891438" y="102819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Flussdiagramm: Alternativer Prozess 467">
              <a:extLst>
                <a:ext uri="{FF2B5EF4-FFF2-40B4-BE49-F238E27FC236}">
                  <a16:creationId xmlns:a16="http://schemas.microsoft.com/office/drawing/2014/main" id="{96864FC3-0B05-B42E-1211-23BCF515CCD6}"/>
                </a:ext>
              </a:extLst>
            </p:cNvPr>
            <p:cNvSpPr/>
            <p:nvPr/>
          </p:nvSpPr>
          <p:spPr>
            <a:xfrm rot="2700000">
              <a:off x="4449321" y="157487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9" name="Flussdiagramm: Alternativer Prozess 468">
              <a:extLst>
                <a:ext uri="{FF2B5EF4-FFF2-40B4-BE49-F238E27FC236}">
                  <a16:creationId xmlns:a16="http://schemas.microsoft.com/office/drawing/2014/main" id="{C1474C93-B781-E85B-7BFD-611026D8E37C}"/>
                </a:ext>
              </a:extLst>
            </p:cNvPr>
            <p:cNvSpPr/>
            <p:nvPr/>
          </p:nvSpPr>
          <p:spPr>
            <a:xfrm rot="2700000">
              <a:off x="3891438" y="2133312"/>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0" name="Flussdiagramm: Alternativer Prozess 469">
              <a:extLst>
                <a:ext uri="{FF2B5EF4-FFF2-40B4-BE49-F238E27FC236}">
                  <a16:creationId xmlns:a16="http://schemas.microsoft.com/office/drawing/2014/main" id="{E5C89215-5865-AC8C-55B2-2451E28DF96C}"/>
                </a:ext>
              </a:extLst>
            </p:cNvPr>
            <p:cNvSpPr/>
            <p:nvPr/>
          </p:nvSpPr>
          <p:spPr>
            <a:xfrm rot="2700000">
              <a:off x="4461161" y="2671693"/>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1" name="Flussdiagramm: Alternativer Prozess 470">
              <a:extLst>
                <a:ext uri="{FF2B5EF4-FFF2-40B4-BE49-F238E27FC236}">
                  <a16:creationId xmlns:a16="http://schemas.microsoft.com/office/drawing/2014/main" id="{DE04BFAA-8488-E0FD-8671-7384B98A6435}"/>
                </a:ext>
              </a:extLst>
            </p:cNvPr>
            <p:cNvSpPr/>
            <p:nvPr/>
          </p:nvSpPr>
          <p:spPr>
            <a:xfrm rot="2700000">
              <a:off x="3891437" y="323731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2" name="Flussdiagramm: Alternativer Prozess 471">
              <a:extLst>
                <a:ext uri="{FF2B5EF4-FFF2-40B4-BE49-F238E27FC236}">
                  <a16:creationId xmlns:a16="http://schemas.microsoft.com/office/drawing/2014/main" id="{5554B115-82D4-429C-3E8F-4ED5955F8413}"/>
                </a:ext>
              </a:extLst>
            </p:cNvPr>
            <p:cNvSpPr/>
            <p:nvPr/>
          </p:nvSpPr>
          <p:spPr>
            <a:xfrm rot="2700000">
              <a:off x="4492488" y="3784248"/>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3" name="Flussdiagramm: Alternativer Prozess 472">
              <a:extLst>
                <a:ext uri="{FF2B5EF4-FFF2-40B4-BE49-F238E27FC236}">
                  <a16:creationId xmlns:a16="http://schemas.microsoft.com/office/drawing/2014/main" id="{C7102F75-5AF3-B095-C3A4-72E24A850C22}"/>
                </a:ext>
              </a:extLst>
            </p:cNvPr>
            <p:cNvSpPr/>
            <p:nvPr/>
          </p:nvSpPr>
          <p:spPr>
            <a:xfrm rot="2700000">
              <a:off x="3891437" y="4333186"/>
              <a:ext cx="551385" cy="551385"/>
            </a:xfrm>
            <a:prstGeom prst="flowChartAlternateProcess">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4" name="Google Shape;9903;p58">
              <a:extLst>
                <a:ext uri="{FF2B5EF4-FFF2-40B4-BE49-F238E27FC236}">
                  <a16:creationId xmlns:a16="http://schemas.microsoft.com/office/drawing/2014/main" id="{89E80BC9-4E32-8546-54E3-691C34BE30E1}"/>
                </a:ext>
              </a:extLst>
            </p:cNvPr>
            <p:cNvGrpSpPr/>
            <p:nvPr/>
          </p:nvGrpSpPr>
          <p:grpSpPr>
            <a:xfrm>
              <a:off x="3969198" y="1151132"/>
              <a:ext cx="372835" cy="342573"/>
              <a:chOff x="1952836" y="2774422"/>
              <a:chExt cx="372835" cy="342573"/>
            </a:xfrm>
            <a:solidFill>
              <a:schemeClr val="bg1"/>
            </a:solidFill>
          </p:grpSpPr>
          <p:sp>
            <p:nvSpPr>
              <p:cNvPr id="541" name="Google Shape;9904;p58">
                <a:extLst>
                  <a:ext uri="{FF2B5EF4-FFF2-40B4-BE49-F238E27FC236}">
                    <a16:creationId xmlns:a16="http://schemas.microsoft.com/office/drawing/2014/main" id="{6B40D4A0-B363-EF41-CF1A-1C21AF75F017}"/>
                  </a:ext>
                </a:extLst>
              </p:cNvPr>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905;p58">
                <a:extLst>
                  <a:ext uri="{FF2B5EF4-FFF2-40B4-BE49-F238E27FC236}">
                    <a16:creationId xmlns:a16="http://schemas.microsoft.com/office/drawing/2014/main" id="{795C95E9-6479-453B-8A52-B1AE7B565EC2}"/>
                  </a:ext>
                </a:extLst>
              </p:cNvPr>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906;p58">
                <a:extLst>
                  <a:ext uri="{FF2B5EF4-FFF2-40B4-BE49-F238E27FC236}">
                    <a16:creationId xmlns:a16="http://schemas.microsoft.com/office/drawing/2014/main" id="{769A9973-E5FB-B666-E51C-EB63DF7EA0B6}"/>
                  </a:ext>
                </a:extLst>
              </p:cNvPr>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5" name="Picture 4" descr="Market Basket Analysis">
              <a:extLst>
                <a:ext uri="{FF2B5EF4-FFF2-40B4-BE49-F238E27FC236}">
                  <a16:creationId xmlns:a16="http://schemas.microsoft.com/office/drawing/2014/main" id="{58305391-55CB-2E49-930F-0652A2BC8F54}"/>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3571" l="9871" r="89968">
                          <a14:foregroundMark x1="40939" y1="10238" x2="45955" y2="10238"/>
                          <a14:foregroundMark x1="58738" y1="13095" x2="62460" y2="13095"/>
                          <a14:foregroundMark x1="74757" y1="25000" x2="78479" y2="25000"/>
                          <a14:foregroundMark x1="76699" y1="51429" x2="77994" y2="51905"/>
                          <a14:foregroundMark x1="72168" y1="74048" x2="73139" y2="75000"/>
                          <a14:foregroundMark x1="57929" y1="88810" x2="61650" y2="89286"/>
                          <a14:foregroundMark x1="43204" y1="92143" x2="45307" y2="93571"/>
                          <a14:foregroundMark x1="27346" y1="84048" x2="32686" y2="83571"/>
                          <a14:foregroundMark x1="16019" y1="64048" x2="21359" y2="63571"/>
                          <a14:foregroundMark x1="21359" y1="38571" x2="22006" y2="40476"/>
                          <a14:foregroundMark x1="29612" y1="19762" x2="30744" y2="20476"/>
                        </a14:backgroundRemoval>
                      </a14:imgEffect>
                    </a14:imgLayer>
                  </a14:imgProps>
                </a:ext>
                <a:ext uri="{28A0092B-C50C-407E-A947-70E740481C1C}">
                  <a14:useLocalDpi xmlns:a14="http://schemas.microsoft.com/office/drawing/2010/main" val="0"/>
                </a:ext>
              </a:extLst>
            </a:blip>
            <a:srcRect/>
            <a:stretch>
              <a:fillRect/>
            </a:stretch>
          </p:blipFill>
          <p:spPr bwMode="auto">
            <a:xfrm>
              <a:off x="4379705" y="1617750"/>
              <a:ext cx="707764" cy="481005"/>
            </a:xfrm>
            <a:prstGeom prst="rect">
              <a:avLst/>
            </a:prstGeom>
            <a:noFill/>
            <a:extLst>
              <a:ext uri="{909E8E84-426E-40DD-AFC4-6F175D3DCCD1}">
                <a14:hiddenFill xmlns:a14="http://schemas.microsoft.com/office/drawing/2010/main">
                  <a:solidFill>
                    <a:srgbClr val="FFFFFF"/>
                  </a:solidFill>
                </a14:hiddenFill>
              </a:ext>
            </a:extLst>
          </p:spPr>
        </p:pic>
        <p:grpSp>
          <p:nvGrpSpPr>
            <p:cNvPr id="476" name="Google Shape;11111;p60">
              <a:extLst>
                <a:ext uri="{FF2B5EF4-FFF2-40B4-BE49-F238E27FC236}">
                  <a16:creationId xmlns:a16="http://schemas.microsoft.com/office/drawing/2014/main" id="{17139FBB-0974-C4D1-0F3D-BCEC206E6779}"/>
                </a:ext>
              </a:extLst>
            </p:cNvPr>
            <p:cNvGrpSpPr/>
            <p:nvPr/>
          </p:nvGrpSpPr>
          <p:grpSpPr>
            <a:xfrm>
              <a:off x="3943071" y="2187269"/>
              <a:ext cx="452162" cy="407356"/>
              <a:chOff x="3988156" y="3380210"/>
              <a:chExt cx="353954" cy="318880"/>
            </a:xfrm>
            <a:solidFill>
              <a:schemeClr val="bg1"/>
            </a:solidFill>
          </p:grpSpPr>
          <p:sp>
            <p:nvSpPr>
              <p:cNvPr id="536" name="Google Shape;11112;p60">
                <a:extLst>
                  <a:ext uri="{FF2B5EF4-FFF2-40B4-BE49-F238E27FC236}">
                    <a16:creationId xmlns:a16="http://schemas.microsoft.com/office/drawing/2014/main" id="{DA16E7E1-1ED6-08E8-7BAC-814680EE087A}"/>
                  </a:ext>
                </a:extLst>
              </p:cNvPr>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11113;p60">
                <a:extLst>
                  <a:ext uri="{FF2B5EF4-FFF2-40B4-BE49-F238E27FC236}">
                    <a16:creationId xmlns:a16="http://schemas.microsoft.com/office/drawing/2014/main" id="{92841EB6-30FE-504E-1E4E-4AAFA036F0DA}"/>
                  </a:ext>
                </a:extLst>
              </p:cNvPr>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11114;p60">
                <a:extLst>
                  <a:ext uri="{FF2B5EF4-FFF2-40B4-BE49-F238E27FC236}">
                    <a16:creationId xmlns:a16="http://schemas.microsoft.com/office/drawing/2014/main" id="{A9E1A431-0BFF-C2A9-250F-BDB3AE0AE6CA}"/>
                  </a:ext>
                </a:extLst>
              </p:cNvPr>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11115;p60">
                <a:extLst>
                  <a:ext uri="{FF2B5EF4-FFF2-40B4-BE49-F238E27FC236}">
                    <a16:creationId xmlns:a16="http://schemas.microsoft.com/office/drawing/2014/main" id="{999365C7-9BEE-5E3A-902D-266B0DB6B83C}"/>
                  </a:ext>
                </a:extLst>
              </p:cNvPr>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11116;p60">
                <a:extLst>
                  <a:ext uri="{FF2B5EF4-FFF2-40B4-BE49-F238E27FC236}">
                    <a16:creationId xmlns:a16="http://schemas.microsoft.com/office/drawing/2014/main" id="{5D7772C1-9B28-B757-BD00-7F45B35F0C60}"/>
                  </a:ext>
                </a:extLst>
              </p:cNvPr>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7" name="Google Shape;13596;p64">
              <a:extLst>
                <a:ext uri="{FF2B5EF4-FFF2-40B4-BE49-F238E27FC236}">
                  <a16:creationId xmlns:a16="http://schemas.microsoft.com/office/drawing/2014/main" id="{9806D204-ED71-372F-F37E-0617B92A6C0F}"/>
                </a:ext>
              </a:extLst>
            </p:cNvPr>
            <p:cNvGrpSpPr/>
            <p:nvPr/>
          </p:nvGrpSpPr>
          <p:grpSpPr>
            <a:xfrm>
              <a:off x="4486810" y="2781221"/>
              <a:ext cx="491309" cy="416197"/>
              <a:chOff x="2770052" y="2009628"/>
              <a:chExt cx="327085" cy="277080"/>
            </a:xfrm>
            <a:solidFill>
              <a:schemeClr val="bg1"/>
            </a:solidFill>
          </p:grpSpPr>
          <p:sp>
            <p:nvSpPr>
              <p:cNvPr id="534" name="Google Shape;13597;p64">
                <a:extLst>
                  <a:ext uri="{FF2B5EF4-FFF2-40B4-BE49-F238E27FC236}">
                    <a16:creationId xmlns:a16="http://schemas.microsoft.com/office/drawing/2014/main" id="{C15F47A9-17E0-6920-F59E-C4631BBF88CD}"/>
                  </a:ext>
                </a:extLst>
              </p:cNvPr>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13598;p64">
                <a:extLst>
                  <a:ext uri="{FF2B5EF4-FFF2-40B4-BE49-F238E27FC236}">
                    <a16:creationId xmlns:a16="http://schemas.microsoft.com/office/drawing/2014/main" id="{FFC6A91C-7EFB-C8AC-3130-FF45CE73B272}"/>
                  </a:ext>
                </a:extLst>
              </p:cNvPr>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78" name="Google Shape;13305;p64">
              <a:extLst>
                <a:ext uri="{FF2B5EF4-FFF2-40B4-BE49-F238E27FC236}">
                  <a16:creationId xmlns:a16="http://schemas.microsoft.com/office/drawing/2014/main" id="{BBF5C3EE-DBEF-6876-6616-9D0580C71F11}"/>
                </a:ext>
              </a:extLst>
            </p:cNvPr>
            <p:cNvGrpSpPr/>
            <p:nvPr/>
          </p:nvGrpSpPr>
          <p:grpSpPr>
            <a:xfrm>
              <a:off x="3951836" y="3310721"/>
              <a:ext cx="431236" cy="384250"/>
              <a:chOff x="1327676" y="2910480"/>
              <a:chExt cx="347934" cy="310024"/>
            </a:xfrm>
            <a:solidFill>
              <a:schemeClr val="bg1"/>
            </a:solidFill>
          </p:grpSpPr>
          <p:sp>
            <p:nvSpPr>
              <p:cNvPr id="501" name="Google Shape;13306;p64">
                <a:extLst>
                  <a:ext uri="{FF2B5EF4-FFF2-40B4-BE49-F238E27FC236}">
                    <a16:creationId xmlns:a16="http://schemas.microsoft.com/office/drawing/2014/main" id="{0DA27BB2-743E-9696-B887-1D133689852A}"/>
                  </a:ext>
                </a:extLst>
              </p:cNvPr>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3307;p64">
                <a:extLst>
                  <a:ext uri="{FF2B5EF4-FFF2-40B4-BE49-F238E27FC236}">
                    <a16:creationId xmlns:a16="http://schemas.microsoft.com/office/drawing/2014/main" id="{40BC4788-81B0-9EF5-B3D2-5A2AB8311C3A}"/>
                  </a:ext>
                </a:extLst>
              </p:cNvPr>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3308;p64">
                <a:extLst>
                  <a:ext uri="{FF2B5EF4-FFF2-40B4-BE49-F238E27FC236}">
                    <a16:creationId xmlns:a16="http://schemas.microsoft.com/office/drawing/2014/main" id="{0BE6F7E1-514D-0181-2592-8E88C38972F7}"/>
                  </a:ext>
                </a:extLst>
              </p:cNvPr>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3309;p64">
                <a:extLst>
                  <a:ext uri="{FF2B5EF4-FFF2-40B4-BE49-F238E27FC236}">
                    <a16:creationId xmlns:a16="http://schemas.microsoft.com/office/drawing/2014/main" id="{DE96C2EC-F5E9-3BF8-46E5-A4FB6EB8FA72}"/>
                  </a:ext>
                </a:extLst>
              </p:cNvPr>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3310;p64">
                <a:extLst>
                  <a:ext uri="{FF2B5EF4-FFF2-40B4-BE49-F238E27FC236}">
                    <a16:creationId xmlns:a16="http://schemas.microsoft.com/office/drawing/2014/main" id="{4A6D92A7-88CE-1B11-EA6D-3BA762239760}"/>
                  </a:ext>
                </a:extLst>
              </p:cNvPr>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79" name="Grafik 478" descr="Money outline">
              <a:extLst>
                <a:ext uri="{FF2B5EF4-FFF2-40B4-BE49-F238E27FC236}">
                  <a16:creationId xmlns:a16="http://schemas.microsoft.com/office/drawing/2014/main" id="{9283B10E-1B17-FA4E-2472-5F6F7DFAC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33971" y="4351200"/>
              <a:ext cx="444321" cy="444321"/>
            </a:xfrm>
            <a:prstGeom prst="rect">
              <a:avLst/>
            </a:prstGeom>
          </p:spPr>
        </p:pic>
        <p:pic>
          <p:nvPicPr>
            <p:cNvPr id="500" name="Grafik 499" descr="Mandala outline">
              <a:extLst>
                <a:ext uri="{FF2B5EF4-FFF2-40B4-BE49-F238E27FC236}">
                  <a16:creationId xmlns:a16="http://schemas.microsoft.com/office/drawing/2014/main" id="{EC716FED-5B75-B97E-78DB-E356484E69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87462" y="3770882"/>
              <a:ext cx="554043" cy="554043"/>
            </a:xfrm>
            <a:prstGeom prst="rect">
              <a:avLst/>
            </a:prstGeom>
          </p:spPr>
        </p:pic>
      </p:grpSp>
    </p:spTree>
    <p:extLst>
      <p:ext uri="{BB962C8B-B14F-4D97-AF65-F5344CB8AC3E}">
        <p14:creationId xmlns:p14="http://schemas.microsoft.com/office/powerpoint/2010/main" val="1743738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Shape 1327"/>
        <p:cNvGrpSpPr/>
        <p:nvPr/>
      </p:nvGrpSpPr>
      <p:grpSpPr>
        <a:xfrm>
          <a:off x="0" y="0"/>
          <a:ext cx="0" cy="0"/>
          <a:chOff x="0" y="0"/>
          <a:chExt cx="0" cy="0"/>
        </a:xfrm>
      </p:grpSpPr>
      <p:sp>
        <p:nvSpPr>
          <p:cNvPr id="1328" name="Google Shape;1328;p46"/>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SNEAK PEEK</a:t>
            </a:r>
            <a:endParaRPr/>
          </a:p>
        </p:txBody>
      </p:sp>
      <p:sp>
        <p:nvSpPr>
          <p:cNvPr id="1329" name="Google Shape;1329;p46"/>
          <p:cNvSpPr txBox="1">
            <a:spLocks noGrp="1"/>
          </p:cNvSpPr>
          <p:nvPr>
            <p:ph type="body" idx="1"/>
          </p:nvPr>
        </p:nvSpPr>
        <p:spPr>
          <a:xfrm>
            <a:off x="2370564" y="3979875"/>
            <a:ext cx="4046700" cy="1296300"/>
          </a:xfrm>
          <a:prstGeom prst="rect">
            <a:avLst/>
          </a:prstGeom>
        </p:spPr>
        <p:txBody>
          <a:bodyPr spcFirstLastPara="1" wrap="square" lIns="91425" tIns="91425" rIns="91425" bIns="91425" anchor="t" anchorCtr="0">
            <a:noAutofit/>
          </a:bodyPr>
          <a:lstStyle/>
          <a:p>
            <a:pPr marL="0" lvl="0" indent="0" algn="ctr" rtl="0">
              <a:lnSpc>
                <a:spcPct val="100000"/>
              </a:lnSpc>
              <a:spcBef>
                <a:spcPts val="0"/>
              </a:spcBef>
              <a:spcAft>
                <a:spcPts val="0"/>
              </a:spcAft>
              <a:buNone/>
            </a:pPr>
            <a:r>
              <a:rPr lang="en"/>
              <a:t>You can replace the images on these screens with your own work</a:t>
            </a:r>
            <a:endParaRPr/>
          </a:p>
        </p:txBody>
      </p:sp>
      <p:grpSp>
        <p:nvGrpSpPr>
          <p:cNvPr id="1330" name="Google Shape;1330;p46"/>
          <p:cNvGrpSpPr/>
          <p:nvPr/>
        </p:nvGrpSpPr>
        <p:grpSpPr>
          <a:xfrm>
            <a:off x="2865643" y="1274393"/>
            <a:ext cx="3079859" cy="2420090"/>
            <a:chOff x="1153225" y="1597649"/>
            <a:chExt cx="3842140" cy="3019074"/>
          </a:xfrm>
        </p:grpSpPr>
        <p:grpSp>
          <p:nvGrpSpPr>
            <p:cNvPr id="1331" name="Google Shape;1331;p46"/>
            <p:cNvGrpSpPr/>
            <p:nvPr/>
          </p:nvGrpSpPr>
          <p:grpSpPr>
            <a:xfrm>
              <a:off x="1153225" y="1597649"/>
              <a:ext cx="3842140" cy="3019074"/>
              <a:chOff x="238125" y="1676700"/>
              <a:chExt cx="2045650" cy="1779275"/>
            </a:xfrm>
          </p:grpSpPr>
          <p:sp>
            <p:nvSpPr>
              <p:cNvPr id="1332" name="Google Shape;1332;p46"/>
              <p:cNvSpPr/>
              <p:nvPr/>
            </p:nvSpPr>
            <p:spPr>
              <a:xfrm>
                <a:off x="1006875" y="3190025"/>
                <a:ext cx="508150" cy="247100"/>
              </a:xfrm>
              <a:custGeom>
                <a:avLst/>
                <a:gdLst/>
                <a:ahLst/>
                <a:cxnLst/>
                <a:rect l="l" t="t" r="r" b="b"/>
                <a:pathLst>
                  <a:path w="20326" h="9884" extrusionOk="0">
                    <a:moveTo>
                      <a:pt x="2967" y="0"/>
                    </a:moveTo>
                    <a:lnTo>
                      <a:pt x="0" y="9884"/>
                    </a:lnTo>
                    <a:lnTo>
                      <a:pt x="20325" y="9884"/>
                    </a:lnTo>
                    <a:lnTo>
                      <a:pt x="17359"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46"/>
              <p:cNvSpPr/>
              <p:nvPr/>
            </p:nvSpPr>
            <p:spPr>
              <a:xfrm>
                <a:off x="1021625" y="3190025"/>
                <a:ext cx="452425" cy="197525"/>
              </a:xfrm>
              <a:custGeom>
                <a:avLst/>
                <a:gdLst/>
                <a:ahLst/>
                <a:cxnLst/>
                <a:rect l="l" t="t" r="r" b="b"/>
                <a:pathLst>
                  <a:path w="18097" h="7901" extrusionOk="0">
                    <a:moveTo>
                      <a:pt x="2377" y="0"/>
                    </a:moveTo>
                    <a:lnTo>
                      <a:pt x="0" y="7901"/>
                    </a:lnTo>
                    <a:cubicBezTo>
                      <a:pt x="6032" y="6753"/>
                      <a:pt x="12064" y="5557"/>
                      <a:pt x="18096" y="4442"/>
                    </a:cubicBezTo>
                    <a:lnTo>
                      <a:pt x="167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46"/>
              <p:cNvSpPr/>
              <p:nvPr/>
            </p:nvSpPr>
            <p:spPr>
              <a:xfrm>
                <a:off x="968750" y="3417450"/>
                <a:ext cx="584375" cy="38525"/>
              </a:xfrm>
              <a:custGeom>
                <a:avLst/>
                <a:gdLst/>
                <a:ahLst/>
                <a:cxnLst/>
                <a:rect l="l" t="t" r="r" b="b"/>
                <a:pathLst>
                  <a:path w="23375" h="1541" extrusionOk="0">
                    <a:moveTo>
                      <a:pt x="492" y="0"/>
                    </a:moveTo>
                    <a:cubicBezTo>
                      <a:pt x="214" y="0"/>
                      <a:pt x="1" y="230"/>
                      <a:pt x="1" y="492"/>
                    </a:cubicBezTo>
                    <a:lnTo>
                      <a:pt x="1" y="1541"/>
                    </a:lnTo>
                    <a:lnTo>
                      <a:pt x="23375" y="1541"/>
                    </a:lnTo>
                    <a:lnTo>
                      <a:pt x="23375" y="492"/>
                    </a:lnTo>
                    <a:cubicBezTo>
                      <a:pt x="23375" y="213"/>
                      <a:pt x="23145" y="0"/>
                      <a:pt x="2288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46"/>
              <p:cNvSpPr/>
              <p:nvPr/>
            </p:nvSpPr>
            <p:spPr>
              <a:xfrm>
                <a:off x="238125" y="1777900"/>
                <a:ext cx="2045650" cy="1461300"/>
              </a:xfrm>
              <a:custGeom>
                <a:avLst/>
                <a:gdLst/>
                <a:ahLst/>
                <a:cxnLst/>
                <a:rect l="l" t="t" r="r" b="b"/>
                <a:pathLst>
                  <a:path w="81826" h="58452" extrusionOk="0">
                    <a:moveTo>
                      <a:pt x="1574" y="1"/>
                    </a:moveTo>
                    <a:cubicBezTo>
                      <a:pt x="705" y="1"/>
                      <a:pt x="0" y="689"/>
                      <a:pt x="0" y="1558"/>
                    </a:cubicBezTo>
                    <a:lnTo>
                      <a:pt x="0" y="56895"/>
                    </a:lnTo>
                    <a:cubicBezTo>
                      <a:pt x="0" y="57764"/>
                      <a:pt x="705" y="58452"/>
                      <a:pt x="1574" y="58452"/>
                    </a:cubicBezTo>
                    <a:lnTo>
                      <a:pt x="80252" y="58452"/>
                    </a:lnTo>
                    <a:cubicBezTo>
                      <a:pt x="81121" y="58452"/>
                      <a:pt x="81826" y="57764"/>
                      <a:pt x="81826" y="56895"/>
                    </a:cubicBezTo>
                    <a:lnTo>
                      <a:pt x="81826" y="1558"/>
                    </a:lnTo>
                    <a:cubicBezTo>
                      <a:pt x="81826" y="689"/>
                      <a:pt x="81121" y="1"/>
                      <a:pt x="80252"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46"/>
              <p:cNvSpPr/>
              <p:nvPr/>
            </p:nvSpPr>
            <p:spPr>
              <a:xfrm>
                <a:off x="238125" y="1676700"/>
                <a:ext cx="2045650" cy="1390400"/>
              </a:xfrm>
              <a:custGeom>
                <a:avLst/>
                <a:gdLst/>
                <a:ahLst/>
                <a:cxnLst/>
                <a:rect l="l" t="t" r="r" b="b"/>
                <a:pathLst>
                  <a:path w="81826" h="55616" extrusionOk="0">
                    <a:moveTo>
                      <a:pt x="2836" y="0"/>
                    </a:moveTo>
                    <a:cubicBezTo>
                      <a:pt x="1279" y="0"/>
                      <a:pt x="0" y="1279"/>
                      <a:pt x="0" y="2836"/>
                    </a:cubicBezTo>
                    <a:lnTo>
                      <a:pt x="0" y="55616"/>
                    </a:lnTo>
                    <a:lnTo>
                      <a:pt x="81826" y="55616"/>
                    </a:lnTo>
                    <a:lnTo>
                      <a:pt x="81826" y="2836"/>
                    </a:lnTo>
                    <a:cubicBezTo>
                      <a:pt x="81826" y="1279"/>
                      <a:pt x="80547" y="0"/>
                      <a:pt x="78973" y="0"/>
                    </a:cubicBezTo>
                    <a:close/>
                  </a:path>
                </a:pathLst>
              </a:cu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46"/>
              <p:cNvSpPr/>
              <p:nvPr/>
            </p:nvSpPr>
            <p:spPr>
              <a:xfrm>
                <a:off x="346300" y="1773800"/>
                <a:ext cx="1829300" cy="1140050"/>
              </a:xfrm>
              <a:custGeom>
                <a:avLst/>
                <a:gdLst/>
                <a:ahLst/>
                <a:cxnLst/>
                <a:rect l="l" t="t" r="r" b="b"/>
                <a:pathLst>
                  <a:path w="73172" h="45602" extrusionOk="0">
                    <a:moveTo>
                      <a:pt x="426" y="1"/>
                    </a:moveTo>
                    <a:cubicBezTo>
                      <a:pt x="197" y="1"/>
                      <a:pt x="0" y="181"/>
                      <a:pt x="0" y="411"/>
                    </a:cubicBezTo>
                    <a:lnTo>
                      <a:pt x="0" y="45175"/>
                    </a:lnTo>
                    <a:cubicBezTo>
                      <a:pt x="0" y="45405"/>
                      <a:pt x="197" y="45601"/>
                      <a:pt x="426" y="45601"/>
                    </a:cubicBezTo>
                    <a:lnTo>
                      <a:pt x="72745" y="45601"/>
                    </a:lnTo>
                    <a:cubicBezTo>
                      <a:pt x="72975" y="45601"/>
                      <a:pt x="73171" y="45405"/>
                      <a:pt x="73171" y="45175"/>
                    </a:cubicBezTo>
                    <a:lnTo>
                      <a:pt x="73171" y="411"/>
                    </a:lnTo>
                    <a:cubicBezTo>
                      <a:pt x="73171" y="181"/>
                      <a:pt x="72975" y="1"/>
                      <a:pt x="72745"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46"/>
              <p:cNvSpPr/>
              <p:nvPr/>
            </p:nvSpPr>
            <p:spPr>
              <a:xfrm>
                <a:off x="1244550" y="1708650"/>
                <a:ext cx="28700" cy="24925"/>
              </a:xfrm>
              <a:custGeom>
                <a:avLst/>
                <a:gdLst/>
                <a:ahLst/>
                <a:cxnLst/>
                <a:rect l="l" t="t" r="r" b="b"/>
                <a:pathLst>
                  <a:path w="1148" h="997" extrusionOk="0">
                    <a:moveTo>
                      <a:pt x="656" y="1"/>
                    </a:moveTo>
                    <a:cubicBezTo>
                      <a:pt x="213" y="1"/>
                      <a:pt x="0" y="541"/>
                      <a:pt x="312" y="853"/>
                    </a:cubicBezTo>
                    <a:cubicBezTo>
                      <a:pt x="411" y="952"/>
                      <a:pt x="532" y="996"/>
                      <a:pt x="650" y="996"/>
                    </a:cubicBezTo>
                    <a:cubicBezTo>
                      <a:pt x="904" y="996"/>
                      <a:pt x="1147" y="794"/>
                      <a:pt x="1147" y="492"/>
                    </a:cubicBezTo>
                    <a:cubicBezTo>
                      <a:pt x="1147" y="230"/>
                      <a:pt x="934" y="1"/>
                      <a:pt x="65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9" name="Google Shape;1339;p46"/>
            <p:cNvSpPr/>
            <p:nvPr/>
          </p:nvSpPr>
          <p:spPr>
            <a:xfrm>
              <a:off x="3014150" y="4032725"/>
              <a:ext cx="120300" cy="120300"/>
            </a:xfrm>
            <a:prstGeom prst="ellipse">
              <a:avLst/>
            </a:prstGeom>
            <a:no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0" name="Google Shape;1340;p46"/>
          <p:cNvPicPr preferRelativeResize="0"/>
          <p:nvPr/>
        </p:nvPicPr>
        <p:blipFill rotWithShape="1">
          <a:blip r:embed="rId3">
            <a:alphaModFix/>
          </a:blip>
          <a:srcRect/>
          <a:stretch/>
        </p:blipFill>
        <p:spPr>
          <a:xfrm>
            <a:off x="3021739" y="1404936"/>
            <a:ext cx="2767958" cy="1556788"/>
          </a:xfrm>
          <a:prstGeom prst="rect">
            <a:avLst/>
          </a:prstGeom>
          <a:noFill/>
          <a:ln>
            <a:noFill/>
          </a:ln>
        </p:spPr>
      </p:pic>
      <p:grpSp>
        <p:nvGrpSpPr>
          <p:cNvPr id="1341" name="Google Shape;1341;p46"/>
          <p:cNvGrpSpPr/>
          <p:nvPr/>
        </p:nvGrpSpPr>
        <p:grpSpPr>
          <a:xfrm>
            <a:off x="6083689" y="1274479"/>
            <a:ext cx="1822104" cy="2420224"/>
            <a:chOff x="3580725" y="2020075"/>
            <a:chExt cx="1344925" cy="1786275"/>
          </a:xfrm>
        </p:grpSpPr>
        <p:sp>
          <p:nvSpPr>
            <p:cNvPr id="1342" name="Google Shape;1342;p46"/>
            <p:cNvSpPr/>
            <p:nvPr/>
          </p:nvSpPr>
          <p:spPr>
            <a:xfrm>
              <a:off x="3681925" y="2020075"/>
              <a:ext cx="1243725" cy="1786275"/>
            </a:xfrm>
            <a:custGeom>
              <a:avLst/>
              <a:gdLst/>
              <a:ahLst/>
              <a:cxnLst/>
              <a:rect l="l" t="t" r="r" b="b"/>
              <a:pathLst>
                <a:path w="49749" h="71451" extrusionOk="0">
                  <a:moveTo>
                    <a:pt x="1574" y="1"/>
                  </a:moveTo>
                  <a:cubicBezTo>
                    <a:pt x="706" y="1"/>
                    <a:pt x="1" y="706"/>
                    <a:pt x="1" y="1574"/>
                  </a:cubicBezTo>
                  <a:lnTo>
                    <a:pt x="1" y="69877"/>
                  </a:lnTo>
                  <a:cubicBezTo>
                    <a:pt x="1" y="70746"/>
                    <a:pt x="706" y="71451"/>
                    <a:pt x="1574" y="71451"/>
                  </a:cubicBezTo>
                  <a:lnTo>
                    <a:pt x="48175" y="71451"/>
                  </a:lnTo>
                  <a:cubicBezTo>
                    <a:pt x="49044" y="71451"/>
                    <a:pt x="49748" y="70746"/>
                    <a:pt x="49748" y="69877"/>
                  </a:cubicBezTo>
                  <a:lnTo>
                    <a:pt x="49748" y="1574"/>
                  </a:lnTo>
                  <a:cubicBezTo>
                    <a:pt x="49748" y="706"/>
                    <a:pt x="49044" y="1"/>
                    <a:pt x="4817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46"/>
            <p:cNvSpPr/>
            <p:nvPr/>
          </p:nvSpPr>
          <p:spPr>
            <a:xfrm>
              <a:off x="3580725" y="2020075"/>
              <a:ext cx="1250250" cy="1786275"/>
            </a:xfrm>
            <a:custGeom>
              <a:avLst/>
              <a:gdLst/>
              <a:ahLst/>
              <a:cxnLst/>
              <a:rect l="l" t="t" r="r" b="b"/>
              <a:pathLst>
                <a:path w="50010" h="71451" extrusionOk="0">
                  <a:moveTo>
                    <a:pt x="2527" y="1"/>
                  </a:moveTo>
                  <a:cubicBezTo>
                    <a:pt x="1147" y="1"/>
                    <a:pt x="33" y="1109"/>
                    <a:pt x="0" y="2492"/>
                  </a:cubicBezTo>
                  <a:lnTo>
                    <a:pt x="0" y="68975"/>
                  </a:lnTo>
                  <a:cubicBezTo>
                    <a:pt x="33" y="70358"/>
                    <a:pt x="1147" y="71451"/>
                    <a:pt x="2526" y="71451"/>
                  </a:cubicBezTo>
                  <a:cubicBezTo>
                    <a:pt x="2537" y="71451"/>
                    <a:pt x="2547" y="71451"/>
                    <a:pt x="2557" y="71451"/>
                  </a:cubicBezTo>
                  <a:lnTo>
                    <a:pt x="50010" y="71451"/>
                  </a:lnTo>
                  <a:lnTo>
                    <a:pt x="50010" y="1"/>
                  </a:lnTo>
                  <a:lnTo>
                    <a:pt x="2557" y="1"/>
                  </a:lnTo>
                  <a:cubicBezTo>
                    <a:pt x="2547" y="1"/>
                    <a:pt x="2537" y="1"/>
                    <a:pt x="2527"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46"/>
            <p:cNvSpPr/>
            <p:nvPr/>
          </p:nvSpPr>
          <p:spPr>
            <a:xfrm>
              <a:off x="3680303" y="2113921"/>
              <a:ext cx="1140025" cy="1511564"/>
            </a:xfrm>
            <a:custGeom>
              <a:avLst/>
              <a:gdLst/>
              <a:ahLst/>
              <a:cxnLst/>
              <a:rect l="l" t="t" r="r" b="b"/>
              <a:pathLst>
                <a:path w="45601" h="60944" extrusionOk="0">
                  <a:moveTo>
                    <a:pt x="426" y="1"/>
                  </a:moveTo>
                  <a:cubicBezTo>
                    <a:pt x="197" y="1"/>
                    <a:pt x="0" y="181"/>
                    <a:pt x="0" y="427"/>
                  </a:cubicBezTo>
                  <a:lnTo>
                    <a:pt x="0" y="60534"/>
                  </a:lnTo>
                  <a:cubicBezTo>
                    <a:pt x="0" y="60763"/>
                    <a:pt x="197" y="60943"/>
                    <a:pt x="426" y="60943"/>
                  </a:cubicBezTo>
                  <a:lnTo>
                    <a:pt x="45191" y="60943"/>
                  </a:lnTo>
                  <a:cubicBezTo>
                    <a:pt x="45421" y="60943"/>
                    <a:pt x="45601" y="60763"/>
                    <a:pt x="45601" y="60534"/>
                  </a:cubicBezTo>
                  <a:lnTo>
                    <a:pt x="45601" y="427"/>
                  </a:lnTo>
                  <a:cubicBezTo>
                    <a:pt x="45601" y="181"/>
                    <a:pt x="45421" y="1"/>
                    <a:pt x="45191" y="1"/>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46"/>
            <p:cNvSpPr/>
            <p:nvPr/>
          </p:nvSpPr>
          <p:spPr>
            <a:xfrm>
              <a:off x="4237099" y="2051650"/>
              <a:ext cx="28700" cy="24925"/>
            </a:xfrm>
            <a:custGeom>
              <a:avLst/>
              <a:gdLst/>
              <a:ahLst/>
              <a:cxnLst/>
              <a:rect l="l" t="t" r="r" b="b"/>
              <a:pathLst>
                <a:path w="1148" h="997" extrusionOk="0">
                  <a:moveTo>
                    <a:pt x="492" y="0"/>
                  </a:moveTo>
                  <a:cubicBezTo>
                    <a:pt x="214" y="0"/>
                    <a:pt x="0" y="230"/>
                    <a:pt x="0" y="508"/>
                  </a:cubicBezTo>
                  <a:cubicBezTo>
                    <a:pt x="0" y="798"/>
                    <a:pt x="243" y="996"/>
                    <a:pt x="496" y="996"/>
                  </a:cubicBezTo>
                  <a:cubicBezTo>
                    <a:pt x="615" y="996"/>
                    <a:pt x="737" y="952"/>
                    <a:pt x="836" y="852"/>
                  </a:cubicBezTo>
                  <a:cubicBezTo>
                    <a:pt x="1148" y="541"/>
                    <a:pt x="935" y="0"/>
                    <a:pt x="49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46"/>
            <p:cNvSpPr/>
            <p:nvPr/>
          </p:nvSpPr>
          <p:spPr>
            <a:xfrm>
              <a:off x="4179825" y="3667150"/>
              <a:ext cx="125000" cy="106825"/>
            </a:xfrm>
            <a:custGeom>
              <a:avLst/>
              <a:gdLst/>
              <a:ahLst/>
              <a:cxnLst/>
              <a:rect l="l" t="t" r="r" b="b"/>
              <a:pathLst>
                <a:path w="5000" h="4273" extrusionOk="0">
                  <a:moveTo>
                    <a:pt x="2869" y="355"/>
                  </a:moveTo>
                  <a:cubicBezTo>
                    <a:pt x="3836" y="355"/>
                    <a:pt x="4639" y="1158"/>
                    <a:pt x="4639" y="2142"/>
                  </a:cubicBezTo>
                  <a:cubicBezTo>
                    <a:pt x="4639" y="3206"/>
                    <a:pt x="3762" y="3917"/>
                    <a:pt x="2850" y="3917"/>
                  </a:cubicBezTo>
                  <a:cubicBezTo>
                    <a:pt x="2413" y="3917"/>
                    <a:pt x="1968" y="3754"/>
                    <a:pt x="1607" y="3387"/>
                  </a:cubicBezTo>
                  <a:cubicBezTo>
                    <a:pt x="492" y="2273"/>
                    <a:pt x="1279" y="355"/>
                    <a:pt x="2869" y="355"/>
                  </a:cubicBezTo>
                  <a:close/>
                  <a:moveTo>
                    <a:pt x="2849" y="1"/>
                  </a:moveTo>
                  <a:cubicBezTo>
                    <a:pt x="2320" y="1"/>
                    <a:pt x="1781" y="197"/>
                    <a:pt x="1344" y="634"/>
                  </a:cubicBezTo>
                  <a:cubicBezTo>
                    <a:pt x="0" y="1978"/>
                    <a:pt x="967" y="4273"/>
                    <a:pt x="2869" y="4273"/>
                  </a:cubicBezTo>
                  <a:cubicBezTo>
                    <a:pt x="4049" y="4273"/>
                    <a:pt x="5000" y="3306"/>
                    <a:pt x="5000" y="2142"/>
                  </a:cubicBezTo>
                  <a:cubicBezTo>
                    <a:pt x="5000" y="847"/>
                    <a:pt x="3946" y="1"/>
                    <a:pt x="284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47" name="Google Shape;1347;p46"/>
          <p:cNvPicPr preferRelativeResize="0"/>
          <p:nvPr/>
        </p:nvPicPr>
        <p:blipFill rotWithShape="1">
          <a:blip r:embed="rId4">
            <a:alphaModFix/>
          </a:blip>
          <a:srcRect t="108" b="1096"/>
          <a:stretch/>
        </p:blipFill>
        <p:spPr>
          <a:xfrm>
            <a:off x="6208244" y="1382288"/>
            <a:ext cx="1568492" cy="2066983"/>
          </a:xfrm>
          <a:prstGeom prst="rect">
            <a:avLst/>
          </a:prstGeom>
          <a:noFill/>
          <a:ln>
            <a:noFill/>
          </a:ln>
        </p:spPr>
      </p:pic>
      <p:grpSp>
        <p:nvGrpSpPr>
          <p:cNvPr id="1348" name="Google Shape;1348;p46"/>
          <p:cNvGrpSpPr/>
          <p:nvPr/>
        </p:nvGrpSpPr>
        <p:grpSpPr>
          <a:xfrm>
            <a:off x="1238112" y="1274594"/>
            <a:ext cx="1323876" cy="2420329"/>
            <a:chOff x="6417224" y="2247097"/>
            <a:chExt cx="951950" cy="1740368"/>
          </a:xfrm>
        </p:grpSpPr>
        <p:sp>
          <p:nvSpPr>
            <p:cNvPr id="1349" name="Google Shape;1349;p46"/>
            <p:cNvSpPr/>
            <p:nvPr/>
          </p:nvSpPr>
          <p:spPr>
            <a:xfrm>
              <a:off x="6505324" y="2247511"/>
              <a:ext cx="863850" cy="1739954"/>
            </a:xfrm>
            <a:custGeom>
              <a:avLst/>
              <a:gdLst/>
              <a:ahLst/>
              <a:cxnLst/>
              <a:rect l="l" t="t" r="r" b="b"/>
              <a:pathLst>
                <a:path w="34554" h="71434" extrusionOk="0">
                  <a:moveTo>
                    <a:pt x="1575" y="0"/>
                  </a:moveTo>
                  <a:cubicBezTo>
                    <a:pt x="706" y="0"/>
                    <a:pt x="1" y="689"/>
                    <a:pt x="1" y="1557"/>
                  </a:cubicBezTo>
                  <a:lnTo>
                    <a:pt x="1" y="69876"/>
                  </a:lnTo>
                  <a:cubicBezTo>
                    <a:pt x="1" y="70728"/>
                    <a:pt x="706" y="71433"/>
                    <a:pt x="1575" y="71433"/>
                  </a:cubicBezTo>
                  <a:lnTo>
                    <a:pt x="32980" y="71433"/>
                  </a:lnTo>
                  <a:cubicBezTo>
                    <a:pt x="33849" y="71433"/>
                    <a:pt x="34554" y="70728"/>
                    <a:pt x="34554" y="69876"/>
                  </a:cubicBezTo>
                  <a:lnTo>
                    <a:pt x="34554" y="1557"/>
                  </a:lnTo>
                  <a:cubicBezTo>
                    <a:pt x="34554" y="689"/>
                    <a:pt x="33849" y="0"/>
                    <a:pt x="3298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46"/>
            <p:cNvSpPr/>
            <p:nvPr/>
          </p:nvSpPr>
          <p:spPr>
            <a:xfrm>
              <a:off x="6417224" y="2247097"/>
              <a:ext cx="868375" cy="1740368"/>
            </a:xfrm>
            <a:custGeom>
              <a:avLst/>
              <a:gdLst/>
              <a:ahLst/>
              <a:cxnLst/>
              <a:rect l="l" t="t" r="r" b="b"/>
              <a:pathLst>
                <a:path w="34735" h="71451" extrusionOk="0">
                  <a:moveTo>
                    <a:pt x="1787" y="1"/>
                  </a:moveTo>
                  <a:cubicBezTo>
                    <a:pt x="804" y="1"/>
                    <a:pt x="1" y="1115"/>
                    <a:pt x="1" y="2492"/>
                  </a:cubicBezTo>
                  <a:lnTo>
                    <a:pt x="1" y="68975"/>
                  </a:lnTo>
                  <a:cubicBezTo>
                    <a:pt x="1" y="70336"/>
                    <a:pt x="804" y="71450"/>
                    <a:pt x="1787" y="71450"/>
                  </a:cubicBezTo>
                  <a:lnTo>
                    <a:pt x="34734" y="71450"/>
                  </a:lnTo>
                  <a:lnTo>
                    <a:pt x="3473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46"/>
            <p:cNvSpPr/>
            <p:nvPr/>
          </p:nvSpPr>
          <p:spPr>
            <a:xfrm>
              <a:off x="6492619" y="2340952"/>
              <a:ext cx="813450" cy="1457323"/>
            </a:xfrm>
            <a:custGeom>
              <a:avLst/>
              <a:gdLst/>
              <a:ahLst/>
              <a:cxnLst/>
              <a:rect l="l" t="t" r="r" b="b"/>
              <a:pathLst>
                <a:path w="32538" h="60944" extrusionOk="0">
                  <a:moveTo>
                    <a:pt x="427" y="0"/>
                  </a:moveTo>
                  <a:cubicBezTo>
                    <a:pt x="198" y="0"/>
                    <a:pt x="1" y="197"/>
                    <a:pt x="1" y="426"/>
                  </a:cubicBezTo>
                  <a:lnTo>
                    <a:pt x="1" y="60533"/>
                  </a:lnTo>
                  <a:cubicBezTo>
                    <a:pt x="1" y="60763"/>
                    <a:pt x="198" y="60943"/>
                    <a:pt x="427" y="60943"/>
                  </a:cubicBezTo>
                  <a:lnTo>
                    <a:pt x="32128" y="60943"/>
                  </a:lnTo>
                  <a:cubicBezTo>
                    <a:pt x="32357" y="60943"/>
                    <a:pt x="32538" y="60763"/>
                    <a:pt x="32538" y="60533"/>
                  </a:cubicBezTo>
                  <a:lnTo>
                    <a:pt x="32538" y="426"/>
                  </a:lnTo>
                  <a:cubicBezTo>
                    <a:pt x="32538" y="197"/>
                    <a:pt x="32357" y="0"/>
                    <a:pt x="32128" y="0"/>
                  </a:cubicBezTo>
                  <a:close/>
                </a:path>
              </a:pathLst>
            </a:custGeom>
            <a:solidFill>
              <a:srgbClr val="F4644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46"/>
            <p:cNvSpPr/>
            <p:nvPr/>
          </p:nvSpPr>
          <p:spPr>
            <a:xfrm>
              <a:off x="6856100" y="3843492"/>
              <a:ext cx="96750" cy="83150"/>
            </a:xfrm>
            <a:custGeom>
              <a:avLst/>
              <a:gdLst/>
              <a:ahLst/>
              <a:cxnLst/>
              <a:rect l="l" t="t" r="r" b="b"/>
              <a:pathLst>
                <a:path w="3870" h="3326" extrusionOk="0">
                  <a:moveTo>
                    <a:pt x="2214" y="358"/>
                  </a:moveTo>
                  <a:lnTo>
                    <a:pt x="2214" y="375"/>
                  </a:lnTo>
                  <a:cubicBezTo>
                    <a:pt x="2935" y="375"/>
                    <a:pt x="3509" y="948"/>
                    <a:pt x="3525" y="1670"/>
                  </a:cubicBezTo>
                  <a:cubicBezTo>
                    <a:pt x="3525" y="2456"/>
                    <a:pt x="2882" y="2973"/>
                    <a:pt x="2212" y="2973"/>
                  </a:cubicBezTo>
                  <a:cubicBezTo>
                    <a:pt x="1890" y="2973"/>
                    <a:pt x="1562" y="2853"/>
                    <a:pt x="1296" y="2587"/>
                  </a:cubicBezTo>
                  <a:cubicBezTo>
                    <a:pt x="476" y="1768"/>
                    <a:pt x="1066" y="358"/>
                    <a:pt x="2214" y="358"/>
                  </a:cubicBezTo>
                  <a:close/>
                  <a:moveTo>
                    <a:pt x="2197" y="1"/>
                  </a:moveTo>
                  <a:cubicBezTo>
                    <a:pt x="1793" y="1"/>
                    <a:pt x="1383" y="152"/>
                    <a:pt x="1050" y="489"/>
                  </a:cubicBezTo>
                  <a:cubicBezTo>
                    <a:pt x="1" y="1538"/>
                    <a:pt x="739" y="3325"/>
                    <a:pt x="2214" y="3325"/>
                  </a:cubicBezTo>
                  <a:cubicBezTo>
                    <a:pt x="3132" y="3325"/>
                    <a:pt x="3869" y="2587"/>
                    <a:pt x="3869" y="1670"/>
                  </a:cubicBezTo>
                  <a:cubicBezTo>
                    <a:pt x="3869" y="669"/>
                    <a:pt x="3048" y="1"/>
                    <a:pt x="219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46"/>
            <p:cNvSpPr/>
            <p:nvPr/>
          </p:nvSpPr>
          <p:spPr>
            <a:xfrm>
              <a:off x="6623350" y="3880717"/>
              <a:ext cx="82800" cy="9025"/>
            </a:xfrm>
            <a:custGeom>
              <a:avLst/>
              <a:gdLst/>
              <a:ahLst/>
              <a:cxnLst/>
              <a:rect l="l" t="t" r="r" b="b"/>
              <a:pathLst>
                <a:path w="3312" h="361" extrusionOk="0">
                  <a:moveTo>
                    <a:pt x="1" y="0"/>
                  </a:moveTo>
                  <a:lnTo>
                    <a:pt x="1" y="361"/>
                  </a:lnTo>
                  <a:lnTo>
                    <a:pt x="3312" y="361"/>
                  </a:lnTo>
                  <a:lnTo>
                    <a:pt x="33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46"/>
            <p:cNvSpPr/>
            <p:nvPr/>
          </p:nvSpPr>
          <p:spPr>
            <a:xfrm>
              <a:off x="7116325" y="3860642"/>
              <a:ext cx="60675" cy="48775"/>
            </a:xfrm>
            <a:custGeom>
              <a:avLst/>
              <a:gdLst/>
              <a:ahLst/>
              <a:cxnLst/>
              <a:rect l="l" t="t" r="r" b="b"/>
              <a:pathLst>
                <a:path w="2427" h="1951" extrusionOk="0">
                  <a:moveTo>
                    <a:pt x="2328" y="0"/>
                  </a:moveTo>
                  <a:lnTo>
                    <a:pt x="328" y="656"/>
                  </a:lnTo>
                  <a:cubicBezTo>
                    <a:pt x="148" y="688"/>
                    <a:pt x="0" y="836"/>
                    <a:pt x="0" y="1033"/>
                  </a:cubicBezTo>
                  <a:cubicBezTo>
                    <a:pt x="0" y="1197"/>
                    <a:pt x="132" y="1328"/>
                    <a:pt x="361" y="1393"/>
                  </a:cubicBezTo>
                  <a:lnTo>
                    <a:pt x="2328" y="1951"/>
                  </a:lnTo>
                  <a:lnTo>
                    <a:pt x="2426" y="1606"/>
                  </a:lnTo>
                  <a:lnTo>
                    <a:pt x="459" y="1049"/>
                  </a:lnTo>
                  <a:cubicBezTo>
                    <a:pt x="427" y="1049"/>
                    <a:pt x="394" y="1033"/>
                    <a:pt x="377" y="1016"/>
                  </a:cubicBezTo>
                  <a:lnTo>
                    <a:pt x="427" y="1000"/>
                  </a:lnTo>
                  <a:lnTo>
                    <a:pt x="2426" y="344"/>
                  </a:lnTo>
                  <a:lnTo>
                    <a:pt x="232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46"/>
            <p:cNvSpPr/>
            <p:nvPr/>
          </p:nvSpPr>
          <p:spPr>
            <a:xfrm>
              <a:off x="6785429" y="2287275"/>
              <a:ext cx="238100" cy="14350"/>
            </a:xfrm>
            <a:custGeom>
              <a:avLst/>
              <a:gdLst/>
              <a:ahLst/>
              <a:cxnLst/>
              <a:rect l="l" t="t" r="r" b="b"/>
              <a:pathLst>
                <a:path w="9524" h="574" extrusionOk="0">
                  <a:moveTo>
                    <a:pt x="164" y="0"/>
                  </a:moveTo>
                  <a:cubicBezTo>
                    <a:pt x="82" y="0"/>
                    <a:pt x="0" y="82"/>
                    <a:pt x="0" y="164"/>
                  </a:cubicBezTo>
                  <a:lnTo>
                    <a:pt x="0" y="410"/>
                  </a:lnTo>
                  <a:cubicBezTo>
                    <a:pt x="0" y="492"/>
                    <a:pt x="82" y="574"/>
                    <a:pt x="164" y="574"/>
                  </a:cubicBezTo>
                  <a:lnTo>
                    <a:pt x="9359" y="574"/>
                  </a:lnTo>
                  <a:cubicBezTo>
                    <a:pt x="9458" y="574"/>
                    <a:pt x="9523" y="492"/>
                    <a:pt x="9523" y="410"/>
                  </a:cubicBezTo>
                  <a:lnTo>
                    <a:pt x="9523" y="164"/>
                  </a:lnTo>
                  <a:cubicBezTo>
                    <a:pt x="9523" y="82"/>
                    <a:pt x="9458" y="0"/>
                    <a:pt x="935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356" name="Google Shape;1356;p46"/>
          <p:cNvPicPr preferRelativeResize="0"/>
          <p:nvPr/>
        </p:nvPicPr>
        <p:blipFill rotWithShape="1">
          <a:blip r:embed="rId5">
            <a:alphaModFix/>
          </a:blip>
          <a:srcRect l="-10" b="-4460"/>
          <a:stretch/>
        </p:blipFill>
        <p:spPr>
          <a:xfrm>
            <a:off x="1336535" y="1396283"/>
            <a:ext cx="1144348" cy="2124935"/>
          </a:xfrm>
          <a:prstGeom prst="rect">
            <a:avLst/>
          </a:prstGeom>
          <a:noFill/>
          <a:ln>
            <a:noFill/>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Shape 1360"/>
        <p:cNvGrpSpPr/>
        <p:nvPr/>
      </p:nvGrpSpPr>
      <p:grpSpPr>
        <a:xfrm>
          <a:off x="0" y="0"/>
          <a:ext cx="0" cy="0"/>
          <a:chOff x="0" y="0"/>
          <a:chExt cx="0" cy="0"/>
        </a:xfrm>
      </p:grpSpPr>
      <p:sp>
        <p:nvSpPr>
          <p:cNvPr id="1361" name="Google Shape;1361;p47"/>
          <p:cNvSpPr txBox="1">
            <a:spLocks noGrp="1"/>
          </p:cNvSpPr>
          <p:nvPr>
            <p:ph type="title"/>
          </p:nvPr>
        </p:nvSpPr>
        <p:spPr>
          <a:xfrm>
            <a:off x="2471150" y="1830075"/>
            <a:ext cx="3823200" cy="11214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THANKS</a:t>
            </a:r>
            <a:endParaRPr/>
          </a:p>
        </p:txBody>
      </p:sp>
      <p:sp>
        <p:nvSpPr>
          <p:cNvPr id="1362" name="Google Shape;1362;p47"/>
          <p:cNvSpPr txBox="1">
            <a:spLocks noGrp="1"/>
          </p:cNvSpPr>
          <p:nvPr>
            <p:ph type="subTitle" idx="1"/>
          </p:nvPr>
        </p:nvSpPr>
        <p:spPr>
          <a:xfrm>
            <a:off x="2902550" y="540000"/>
            <a:ext cx="2960400" cy="13530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chemeClr val="accent2"/>
                </a:solidFill>
              </a:rPr>
              <a:t>Do you have any questions?</a:t>
            </a:r>
            <a:endParaRPr>
              <a:solidFill>
                <a:schemeClr val="accent2"/>
              </a:solidFill>
            </a:endParaRPr>
          </a:p>
          <a:p>
            <a:pPr marL="0" lvl="0" indent="0" algn="ctr" rtl="0">
              <a:spcBef>
                <a:spcPts val="0"/>
              </a:spcBef>
              <a:spcAft>
                <a:spcPts val="0"/>
              </a:spcAft>
              <a:buNone/>
            </a:pPr>
            <a:endParaRPr/>
          </a:p>
          <a:p>
            <a:pPr marL="0" lvl="0" indent="0" algn="ctr" rtl="0">
              <a:spcBef>
                <a:spcPts val="0"/>
              </a:spcBef>
              <a:spcAft>
                <a:spcPts val="0"/>
              </a:spcAft>
              <a:buNone/>
            </a:pPr>
            <a:r>
              <a:rPr lang="en"/>
              <a:t>youremail@freepik.com </a:t>
            </a:r>
            <a:endParaRPr/>
          </a:p>
          <a:p>
            <a:pPr marL="0" lvl="0" indent="0" algn="ctr" rtl="0">
              <a:spcBef>
                <a:spcPts val="0"/>
              </a:spcBef>
              <a:spcAft>
                <a:spcPts val="0"/>
              </a:spcAft>
              <a:buNone/>
            </a:pPr>
            <a:r>
              <a:rPr lang="en"/>
              <a:t>+91  620 421 83 </a:t>
            </a:r>
            <a:endParaRPr/>
          </a:p>
          <a:p>
            <a:pPr marL="0" lvl="0" indent="0" algn="ctr" rtl="0">
              <a:spcBef>
                <a:spcPts val="0"/>
              </a:spcBef>
              <a:spcAft>
                <a:spcPts val="0"/>
              </a:spcAft>
              <a:buNone/>
            </a:pPr>
            <a:r>
              <a:rPr lang="en"/>
              <a:t>yourcompany.com</a:t>
            </a:r>
            <a:endParaRPr/>
          </a:p>
        </p:txBody>
      </p:sp>
      <p:sp>
        <p:nvSpPr>
          <p:cNvPr id="1363" name="Google Shape;1363;p47"/>
          <p:cNvSpPr txBox="1"/>
          <p:nvPr/>
        </p:nvSpPr>
        <p:spPr>
          <a:xfrm>
            <a:off x="3213811" y="4333329"/>
            <a:ext cx="2337900" cy="3033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1600"/>
              </a:spcAft>
              <a:buNone/>
            </a:pPr>
            <a:r>
              <a:rPr lang="en" sz="1000">
                <a:solidFill>
                  <a:schemeClr val="lt1"/>
                </a:solidFill>
                <a:latin typeface="Maven Pro"/>
                <a:ea typeface="Maven Pro"/>
                <a:cs typeface="Maven Pro"/>
                <a:sym typeface="Maven Pro"/>
              </a:rPr>
              <a:t>Please keep this slide for attribution</a:t>
            </a:r>
            <a:endParaRPr sz="1000">
              <a:solidFill>
                <a:schemeClr val="lt1"/>
              </a:solidFill>
              <a:latin typeface="Maven Pro"/>
              <a:ea typeface="Maven Pro"/>
              <a:cs typeface="Maven Pro"/>
              <a:sym typeface="Maven Pro"/>
            </a:endParaRPr>
          </a:p>
        </p:txBody>
      </p:sp>
      <p:sp>
        <p:nvSpPr>
          <p:cNvPr id="1364" name="Google Shape;1364;p47"/>
          <p:cNvSpPr/>
          <p:nvPr/>
        </p:nvSpPr>
        <p:spPr>
          <a:xfrm>
            <a:off x="-65247" y="971445"/>
            <a:ext cx="62397" cy="62143"/>
          </a:xfrm>
          <a:custGeom>
            <a:avLst/>
            <a:gdLst/>
            <a:ahLst/>
            <a:cxnLst/>
            <a:rect l="l" t="t" r="r" b="b"/>
            <a:pathLst>
              <a:path w="2207" h="2198" fill="none" extrusionOk="0">
                <a:moveTo>
                  <a:pt x="0" y="0"/>
                </a:moveTo>
                <a:lnTo>
                  <a:pt x="2207" y="0"/>
                </a:lnTo>
                <a:lnTo>
                  <a:pt x="2207" y="2197"/>
                </a:lnTo>
                <a:lnTo>
                  <a:pt x="0" y="2197"/>
                </a:lnTo>
                <a:close/>
              </a:path>
            </a:pathLst>
          </a:custGeom>
          <a:noFill/>
          <a:ln w="2975" cap="flat" cmpd="sng">
            <a:solidFill>
              <a:srgbClr val="00CFCC"/>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5" name="Google Shape;1365;p47"/>
          <p:cNvGrpSpPr/>
          <p:nvPr/>
        </p:nvGrpSpPr>
        <p:grpSpPr>
          <a:xfrm>
            <a:off x="7981434" y="-1177061"/>
            <a:ext cx="203789" cy="1274754"/>
            <a:chOff x="2877432" y="975334"/>
            <a:chExt cx="188886" cy="1181531"/>
          </a:xfrm>
        </p:grpSpPr>
        <p:sp>
          <p:nvSpPr>
            <p:cNvPr id="1366" name="Google Shape;1366;p47"/>
            <p:cNvSpPr/>
            <p:nvPr/>
          </p:nvSpPr>
          <p:spPr>
            <a:xfrm>
              <a:off x="2877432" y="1968242"/>
              <a:ext cx="188886" cy="188624"/>
            </a:xfrm>
            <a:custGeom>
              <a:avLst/>
              <a:gdLst/>
              <a:ahLst/>
              <a:cxnLst/>
              <a:rect l="l" t="t" r="r" b="b"/>
              <a:pathLst>
                <a:path w="7208" h="7198" fill="none" extrusionOk="0">
                  <a:moveTo>
                    <a:pt x="1" y="0"/>
                  </a:moveTo>
                  <a:lnTo>
                    <a:pt x="7208" y="0"/>
                  </a:lnTo>
                  <a:lnTo>
                    <a:pt x="7208" y="7198"/>
                  </a:lnTo>
                  <a:lnTo>
                    <a:pt x="1" y="7198"/>
                  </a:lnTo>
                  <a:close/>
                </a:path>
              </a:pathLst>
            </a:custGeom>
            <a:noFill/>
            <a:ln w="5750"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7"/>
            <p:cNvSpPr/>
            <p:nvPr/>
          </p:nvSpPr>
          <p:spPr>
            <a:xfrm>
              <a:off x="2905393" y="1452501"/>
              <a:ext cx="133226" cy="133252"/>
            </a:xfrm>
            <a:custGeom>
              <a:avLst/>
              <a:gdLst/>
              <a:ahLst/>
              <a:cxnLst/>
              <a:rect l="l" t="t" r="r" b="b"/>
              <a:pathLst>
                <a:path w="5084" h="5085" fill="none" extrusionOk="0">
                  <a:moveTo>
                    <a:pt x="0" y="1"/>
                  </a:moveTo>
                  <a:lnTo>
                    <a:pt x="5083" y="1"/>
                  </a:lnTo>
                  <a:lnTo>
                    <a:pt x="5083" y="5084"/>
                  </a:lnTo>
                  <a:lnTo>
                    <a:pt x="0" y="5084"/>
                  </a:lnTo>
                  <a:close/>
                </a:path>
              </a:pathLst>
            </a:custGeom>
            <a:noFill/>
            <a:ln w="41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47"/>
            <p:cNvSpPr/>
            <p:nvPr/>
          </p:nvSpPr>
          <p:spPr>
            <a:xfrm>
              <a:off x="2931651" y="975334"/>
              <a:ext cx="80476" cy="80711"/>
            </a:xfrm>
            <a:custGeom>
              <a:avLst/>
              <a:gdLst/>
              <a:ahLst/>
              <a:cxnLst/>
              <a:rect l="l" t="t" r="r" b="b"/>
              <a:pathLst>
                <a:path w="3071" h="3080" fill="none" extrusionOk="0">
                  <a:moveTo>
                    <a:pt x="0" y="0"/>
                  </a:moveTo>
                  <a:lnTo>
                    <a:pt x="3070" y="0"/>
                  </a:lnTo>
                  <a:lnTo>
                    <a:pt x="3070" y="3080"/>
                  </a:lnTo>
                  <a:lnTo>
                    <a:pt x="0" y="3080"/>
                  </a:lnTo>
                  <a:close/>
                </a:path>
              </a:pathLst>
            </a:custGeom>
            <a:noFill/>
            <a:ln w="2525" cap="flat" cmpd="sng">
              <a:solidFill>
                <a:srgbClr val="FF9973"/>
              </a:solidFill>
              <a:prstDash val="solid"/>
              <a:miter lim="919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69" name="Google Shape;1369;p47"/>
          <p:cNvSpPr/>
          <p:nvPr/>
        </p:nvSpPr>
        <p:spPr>
          <a:xfrm>
            <a:off x="9277943" y="-708433"/>
            <a:ext cx="9132" cy="2718429"/>
          </a:xfrm>
          <a:custGeom>
            <a:avLst/>
            <a:gdLst/>
            <a:ahLst/>
            <a:cxnLst/>
            <a:rect l="l" t="t" r="r" b="b"/>
            <a:pathLst>
              <a:path w="323" h="96151" extrusionOk="0">
                <a:moveTo>
                  <a:pt x="166" y="0"/>
                </a:moveTo>
                <a:lnTo>
                  <a:pt x="1" y="96150"/>
                </a:lnTo>
                <a:lnTo>
                  <a:pt x="323" y="96150"/>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47"/>
          <p:cNvSpPr/>
          <p:nvPr/>
        </p:nvSpPr>
        <p:spPr>
          <a:xfrm>
            <a:off x="335228" y="-685306"/>
            <a:ext cx="9132" cy="1822332"/>
          </a:xfrm>
          <a:custGeom>
            <a:avLst/>
            <a:gdLst/>
            <a:ahLst/>
            <a:cxnLst/>
            <a:rect l="l" t="t" r="r" b="b"/>
            <a:pathLst>
              <a:path w="323" h="64456" extrusionOk="0">
                <a:moveTo>
                  <a:pt x="166" y="0"/>
                </a:moveTo>
                <a:lnTo>
                  <a:pt x="1" y="64456"/>
                </a:lnTo>
                <a:lnTo>
                  <a:pt x="322" y="64456"/>
                </a:lnTo>
                <a:lnTo>
                  <a:pt x="166"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7"/>
          <p:cNvSpPr/>
          <p:nvPr/>
        </p:nvSpPr>
        <p:spPr>
          <a:xfrm>
            <a:off x="3276800" y="3121375"/>
            <a:ext cx="523800" cy="523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47"/>
          <p:cNvSpPr/>
          <p:nvPr/>
        </p:nvSpPr>
        <p:spPr>
          <a:xfrm>
            <a:off x="4120850" y="3121375"/>
            <a:ext cx="523800" cy="5238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47"/>
          <p:cNvSpPr/>
          <p:nvPr/>
        </p:nvSpPr>
        <p:spPr>
          <a:xfrm>
            <a:off x="4964900" y="3121375"/>
            <a:ext cx="523800" cy="5238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 name="Google Shape;1374;p47"/>
          <p:cNvGrpSpPr/>
          <p:nvPr/>
        </p:nvGrpSpPr>
        <p:grpSpPr>
          <a:xfrm>
            <a:off x="3407882" y="3252461"/>
            <a:ext cx="261630" cy="261630"/>
            <a:chOff x="3368074" y="3882537"/>
            <a:chExt cx="215298" cy="215298"/>
          </a:xfrm>
        </p:grpSpPr>
        <p:sp>
          <p:nvSpPr>
            <p:cNvPr id="1375" name="Google Shape;1375;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 name="Google Shape;1378;p47"/>
          <p:cNvSpPr/>
          <p:nvPr/>
        </p:nvSpPr>
        <p:spPr>
          <a:xfrm>
            <a:off x="5066623" y="3252448"/>
            <a:ext cx="320355" cy="261656"/>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9" name="Google Shape;1379;p47"/>
          <p:cNvGrpSpPr/>
          <p:nvPr/>
        </p:nvGrpSpPr>
        <p:grpSpPr>
          <a:xfrm>
            <a:off x="4236456" y="3252450"/>
            <a:ext cx="292574" cy="261652"/>
            <a:chOff x="3824739" y="3890112"/>
            <a:chExt cx="208105" cy="186110"/>
          </a:xfrm>
        </p:grpSpPr>
        <p:sp>
          <p:nvSpPr>
            <p:cNvPr id="1380" name="Google Shape;1380;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382;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Shape 1386"/>
        <p:cNvGrpSpPr/>
        <p:nvPr/>
      </p:nvGrpSpPr>
      <p:grpSpPr>
        <a:xfrm>
          <a:off x="0" y="0"/>
          <a:ext cx="0" cy="0"/>
          <a:chOff x="0" y="0"/>
          <a:chExt cx="0" cy="0"/>
        </a:xfrm>
      </p:grpSpPr>
      <p:sp>
        <p:nvSpPr>
          <p:cNvPr id="1387" name="Google Shape;1387;p48"/>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ALTERNATIVE RESOURCES</a:t>
            </a:r>
            <a:endParaRPr/>
          </a:p>
        </p:txBody>
      </p:sp>
      <p:grpSp>
        <p:nvGrpSpPr>
          <p:cNvPr id="1388" name="Google Shape;1388;p48"/>
          <p:cNvGrpSpPr/>
          <p:nvPr/>
        </p:nvGrpSpPr>
        <p:grpSpPr>
          <a:xfrm>
            <a:off x="948567" y="1289119"/>
            <a:ext cx="2775273" cy="1140368"/>
            <a:chOff x="2144000" y="736675"/>
            <a:chExt cx="2165475" cy="889800"/>
          </a:xfrm>
        </p:grpSpPr>
        <p:sp>
          <p:nvSpPr>
            <p:cNvPr id="1389" name="Google Shape;1389;p48"/>
            <p:cNvSpPr/>
            <p:nvPr/>
          </p:nvSpPr>
          <p:spPr>
            <a:xfrm>
              <a:off x="2341825" y="750300"/>
              <a:ext cx="1967025" cy="25"/>
            </a:xfrm>
            <a:custGeom>
              <a:avLst/>
              <a:gdLst/>
              <a:ahLst/>
              <a:cxnLst/>
              <a:rect l="l" t="t" r="r" b="b"/>
              <a:pathLst>
                <a:path w="78681" h="1" extrusionOk="0">
                  <a:moveTo>
                    <a:pt x="1" y="0"/>
                  </a:moveTo>
                  <a:lnTo>
                    <a:pt x="78680"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48"/>
            <p:cNvSpPr/>
            <p:nvPr/>
          </p:nvSpPr>
          <p:spPr>
            <a:xfrm>
              <a:off x="2341825" y="748100"/>
              <a:ext cx="1967025" cy="4100"/>
            </a:xfrm>
            <a:custGeom>
              <a:avLst/>
              <a:gdLst/>
              <a:ahLst/>
              <a:cxnLst/>
              <a:rect l="l" t="t" r="r" b="b"/>
              <a:pathLst>
                <a:path w="78681" h="164" extrusionOk="0">
                  <a:moveTo>
                    <a:pt x="1" y="0"/>
                  </a:moveTo>
                  <a:lnTo>
                    <a:pt x="1" y="164"/>
                  </a:lnTo>
                  <a:lnTo>
                    <a:pt x="78680" y="164"/>
                  </a:lnTo>
                  <a:lnTo>
                    <a:pt x="78680"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48"/>
            <p:cNvSpPr/>
            <p:nvPr/>
          </p:nvSpPr>
          <p:spPr>
            <a:xfrm>
              <a:off x="2144300" y="738000"/>
              <a:ext cx="24300" cy="56425"/>
            </a:xfrm>
            <a:custGeom>
              <a:avLst/>
              <a:gdLst/>
              <a:ahLst/>
              <a:cxnLst/>
              <a:rect l="l" t="t" r="r" b="b"/>
              <a:pathLst>
                <a:path w="972" h="2257" extrusionOk="0">
                  <a:moveTo>
                    <a:pt x="1" y="1"/>
                  </a:moveTo>
                  <a:lnTo>
                    <a:pt x="1" y="429"/>
                  </a:lnTo>
                  <a:lnTo>
                    <a:pt x="455" y="429"/>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392;p48"/>
            <p:cNvSpPr/>
            <p:nvPr/>
          </p:nvSpPr>
          <p:spPr>
            <a:xfrm>
              <a:off x="2178325" y="736675"/>
              <a:ext cx="48550" cy="58775"/>
            </a:xfrm>
            <a:custGeom>
              <a:avLst/>
              <a:gdLst/>
              <a:ahLst/>
              <a:cxnLst/>
              <a:rect l="l" t="t" r="r" b="b"/>
              <a:pathLst>
                <a:path w="1942" h="2351" extrusionOk="0">
                  <a:moveTo>
                    <a:pt x="971" y="467"/>
                  </a:moveTo>
                  <a:cubicBezTo>
                    <a:pt x="1097" y="467"/>
                    <a:pt x="1223" y="526"/>
                    <a:pt x="1299" y="646"/>
                  </a:cubicBezTo>
                  <a:cubicBezTo>
                    <a:pt x="1387" y="810"/>
                    <a:pt x="1425" y="999"/>
                    <a:pt x="1412" y="1188"/>
                  </a:cubicBezTo>
                  <a:cubicBezTo>
                    <a:pt x="1425" y="1377"/>
                    <a:pt x="1387" y="1566"/>
                    <a:pt x="1299" y="1742"/>
                  </a:cubicBezTo>
                  <a:cubicBezTo>
                    <a:pt x="1223" y="1856"/>
                    <a:pt x="1097" y="1912"/>
                    <a:pt x="971" y="1912"/>
                  </a:cubicBezTo>
                  <a:cubicBezTo>
                    <a:pt x="845" y="1912"/>
                    <a:pt x="719" y="1856"/>
                    <a:pt x="643" y="1742"/>
                  </a:cubicBezTo>
                  <a:cubicBezTo>
                    <a:pt x="555" y="1566"/>
                    <a:pt x="517" y="1377"/>
                    <a:pt x="530" y="1188"/>
                  </a:cubicBezTo>
                  <a:cubicBezTo>
                    <a:pt x="517" y="999"/>
                    <a:pt x="555" y="810"/>
                    <a:pt x="643" y="646"/>
                  </a:cubicBezTo>
                  <a:cubicBezTo>
                    <a:pt x="719" y="526"/>
                    <a:pt x="845" y="467"/>
                    <a:pt x="971" y="467"/>
                  </a:cubicBezTo>
                  <a:close/>
                  <a:moveTo>
                    <a:pt x="969" y="0"/>
                  </a:moveTo>
                  <a:cubicBezTo>
                    <a:pt x="798" y="0"/>
                    <a:pt x="625" y="48"/>
                    <a:pt x="467" y="142"/>
                  </a:cubicBezTo>
                  <a:cubicBezTo>
                    <a:pt x="316" y="243"/>
                    <a:pt x="202" y="381"/>
                    <a:pt x="127" y="545"/>
                  </a:cubicBezTo>
                  <a:cubicBezTo>
                    <a:pt x="39" y="747"/>
                    <a:pt x="1" y="961"/>
                    <a:pt x="1" y="1175"/>
                  </a:cubicBezTo>
                  <a:cubicBezTo>
                    <a:pt x="1" y="1390"/>
                    <a:pt x="39" y="1604"/>
                    <a:pt x="127" y="1805"/>
                  </a:cubicBezTo>
                  <a:cubicBezTo>
                    <a:pt x="202" y="1969"/>
                    <a:pt x="316" y="2108"/>
                    <a:pt x="467" y="2209"/>
                  </a:cubicBezTo>
                  <a:cubicBezTo>
                    <a:pt x="618" y="2303"/>
                    <a:pt x="791" y="2350"/>
                    <a:pt x="965" y="2350"/>
                  </a:cubicBezTo>
                  <a:cubicBezTo>
                    <a:pt x="1138" y="2350"/>
                    <a:pt x="1311" y="2303"/>
                    <a:pt x="1462" y="2209"/>
                  </a:cubicBezTo>
                  <a:cubicBezTo>
                    <a:pt x="1614" y="2108"/>
                    <a:pt x="1740" y="1969"/>
                    <a:pt x="1815" y="1805"/>
                  </a:cubicBezTo>
                  <a:cubicBezTo>
                    <a:pt x="1904" y="1604"/>
                    <a:pt x="1941" y="1390"/>
                    <a:pt x="1929" y="1175"/>
                  </a:cubicBezTo>
                  <a:cubicBezTo>
                    <a:pt x="1941" y="961"/>
                    <a:pt x="1904" y="747"/>
                    <a:pt x="1815" y="545"/>
                  </a:cubicBezTo>
                  <a:cubicBezTo>
                    <a:pt x="1740" y="381"/>
                    <a:pt x="1614" y="243"/>
                    <a:pt x="1462" y="142"/>
                  </a:cubicBezTo>
                  <a:cubicBezTo>
                    <a:pt x="1311" y="48"/>
                    <a:pt x="1141" y="0"/>
                    <a:pt x="96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393;p48"/>
            <p:cNvSpPr/>
            <p:nvPr/>
          </p:nvSpPr>
          <p:spPr>
            <a:xfrm>
              <a:off x="2232825" y="736800"/>
              <a:ext cx="48550" cy="58525"/>
            </a:xfrm>
            <a:custGeom>
              <a:avLst/>
              <a:gdLst/>
              <a:ahLst/>
              <a:cxnLst/>
              <a:rect l="l" t="t" r="r" b="b"/>
              <a:pathLst>
                <a:path w="1942" h="2341" extrusionOk="0">
                  <a:moveTo>
                    <a:pt x="984" y="465"/>
                  </a:moveTo>
                  <a:cubicBezTo>
                    <a:pt x="1110" y="465"/>
                    <a:pt x="1236" y="528"/>
                    <a:pt x="1299" y="641"/>
                  </a:cubicBezTo>
                  <a:cubicBezTo>
                    <a:pt x="1387" y="805"/>
                    <a:pt x="1425" y="994"/>
                    <a:pt x="1412" y="1183"/>
                  </a:cubicBezTo>
                  <a:cubicBezTo>
                    <a:pt x="1425" y="1372"/>
                    <a:pt x="1387" y="1561"/>
                    <a:pt x="1299" y="1737"/>
                  </a:cubicBezTo>
                  <a:lnTo>
                    <a:pt x="1299" y="1725"/>
                  </a:lnTo>
                  <a:cubicBezTo>
                    <a:pt x="1236" y="1838"/>
                    <a:pt x="1110" y="1914"/>
                    <a:pt x="984" y="1914"/>
                  </a:cubicBezTo>
                  <a:cubicBezTo>
                    <a:pt x="858" y="1914"/>
                    <a:pt x="732" y="1838"/>
                    <a:pt x="669" y="1737"/>
                  </a:cubicBezTo>
                  <a:cubicBezTo>
                    <a:pt x="580" y="1561"/>
                    <a:pt x="530" y="1372"/>
                    <a:pt x="555" y="1183"/>
                  </a:cubicBezTo>
                  <a:cubicBezTo>
                    <a:pt x="530" y="994"/>
                    <a:pt x="580" y="805"/>
                    <a:pt x="669" y="641"/>
                  </a:cubicBezTo>
                  <a:cubicBezTo>
                    <a:pt x="732" y="528"/>
                    <a:pt x="858" y="465"/>
                    <a:pt x="984" y="465"/>
                  </a:cubicBezTo>
                  <a:close/>
                  <a:moveTo>
                    <a:pt x="989" y="1"/>
                  </a:moveTo>
                  <a:cubicBezTo>
                    <a:pt x="640" y="1"/>
                    <a:pt x="302" y="198"/>
                    <a:pt x="139" y="540"/>
                  </a:cubicBezTo>
                  <a:cubicBezTo>
                    <a:pt x="39" y="742"/>
                    <a:pt x="1" y="956"/>
                    <a:pt x="13" y="1170"/>
                  </a:cubicBezTo>
                  <a:cubicBezTo>
                    <a:pt x="1" y="1385"/>
                    <a:pt x="39" y="1599"/>
                    <a:pt x="139" y="1800"/>
                  </a:cubicBezTo>
                  <a:cubicBezTo>
                    <a:pt x="202" y="1964"/>
                    <a:pt x="328" y="2103"/>
                    <a:pt x="480" y="2204"/>
                  </a:cubicBezTo>
                  <a:cubicBezTo>
                    <a:pt x="633" y="2296"/>
                    <a:pt x="800" y="2340"/>
                    <a:pt x="965" y="2340"/>
                  </a:cubicBezTo>
                  <a:cubicBezTo>
                    <a:pt x="1315" y="2340"/>
                    <a:pt x="1652" y="2143"/>
                    <a:pt x="1815" y="1800"/>
                  </a:cubicBezTo>
                  <a:cubicBezTo>
                    <a:pt x="1903" y="1599"/>
                    <a:pt x="1941" y="1385"/>
                    <a:pt x="1941" y="1170"/>
                  </a:cubicBezTo>
                  <a:cubicBezTo>
                    <a:pt x="1941" y="956"/>
                    <a:pt x="1903" y="742"/>
                    <a:pt x="1815" y="540"/>
                  </a:cubicBezTo>
                  <a:cubicBezTo>
                    <a:pt x="1740" y="376"/>
                    <a:pt x="1626" y="238"/>
                    <a:pt x="1475" y="137"/>
                  </a:cubicBezTo>
                  <a:cubicBezTo>
                    <a:pt x="1322" y="44"/>
                    <a:pt x="1154" y="1"/>
                    <a:pt x="98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394;p48"/>
            <p:cNvSpPr/>
            <p:nvPr/>
          </p:nvSpPr>
          <p:spPr>
            <a:xfrm>
              <a:off x="2342775" y="888600"/>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395;p48"/>
            <p:cNvSpPr/>
            <p:nvPr/>
          </p:nvSpPr>
          <p:spPr>
            <a:xfrm>
              <a:off x="2342775" y="886700"/>
              <a:ext cx="1966700" cy="4125"/>
            </a:xfrm>
            <a:custGeom>
              <a:avLst/>
              <a:gdLst/>
              <a:ahLst/>
              <a:cxnLst/>
              <a:rect l="l" t="t" r="r" b="b"/>
              <a:pathLst>
                <a:path w="78668" h="165" extrusionOk="0">
                  <a:moveTo>
                    <a:pt x="0" y="0"/>
                  </a:moveTo>
                  <a:lnTo>
                    <a:pt x="0"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396;p48"/>
            <p:cNvSpPr/>
            <p:nvPr/>
          </p:nvSpPr>
          <p:spPr>
            <a:xfrm>
              <a:off x="2144950" y="875350"/>
              <a:ext cx="45075" cy="57675"/>
            </a:xfrm>
            <a:custGeom>
              <a:avLst/>
              <a:gdLst/>
              <a:ahLst/>
              <a:cxnLst/>
              <a:rect l="l" t="t" r="r" b="b"/>
              <a:pathLst>
                <a:path w="1803" h="2307"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197" y="732"/>
                  </a:cubicBezTo>
                  <a:cubicBezTo>
                    <a:pt x="1197" y="795"/>
                    <a:pt x="1185" y="858"/>
                    <a:pt x="1159" y="921"/>
                  </a:cubicBezTo>
                  <a:cubicBezTo>
                    <a:pt x="1109" y="996"/>
                    <a:pt x="1046" y="1072"/>
                    <a:pt x="970" y="1148"/>
                  </a:cubicBezTo>
                  <a:lnTo>
                    <a:pt x="101" y="1967"/>
                  </a:lnTo>
                  <a:lnTo>
                    <a:pt x="101" y="2307"/>
                  </a:lnTo>
                  <a:lnTo>
                    <a:pt x="1802" y="2307"/>
                  </a:lnTo>
                  <a:lnTo>
                    <a:pt x="1802" y="1878"/>
                  </a:lnTo>
                  <a:lnTo>
                    <a:pt x="832" y="1878"/>
                  </a:lnTo>
                  <a:lnTo>
                    <a:pt x="1348" y="1387"/>
                  </a:lnTo>
                  <a:cubicBezTo>
                    <a:pt x="1474" y="1274"/>
                    <a:pt x="1575" y="1160"/>
                    <a:pt x="1651" y="1022"/>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397;p48"/>
            <p:cNvSpPr/>
            <p:nvPr/>
          </p:nvSpPr>
          <p:spPr>
            <a:xfrm>
              <a:off x="2194075" y="875600"/>
              <a:ext cx="50750" cy="58450"/>
            </a:xfrm>
            <a:custGeom>
              <a:avLst/>
              <a:gdLst/>
              <a:ahLst/>
              <a:cxnLst/>
              <a:rect l="l" t="t" r="r" b="b"/>
              <a:pathLst>
                <a:path w="2030" h="2338" extrusionOk="0">
                  <a:moveTo>
                    <a:pt x="1015" y="451"/>
                  </a:moveTo>
                  <a:cubicBezTo>
                    <a:pt x="1138" y="451"/>
                    <a:pt x="1261" y="507"/>
                    <a:pt x="1337" y="621"/>
                  </a:cubicBezTo>
                  <a:cubicBezTo>
                    <a:pt x="1425" y="797"/>
                    <a:pt x="1475" y="986"/>
                    <a:pt x="1463" y="1175"/>
                  </a:cubicBezTo>
                  <a:cubicBezTo>
                    <a:pt x="1475" y="1364"/>
                    <a:pt x="1425" y="1553"/>
                    <a:pt x="1337" y="1717"/>
                  </a:cubicBezTo>
                  <a:cubicBezTo>
                    <a:pt x="1261" y="1837"/>
                    <a:pt x="1138" y="1897"/>
                    <a:pt x="1015" y="1897"/>
                  </a:cubicBezTo>
                  <a:cubicBezTo>
                    <a:pt x="892" y="1897"/>
                    <a:pt x="769" y="1837"/>
                    <a:pt x="694" y="1717"/>
                  </a:cubicBezTo>
                  <a:cubicBezTo>
                    <a:pt x="606" y="1553"/>
                    <a:pt x="568" y="1364"/>
                    <a:pt x="580" y="1175"/>
                  </a:cubicBezTo>
                  <a:cubicBezTo>
                    <a:pt x="568" y="986"/>
                    <a:pt x="606" y="797"/>
                    <a:pt x="694" y="621"/>
                  </a:cubicBezTo>
                  <a:cubicBezTo>
                    <a:pt x="769" y="507"/>
                    <a:pt x="892" y="451"/>
                    <a:pt x="1015" y="451"/>
                  </a:cubicBezTo>
                  <a:close/>
                  <a:moveTo>
                    <a:pt x="1015" y="0"/>
                  </a:moveTo>
                  <a:cubicBezTo>
                    <a:pt x="842" y="0"/>
                    <a:pt x="669" y="48"/>
                    <a:pt x="517" y="142"/>
                  </a:cubicBezTo>
                  <a:cubicBezTo>
                    <a:pt x="366" y="230"/>
                    <a:pt x="253" y="369"/>
                    <a:pt x="177" y="533"/>
                  </a:cubicBezTo>
                  <a:cubicBezTo>
                    <a:pt x="1" y="936"/>
                    <a:pt x="1" y="1390"/>
                    <a:pt x="177" y="1793"/>
                  </a:cubicBezTo>
                  <a:cubicBezTo>
                    <a:pt x="253" y="1957"/>
                    <a:pt x="366" y="2095"/>
                    <a:pt x="517" y="2196"/>
                  </a:cubicBezTo>
                  <a:cubicBezTo>
                    <a:pt x="669" y="2291"/>
                    <a:pt x="842" y="2338"/>
                    <a:pt x="1015" y="2338"/>
                  </a:cubicBezTo>
                  <a:cubicBezTo>
                    <a:pt x="1188" y="2338"/>
                    <a:pt x="1362" y="2291"/>
                    <a:pt x="1513" y="2196"/>
                  </a:cubicBezTo>
                  <a:cubicBezTo>
                    <a:pt x="1664" y="2108"/>
                    <a:pt x="1790" y="1969"/>
                    <a:pt x="1853" y="1805"/>
                  </a:cubicBezTo>
                  <a:cubicBezTo>
                    <a:pt x="2030" y="1402"/>
                    <a:pt x="2030" y="949"/>
                    <a:pt x="1853" y="545"/>
                  </a:cubicBezTo>
                  <a:cubicBezTo>
                    <a:pt x="1790" y="381"/>
                    <a:pt x="1664" y="243"/>
                    <a:pt x="1513" y="142"/>
                  </a:cubicBezTo>
                  <a:cubicBezTo>
                    <a:pt x="1362" y="48"/>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398;p48"/>
            <p:cNvSpPr/>
            <p:nvPr/>
          </p:nvSpPr>
          <p:spPr>
            <a:xfrm>
              <a:off x="2248900" y="875200"/>
              <a:ext cx="50425" cy="58625"/>
            </a:xfrm>
            <a:custGeom>
              <a:avLst/>
              <a:gdLst/>
              <a:ahLst/>
              <a:cxnLst/>
              <a:rect l="l" t="t" r="r" b="b"/>
              <a:pathLst>
                <a:path w="2017" h="2345" extrusionOk="0">
                  <a:moveTo>
                    <a:pt x="1002" y="467"/>
                  </a:moveTo>
                  <a:cubicBezTo>
                    <a:pt x="1125" y="467"/>
                    <a:pt x="1248" y="523"/>
                    <a:pt x="1323" y="637"/>
                  </a:cubicBezTo>
                  <a:cubicBezTo>
                    <a:pt x="1412" y="813"/>
                    <a:pt x="1462" y="1002"/>
                    <a:pt x="1449" y="1191"/>
                  </a:cubicBezTo>
                  <a:cubicBezTo>
                    <a:pt x="1462" y="1380"/>
                    <a:pt x="1412" y="1569"/>
                    <a:pt x="1323" y="1733"/>
                  </a:cubicBezTo>
                  <a:lnTo>
                    <a:pt x="1336" y="1733"/>
                  </a:lnTo>
                  <a:cubicBezTo>
                    <a:pt x="1260" y="1847"/>
                    <a:pt x="1134" y="1903"/>
                    <a:pt x="1010" y="1903"/>
                  </a:cubicBezTo>
                  <a:cubicBezTo>
                    <a:pt x="886" y="1903"/>
                    <a:pt x="763" y="1847"/>
                    <a:pt x="693" y="1733"/>
                  </a:cubicBezTo>
                  <a:cubicBezTo>
                    <a:pt x="593" y="1569"/>
                    <a:pt x="555" y="1380"/>
                    <a:pt x="567" y="1191"/>
                  </a:cubicBezTo>
                  <a:cubicBezTo>
                    <a:pt x="555" y="1002"/>
                    <a:pt x="593" y="813"/>
                    <a:pt x="681" y="637"/>
                  </a:cubicBezTo>
                  <a:cubicBezTo>
                    <a:pt x="756" y="523"/>
                    <a:pt x="879" y="467"/>
                    <a:pt x="1002" y="467"/>
                  </a:cubicBezTo>
                  <a:close/>
                  <a:moveTo>
                    <a:pt x="1001" y="1"/>
                  </a:moveTo>
                  <a:cubicBezTo>
                    <a:pt x="832" y="1"/>
                    <a:pt x="660" y="47"/>
                    <a:pt x="504" y="145"/>
                  </a:cubicBezTo>
                  <a:cubicBezTo>
                    <a:pt x="353" y="246"/>
                    <a:pt x="240" y="385"/>
                    <a:pt x="164" y="549"/>
                  </a:cubicBezTo>
                  <a:cubicBezTo>
                    <a:pt x="0" y="952"/>
                    <a:pt x="0" y="1406"/>
                    <a:pt x="164" y="1809"/>
                  </a:cubicBezTo>
                  <a:cubicBezTo>
                    <a:pt x="240" y="1973"/>
                    <a:pt x="353" y="2111"/>
                    <a:pt x="504" y="2212"/>
                  </a:cubicBezTo>
                  <a:cubicBezTo>
                    <a:pt x="656" y="2300"/>
                    <a:pt x="829" y="2344"/>
                    <a:pt x="1002" y="2344"/>
                  </a:cubicBezTo>
                  <a:cubicBezTo>
                    <a:pt x="1175" y="2344"/>
                    <a:pt x="1349" y="2300"/>
                    <a:pt x="1500" y="2212"/>
                  </a:cubicBezTo>
                  <a:cubicBezTo>
                    <a:pt x="1651" y="2111"/>
                    <a:pt x="1777" y="1973"/>
                    <a:pt x="1840" y="1809"/>
                  </a:cubicBezTo>
                  <a:cubicBezTo>
                    <a:pt x="2017" y="1406"/>
                    <a:pt x="2017" y="952"/>
                    <a:pt x="1840" y="549"/>
                  </a:cubicBezTo>
                  <a:cubicBezTo>
                    <a:pt x="1687" y="200"/>
                    <a:pt x="1351" y="1"/>
                    <a:pt x="100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399;p48"/>
            <p:cNvSpPr/>
            <p:nvPr/>
          </p:nvSpPr>
          <p:spPr>
            <a:xfrm>
              <a:off x="2342450" y="1027200"/>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48"/>
            <p:cNvSpPr/>
            <p:nvPr/>
          </p:nvSpPr>
          <p:spPr>
            <a:xfrm>
              <a:off x="2342450" y="1025300"/>
              <a:ext cx="1966725" cy="3825"/>
            </a:xfrm>
            <a:custGeom>
              <a:avLst/>
              <a:gdLst/>
              <a:ahLst/>
              <a:cxnLst/>
              <a:rect l="l" t="t" r="r" b="b"/>
              <a:pathLst>
                <a:path w="78669" h="153" extrusionOk="0">
                  <a:moveTo>
                    <a:pt x="1" y="1"/>
                  </a:moveTo>
                  <a:lnTo>
                    <a:pt x="1" y="152"/>
                  </a:lnTo>
                  <a:lnTo>
                    <a:pt x="78668" y="152"/>
                  </a:lnTo>
                  <a:lnTo>
                    <a:pt x="78668"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401;p48"/>
            <p:cNvSpPr/>
            <p:nvPr/>
          </p:nvSpPr>
          <p:spPr>
            <a:xfrm>
              <a:off x="2144000" y="1015225"/>
              <a:ext cx="45075" cy="57100"/>
            </a:xfrm>
            <a:custGeom>
              <a:avLst/>
              <a:gdLst/>
              <a:ahLst/>
              <a:cxnLst/>
              <a:rect l="l" t="t" r="r" b="b"/>
              <a:pathLst>
                <a:path w="1803" h="2284" extrusionOk="0">
                  <a:moveTo>
                    <a:pt x="126" y="1"/>
                  </a:moveTo>
                  <a:lnTo>
                    <a:pt x="126" y="416"/>
                  </a:lnTo>
                  <a:lnTo>
                    <a:pt x="1084" y="416"/>
                  </a:lnTo>
                  <a:lnTo>
                    <a:pt x="618" y="946"/>
                  </a:lnTo>
                  <a:lnTo>
                    <a:pt x="618" y="1286"/>
                  </a:lnTo>
                  <a:lnTo>
                    <a:pt x="857" y="1286"/>
                  </a:lnTo>
                  <a:cubicBezTo>
                    <a:pt x="1134" y="1286"/>
                    <a:pt x="1273" y="1387"/>
                    <a:pt x="1273" y="1563"/>
                  </a:cubicBezTo>
                  <a:cubicBezTo>
                    <a:pt x="1273" y="1651"/>
                    <a:pt x="1235" y="1740"/>
                    <a:pt x="1160" y="1777"/>
                  </a:cubicBezTo>
                  <a:cubicBezTo>
                    <a:pt x="1086" y="1830"/>
                    <a:pt x="995" y="1856"/>
                    <a:pt x="901" y="1856"/>
                  </a:cubicBezTo>
                  <a:cubicBezTo>
                    <a:pt x="882" y="1856"/>
                    <a:pt x="863" y="1855"/>
                    <a:pt x="845" y="1853"/>
                  </a:cubicBezTo>
                  <a:cubicBezTo>
                    <a:pt x="731" y="1853"/>
                    <a:pt x="618" y="1840"/>
                    <a:pt x="504" y="1803"/>
                  </a:cubicBezTo>
                  <a:cubicBezTo>
                    <a:pt x="391" y="1765"/>
                    <a:pt x="290" y="1714"/>
                    <a:pt x="202" y="1651"/>
                  </a:cubicBezTo>
                  <a:lnTo>
                    <a:pt x="0" y="2042"/>
                  </a:lnTo>
                  <a:cubicBezTo>
                    <a:pt x="114" y="2130"/>
                    <a:pt x="252" y="2193"/>
                    <a:pt x="391" y="2218"/>
                  </a:cubicBezTo>
                  <a:cubicBezTo>
                    <a:pt x="542" y="2269"/>
                    <a:pt x="706" y="2281"/>
                    <a:pt x="870" y="2281"/>
                  </a:cubicBezTo>
                  <a:cubicBezTo>
                    <a:pt x="893" y="2283"/>
                    <a:pt x="915" y="2284"/>
                    <a:pt x="938" y="2284"/>
                  </a:cubicBezTo>
                  <a:cubicBezTo>
                    <a:pt x="1092" y="2284"/>
                    <a:pt x="1244" y="2248"/>
                    <a:pt x="1386" y="2193"/>
                  </a:cubicBezTo>
                  <a:cubicBezTo>
                    <a:pt x="1512" y="2130"/>
                    <a:pt x="1613" y="2042"/>
                    <a:pt x="1701" y="1916"/>
                  </a:cubicBezTo>
                  <a:cubicBezTo>
                    <a:pt x="1764" y="1815"/>
                    <a:pt x="1802" y="1689"/>
                    <a:pt x="1802" y="1563"/>
                  </a:cubicBezTo>
                  <a:cubicBezTo>
                    <a:pt x="1802" y="1399"/>
                    <a:pt x="1752" y="1248"/>
                    <a:pt x="1638" y="1135"/>
                  </a:cubicBezTo>
                  <a:cubicBezTo>
                    <a:pt x="1512" y="1009"/>
                    <a:pt x="1361" y="933"/>
                    <a:pt x="1185" y="908"/>
                  </a:cubicBezTo>
                  <a:lnTo>
                    <a:pt x="1701" y="328"/>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402;p48"/>
            <p:cNvSpPr/>
            <p:nvPr/>
          </p:nvSpPr>
          <p:spPr>
            <a:xfrm>
              <a:off x="2193775" y="1013900"/>
              <a:ext cx="50425" cy="58450"/>
            </a:xfrm>
            <a:custGeom>
              <a:avLst/>
              <a:gdLst/>
              <a:ahLst/>
              <a:cxnLst/>
              <a:rect l="l" t="t" r="r" b="b"/>
              <a:pathLst>
                <a:path w="2017" h="2338" extrusionOk="0">
                  <a:moveTo>
                    <a:pt x="1015" y="451"/>
                  </a:moveTo>
                  <a:cubicBezTo>
                    <a:pt x="1137" y="451"/>
                    <a:pt x="1260" y="507"/>
                    <a:pt x="1336" y="621"/>
                  </a:cubicBezTo>
                  <a:cubicBezTo>
                    <a:pt x="1500" y="973"/>
                    <a:pt x="1500" y="1377"/>
                    <a:pt x="1336" y="1730"/>
                  </a:cubicBezTo>
                  <a:cubicBezTo>
                    <a:pt x="1260" y="1843"/>
                    <a:pt x="1137" y="1900"/>
                    <a:pt x="1015" y="1900"/>
                  </a:cubicBezTo>
                  <a:cubicBezTo>
                    <a:pt x="892" y="1900"/>
                    <a:pt x="769" y="1843"/>
                    <a:pt x="693" y="1730"/>
                  </a:cubicBezTo>
                  <a:cubicBezTo>
                    <a:pt x="529" y="1377"/>
                    <a:pt x="529" y="973"/>
                    <a:pt x="693" y="621"/>
                  </a:cubicBezTo>
                  <a:cubicBezTo>
                    <a:pt x="769" y="507"/>
                    <a:pt x="892" y="451"/>
                    <a:pt x="1015" y="451"/>
                  </a:cubicBezTo>
                  <a:close/>
                  <a:moveTo>
                    <a:pt x="1015" y="0"/>
                  </a:moveTo>
                  <a:cubicBezTo>
                    <a:pt x="841" y="0"/>
                    <a:pt x="668" y="47"/>
                    <a:pt x="517" y="142"/>
                  </a:cubicBezTo>
                  <a:cubicBezTo>
                    <a:pt x="366" y="243"/>
                    <a:pt x="240" y="381"/>
                    <a:pt x="177" y="545"/>
                  </a:cubicBezTo>
                  <a:cubicBezTo>
                    <a:pt x="0" y="948"/>
                    <a:pt x="0" y="1402"/>
                    <a:pt x="177" y="1805"/>
                  </a:cubicBezTo>
                  <a:cubicBezTo>
                    <a:pt x="240" y="1969"/>
                    <a:pt x="366" y="2108"/>
                    <a:pt x="517" y="2196"/>
                  </a:cubicBezTo>
                  <a:cubicBezTo>
                    <a:pt x="668" y="2290"/>
                    <a:pt x="841" y="2338"/>
                    <a:pt x="1015" y="2338"/>
                  </a:cubicBezTo>
                  <a:cubicBezTo>
                    <a:pt x="1188" y="2338"/>
                    <a:pt x="1361" y="2290"/>
                    <a:pt x="1512" y="2196"/>
                  </a:cubicBezTo>
                  <a:cubicBezTo>
                    <a:pt x="1664" y="2108"/>
                    <a:pt x="1777" y="1969"/>
                    <a:pt x="1853" y="1805"/>
                  </a:cubicBezTo>
                  <a:cubicBezTo>
                    <a:pt x="2016" y="1402"/>
                    <a:pt x="2016" y="948"/>
                    <a:pt x="1853" y="545"/>
                  </a:cubicBezTo>
                  <a:cubicBezTo>
                    <a:pt x="1777" y="381"/>
                    <a:pt x="1664" y="243"/>
                    <a:pt x="1512" y="142"/>
                  </a:cubicBezTo>
                  <a:cubicBezTo>
                    <a:pt x="1361" y="47"/>
                    <a:pt x="1188" y="0"/>
                    <a:pt x="101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48"/>
            <p:cNvSpPr/>
            <p:nvPr/>
          </p:nvSpPr>
          <p:spPr>
            <a:xfrm>
              <a:off x="2248575" y="1013900"/>
              <a:ext cx="50425" cy="58425"/>
            </a:xfrm>
            <a:custGeom>
              <a:avLst/>
              <a:gdLst/>
              <a:ahLst/>
              <a:cxnLst/>
              <a:rect l="l" t="t" r="r" b="b"/>
              <a:pathLst>
                <a:path w="2017" h="2337" extrusionOk="0">
                  <a:moveTo>
                    <a:pt x="1009" y="451"/>
                  </a:moveTo>
                  <a:cubicBezTo>
                    <a:pt x="1135" y="451"/>
                    <a:pt x="1261" y="507"/>
                    <a:pt x="1336" y="621"/>
                  </a:cubicBezTo>
                  <a:cubicBezTo>
                    <a:pt x="1488" y="973"/>
                    <a:pt x="1488" y="1377"/>
                    <a:pt x="1336" y="1730"/>
                  </a:cubicBezTo>
                  <a:cubicBezTo>
                    <a:pt x="1261" y="1843"/>
                    <a:pt x="1135" y="1900"/>
                    <a:pt x="1009" y="1900"/>
                  </a:cubicBezTo>
                  <a:cubicBezTo>
                    <a:pt x="883" y="1900"/>
                    <a:pt x="757" y="1843"/>
                    <a:pt x="681" y="1730"/>
                  </a:cubicBezTo>
                  <a:cubicBezTo>
                    <a:pt x="530" y="1377"/>
                    <a:pt x="530" y="973"/>
                    <a:pt x="681" y="621"/>
                  </a:cubicBezTo>
                  <a:cubicBezTo>
                    <a:pt x="757" y="507"/>
                    <a:pt x="883" y="451"/>
                    <a:pt x="1009" y="451"/>
                  </a:cubicBezTo>
                  <a:close/>
                  <a:moveTo>
                    <a:pt x="1009" y="0"/>
                  </a:moveTo>
                  <a:cubicBezTo>
                    <a:pt x="836" y="0"/>
                    <a:pt x="662" y="47"/>
                    <a:pt x="505" y="142"/>
                  </a:cubicBezTo>
                  <a:cubicBezTo>
                    <a:pt x="354" y="243"/>
                    <a:pt x="240" y="381"/>
                    <a:pt x="165" y="545"/>
                  </a:cubicBezTo>
                  <a:cubicBezTo>
                    <a:pt x="1" y="948"/>
                    <a:pt x="1" y="1402"/>
                    <a:pt x="165" y="1805"/>
                  </a:cubicBezTo>
                  <a:cubicBezTo>
                    <a:pt x="240" y="1969"/>
                    <a:pt x="354" y="2108"/>
                    <a:pt x="505" y="2196"/>
                  </a:cubicBezTo>
                  <a:cubicBezTo>
                    <a:pt x="641" y="2286"/>
                    <a:pt x="797" y="2336"/>
                    <a:pt x="955" y="2336"/>
                  </a:cubicBezTo>
                  <a:cubicBezTo>
                    <a:pt x="973" y="2336"/>
                    <a:pt x="991" y="2336"/>
                    <a:pt x="1009" y="2334"/>
                  </a:cubicBezTo>
                  <a:cubicBezTo>
                    <a:pt x="1019" y="2335"/>
                    <a:pt x="1029" y="2335"/>
                    <a:pt x="1039" y="2335"/>
                  </a:cubicBezTo>
                  <a:cubicBezTo>
                    <a:pt x="1392" y="2335"/>
                    <a:pt x="1706" y="2124"/>
                    <a:pt x="1853" y="1805"/>
                  </a:cubicBezTo>
                  <a:cubicBezTo>
                    <a:pt x="2017" y="1402"/>
                    <a:pt x="2017" y="948"/>
                    <a:pt x="1853" y="545"/>
                  </a:cubicBezTo>
                  <a:cubicBezTo>
                    <a:pt x="1777" y="381"/>
                    <a:pt x="1651" y="243"/>
                    <a:pt x="1513" y="142"/>
                  </a:cubicBezTo>
                  <a:cubicBezTo>
                    <a:pt x="1355" y="47"/>
                    <a:pt x="1182" y="0"/>
                    <a:pt x="100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404;p48"/>
            <p:cNvSpPr/>
            <p:nvPr/>
          </p:nvSpPr>
          <p:spPr>
            <a:xfrm>
              <a:off x="2342150" y="11658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405;p48"/>
            <p:cNvSpPr/>
            <p:nvPr/>
          </p:nvSpPr>
          <p:spPr>
            <a:xfrm>
              <a:off x="2342150" y="1163600"/>
              <a:ext cx="1966700" cy="4125"/>
            </a:xfrm>
            <a:custGeom>
              <a:avLst/>
              <a:gdLst/>
              <a:ahLst/>
              <a:cxnLst/>
              <a:rect l="l" t="t" r="r" b="b"/>
              <a:pathLst>
                <a:path w="78668" h="165" extrusionOk="0">
                  <a:moveTo>
                    <a:pt x="0" y="1"/>
                  </a:moveTo>
                  <a:lnTo>
                    <a:pt x="0" y="164"/>
                  </a:lnTo>
                  <a:lnTo>
                    <a:pt x="78667" y="164"/>
                  </a:lnTo>
                  <a:lnTo>
                    <a:pt x="78667"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406;p48"/>
            <p:cNvSpPr/>
            <p:nvPr/>
          </p:nvSpPr>
          <p:spPr>
            <a:xfrm>
              <a:off x="2145875" y="1152500"/>
              <a:ext cx="50450" cy="58450"/>
            </a:xfrm>
            <a:custGeom>
              <a:avLst/>
              <a:gdLst/>
              <a:ahLst/>
              <a:cxnLst/>
              <a:rect l="l" t="t" r="r" b="b"/>
              <a:pathLst>
                <a:path w="2018" h="2338" extrusionOk="0">
                  <a:moveTo>
                    <a:pt x="1003" y="451"/>
                  </a:moveTo>
                  <a:cubicBezTo>
                    <a:pt x="1126" y="451"/>
                    <a:pt x="1248" y="508"/>
                    <a:pt x="1324" y="621"/>
                  </a:cubicBezTo>
                  <a:cubicBezTo>
                    <a:pt x="1488" y="974"/>
                    <a:pt x="1488" y="1365"/>
                    <a:pt x="1324" y="1717"/>
                  </a:cubicBezTo>
                  <a:cubicBezTo>
                    <a:pt x="1255" y="1837"/>
                    <a:pt x="1132" y="1897"/>
                    <a:pt x="1007" y="1897"/>
                  </a:cubicBezTo>
                  <a:cubicBezTo>
                    <a:pt x="883" y="1897"/>
                    <a:pt x="757" y="1837"/>
                    <a:pt x="681" y="1717"/>
                  </a:cubicBezTo>
                  <a:cubicBezTo>
                    <a:pt x="530" y="1365"/>
                    <a:pt x="530" y="974"/>
                    <a:pt x="681" y="621"/>
                  </a:cubicBezTo>
                  <a:cubicBezTo>
                    <a:pt x="757" y="508"/>
                    <a:pt x="880" y="451"/>
                    <a:pt x="1003" y="451"/>
                  </a:cubicBezTo>
                  <a:close/>
                  <a:moveTo>
                    <a:pt x="1003" y="0"/>
                  </a:moveTo>
                  <a:cubicBezTo>
                    <a:pt x="829" y="0"/>
                    <a:pt x="656" y="48"/>
                    <a:pt x="505" y="142"/>
                  </a:cubicBezTo>
                  <a:cubicBezTo>
                    <a:pt x="354" y="243"/>
                    <a:pt x="240" y="382"/>
                    <a:pt x="165" y="545"/>
                  </a:cubicBezTo>
                  <a:cubicBezTo>
                    <a:pt x="1" y="949"/>
                    <a:pt x="1" y="1390"/>
                    <a:pt x="165" y="1793"/>
                  </a:cubicBezTo>
                  <a:cubicBezTo>
                    <a:pt x="240" y="1957"/>
                    <a:pt x="354" y="2095"/>
                    <a:pt x="505" y="2196"/>
                  </a:cubicBezTo>
                  <a:cubicBezTo>
                    <a:pt x="662" y="2291"/>
                    <a:pt x="836" y="2338"/>
                    <a:pt x="1007" y="2338"/>
                  </a:cubicBezTo>
                  <a:cubicBezTo>
                    <a:pt x="1179" y="2338"/>
                    <a:pt x="1349" y="2291"/>
                    <a:pt x="1500" y="2196"/>
                  </a:cubicBezTo>
                  <a:cubicBezTo>
                    <a:pt x="1652" y="2095"/>
                    <a:pt x="1778" y="1957"/>
                    <a:pt x="1853" y="1793"/>
                  </a:cubicBezTo>
                  <a:cubicBezTo>
                    <a:pt x="2017" y="1390"/>
                    <a:pt x="2017" y="949"/>
                    <a:pt x="1853" y="545"/>
                  </a:cubicBezTo>
                  <a:cubicBezTo>
                    <a:pt x="1778" y="382"/>
                    <a:pt x="1652" y="243"/>
                    <a:pt x="1500" y="142"/>
                  </a:cubicBezTo>
                  <a:cubicBezTo>
                    <a:pt x="1349" y="48"/>
                    <a:pt x="1176" y="0"/>
                    <a:pt x="100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407;p48"/>
            <p:cNvSpPr/>
            <p:nvPr/>
          </p:nvSpPr>
          <p:spPr>
            <a:xfrm>
              <a:off x="2342150" y="1304100"/>
              <a:ext cx="1966700" cy="25"/>
            </a:xfrm>
            <a:custGeom>
              <a:avLst/>
              <a:gdLst/>
              <a:ahLst/>
              <a:cxnLst/>
              <a:rect l="l" t="t" r="r" b="b"/>
              <a:pathLst>
                <a:path w="78668" h="1" extrusionOk="0">
                  <a:moveTo>
                    <a:pt x="0" y="1"/>
                  </a:moveTo>
                  <a:lnTo>
                    <a:pt x="78667" y="1"/>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408;p48"/>
            <p:cNvSpPr/>
            <p:nvPr/>
          </p:nvSpPr>
          <p:spPr>
            <a:xfrm>
              <a:off x="2342150" y="1302225"/>
              <a:ext cx="1966700" cy="4100"/>
            </a:xfrm>
            <a:custGeom>
              <a:avLst/>
              <a:gdLst/>
              <a:ahLst/>
              <a:cxnLst/>
              <a:rect l="l" t="t" r="r" b="b"/>
              <a:pathLst>
                <a:path w="78668" h="164" extrusionOk="0">
                  <a:moveTo>
                    <a:pt x="0" y="0"/>
                  </a:moveTo>
                  <a:lnTo>
                    <a:pt x="0" y="164"/>
                  </a:lnTo>
                  <a:lnTo>
                    <a:pt x="78667" y="164"/>
                  </a:lnTo>
                  <a:lnTo>
                    <a:pt x="78667"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409;p48"/>
            <p:cNvSpPr/>
            <p:nvPr/>
          </p:nvSpPr>
          <p:spPr>
            <a:xfrm>
              <a:off x="2144300" y="1292125"/>
              <a:ext cx="24300" cy="56425"/>
            </a:xfrm>
            <a:custGeom>
              <a:avLst/>
              <a:gdLst/>
              <a:ahLst/>
              <a:cxnLst/>
              <a:rect l="l" t="t" r="r" b="b"/>
              <a:pathLst>
                <a:path w="972" h="2257" extrusionOk="0">
                  <a:moveTo>
                    <a:pt x="1" y="1"/>
                  </a:moveTo>
                  <a:lnTo>
                    <a:pt x="1" y="417"/>
                  </a:lnTo>
                  <a:lnTo>
                    <a:pt x="455" y="417"/>
                  </a:lnTo>
                  <a:lnTo>
                    <a:pt x="455" y="2256"/>
                  </a:lnTo>
                  <a:lnTo>
                    <a:pt x="971" y="2256"/>
                  </a:lnTo>
                  <a:lnTo>
                    <a:pt x="97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410;p48"/>
            <p:cNvSpPr/>
            <p:nvPr/>
          </p:nvSpPr>
          <p:spPr>
            <a:xfrm>
              <a:off x="2177375" y="1290800"/>
              <a:ext cx="50450" cy="58525"/>
            </a:xfrm>
            <a:custGeom>
              <a:avLst/>
              <a:gdLst/>
              <a:ahLst/>
              <a:cxnLst/>
              <a:rect l="l" t="t" r="r" b="b"/>
              <a:pathLst>
                <a:path w="2018" h="2341" extrusionOk="0">
                  <a:moveTo>
                    <a:pt x="1009" y="454"/>
                  </a:moveTo>
                  <a:cubicBezTo>
                    <a:pt x="1135" y="454"/>
                    <a:pt x="1261" y="514"/>
                    <a:pt x="1337" y="633"/>
                  </a:cubicBezTo>
                  <a:cubicBezTo>
                    <a:pt x="1488" y="974"/>
                    <a:pt x="1488" y="1377"/>
                    <a:pt x="1337" y="1730"/>
                  </a:cubicBezTo>
                  <a:cubicBezTo>
                    <a:pt x="1261" y="1849"/>
                    <a:pt x="1135" y="1909"/>
                    <a:pt x="1009" y="1909"/>
                  </a:cubicBezTo>
                  <a:cubicBezTo>
                    <a:pt x="883" y="1909"/>
                    <a:pt x="757" y="1849"/>
                    <a:pt x="681" y="1730"/>
                  </a:cubicBezTo>
                  <a:cubicBezTo>
                    <a:pt x="530" y="1377"/>
                    <a:pt x="530" y="974"/>
                    <a:pt x="681" y="633"/>
                  </a:cubicBezTo>
                  <a:cubicBezTo>
                    <a:pt x="757" y="514"/>
                    <a:pt x="883" y="454"/>
                    <a:pt x="1009" y="454"/>
                  </a:cubicBezTo>
                  <a:close/>
                  <a:moveTo>
                    <a:pt x="1007" y="0"/>
                  </a:moveTo>
                  <a:cubicBezTo>
                    <a:pt x="836" y="0"/>
                    <a:pt x="663" y="47"/>
                    <a:pt x="505" y="142"/>
                  </a:cubicBezTo>
                  <a:cubicBezTo>
                    <a:pt x="354" y="243"/>
                    <a:pt x="240" y="381"/>
                    <a:pt x="165" y="545"/>
                  </a:cubicBezTo>
                  <a:cubicBezTo>
                    <a:pt x="1" y="948"/>
                    <a:pt x="1" y="1402"/>
                    <a:pt x="165" y="1805"/>
                  </a:cubicBezTo>
                  <a:cubicBezTo>
                    <a:pt x="240" y="1969"/>
                    <a:pt x="354" y="2108"/>
                    <a:pt x="505" y="2209"/>
                  </a:cubicBezTo>
                  <a:cubicBezTo>
                    <a:pt x="663" y="2297"/>
                    <a:pt x="836" y="2341"/>
                    <a:pt x="1007" y="2341"/>
                  </a:cubicBezTo>
                  <a:cubicBezTo>
                    <a:pt x="1179" y="2341"/>
                    <a:pt x="1349" y="2297"/>
                    <a:pt x="1500" y="2209"/>
                  </a:cubicBezTo>
                  <a:cubicBezTo>
                    <a:pt x="1652" y="2108"/>
                    <a:pt x="1778" y="1969"/>
                    <a:pt x="1853" y="1805"/>
                  </a:cubicBezTo>
                  <a:cubicBezTo>
                    <a:pt x="2017" y="1402"/>
                    <a:pt x="2017" y="948"/>
                    <a:pt x="1853" y="545"/>
                  </a:cubicBezTo>
                  <a:cubicBezTo>
                    <a:pt x="1778" y="381"/>
                    <a:pt x="1652" y="243"/>
                    <a:pt x="1500" y="142"/>
                  </a:cubicBezTo>
                  <a:cubicBezTo>
                    <a:pt x="1349" y="47"/>
                    <a:pt x="1179" y="0"/>
                    <a:pt x="1007"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411;p48"/>
            <p:cNvSpPr/>
            <p:nvPr/>
          </p:nvSpPr>
          <p:spPr>
            <a:xfrm>
              <a:off x="2231875" y="1290925"/>
              <a:ext cx="50450" cy="58575"/>
            </a:xfrm>
            <a:custGeom>
              <a:avLst/>
              <a:gdLst/>
              <a:ahLst/>
              <a:cxnLst/>
              <a:rect l="l" t="t" r="r" b="b"/>
              <a:pathLst>
                <a:path w="2018" h="2343" extrusionOk="0">
                  <a:moveTo>
                    <a:pt x="994" y="451"/>
                  </a:moveTo>
                  <a:cubicBezTo>
                    <a:pt x="1003" y="451"/>
                    <a:pt x="1012" y="451"/>
                    <a:pt x="1022" y="452"/>
                  </a:cubicBezTo>
                  <a:cubicBezTo>
                    <a:pt x="1148" y="452"/>
                    <a:pt x="1274" y="515"/>
                    <a:pt x="1337" y="628"/>
                  </a:cubicBezTo>
                  <a:cubicBezTo>
                    <a:pt x="1500" y="969"/>
                    <a:pt x="1500" y="1372"/>
                    <a:pt x="1337" y="1725"/>
                  </a:cubicBezTo>
                  <a:cubicBezTo>
                    <a:pt x="1274" y="1838"/>
                    <a:pt x="1148" y="1901"/>
                    <a:pt x="1022" y="1901"/>
                  </a:cubicBezTo>
                  <a:cubicBezTo>
                    <a:pt x="896" y="1901"/>
                    <a:pt x="770" y="1838"/>
                    <a:pt x="707" y="1725"/>
                  </a:cubicBezTo>
                  <a:cubicBezTo>
                    <a:pt x="543" y="1372"/>
                    <a:pt x="543" y="969"/>
                    <a:pt x="707" y="628"/>
                  </a:cubicBezTo>
                  <a:cubicBezTo>
                    <a:pt x="765" y="523"/>
                    <a:pt x="878" y="451"/>
                    <a:pt x="994" y="451"/>
                  </a:cubicBezTo>
                  <a:close/>
                  <a:moveTo>
                    <a:pt x="1027" y="1"/>
                  </a:moveTo>
                  <a:cubicBezTo>
                    <a:pt x="678" y="1"/>
                    <a:pt x="340" y="198"/>
                    <a:pt x="177" y="540"/>
                  </a:cubicBezTo>
                  <a:cubicBezTo>
                    <a:pt x="1" y="943"/>
                    <a:pt x="1" y="1397"/>
                    <a:pt x="177" y="1800"/>
                  </a:cubicBezTo>
                  <a:cubicBezTo>
                    <a:pt x="240" y="1964"/>
                    <a:pt x="366" y="2103"/>
                    <a:pt x="518" y="2204"/>
                  </a:cubicBezTo>
                  <a:cubicBezTo>
                    <a:pt x="656" y="2292"/>
                    <a:pt x="833" y="2342"/>
                    <a:pt x="1009" y="2342"/>
                  </a:cubicBezTo>
                  <a:cubicBezTo>
                    <a:pt x="1374" y="2342"/>
                    <a:pt x="1715" y="2128"/>
                    <a:pt x="1853" y="1800"/>
                  </a:cubicBezTo>
                  <a:cubicBezTo>
                    <a:pt x="2017" y="1397"/>
                    <a:pt x="2017" y="943"/>
                    <a:pt x="1853" y="540"/>
                  </a:cubicBezTo>
                  <a:cubicBezTo>
                    <a:pt x="1778" y="376"/>
                    <a:pt x="1664" y="238"/>
                    <a:pt x="1513" y="137"/>
                  </a:cubicBezTo>
                  <a:cubicBezTo>
                    <a:pt x="1360" y="44"/>
                    <a:pt x="1192" y="1"/>
                    <a:pt x="102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412;p48"/>
            <p:cNvSpPr/>
            <p:nvPr/>
          </p:nvSpPr>
          <p:spPr>
            <a:xfrm>
              <a:off x="2342775" y="1442725"/>
              <a:ext cx="1966700" cy="25"/>
            </a:xfrm>
            <a:custGeom>
              <a:avLst/>
              <a:gdLst/>
              <a:ahLst/>
              <a:cxnLst/>
              <a:rect l="l" t="t" r="r" b="b"/>
              <a:pathLst>
                <a:path w="78668" h="1" extrusionOk="0">
                  <a:moveTo>
                    <a:pt x="0"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413;p48"/>
            <p:cNvSpPr/>
            <p:nvPr/>
          </p:nvSpPr>
          <p:spPr>
            <a:xfrm>
              <a:off x="2342775" y="1440825"/>
              <a:ext cx="1966700" cy="3800"/>
            </a:xfrm>
            <a:custGeom>
              <a:avLst/>
              <a:gdLst/>
              <a:ahLst/>
              <a:cxnLst/>
              <a:rect l="l" t="t" r="r" b="b"/>
              <a:pathLst>
                <a:path w="78668" h="152" extrusionOk="0">
                  <a:moveTo>
                    <a:pt x="0" y="0"/>
                  </a:moveTo>
                  <a:lnTo>
                    <a:pt x="0" y="152"/>
                  </a:lnTo>
                  <a:lnTo>
                    <a:pt x="78668" y="152"/>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48"/>
            <p:cNvSpPr/>
            <p:nvPr/>
          </p:nvSpPr>
          <p:spPr>
            <a:xfrm>
              <a:off x="2144950" y="1429475"/>
              <a:ext cx="45075" cy="57375"/>
            </a:xfrm>
            <a:custGeom>
              <a:avLst/>
              <a:gdLst/>
              <a:ahLst/>
              <a:cxnLst/>
              <a:rect l="l" t="t" r="r" b="b"/>
              <a:pathLst>
                <a:path w="1803" h="2295" extrusionOk="0">
                  <a:moveTo>
                    <a:pt x="895" y="1"/>
                  </a:moveTo>
                  <a:cubicBezTo>
                    <a:pt x="706" y="1"/>
                    <a:pt x="529" y="39"/>
                    <a:pt x="366" y="114"/>
                  </a:cubicBezTo>
                  <a:cubicBezTo>
                    <a:pt x="214" y="177"/>
                    <a:pt x="88" y="291"/>
                    <a:pt x="0" y="429"/>
                  </a:cubicBezTo>
                  <a:lnTo>
                    <a:pt x="378" y="669"/>
                  </a:lnTo>
                  <a:cubicBezTo>
                    <a:pt x="429" y="593"/>
                    <a:pt x="492" y="543"/>
                    <a:pt x="580" y="505"/>
                  </a:cubicBezTo>
                  <a:cubicBezTo>
                    <a:pt x="655" y="467"/>
                    <a:pt x="756" y="442"/>
                    <a:pt x="844" y="442"/>
                  </a:cubicBezTo>
                  <a:cubicBezTo>
                    <a:pt x="933" y="442"/>
                    <a:pt x="1033" y="467"/>
                    <a:pt x="1109" y="517"/>
                  </a:cubicBezTo>
                  <a:cubicBezTo>
                    <a:pt x="1172" y="568"/>
                    <a:pt x="1210" y="643"/>
                    <a:pt x="1210" y="719"/>
                  </a:cubicBezTo>
                  <a:cubicBezTo>
                    <a:pt x="1197" y="782"/>
                    <a:pt x="1185" y="858"/>
                    <a:pt x="1159" y="908"/>
                  </a:cubicBezTo>
                  <a:cubicBezTo>
                    <a:pt x="1109" y="996"/>
                    <a:pt x="1046" y="1072"/>
                    <a:pt x="970" y="1135"/>
                  </a:cubicBezTo>
                  <a:lnTo>
                    <a:pt x="101" y="1954"/>
                  </a:lnTo>
                  <a:lnTo>
                    <a:pt x="101" y="2294"/>
                  </a:lnTo>
                  <a:lnTo>
                    <a:pt x="1802" y="2294"/>
                  </a:lnTo>
                  <a:lnTo>
                    <a:pt x="1802" y="1878"/>
                  </a:lnTo>
                  <a:lnTo>
                    <a:pt x="832" y="1878"/>
                  </a:lnTo>
                  <a:lnTo>
                    <a:pt x="1348" y="1387"/>
                  </a:lnTo>
                  <a:cubicBezTo>
                    <a:pt x="1474" y="1273"/>
                    <a:pt x="1575" y="1160"/>
                    <a:pt x="1651" y="1021"/>
                  </a:cubicBezTo>
                  <a:cubicBezTo>
                    <a:pt x="1701" y="908"/>
                    <a:pt x="1726" y="795"/>
                    <a:pt x="1726" y="669"/>
                  </a:cubicBezTo>
                  <a:cubicBezTo>
                    <a:pt x="1726" y="543"/>
                    <a:pt x="1689" y="417"/>
                    <a:pt x="1626" y="316"/>
                  </a:cubicBezTo>
                  <a:cubicBezTo>
                    <a:pt x="1550" y="215"/>
                    <a:pt x="1449" y="139"/>
                    <a:pt x="1336" y="89"/>
                  </a:cubicBezTo>
                  <a:cubicBezTo>
                    <a:pt x="1185" y="26"/>
                    <a:pt x="1046" y="1"/>
                    <a:pt x="89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48"/>
            <p:cNvSpPr/>
            <p:nvPr/>
          </p:nvSpPr>
          <p:spPr>
            <a:xfrm>
              <a:off x="2194400" y="1429650"/>
              <a:ext cx="50425" cy="58225"/>
            </a:xfrm>
            <a:custGeom>
              <a:avLst/>
              <a:gdLst/>
              <a:ahLst/>
              <a:cxnLst/>
              <a:rect l="l" t="t" r="r" b="b"/>
              <a:pathLst>
                <a:path w="2017" h="2329" extrusionOk="0">
                  <a:moveTo>
                    <a:pt x="1002" y="444"/>
                  </a:moveTo>
                  <a:cubicBezTo>
                    <a:pt x="1125" y="444"/>
                    <a:pt x="1248" y="504"/>
                    <a:pt x="1324" y="624"/>
                  </a:cubicBezTo>
                  <a:cubicBezTo>
                    <a:pt x="1487" y="977"/>
                    <a:pt x="1487" y="1367"/>
                    <a:pt x="1324" y="1720"/>
                  </a:cubicBezTo>
                  <a:cubicBezTo>
                    <a:pt x="1248" y="1834"/>
                    <a:pt x="1125" y="1890"/>
                    <a:pt x="1002" y="1890"/>
                  </a:cubicBezTo>
                  <a:cubicBezTo>
                    <a:pt x="879" y="1890"/>
                    <a:pt x="756" y="1834"/>
                    <a:pt x="681" y="1720"/>
                  </a:cubicBezTo>
                  <a:cubicBezTo>
                    <a:pt x="530" y="1367"/>
                    <a:pt x="530" y="977"/>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60"/>
                    <a:pt x="353" y="2098"/>
                    <a:pt x="504" y="2186"/>
                  </a:cubicBezTo>
                  <a:cubicBezTo>
                    <a:pt x="656" y="2281"/>
                    <a:pt x="829" y="2328"/>
                    <a:pt x="1002" y="2328"/>
                  </a:cubicBezTo>
                  <a:cubicBezTo>
                    <a:pt x="1175" y="2328"/>
                    <a:pt x="1349" y="2281"/>
                    <a:pt x="1500" y="2186"/>
                  </a:cubicBezTo>
                  <a:cubicBezTo>
                    <a:pt x="1651" y="2098"/>
                    <a:pt x="1777" y="1960"/>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48"/>
            <p:cNvSpPr/>
            <p:nvPr/>
          </p:nvSpPr>
          <p:spPr>
            <a:xfrm>
              <a:off x="2248900" y="1429650"/>
              <a:ext cx="50425" cy="58150"/>
            </a:xfrm>
            <a:custGeom>
              <a:avLst/>
              <a:gdLst/>
              <a:ahLst/>
              <a:cxnLst/>
              <a:rect l="l" t="t" r="r" b="b"/>
              <a:pathLst>
                <a:path w="2017" h="2326" extrusionOk="0">
                  <a:moveTo>
                    <a:pt x="1002" y="444"/>
                  </a:moveTo>
                  <a:cubicBezTo>
                    <a:pt x="1125" y="444"/>
                    <a:pt x="1248" y="504"/>
                    <a:pt x="1323" y="624"/>
                  </a:cubicBezTo>
                  <a:cubicBezTo>
                    <a:pt x="1487" y="964"/>
                    <a:pt x="1487" y="1367"/>
                    <a:pt x="1323" y="1720"/>
                  </a:cubicBezTo>
                  <a:cubicBezTo>
                    <a:pt x="1248" y="1834"/>
                    <a:pt x="1125" y="1890"/>
                    <a:pt x="1002" y="1890"/>
                  </a:cubicBezTo>
                  <a:cubicBezTo>
                    <a:pt x="879" y="1890"/>
                    <a:pt x="756" y="1834"/>
                    <a:pt x="681" y="1720"/>
                  </a:cubicBezTo>
                  <a:cubicBezTo>
                    <a:pt x="530" y="1367"/>
                    <a:pt x="530" y="964"/>
                    <a:pt x="681" y="624"/>
                  </a:cubicBezTo>
                  <a:cubicBezTo>
                    <a:pt x="756" y="504"/>
                    <a:pt x="879" y="444"/>
                    <a:pt x="1002" y="444"/>
                  </a:cubicBezTo>
                  <a:close/>
                  <a:moveTo>
                    <a:pt x="1002" y="0"/>
                  </a:moveTo>
                  <a:cubicBezTo>
                    <a:pt x="829" y="0"/>
                    <a:pt x="656" y="44"/>
                    <a:pt x="504" y="132"/>
                  </a:cubicBezTo>
                  <a:cubicBezTo>
                    <a:pt x="353" y="233"/>
                    <a:pt x="240" y="372"/>
                    <a:pt x="164" y="536"/>
                  </a:cubicBezTo>
                  <a:cubicBezTo>
                    <a:pt x="0" y="939"/>
                    <a:pt x="0" y="1392"/>
                    <a:pt x="164" y="1796"/>
                  </a:cubicBezTo>
                  <a:cubicBezTo>
                    <a:pt x="240" y="1947"/>
                    <a:pt x="353" y="2098"/>
                    <a:pt x="504" y="2186"/>
                  </a:cubicBezTo>
                  <a:cubicBezTo>
                    <a:pt x="656" y="2287"/>
                    <a:pt x="832" y="2325"/>
                    <a:pt x="1008" y="2325"/>
                  </a:cubicBezTo>
                  <a:cubicBezTo>
                    <a:pt x="1018" y="2325"/>
                    <a:pt x="1028" y="2325"/>
                    <a:pt x="1038" y="2325"/>
                  </a:cubicBezTo>
                  <a:cubicBezTo>
                    <a:pt x="1380" y="2325"/>
                    <a:pt x="1705" y="2114"/>
                    <a:pt x="1840" y="1796"/>
                  </a:cubicBezTo>
                  <a:cubicBezTo>
                    <a:pt x="2017" y="1392"/>
                    <a:pt x="2017" y="939"/>
                    <a:pt x="1840" y="536"/>
                  </a:cubicBezTo>
                  <a:cubicBezTo>
                    <a:pt x="1777" y="372"/>
                    <a:pt x="1651" y="233"/>
                    <a:pt x="1500" y="132"/>
                  </a:cubicBezTo>
                  <a:cubicBezTo>
                    <a:pt x="1349" y="44"/>
                    <a:pt x="1175" y="0"/>
                    <a:pt x="100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48"/>
            <p:cNvSpPr/>
            <p:nvPr/>
          </p:nvSpPr>
          <p:spPr>
            <a:xfrm>
              <a:off x="2342450" y="1581325"/>
              <a:ext cx="1966725" cy="25"/>
            </a:xfrm>
            <a:custGeom>
              <a:avLst/>
              <a:gdLst/>
              <a:ahLst/>
              <a:cxnLst/>
              <a:rect l="l" t="t" r="r" b="b"/>
              <a:pathLst>
                <a:path w="78669" h="1" extrusionOk="0">
                  <a:moveTo>
                    <a:pt x="1" y="0"/>
                  </a:moveTo>
                  <a:lnTo>
                    <a:pt x="78668" y="0"/>
                  </a:lnTo>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418;p48"/>
            <p:cNvSpPr/>
            <p:nvPr/>
          </p:nvSpPr>
          <p:spPr>
            <a:xfrm>
              <a:off x="2342450" y="1579125"/>
              <a:ext cx="1966725" cy="4100"/>
            </a:xfrm>
            <a:custGeom>
              <a:avLst/>
              <a:gdLst/>
              <a:ahLst/>
              <a:cxnLst/>
              <a:rect l="l" t="t" r="r" b="b"/>
              <a:pathLst>
                <a:path w="78669" h="164" extrusionOk="0">
                  <a:moveTo>
                    <a:pt x="1" y="0"/>
                  </a:moveTo>
                  <a:lnTo>
                    <a:pt x="1" y="164"/>
                  </a:lnTo>
                  <a:lnTo>
                    <a:pt x="78668" y="164"/>
                  </a:lnTo>
                  <a:lnTo>
                    <a:pt x="78668" y="0"/>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419;p48"/>
            <p:cNvSpPr/>
            <p:nvPr/>
          </p:nvSpPr>
          <p:spPr>
            <a:xfrm>
              <a:off x="2144000" y="1569350"/>
              <a:ext cx="45075" cy="57050"/>
            </a:xfrm>
            <a:custGeom>
              <a:avLst/>
              <a:gdLst/>
              <a:ahLst/>
              <a:cxnLst/>
              <a:rect l="l" t="t" r="r" b="b"/>
              <a:pathLst>
                <a:path w="1803" h="2282" extrusionOk="0">
                  <a:moveTo>
                    <a:pt x="126" y="1"/>
                  </a:moveTo>
                  <a:lnTo>
                    <a:pt x="126" y="416"/>
                  </a:lnTo>
                  <a:lnTo>
                    <a:pt x="1084" y="416"/>
                  </a:lnTo>
                  <a:lnTo>
                    <a:pt x="618" y="946"/>
                  </a:lnTo>
                  <a:lnTo>
                    <a:pt x="618" y="1286"/>
                  </a:lnTo>
                  <a:lnTo>
                    <a:pt x="857" y="1286"/>
                  </a:lnTo>
                  <a:cubicBezTo>
                    <a:pt x="1134" y="1286"/>
                    <a:pt x="1273" y="1374"/>
                    <a:pt x="1273" y="1563"/>
                  </a:cubicBezTo>
                  <a:cubicBezTo>
                    <a:pt x="1273" y="1651"/>
                    <a:pt x="1235" y="1727"/>
                    <a:pt x="1160" y="1777"/>
                  </a:cubicBezTo>
                  <a:cubicBezTo>
                    <a:pt x="1071" y="1828"/>
                    <a:pt x="958" y="1853"/>
                    <a:pt x="845" y="1853"/>
                  </a:cubicBezTo>
                  <a:cubicBezTo>
                    <a:pt x="731" y="1853"/>
                    <a:pt x="618" y="1828"/>
                    <a:pt x="504" y="1802"/>
                  </a:cubicBezTo>
                  <a:cubicBezTo>
                    <a:pt x="391" y="1765"/>
                    <a:pt x="290" y="1714"/>
                    <a:pt x="202" y="1639"/>
                  </a:cubicBezTo>
                  <a:lnTo>
                    <a:pt x="0" y="2042"/>
                  </a:lnTo>
                  <a:cubicBezTo>
                    <a:pt x="114" y="2118"/>
                    <a:pt x="252" y="2181"/>
                    <a:pt x="391" y="2218"/>
                  </a:cubicBezTo>
                  <a:cubicBezTo>
                    <a:pt x="542" y="2256"/>
                    <a:pt x="706" y="2281"/>
                    <a:pt x="870" y="2281"/>
                  </a:cubicBezTo>
                  <a:cubicBezTo>
                    <a:pt x="1046" y="2281"/>
                    <a:pt x="1223" y="2256"/>
                    <a:pt x="1386" y="2181"/>
                  </a:cubicBezTo>
                  <a:cubicBezTo>
                    <a:pt x="1512" y="2130"/>
                    <a:pt x="1613" y="2029"/>
                    <a:pt x="1701" y="1916"/>
                  </a:cubicBezTo>
                  <a:cubicBezTo>
                    <a:pt x="1764" y="1802"/>
                    <a:pt x="1802" y="1676"/>
                    <a:pt x="1802" y="1550"/>
                  </a:cubicBezTo>
                  <a:cubicBezTo>
                    <a:pt x="1802" y="1399"/>
                    <a:pt x="1752" y="1248"/>
                    <a:pt x="1638" y="1122"/>
                  </a:cubicBezTo>
                  <a:cubicBezTo>
                    <a:pt x="1512" y="1009"/>
                    <a:pt x="1361" y="933"/>
                    <a:pt x="1185" y="920"/>
                  </a:cubicBezTo>
                  <a:lnTo>
                    <a:pt x="1701" y="341"/>
                  </a:lnTo>
                  <a:lnTo>
                    <a:pt x="1701" y="1"/>
                  </a:ln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48"/>
            <p:cNvSpPr/>
            <p:nvPr/>
          </p:nvSpPr>
          <p:spPr>
            <a:xfrm>
              <a:off x="2193775" y="1567925"/>
              <a:ext cx="50425" cy="58550"/>
            </a:xfrm>
            <a:custGeom>
              <a:avLst/>
              <a:gdLst/>
              <a:ahLst/>
              <a:cxnLst/>
              <a:rect l="l" t="t" r="r" b="b"/>
              <a:pathLst>
                <a:path w="2017" h="2342" extrusionOk="0">
                  <a:moveTo>
                    <a:pt x="1015" y="445"/>
                  </a:moveTo>
                  <a:cubicBezTo>
                    <a:pt x="1137" y="445"/>
                    <a:pt x="1260" y="505"/>
                    <a:pt x="1336" y="625"/>
                  </a:cubicBezTo>
                  <a:cubicBezTo>
                    <a:pt x="1500" y="977"/>
                    <a:pt x="1500" y="1381"/>
                    <a:pt x="1336" y="1721"/>
                  </a:cubicBezTo>
                  <a:cubicBezTo>
                    <a:pt x="1260" y="1841"/>
                    <a:pt x="1137" y="1900"/>
                    <a:pt x="1015" y="1900"/>
                  </a:cubicBezTo>
                  <a:cubicBezTo>
                    <a:pt x="892" y="1900"/>
                    <a:pt x="769" y="1841"/>
                    <a:pt x="693" y="1721"/>
                  </a:cubicBezTo>
                  <a:cubicBezTo>
                    <a:pt x="529" y="1381"/>
                    <a:pt x="529" y="977"/>
                    <a:pt x="693" y="625"/>
                  </a:cubicBezTo>
                  <a:cubicBezTo>
                    <a:pt x="769" y="505"/>
                    <a:pt x="892" y="445"/>
                    <a:pt x="1015" y="445"/>
                  </a:cubicBezTo>
                  <a:close/>
                  <a:moveTo>
                    <a:pt x="1015" y="1"/>
                  </a:moveTo>
                  <a:cubicBezTo>
                    <a:pt x="841" y="1"/>
                    <a:pt x="668" y="45"/>
                    <a:pt x="517" y="133"/>
                  </a:cubicBezTo>
                  <a:cubicBezTo>
                    <a:pt x="366" y="234"/>
                    <a:pt x="240" y="373"/>
                    <a:pt x="177" y="536"/>
                  </a:cubicBezTo>
                  <a:cubicBezTo>
                    <a:pt x="0" y="940"/>
                    <a:pt x="0" y="1393"/>
                    <a:pt x="177" y="1796"/>
                  </a:cubicBezTo>
                  <a:cubicBezTo>
                    <a:pt x="240" y="1960"/>
                    <a:pt x="366" y="2099"/>
                    <a:pt x="517" y="2200"/>
                  </a:cubicBezTo>
                  <a:cubicBezTo>
                    <a:pt x="668" y="2294"/>
                    <a:pt x="841" y="2341"/>
                    <a:pt x="1015" y="2341"/>
                  </a:cubicBezTo>
                  <a:cubicBezTo>
                    <a:pt x="1188" y="2341"/>
                    <a:pt x="1361" y="2294"/>
                    <a:pt x="1512" y="2200"/>
                  </a:cubicBezTo>
                  <a:cubicBezTo>
                    <a:pt x="1664" y="2099"/>
                    <a:pt x="1777" y="1960"/>
                    <a:pt x="1853" y="1796"/>
                  </a:cubicBezTo>
                  <a:cubicBezTo>
                    <a:pt x="2016" y="1393"/>
                    <a:pt x="2016" y="940"/>
                    <a:pt x="1853" y="536"/>
                  </a:cubicBezTo>
                  <a:cubicBezTo>
                    <a:pt x="1777" y="373"/>
                    <a:pt x="1664" y="234"/>
                    <a:pt x="1512" y="133"/>
                  </a:cubicBezTo>
                  <a:cubicBezTo>
                    <a:pt x="1361" y="45"/>
                    <a:pt x="1188" y="1"/>
                    <a:pt x="101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48"/>
            <p:cNvSpPr/>
            <p:nvPr/>
          </p:nvSpPr>
          <p:spPr>
            <a:xfrm>
              <a:off x="2248575" y="1567925"/>
              <a:ext cx="50425" cy="58475"/>
            </a:xfrm>
            <a:custGeom>
              <a:avLst/>
              <a:gdLst/>
              <a:ahLst/>
              <a:cxnLst/>
              <a:rect l="l" t="t" r="r" b="b"/>
              <a:pathLst>
                <a:path w="2017" h="2339" extrusionOk="0">
                  <a:moveTo>
                    <a:pt x="1009" y="445"/>
                  </a:moveTo>
                  <a:cubicBezTo>
                    <a:pt x="1135" y="445"/>
                    <a:pt x="1261" y="505"/>
                    <a:pt x="1336" y="625"/>
                  </a:cubicBezTo>
                  <a:cubicBezTo>
                    <a:pt x="1488" y="977"/>
                    <a:pt x="1488" y="1381"/>
                    <a:pt x="1336" y="1721"/>
                  </a:cubicBezTo>
                  <a:cubicBezTo>
                    <a:pt x="1261" y="1841"/>
                    <a:pt x="1135" y="1900"/>
                    <a:pt x="1009" y="1900"/>
                  </a:cubicBezTo>
                  <a:cubicBezTo>
                    <a:pt x="883" y="1900"/>
                    <a:pt x="757" y="1841"/>
                    <a:pt x="681" y="1721"/>
                  </a:cubicBezTo>
                  <a:cubicBezTo>
                    <a:pt x="530" y="1381"/>
                    <a:pt x="530" y="977"/>
                    <a:pt x="681" y="625"/>
                  </a:cubicBezTo>
                  <a:cubicBezTo>
                    <a:pt x="757" y="505"/>
                    <a:pt x="883" y="445"/>
                    <a:pt x="1009" y="445"/>
                  </a:cubicBezTo>
                  <a:close/>
                  <a:moveTo>
                    <a:pt x="1009" y="1"/>
                  </a:moveTo>
                  <a:cubicBezTo>
                    <a:pt x="836" y="1"/>
                    <a:pt x="662" y="45"/>
                    <a:pt x="505" y="133"/>
                  </a:cubicBezTo>
                  <a:cubicBezTo>
                    <a:pt x="354" y="234"/>
                    <a:pt x="240" y="373"/>
                    <a:pt x="165" y="536"/>
                  </a:cubicBezTo>
                  <a:cubicBezTo>
                    <a:pt x="1" y="940"/>
                    <a:pt x="1" y="1393"/>
                    <a:pt x="165" y="1796"/>
                  </a:cubicBezTo>
                  <a:cubicBezTo>
                    <a:pt x="240" y="1960"/>
                    <a:pt x="354" y="2099"/>
                    <a:pt x="505" y="2200"/>
                  </a:cubicBezTo>
                  <a:cubicBezTo>
                    <a:pt x="656" y="2288"/>
                    <a:pt x="832" y="2338"/>
                    <a:pt x="1009" y="2338"/>
                  </a:cubicBezTo>
                  <a:cubicBezTo>
                    <a:pt x="1019" y="2339"/>
                    <a:pt x="1029" y="2339"/>
                    <a:pt x="1039" y="2339"/>
                  </a:cubicBezTo>
                  <a:cubicBezTo>
                    <a:pt x="1392" y="2339"/>
                    <a:pt x="1706" y="2127"/>
                    <a:pt x="1853" y="1796"/>
                  </a:cubicBezTo>
                  <a:cubicBezTo>
                    <a:pt x="2017" y="1393"/>
                    <a:pt x="2017" y="940"/>
                    <a:pt x="1853" y="536"/>
                  </a:cubicBezTo>
                  <a:cubicBezTo>
                    <a:pt x="1777" y="373"/>
                    <a:pt x="1651" y="234"/>
                    <a:pt x="1513" y="133"/>
                  </a:cubicBezTo>
                  <a:cubicBezTo>
                    <a:pt x="1355" y="45"/>
                    <a:pt x="1182" y="1"/>
                    <a:pt x="1009"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48"/>
            <p:cNvSpPr/>
            <p:nvPr/>
          </p:nvSpPr>
          <p:spPr>
            <a:xfrm>
              <a:off x="2540600" y="1086425"/>
              <a:ext cx="26800" cy="158175"/>
            </a:xfrm>
            <a:custGeom>
              <a:avLst/>
              <a:gdLst/>
              <a:ahLst/>
              <a:cxnLst/>
              <a:rect l="l" t="t" r="r" b="b"/>
              <a:pathLst>
                <a:path w="1072" h="6327" extrusionOk="0">
                  <a:moveTo>
                    <a:pt x="543" y="0"/>
                  </a:moveTo>
                  <a:cubicBezTo>
                    <a:pt x="240" y="0"/>
                    <a:pt x="1" y="240"/>
                    <a:pt x="1" y="542"/>
                  </a:cubicBezTo>
                  <a:lnTo>
                    <a:pt x="1" y="5797"/>
                  </a:lnTo>
                  <a:cubicBezTo>
                    <a:pt x="1" y="6087"/>
                    <a:pt x="240" y="6326"/>
                    <a:pt x="543" y="6326"/>
                  </a:cubicBezTo>
                  <a:cubicBezTo>
                    <a:pt x="832" y="6326"/>
                    <a:pt x="1072" y="6087"/>
                    <a:pt x="1072" y="5797"/>
                  </a:cubicBezTo>
                  <a:lnTo>
                    <a:pt x="1072" y="542"/>
                  </a:lnTo>
                  <a:cubicBezTo>
                    <a:pt x="1072" y="240"/>
                    <a:pt x="832"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48"/>
            <p:cNvSpPr/>
            <p:nvPr/>
          </p:nvSpPr>
          <p:spPr>
            <a:xfrm>
              <a:off x="2540600" y="1086425"/>
              <a:ext cx="26800" cy="80350"/>
            </a:xfrm>
            <a:custGeom>
              <a:avLst/>
              <a:gdLst/>
              <a:ahLst/>
              <a:cxnLst/>
              <a:rect l="l" t="t" r="r" b="b"/>
              <a:pathLst>
                <a:path w="1072" h="3214" extrusionOk="0">
                  <a:moveTo>
                    <a:pt x="543" y="0"/>
                  </a:moveTo>
                  <a:cubicBezTo>
                    <a:pt x="240" y="0"/>
                    <a:pt x="1" y="240"/>
                    <a:pt x="1" y="542"/>
                  </a:cubicBezTo>
                  <a:lnTo>
                    <a:pt x="1" y="3214"/>
                  </a:lnTo>
                  <a:lnTo>
                    <a:pt x="1072" y="3214"/>
                  </a:lnTo>
                  <a:lnTo>
                    <a:pt x="1072" y="542"/>
                  </a:lnTo>
                  <a:cubicBezTo>
                    <a:pt x="1072" y="240"/>
                    <a:pt x="832" y="0"/>
                    <a:pt x="54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48"/>
            <p:cNvSpPr/>
            <p:nvPr/>
          </p:nvSpPr>
          <p:spPr>
            <a:xfrm>
              <a:off x="2836425" y="955375"/>
              <a:ext cx="26475" cy="420575"/>
            </a:xfrm>
            <a:custGeom>
              <a:avLst/>
              <a:gdLst/>
              <a:ahLst/>
              <a:cxnLst/>
              <a:rect l="l" t="t" r="r" b="b"/>
              <a:pathLst>
                <a:path w="1059" h="16823" extrusionOk="0">
                  <a:moveTo>
                    <a:pt x="529" y="0"/>
                  </a:moveTo>
                  <a:cubicBezTo>
                    <a:pt x="239" y="0"/>
                    <a:pt x="0" y="240"/>
                    <a:pt x="0" y="530"/>
                  </a:cubicBezTo>
                  <a:lnTo>
                    <a:pt x="0" y="16281"/>
                  </a:lnTo>
                  <a:cubicBezTo>
                    <a:pt x="0" y="16583"/>
                    <a:pt x="239" y="16823"/>
                    <a:pt x="529" y="16823"/>
                  </a:cubicBezTo>
                  <a:cubicBezTo>
                    <a:pt x="819" y="16823"/>
                    <a:pt x="1058" y="16583"/>
                    <a:pt x="1058" y="16281"/>
                  </a:cubicBezTo>
                  <a:lnTo>
                    <a:pt x="1058" y="530"/>
                  </a:lnTo>
                  <a:cubicBezTo>
                    <a:pt x="1058" y="240"/>
                    <a:pt x="819" y="0"/>
                    <a:pt x="52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48"/>
            <p:cNvSpPr/>
            <p:nvPr/>
          </p:nvSpPr>
          <p:spPr>
            <a:xfrm>
              <a:off x="2836100" y="955050"/>
              <a:ext cx="27125" cy="211725"/>
            </a:xfrm>
            <a:custGeom>
              <a:avLst/>
              <a:gdLst/>
              <a:ahLst/>
              <a:cxnLst/>
              <a:rect l="l" t="t" r="r" b="b"/>
              <a:pathLst>
                <a:path w="1085" h="8469" extrusionOk="0">
                  <a:moveTo>
                    <a:pt x="542" y="1"/>
                  </a:moveTo>
                  <a:cubicBezTo>
                    <a:pt x="252" y="1"/>
                    <a:pt x="0" y="240"/>
                    <a:pt x="13" y="543"/>
                  </a:cubicBezTo>
                  <a:lnTo>
                    <a:pt x="13" y="8469"/>
                  </a:lnTo>
                  <a:lnTo>
                    <a:pt x="1084" y="8469"/>
                  </a:lnTo>
                  <a:lnTo>
                    <a:pt x="1084" y="543"/>
                  </a:lnTo>
                  <a:cubicBezTo>
                    <a:pt x="1084" y="240"/>
                    <a:pt x="845" y="1"/>
                    <a:pt x="542"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48"/>
            <p:cNvSpPr/>
            <p:nvPr/>
          </p:nvSpPr>
          <p:spPr>
            <a:xfrm>
              <a:off x="3121500" y="895525"/>
              <a:ext cx="26800" cy="539975"/>
            </a:xfrm>
            <a:custGeom>
              <a:avLst/>
              <a:gdLst/>
              <a:ahLst/>
              <a:cxnLst/>
              <a:rect l="l" t="t" r="r" b="b"/>
              <a:pathLst>
                <a:path w="1072" h="21599" extrusionOk="0">
                  <a:moveTo>
                    <a:pt x="530" y="0"/>
                  </a:moveTo>
                  <a:cubicBezTo>
                    <a:pt x="240" y="0"/>
                    <a:pt x="1" y="240"/>
                    <a:pt x="1" y="542"/>
                  </a:cubicBezTo>
                  <a:lnTo>
                    <a:pt x="1" y="21069"/>
                  </a:lnTo>
                  <a:cubicBezTo>
                    <a:pt x="1" y="21359"/>
                    <a:pt x="240" y="21598"/>
                    <a:pt x="530" y="21598"/>
                  </a:cubicBezTo>
                  <a:cubicBezTo>
                    <a:pt x="832" y="21598"/>
                    <a:pt x="1059" y="21359"/>
                    <a:pt x="1072" y="21069"/>
                  </a:cubicBezTo>
                  <a:lnTo>
                    <a:pt x="1072" y="542"/>
                  </a:lnTo>
                  <a:cubicBezTo>
                    <a:pt x="1072" y="240"/>
                    <a:pt x="832" y="0"/>
                    <a:pt x="53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48"/>
            <p:cNvSpPr/>
            <p:nvPr/>
          </p:nvSpPr>
          <p:spPr>
            <a:xfrm>
              <a:off x="3121500" y="895525"/>
              <a:ext cx="26800" cy="271250"/>
            </a:xfrm>
            <a:custGeom>
              <a:avLst/>
              <a:gdLst/>
              <a:ahLst/>
              <a:cxnLst/>
              <a:rect l="l" t="t" r="r" b="b"/>
              <a:pathLst>
                <a:path w="1072" h="10850" extrusionOk="0">
                  <a:moveTo>
                    <a:pt x="530" y="0"/>
                  </a:moveTo>
                  <a:cubicBezTo>
                    <a:pt x="240" y="0"/>
                    <a:pt x="1" y="240"/>
                    <a:pt x="1" y="530"/>
                  </a:cubicBezTo>
                  <a:lnTo>
                    <a:pt x="1" y="10850"/>
                  </a:lnTo>
                  <a:lnTo>
                    <a:pt x="1072" y="10850"/>
                  </a:lnTo>
                  <a:lnTo>
                    <a:pt x="1072" y="530"/>
                  </a:lnTo>
                  <a:cubicBezTo>
                    <a:pt x="1072" y="240"/>
                    <a:pt x="832"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48"/>
            <p:cNvSpPr/>
            <p:nvPr/>
          </p:nvSpPr>
          <p:spPr>
            <a:xfrm>
              <a:off x="3832500" y="895525"/>
              <a:ext cx="26825" cy="539975"/>
            </a:xfrm>
            <a:custGeom>
              <a:avLst/>
              <a:gdLst/>
              <a:ahLst/>
              <a:cxnLst/>
              <a:rect l="l" t="t" r="r" b="b"/>
              <a:pathLst>
                <a:path w="1073" h="21599" extrusionOk="0">
                  <a:moveTo>
                    <a:pt x="543" y="0"/>
                  </a:moveTo>
                  <a:cubicBezTo>
                    <a:pt x="240" y="0"/>
                    <a:pt x="1" y="240"/>
                    <a:pt x="1" y="542"/>
                  </a:cubicBezTo>
                  <a:lnTo>
                    <a:pt x="1" y="21069"/>
                  </a:lnTo>
                  <a:cubicBezTo>
                    <a:pt x="1" y="21359"/>
                    <a:pt x="240" y="21598"/>
                    <a:pt x="543" y="21598"/>
                  </a:cubicBezTo>
                  <a:cubicBezTo>
                    <a:pt x="833" y="21598"/>
                    <a:pt x="1072" y="21359"/>
                    <a:pt x="1072" y="21069"/>
                  </a:cubicBezTo>
                  <a:lnTo>
                    <a:pt x="1072" y="542"/>
                  </a:lnTo>
                  <a:cubicBezTo>
                    <a:pt x="1072" y="240"/>
                    <a:pt x="833" y="0"/>
                    <a:pt x="543"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48"/>
            <p:cNvSpPr/>
            <p:nvPr/>
          </p:nvSpPr>
          <p:spPr>
            <a:xfrm>
              <a:off x="3832500" y="895525"/>
              <a:ext cx="26825" cy="271250"/>
            </a:xfrm>
            <a:custGeom>
              <a:avLst/>
              <a:gdLst/>
              <a:ahLst/>
              <a:cxnLst/>
              <a:rect l="l" t="t" r="r" b="b"/>
              <a:pathLst>
                <a:path w="1073" h="10850" extrusionOk="0">
                  <a:moveTo>
                    <a:pt x="530" y="0"/>
                  </a:moveTo>
                  <a:cubicBezTo>
                    <a:pt x="240" y="0"/>
                    <a:pt x="1" y="240"/>
                    <a:pt x="1" y="530"/>
                  </a:cubicBezTo>
                  <a:lnTo>
                    <a:pt x="1" y="10308"/>
                  </a:lnTo>
                  <a:cubicBezTo>
                    <a:pt x="1" y="10610"/>
                    <a:pt x="240" y="10850"/>
                    <a:pt x="530" y="10850"/>
                  </a:cubicBezTo>
                  <a:cubicBezTo>
                    <a:pt x="833" y="10850"/>
                    <a:pt x="1072" y="10610"/>
                    <a:pt x="1072" y="10308"/>
                  </a:cubicBezTo>
                  <a:lnTo>
                    <a:pt x="1072" y="530"/>
                  </a:lnTo>
                  <a:cubicBezTo>
                    <a:pt x="1072" y="240"/>
                    <a:pt x="833" y="0"/>
                    <a:pt x="530"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48"/>
            <p:cNvSpPr/>
            <p:nvPr/>
          </p:nvSpPr>
          <p:spPr>
            <a:xfrm>
              <a:off x="3552450" y="953475"/>
              <a:ext cx="26800" cy="424050"/>
            </a:xfrm>
            <a:custGeom>
              <a:avLst/>
              <a:gdLst/>
              <a:ahLst/>
              <a:cxnLst/>
              <a:rect l="l" t="t" r="r" b="b"/>
              <a:pathLst>
                <a:path w="1072" h="16962" extrusionOk="0">
                  <a:moveTo>
                    <a:pt x="543" y="1"/>
                  </a:moveTo>
                  <a:cubicBezTo>
                    <a:pt x="253" y="1"/>
                    <a:pt x="13" y="240"/>
                    <a:pt x="13" y="543"/>
                  </a:cubicBezTo>
                  <a:lnTo>
                    <a:pt x="13" y="16432"/>
                  </a:lnTo>
                  <a:cubicBezTo>
                    <a:pt x="1" y="16722"/>
                    <a:pt x="253" y="16962"/>
                    <a:pt x="543" y="16962"/>
                  </a:cubicBezTo>
                  <a:cubicBezTo>
                    <a:pt x="832" y="16962"/>
                    <a:pt x="1072" y="16722"/>
                    <a:pt x="1072" y="16432"/>
                  </a:cubicBezTo>
                  <a:lnTo>
                    <a:pt x="1072" y="543"/>
                  </a:lnTo>
                  <a:cubicBezTo>
                    <a:pt x="1072" y="240"/>
                    <a:pt x="832"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48"/>
            <p:cNvSpPr/>
            <p:nvPr/>
          </p:nvSpPr>
          <p:spPr>
            <a:xfrm>
              <a:off x="3552775" y="953475"/>
              <a:ext cx="26800" cy="213300"/>
            </a:xfrm>
            <a:custGeom>
              <a:avLst/>
              <a:gdLst/>
              <a:ahLst/>
              <a:cxnLst/>
              <a:rect l="l" t="t" r="r" b="b"/>
              <a:pathLst>
                <a:path w="1072" h="8532" extrusionOk="0">
                  <a:moveTo>
                    <a:pt x="530" y="1"/>
                  </a:moveTo>
                  <a:cubicBezTo>
                    <a:pt x="240" y="1"/>
                    <a:pt x="0" y="240"/>
                    <a:pt x="0" y="543"/>
                  </a:cubicBezTo>
                  <a:lnTo>
                    <a:pt x="0" y="8532"/>
                  </a:lnTo>
                  <a:lnTo>
                    <a:pt x="1071" y="8532"/>
                  </a:lnTo>
                  <a:lnTo>
                    <a:pt x="1071" y="543"/>
                  </a:lnTo>
                  <a:cubicBezTo>
                    <a:pt x="1071" y="240"/>
                    <a:pt x="832" y="1"/>
                    <a:pt x="53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48"/>
            <p:cNvSpPr/>
            <p:nvPr/>
          </p:nvSpPr>
          <p:spPr>
            <a:xfrm>
              <a:off x="3984025" y="953475"/>
              <a:ext cx="26825" cy="424050"/>
            </a:xfrm>
            <a:custGeom>
              <a:avLst/>
              <a:gdLst/>
              <a:ahLst/>
              <a:cxnLst/>
              <a:rect l="l" t="t" r="r" b="b"/>
              <a:pathLst>
                <a:path w="1073" h="16962" extrusionOk="0">
                  <a:moveTo>
                    <a:pt x="543" y="1"/>
                  </a:moveTo>
                  <a:cubicBezTo>
                    <a:pt x="240" y="1"/>
                    <a:pt x="1" y="240"/>
                    <a:pt x="1" y="543"/>
                  </a:cubicBezTo>
                  <a:lnTo>
                    <a:pt x="1" y="16432"/>
                  </a:lnTo>
                  <a:cubicBezTo>
                    <a:pt x="1" y="16722"/>
                    <a:pt x="240" y="16962"/>
                    <a:pt x="543" y="16962"/>
                  </a:cubicBezTo>
                  <a:cubicBezTo>
                    <a:pt x="833" y="16962"/>
                    <a:pt x="1072" y="16722"/>
                    <a:pt x="1072" y="16432"/>
                  </a:cubicBezTo>
                  <a:lnTo>
                    <a:pt x="1072" y="543"/>
                  </a:lnTo>
                  <a:cubicBezTo>
                    <a:pt x="1072" y="240"/>
                    <a:pt x="833" y="1"/>
                    <a:pt x="5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48"/>
            <p:cNvSpPr/>
            <p:nvPr/>
          </p:nvSpPr>
          <p:spPr>
            <a:xfrm>
              <a:off x="3984025" y="953475"/>
              <a:ext cx="26825" cy="213300"/>
            </a:xfrm>
            <a:custGeom>
              <a:avLst/>
              <a:gdLst/>
              <a:ahLst/>
              <a:cxnLst/>
              <a:rect l="l" t="t" r="r" b="b"/>
              <a:pathLst>
                <a:path w="1073" h="8532" extrusionOk="0">
                  <a:moveTo>
                    <a:pt x="543" y="1"/>
                  </a:moveTo>
                  <a:cubicBezTo>
                    <a:pt x="240" y="1"/>
                    <a:pt x="1" y="240"/>
                    <a:pt x="1" y="543"/>
                  </a:cubicBezTo>
                  <a:lnTo>
                    <a:pt x="1" y="8532"/>
                  </a:lnTo>
                  <a:lnTo>
                    <a:pt x="1072" y="8532"/>
                  </a:lnTo>
                  <a:lnTo>
                    <a:pt x="1072" y="543"/>
                  </a:lnTo>
                  <a:cubicBezTo>
                    <a:pt x="1072" y="240"/>
                    <a:pt x="833" y="1"/>
                    <a:pt x="54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34" name="Google Shape;1434;p48"/>
          <p:cNvGrpSpPr/>
          <p:nvPr/>
        </p:nvGrpSpPr>
        <p:grpSpPr>
          <a:xfrm>
            <a:off x="4141124" y="1110738"/>
            <a:ext cx="1275737" cy="1275471"/>
            <a:chOff x="238125" y="3745825"/>
            <a:chExt cx="1319000" cy="1318725"/>
          </a:xfrm>
        </p:grpSpPr>
        <p:sp>
          <p:nvSpPr>
            <p:cNvPr id="1435" name="Google Shape;1435;p48"/>
            <p:cNvSpPr/>
            <p:nvPr/>
          </p:nvSpPr>
          <p:spPr>
            <a:xfrm>
              <a:off x="403175" y="3947200"/>
              <a:ext cx="952350" cy="916050"/>
            </a:xfrm>
            <a:custGeom>
              <a:avLst/>
              <a:gdLst/>
              <a:ahLst/>
              <a:cxnLst/>
              <a:rect l="l" t="t" r="r" b="b"/>
              <a:pathLst>
                <a:path w="38094" h="36642" extrusionOk="0">
                  <a:moveTo>
                    <a:pt x="19772" y="767"/>
                  </a:moveTo>
                  <a:cubicBezTo>
                    <a:pt x="29462" y="779"/>
                    <a:pt x="37312" y="8629"/>
                    <a:pt x="37325" y="18320"/>
                  </a:cubicBezTo>
                  <a:cubicBezTo>
                    <a:pt x="37325" y="25426"/>
                    <a:pt x="33040" y="31828"/>
                    <a:pt x="26488" y="34537"/>
                  </a:cubicBezTo>
                  <a:cubicBezTo>
                    <a:pt x="24312" y="35439"/>
                    <a:pt x="22029" y="35877"/>
                    <a:pt x="19765" y="35877"/>
                  </a:cubicBezTo>
                  <a:cubicBezTo>
                    <a:pt x="15198" y="35877"/>
                    <a:pt x="10713" y="34093"/>
                    <a:pt x="7360" y="30731"/>
                  </a:cubicBezTo>
                  <a:cubicBezTo>
                    <a:pt x="2332" y="25716"/>
                    <a:pt x="833" y="18168"/>
                    <a:pt x="3554" y="11603"/>
                  </a:cubicBezTo>
                  <a:cubicBezTo>
                    <a:pt x="6263" y="5051"/>
                    <a:pt x="12665" y="767"/>
                    <a:pt x="19772" y="767"/>
                  </a:cubicBezTo>
                  <a:close/>
                  <a:moveTo>
                    <a:pt x="19767" y="1"/>
                  </a:moveTo>
                  <a:cubicBezTo>
                    <a:pt x="15000" y="1"/>
                    <a:pt x="10315" y="1861"/>
                    <a:pt x="6818" y="5366"/>
                  </a:cubicBezTo>
                  <a:cubicBezTo>
                    <a:pt x="1576" y="10608"/>
                    <a:pt x="1" y="18483"/>
                    <a:pt x="2836" y="25338"/>
                  </a:cubicBezTo>
                  <a:cubicBezTo>
                    <a:pt x="5671" y="32181"/>
                    <a:pt x="12362" y="36641"/>
                    <a:pt x="19772" y="36641"/>
                  </a:cubicBezTo>
                  <a:cubicBezTo>
                    <a:pt x="29878" y="36629"/>
                    <a:pt x="38081" y="28438"/>
                    <a:pt x="38093" y="18320"/>
                  </a:cubicBezTo>
                  <a:cubicBezTo>
                    <a:pt x="38081" y="10910"/>
                    <a:pt x="33620" y="4232"/>
                    <a:pt x="26778" y="1397"/>
                  </a:cubicBezTo>
                  <a:cubicBezTo>
                    <a:pt x="24511" y="457"/>
                    <a:pt x="22129" y="1"/>
                    <a:pt x="19767"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48"/>
            <p:cNvSpPr/>
            <p:nvPr/>
          </p:nvSpPr>
          <p:spPr>
            <a:xfrm>
              <a:off x="883275" y="4935050"/>
              <a:ext cx="28700" cy="28675"/>
            </a:xfrm>
            <a:custGeom>
              <a:avLst/>
              <a:gdLst/>
              <a:ahLst/>
              <a:cxnLst/>
              <a:rect l="l" t="t" r="r" b="b"/>
              <a:pathLst>
                <a:path w="1148" h="1147" extrusionOk="0">
                  <a:moveTo>
                    <a:pt x="580" y="0"/>
                  </a:moveTo>
                  <a:cubicBezTo>
                    <a:pt x="253" y="0"/>
                    <a:pt x="1" y="265"/>
                    <a:pt x="1" y="580"/>
                  </a:cubicBezTo>
                  <a:cubicBezTo>
                    <a:pt x="1" y="895"/>
                    <a:pt x="253" y="1147"/>
                    <a:pt x="580" y="1147"/>
                  </a:cubicBezTo>
                  <a:cubicBezTo>
                    <a:pt x="895" y="1147"/>
                    <a:pt x="1147" y="895"/>
                    <a:pt x="1147" y="580"/>
                  </a:cubicBezTo>
                  <a:cubicBezTo>
                    <a:pt x="1147" y="265"/>
                    <a:pt x="895" y="0"/>
                    <a:pt x="5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48"/>
            <p:cNvSpPr/>
            <p:nvPr/>
          </p:nvSpPr>
          <p:spPr>
            <a:xfrm>
              <a:off x="1018725" y="4917600"/>
              <a:ext cx="31850" cy="28800"/>
            </a:xfrm>
            <a:custGeom>
              <a:avLst/>
              <a:gdLst/>
              <a:ahLst/>
              <a:cxnLst/>
              <a:rect l="l" t="t" r="r" b="b"/>
              <a:pathLst>
                <a:path w="1274" h="1152" extrusionOk="0">
                  <a:moveTo>
                    <a:pt x="638" y="0"/>
                  </a:moveTo>
                  <a:cubicBezTo>
                    <a:pt x="590" y="0"/>
                    <a:pt x="541" y="6"/>
                    <a:pt x="492" y="18"/>
                  </a:cubicBezTo>
                  <a:cubicBezTo>
                    <a:pt x="190" y="93"/>
                    <a:pt x="1" y="421"/>
                    <a:pt x="89" y="723"/>
                  </a:cubicBezTo>
                  <a:cubicBezTo>
                    <a:pt x="152" y="975"/>
                    <a:pt x="379" y="1152"/>
                    <a:pt x="644" y="1152"/>
                  </a:cubicBezTo>
                  <a:cubicBezTo>
                    <a:pt x="694" y="1152"/>
                    <a:pt x="732" y="1152"/>
                    <a:pt x="782" y="1139"/>
                  </a:cubicBezTo>
                  <a:cubicBezTo>
                    <a:pt x="1085" y="1051"/>
                    <a:pt x="1274" y="736"/>
                    <a:pt x="1198" y="434"/>
                  </a:cubicBezTo>
                  <a:cubicBezTo>
                    <a:pt x="1134" y="168"/>
                    <a:pt x="900" y="0"/>
                    <a:pt x="63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48"/>
            <p:cNvSpPr/>
            <p:nvPr/>
          </p:nvSpPr>
          <p:spPr>
            <a:xfrm>
              <a:off x="711600" y="4907975"/>
              <a:ext cx="32475" cy="28975"/>
            </a:xfrm>
            <a:custGeom>
              <a:avLst/>
              <a:gdLst/>
              <a:ahLst/>
              <a:cxnLst/>
              <a:rect l="l" t="t" r="r" b="b"/>
              <a:pathLst>
                <a:path w="1299" h="1159" extrusionOk="0">
                  <a:moveTo>
                    <a:pt x="665" y="1"/>
                  </a:moveTo>
                  <a:cubicBezTo>
                    <a:pt x="417" y="1"/>
                    <a:pt x="183" y="156"/>
                    <a:pt x="101" y="403"/>
                  </a:cubicBezTo>
                  <a:cubicBezTo>
                    <a:pt x="0" y="705"/>
                    <a:pt x="164" y="1033"/>
                    <a:pt x="466" y="1134"/>
                  </a:cubicBezTo>
                  <a:cubicBezTo>
                    <a:pt x="529" y="1146"/>
                    <a:pt x="592" y="1159"/>
                    <a:pt x="643" y="1159"/>
                  </a:cubicBezTo>
                  <a:cubicBezTo>
                    <a:pt x="895" y="1159"/>
                    <a:pt x="1109" y="995"/>
                    <a:pt x="1197" y="756"/>
                  </a:cubicBezTo>
                  <a:cubicBezTo>
                    <a:pt x="1298" y="453"/>
                    <a:pt x="1134" y="126"/>
                    <a:pt x="832" y="25"/>
                  </a:cubicBezTo>
                  <a:cubicBezTo>
                    <a:pt x="777" y="9"/>
                    <a:pt x="721" y="1"/>
                    <a:pt x="665"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48"/>
            <p:cNvSpPr/>
            <p:nvPr/>
          </p:nvSpPr>
          <p:spPr>
            <a:xfrm>
              <a:off x="1175625" y="4848450"/>
              <a:ext cx="32775" cy="28650"/>
            </a:xfrm>
            <a:custGeom>
              <a:avLst/>
              <a:gdLst/>
              <a:ahLst/>
              <a:cxnLst/>
              <a:rect l="l" t="t" r="r" b="b"/>
              <a:pathLst>
                <a:path w="1311" h="1146" extrusionOk="0">
                  <a:moveTo>
                    <a:pt x="657" y="1"/>
                  </a:moveTo>
                  <a:cubicBezTo>
                    <a:pt x="552" y="1"/>
                    <a:pt x="447" y="29"/>
                    <a:pt x="353" y="87"/>
                  </a:cubicBezTo>
                  <a:cubicBezTo>
                    <a:pt x="76" y="264"/>
                    <a:pt x="0" y="616"/>
                    <a:pt x="177" y="881"/>
                  </a:cubicBezTo>
                  <a:cubicBezTo>
                    <a:pt x="290" y="1045"/>
                    <a:pt x="466" y="1146"/>
                    <a:pt x="655" y="1146"/>
                  </a:cubicBezTo>
                  <a:cubicBezTo>
                    <a:pt x="769" y="1146"/>
                    <a:pt x="882" y="1120"/>
                    <a:pt x="970" y="1057"/>
                  </a:cubicBezTo>
                  <a:cubicBezTo>
                    <a:pt x="1235" y="881"/>
                    <a:pt x="1311" y="528"/>
                    <a:pt x="1147" y="264"/>
                  </a:cubicBezTo>
                  <a:cubicBezTo>
                    <a:pt x="1033" y="93"/>
                    <a:pt x="846" y="1"/>
                    <a:pt x="657"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48"/>
            <p:cNvSpPr/>
            <p:nvPr/>
          </p:nvSpPr>
          <p:spPr>
            <a:xfrm>
              <a:off x="558800" y="4828875"/>
              <a:ext cx="32475" cy="29000"/>
            </a:xfrm>
            <a:custGeom>
              <a:avLst/>
              <a:gdLst/>
              <a:ahLst/>
              <a:cxnLst/>
              <a:rect l="l" t="t" r="r" b="b"/>
              <a:pathLst>
                <a:path w="1299" h="1160" extrusionOk="0">
                  <a:moveTo>
                    <a:pt x="646" y="1"/>
                  </a:moveTo>
                  <a:cubicBezTo>
                    <a:pt x="468" y="1"/>
                    <a:pt x="295" y="82"/>
                    <a:pt x="190" y="240"/>
                  </a:cubicBezTo>
                  <a:cubicBezTo>
                    <a:pt x="1" y="492"/>
                    <a:pt x="51" y="858"/>
                    <a:pt x="303" y="1047"/>
                  </a:cubicBezTo>
                  <a:cubicBezTo>
                    <a:pt x="404" y="1122"/>
                    <a:pt x="530" y="1160"/>
                    <a:pt x="643" y="1160"/>
                  </a:cubicBezTo>
                  <a:cubicBezTo>
                    <a:pt x="832" y="1160"/>
                    <a:pt x="996" y="1072"/>
                    <a:pt x="1110" y="921"/>
                  </a:cubicBezTo>
                  <a:cubicBezTo>
                    <a:pt x="1299" y="669"/>
                    <a:pt x="1248" y="303"/>
                    <a:pt x="996" y="114"/>
                  </a:cubicBezTo>
                  <a:cubicBezTo>
                    <a:pt x="889" y="38"/>
                    <a:pt x="766" y="1"/>
                    <a:pt x="64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48"/>
            <p:cNvSpPr/>
            <p:nvPr/>
          </p:nvSpPr>
          <p:spPr>
            <a:xfrm>
              <a:off x="1303825" y="4733350"/>
              <a:ext cx="32475" cy="28775"/>
            </a:xfrm>
            <a:custGeom>
              <a:avLst/>
              <a:gdLst/>
              <a:ahLst/>
              <a:cxnLst/>
              <a:rect l="l" t="t" r="r" b="b"/>
              <a:pathLst>
                <a:path w="1299" h="1151" extrusionOk="0">
                  <a:moveTo>
                    <a:pt x="655" y="0"/>
                  </a:moveTo>
                  <a:cubicBezTo>
                    <a:pt x="485" y="0"/>
                    <a:pt x="317" y="74"/>
                    <a:pt x="202" y="218"/>
                  </a:cubicBezTo>
                  <a:cubicBezTo>
                    <a:pt x="1" y="457"/>
                    <a:pt x="51" y="823"/>
                    <a:pt x="291" y="1024"/>
                  </a:cubicBezTo>
                  <a:cubicBezTo>
                    <a:pt x="391" y="1113"/>
                    <a:pt x="517" y="1150"/>
                    <a:pt x="656" y="1150"/>
                  </a:cubicBezTo>
                  <a:cubicBezTo>
                    <a:pt x="832" y="1150"/>
                    <a:pt x="996" y="1075"/>
                    <a:pt x="1097" y="949"/>
                  </a:cubicBezTo>
                  <a:cubicBezTo>
                    <a:pt x="1299" y="697"/>
                    <a:pt x="1261" y="331"/>
                    <a:pt x="1021" y="130"/>
                  </a:cubicBezTo>
                  <a:cubicBezTo>
                    <a:pt x="913" y="43"/>
                    <a:pt x="783" y="0"/>
                    <a:pt x="655"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48"/>
            <p:cNvSpPr/>
            <p:nvPr/>
          </p:nvSpPr>
          <p:spPr>
            <a:xfrm>
              <a:off x="438150" y="4706450"/>
              <a:ext cx="32475" cy="28900"/>
            </a:xfrm>
            <a:custGeom>
              <a:avLst/>
              <a:gdLst/>
              <a:ahLst/>
              <a:cxnLst/>
              <a:rect l="l" t="t" r="r" b="b"/>
              <a:pathLst>
                <a:path w="1299" h="1156" extrusionOk="0">
                  <a:moveTo>
                    <a:pt x="644" y="0"/>
                  </a:moveTo>
                  <a:cubicBezTo>
                    <a:pt x="530" y="0"/>
                    <a:pt x="414" y="36"/>
                    <a:pt x="316" y="109"/>
                  </a:cubicBezTo>
                  <a:cubicBezTo>
                    <a:pt x="51" y="286"/>
                    <a:pt x="1" y="651"/>
                    <a:pt x="177" y="916"/>
                  </a:cubicBezTo>
                  <a:cubicBezTo>
                    <a:pt x="290" y="1067"/>
                    <a:pt x="467" y="1155"/>
                    <a:pt x="643" y="1155"/>
                  </a:cubicBezTo>
                  <a:cubicBezTo>
                    <a:pt x="769" y="1155"/>
                    <a:pt x="883" y="1117"/>
                    <a:pt x="983" y="1042"/>
                  </a:cubicBezTo>
                  <a:cubicBezTo>
                    <a:pt x="1235" y="865"/>
                    <a:pt x="1298" y="500"/>
                    <a:pt x="1109" y="248"/>
                  </a:cubicBezTo>
                  <a:cubicBezTo>
                    <a:pt x="1002" y="87"/>
                    <a:pt x="824" y="0"/>
                    <a:pt x="64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48"/>
            <p:cNvSpPr/>
            <p:nvPr/>
          </p:nvSpPr>
          <p:spPr>
            <a:xfrm>
              <a:off x="1390150" y="4584700"/>
              <a:ext cx="32775" cy="28725"/>
            </a:xfrm>
            <a:custGeom>
              <a:avLst/>
              <a:gdLst/>
              <a:ahLst/>
              <a:cxnLst/>
              <a:rect l="l" t="t" r="r" b="b"/>
              <a:pathLst>
                <a:path w="1311" h="1149" extrusionOk="0">
                  <a:moveTo>
                    <a:pt x="643" y="1"/>
                  </a:moveTo>
                  <a:cubicBezTo>
                    <a:pt x="413" y="1"/>
                    <a:pt x="201" y="136"/>
                    <a:pt x="114" y="367"/>
                  </a:cubicBezTo>
                  <a:cubicBezTo>
                    <a:pt x="0" y="670"/>
                    <a:pt x="139" y="998"/>
                    <a:pt x="441" y="1111"/>
                  </a:cubicBezTo>
                  <a:cubicBezTo>
                    <a:pt x="504" y="1136"/>
                    <a:pt x="580" y="1149"/>
                    <a:pt x="656" y="1149"/>
                  </a:cubicBezTo>
                  <a:cubicBezTo>
                    <a:pt x="895" y="1149"/>
                    <a:pt x="1109" y="1010"/>
                    <a:pt x="1197" y="783"/>
                  </a:cubicBezTo>
                  <a:cubicBezTo>
                    <a:pt x="1311" y="481"/>
                    <a:pt x="1160" y="153"/>
                    <a:pt x="857" y="40"/>
                  </a:cubicBezTo>
                  <a:cubicBezTo>
                    <a:pt x="786" y="13"/>
                    <a:pt x="714" y="1"/>
                    <a:pt x="64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48"/>
            <p:cNvSpPr/>
            <p:nvPr/>
          </p:nvSpPr>
          <p:spPr>
            <a:xfrm>
              <a:off x="361925" y="4552350"/>
              <a:ext cx="32150" cy="28950"/>
            </a:xfrm>
            <a:custGeom>
              <a:avLst/>
              <a:gdLst/>
              <a:ahLst/>
              <a:cxnLst/>
              <a:rect l="l" t="t" r="r" b="b"/>
              <a:pathLst>
                <a:path w="1286" h="1158" extrusionOk="0">
                  <a:moveTo>
                    <a:pt x="626" y="1"/>
                  </a:moveTo>
                  <a:cubicBezTo>
                    <a:pt x="573" y="1"/>
                    <a:pt x="519" y="8"/>
                    <a:pt x="466" y="23"/>
                  </a:cubicBezTo>
                  <a:cubicBezTo>
                    <a:pt x="164" y="124"/>
                    <a:pt x="0" y="452"/>
                    <a:pt x="88" y="754"/>
                  </a:cubicBezTo>
                  <a:cubicBezTo>
                    <a:pt x="164" y="994"/>
                    <a:pt x="391" y="1157"/>
                    <a:pt x="643" y="1157"/>
                  </a:cubicBezTo>
                  <a:cubicBezTo>
                    <a:pt x="693" y="1157"/>
                    <a:pt x="756" y="1145"/>
                    <a:pt x="807" y="1132"/>
                  </a:cubicBezTo>
                  <a:cubicBezTo>
                    <a:pt x="1109" y="1031"/>
                    <a:pt x="1285" y="716"/>
                    <a:pt x="1197" y="414"/>
                  </a:cubicBezTo>
                  <a:cubicBezTo>
                    <a:pt x="1114" y="164"/>
                    <a:pt x="876" y="1"/>
                    <a:pt x="626"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48"/>
            <p:cNvSpPr/>
            <p:nvPr/>
          </p:nvSpPr>
          <p:spPr>
            <a:xfrm>
              <a:off x="1426700" y="4416200"/>
              <a:ext cx="29625" cy="29000"/>
            </a:xfrm>
            <a:custGeom>
              <a:avLst/>
              <a:gdLst/>
              <a:ahLst/>
              <a:cxnLst/>
              <a:rect l="l" t="t" r="r" b="b"/>
              <a:pathLst>
                <a:path w="1185" h="1160" extrusionOk="0">
                  <a:moveTo>
                    <a:pt x="595" y="0"/>
                  </a:moveTo>
                  <a:cubicBezTo>
                    <a:pt x="289" y="0"/>
                    <a:pt x="25" y="248"/>
                    <a:pt x="13" y="555"/>
                  </a:cubicBezTo>
                  <a:cubicBezTo>
                    <a:pt x="0" y="870"/>
                    <a:pt x="240" y="1135"/>
                    <a:pt x="567" y="1160"/>
                  </a:cubicBezTo>
                  <a:lnTo>
                    <a:pt x="592" y="1160"/>
                  </a:lnTo>
                  <a:cubicBezTo>
                    <a:pt x="895" y="1160"/>
                    <a:pt x="1147" y="920"/>
                    <a:pt x="1159" y="605"/>
                  </a:cubicBezTo>
                  <a:cubicBezTo>
                    <a:pt x="1185" y="290"/>
                    <a:pt x="933" y="26"/>
                    <a:pt x="618" y="1"/>
                  </a:cubicBezTo>
                  <a:cubicBezTo>
                    <a:pt x="610" y="0"/>
                    <a:pt x="602" y="0"/>
                    <a:pt x="595"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48"/>
            <p:cNvSpPr/>
            <p:nvPr/>
          </p:nvSpPr>
          <p:spPr>
            <a:xfrm>
              <a:off x="338925" y="4382175"/>
              <a:ext cx="29000" cy="29000"/>
            </a:xfrm>
            <a:custGeom>
              <a:avLst/>
              <a:gdLst/>
              <a:ahLst/>
              <a:cxnLst/>
              <a:rect l="l" t="t" r="r" b="b"/>
              <a:pathLst>
                <a:path w="1160" h="1160" extrusionOk="0">
                  <a:moveTo>
                    <a:pt x="580" y="1"/>
                  </a:moveTo>
                  <a:cubicBezTo>
                    <a:pt x="265" y="1"/>
                    <a:pt x="0" y="253"/>
                    <a:pt x="0" y="568"/>
                  </a:cubicBezTo>
                  <a:cubicBezTo>
                    <a:pt x="0" y="883"/>
                    <a:pt x="252" y="1147"/>
                    <a:pt x="567" y="1160"/>
                  </a:cubicBezTo>
                  <a:lnTo>
                    <a:pt x="580" y="1160"/>
                  </a:lnTo>
                  <a:cubicBezTo>
                    <a:pt x="895" y="1160"/>
                    <a:pt x="1147" y="895"/>
                    <a:pt x="1147" y="580"/>
                  </a:cubicBezTo>
                  <a:cubicBezTo>
                    <a:pt x="1160" y="265"/>
                    <a:pt x="895" y="1"/>
                    <a:pt x="580"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48"/>
            <p:cNvSpPr/>
            <p:nvPr/>
          </p:nvSpPr>
          <p:spPr>
            <a:xfrm>
              <a:off x="1406225" y="4245525"/>
              <a:ext cx="32150" cy="28625"/>
            </a:xfrm>
            <a:custGeom>
              <a:avLst/>
              <a:gdLst/>
              <a:ahLst/>
              <a:cxnLst/>
              <a:rect l="l" t="t" r="r" b="b"/>
              <a:pathLst>
                <a:path w="1286" h="1145" extrusionOk="0">
                  <a:moveTo>
                    <a:pt x="650" y="0"/>
                  </a:moveTo>
                  <a:cubicBezTo>
                    <a:pt x="597" y="0"/>
                    <a:pt x="544" y="8"/>
                    <a:pt x="491" y="23"/>
                  </a:cubicBezTo>
                  <a:cubicBezTo>
                    <a:pt x="189" y="99"/>
                    <a:pt x="0" y="414"/>
                    <a:pt x="88" y="729"/>
                  </a:cubicBezTo>
                  <a:cubicBezTo>
                    <a:pt x="151" y="968"/>
                    <a:pt x="378" y="1145"/>
                    <a:pt x="643" y="1145"/>
                  </a:cubicBezTo>
                  <a:cubicBezTo>
                    <a:pt x="693" y="1145"/>
                    <a:pt x="743" y="1145"/>
                    <a:pt x="794" y="1132"/>
                  </a:cubicBezTo>
                  <a:cubicBezTo>
                    <a:pt x="1109" y="1044"/>
                    <a:pt x="1285" y="716"/>
                    <a:pt x="1197" y="414"/>
                  </a:cubicBezTo>
                  <a:cubicBezTo>
                    <a:pt x="1124" y="164"/>
                    <a:pt x="897" y="0"/>
                    <a:pt x="65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48"/>
            <p:cNvSpPr/>
            <p:nvPr/>
          </p:nvSpPr>
          <p:spPr>
            <a:xfrm>
              <a:off x="366950" y="4212875"/>
              <a:ext cx="32175" cy="28825"/>
            </a:xfrm>
            <a:custGeom>
              <a:avLst/>
              <a:gdLst/>
              <a:ahLst/>
              <a:cxnLst/>
              <a:rect l="l" t="t" r="r" b="b"/>
              <a:pathLst>
                <a:path w="1287" h="1153" extrusionOk="0">
                  <a:moveTo>
                    <a:pt x="642" y="0"/>
                  </a:moveTo>
                  <a:cubicBezTo>
                    <a:pt x="403" y="0"/>
                    <a:pt x="181" y="145"/>
                    <a:pt x="102" y="384"/>
                  </a:cubicBezTo>
                  <a:cubicBezTo>
                    <a:pt x="1" y="686"/>
                    <a:pt x="152" y="1014"/>
                    <a:pt x="454" y="1115"/>
                  </a:cubicBezTo>
                  <a:cubicBezTo>
                    <a:pt x="517" y="1140"/>
                    <a:pt x="580" y="1153"/>
                    <a:pt x="643" y="1153"/>
                  </a:cubicBezTo>
                  <a:cubicBezTo>
                    <a:pt x="895" y="1153"/>
                    <a:pt x="1110" y="989"/>
                    <a:pt x="1185" y="762"/>
                  </a:cubicBezTo>
                  <a:cubicBezTo>
                    <a:pt x="1286" y="460"/>
                    <a:pt x="1135" y="132"/>
                    <a:pt x="832" y="31"/>
                  </a:cubicBezTo>
                  <a:cubicBezTo>
                    <a:pt x="769" y="10"/>
                    <a:pt x="705" y="0"/>
                    <a:pt x="642"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48"/>
            <p:cNvSpPr/>
            <p:nvPr/>
          </p:nvSpPr>
          <p:spPr>
            <a:xfrm>
              <a:off x="1334075" y="4089025"/>
              <a:ext cx="32775" cy="28875"/>
            </a:xfrm>
            <a:custGeom>
              <a:avLst/>
              <a:gdLst/>
              <a:ahLst/>
              <a:cxnLst/>
              <a:rect l="l" t="t" r="r" b="b"/>
              <a:pathLst>
                <a:path w="1311" h="1155" extrusionOk="0">
                  <a:moveTo>
                    <a:pt x="654" y="1"/>
                  </a:moveTo>
                  <a:cubicBezTo>
                    <a:pt x="547" y="1"/>
                    <a:pt x="438" y="31"/>
                    <a:pt x="341" y="96"/>
                  </a:cubicBezTo>
                  <a:cubicBezTo>
                    <a:pt x="76" y="273"/>
                    <a:pt x="0" y="638"/>
                    <a:pt x="189" y="903"/>
                  </a:cubicBezTo>
                  <a:cubicBezTo>
                    <a:pt x="290" y="1054"/>
                    <a:pt x="467" y="1155"/>
                    <a:pt x="668" y="1155"/>
                  </a:cubicBezTo>
                  <a:cubicBezTo>
                    <a:pt x="782" y="1155"/>
                    <a:pt x="883" y="1117"/>
                    <a:pt x="983" y="1054"/>
                  </a:cubicBezTo>
                  <a:cubicBezTo>
                    <a:pt x="1248" y="877"/>
                    <a:pt x="1311" y="525"/>
                    <a:pt x="1135" y="260"/>
                  </a:cubicBezTo>
                  <a:cubicBezTo>
                    <a:pt x="1023" y="92"/>
                    <a:pt x="840" y="1"/>
                    <a:pt x="654"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48"/>
            <p:cNvSpPr/>
            <p:nvPr/>
          </p:nvSpPr>
          <p:spPr>
            <a:xfrm>
              <a:off x="448225" y="4061375"/>
              <a:ext cx="32475" cy="28800"/>
            </a:xfrm>
            <a:custGeom>
              <a:avLst/>
              <a:gdLst/>
              <a:ahLst/>
              <a:cxnLst/>
              <a:rect l="l" t="t" r="r" b="b"/>
              <a:pathLst>
                <a:path w="1299" h="1152" extrusionOk="0">
                  <a:moveTo>
                    <a:pt x="643" y="0"/>
                  </a:moveTo>
                  <a:cubicBezTo>
                    <a:pt x="470" y="0"/>
                    <a:pt x="300" y="77"/>
                    <a:pt x="190" y="232"/>
                  </a:cubicBezTo>
                  <a:cubicBezTo>
                    <a:pt x="1" y="471"/>
                    <a:pt x="51" y="837"/>
                    <a:pt x="303" y="1026"/>
                  </a:cubicBezTo>
                  <a:cubicBezTo>
                    <a:pt x="404" y="1114"/>
                    <a:pt x="530" y="1152"/>
                    <a:pt x="656" y="1152"/>
                  </a:cubicBezTo>
                  <a:cubicBezTo>
                    <a:pt x="832" y="1152"/>
                    <a:pt x="996" y="1063"/>
                    <a:pt x="1110" y="925"/>
                  </a:cubicBezTo>
                  <a:cubicBezTo>
                    <a:pt x="1299" y="673"/>
                    <a:pt x="1248" y="307"/>
                    <a:pt x="996" y="118"/>
                  </a:cubicBezTo>
                  <a:cubicBezTo>
                    <a:pt x="891" y="40"/>
                    <a:pt x="767" y="0"/>
                    <a:pt x="643"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48"/>
            <p:cNvSpPr/>
            <p:nvPr/>
          </p:nvSpPr>
          <p:spPr>
            <a:xfrm>
              <a:off x="1217525" y="3962800"/>
              <a:ext cx="32475" cy="28775"/>
            </a:xfrm>
            <a:custGeom>
              <a:avLst/>
              <a:gdLst/>
              <a:ahLst/>
              <a:cxnLst/>
              <a:rect l="l" t="t" r="r" b="b"/>
              <a:pathLst>
                <a:path w="1299" h="1151" extrusionOk="0">
                  <a:moveTo>
                    <a:pt x="642" y="1"/>
                  </a:moveTo>
                  <a:cubicBezTo>
                    <a:pt x="474" y="1"/>
                    <a:pt x="309" y="75"/>
                    <a:pt x="202" y="218"/>
                  </a:cubicBezTo>
                  <a:cubicBezTo>
                    <a:pt x="0" y="470"/>
                    <a:pt x="51" y="836"/>
                    <a:pt x="290" y="1037"/>
                  </a:cubicBezTo>
                  <a:cubicBezTo>
                    <a:pt x="391" y="1113"/>
                    <a:pt x="517" y="1151"/>
                    <a:pt x="655" y="1151"/>
                  </a:cubicBezTo>
                  <a:cubicBezTo>
                    <a:pt x="832" y="1151"/>
                    <a:pt x="996" y="1075"/>
                    <a:pt x="1109" y="936"/>
                  </a:cubicBezTo>
                  <a:cubicBezTo>
                    <a:pt x="1298" y="684"/>
                    <a:pt x="1260" y="319"/>
                    <a:pt x="1008" y="130"/>
                  </a:cubicBezTo>
                  <a:cubicBezTo>
                    <a:pt x="900" y="43"/>
                    <a:pt x="770" y="1"/>
                    <a:pt x="64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48"/>
            <p:cNvSpPr/>
            <p:nvPr/>
          </p:nvSpPr>
          <p:spPr>
            <a:xfrm>
              <a:off x="572350" y="3942525"/>
              <a:ext cx="33100" cy="28900"/>
            </a:xfrm>
            <a:custGeom>
              <a:avLst/>
              <a:gdLst/>
              <a:ahLst/>
              <a:cxnLst/>
              <a:rect l="l" t="t" r="r" b="b"/>
              <a:pathLst>
                <a:path w="1324" h="1156" extrusionOk="0">
                  <a:moveTo>
                    <a:pt x="679" y="0"/>
                  </a:moveTo>
                  <a:cubicBezTo>
                    <a:pt x="563" y="0"/>
                    <a:pt x="444" y="36"/>
                    <a:pt x="341" y="109"/>
                  </a:cubicBezTo>
                  <a:cubicBezTo>
                    <a:pt x="76" y="286"/>
                    <a:pt x="1" y="639"/>
                    <a:pt x="190" y="903"/>
                  </a:cubicBezTo>
                  <a:cubicBezTo>
                    <a:pt x="303" y="1067"/>
                    <a:pt x="479" y="1155"/>
                    <a:pt x="668" y="1155"/>
                  </a:cubicBezTo>
                  <a:cubicBezTo>
                    <a:pt x="782" y="1155"/>
                    <a:pt x="895" y="1117"/>
                    <a:pt x="996" y="1054"/>
                  </a:cubicBezTo>
                  <a:cubicBezTo>
                    <a:pt x="1261" y="878"/>
                    <a:pt x="1324" y="513"/>
                    <a:pt x="1147" y="248"/>
                  </a:cubicBezTo>
                  <a:cubicBezTo>
                    <a:pt x="1040" y="87"/>
                    <a:pt x="862" y="0"/>
                    <a:pt x="679"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453;p48"/>
            <p:cNvSpPr/>
            <p:nvPr/>
          </p:nvSpPr>
          <p:spPr>
            <a:xfrm>
              <a:off x="1067250" y="3879100"/>
              <a:ext cx="32475" cy="28675"/>
            </a:xfrm>
            <a:custGeom>
              <a:avLst/>
              <a:gdLst/>
              <a:ahLst/>
              <a:cxnLst/>
              <a:rect l="l" t="t" r="r" b="b"/>
              <a:pathLst>
                <a:path w="1299" h="1147" extrusionOk="0">
                  <a:moveTo>
                    <a:pt x="646" y="0"/>
                  </a:moveTo>
                  <a:cubicBezTo>
                    <a:pt x="418" y="0"/>
                    <a:pt x="202" y="144"/>
                    <a:pt x="114" y="378"/>
                  </a:cubicBezTo>
                  <a:cubicBezTo>
                    <a:pt x="1" y="681"/>
                    <a:pt x="152" y="1008"/>
                    <a:pt x="454" y="1122"/>
                  </a:cubicBezTo>
                  <a:cubicBezTo>
                    <a:pt x="517" y="1134"/>
                    <a:pt x="580" y="1147"/>
                    <a:pt x="656" y="1147"/>
                  </a:cubicBezTo>
                  <a:cubicBezTo>
                    <a:pt x="895" y="1147"/>
                    <a:pt x="1109" y="996"/>
                    <a:pt x="1198" y="769"/>
                  </a:cubicBezTo>
                  <a:cubicBezTo>
                    <a:pt x="1298" y="479"/>
                    <a:pt x="1147" y="139"/>
                    <a:pt x="845" y="38"/>
                  </a:cubicBezTo>
                  <a:cubicBezTo>
                    <a:pt x="780" y="12"/>
                    <a:pt x="712" y="0"/>
                    <a:pt x="646"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454;p48"/>
            <p:cNvSpPr/>
            <p:nvPr/>
          </p:nvSpPr>
          <p:spPr>
            <a:xfrm>
              <a:off x="727975" y="3868450"/>
              <a:ext cx="32150" cy="28625"/>
            </a:xfrm>
            <a:custGeom>
              <a:avLst/>
              <a:gdLst/>
              <a:ahLst/>
              <a:cxnLst/>
              <a:rect l="l" t="t" r="r" b="b"/>
              <a:pathLst>
                <a:path w="1286" h="1145" extrusionOk="0">
                  <a:moveTo>
                    <a:pt x="650" y="0"/>
                  </a:moveTo>
                  <a:cubicBezTo>
                    <a:pt x="598" y="0"/>
                    <a:pt x="545" y="7"/>
                    <a:pt x="492" y="23"/>
                  </a:cubicBezTo>
                  <a:cubicBezTo>
                    <a:pt x="177" y="111"/>
                    <a:pt x="0" y="426"/>
                    <a:pt x="101" y="741"/>
                  </a:cubicBezTo>
                  <a:cubicBezTo>
                    <a:pt x="162" y="972"/>
                    <a:pt x="376" y="1145"/>
                    <a:pt x="629" y="1145"/>
                  </a:cubicBezTo>
                  <a:cubicBezTo>
                    <a:pt x="638" y="1145"/>
                    <a:pt x="647" y="1145"/>
                    <a:pt x="656" y="1144"/>
                  </a:cubicBezTo>
                  <a:cubicBezTo>
                    <a:pt x="706" y="1144"/>
                    <a:pt x="756" y="1144"/>
                    <a:pt x="807" y="1132"/>
                  </a:cubicBezTo>
                  <a:cubicBezTo>
                    <a:pt x="1122" y="1044"/>
                    <a:pt x="1286" y="716"/>
                    <a:pt x="1197" y="414"/>
                  </a:cubicBezTo>
                  <a:cubicBezTo>
                    <a:pt x="1125" y="164"/>
                    <a:pt x="897" y="0"/>
                    <a:pt x="65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455;p48"/>
            <p:cNvSpPr/>
            <p:nvPr/>
          </p:nvSpPr>
          <p:spPr>
            <a:xfrm>
              <a:off x="899975" y="3846625"/>
              <a:ext cx="29325" cy="28700"/>
            </a:xfrm>
            <a:custGeom>
              <a:avLst/>
              <a:gdLst/>
              <a:ahLst/>
              <a:cxnLst/>
              <a:rect l="l" t="t" r="r" b="b"/>
              <a:pathLst>
                <a:path w="1173" h="1148" extrusionOk="0">
                  <a:moveTo>
                    <a:pt x="583" y="1"/>
                  </a:moveTo>
                  <a:cubicBezTo>
                    <a:pt x="278" y="1"/>
                    <a:pt x="25" y="248"/>
                    <a:pt x="13" y="556"/>
                  </a:cubicBezTo>
                  <a:cubicBezTo>
                    <a:pt x="0" y="871"/>
                    <a:pt x="252" y="1148"/>
                    <a:pt x="567" y="1148"/>
                  </a:cubicBezTo>
                  <a:lnTo>
                    <a:pt x="593" y="1148"/>
                  </a:lnTo>
                  <a:cubicBezTo>
                    <a:pt x="895" y="1148"/>
                    <a:pt x="1147" y="908"/>
                    <a:pt x="1160" y="593"/>
                  </a:cubicBezTo>
                  <a:cubicBezTo>
                    <a:pt x="1172" y="278"/>
                    <a:pt x="920" y="14"/>
                    <a:pt x="605" y="1"/>
                  </a:cubicBezTo>
                  <a:cubicBezTo>
                    <a:pt x="598" y="1"/>
                    <a:pt x="590" y="1"/>
                    <a:pt x="583"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456;p48"/>
            <p:cNvSpPr/>
            <p:nvPr/>
          </p:nvSpPr>
          <p:spPr>
            <a:xfrm>
              <a:off x="880750" y="5030800"/>
              <a:ext cx="33750" cy="33750"/>
            </a:xfrm>
            <a:custGeom>
              <a:avLst/>
              <a:gdLst/>
              <a:ahLst/>
              <a:cxnLst/>
              <a:rect l="l" t="t" r="r" b="b"/>
              <a:pathLst>
                <a:path w="1350" h="1350" extrusionOk="0">
                  <a:moveTo>
                    <a:pt x="681" y="1"/>
                  </a:moveTo>
                  <a:cubicBezTo>
                    <a:pt x="303" y="1"/>
                    <a:pt x="1" y="303"/>
                    <a:pt x="1" y="681"/>
                  </a:cubicBezTo>
                  <a:cubicBezTo>
                    <a:pt x="1" y="1047"/>
                    <a:pt x="303" y="1349"/>
                    <a:pt x="681" y="1349"/>
                  </a:cubicBezTo>
                  <a:cubicBezTo>
                    <a:pt x="688" y="1349"/>
                    <a:pt x="695" y="1350"/>
                    <a:pt x="702" y="1350"/>
                  </a:cubicBezTo>
                  <a:cubicBezTo>
                    <a:pt x="1058" y="1350"/>
                    <a:pt x="1349" y="1040"/>
                    <a:pt x="1349" y="681"/>
                  </a:cubicBezTo>
                  <a:cubicBezTo>
                    <a:pt x="1349" y="303"/>
                    <a:pt x="1047" y="1"/>
                    <a:pt x="68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457;p48"/>
            <p:cNvSpPr/>
            <p:nvPr/>
          </p:nvSpPr>
          <p:spPr>
            <a:xfrm>
              <a:off x="1040800" y="5010050"/>
              <a:ext cx="37500" cy="34025"/>
            </a:xfrm>
            <a:custGeom>
              <a:avLst/>
              <a:gdLst/>
              <a:ahLst/>
              <a:cxnLst/>
              <a:rect l="l" t="t" r="r" b="b"/>
              <a:pathLst>
                <a:path w="1500" h="1361" extrusionOk="0">
                  <a:moveTo>
                    <a:pt x="755" y="0"/>
                  </a:moveTo>
                  <a:cubicBezTo>
                    <a:pt x="698" y="0"/>
                    <a:pt x="639" y="8"/>
                    <a:pt x="580" y="24"/>
                  </a:cubicBezTo>
                  <a:cubicBezTo>
                    <a:pt x="214" y="125"/>
                    <a:pt x="0" y="491"/>
                    <a:pt x="88" y="856"/>
                  </a:cubicBezTo>
                  <a:cubicBezTo>
                    <a:pt x="176" y="1159"/>
                    <a:pt x="441" y="1360"/>
                    <a:pt x="756" y="1360"/>
                  </a:cubicBezTo>
                  <a:cubicBezTo>
                    <a:pt x="806" y="1360"/>
                    <a:pt x="869" y="1360"/>
                    <a:pt x="920" y="1335"/>
                  </a:cubicBezTo>
                  <a:cubicBezTo>
                    <a:pt x="1285" y="1247"/>
                    <a:pt x="1500" y="869"/>
                    <a:pt x="1411" y="516"/>
                  </a:cubicBezTo>
                  <a:cubicBezTo>
                    <a:pt x="1327" y="209"/>
                    <a:pt x="1056" y="0"/>
                    <a:pt x="75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458;p48"/>
            <p:cNvSpPr/>
            <p:nvPr/>
          </p:nvSpPr>
          <p:spPr>
            <a:xfrm>
              <a:off x="677875" y="4998800"/>
              <a:ext cx="38475" cy="34250"/>
            </a:xfrm>
            <a:custGeom>
              <a:avLst/>
              <a:gdLst/>
              <a:ahLst/>
              <a:cxnLst/>
              <a:rect l="l" t="t" r="r" b="b"/>
              <a:pathLst>
                <a:path w="1539" h="1370" extrusionOk="0">
                  <a:moveTo>
                    <a:pt x="774" y="1"/>
                  </a:moveTo>
                  <a:cubicBezTo>
                    <a:pt x="488" y="1"/>
                    <a:pt x="218" y="178"/>
                    <a:pt x="127" y="462"/>
                  </a:cubicBezTo>
                  <a:cubicBezTo>
                    <a:pt x="1" y="827"/>
                    <a:pt x="202" y="1205"/>
                    <a:pt x="555" y="1331"/>
                  </a:cubicBezTo>
                  <a:cubicBezTo>
                    <a:pt x="631" y="1344"/>
                    <a:pt x="694" y="1356"/>
                    <a:pt x="769" y="1369"/>
                  </a:cubicBezTo>
                  <a:cubicBezTo>
                    <a:pt x="1072" y="1369"/>
                    <a:pt x="1324" y="1167"/>
                    <a:pt x="1412" y="890"/>
                  </a:cubicBezTo>
                  <a:cubicBezTo>
                    <a:pt x="1538" y="537"/>
                    <a:pt x="1337" y="147"/>
                    <a:pt x="984" y="33"/>
                  </a:cubicBezTo>
                  <a:cubicBezTo>
                    <a:pt x="914" y="11"/>
                    <a:pt x="844" y="1"/>
                    <a:pt x="77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459;p48"/>
            <p:cNvSpPr/>
            <p:nvPr/>
          </p:nvSpPr>
          <p:spPr>
            <a:xfrm>
              <a:off x="1226025" y="4928250"/>
              <a:ext cx="38775" cy="34225"/>
            </a:xfrm>
            <a:custGeom>
              <a:avLst/>
              <a:gdLst/>
              <a:ahLst/>
              <a:cxnLst/>
              <a:rect l="l" t="t" r="r" b="b"/>
              <a:pathLst>
                <a:path w="1551" h="1369" extrusionOk="0">
                  <a:moveTo>
                    <a:pt x="774" y="0"/>
                  </a:moveTo>
                  <a:cubicBezTo>
                    <a:pt x="647" y="0"/>
                    <a:pt x="518" y="35"/>
                    <a:pt x="404" y="108"/>
                  </a:cubicBezTo>
                  <a:cubicBezTo>
                    <a:pt x="89" y="310"/>
                    <a:pt x="0" y="738"/>
                    <a:pt x="202" y="1053"/>
                  </a:cubicBezTo>
                  <a:cubicBezTo>
                    <a:pt x="328" y="1242"/>
                    <a:pt x="542" y="1368"/>
                    <a:pt x="782" y="1368"/>
                  </a:cubicBezTo>
                  <a:cubicBezTo>
                    <a:pt x="908" y="1356"/>
                    <a:pt x="1034" y="1331"/>
                    <a:pt x="1147" y="1255"/>
                  </a:cubicBezTo>
                  <a:cubicBezTo>
                    <a:pt x="1462" y="1053"/>
                    <a:pt x="1550" y="625"/>
                    <a:pt x="1349" y="310"/>
                  </a:cubicBezTo>
                  <a:cubicBezTo>
                    <a:pt x="1220" y="109"/>
                    <a:pt x="999" y="0"/>
                    <a:pt x="774"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460;p48"/>
            <p:cNvSpPr/>
            <p:nvPr/>
          </p:nvSpPr>
          <p:spPr>
            <a:xfrm>
              <a:off x="497700" y="4905725"/>
              <a:ext cx="38125" cy="33750"/>
            </a:xfrm>
            <a:custGeom>
              <a:avLst/>
              <a:gdLst/>
              <a:ahLst/>
              <a:cxnLst/>
              <a:rect l="l" t="t" r="r" b="b"/>
              <a:pathLst>
                <a:path w="1525" h="1350" extrusionOk="0">
                  <a:moveTo>
                    <a:pt x="764" y="1"/>
                  </a:moveTo>
                  <a:cubicBezTo>
                    <a:pt x="557" y="1"/>
                    <a:pt x="351" y="96"/>
                    <a:pt x="214" y="279"/>
                  </a:cubicBezTo>
                  <a:cubicBezTo>
                    <a:pt x="0" y="568"/>
                    <a:pt x="63" y="997"/>
                    <a:pt x="366" y="1224"/>
                  </a:cubicBezTo>
                  <a:cubicBezTo>
                    <a:pt x="479" y="1299"/>
                    <a:pt x="618" y="1350"/>
                    <a:pt x="756" y="1350"/>
                  </a:cubicBezTo>
                  <a:cubicBezTo>
                    <a:pt x="970" y="1350"/>
                    <a:pt x="1172" y="1249"/>
                    <a:pt x="1311" y="1072"/>
                  </a:cubicBezTo>
                  <a:cubicBezTo>
                    <a:pt x="1525" y="770"/>
                    <a:pt x="1462" y="354"/>
                    <a:pt x="1159" y="127"/>
                  </a:cubicBezTo>
                  <a:cubicBezTo>
                    <a:pt x="1039" y="42"/>
                    <a:pt x="901" y="1"/>
                    <a:pt x="76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461;p48"/>
            <p:cNvSpPr/>
            <p:nvPr/>
          </p:nvSpPr>
          <p:spPr>
            <a:xfrm>
              <a:off x="1377225" y="4792825"/>
              <a:ext cx="38475" cy="33875"/>
            </a:xfrm>
            <a:custGeom>
              <a:avLst/>
              <a:gdLst/>
              <a:ahLst/>
              <a:cxnLst/>
              <a:rect l="l" t="t" r="r" b="b"/>
              <a:pathLst>
                <a:path w="1539" h="1355" extrusionOk="0">
                  <a:moveTo>
                    <a:pt x="762" y="0"/>
                  </a:moveTo>
                  <a:cubicBezTo>
                    <a:pt x="567" y="0"/>
                    <a:pt x="374" y="84"/>
                    <a:pt x="240" y="246"/>
                  </a:cubicBezTo>
                  <a:cubicBezTo>
                    <a:pt x="1" y="535"/>
                    <a:pt x="51" y="964"/>
                    <a:pt x="341" y="1203"/>
                  </a:cubicBezTo>
                  <a:cubicBezTo>
                    <a:pt x="467" y="1304"/>
                    <a:pt x="618" y="1355"/>
                    <a:pt x="769" y="1355"/>
                  </a:cubicBezTo>
                  <a:cubicBezTo>
                    <a:pt x="971" y="1355"/>
                    <a:pt x="1173" y="1266"/>
                    <a:pt x="1299" y="1115"/>
                  </a:cubicBezTo>
                  <a:cubicBezTo>
                    <a:pt x="1538" y="813"/>
                    <a:pt x="1488" y="384"/>
                    <a:pt x="1198" y="157"/>
                  </a:cubicBezTo>
                  <a:cubicBezTo>
                    <a:pt x="1070" y="52"/>
                    <a:pt x="916" y="0"/>
                    <a:pt x="762"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462;p48"/>
            <p:cNvSpPr/>
            <p:nvPr/>
          </p:nvSpPr>
          <p:spPr>
            <a:xfrm>
              <a:off x="355300" y="4760850"/>
              <a:ext cx="38150" cy="34025"/>
            </a:xfrm>
            <a:custGeom>
              <a:avLst/>
              <a:gdLst/>
              <a:ahLst/>
              <a:cxnLst/>
              <a:rect l="l" t="t" r="r" b="b"/>
              <a:pathLst>
                <a:path w="1526" h="1361" extrusionOk="0">
                  <a:moveTo>
                    <a:pt x="761" y="0"/>
                  </a:moveTo>
                  <a:cubicBezTo>
                    <a:pt x="623" y="0"/>
                    <a:pt x="485" y="42"/>
                    <a:pt x="366" y="126"/>
                  </a:cubicBezTo>
                  <a:cubicBezTo>
                    <a:pt x="64" y="353"/>
                    <a:pt x="1" y="769"/>
                    <a:pt x="215" y="1071"/>
                  </a:cubicBezTo>
                  <a:cubicBezTo>
                    <a:pt x="341" y="1247"/>
                    <a:pt x="542" y="1361"/>
                    <a:pt x="757" y="1361"/>
                  </a:cubicBezTo>
                  <a:cubicBezTo>
                    <a:pt x="908" y="1361"/>
                    <a:pt x="1034" y="1310"/>
                    <a:pt x="1160" y="1235"/>
                  </a:cubicBezTo>
                  <a:cubicBezTo>
                    <a:pt x="1462" y="1008"/>
                    <a:pt x="1525" y="592"/>
                    <a:pt x="1311" y="290"/>
                  </a:cubicBezTo>
                  <a:cubicBezTo>
                    <a:pt x="1181" y="99"/>
                    <a:pt x="972" y="0"/>
                    <a:pt x="761"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463;p48"/>
            <p:cNvSpPr/>
            <p:nvPr/>
          </p:nvSpPr>
          <p:spPr>
            <a:xfrm>
              <a:off x="1478975" y="4616950"/>
              <a:ext cx="38475" cy="34275"/>
            </a:xfrm>
            <a:custGeom>
              <a:avLst/>
              <a:gdLst/>
              <a:ahLst/>
              <a:cxnLst/>
              <a:rect l="l" t="t" r="r" b="b"/>
              <a:pathLst>
                <a:path w="1539" h="1371" extrusionOk="0">
                  <a:moveTo>
                    <a:pt x="761" y="0"/>
                  </a:moveTo>
                  <a:cubicBezTo>
                    <a:pt x="489" y="0"/>
                    <a:pt x="233" y="167"/>
                    <a:pt x="127" y="438"/>
                  </a:cubicBezTo>
                  <a:cubicBezTo>
                    <a:pt x="1" y="791"/>
                    <a:pt x="177" y="1182"/>
                    <a:pt x="517" y="1320"/>
                  </a:cubicBezTo>
                  <a:cubicBezTo>
                    <a:pt x="606" y="1346"/>
                    <a:pt x="681" y="1371"/>
                    <a:pt x="769" y="1371"/>
                  </a:cubicBezTo>
                  <a:cubicBezTo>
                    <a:pt x="1047" y="1358"/>
                    <a:pt x="1299" y="1194"/>
                    <a:pt x="1400" y="930"/>
                  </a:cubicBezTo>
                  <a:cubicBezTo>
                    <a:pt x="1538" y="577"/>
                    <a:pt x="1362" y="186"/>
                    <a:pt x="1009" y="48"/>
                  </a:cubicBezTo>
                  <a:cubicBezTo>
                    <a:pt x="927" y="16"/>
                    <a:pt x="843" y="0"/>
                    <a:pt x="761"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464;p48"/>
            <p:cNvSpPr/>
            <p:nvPr/>
          </p:nvSpPr>
          <p:spPr>
            <a:xfrm>
              <a:off x="264900" y="4578900"/>
              <a:ext cx="38125" cy="34225"/>
            </a:xfrm>
            <a:custGeom>
              <a:avLst/>
              <a:gdLst/>
              <a:ahLst/>
              <a:cxnLst/>
              <a:rect l="l" t="t" r="r" b="b"/>
              <a:pathLst>
                <a:path w="1525" h="1369" extrusionOk="0">
                  <a:moveTo>
                    <a:pt x="761" y="1"/>
                  </a:moveTo>
                  <a:cubicBezTo>
                    <a:pt x="693" y="1"/>
                    <a:pt x="623" y="11"/>
                    <a:pt x="555" y="32"/>
                  </a:cubicBezTo>
                  <a:cubicBezTo>
                    <a:pt x="202" y="146"/>
                    <a:pt x="0" y="524"/>
                    <a:pt x="113" y="889"/>
                  </a:cubicBezTo>
                  <a:cubicBezTo>
                    <a:pt x="202" y="1167"/>
                    <a:pt x="466" y="1368"/>
                    <a:pt x="756" y="1368"/>
                  </a:cubicBezTo>
                  <a:cubicBezTo>
                    <a:pt x="832" y="1368"/>
                    <a:pt x="895" y="1356"/>
                    <a:pt x="958" y="1330"/>
                  </a:cubicBezTo>
                  <a:cubicBezTo>
                    <a:pt x="1323" y="1217"/>
                    <a:pt x="1525" y="839"/>
                    <a:pt x="1411" y="486"/>
                  </a:cubicBezTo>
                  <a:cubicBezTo>
                    <a:pt x="1319" y="190"/>
                    <a:pt x="1053" y="1"/>
                    <a:pt x="761"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465;p48"/>
            <p:cNvSpPr/>
            <p:nvPr/>
          </p:nvSpPr>
          <p:spPr>
            <a:xfrm>
              <a:off x="1522150" y="4418375"/>
              <a:ext cx="34975" cy="34075"/>
            </a:xfrm>
            <a:custGeom>
              <a:avLst/>
              <a:gdLst/>
              <a:ahLst/>
              <a:cxnLst/>
              <a:rect l="l" t="t" r="r" b="b"/>
              <a:pathLst>
                <a:path w="1399" h="1363" extrusionOk="0">
                  <a:moveTo>
                    <a:pt x="685" y="0"/>
                  </a:moveTo>
                  <a:cubicBezTo>
                    <a:pt x="328" y="0"/>
                    <a:pt x="37" y="282"/>
                    <a:pt x="25" y="644"/>
                  </a:cubicBezTo>
                  <a:cubicBezTo>
                    <a:pt x="0" y="1022"/>
                    <a:pt x="290" y="1337"/>
                    <a:pt x="668" y="1350"/>
                  </a:cubicBezTo>
                  <a:cubicBezTo>
                    <a:pt x="681" y="1363"/>
                    <a:pt x="693" y="1363"/>
                    <a:pt x="693" y="1363"/>
                  </a:cubicBezTo>
                  <a:cubicBezTo>
                    <a:pt x="1059" y="1363"/>
                    <a:pt x="1361" y="1073"/>
                    <a:pt x="1374" y="707"/>
                  </a:cubicBezTo>
                  <a:cubicBezTo>
                    <a:pt x="1399" y="329"/>
                    <a:pt x="1109" y="14"/>
                    <a:pt x="731" y="2"/>
                  </a:cubicBezTo>
                  <a:cubicBezTo>
                    <a:pt x="716" y="1"/>
                    <a:pt x="700" y="0"/>
                    <a:pt x="685"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466;p48"/>
            <p:cNvSpPr/>
            <p:nvPr/>
          </p:nvSpPr>
          <p:spPr>
            <a:xfrm>
              <a:off x="238125" y="4378075"/>
              <a:ext cx="34025" cy="34050"/>
            </a:xfrm>
            <a:custGeom>
              <a:avLst/>
              <a:gdLst/>
              <a:ahLst/>
              <a:cxnLst/>
              <a:rect l="l" t="t" r="r" b="b"/>
              <a:pathLst>
                <a:path w="1361" h="1362" extrusionOk="0">
                  <a:moveTo>
                    <a:pt x="693" y="1"/>
                  </a:moveTo>
                  <a:cubicBezTo>
                    <a:pt x="315" y="1"/>
                    <a:pt x="0" y="291"/>
                    <a:pt x="0" y="669"/>
                  </a:cubicBezTo>
                  <a:cubicBezTo>
                    <a:pt x="0" y="1047"/>
                    <a:pt x="290" y="1349"/>
                    <a:pt x="668" y="1362"/>
                  </a:cubicBezTo>
                  <a:lnTo>
                    <a:pt x="680" y="1362"/>
                  </a:lnTo>
                  <a:cubicBezTo>
                    <a:pt x="1046" y="1362"/>
                    <a:pt x="1348" y="1059"/>
                    <a:pt x="1361" y="694"/>
                  </a:cubicBezTo>
                  <a:cubicBezTo>
                    <a:pt x="1361" y="316"/>
                    <a:pt x="1058" y="1"/>
                    <a:pt x="693" y="1"/>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467;p48"/>
            <p:cNvSpPr/>
            <p:nvPr/>
          </p:nvSpPr>
          <p:spPr>
            <a:xfrm>
              <a:off x="1498200" y="4216475"/>
              <a:ext cx="37825" cy="34375"/>
            </a:xfrm>
            <a:custGeom>
              <a:avLst/>
              <a:gdLst/>
              <a:ahLst/>
              <a:cxnLst/>
              <a:rect l="l" t="t" r="r" b="b"/>
              <a:pathLst>
                <a:path w="1513" h="1375" extrusionOk="0">
                  <a:moveTo>
                    <a:pt x="751" y="1"/>
                  </a:moveTo>
                  <a:cubicBezTo>
                    <a:pt x="690" y="1"/>
                    <a:pt x="629" y="9"/>
                    <a:pt x="568" y="26"/>
                  </a:cubicBezTo>
                  <a:cubicBezTo>
                    <a:pt x="215" y="127"/>
                    <a:pt x="0" y="505"/>
                    <a:pt x="101" y="870"/>
                  </a:cubicBezTo>
                  <a:cubicBezTo>
                    <a:pt x="177" y="1160"/>
                    <a:pt x="442" y="1362"/>
                    <a:pt x="757" y="1374"/>
                  </a:cubicBezTo>
                  <a:cubicBezTo>
                    <a:pt x="807" y="1362"/>
                    <a:pt x="870" y="1362"/>
                    <a:pt x="933" y="1349"/>
                  </a:cubicBezTo>
                  <a:cubicBezTo>
                    <a:pt x="1298" y="1236"/>
                    <a:pt x="1513" y="870"/>
                    <a:pt x="1412" y="505"/>
                  </a:cubicBezTo>
                  <a:cubicBezTo>
                    <a:pt x="1328" y="200"/>
                    <a:pt x="1052" y="1"/>
                    <a:pt x="75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468;p48"/>
            <p:cNvSpPr/>
            <p:nvPr/>
          </p:nvSpPr>
          <p:spPr>
            <a:xfrm>
              <a:off x="271200" y="4178025"/>
              <a:ext cx="38125" cy="34075"/>
            </a:xfrm>
            <a:custGeom>
              <a:avLst/>
              <a:gdLst/>
              <a:ahLst/>
              <a:cxnLst/>
              <a:rect l="l" t="t" r="r" b="b"/>
              <a:pathLst>
                <a:path w="1525" h="1363" extrusionOk="0">
                  <a:moveTo>
                    <a:pt x="758" y="0"/>
                  </a:moveTo>
                  <a:cubicBezTo>
                    <a:pt x="478" y="0"/>
                    <a:pt x="216" y="176"/>
                    <a:pt x="126" y="455"/>
                  </a:cubicBezTo>
                  <a:cubicBezTo>
                    <a:pt x="0" y="808"/>
                    <a:pt x="189" y="1198"/>
                    <a:pt x="542" y="1324"/>
                  </a:cubicBezTo>
                  <a:cubicBezTo>
                    <a:pt x="605" y="1350"/>
                    <a:pt x="681" y="1362"/>
                    <a:pt x="769" y="1362"/>
                  </a:cubicBezTo>
                  <a:cubicBezTo>
                    <a:pt x="1059" y="1362"/>
                    <a:pt x="1311" y="1173"/>
                    <a:pt x="1411" y="909"/>
                  </a:cubicBezTo>
                  <a:cubicBezTo>
                    <a:pt x="1525" y="543"/>
                    <a:pt x="1336" y="165"/>
                    <a:pt x="983" y="39"/>
                  </a:cubicBezTo>
                  <a:cubicBezTo>
                    <a:pt x="909" y="13"/>
                    <a:pt x="833" y="0"/>
                    <a:pt x="758"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469;p48"/>
            <p:cNvSpPr/>
            <p:nvPr/>
          </p:nvSpPr>
          <p:spPr>
            <a:xfrm>
              <a:off x="1412825" y="4031775"/>
              <a:ext cx="39100" cy="34150"/>
            </a:xfrm>
            <a:custGeom>
              <a:avLst/>
              <a:gdLst/>
              <a:ahLst/>
              <a:cxnLst/>
              <a:rect l="l" t="t" r="r" b="b"/>
              <a:pathLst>
                <a:path w="1564" h="1366" extrusionOk="0">
                  <a:moveTo>
                    <a:pt x="784" y="1"/>
                  </a:moveTo>
                  <a:cubicBezTo>
                    <a:pt x="654" y="1"/>
                    <a:pt x="521" y="38"/>
                    <a:pt x="404" y="118"/>
                  </a:cubicBezTo>
                  <a:cubicBezTo>
                    <a:pt x="89" y="332"/>
                    <a:pt x="1" y="761"/>
                    <a:pt x="215" y="1063"/>
                  </a:cubicBezTo>
                  <a:cubicBezTo>
                    <a:pt x="341" y="1252"/>
                    <a:pt x="555" y="1365"/>
                    <a:pt x="782" y="1365"/>
                  </a:cubicBezTo>
                  <a:cubicBezTo>
                    <a:pt x="921" y="1365"/>
                    <a:pt x="1047" y="1328"/>
                    <a:pt x="1160" y="1252"/>
                  </a:cubicBezTo>
                  <a:cubicBezTo>
                    <a:pt x="1475" y="1050"/>
                    <a:pt x="1563" y="622"/>
                    <a:pt x="1349" y="307"/>
                  </a:cubicBezTo>
                  <a:cubicBezTo>
                    <a:pt x="1222" y="109"/>
                    <a:pt x="1006" y="1"/>
                    <a:pt x="784"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470;p48"/>
            <p:cNvSpPr/>
            <p:nvPr/>
          </p:nvSpPr>
          <p:spPr>
            <a:xfrm>
              <a:off x="367275" y="3999475"/>
              <a:ext cx="37825" cy="33675"/>
            </a:xfrm>
            <a:custGeom>
              <a:avLst/>
              <a:gdLst/>
              <a:ahLst/>
              <a:cxnLst/>
              <a:rect l="l" t="t" r="r" b="b"/>
              <a:pathLst>
                <a:path w="1513" h="1347" extrusionOk="0">
                  <a:moveTo>
                    <a:pt x="764" y="0"/>
                  </a:moveTo>
                  <a:cubicBezTo>
                    <a:pt x="561" y="0"/>
                    <a:pt x="361" y="92"/>
                    <a:pt x="227" y="263"/>
                  </a:cubicBezTo>
                  <a:cubicBezTo>
                    <a:pt x="0" y="566"/>
                    <a:pt x="51" y="982"/>
                    <a:pt x="353" y="1208"/>
                  </a:cubicBezTo>
                  <a:cubicBezTo>
                    <a:pt x="467" y="1297"/>
                    <a:pt x="605" y="1347"/>
                    <a:pt x="756" y="1347"/>
                  </a:cubicBezTo>
                  <a:cubicBezTo>
                    <a:pt x="971" y="1347"/>
                    <a:pt x="1172" y="1246"/>
                    <a:pt x="1298" y="1082"/>
                  </a:cubicBezTo>
                  <a:cubicBezTo>
                    <a:pt x="1512" y="780"/>
                    <a:pt x="1462" y="364"/>
                    <a:pt x="1172" y="137"/>
                  </a:cubicBezTo>
                  <a:cubicBezTo>
                    <a:pt x="1048" y="44"/>
                    <a:pt x="906" y="0"/>
                    <a:pt x="76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471;p48"/>
            <p:cNvSpPr/>
            <p:nvPr/>
          </p:nvSpPr>
          <p:spPr>
            <a:xfrm>
              <a:off x="1275475" y="3883100"/>
              <a:ext cx="38150" cy="33825"/>
            </a:xfrm>
            <a:custGeom>
              <a:avLst/>
              <a:gdLst/>
              <a:ahLst/>
              <a:cxnLst/>
              <a:rect l="l" t="t" r="r" b="b"/>
              <a:pathLst>
                <a:path w="1526" h="1353" extrusionOk="0">
                  <a:moveTo>
                    <a:pt x="758" y="1"/>
                  </a:moveTo>
                  <a:cubicBezTo>
                    <a:pt x="558" y="1"/>
                    <a:pt x="359" y="88"/>
                    <a:pt x="227" y="256"/>
                  </a:cubicBezTo>
                  <a:cubicBezTo>
                    <a:pt x="1" y="546"/>
                    <a:pt x="51" y="974"/>
                    <a:pt x="341" y="1214"/>
                  </a:cubicBezTo>
                  <a:cubicBezTo>
                    <a:pt x="454" y="1302"/>
                    <a:pt x="606" y="1352"/>
                    <a:pt x="757" y="1352"/>
                  </a:cubicBezTo>
                  <a:cubicBezTo>
                    <a:pt x="958" y="1352"/>
                    <a:pt x="1160" y="1251"/>
                    <a:pt x="1286" y="1088"/>
                  </a:cubicBezTo>
                  <a:cubicBezTo>
                    <a:pt x="1525" y="798"/>
                    <a:pt x="1462" y="369"/>
                    <a:pt x="1173" y="143"/>
                  </a:cubicBezTo>
                  <a:cubicBezTo>
                    <a:pt x="1050" y="47"/>
                    <a:pt x="904" y="1"/>
                    <a:pt x="758"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472;p48"/>
            <p:cNvSpPr/>
            <p:nvPr/>
          </p:nvSpPr>
          <p:spPr>
            <a:xfrm>
              <a:off x="513750" y="3859050"/>
              <a:ext cx="38775" cy="33925"/>
            </a:xfrm>
            <a:custGeom>
              <a:avLst/>
              <a:gdLst/>
              <a:ahLst/>
              <a:cxnLst/>
              <a:rect l="l" t="t" r="r" b="b"/>
              <a:pathLst>
                <a:path w="1551" h="1357" extrusionOk="0">
                  <a:moveTo>
                    <a:pt x="780" y="0"/>
                  </a:moveTo>
                  <a:cubicBezTo>
                    <a:pt x="647" y="0"/>
                    <a:pt x="512" y="40"/>
                    <a:pt x="391" y="122"/>
                  </a:cubicBezTo>
                  <a:cubicBezTo>
                    <a:pt x="89" y="336"/>
                    <a:pt x="1" y="764"/>
                    <a:pt x="215" y="1067"/>
                  </a:cubicBezTo>
                  <a:cubicBezTo>
                    <a:pt x="341" y="1243"/>
                    <a:pt x="555" y="1357"/>
                    <a:pt x="782" y="1357"/>
                  </a:cubicBezTo>
                  <a:cubicBezTo>
                    <a:pt x="908" y="1357"/>
                    <a:pt x="1047" y="1319"/>
                    <a:pt x="1160" y="1243"/>
                  </a:cubicBezTo>
                  <a:cubicBezTo>
                    <a:pt x="1475" y="1029"/>
                    <a:pt x="1551" y="601"/>
                    <a:pt x="1336" y="298"/>
                  </a:cubicBezTo>
                  <a:cubicBezTo>
                    <a:pt x="1204" y="103"/>
                    <a:pt x="995" y="0"/>
                    <a:pt x="780"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473;p48"/>
            <p:cNvSpPr/>
            <p:nvPr/>
          </p:nvSpPr>
          <p:spPr>
            <a:xfrm>
              <a:off x="1098125" y="3784200"/>
              <a:ext cx="38150" cy="33800"/>
            </a:xfrm>
            <a:custGeom>
              <a:avLst/>
              <a:gdLst/>
              <a:ahLst/>
              <a:cxnLst/>
              <a:rect l="l" t="t" r="r" b="b"/>
              <a:pathLst>
                <a:path w="1526" h="1352" extrusionOk="0">
                  <a:moveTo>
                    <a:pt x="763" y="0"/>
                  </a:moveTo>
                  <a:cubicBezTo>
                    <a:pt x="485" y="0"/>
                    <a:pt x="225" y="168"/>
                    <a:pt x="126" y="444"/>
                  </a:cubicBezTo>
                  <a:cubicBezTo>
                    <a:pt x="0" y="797"/>
                    <a:pt x="177" y="1188"/>
                    <a:pt x="530" y="1314"/>
                  </a:cubicBezTo>
                  <a:cubicBezTo>
                    <a:pt x="605" y="1339"/>
                    <a:pt x="681" y="1352"/>
                    <a:pt x="756" y="1352"/>
                  </a:cubicBezTo>
                  <a:cubicBezTo>
                    <a:pt x="1046" y="1352"/>
                    <a:pt x="1298" y="1175"/>
                    <a:pt x="1399" y="911"/>
                  </a:cubicBezTo>
                  <a:cubicBezTo>
                    <a:pt x="1525" y="558"/>
                    <a:pt x="1349" y="167"/>
                    <a:pt x="996" y="41"/>
                  </a:cubicBezTo>
                  <a:cubicBezTo>
                    <a:pt x="919" y="14"/>
                    <a:pt x="840" y="0"/>
                    <a:pt x="76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474;p48"/>
            <p:cNvSpPr/>
            <p:nvPr/>
          </p:nvSpPr>
          <p:spPr>
            <a:xfrm>
              <a:off x="697425" y="3771525"/>
              <a:ext cx="37825" cy="33875"/>
            </a:xfrm>
            <a:custGeom>
              <a:avLst/>
              <a:gdLst/>
              <a:ahLst/>
              <a:cxnLst/>
              <a:rect l="l" t="t" r="r" b="b"/>
              <a:pathLst>
                <a:path w="1513" h="1355" extrusionOk="0">
                  <a:moveTo>
                    <a:pt x="767" y="1"/>
                  </a:moveTo>
                  <a:cubicBezTo>
                    <a:pt x="701" y="1"/>
                    <a:pt x="634" y="11"/>
                    <a:pt x="567" y="31"/>
                  </a:cubicBezTo>
                  <a:cubicBezTo>
                    <a:pt x="202" y="132"/>
                    <a:pt x="0" y="510"/>
                    <a:pt x="101" y="876"/>
                  </a:cubicBezTo>
                  <a:cubicBezTo>
                    <a:pt x="189" y="1166"/>
                    <a:pt x="454" y="1355"/>
                    <a:pt x="756" y="1355"/>
                  </a:cubicBezTo>
                  <a:cubicBezTo>
                    <a:pt x="819" y="1355"/>
                    <a:pt x="895" y="1355"/>
                    <a:pt x="958" y="1329"/>
                  </a:cubicBezTo>
                  <a:cubicBezTo>
                    <a:pt x="1311" y="1229"/>
                    <a:pt x="1512" y="850"/>
                    <a:pt x="1411" y="485"/>
                  </a:cubicBezTo>
                  <a:cubicBezTo>
                    <a:pt x="1329" y="197"/>
                    <a:pt x="1061" y="1"/>
                    <a:pt x="767"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475;p48"/>
            <p:cNvSpPr/>
            <p:nvPr/>
          </p:nvSpPr>
          <p:spPr>
            <a:xfrm>
              <a:off x="900600" y="3745825"/>
              <a:ext cx="34375" cy="34050"/>
            </a:xfrm>
            <a:custGeom>
              <a:avLst/>
              <a:gdLst/>
              <a:ahLst/>
              <a:cxnLst/>
              <a:rect l="l" t="t" r="r" b="b"/>
              <a:pathLst>
                <a:path w="1375" h="1362" extrusionOk="0">
                  <a:moveTo>
                    <a:pt x="683" y="1"/>
                  </a:moveTo>
                  <a:cubicBezTo>
                    <a:pt x="316" y="1"/>
                    <a:pt x="26" y="286"/>
                    <a:pt x="13" y="656"/>
                  </a:cubicBezTo>
                  <a:cubicBezTo>
                    <a:pt x="1" y="1034"/>
                    <a:pt x="290" y="1349"/>
                    <a:pt x="668" y="1362"/>
                  </a:cubicBezTo>
                  <a:lnTo>
                    <a:pt x="681" y="1362"/>
                  </a:lnTo>
                  <a:cubicBezTo>
                    <a:pt x="1059" y="1362"/>
                    <a:pt x="1349" y="1072"/>
                    <a:pt x="1362" y="707"/>
                  </a:cubicBezTo>
                  <a:cubicBezTo>
                    <a:pt x="1374" y="329"/>
                    <a:pt x="1084" y="14"/>
                    <a:pt x="706" y="1"/>
                  </a:cubicBezTo>
                  <a:cubicBezTo>
                    <a:pt x="698" y="1"/>
                    <a:pt x="690" y="1"/>
                    <a:pt x="683"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76" name="Google Shape;1476;p48"/>
          <p:cNvGrpSpPr/>
          <p:nvPr/>
        </p:nvGrpSpPr>
        <p:grpSpPr>
          <a:xfrm>
            <a:off x="5460093" y="1534281"/>
            <a:ext cx="2985798" cy="942856"/>
            <a:chOff x="238125" y="657975"/>
            <a:chExt cx="2136375" cy="674625"/>
          </a:xfrm>
        </p:grpSpPr>
        <p:sp>
          <p:nvSpPr>
            <p:cNvPr id="1477" name="Google Shape;1477;p48"/>
            <p:cNvSpPr/>
            <p:nvPr/>
          </p:nvSpPr>
          <p:spPr>
            <a:xfrm>
              <a:off x="238125" y="657975"/>
              <a:ext cx="2105475" cy="467800"/>
            </a:xfrm>
            <a:custGeom>
              <a:avLst/>
              <a:gdLst/>
              <a:ahLst/>
              <a:cxnLst/>
              <a:rect l="l" t="t" r="r" b="b"/>
              <a:pathLst>
                <a:path w="84219" h="18712" extrusionOk="0">
                  <a:moveTo>
                    <a:pt x="62798" y="10566"/>
                  </a:moveTo>
                  <a:cubicBezTo>
                    <a:pt x="62057" y="10566"/>
                    <a:pt x="61308" y="10684"/>
                    <a:pt x="60568" y="10800"/>
                  </a:cubicBezTo>
                  <a:cubicBezTo>
                    <a:pt x="59695" y="10965"/>
                    <a:pt x="58788" y="11047"/>
                    <a:pt x="57898" y="11047"/>
                  </a:cubicBezTo>
                  <a:lnTo>
                    <a:pt x="57865" y="11674"/>
                  </a:lnTo>
                  <a:cubicBezTo>
                    <a:pt x="57944" y="11675"/>
                    <a:pt x="58022" y="11676"/>
                    <a:pt x="58100" y="11676"/>
                  </a:cubicBezTo>
                  <a:cubicBezTo>
                    <a:pt x="58961" y="11676"/>
                    <a:pt x="59820" y="11593"/>
                    <a:pt x="60651" y="11426"/>
                  </a:cubicBezTo>
                  <a:cubicBezTo>
                    <a:pt x="61398" y="11309"/>
                    <a:pt x="62111" y="11197"/>
                    <a:pt x="62794" y="11197"/>
                  </a:cubicBezTo>
                  <a:cubicBezTo>
                    <a:pt x="64219" y="11197"/>
                    <a:pt x="65512" y="11685"/>
                    <a:pt x="66716" y="13635"/>
                  </a:cubicBezTo>
                  <a:cubicBezTo>
                    <a:pt x="67886" y="15514"/>
                    <a:pt x="69320" y="16107"/>
                    <a:pt x="70902" y="16107"/>
                  </a:cubicBezTo>
                  <a:cubicBezTo>
                    <a:pt x="72154" y="16107"/>
                    <a:pt x="73489" y="15728"/>
                    <a:pt x="74874" y="15365"/>
                  </a:cubicBezTo>
                  <a:cubicBezTo>
                    <a:pt x="76375" y="14946"/>
                    <a:pt x="77902" y="14522"/>
                    <a:pt x="79428" y="14522"/>
                  </a:cubicBezTo>
                  <a:cubicBezTo>
                    <a:pt x="80902" y="14522"/>
                    <a:pt x="82374" y="14917"/>
                    <a:pt x="83823" y="16091"/>
                  </a:cubicBezTo>
                  <a:lnTo>
                    <a:pt x="84219" y="15596"/>
                  </a:lnTo>
                  <a:cubicBezTo>
                    <a:pt x="82631" y="14312"/>
                    <a:pt x="81004" y="13888"/>
                    <a:pt x="79404" y="13888"/>
                  </a:cubicBezTo>
                  <a:cubicBezTo>
                    <a:pt x="77781" y="13888"/>
                    <a:pt x="76187" y="14324"/>
                    <a:pt x="74693" y="14739"/>
                  </a:cubicBezTo>
                  <a:cubicBezTo>
                    <a:pt x="73349" y="15110"/>
                    <a:pt x="72087" y="15461"/>
                    <a:pt x="70934" y="15461"/>
                  </a:cubicBezTo>
                  <a:cubicBezTo>
                    <a:pt x="69526" y="15461"/>
                    <a:pt x="68283" y="14938"/>
                    <a:pt x="67260" y="13289"/>
                  </a:cubicBezTo>
                  <a:cubicBezTo>
                    <a:pt x="65905" y="11095"/>
                    <a:pt x="64368" y="10566"/>
                    <a:pt x="62798" y="10566"/>
                  </a:cubicBezTo>
                  <a:close/>
                  <a:moveTo>
                    <a:pt x="36540" y="0"/>
                  </a:moveTo>
                  <a:cubicBezTo>
                    <a:pt x="36500" y="0"/>
                    <a:pt x="36461" y="2"/>
                    <a:pt x="36423" y="5"/>
                  </a:cubicBezTo>
                  <a:cubicBezTo>
                    <a:pt x="34924" y="137"/>
                    <a:pt x="34132" y="2790"/>
                    <a:pt x="33127" y="6169"/>
                  </a:cubicBezTo>
                  <a:cubicBezTo>
                    <a:pt x="32649" y="7768"/>
                    <a:pt x="32105" y="9581"/>
                    <a:pt x="31446" y="11245"/>
                  </a:cubicBezTo>
                  <a:cubicBezTo>
                    <a:pt x="30474" y="13684"/>
                    <a:pt x="29715" y="14245"/>
                    <a:pt x="29254" y="14278"/>
                  </a:cubicBezTo>
                  <a:cubicBezTo>
                    <a:pt x="29237" y="14279"/>
                    <a:pt x="29219" y="14280"/>
                    <a:pt x="29202" y="14280"/>
                  </a:cubicBezTo>
                  <a:cubicBezTo>
                    <a:pt x="28345" y="14280"/>
                    <a:pt x="27456" y="12698"/>
                    <a:pt x="26584" y="11179"/>
                  </a:cubicBezTo>
                  <a:cubicBezTo>
                    <a:pt x="26007" y="10190"/>
                    <a:pt x="25430" y="9185"/>
                    <a:pt x="24804" y="8460"/>
                  </a:cubicBezTo>
                  <a:cubicBezTo>
                    <a:pt x="24524" y="8147"/>
                    <a:pt x="24128" y="7965"/>
                    <a:pt x="23716" y="7965"/>
                  </a:cubicBezTo>
                  <a:cubicBezTo>
                    <a:pt x="22365" y="7998"/>
                    <a:pt x="20750" y="9976"/>
                    <a:pt x="19036" y="12069"/>
                  </a:cubicBezTo>
                  <a:cubicBezTo>
                    <a:pt x="17430" y="14043"/>
                    <a:pt x="15627" y="16254"/>
                    <a:pt x="14379" y="16254"/>
                  </a:cubicBezTo>
                  <a:cubicBezTo>
                    <a:pt x="14231" y="16254"/>
                    <a:pt x="14091" y="16223"/>
                    <a:pt x="13960" y="16156"/>
                  </a:cubicBezTo>
                  <a:cubicBezTo>
                    <a:pt x="13613" y="15992"/>
                    <a:pt x="13284" y="15810"/>
                    <a:pt x="12987" y="15646"/>
                  </a:cubicBezTo>
                  <a:cubicBezTo>
                    <a:pt x="11792" y="15014"/>
                    <a:pt x="10837" y="14516"/>
                    <a:pt x="9817" y="14516"/>
                  </a:cubicBezTo>
                  <a:cubicBezTo>
                    <a:pt x="8842" y="14516"/>
                    <a:pt x="7806" y="14973"/>
                    <a:pt x="6444" y="16206"/>
                  </a:cubicBezTo>
                  <a:cubicBezTo>
                    <a:pt x="4723" y="17755"/>
                    <a:pt x="2752" y="18054"/>
                    <a:pt x="1481" y="18054"/>
                  </a:cubicBezTo>
                  <a:cubicBezTo>
                    <a:pt x="683" y="18054"/>
                    <a:pt x="161" y="17936"/>
                    <a:pt x="148" y="17936"/>
                  </a:cubicBezTo>
                  <a:lnTo>
                    <a:pt x="0" y="18546"/>
                  </a:lnTo>
                  <a:cubicBezTo>
                    <a:pt x="511" y="18662"/>
                    <a:pt x="1022" y="18711"/>
                    <a:pt x="1549" y="18711"/>
                  </a:cubicBezTo>
                  <a:cubicBezTo>
                    <a:pt x="3510" y="18711"/>
                    <a:pt x="5406" y="18002"/>
                    <a:pt x="6856" y="16684"/>
                  </a:cubicBezTo>
                  <a:cubicBezTo>
                    <a:pt x="8078" y="15585"/>
                    <a:pt x="8953" y="15161"/>
                    <a:pt x="9804" y="15161"/>
                  </a:cubicBezTo>
                  <a:cubicBezTo>
                    <a:pt x="10676" y="15161"/>
                    <a:pt x="11523" y="15605"/>
                    <a:pt x="12690" y="16222"/>
                  </a:cubicBezTo>
                  <a:cubicBezTo>
                    <a:pt x="12987" y="16371"/>
                    <a:pt x="13317" y="16552"/>
                    <a:pt x="13679" y="16733"/>
                  </a:cubicBezTo>
                  <a:cubicBezTo>
                    <a:pt x="13894" y="16832"/>
                    <a:pt x="14141" y="16898"/>
                    <a:pt x="14388" y="16898"/>
                  </a:cubicBezTo>
                  <a:cubicBezTo>
                    <a:pt x="15921" y="16898"/>
                    <a:pt x="17684" y="14739"/>
                    <a:pt x="19530" y="12465"/>
                  </a:cubicBezTo>
                  <a:cubicBezTo>
                    <a:pt x="21079" y="10586"/>
                    <a:pt x="22678" y="8625"/>
                    <a:pt x="23733" y="8592"/>
                  </a:cubicBezTo>
                  <a:cubicBezTo>
                    <a:pt x="23964" y="8592"/>
                    <a:pt x="24194" y="8707"/>
                    <a:pt x="24343" y="8888"/>
                  </a:cubicBezTo>
                  <a:cubicBezTo>
                    <a:pt x="24919" y="9548"/>
                    <a:pt x="25496" y="10536"/>
                    <a:pt x="26040" y="11492"/>
                  </a:cubicBezTo>
                  <a:cubicBezTo>
                    <a:pt x="27034" y="13239"/>
                    <a:pt x="27996" y="14908"/>
                    <a:pt x="29200" y="14908"/>
                  </a:cubicBezTo>
                  <a:cubicBezTo>
                    <a:pt x="29234" y="14908"/>
                    <a:pt x="29269" y="14907"/>
                    <a:pt x="29303" y="14904"/>
                  </a:cubicBezTo>
                  <a:cubicBezTo>
                    <a:pt x="30259" y="14838"/>
                    <a:pt x="31133" y="13750"/>
                    <a:pt x="32039" y="11476"/>
                  </a:cubicBezTo>
                  <a:cubicBezTo>
                    <a:pt x="32715" y="9795"/>
                    <a:pt x="33259" y="7965"/>
                    <a:pt x="33737" y="6350"/>
                  </a:cubicBezTo>
                  <a:cubicBezTo>
                    <a:pt x="34594" y="3466"/>
                    <a:pt x="35418" y="730"/>
                    <a:pt x="36473" y="648"/>
                  </a:cubicBezTo>
                  <a:cubicBezTo>
                    <a:pt x="36493" y="646"/>
                    <a:pt x="36514" y="645"/>
                    <a:pt x="36535" y="645"/>
                  </a:cubicBezTo>
                  <a:cubicBezTo>
                    <a:pt x="37439" y="645"/>
                    <a:pt x="38736" y="2391"/>
                    <a:pt x="40412" y="5823"/>
                  </a:cubicBezTo>
                  <a:cubicBezTo>
                    <a:pt x="41829" y="8723"/>
                    <a:pt x="43098" y="10190"/>
                    <a:pt x="44400" y="10405"/>
                  </a:cubicBezTo>
                  <a:cubicBezTo>
                    <a:pt x="44517" y="10424"/>
                    <a:pt x="44632" y="10433"/>
                    <a:pt x="44744" y="10433"/>
                  </a:cubicBezTo>
                  <a:cubicBezTo>
                    <a:pt x="45888" y="10433"/>
                    <a:pt x="46831" y="9490"/>
                    <a:pt x="47746" y="8575"/>
                  </a:cubicBezTo>
                  <a:cubicBezTo>
                    <a:pt x="48635" y="7718"/>
                    <a:pt x="49463" y="6891"/>
                    <a:pt x="50378" y="6891"/>
                  </a:cubicBezTo>
                  <a:cubicBezTo>
                    <a:pt x="50412" y="6891"/>
                    <a:pt x="50447" y="6892"/>
                    <a:pt x="50482" y="6894"/>
                  </a:cubicBezTo>
                  <a:cubicBezTo>
                    <a:pt x="51174" y="6944"/>
                    <a:pt x="51899" y="7504"/>
                    <a:pt x="52690" y="8559"/>
                  </a:cubicBezTo>
                  <a:cubicBezTo>
                    <a:pt x="53218" y="9300"/>
                    <a:pt x="53844" y="9943"/>
                    <a:pt x="54569" y="10503"/>
                  </a:cubicBezTo>
                  <a:lnTo>
                    <a:pt x="54948" y="9993"/>
                  </a:lnTo>
                  <a:cubicBezTo>
                    <a:pt x="54272" y="9482"/>
                    <a:pt x="53696" y="8872"/>
                    <a:pt x="53201" y="8196"/>
                  </a:cubicBezTo>
                  <a:cubicBezTo>
                    <a:pt x="52295" y="6960"/>
                    <a:pt x="51421" y="6334"/>
                    <a:pt x="50531" y="6268"/>
                  </a:cubicBezTo>
                  <a:cubicBezTo>
                    <a:pt x="50474" y="6263"/>
                    <a:pt x="50418" y="6261"/>
                    <a:pt x="50362" y="6261"/>
                  </a:cubicBezTo>
                  <a:cubicBezTo>
                    <a:pt x="49201" y="6261"/>
                    <a:pt x="48229" y="7218"/>
                    <a:pt x="47301" y="8130"/>
                  </a:cubicBezTo>
                  <a:cubicBezTo>
                    <a:pt x="46439" y="8992"/>
                    <a:pt x="45619" y="9798"/>
                    <a:pt x="44738" y="9798"/>
                  </a:cubicBezTo>
                  <a:cubicBezTo>
                    <a:pt x="44659" y="9798"/>
                    <a:pt x="44579" y="9792"/>
                    <a:pt x="44499" y="9778"/>
                  </a:cubicBezTo>
                  <a:cubicBezTo>
                    <a:pt x="43428" y="9597"/>
                    <a:pt x="42291" y="8213"/>
                    <a:pt x="40989" y="5559"/>
                  </a:cubicBezTo>
                  <a:cubicBezTo>
                    <a:pt x="38644" y="744"/>
                    <a:pt x="37381" y="0"/>
                    <a:pt x="36540"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1478;p48"/>
            <p:cNvSpPr/>
            <p:nvPr/>
          </p:nvSpPr>
          <p:spPr>
            <a:xfrm>
              <a:off x="1576375" y="885050"/>
              <a:ext cx="117450" cy="100625"/>
            </a:xfrm>
            <a:custGeom>
              <a:avLst/>
              <a:gdLst/>
              <a:ahLst/>
              <a:cxnLst/>
              <a:rect l="l" t="t" r="r" b="b"/>
              <a:pathLst>
                <a:path w="4698" h="4025" extrusionOk="0">
                  <a:moveTo>
                    <a:pt x="2687" y="629"/>
                  </a:moveTo>
                  <a:cubicBezTo>
                    <a:pt x="3445" y="629"/>
                    <a:pt x="4055" y="1256"/>
                    <a:pt x="4055" y="2014"/>
                  </a:cubicBezTo>
                  <a:cubicBezTo>
                    <a:pt x="4055" y="2840"/>
                    <a:pt x="3374" y="3386"/>
                    <a:pt x="2669" y="3386"/>
                  </a:cubicBezTo>
                  <a:cubicBezTo>
                    <a:pt x="2333" y="3386"/>
                    <a:pt x="1991" y="3263"/>
                    <a:pt x="1715" y="2986"/>
                  </a:cubicBezTo>
                  <a:cubicBezTo>
                    <a:pt x="841" y="2113"/>
                    <a:pt x="1451" y="629"/>
                    <a:pt x="2687" y="629"/>
                  </a:cubicBezTo>
                  <a:close/>
                  <a:moveTo>
                    <a:pt x="2669" y="0"/>
                  </a:moveTo>
                  <a:cubicBezTo>
                    <a:pt x="2172" y="0"/>
                    <a:pt x="1665" y="185"/>
                    <a:pt x="1253" y="596"/>
                  </a:cubicBezTo>
                  <a:cubicBezTo>
                    <a:pt x="1" y="1849"/>
                    <a:pt x="891" y="4024"/>
                    <a:pt x="2687" y="4024"/>
                  </a:cubicBezTo>
                  <a:cubicBezTo>
                    <a:pt x="3791" y="4024"/>
                    <a:pt x="4681" y="3118"/>
                    <a:pt x="4698" y="2014"/>
                  </a:cubicBezTo>
                  <a:cubicBezTo>
                    <a:pt x="4698" y="800"/>
                    <a:pt x="3705" y="0"/>
                    <a:pt x="2669"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1479;p48"/>
            <p:cNvSpPr/>
            <p:nvPr/>
          </p:nvSpPr>
          <p:spPr>
            <a:xfrm>
              <a:off x="268600" y="1284375"/>
              <a:ext cx="31750" cy="48225"/>
            </a:xfrm>
            <a:custGeom>
              <a:avLst/>
              <a:gdLst/>
              <a:ahLst/>
              <a:cxnLst/>
              <a:rect l="l" t="t" r="r" b="b"/>
              <a:pathLst>
                <a:path w="1270" h="1929" extrusionOk="0">
                  <a:moveTo>
                    <a:pt x="627" y="198"/>
                  </a:moveTo>
                  <a:cubicBezTo>
                    <a:pt x="759" y="198"/>
                    <a:pt x="858" y="264"/>
                    <a:pt x="924" y="396"/>
                  </a:cubicBezTo>
                  <a:cubicBezTo>
                    <a:pt x="989" y="511"/>
                    <a:pt x="1022" y="709"/>
                    <a:pt x="1022" y="956"/>
                  </a:cubicBezTo>
                  <a:cubicBezTo>
                    <a:pt x="1022" y="1220"/>
                    <a:pt x="989"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4" y="83"/>
                    <a:pt x="149" y="247"/>
                  </a:cubicBezTo>
                  <a:cubicBezTo>
                    <a:pt x="50" y="412"/>
                    <a:pt x="1" y="643"/>
                    <a:pt x="1" y="956"/>
                  </a:cubicBezTo>
                  <a:cubicBezTo>
                    <a:pt x="1" y="1269"/>
                    <a:pt x="50" y="1517"/>
                    <a:pt x="149" y="1681"/>
                  </a:cubicBezTo>
                  <a:cubicBezTo>
                    <a:pt x="264" y="1846"/>
                    <a:pt x="429" y="1929"/>
                    <a:pt x="627" y="1929"/>
                  </a:cubicBezTo>
                  <a:cubicBezTo>
                    <a:pt x="841" y="1929"/>
                    <a:pt x="1006" y="1846"/>
                    <a:pt x="1105" y="1681"/>
                  </a:cubicBezTo>
                  <a:cubicBezTo>
                    <a:pt x="1220" y="1517"/>
                    <a:pt x="1270" y="1269"/>
                    <a:pt x="1270" y="956"/>
                  </a:cubicBezTo>
                  <a:cubicBezTo>
                    <a:pt x="1270" y="643"/>
                    <a:pt x="1220"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1480;p48"/>
            <p:cNvSpPr/>
            <p:nvPr/>
          </p:nvSpPr>
          <p:spPr>
            <a:xfrm>
              <a:off x="311450" y="1285200"/>
              <a:ext cx="27625" cy="46175"/>
            </a:xfrm>
            <a:custGeom>
              <a:avLst/>
              <a:gdLst/>
              <a:ahLst/>
              <a:cxnLst/>
              <a:rect l="l" t="t" r="r" b="b"/>
              <a:pathLst>
                <a:path w="1105" h="1847" extrusionOk="0">
                  <a:moveTo>
                    <a:pt x="446" y="0"/>
                  </a:moveTo>
                  <a:lnTo>
                    <a:pt x="1" y="99"/>
                  </a:lnTo>
                  <a:lnTo>
                    <a:pt x="1" y="313"/>
                  </a:lnTo>
                  <a:lnTo>
                    <a:pt x="446" y="231"/>
                  </a:lnTo>
                  <a:lnTo>
                    <a:pt x="446" y="1648"/>
                  </a:lnTo>
                  <a:lnTo>
                    <a:pt x="50" y="1648"/>
                  </a:lnTo>
                  <a:lnTo>
                    <a:pt x="50" y="1846"/>
                  </a:lnTo>
                  <a:lnTo>
                    <a:pt x="1105" y="1846"/>
                  </a:lnTo>
                  <a:lnTo>
                    <a:pt x="1105" y="1648"/>
                  </a:lnTo>
                  <a:lnTo>
                    <a:pt x="693" y="1648"/>
                  </a:lnTo>
                  <a:lnTo>
                    <a:pt x="69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1481;p48"/>
            <p:cNvSpPr/>
            <p:nvPr/>
          </p:nvSpPr>
          <p:spPr>
            <a:xfrm>
              <a:off x="607700" y="1284375"/>
              <a:ext cx="31750" cy="48225"/>
            </a:xfrm>
            <a:custGeom>
              <a:avLst/>
              <a:gdLst/>
              <a:ahLst/>
              <a:cxnLst/>
              <a:rect l="l" t="t" r="r" b="b"/>
              <a:pathLst>
                <a:path w="1270" h="1929" extrusionOk="0">
                  <a:moveTo>
                    <a:pt x="643" y="198"/>
                  </a:moveTo>
                  <a:cubicBezTo>
                    <a:pt x="759" y="198"/>
                    <a:pt x="858" y="264"/>
                    <a:pt x="924" y="396"/>
                  </a:cubicBezTo>
                  <a:cubicBezTo>
                    <a:pt x="989" y="511"/>
                    <a:pt x="1022" y="709"/>
                    <a:pt x="1022" y="956"/>
                  </a:cubicBezTo>
                  <a:cubicBezTo>
                    <a:pt x="1022" y="1220"/>
                    <a:pt x="989" y="1401"/>
                    <a:pt x="924" y="1533"/>
                  </a:cubicBezTo>
                  <a:cubicBezTo>
                    <a:pt x="858" y="1665"/>
                    <a:pt x="759"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05" y="1681"/>
                  </a:cubicBezTo>
                  <a:cubicBezTo>
                    <a:pt x="1220" y="1517"/>
                    <a:pt x="1270" y="1269"/>
                    <a:pt x="1270" y="956"/>
                  </a:cubicBezTo>
                  <a:cubicBezTo>
                    <a:pt x="1270" y="643"/>
                    <a:pt x="1220" y="412"/>
                    <a:pt x="1105"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482;p48"/>
            <p:cNvSpPr/>
            <p:nvPr/>
          </p:nvSpPr>
          <p:spPr>
            <a:xfrm>
              <a:off x="648500" y="1284375"/>
              <a:ext cx="29275" cy="47000"/>
            </a:xfrm>
            <a:custGeom>
              <a:avLst/>
              <a:gdLst/>
              <a:ahLst/>
              <a:cxnLst/>
              <a:rect l="l" t="t" r="r" b="b"/>
              <a:pathLst>
                <a:path w="1171" h="1880" extrusionOk="0">
                  <a:moveTo>
                    <a:pt x="528" y="0"/>
                  </a:moveTo>
                  <a:cubicBezTo>
                    <a:pt x="462" y="0"/>
                    <a:pt x="379" y="17"/>
                    <a:pt x="297" y="33"/>
                  </a:cubicBezTo>
                  <a:cubicBezTo>
                    <a:pt x="214" y="50"/>
                    <a:pt x="116" y="83"/>
                    <a:pt x="17" y="132"/>
                  </a:cubicBezTo>
                  <a:lnTo>
                    <a:pt x="17" y="379"/>
                  </a:lnTo>
                  <a:cubicBezTo>
                    <a:pt x="116" y="330"/>
                    <a:pt x="198" y="280"/>
                    <a:pt x="297" y="247"/>
                  </a:cubicBezTo>
                  <a:cubicBezTo>
                    <a:pt x="379" y="231"/>
                    <a:pt x="462" y="214"/>
                    <a:pt x="544" y="214"/>
                  </a:cubicBezTo>
                  <a:cubicBezTo>
                    <a:pt x="643" y="214"/>
                    <a:pt x="742" y="247"/>
                    <a:pt x="808" y="313"/>
                  </a:cubicBezTo>
                  <a:cubicBezTo>
                    <a:pt x="874" y="363"/>
                    <a:pt x="907" y="445"/>
                    <a:pt x="907" y="544"/>
                  </a:cubicBezTo>
                  <a:cubicBezTo>
                    <a:pt x="907" y="610"/>
                    <a:pt x="890" y="659"/>
                    <a:pt x="857" y="725"/>
                  </a:cubicBezTo>
                  <a:cubicBezTo>
                    <a:pt x="841" y="791"/>
                    <a:pt x="775" y="874"/>
                    <a:pt x="692" y="956"/>
                  </a:cubicBezTo>
                  <a:cubicBezTo>
                    <a:pt x="659" y="1006"/>
                    <a:pt x="544" y="1121"/>
                    <a:pt x="379" y="1286"/>
                  </a:cubicBezTo>
                  <a:cubicBezTo>
                    <a:pt x="231" y="1451"/>
                    <a:pt x="99" y="1582"/>
                    <a:pt x="0" y="1681"/>
                  </a:cubicBezTo>
                  <a:lnTo>
                    <a:pt x="0" y="1879"/>
                  </a:lnTo>
                  <a:lnTo>
                    <a:pt x="1170" y="1879"/>
                  </a:lnTo>
                  <a:lnTo>
                    <a:pt x="1170" y="1681"/>
                  </a:lnTo>
                  <a:lnTo>
                    <a:pt x="297" y="1681"/>
                  </a:lnTo>
                  <a:cubicBezTo>
                    <a:pt x="495" y="1467"/>
                    <a:pt x="659" y="1302"/>
                    <a:pt x="775" y="1187"/>
                  </a:cubicBezTo>
                  <a:cubicBezTo>
                    <a:pt x="874" y="1088"/>
                    <a:pt x="940" y="1006"/>
                    <a:pt x="973" y="989"/>
                  </a:cubicBezTo>
                  <a:cubicBezTo>
                    <a:pt x="1039" y="890"/>
                    <a:pt x="1088" y="808"/>
                    <a:pt x="1121" y="742"/>
                  </a:cubicBezTo>
                  <a:cubicBezTo>
                    <a:pt x="1154" y="676"/>
                    <a:pt x="1170" y="610"/>
                    <a:pt x="1170" y="528"/>
                  </a:cubicBezTo>
                  <a:cubicBezTo>
                    <a:pt x="1170" y="363"/>
                    <a:pt x="1104" y="247"/>
                    <a:pt x="989" y="149"/>
                  </a:cubicBezTo>
                  <a:cubicBezTo>
                    <a:pt x="874" y="50"/>
                    <a:pt x="725" y="0"/>
                    <a:pt x="52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483;p48"/>
            <p:cNvSpPr/>
            <p:nvPr/>
          </p:nvSpPr>
          <p:spPr>
            <a:xfrm>
              <a:off x="946800" y="1284375"/>
              <a:ext cx="32175" cy="48225"/>
            </a:xfrm>
            <a:custGeom>
              <a:avLst/>
              <a:gdLst/>
              <a:ahLst/>
              <a:cxnLst/>
              <a:rect l="l" t="t" r="r" b="b"/>
              <a:pathLst>
                <a:path w="1287" h="1929" extrusionOk="0">
                  <a:moveTo>
                    <a:pt x="643" y="198"/>
                  </a:moveTo>
                  <a:cubicBezTo>
                    <a:pt x="775" y="198"/>
                    <a:pt x="858" y="264"/>
                    <a:pt x="924" y="396"/>
                  </a:cubicBezTo>
                  <a:cubicBezTo>
                    <a:pt x="989" y="511"/>
                    <a:pt x="1022" y="709"/>
                    <a:pt x="1022" y="956"/>
                  </a:cubicBezTo>
                  <a:cubicBezTo>
                    <a:pt x="1022" y="1220"/>
                    <a:pt x="989" y="1401"/>
                    <a:pt x="924" y="1533"/>
                  </a:cubicBezTo>
                  <a:cubicBezTo>
                    <a:pt x="858"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64" y="83"/>
                    <a:pt x="165" y="247"/>
                  </a:cubicBezTo>
                  <a:cubicBezTo>
                    <a:pt x="50" y="412"/>
                    <a:pt x="1" y="643"/>
                    <a:pt x="1" y="956"/>
                  </a:cubicBezTo>
                  <a:cubicBezTo>
                    <a:pt x="1" y="1269"/>
                    <a:pt x="50" y="1517"/>
                    <a:pt x="165" y="1681"/>
                  </a:cubicBezTo>
                  <a:cubicBezTo>
                    <a:pt x="264"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484;p48"/>
            <p:cNvSpPr/>
            <p:nvPr/>
          </p:nvSpPr>
          <p:spPr>
            <a:xfrm>
              <a:off x="988000" y="1284375"/>
              <a:ext cx="30100" cy="48225"/>
            </a:xfrm>
            <a:custGeom>
              <a:avLst/>
              <a:gdLst/>
              <a:ahLst/>
              <a:cxnLst/>
              <a:rect l="l" t="t" r="r" b="b"/>
              <a:pathLst>
                <a:path w="1204" h="1929" extrusionOk="0">
                  <a:moveTo>
                    <a:pt x="545" y="0"/>
                  </a:moveTo>
                  <a:cubicBezTo>
                    <a:pt x="479" y="0"/>
                    <a:pt x="396" y="0"/>
                    <a:pt x="314" y="17"/>
                  </a:cubicBezTo>
                  <a:cubicBezTo>
                    <a:pt x="231" y="33"/>
                    <a:pt x="149" y="50"/>
                    <a:pt x="50" y="83"/>
                  </a:cubicBezTo>
                  <a:lnTo>
                    <a:pt x="50" y="297"/>
                  </a:lnTo>
                  <a:cubicBezTo>
                    <a:pt x="149" y="280"/>
                    <a:pt x="231" y="247"/>
                    <a:pt x="314" y="231"/>
                  </a:cubicBezTo>
                  <a:cubicBezTo>
                    <a:pt x="380" y="214"/>
                    <a:pt x="462" y="214"/>
                    <a:pt x="528" y="214"/>
                  </a:cubicBezTo>
                  <a:cubicBezTo>
                    <a:pt x="660" y="214"/>
                    <a:pt x="742" y="231"/>
                    <a:pt x="825" y="297"/>
                  </a:cubicBezTo>
                  <a:cubicBezTo>
                    <a:pt x="891" y="346"/>
                    <a:pt x="924" y="412"/>
                    <a:pt x="924" y="511"/>
                  </a:cubicBezTo>
                  <a:cubicBezTo>
                    <a:pt x="924" y="594"/>
                    <a:pt x="891" y="676"/>
                    <a:pt x="825" y="725"/>
                  </a:cubicBezTo>
                  <a:cubicBezTo>
                    <a:pt x="759" y="775"/>
                    <a:pt x="660" y="791"/>
                    <a:pt x="545" y="791"/>
                  </a:cubicBezTo>
                  <a:lnTo>
                    <a:pt x="314" y="791"/>
                  </a:lnTo>
                  <a:lnTo>
                    <a:pt x="314" y="1006"/>
                  </a:lnTo>
                  <a:lnTo>
                    <a:pt x="528" y="1006"/>
                  </a:lnTo>
                  <a:cubicBezTo>
                    <a:pt x="660" y="1006"/>
                    <a:pt x="775" y="1022"/>
                    <a:pt x="841" y="1088"/>
                  </a:cubicBezTo>
                  <a:cubicBezTo>
                    <a:pt x="924" y="1154"/>
                    <a:pt x="957" y="1236"/>
                    <a:pt x="957" y="1352"/>
                  </a:cubicBezTo>
                  <a:cubicBezTo>
                    <a:pt x="957" y="1467"/>
                    <a:pt x="924" y="1549"/>
                    <a:pt x="841" y="1615"/>
                  </a:cubicBezTo>
                  <a:cubicBezTo>
                    <a:pt x="759" y="1681"/>
                    <a:pt x="643" y="1714"/>
                    <a:pt x="479" y="1714"/>
                  </a:cubicBezTo>
                  <a:cubicBezTo>
                    <a:pt x="396" y="1714"/>
                    <a:pt x="297" y="1698"/>
                    <a:pt x="215" y="1681"/>
                  </a:cubicBezTo>
                  <a:cubicBezTo>
                    <a:pt x="133" y="1665"/>
                    <a:pt x="67" y="1632"/>
                    <a:pt x="1" y="1582"/>
                  </a:cubicBezTo>
                  <a:lnTo>
                    <a:pt x="1" y="1830"/>
                  </a:lnTo>
                  <a:cubicBezTo>
                    <a:pt x="83" y="1863"/>
                    <a:pt x="165" y="1879"/>
                    <a:pt x="248" y="1896"/>
                  </a:cubicBezTo>
                  <a:cubicBezTo>
                    <a:pt x="330" y="1912"/>
                    <a:pt x="413" y="1929"/>
                    <a:pt x="495" y="1929"/>
                  </a:cubicBezTo>
                  <a:cubicBezTo>
                    <a:pt x="726" y="1929"/>
                    <a:pt x="891" y="1879"/>
                    <a:pt x="1023" y="1764"/>
                  </a:cubicBezTo>
                  <a:cubicBezTo>
                    <a:pt x="1154" y="1665"/>
                    <a:pt x="1204" y="1533"/>
                    <a:pt x="1204" y="1352"/>
                  </a:cubicBezTo>
                  <a:cubicBezTo>
                    <a:pt x="1204" y="1236"/>
                    <a:pt x="1171" y="1121"/>
                    <a:pt x="1105" y="1055"/>
                  </a:cubicBezTo>
                  <a:cubicBezTo>
                    <a:pt x="1039" y="973"/>
                    <a:pt x="957" y="907"/>
                    <a:pt x="825" y="890"/>
                  </a:cubicBezTo>
                  <a:cubicBezTo>
                    <a:pt x="940" y="857"/>
                    <a:pt x="1023" y="808"/>
                    <a:pt x="1072" y="742"/>
                  </a:cubicBezTo>
                  <a:cubicBezTo>
                    <a:pt x="1138" y="676"/>
                    <a:pt x="1171" y="577"/>
                    <a:pt x="1171" y="478"/>
                  </a:cubicBezTo>
                  <a:cubicBezTo>
                    <a:pt x="1171" y="330"/>
                    <a:pt x="1105" y="214"/>
                    <a:pt x="1006" y="132"/>
                  </a:cubicBezTo>
                  <a:cubicBezTo>
                    <a:pt x="891" y="50"/>
                    <a:pt x="742" y="0"/>
                    <a:pt x="54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485;p48"/>
            <p:cNvSpPr/>
            <p:nvPr/>
          </p:nvSpPr>
          <p:spPr>
            <a:xfrm>
              <a:off x="1285900" y="1284375"/>
              <a:ext cx="32175" cy="48225"/>
            </a:xfrm>
            <a:custGeom>
              <a:avLst/>
              <a:gdLst/>
              <a:ahLst/>
              <a:cxnLst/>
              <a:rect l="l" t="t" r="r" b="b"/>
              <a:pathLst>
                <a:path w="1287" h="1929" extrusionOk="0">
                  <a:moveTo>
                    <a:pt x="643" y="198"/>
                  </a:moveTo>
                  <a:cubicBezTo>
                    <a:pt x="775" y="198"/>
                    <a:pt x="874" y="264"/>
                    <a:pt x="923" y="396"/>
                  </a:cubicBezTo>
                  <a:cubicBezTo>
                    <a:pt x="989" y="511"/>
                    <a:pt x="1022" y="709"/>
                    <a:pt x="1022" y="956"/>
                  </a:cubicBezTo>
                  <a:cubicBezTo>
                    <a:pt x="1022" y="1220"/>
                    <a:pt x="989" y="1401"/>
                    <a:pt x="923"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41" y="1929"/>
                    <a:pt x="1006" y="1846"/>
                    <a:pt x="1121" y="1681"/>
                  </a:cubicBezTo>
                  <a:cubicBezTo>
                    <a:pt x="1220" y="1517"/>
                    <a:pt x="1286" y="1269"/>
                    <a:pt x="1286" y="956"/>
                  </a:cubicBezTo>
                  <a:cubicBezTo>
                    <a:pt x="1286" y="643"/>
                    <a:pt x="1220" y="412"/>
                    <a:pt x="1121" y="247"/>
                  </a:cubicBezTo>
                  <a:cubicBezTo>
                    <a:pt x="1006" y="83"/>
                    <a:pt x="841"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486;p48"/>
            <p:cNvSpPr/>
            <p:nvPr/>
          </p:nvSpPr>
          <p:spPr>
            <a:xfrm>
              <a:off x="1325050" y="1285200"/>
              <a:ext cx="33800" cy="46175"/>
            </a:xfrm>
            <a:custGeom>
              <a:avLst/>
              <a:gdLst/>
              <a:ahLst/>
              <a:cxnLst/>
              <a:rect l="l" t="t" r="r" b="b"/>
              <a:pathLst>
                <a:path w="1352" h="1847" extrusionOk="0">
                  <a:moveTo>
                    <a:pt x="841" y="214"/>
                  </a:moveTo>
                  <a:lnTo>
                    <a:pt x="841" y="1203"/>
                  </a:lnTo>
                  <a:lnTo>
                    <a:pt x="215" y="1203"/>
                  </a:lnTo>
                  <a:lnTo>
                    <a:pt x="841" y="214"/>
                  </a:lnTo>
                  <a:close/>
                  <a:moveTo>
                    <a:pt x="775" y="0"/>
                  </a:moveTo>
                  <a:lnTo>
                    <a:pt x="0" y="1170"/>
                  </a:lnTo>
                  <a:lnTo>
                    <a:pt x="0" y="1418"/>
                  </a:lnTo>
                  <a:lnTo>
                    <a:pt x="841" y="1418"/>
                  </a:lnTo>
                  <a:lnTo>
                    <a:pt x="841" y="1846"/>
                  </a:lnTo>
                  <a:lnTo>
                    <a:pt x="1088" y="1846"/>
                  </a:lnTo>
                  <a:lnTo>
                    <a:pt x="1088" y="1418"/>
                  </a:lnTo>
                  <a:lnTo>
                    <a:pt x="1352" y="1418"/>
                  </a:lnTo>
                  <a:lnTo>
                    <a:pt x="1352" y="1203"/>
                  </a:lnTo>
                  <a:lnTo>
                    <a:pt x="1088" y="1203"/>
                  </a:lnTo>
                  <a:lnTo>
                    <a:pt x="1088"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487;p48"/>
            <p:cNvSpPr/>
            <p:nvPr/>
          </p:nvSpPr>
          <p:spPr>
            <a:xfrm>
              <a:off x="16250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47" y="1533"/>
                  </a:cubicBezTo>
                  <a:cubicBezTo>
                    <a:pt x="281" y="1401"/>
                    <a:pt x="248" y="1220"/>
                    <a:pt x="248" y="956"/>
                  </a:cubicBezTo>
                  <a:cubicBezTo>
                    <a:pt x="248" y="709"/>
                    <a:pt x="281" y="511"/>
                    <a:pt x="347" y="396"/>
                  </a:cubicBezTo>
                  <a:cubicBezTo>
                    <a:pt x="413" y="264"/>
                    <a:pt x="511" y="198"/>
                    <a:pt x="643" y="198"/>
                  </a:cubicBezTo>
                  <a:close/>
                  <a:moveTo>
                    <a:pt x="643" y="0"/>
                  </a:moveTo>
                  <a:cubicBezTo>
                    <a:pt x="429" y="0"/>
                    <a:pt x="281" y="83"/>
                    <a:pt x="165" y="247"/>
                  </a:cubicBezTo>
                  <a:cubicBezTo>
                    <a:pt x="50" y="412"/>
                    <a:pt x="1" y="643"/>
                    <a:pt x="1" y="956"/>
                  </a:cubicBezTo>
                  <a:cubicBezTo>
                    <a:pt x="1" y="1269"/>
                    <a:pt x="50" y="1517"/>
                    <a:pt x="165" y="1681"/>
                  </a:cubicBezTo>
                  <a:cubicBezTo>
                    <a:pt x="281" y="1846"/>
                    <a:pt x="429" y="1929"/>
                    <a:pt x="643" y="1929"/>
                  </a:cubicBezTo>
                  <a:cubicBezTo>
                    <a:pt x="858" y="1929"/>
                    <a:pt x="1006" y="1846"/>
                    <a:pt x="1121" y="1681"/>
                  </a:cubicBezTo>
                  <a:cubicBezTo>
                    <a:pt x="1220" y="1517"/>
                    <a:pt x="1286" y="1269"/>
                    <a:pt x="1286" y="956"/>
                  </a:cubicBezTo>
                  <a:cubicBezTo>
                    <a:pt x="1286" y="643"/>
                    <a:pt x="1220"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488;p48"/>
            <p:cNvSpPr/>
            <p:nvPr/>
          </p:nvSpPr>
          <p:spPr>
            <a:xfrm>
              <a:off x="1666200" y="1285200"/>
              <a:ext cx="30100" cy="47400"/>
            </a:xfrm>
            <a:custGeom>
              <a:avLst/>
              <a:gdLst/>
              <a:ahLst/>
              <a:cxnLst/>
              <a:rect l="l" t="t" r="r" b="b"/>
              <a:pathLst>
                <a:path w="1204" h="1896" extrusionOk="0">
                  <a:moveTo>
                    <a:pt x="83" y="0"/>
                  </a:moveTo>
                  <a:lnTo>
                    <a:pt x="83" y="940"/>
                  </a:lnTo>
                  <a:cubicBezTo>
                    <a:pt x="149" y="907"/>
                    <a:pt x="215" y="874"/>
                    <a:pt x="281" y="857"/>
                  </a:cubicBezTo>
                  <a:cubicBezTo>
                    <a:pt x="347" y="841"/>
                    <a:pt x="413" y="841"/>
                    <a:pt x="479" y="841"/>
                  </a:cubicBezTo>
                  <a:cubicBezTo>
                    <a:pt x="627" y="841"/>
                    <a:pt x="742" y="874"/>
                    <a:pt x="825" y="956"/>
                  </a:cubicBezTo>
                  <a:cubicBezTo>
                    <a:pt x="907" y="1022"/>
                    <a:pt x="940" y="1137"/>
                    <a:pt x="940" y="1253"/>
                  </a:cubicBezTo>
                  <a:cubicBezTo>
                    <a:pt x="940" y="1385"/>
                    <a:pt x="907" y="1484"/>
                    <a:pt x="825" y="1566"/>
                  </a:cubicBezTo>
                  <a:cubicBezTo>
                    <a:pt x="742" y="1632"/>
                    <a:pt x="627" y="1681"/>
                    <a:pt x="479" y="1681"/>
                  </a:cubicBezTo>
                  <a:cubicBezTo>
                    <a:pt x="396" y="1681"/>
                    <a:pt x="314" y="1665"/>
                    <a:pt x="231" y="1648"/>
                  </a:cubicBezTo>
                  <a:cubicBezTo>
                    <a:pt x="149" y="1632"/>
                    <a:pt x="67" y="1599"/>
                    <a:pt x="1" y="1549"/>
                  </a:cubicBezTo>
                  <a:lnTo>
                    <a:pt x="1" y="1813"/>
                  </a:lnTo>
                  <a:cubicBezTo>
                    <a:pt x="83" y="1830"/>
                    <a:pt x="165" y="1863"/>
                    <a:pt x="248" y="1863"/>
                  </a:cubicBezTo>
                  <a:cubicBezTo>
                    <a:pt x="330" y="1879"/>
                    <a:pt x="413" y="1896"/>
                    <a:pt x="479" y="1896"/>
                  </a:cubicBezTo>
                  <a:cubicBezTo>
                    <a:pt x="709" y="1896"/>
                    <a:pt x="891" y="1830"/>
                    <a:pt x="1006" y="1731"/>
                  </a:cubicBezTo>
                  <a:cubicBezTo>
                    <a:pt x="1138" y="1615"/>
                    <a:pt x="1204" y="1451"/>
                    <a:pt x="1204" y="1253"/>
                  </a:cubicBezTo>
                  <a:cubicBezTo>
                    <a:pt x="1204" y="1071"/>
                    <a:pt x="1138" y="907"/>
                    <a:pt x="1022" y="791"/>
                  </a:cubicBezTo>
                  <a:cubicBezTo>
                    <a:pt x="891" y="692"/>
                    <a:pt x="726" y="626"/>
                    <a:pt x="528" y="626"/>
                  </a:cubicBezTo>
                  <a:cubicBezTo>
                    <a:pt x="495" y="626"/>
                    <a:pt x="446" y="626"/>
                    <a:pt x="413" y="643"/>
                  </a:cubicBezTo>
                  <a:cubicBezTo>
                    <a:pt x="380" y="643"/>
                    <a:pt x="347" y="659"/>
                    <a:pt x="314" y="659"/>
                  </a:cubicBezTo>
                  <a:lnTo>
                    <a:pt x="314" y="214"/>
                  </a:lnTo>
                  <a:lnTo>
                    <a:pt x="1055" y="214"/>
                  </a:lnTo>
                  <a:lnTo>
                    <a:pt x="105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489;p48"/>
            <p:cNvSpPr/>
            <p:nvPr/>
          </p:nvSpPr>
          <p:spPr>
            <a:xfrm>
              <a:off x="1964100" y="1284375"/>
              <a:ext cx="32175" cy="48225"/>
            </a:xfrm>
            <a:custGeom>
              <a:avLst/>
              <a:gdLst/>
              <a:ahLst/>
              <a:cxnLst/>
              <a:rect l="l" t="t" r="r" b="b"/>
              <a:pathLst>
                <a:path w="1287" h="1929" extrusionOk="0">
                  <a:moveTo>
                    <a:pt x="643" y="198"/>
                  </a:moveTo>
                  <a:cubicBezTo>
                    <a:pt x="775" y="198"/>
                    <a:pt x="874" y="264"/>
                    <a:pt x="940" y="396"/>
                  </a:cubicBezTo>
                  <a:cubicBezTo>
                    <a:pt x="1006" y="511"/>
                    <a:pt x="1039" y="709"/>
                    <a:pt x="1039" y="956"/>
                  </a:cubicBezTo>
                  <a:cubicBezTo>
                    <a:pt x="1039" y="1220"/>
                    <a:pt x="1006" y="1401"/>
                    <a:pt x="940" y="1533"/>
                  </a:cubicBezTo>
                  <a:cubicBezTo>
                    <a:pt x="874" y="1665"/>
                    <a:pt x="775" y="1731"/>
                    <a:pt x="643" y="1731"/>
                  </a:cubicBezTo>
                  <a:cubicBezTo>
                    <a:pt x="511" y="1731"/>
                    <a:pt x="413" y="1665"/>
                    <a:pt x="363" y="1533"/>
                  </a:cubicBezTo>
                  <a:cubicBezTo>
                    <a:pt x="297" y="1401"/>
                    <a:pt x="264" y="1220"/>
                    <a:pt x="264" y="956"/>
                  </a:cubicBezTo>
                  <a:cubicBezTo>
                    <a:pt x="264" y="709"/>
                    <a:pt x="297" y="511"/>
                    <a:pt x="363" y="396"/>
                  </a:cubicBezTo>
                  <a:cubicBezTo>
                    <a:pt x="413" y="264"/>
                    <a:pt x="511" y="198"/>
                    <a:pt x="643" y="198"/>
                  </a:cubicBezTo>
                  <a:close/>
                  <a:moveTo>
                    <a:pt x="643" y="0"/>
                  </a:moveTo>
                  <a:cubicBezTo>
                    <a:pt x="445" y="0"/>
                    <a:pt x="281" y="83"/>
                    <a:pt x="165" y="247"/>
                  </a:cubicBezTo>
                  <a:cubicBezTo>
                    <a:pt x="66" y="412"/>
                    <a:pt x="0" y="643"/>
                    <a:pt x="0" y="956"/>
                  </a:cubicBezTo>
                  <a:cubicBezTo>
                    <a:pt x="0" y="1269"/>
                    <a:pt x="66" y="1517"/>
                    <a:pt x="165" y="1681"/>
                  </a:cubicBezTo>
                  <a:cubicBezTo>
                    <a:pt x="281" y="1846"/>
                    <a:pt x="445" y="1929"/>
                    <a:pt x="643" y="1929"/>
                  </a:cubicBezTo>
                  <a:cubicBezTo>
                    <a:pt x="858" y="1929"/>
                    <a:pt x="1006" y="1846"/>
                    <a:pt x="1121" y="1681"/>
                  </a:cubicBezTo>
                  <a:cubicBezTo>
                    <a:pt x="1237" y="1517"/>
                    <a:pt x="1286" y="1269"/>
                    <a:pt x="1286" y="956"/>
                  </a:cubicBezTo>
                  <a:cubicBezTo>
                    <a:pt x="1286" y="643"/>
                    <a:pt x="1237" y="412"/>
                    <a:pt x="1121" y="247"/>
                  </a:cubicBezTo>
                  <a:cubicBezTo>
                    <a:pt x="1006" y="83"/>
                    <a:pt x="858" y="0"/>
                    <a:pt x="64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490;p48"/>
            <p:cNvSpPr/>
            <p:nvPr/>
          </p:nvSpPr>
          <p:spPr>
            <a:xfrm>
              <a:off x="2004900" y="1284375"/>
              <a:ext cx="32150" cy="48225"/>
            </a:xfrm>
            <a:custGeom>
              <a:avLst/>
              <a:gdLst/>
              <a:ahLst/>
              <a:cxnLst/>
              <a:rect l="l" t="t" r="r" b="b"/>
              <a:pathLst>
                <a:path w="1286" h="1929" extrusionOk="0">
                  <a:moveTo>
                    <a:pt x="659" y="857"/>
                  </a:moveTo>
                  <a:cubicBezTo>
                    <a:pt x="775" y="857"/>
                    <a:pt x="857" y="907"/>
                    <a:pt x="923" y="973"/>
                  </a:cubicBezTo>
                  <a:cubicBezTo>
                    <a:pt x="989" y="1055"/>
                    <a:pt x="1022" y="1154"/>
                    <a:pt x="1022" y="1286"/>
                  </a:cubicBezTo>
                  <a:cubicBezTo>
                    <a:pt x="1022" y="1418"/>
                    <a:pt x="989" y="1533"/>
                    <a:pt x="923" y="1615"/>
                  </a:cubicBezTo>
                  <a:cubicBezTo>
                    <a:pt x="857" y="1681"/>
                    <a:pt x="775" y="1731"/>
                    <a:pt x="659" y="1731"/>
                  </a:cubicBezTo>
                  <a:cubicBezTo>
                    <a:pt x="544" y="1731"/>
                    <a:pt x="462" y="1681"/>
                    <a:pt x="396" y="1615"/>
                  </a:cubicBezTo>
                  <a:cubicBezTo>
                    <a:pt x="330" y="1533"/>
                    <a:pt x="297" y="1418"/>
                    <a:pt x="297" y="1286"/>
                  </a:cubicBezTo>
                  <a:cubicBezTo>
                    <a:pt x="297" y="1154"/>
                    <a:pt x="330" y="1055"/>
                    <a:pt x="396" y="973"/>
                  </a:cubicBezTo>
                  <a:cubicBezTo>
                    <a:pt x="462" y="907"/>
                    <a:pt x="544" y="857"/>
                    <a:pt x="659" y="857"/>
                  </a:cubicBezTo>
                  <a:close/>
                  <a:moveTo>
                    <a:pt x="775" y="0"/>
                  </a:moveTo>
                  <a:cubicBezTo>
                    <a:pt x="528" y="0"/>
                    <a:pt x="346" y="83"/>
                    <a:pt x="214" y="264"/>
                  </a:cubicBezTo>
                  <a:cubicBezTo>
                    <a:pt x="66" y="429"/>
                    <a:pt x="0" y="676"/>
                    <a:pt x="0" y="956"/>
                  </a:cubicBezTo>
                  <a:cubicBezTo>
                    <a:pt x="0" y="1269"/>
                    <a:pt x="50" y="1517"/>
                    <a:pt x="165" y="1681"/>
                  </a:cubicBezTo>
                  <a:cubicBezTo>
                    <a:pt x="280" y="1846"/>
                    <a:pt x="445" y="1929"/>
                    <a:pt x="659" y="1929"/>
                  </a:cubicBezTo>
                  <a:cubicBezTo>
                    <a:pt x="841" y="1929"/>
                    <a:pt x="1005" y="1863"/>
                    <a:pt x="1104" y="1747"/>
                  </a:cubicBezTo>
                  <a:cubicBezTo>
                    <a:pt x="1220" y="1632"/>
                    <a:pt x="1286" y="1484"/>
                    <a:pt x="1286" y="1286"/>
                  </a:cubicBezTo>
                  <a:cubicBezTo>
                    <a:pt x="1286" y="1104"/>
                    <a:pt x="1220" y="940"/>
                    <a:pt x="1121" y="824"/>
                  </a:cubicBezTo>
                  <a:cubicBezTo>
                    <a:pt x="1005" y="725"/>
                    <a:pt x="857" y="659"/>
                    <a:pt x="676" y="659"/>
                  </a:cubicBezTo>
                  <a:cubicBezTo>
                    <a:pt x="593" y="659"/>
                    <a:pt x="511" y="676"/>
                    <a:pt x="429" y="725"/>
                  </a:cubicBezTo>
                  <a:cubicBezTo>
                    <a:pt x="363" y="758"/>
                    <a:pt x="297" y="808"/>
                    <a:pt x="247" y="890"/>
                  </a:cubicBezTo>
                  <a:cubicBezTo>
                    <a:pt x="264" y="659"/>
                    <a:pt x="313" y="495"/>
                    <a:pt x="396" y="379"/>
                  </a:cubicBezTo>
                  <a:cubicBezTo>
                    <a:pt x="495" y="264"/>
                    <a:pt x="610" y="214"/>
                    <a:pt x="775" y="214"/>
                  </a:cubicBezTo>
                  <a:cubicBezTo>
                    <a:pt x="841" y="214"/>
                    <a:pt x="907" y="214"/>
                    <a:pt x="973" y="231"/>
                  </a:cubicBezTo>
                  <a:cubicBezTo>
                    <a:pt x="1038" y="247"/>
                    <a:pt x="1088" y="280"/>
                    <a:pt x="1154" y="297"/>
                  </a:cubicBezTo>
                  <a:lnTo>
                    <a:pt x="1154" y="83"/>
                  </a:lnTo>
                  <a:cubicBezTo>
                    <a:pt x="1088" y="50"/>
                    <a:pt x="1022" y="33"/>
                    <a:pt x="956" y="17"/>
                  </a:cubicBezTo>
                  <a:cubicBezTo>
                    <a:pt x="890" y="0"/>
                    <a:pt x="824" y="0"/>
                    <a:pt x="77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491;p48"/>
            <p:cNvSpPr/>
            <p:nvPr/>
          </p:nvSpPr>
          <p:spPr>
            <a:xfrm>
              <a:off x="2303600" y="1284375"/>
              <a:ext cx="31750" cy="48225"/>
            </a:xfrm>
            <a:custGeom>
              <a:avLst/>
              <a:gdLst/>
              <a:ahLst/>
              <a:cxnLst/>
              <a:rect l="l" t="t" r="r" b="b"/>
              <a:pathLst>
                <a:path w="1270" h="1929" extrusionOk="0">
                  <a:moveTo>
                    <a:pt x="627" y="198"/>
                  </a:moveTo>
                  <a:cubicBezTo>
                    <a:pt x="759" y="198"/>
                    <a:pt x="858" y="264"/>
                    <a:pt x="924" y="396"/>
                  </a:cubicBezTo>
                  <a:cubicBezTo>
                    <a:pt x="990" y="511"/>
                    <a:pt x="1023" y="709"/>
                    <a:pt x="1023" y="956"/>
                  </a:cubicBezTo>
                  <a:cubicBezTo>
                    <a:pt x="1023" y="1220"/>
                    <a:pt x="990" y="1401"/>
                    <a:pt x="924" y="1533"/>
                  </a:cubicBezTo>
                  <a:cubicBezTo>
                    <a:pt x="858" y="1665"/>
                    <a:pt x="759" y="1731"/>
                    <a:pt x="627" y="1731"/>
                  </a:cubicBezTo>
                  <a:cubicBezTo>
                    <a:pt x="512" y="1731"/>
                    <a:pt x="413" y="1665"/>
                    <a:pt x="347" y="1533"/>
                  </a:cubicBezTo>
                  <a:cubicBezTo>
                    <a:pt x="281" y="1401"/>
                    <a:pt x="248" y="1220"/>
                    <a:pt x="248" y="956"/>
                  </a:cubicBezTo>
                  <a:cubicBezTo>
                    <a:pt x="248" y="709"/>
                    <a:pt x="281" y="511"/>
                    <a:pt x="347" y="396"/>
                  </a:cubicBezTo>
                  <a:cubicBezTo>
                    <a:pt x="413" y="264"/>
                    <a:pt x="512" y="198"/>
                    <a:pt x="627" y="198"/>
                  </a:cubicBezTo>
                  <a:close/>
                  <a:moveTo>
                    <a:pt x="627" y="0"/>
                  </a:moveTo>
                  <a:cubicBezTo>
                    <a:pt x="429" y="0"/>
                    <a:pt x="265" y="83"/>
                    <a:pt x="149" y="247"/>
                  </a:cubicBezTo>
                  <a:cubicBezTo>
                    <a:pt x="50" y="412"/>
                    <a:pt x="1" y="643"/>
                    <a:pt x="1" y="956"/>
                  </a:cubicBezTo>
                  <a:cubicBezTo>
                    <a:pt x="1" y="1269"/>
                    <a:pt x="50" y="1517"/>
                    <a:pt x="149" y="1681"/>
                  </a:cubicBezTo>
                  <a:cubicBezTo>
                    <a:pt x="265" y="1846"/>
                    <a:pt x="429" y="1929"/>
                    <a:pt x="627" y="1929"/>
                  </a:cubicBezTo>
                  <a:cubicBezTo>
                    <a:pt x="841" y="1929"/>
                    <a:pt x="1006" y="1846"/>
                    <a:pt x="1105" y="1681"/>
                  </a:cubicBezTo>
                  <a:cubicBezTo>
                    <a:pt x="1221" y="1517"/>
                    <a:pt x="1270" y="1269"/>
                    <a:pt x="1270" y="956"/>
                  </a:cubicBezTo>
                  <a:cubicBezTo>
                    <a:pt x="1270" y="643"/>
                    <a:pt x="1221" y="412"/>
                    <a:pt x="1105" y="247"/>
                  </a:cubicBezTo>
                  <a:cubicBezTo>
                    <a:pt x="1006" y="83"/>
                    <a:pt x="841" y="0"/>
                    <a:pt x="627"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492;p48"/>
            <p:cNvSpPr/>
            <p:nvPr/>
          </p:nvSpPr>
          <p:spPr>
            <a:xfrm>
              <a:off x="2344825" y="1285200"/>
              <a:ext cx="29675" cy="46175"/>
            </a:xfrm>
            <a:custGeom>
              <a:avLst/>
              <a:gdLst/>
              <a:ahLst/>
              <a:cxnLst/>
              <a:rect l="l" t="t" r="r" b="b"/>
              <a:pathLst>
                <a:path w="1187" h="1847" extrusionOk="0">
                  <a:moveTo>
                    <a:pt x="0" y="0"/>
                  </a:moveTo>
                  <a:lnTo>
                    <a:pt x="0" y="214"/>
                  </a:lnTo>
                  <a:lnTo>
                    <a:pt x="890" y="214"/>
                  </a:lnTo>
                  <a:lnTo>
                    <a:pt x="264" y="1846"/>
                  </a:lnTo>
                  <a:lnTo>
                    <a:pt x="511" y="1846"/>
                  </a:lnTo>
                  <a:lnTo>
                    <a:pt x="1187" y="116"/>
                  </a:lnTo>
                  <a:lnTo>
                    <a:pt x="118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93" name="Google Shape;1493;p48"/>
          <p:cNvGrpSpPr/>
          <p:nvPr/>
        </p:nvGrpSpPr>
        <p:grpSpPr>
          <a:xfrm>
            <a:off x="956142" y="2622957"/>
            <a:ext cx="2775360" cy="866564"/>
            <a:chOff x="3115300" y="906125"/>
            <a:chExt cx="1802650" cy="562850"/>
          </a:xfrm>
        </p:grpSpPr>
        <p:sp>
          <p:nvSpPr>
            <p:cNvPr id="1494" name="Google Shape;1494;p48"/>
            <p:cNvSpPr/>
            <p:nvPr/>
          </p:nvSpPr>
          <p:spPr>
            <a:xfrm>
              <a:off x="3137550" y="1433525"/>
              <a:ext cx="23525" cy="35450"/>
            </a:xfrm>
            <a:custGeom>
              <a:avLst/>
              <a:gdLst/>
              <a:ahLst/>
              <a:cxnLst/>
              <a:rect l="l" t="t" r="r" b="b"/>
              <a:pathLst>
                <a:path w="941" h="1418" extrusionOk="0">
                  <a:moveTo>
                    <a:pt x="462" y="149"/>
                  </a:moveTo>
                  <a:cubicBezTo>
                    <a:pt x="561" y="149"/>
                    <a:pt x="627" y="198"/>
                    <a:pt x="677" y="281"/>
                  </a:cubicBezTo>
                  <a:cubicBezTo>
                    <a:pt x="726" y="379"/>
                    <a:pt x="759" y="511"/>
                    <a:pt x="759" y="709"/>
                  </a:cubicBezTo>
                  <a:cubicBezTo>
                    <a:pt x="759" y="890"/>
                    <a:pt x="726" y="1039"/>
                    <a:pt x="677" y="1121"/>
                  </a:cubicBezTo>
                  <a:cubicBezTo>
                    <a:pt x="627" y="1220"/>
                    <a:pt x="561" y="1269"/>
                    <a:pt x="462" y="1269"/>
                  </a:cubicBezTo>
                  <a:cubicBezTo>
                    <a:pt x="380" y="1269"/>
                    <a:pt x="297" y="1220"/>
                    <a:pt x="248" y="1121"/>
                  </a:cubicBezTo>
                  <a:cubicBezTo>
                    <a:pt x="199" y="1039"/>
                    <a:pt x="182" y="890"/>
                    <a:pt x="182" y="709"/>
                  </a:cubicBezTo>
                  <a:cubicBezTo>
                    <a:pt x="182" y="511"/>
                    <a:pt x="199" y="379"/>
                    <a:pt x="248" y="281"/>
                  </a:cubicBezTo>
                  <a:cubicBezTo>
                    <a:pt x="297"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2" y="1352"/>
                    <a:pt x="808" y="1236"/>
                  </a:cubicBezTo>
                  <a:cubicBezTo>
                    <a:pt x="891" y="1105"/>
                    <a:pt x="940" y="940"/>
                    <a:pt x="940" y="709"/>
                  </a:cubicBezTo>
                  <a:cubicBezTo>
                    <a:pt x="940" y="478"/>
                    <a:pt x="891" y="297"/>
                    <a:pt x="808"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495;p48"/>
            <p:cNvSpPr/>
            <p:nvPr/>
          </p:nvSpPr>
          <p:spPr>
            <a:xfrm>
              <a:off x="3169275" y="1433925"/>
              <a:ext cx="20225" cy="34225"/>
            </a:xfrm>
            <a:custGeom>
              <a:avLst/>
              <a:gdLst/>
              <a:ahLst/>
              <a:cxnLst/>
              <a:rect l="l" t="t" r="r" b="b"/>
              <a:pathLst>
                <a:path w="809" h="1369" extrusionOk="0">
                  <a:moveTo>
                    <a:pt x="330" y="1"/>
                  </a:moveTo>
                  <a:lnTo>
                    <a:pt x="1" y="67"/>
                  </a:lnTo>
                  <a:lnTo>
                    <a:pt x="1" y="248"/>
                  </a:lnTo>
                  <a:lnTo>
                    <a:pt x="330" y="182"/>
                  </a:lnTo>
                  <a:lnTo>
                    <a:pt x="330" y="1220"/>
                  </a:lnTo>
                  <a:lnTo>
                    <a:pt x="17" y="1220"/>
                  </a:lnTo>
                  <a:lnTo>
                    <a:pt x="17"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496;p48"/>
            <p:cNvSpPr/>
            <p:nvPr/>
          </p:nvSpPr>
          <p:spPr>
            <a:xfrm>
              <a:off x="3302775"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497;p48"/>
            <p:cNvSpPr/>
            <p:nvPr/>
          </p:nvSpPr>
          <p:spPr>
            <a:xfrm>
              <a:off x="3332850" y="1433525"/>
              <a:ext cx="21450" cy="34625"/>
            </a:xfrm>
            <a:custGeom>
              <a:avLst/>
              <a:gdLst/>
              <a:ahLst/>
              <a:cxnLst/>
              <a:rect l="l" t="t" r="r" b="b"/>
              <a:pathLst>
                <a:path w="858" h="1385" extrusionOk="0">
                  <a:moveTo>
                    <a:pt x="396" y="0"/>
                  </a:moveTo>
                  <a:cubicBezTo>
                    <a:pt x="330" y="0"/>
                    <a:pt x="281" y="0"/>
                    <a:pt x="215" y="17"/>
                  </a:cubicBezTo>
                  <a:cubicBezTo>
                    <a:pt x="149" y="33"/>
                    <a:pt x="83" y="66"/>
                    <a:pt x="1" y="83"/>
                  </a:cubicBezTo>
                  <a:lnTo>
                    <a:pt x="1" y="281"/>
                  </a:lnTo>
                  <a:cubicBezTo>
                    <a:pt x="83" y="231"/>
                    <a:pt x="149" y="198"/>
                    <a:pt x="215" y="182"/>
                  </a:cubicBezTo>
                  <a:cubicBezTo>
                    <a:pt x="281" y="165"/>
                    <a:pt x="330" y="149"/>
                    <a:pt x="396" y="149"/>
                  </a:cubicBezTo>
                  <a:cubicBezTo>
                    <a:pt x="479" y="149"/>
                    <a:pt x="545" y="182"/>
                    <a:pt x="594" y="215"/>
                  </a:cubicBezTo>
                  <a:cubicBezTo>
                    <a:pt x="644" y="264"/>
                    <a:pt x="660" y="330"/>
                    <a:pt x="660" y="396"/>
                  </a:cubicBezTo>
                  <a:cubicBezTo>
                    <a:pt x="660" y="445"/>
                    <a:pt x="660" y="495"/>
                    <a:pt x="627" y="528"/>
                  </a:cubicBezTo>
                  <a:cubicBezTo>
                    <a:pt x="611" y="577"/>
                    <a:pt x="561" y="643"/>
                    <a:pt x="512" y="709"/>
                  </a:cubicBezTo>
                  <a:cubicBezTo>
                    <a:pt x="479" y="742"/>
                    <a:pt x="396" y="824"/>
                    <a:pt x="281" y="940"/>
                  </a:cubicBezTo>
                  <a:cubicBezTo>
                    <a:pt x="166" y="1055"/>
                    <a:pt x="67" y="1154"/>
                    <a:pt x="1" y="1236"/>
                  </a:cubicBezTo>
                  <a:lnTo>
                    <a:pt x="1" y="1385"/>
                  </a:lnTo>
                  <a:lnTo>
                    <a:pt x="858" y="1385"/>
                  </a:lnTo>
                  <a:lnTo>
                    <a:pt x="858" y="1236"/>
                  </a:lnTo>
                  <a:lnTo>
                    <a:pt x="215" y="1236"/>
                  </a:lnTo>
                  <a:cubicBezTo>
                    <a:pt x="363" y="1072"/>
                    <a:pt x="479" y="956"/>
                    <a:pt x="561" y="874"/>
                  </a:cubicBezTo>
                  <a:cubicBezTo>
                    <a:pt x="644" y="791"/>
                    <a:pt x="693" y="742"/>
                    <a:pt x="710" y="726"/>
                  </a:cubicBezTo>
                  <a:cubicBezTo>
                    <a:pt x="759" y="660"/>
                    <a:pt x="792" y="594"/>
                    <a:pt x="825" y="544"/>
                  </a:cubicBezTo>
                  <a:cubicBezTo>
                    <a:pt x="841" y="495"/>
                    <a:pt x="858" y="445"/>
                    <a:pt x="858" y="379"/>
                  </a:cubicBezTo>
                  <a:cubicBezTo>
                    <a:pt x="858" y="264"/>
                    <a:pt x="808" y="182"/>
                    <a:pt x="726" y="99"/>
                  </a:cubicBezTo>
                  <a:cubicBezTo>
                    <a:pt x="644"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498;p48"/>
            <p:cNvSpPr/>
            <p:nvPr/>
          </p:nvSpPr>
          <p:spPr>
            <a:xfrm>
              <a:off x="3451925" y="1433525"/>
              <a:ext cx="23525" cy="35450"/>
            </a:xfrm>
            <a:custGeom>
              <a:avLst/>
              <a:gdLst/>
              <a:ahLst/>
              <a:cxnLst/>
              <a:rect l="l" t="t" r="r" b="b"/>
              <a:pathLst>
                <a:path w="941" h="1418" extrusionOk="0">
                  <a:moveTo>
                    <a:pt x="462" y="149"/>
                  </a:moveTo>
                  <a:cubicBezTo>
                    <a:pt x="561" y="149"/>
                    <a:pt x="644" y="198"/>
                    <a:pt x="677" y="281"/>
                  </a:cubicBezTo>
                  <a:cubicBezTo>
                    <a:pt x="726" y="379"/>
                    <a:pt x="759" y="511"/>
                    <a:pt x="759" y="709"/>
                  </a:cubicBezTo>
                  <a:cubicBezTo>
                    <a:pt x="759" y="890"/>
                    <a:pt x="726" y="1039"/>
                    <a:pt x="677" y="1121"/>
                  </a:cubicBezTo>
                  <a:cubicBezTo>
                    <a:pt x="644" y="1220"/>
                    <a:pt x="561" y="1269"/>
                    <a:pt x="462" y="1269"/>
                  </a:cubicBezTo>
                  <a:cubicBezTo>
                    <a:pt x="380" y="1269"/>
                    <a:pt x="298" y="1220"/>
                    <a:pt x="248" y="1121"/>
                  </a:cubicBezTo>
                  <a:cubicBezTo>
                    <a:pt x="215" y="1039"/>
                    <a:pt x="182" y="890"/>
                    <a:pt x="182" y="709"/>
                  </a:cubicBezTo>
                  <a:cubicBezTo>
                    <a:pt x="182" y="511"/>
                    <a:pt x="215" y="379"/>
                    <a:pt x="248" y="281"/>
                  </a:cubicBezTo>
                  <a:cubicBezTo>
                    <a:pt x="298" y="198"/>
                    <a:pt x="380" y="149"/>
                    <a:pt x="462" y="149"/>
                  </a:cubicBezTo>
                  <a:close/>
                  <a:moveTo>
                    <a:pt x="462" y="0"/>
                  </a:moveTo>
                  <a:cubicBezTo>
                    <a:pt x="314" y="0"/>
                    <a:pt x="199" y="66"/>
                    <a:pt x="116" y="182"/>
                  </a:cubicBezTo>
                  <a:cubicBezTo>
                    <a:pt x="34" y="297"/>
                    <a:pt x="1" y="478"/>
                    <a:pt x="1" y="709"/>
                  </a:cubicBezTo>
                  <a:cubicBezTo>
                    <a:pt x="1" y="940"/>
                    <a:pt x="34" y="1105"/>
                    <a:pt x="116" y="1236"/>
                  </a:cubicBezTo>
                  <a:cubicBezTo>
                    <a:pt x="199" y="1352"/>
                    <a:pt x="314" y="1418"/>
                    <a:pt x="462" y="1418"/>
                  </a:cubicBezTo>
                  <a:cubicBezTo>
                    <a:pt x="627" y="1418"/>
                    <a:pt x="743" y="1352"/>
                    <a:pt x="825" y="1236"/>
                  </a:cubicBezTo>
                  <a:cubicBezTo>
                    <a:pt x="907" y="1105"/>
                    <a:pt x="940" y="940"/>
                    <a:pt x="940" y="709"/>
                  </a:cubicBezTo>
                  <a:cubicBezTo>
                    <a:pt x="940" y="478"/>
                    <a:pt x="907" y="297"/>
                    <a:pt x="825" y="182"/>
                  </a:cubicBezTo>
                  <a:cubicBezTo>
                    <a:pt x="743"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499;p48"/>
            <p:cNvSpPr/>
            <p:nvPr/>
          </p:nvSpPr>
          <p:spPr>
            <a:xfrm>
              <a:off x="3482025" y="1433525"/>
              <a:ext cx="22675" cy="35450"/>
            </a:xfrm>
            <a:custGeom>
              <a:avLst/>
              <a:gdLst/>
              <a:ahLst/>
              <a:cxnLst/>
              <a:rect l="l" t="t" r="r" b="b"/>
              <a:pathLst>
                <a:path w="907" h="1418" extrusionOk="0">
                  <a:moveTo>
                    <a:pt x="412" y="0"/>
                  </a:moveTo>
                  <a:cubicBezTo>
                    <a:pt x="363" y="0"/>
                    <a:pt x="297" y="0"/>
                    <a:pt x="247" y="17"/>
                  </a:cubicBezTo>
                  <a:cubicBezTo>
                    <a:pt x="181" y="17"/>
                    <a:pt x="115" y="33"/>
                    <a:pt x="49" y="50"/>
                  </a:cubicBezTo>
                  <a:lnTo>
                    <a:pt x="49" y="215"/>
                  </a:lnTo>
                  <a:cubicBezTo>
                    <a:pt x="115" y="198"/>
                    <a:pt x="181" y="182"/>
                    <a:pt x="231" y="165"/>
                  </a:cubicBezTo>
                  <a:cubicBezTo>
                    <a:pt x="297" y="165"/>
                    <a:pt x="346" y="149"/>
                    <a:pt x="396" y="149"/>
                  </a:cubicBezTo>
                  <a:cubicBezTo>
                    <a:pt x="494" y="149"/>
                    <a:pt x="560" y="165"/>
                    <a:pt x="610" y="215"/>
                  </a:cubicBezTo>
                  <a:cubicBezTo>
                    <a:pt x="659" y="248"/>
                    <a:pt x="692" y="297"/>
                    <a:pt x="692" y="363"/>
                  </a:cubicBezTo>
                  <a:cubicBezTo>
                    <a:pt x="692" y="445"/>
                    <a:pt x="659" y="495"/>
                    <a:pt x="610" y="528"/>
                  </a:cubicBezTo>
                  <a:cubicBezTo>
                    <a:pt x="560" y="561"/>
                    <a:pt x="494" y="577"/>
                    <a:pt x="412" y="577"/>
                  </a:cubicBezTo>
                  <a:lnTo>
                    <a:pt x="231" y="577"/>
                  </a:lnTo>
                  <a:lnTo>
                    <a:pt x="231" y="726"/>
                  </a:lnTo>
                  <a:lnTo>
                    <a:pt x="396" y="726"/>
                  </a:lnTo>
                  <a:cubicBezTo>
                    <a:pt x="494" y="726"/>
                    <a:pt x="577" y="759"/>
                    <a:pt x="626" y="808"/>
                  </a:cubicBezTo>
                  <a:cubicBezTo>
                    <a:pt x="692" y="841"/>
                    <a:pt x="709" y="907"/>
                    <a:pt x="709" y="989"/>
                  </a:cubicBezTo>
                  <a:cubicBezTo>
                    <a:pt x="709" y="1072"/>
                    <a:pt x="692" y="1138"/>
                    <a:pt x="626" y="1187"/>
                  </a:cubicBezTo>
                  <a:cubicBezTo>
                    <a:pt x="560" y="1236"/>
                    <a:pt x="478" y="1253"/>
                    <a:pt x="363" y="1253"/>
                  </a:cubicBezTo>
                  <a:cubicBezTo>
                    <a:pt x="297" y="1253"/>
                    <a:pt x="231" y="1253"/>
                    <a:pt x="165" y="1236"/>
                  </a:cubicBezTo>
                  <a:cubicBezTo>
                    <a:pt x="115" y="1220"/>
                    <a:pt x="49" y="1204"/>
                    <a:pt x="0" y="1171"/>
                  </a:cubicBezTo>
                  <a:lnTo>
                    <a:pt x="0" y="1352"/>
                  </a:lnTo>
                  <a:cubicBezTo>
                    <a:pt x="66" y="1368"/>
                    <a:pt x="132" y="1385"/>
                    <a:pt x="198" y="1401"/>
                  </a:cubicBezTo>
                  <a:cubicBezTo>
                    <a:pt x="247" y="1401"/>
                    <a:pt x="313" y="1418"/>
                    <a:pt x="363" y="1418"/>
                  </a:cubicBezTo>
                  <a:cubicBezTo>
                    <a:pt x="544" y="1418"/>
                    <a:pt x="676" y="1368"/>
                    <a:pt x="758" y="1302"/>
                  </a:cubicBezTo>
                  <a:cubicBezTo>
                    <a:pt x="857" y="1220"/>
                    <a:pt x="906" y="1121"/>
                    <a:pt x="906" y="989"/>
                  </a:cubicBezTo>
                  <a:cubicBezTo>
                    <a:pt x="906" y="907"/>
                    <a:pt x="874" y="824"/>
                    <a:pt x="824" y="775"/>
                  </a:cubicBezTo>
                  <a:cubicBezTo>
                    <a:pt x="775" y="709"/>
                    <a:pt x="709" y="676"/>
                    <a:pt x="626" y="643"/>
                  </a:cubicBezTo>
                  <a:cubicBezTo>
                    <a:pt x="692" y="627"/>
                    <a:pt x="758" y="594"/>
                    <a:pt x="808" y="544"/>
                  </a:cubicBezTo>
                  <a:cubicBezTo>
                    <a:pt x="841" y="495"/>
                    <a:pt x="874" y="429"/>
                    <a:pt x="874" y="346"/>
                  </a:cubicBezTo>
                  <a:cubicBezTo>
                    <a:pt x="874" y="248"/>
                    <a:pt x="824" y="165"/>
                    <a:pt x="742" y="99"/>
                  </a:cubicBezTo>
                  <a:cubicBezTo>
                    <a:pt x="659" y="33"/>
                    <a:pt x="560" y="0"/>
                    <a:pt x="41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500;p48"/>
            <p:cNvSpPr/>
            <p:nvPr/>
          </p:nvSpPr>
          <p:spPr>
            <a:xfrm>
              <a:off x="3611800" y="1433525"/>
              <a:ext cx="23500" cy="35450"/>
            </a:xfrm>
            <a:custGeom>
              <a:avLst/>
              <a:gdLst/>
              <a:ahLst/>
              <a:cxnLst/>
              <a:rect l="l" t="t" r="r" b="b"/>
              <a:pathLst>
                <a:path w="940"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501;p48"/>
            <p:cNvSpPr/>
            <p:nvPr/>
          </p:nvSpPr>
          <p:spPr>
            <a:xfrm>
              <a:off x="3640650" y="1433925"/>
              <a:ext cx="24750" cy="34225"/>
            </a:xfrm>
            <a:custGeom>
              <a:avLst/>
              <a:gdLst/>
              <a:ahLst/>
              <a:cxnLst/>
              <a:rect l="l" t="t" r="r" b="b"/>
              <a:pathLst>
                <a:path w="990" h="1369" extrusionOk="0">
                  <a:moveTo>
                    <a:pt x="610" y="166"/>
                  </a:moveTo>
                  <a:lnTo>
                    <a:pt x="610" y="891"/>
                  </a:lnTo>
                  <a:lnTo>
                    <a:pt x="149" y="891"/>
                  </a:lnTo>
                  <a:lnTo>
                    <a:pt x="610" y="166"/>
                  </a:lnTo>
                  <a:close/>
                  <a:moveTo>
                    <a:pt x="561" y="1"/>
                  </a:moveTo>
                  <a:lnTo>
                    <a:pt x="0" y="874"/>
                  </a:lnTo>
                  <a:lnTo>
                    <a:pt x="0" y="1056"/>
                  </a:lnTo>
                  <a:lnTo>
                    <a:pt x="610" y="1056"/>
                  </a:lnTo>
                  <a:lnTo>
                    <a:pt x="610" y="1369"/>
                  </a:lnTo>
                  <a:lnTo>
                    <a:pt x="808" y="1369"/>
                  </a:lnTo>
                  <a:lnTo>
                    <a:pt x="808" y="1056"/>
                  </a:lnTo>
                  <a:lnTo>
                    <a:pt x="989" y="1056"/>
                  </a:lnTo>
                  <a:lnTo>
                    <a:pt x="989" y="891"/>
                  </a:lnTo>
                  <a:lnTo>
                    <a:pt x="808" y="891"/>
                  </a:lnTo>
                  <a:lnTo>
                    <a:pt x="80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502;p48"/>
            <p:cNvSpPr/>
            <p:nvPr/>
          </p:nvSpPr>
          <p:spPr>
            <a:xfrm>
              <a:off x="3750650" y="1433525"/>
              <a:ext cx="23525" cy="35450"/>
            </a:xfrm>
            <a:custGeom>
              <a:avLst/>
              <a:gdLst/>
              <a:ahLst/>
              <a:cxnLst/>
              <a:rect l="l" t="t" r="r" b="b"/>
              <a:pathLst>
                <a:path w="941" h="1418" extrusionOk="0">
                  <a:moveTo>
                    <a:pt x="462" y="149"/>
                  </a:moveTo>
                  <a:cubicBezTo>
                    <a:pt x="561" y="149"/>
                    <a:pt x="627" y="198"/>
                    <a:pt x="676" y="281"/>
                  </a:cubicBezTo>
                  <a:cubicBezTo>
                    <a:pt x="726" y="379"/>
                    <a:pt x="759" y="511"/>
                    <a:pt x="759" y="709"/>
                  </a:cubicBezTo>
                  <a:cubicBezTo>
                    <a:pt x="759" y="890"/>
                    <a:pt x="726" y="1039"/>
                    <a:pt x="676" y="1121"/>
                  </a:cubicBezTo>
                  <a:cubicBezTo>
                    <a:pt x="627" y="1220"/>
                    <a:pt x="561" y="1269"/>
                    <a:pt x="462" y="1269"/>
                  </a:cubicBezTo>
                  <a:cubicBezTo>
                    <a:pt x="363" y="1269"/>
                    <a:pt x="297" y="1220"/>
                    <a:pt x="248" y="1121"/>
                  </a:cubicBezTo>
                  <a:cubicBezTo>
                    <a:pt x="198" y="1039"/>
                    <a:pt x="182" y="890"/>
                    <a:pt x="182" y="709"/>
                  </a:cubicBezTo>
                  <a:cubicBezTo>
                    <a:pt x="182" y="511"/>
                    <a:pt x="198" y="379"/>
                    <a:pt x="248" y="281"/>
                  </a:cubicBezTo>
                  <a:cubicBezTo>
                    <a:pt x="297" y="198"/>
                    <a:pt x="363"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11" y="1418"/>
                    <a:pt x="726" y="1352"/>
                    <a:pt x="808" y="1236"/>
                  </a:cubicBezTo>
                  <a:cubicBezTo>
                    <a:pt x="891" y="1105"/>
                    <a:pt x="940" y="940"/>
                    <a:pt x="940" y="709"/>
                  </a:cubicBezTo>
                  <a:cubicBezTo>
                    <a:pt x="940" y="478"/>
                    <a:pt x="891" y="297"/>
                    <a:pt x="808" y="182"/>
                  </a:cubicBezTo>
                  <a:cubicBezTo>
                    <a:pt x="726" y="66"/>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503;p48"/>
            <p:cNvSpPr/>
            <p:nvPr/>
          </p:nvSpPr>
          <p:spPr>
            <a:xfrm>
              <a:off x="3780725" y="1433925"/>
              <a:ext cx="22275" cy="35050"/>
            </a:xfrm>
            <a:custGeom>
              <a:avLst/>
              <a:gdLst/>
              <a:ahLst/>
              <a:cxnLst/>
              <a:rect l="l" t="t" r="r" b="b"/>
              <a:pathLst>
                <a:path w="891" h="1402" extrusionOk="0">
                  <a:moveTo>
                    <a:pt x="67" y="1"/>
                  </a:moveTo>
                  <a:lnTo>
                    <a:pt x="67" y="693"/>
                  </a:lnTo>
                  <a:cubicBezTo>
                    <a:pt x="116" y="660"/>
                    <a:pt x="166" y="644"/>
                    <a:pt x="215" y="644"/>
                  </a:cubicBezTo>
                  <a:cubicBezTo>
                    <a:pt x="265" y="627"/>
                    <a:pt x="314" y="627"/>
                    <a:pt x="363" y="627"/>
                  </a:cubicBezTo>
                  <a:cubicBezTo>
                    <a:pt x="462" y="627"/>
                    <a:pt x="545" y="644"/>
                    <a:pt x="611" y="710"/>
                  </a:cubicBezTo>
                  <a:cubicBezTo>
                    <a:pt x="660" y="759"/>
                    <a:pt x="693" y="841"/>
                    <a:pt x="693" y="924"/>
                  </a:cubicBezTo>
                  <a:cubicBezTo>
                    <a:pt x="693" y="1023"/>
                    <a:pt x="660" y="1105"/>
                    <a:pt x="611" y="1155"/>
                  </a:cubicBezTo>
                  <a:cubicBezTo>
                    <a:pt x="545" y="1220"/>
                    <a:pt x="462" y="1237"/>
                    <a:pt x="363" y="1237"/>
                  </a:cubicBezTo>
                  <a:cubicBezTo>
                    <a:pt x="298" y="1237"/>
                    <a:pt x="232" y="1237"/>
                    <a:pt x="166" y="1220"/>
                  </a:cubicBezTo>
                  <a:cubicBezTo>
                    <a:pt x="116" y="1204"/>
                    <a:pt x="50" y="1188"/>
                    <a:pt x="1" y="1155"/>
                  </a:cubicBezTo>
                  <a:lnTo>
                    <a:pt x="1" y="1336"/>
                  </a:lnTo>
                  <a:cubicBezTo>
                    <a:pt x="67" y="1352"/>
                    <a:pt x="133" y="1369"/>
                    <a:pt x="182" y="1385"/>
                  </a:cubicBezTo>
                  <a:cubicBezTo>
                    <a:pt x="248" y="1385"/>
                    <a:pt x="298" y="1402"/>
                    <a:pt x="363" y="1402"/>
                  </a:cubicBezTo>
                  <a:cubicBezTo>
                    <a:pt x="528" y="1402"/>
                    <a:pt x="660" y="1352"/>
                    <a:pt x="742" y="1270"/>
                  </a:cubicBezTo>
                  <a:cubicBezTo>
                    <a:pt x="841" y="1188"/>
                    <a:pt x="891" y="1072"/>
                    <a:pt x="891" y="924"/>
                  </a:cubicBezTo>
                  <a:cubicBezTo>
                    <a:pt x="891" y="792"/>
                    <a:pt x="841" y="677"/>
                    <a:pt x="742" y="594"/>
                  </a:cubicBezTo>
                  <a:cubicBezTo>
                    <a:pt x="660" y="512"/>
                    <a:pt x="545" y="462"/>
                    <a:pt x="396" y="462"/>
                  </a:cubicBezTo>
                  <a:cubicBezTo>
                    <a:pt x="363" y="462"/>
                    <a:pt x="330" y="479"/>
                    <a:pt x="314" y="479"/>
                  </a:cubicBezTo>
                  <a:cubicBezTo>
                    <a:pt x="281" y="479"/>
                    <a:pt x="248" y="479"/>
                    <a:pt x="232" y="495"/>
                  </a:cubicBezTo>
                  <a:lnTo>
                    <a:pt x="232" y="166"/>
                  </a:lnTo>
                  <a:lnTo>
                    <a:pt x="775" y="166"/>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504;p48"/>
            <p:cNvSpPr/>
            <p:nvPr/>
          </p:nvSpPr>
          <p:spPr>
            <a:xfrm>
              <a:off x="3905175" y="1433525"/>
              <a:ext cx="23500" cy="35450"/>
            </a:xfrm>
            <a:custGeom>
              <a:avLst/>
              <a:gdLst/>
              <a:ahLst/>
              <a:cxnLst/>
              <a:rect l="l" t="t" r="r" b="b"/>
              <a:pathLst>
                <a:path w="940" h="1418" extrusionOk="0">
                  <a:moveTo>
                    <a:pt x="462" y="149"/>
                  </a:moveTo>
                  <a:cubicBezTo>
                    <a:pt x="561" y="149"/>
                    <a:pt x="626" y="198"/>
                    <a:pt x="676" y="281"/>
                  </a:cubicBezTo>
                  <a:cubicBezTo>
                    <a:pt x="725" y="379"/>
                    <a:pt x="758" y="511"/>
                    <a:pt x="758" y="709"/>
                  </a:cubicBezTo>
                  <a:cubicBezTo>
                    <a:pt x="758" y="890"/>
                    <a:pt x="725" y="1039"/>
                    <a:pt x="676" y="1121"/>
                  </a:cubicBezTo>
                  <a:cubicBezTo>
                    <a:pt x="626" y="1220"/>
                    <a:pt x="561" y="1269"/>
                    <a:pt x="462" y="1269"/>
                  </a:cubicBezTo>
                  <a:cubicBezTo>
                    <a:pt x="379" y="1269"/>
                    <a:pt x="297" y="1220"/>
                    <a:pt x="247" y="1121"/>
                  </a:cubicBezTo>
                  <a:cubicBezTo>
                    <a:pt x="198" y="1039"/>
                    <a:pt x="181" y="890"/>
                    <a:pt x="181" y="709"/>
                  </a:cubicBezTo>
                  <a:cubicBezTo>
                    <a:pt x="181" y="511"/>
                    <a:pt x="198" y="379"/>
                    <a:pt x="247" y="281"/>
                  </a:cubicBezTo>
                  <a:cubicBezTo>
                    <a:pt x="297" y="198"/>
                    <a:pt x="379" y="149"/>
                    <a:pt x="462" y="149"/>
                  </a:cubicBezTo>
                  <a:close/>
                  <a:moveTo>
                    <a:pt x="462" y="0"/>
                  </a:moveTo>
                  <a:cubicBezTo>
                    <a:pt x="313" y="0"/>
                    <a:pt x="198" y="66"/>
                    <a:pt x="116" y="182"/>
                  </a:cubicBezTo>
                  <a:cubicBezTo>
                    <a:pt x="33" y="297"/>
                    <a:pt x="0" y="478"/>
                    <a:pt x="0" y="709"/>
                  </a:cubicBezTo>
                  <a:cubicBezTo>
                    <a:pt x="0" y="940"/>
                    <a:pt x="33" y="1105"/>
                    <a:pt x="116" y="1236"/>
                  </a:cubicBezTo>
                  <a:cubicBezTo>
                    <a:pt x="198" y="1352"/>
                    <a:pt x="313" y="1418"/>
                    <a:pt x="462" y="1418"/>
                  </a:cubicBezTo>
                  <a:cubicBezTo>
                    <a:pt x="626" y="1418"/>
                    <a:pt x="742" y="1352"/>
                    <a:pt x="808" y="1236"/>
                  </a:cubicBezTo>
                  <a:cubicBezTo>
                    <a:pt x="890" y="1105"/>
                    <a:pt x="940" y="940"/>
                    <a:pt x="940" y="709"/>
                  </a:cubicBezTo>
                  <a:cubicBezTo>
                    <a:pt x="940" y="478"/>
                    <a:pt x="890" y="297"/>
                    <a:pt x="808" y="182"/>
                  </a:cubicBezTo>
                  <a:cubicBezTo>
                    <a:pt x="742" y="66"/>
                    <a:pt x="626"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505;p48"/>
            <p:cNvSpPr/>
            <p:nvPr/>
          </p:nvSpPr>
          <p:spPr>
            <a:xfrm>
              <a:off x="3934825" y="1433525"/>
              <a:ext cx="23525" cy="35450"/>
            </a:xfrm>
            <a:custGeom>
              <a:avLst/>
              <a:gdLst/>
              <a:ahLst/>
              <a:cxnLst/>
              <a:rect l="l" t="t" r="r" b="b"/>
              <a:pathLst>
                <a:path w="941" h="1418" extrusionOk="0">
                  <a:moveTo>
                    <a:pt x="495" y="627"/>
                  </a:moveTo>
                  <a:cubicBezTo>
                    <a:pt x="578" y="627"/>
                    <a:pt x="644" y="660"/>
                    <a:pt x="693" y="709"/>
                  </a:cubicBezTo>
                  <a:cubicBezTo>
                    <a:pt x="742" y="775"/>
                    <a:pt x="759" y="857"/>
                    <a:pt x="759" y="940"/>
                  </a:cubicBezTo>
                  <a:cubicBezTo>
                    <a:pt x="759" y="1039"/>
                    <a:pt x="742" y="1121"/>
                    <a:pt x="693" y="1187"/>
                  </a:cubicBezTo>
                  <a:cubicBezTo>
                    <a:pt x="644" y="1236"/>
                    <a:pt x="578" y="1269"/>
                    <a:pt x="495" y="1269"/>
                  </a:cubicBezTo>
                  <a:cubicBezTo>
                    <a:pt x="413" y="1269"/>
                    <a:pt x="347" y="1236"/>
                    <a:pt x="297" y="1187"/>
                  </a:cubicBezTo>
                  <a:cubicBezTo>
                    <a:pt x="248" y="1121"/>
                    <a:pt x="232" y="1039"/>
                    <a:pt x="232" y="940"/>
                  </a:cubicBezTo>
                  <a:cubicBezTo>
                    <a:pt x="232" y="857"/>
                    <a:pt x="248" y="775"/>
                    <a:pt x="297" y="709"/>
                  </a:cubicBezTo>
                  <a:cubicBezTo>
                    <a:pt x="347" y="660"/>
                    <a:pt x="413" y="627"/>
                    <a:pt x="495" y="627"/>
                  </a:cubicBezTo>
                  <a:close/>
                  <a:moveTo>
                    <a:pt x="578" y="0"/>
                  </a:moveTo>
                  <a:cubicBezTo>
                    <a:pt x="396" y="0"/>
                    <a:pt x="264" y="66"/>
                    <a:pt x="166" y="198"/>
                  </a:cubicBezTo>
                  <a:cubicBezTo>
                    <a:pt x="50" y="314"/>
                    <a:pt x="1" y="495"/>
                    <a:pt x="1" y="709"/>
                  </a:cubicBezTo>
                  <a:cubicBezTo>
                    <a:pt x="1" y="940"/>
                    <a:pt x="50" y="1105"/>
                    <a:pt x="133" y="1236"/>
                  </a:cubicBezTo>
                  <a:cubicBezTo>
                    <a:pt x="215" y="1352"/>
                    <a:pt x="330" y="1418"/>
                    <a:pt x="495" y="1418"/>
                  </a:cubicBezTo>
                  <a:cubicBezTo>
                    <a:pt x="627" y="1418"/>
                    <a:pt x="742" y="1368"/>
                    <a:pt x="825" y="1286"/>
                  </a:cubicBezTo>
                  <a:cubicBezTo>
                    <a:pt x="907" y="1204"/>
                    <a:pt x="940" y="1088"/>
                    <a:pt x="940" y="940"/>
                  </a:cubicBezTo>
                  <a:cubicBezTo>
                    <a:pt x="940" y="808"/>
                    <a:pt x="907" y="693"/>
                    <a:pt x="825" y="610"/>
                  </a:cubicBezTo>
                  <a:cubicBezTo>
                    <a:pt x="742" y="528"/>
                    <a:pt x="644" y="478"/>
                    <a:pt x="512" y="478"/>
                  </a:cubicBezTo>
                  <a:cubicBezTo>
                    <a:pt x="446" y="478"/>
                    <a:pt x="380" y="495"/>
                    <a:pt x="330" y="528"/>
                  </a:cubicBezTo>
                  <a:cubicBezTo>
                    <a:pt x="264" y="561"/>
                    <a:pt x="232" y="594"/>
                    <a:pt x="182" y="643"/>
                  </a:cubicBezTo>
                  <a:cubicBezTo>
                    <a:pt x="199" y="478"/>
                    <a:pt x="232" y="363"/>
                    <a:pt x="297" y="281"/>
                  </a:cubicBezTo>
                  <a:cubicBezTo>
                    <a:pt x="363" y="198"/>
                    <a:pt x="462" y="149"/>
                    <a:pt x="578" y="149"/>
                  </a:cubicBezTo>
                  <a:cubicBezTo>
                    <a:pt x="627" y="149"/>
                    <a:pt x="677" y="165"/>
                    <a:pt x="726" y="165"/>
                  </a:cubicBezTo>
                  <a:cubicBezTo>
                    <a:pt x="759" y="182"/>
                    <a:pt x="808" y="198"/>
                    <a:pt x="858" y="215"/>
                  </a:cubicBezTo>
                  <a:lnTo>
                    <a:pt x="858" y="50"/>
                  </a:lnTo>
                  <a:cubicBezTo>
                    <a:pt x="808" y="33"/>
                    <a:pt x="759" y="17"/>
                    <a:pt x="709" y="17"/>
                  </a:cubicBezTo>
                  <a:cubicBezTo>
                    <a:pt x="660" y="0"/>
                    <a:pt x="611" y="0"/>
                    <a:pt x="5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506;p48"/>
            <p:cNvSpPr/>
            <p:nvPr/>
          </p:nvSpPr>
          <p:spPr>
            <a:xfrm>
              <a:off x="4091400" y="1433525"/>
              <a:ext cx="23525" cy="35450"/>
            </a:xfrm>
            <a:custGeom>
              <a:avLst/>
              <a:gdLst/>
              <a:ahLst/>
              <a:cxnLst/>
              <a:rect l="l" t="t" r="r" b="b"/>
              <a:pathLst>
                <a:path w="941" h="1418" extrusionOk="0">
                  <a:moveTo>
                    <a:pt x="462" y="149"/>
                  </a:moveTo>
                  <a:cubicBezTo>
                    <a:pt x="561" y="149"/>
                    <a:pt x="643" y="198"/>
                    <a:pt x="676" y="281"/>
                  </a:cubicBezTo>
                  <a:cubicBezTo>
                    <a:pt x="726" y="379"/>
                    <a:pt x="759" y="511"/>
                    <a:pt x="759" y="709"/>
                  </a:cubicBezTo>
                  <a:cubicBezTo>
                    <a:pt x="759" y="890"/>
                    <a:pt x="726" y="1039"/>
                    <a:pt x="676" y="1121"/>
                  </a:cubicBezTo>
                  <a:cubicBezTo>
                    <a:pt x="643" y="1220"/>
                    <a:pt x="561" y="1269"/>
                    <a:pt x="462" y="1269"/>
                  </a:cubicBezTo>
                  <a:cubicBezTo>
                    <a:pt x="380" y="1269"/>
                    <a:pt x="297" y="1220"/>
                    <a:pt x="248" y="1121"/>
                  </a:cubicBezTo>
                  <a:cubicBezTo>
                    <a:pt x="215" y="1039"/>
                    <a:pt x="182" y="890"/>
                    <a:pt x="182" y="709"/>
                  </a:cubicBezTo>
                  <a:cubicBezTo>
                    <a:pt x="182" y="511"/>
                    <a:pt x="215" y="379"/>
                    <a:pt x="248" y="281"/>
                  </a:cubicBezTo>
                  <a:cubicBezTo>
                    <a:pt x="297" y="198"/>
                    <a:pt x="380" y="149"/>
                    <a:pt x="462" y="149"/>
                  </a:cubicBezTo>
                  <a:close/>
                  <a:moveTo>
                    <a:pt x="462" y="0"/>
                  </a:moveTo>
                  <a:cubicBezTo>
                    <a:pt x="314" y="0"/>
                    <a:pt x="198" y="66"/>
                    <a:pt x="116" y="182"/>
                  </a:cubicBezTo>
                  <a:cubicBezTo>
                    <a:pt x="34" y="297"/>
                    <a:pt x="1" y="478"/>
                    <a:pt x="1" y="709"/>
                  </a:cubicBezTo>
                  <a:cubicBezTo>
                    <a:pt x="1" y="940"/>
                    <a:pt x="34" y="1105"/>
                    <a:pt x="116" y="1236"/>
                  </a:cubicBezTo>
                  <a:cubicBezTo>
                    <a:pt x="198" y="1352"/>
                    <a:pt x="314" y="1418"/>
                    <a:pt x="462" y="1418"/>
                  </a:cubicBezTo>
                  <a:cubicBezTo>
                    <a:pt x="627" y="1418"/>
                    <a:pt x="742" y="1352"/>
                    <a:pt x="825" y="1236"/>
                  </a:cubicBezTo>
                  <a:cubicBezTo>
                    <a:pt x="907" y="1105"/>
                    <a:pt x="940" y="940"/>
                    <a:pt x="940" y="709"/>
                  </a:cubicBezTo>
                  <a:cubicBezTo>
                    <a:pt x="940" y="478"/>
                    <a:pt x="907" y="297"/>
                    <a:pt x="825" y="182"/>
                  </a:cubicBezTo>
                  <a:cubicBezTo>
                    <a:pt x="742" y="66"/>
                    <a:pt x="627"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507;p48"/>
            <p:cNvSpPr/>
            <p:nvPr/>
          </p:nvSpPr>
          <p:spPr>
            <a:xfrm>
              <a:off x="4121900" y="1433925"/>
              <a:ext cx="21850" cy="34225"/>
            </a:xfrm>
            <a:custGeom>
              <a:avLst/>
              <a:gdLst/>
              <a:ahLst/>
              <a:cxnLst/>
              <a:rect l="l" t="t" r="r" b="b"/>
              <a:pathLst>
                <a:path w="874" h="1369" extrusionOk="0">
                  <a:moveTo>
                    <a:pt x="0" y="1"/>
                  </a:moveTo>
                  <a:lnTo>
                    <a:pt x="0" y="166"/>
                  </a:lnTo>
                  <a:lnTo>
                    <a:pt x="659" y="166"/>
                  </a:lnTo>
                  <a:lnTo>
                    <a:pt x="182" y="1369"/>
                  </a:lnTo>
                  <a:lnTo>
                    <a:pt x="379" y="1369"/>
                  </a:lnTo>
                  <a:lnTo>
                    <a:pt x="874" y="83"/>
                  </a:lnTo>
                  <a:lnTo>
                    <a:pt x="87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508;p48"/>
            <p:cNvSpPr/>
            <p:nvPr/>
          </p:nvSpPr>
          <p:spPr>
            <a:xfrm>
              <a:off x="4233975" y="1433525"/>
              <a:ext cx="23900" cy="35450"/>
            </a:xfrm>
            <a:custGeom>
              <a:avLst/>
              <a:gdLst/>
              <a:ahLst/>
              <a:cxnLst/>
              <a:rect l="l" t="t" r="r" b="b"/>
              <a:pathLst>
                <a:path w="956" h="1418" extrusionOk="0">
                  <a:moveTo>
                    <a:pt x="478" y="149"/>
                  </a:moveTo>
                  <a:cubicBezTo>
                    <a:pt x="577" y="149"/>
                    <a:pt x="643" y="198"/>
                    <a:pt x="692" y="281"/>
                  </a:cubicBezTo>
                  <a:cubicBezTo>
                    <a:pt x="742" y="379"/>
                    <a:pt x="758" y="511"/>
                    <a:pt x="758" y="709"/>
                  </a:cubicBezTo>
                  <a:cubicBezTo>
                    <a:pt x="758" y="890"/>
                    <a:pt x="742" y="1039"/>
                    <a:pt x="692" y="1121"/>
                  </a:cubicBezTo>
                  <a:cubicBezTo>
                    <a:pt x="643" y="1220"/>
                    <a:pt x="577" y="1269"/>
                    <a:pt x="478" y="1269"/>
                  </a:cubicBezTo>
                  <a:cubicBezTo>
                    <a:pt x="379" y="1269"/>
                    <a:pt x="313" y="1220"/>
                    <a:pt x="264" y="1121"/>
                  </a:cubicBezTo>
                  <a:cubicBezTo>
                    <a:pt x="214" y="1039"/>
                    <a:pt x="198" y="890"/>
                    <a:pt x="198" y="709"/>
                  </a:cubicBezTo>
                  <a:cubicBezTo>
                    <a:pt x="198" y="511"/>
                    <a:pt x="214" y="379"/>
                    <a:pt x="264" y="281"/>
                  </a:cubicBezTo>
                  <a:cubicBezTo>
                    <a:pt x="313" y="198"/>
                    <a:pt x="379" y="149"/>
                    <a:pt x="478" y="149"/>
                  </a:cubicBezTo>
                  <a:close/>
                  <a:moveTo>
                    <a:pt x="478" y="0"/>
                  </a:moveTo>
                  <a:cubicBezTo>
                    <a:pt x="330" y="0"/>
                    <a:pt x="214" y="66"/>
                    <a:pt x="132" y="182"/>
                  </a:cubicBezTo>
                  <a:cubicBezTo>
                    <a:pt x="50" y="297"/>
                    <a:pt x="0" y="478"/>
                    <a:pt x="0" y="709"/>
                  </a:cubicBezTo>
                  <a:cubicBezTo>
                    <a:pt x="0" y="940"/>
                    <a:pt x="50" y="1105"/>
                    <a:pt x="132" y="1236"/>
                  </a:cubicBezTo>
                  <a:cubicBezTo>
                    <a:pt x="214" y="1352"/>
                    <a:pt x="330" y="1418"/>
                    <a:pt x="478" y="1418"/>
                  </a:cubicBezTo>
                  <a:cubicBezTo>
                    <a:pt x="626" y="1418"/>
                    <a:pt x="742" y="1352"/>
                    <a:pt x="824" y="1236"/>
                  </a:cubicBezTo>
                  <a:cubicBezTo>
                    <a:pt x="907" y="1105"/>
                    <a:pt x="956" y="940"/>
                    <a:pt x="956" y="709"/>
                  </a:cubicBezTo>
                  <a:cubicBezTo>
                    <a:pt x="956" y="478"/>
                    <a:pt x="907" y="297"/>
                    <a:pt x="824" y="182"/>
                  </a:cubicBezTo>
                  <a:cubicBezTo>
                    <a:pt x="742" y="66"/>
                    <a:pt x="626" y="0"/>
                    <a:pt x="47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509;p48"/>
            <p:cNvSpPr/>
            <p:nvPr/>
          </p:nvSpPr>
          <p:spPr>
            <a:xfrm>
              <a:off x="4264050" y="1433525"/>
              <a:ext cx="23500" cy="35450"/>
            </a:xfrm>
            <a:custGeom>
              <a:avLst/>
              <a:gdLst/>
              <a:ahLst/>
              <a:cxnLst/>
              <a:rect l="l" t="t" r="r" b="b"/>
              <a:pathLst>
                <a:path w="940" h="1418" extrusionOk="0">
                  <a:moveTo>
                    <a:pt x="462" y="149"/>
                  </a:moveTo>
                  <a:cubicBezTo>
                    <a:pt x="544" y="149"/>
                    <a:pt x="610" y="165"/>
                    <a:pt x="643" y="198"/>
                  </a:cubicBezTo>
                  <a:cubicBezTo>
                    <a:pt x="692" y="248"/>
                    <a:pt x="725" y="297"/>
                    <a:pt x="725" y="363"/>
                  </a:cubicBezTo>
                  <a:cubicBezTo>
                    <a:pt x="725" y="445"/>
                    <a:pt x="692" y="495"/>
                    <a:pt x="643" y="528"/>
                  </a:cubicBezTo>
                  <a:cubicBezTo>
                    <a:pt x="610" y="577"/>
                    <a:pt x="544" y="594"/>
                    <a:pt x="462" y="594"/>
                  </a:cubicBezTo>
                  <a:cubicBezTo>
                    <a:pt x="379" y="594"/>
                    <a:pt x="330" y="577"/>
                    <a:pt x="280" y="528"/>
                  </a:cubicBezTo>
                  <a:cubicBezTo>
                    <a:pt x="231" y="495"/>
                    <a:pt x="214" y="445"/>
                    <a:pt x="214" y="363"/>
                  </a:cubicBezTo>
                  <a:cubicBezTo>
                    <a:pt x="214" y="297"/>
                    <a:pt x="231" y="248"/>
                    <a:pt x="280" y="198"/>
                  </a:cubicBezTo>
                  <a:cubicBezTo>
                    <a:pt x="330" y="165"/>
                    <a:pt x="379" y="149"/>
                    <a:pt x="462" y="149"/>
                  </a:cubicBezTo>
                  <a:close/>
                  <a:moveTo>
                    <a:pt x="462" y="742"/>
                  </a:moveTo>
                  <a:cubicBezTo>
                    <a:pt x="561" y="742"/>
                    <a:pt x="627" y="759"/>
                    <a:pt x="676" y="808"/>
                  </a:cubicBezTo>
                  <a:cubicBezTo>
                    <a:pt x="725" y="857"/>
                    <a:pt x="742" y="923"/>
                    <a:pt x="742" y="1006"/>
                  </a:cubicBezTo>
                  <a:cubicBezTo>
                    <a:pt x="742" y="1088"/>
                    <a:pt x="725" y="1154"/>
                    <a:pt x="676" y="1187"/>
                  </a:cubicBezTo>
                  <a:cubicBezTo>
                    <a:pt x="627" y="1236"/>
                    <a:pt x="561" y="1269"/>
                    <a:pt x="462" y="1269"/>
                  </a:cubicBezTo>
                  <a:cubicBezTo>
                    <a:pt x="379" y="1269"/>
                    <a:pt x="313" y="1236"/>
                    <a:pt x="264" y="1187"/>
                  </a:cubicBezTo>
                  <a:cubicBezTo>
                    <a:pt x="214" y="1154"/>
                    <a:pt x="182" y="1088"/>
                    <a:pt x="182" y="1006"/>
                  </a:cubicBezTo>
                  <a:cubicBezTo>
                    <a:pt x="182" y="923"/>
                    <a:pt x="214" y="857"/>
                    <a:pt x="264" y="808"/>
                  </a:cubicBezTo>
                  <a:cubicBezTo>
                    <a:pt x="313" y="759"/>
                    <a:pt x="379" y="742"/>
                    <a:pt x="462" y="742"/>
                  </a:cubicBezTo>
                  <a:close/>
                  <a:moveTo>
                    <a:pt x="462" y="0"/>
                  </a:moveTo>
                  <a:cubicBezTo>
                    <a:pt x="330" y="0"/>
                    <a:pt x="231" y="33"/>
                    <a:pt x="149" y="99"/>
                  </a:cubicBezTo>
                  <a:cubicBezTo>
                    <a:pt x="66" y="149"/>
                    <a:pt x="33" y="248"/>
                    <a:pt x="33" y="346"/>
                  </a:cubicBezTo>
                  <a:cubicBezTo>
                    <a:pt x="33" y="429"/>
                    <a:pt x="50" y="495"/>
                    <a:pt x="99" y="544"/>
                  </a:cubicBezTo>
                  <a:cubicBezTo>
                    <a:pt x="149" y="610"/>
                    <a:pt x="198" y="643"/>
                    <a:pt x="280" y="660"/>
                  </a:cubicBezTo>
                  <a:cubicBezTo>
                    <a:pt x="198" y="676"/>
                    <a:pt x="116" y="726"/>
                    <a:pt x="66" y="775"/>
                  </a:cubicBezTo>
                  <a:cubicBezTo>
                    <a:pt x="17" y="841"/>
                    <a:pt x="0" y="907"/>
                    <a:pt x="0" y="1006"/>
                  </a:cubicBezTo>
                  <a:cubicBezTo>
                    <a:pt x="0" y="1138"/>
                    <a:pt x="33" y="1236"/>
                    <a:pt x="116" y="1302"/>
                  </a:cubicBezTo>
                  <a:cubicBezTo>
                    <a:pt x="198" y="1368"/>
                    <a:pt x="313" y="1418"/>
                    <a:pt x="462" y="1418"/>
                  </a:cubicBezTo>
                  <a:cubicBezTo>
                    <a:pt x="610" y="1418"/>
                    <a:pt x="725" y="1368"/>
                    <a:pt x="808" y="1302"/>
                  </a:cubicBezTo>
                  <a:cubicBezTo>
                    <a:pt x="890" y="1236"/>
                    <a:pt x="940" y="1138"/>
                    <a:pt x="940" y="1006"/>
                  </a:cubicBezTo>
                  <a:cubicBezTo>
                    <a:pt x="940" y="907"/>
                    <a:pt x="907" y="841"/>
                    <a:pt x="857" y="775"/>
                  </a:cubicBezTo>
                  <a:cubicBezTo>
                    <a:pt x="808" y="726"/>
                    <a:pt x="742" y="676"/>
                    <a:pt x="643" y="660"/>
                  </a:cubicBezTo>
                  <a:cubicBezTo>
                    <a:pt x="725" y="643"/>
                    <a:pt x="791" y="610"/>
                    <a:pt x="841" y="544"/>
                  </a:cubicBezTo>
                  <a:cubicBezTo>
                    <a:pt x="874" y="495"/>
                    <a:pt x="907" y="429"/>
                    <a:pt x="907" y="346"/>
                  </a:cubicBezTo>
                  <a:cubicBezTo>
                    <a:pt x="907" y="248"/>
                    <a:pt x="857" y="149"/>
                    <a:pt x="791" y="99"/>
                  </a:cubicBezTo>
                  <a:cubicBezTo>
                    <a:pt x="709" y="33"/>
                    <a:pt x="594"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510;p48"/>
            <p:cNvSpPr/>
            <p:nvPr/>
          </p:nvSpPr>
          <p:spPr>
            <a:xfrm>
              <a:off x="4393825" y="1433525"/>
              <a:ext cx="23925" cy="35450"/>
            </a:xfrm>
            <a:custGeom>
              <a:avLst/>
              <a:gdLst/>
              <a:ahLst/>
              <a:cxnLst/>
              <a:rect l="l" t="t" r="r" b="b"/>
              <a:pathLst>
                <a:path w="957" h="1418" extrusionOk="0">
                  <a:moveTo>
                    <a:pt x="479" y="149"/>
                  </a:moveTo>
                  <a:cubicBezTo>
                    <a:pt x="578" y="149"/>
                    <a:pt x="644" y="198"/>
                    <a:pt x="693" y="281"/>
                  </a:cubicBezTo>
                  <a:cubicBezTo>
                    <a:pt x="742" y="379"/>
                    <a:pt x="759" y="511"/>
                    <a:pt x="759" y="709"/>
                  </a:cubicBezTo>
                  <a:cubicBezTo>
                    <a:pt x="759" y="890"/>
                    <a:pt x="742" y="1039"/>
                    <a:pt x="693" y="1121"/>
                  </a:cubicBezTo>
                  <a:cubicBezTo>
                    <a:pt x="644" y="1220"/>
                    <a:pt x="578" y="1269"/>
                    <a:pt x="479" y="1269"/>
                  </a:cubicBezTo>
                  <a:cubicBezTo>
                    <a:pt x="380" y="1269"/>
                    <a:pt x="314" y="1220"/>
                    <a:pt x="264" y="1121"/>
                  </a:cubicBezTo>
                  <a:cubicBezTo>
                    <a:pt x="215" y="1039"/>
                    <a:pt x="199" y="890"/>
                    <a:pt x="199" y="709"/>
                  </a:cubicBezTo>
                  <a:cubicBezTo>
                    <a:pt x="199" y="511"/>
                    <a:pt x="215" y="379"/>
                    <a:pt x="264" y="281"/>
                  </a:cubicBezTo>
                  <a:cubicBezTo>
                    <a:pt x="314" y="198"/>
                    <a:pt x="380" y="149"/>
                    <a:pt x="479" y="149"/>
                  </a:cubicBezTo>
                  <a:close/>
                  <a:moveTo>
                    <a:pt x="479" y="0"/>
                  </a:moveTo>
                  <a:cubicBezTo>
                    <a:pt x="330" y="0"/>
                    <a:pt x="215" y="66"/>
                    <a:pt x="133" y="182"/>
                  </a:cubicBezTo>
                  <a:cubicBezTo>
                    <a:pt x="50" y="297"/>
                    <a:pt x="1" y="478"/>
                    <a:pt x="1" y="709"/>
                  </a:cubicBezTo>
                  <a:cubicBezTo>
                    <a:pt x="1" y="940"/>
                    <a:pt x="50" y="1105"/>
                    <a:pt x="133" y="1236"/>
                  </a:cubicBezTo>
                  <a:cubicBezTo>
                    <a:pt x="215" y="1352"/>
                    <a:pt x="330" y="1418"/>
                    <a:pt x="479" y="1418"/>
                  </a:cubicBezTo>
                  <a:cubicBezTo>
                    <a:pt x="627" y="1418"/>
                    <a:pt x="742" y="1352"/>
                    <a:pt x="825" y="1236"/>
                  </a:cubicBezTo>
                  <a:cubicBezTo>
                    <a:pt x="907" y="1105"/>
                    <a:pt x="957" y="940"/>
                    <a:pt x="957" y="709"/>
                  </a:cubicBezTo>
                  <a:cubicBezTo>
                    <a:pt x="957"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511;p48"/>
            <p:cNvSpPr/>
            <p:nvPr/>
          </p:nvSpPr>
          <p:spPr>
            <a:xfrm>
              <a:off x="4423500" y="1433525"/>
              <a:ext cx="23500" cy="35450"/>
            </a:xfrm>
            <a:custGeom>
              <a:avLst/>
              <a:gdLst/>
              <a:ahLst/>
              <a:cxnLst/>
              <a:rect l="l" t="t" r="r" b="b"/>
              <a:pathLst>
                <a:path w="940" h="1418" extrusionOk="0">
                  <a:moveTo>
                    <a:pt x="462" y="149"/>
                  </a:moveTo>
                  <a:cubicBezTo>
                    <a:pt x="544" y="149"/>
                    <a:pt x="610" y="165"/>
                    <a:pt x="660" y="231"/>
                  </a:cubicBezTo>
                  <a:cubicBezTo>
                    <a:pt x="709" y="281"/>
                    <a:pt x="726" y="363"/>
                    <a:pt x="726" y="462"/>
                  </a:cubicBezTo>
                  <a:cubicBezTo>
                    <a:pt x="726" y="561"/>
                    <a:pt x="709" y="643"/>
                    <a:pt x="660" y="693"/>
                  </a:cubicBezTo>
                  <a:cubicBezTo>
                    <a:pt x="610" y="759"/>
                    <a:pt x="544" y="775"/>
                    <a:pt x="462" y="775"/>
                  </a:cubicBezTo>
                  <a:cubicBezTo>
                    <a:pt x="379" y="775"/>
                    <a:pt x="314" y="759"/>
                    <a:pt x="264" y="693"/>
                  </a:cubicBezTo>
                  <a:cubicBezTo>
                    <a:pt x="215" y="643"/>
                    <a:pt x="198" y="561"/>
                    <a:pt x="198" y="462"/>
                  </a:cubicBezTo>
                  <a:cubicBezTo>
                    <a:pt x="198" y="363"/>
                    <a:pt x="215" y="281"/>
                    <a:pt x="264" y="231"/>
                  </a:cubicBezTo>
                  <a:cubicBezTo>
                    <a:pt x="314" y="165"/>
                    <a:pt x="379" y="149"/>
                    <a:pt x="462" y="149"/>
                  </a:cubicBezTo>
                  <a:close/>
                  <a:moveTo>
                    <a:pt x="462" y="0"/>
                  </a:moveTo>
                  <a:cubicBezTo>
                    <a:pt x="330" y="0"/>
                    <a:pt x="215" y="33"/>
                    <a:pt x="132" y="132"/>
                  </a:cubicBezTo>
                  <a:cubicBezTo>
                    <a:pt x="50" y="215"/>
                    <a:pt x="0" y="314"/>
                    <a:pt x="0" y="462"/>
                  </a:cubicBezTo>
                  <a:cubicBezTo>
                    <a:pt x="0" y="610"/>
                    <a:pt x="50" y="709"/>
                    <a:pt x="132" y="808"/>
                  </a:cubicBezTo>
                  <a:cubicBezTo>
                    <a:pt x="198" y="874"/>
                    <a:pt x="314" y="923"/>
                    <a:pt x="445" y="923"/>
                  </a:cubicBezTo>
                  <a:cubicBezTo>
                    <a:pt x="511" y="923"/>
                    <a:pt x="577" y="907"/>
                    <a:pt x="627" y="874"/>
                  </a:cubicBezTo>
                  <a:cubicBezTo>
                    <a:pt x="676" y="857"/>
                    <a:pt x="726" y="808"/>
                    <a:pt x="759" y="759"/>
                  </a:cubicBezTo>
                  <a:lnTo>
                    <a:pt x="759" y="759"/>
                  </a:lnTo>
                  <a:cubicBezTo>
                    <a:pt x="759" y="923"/>
                    <a:pt x="709" y="1055"/>
                    <a:pt x="660" y="1138"/>
                  </a:cubicBezTo>
                  <a:cubicBezTo>
                    <a:pt x="594" y="1220"/>
                    <a:pt x="495" y="1253"/>
                    <a:pt x="379" y="1253"/>
                  </a:cubicBezTo>
                  <a:cubicBezTo>
                    <a:pt x="330" y="1253"/>
                    <a:pt x="281" y="1253"/>
                    <a:pt x="231" y="1236"/>
                  </a:cubicBezTo>
                  <a:cubicBezTo>
                    <a:pt x="182" y="1220"/>
                    <a:pt x="132" y="1204"/>
                    <a:pt x="99" y="1187"/>
                  </a:cubicBezTo>
                  <a:lnTo>
                    <a:pt x="99" y="1352"/>
                  </a:lnTo>
                  <a:cubicBezTo>
                    <a:pt x="149" y="1368"/>
                    <a:pt x="198" y="1385"/>
                    <a:pt x="248" y="1401"/>
                  </a:cubicBezTo>
                  <a:cubicBezTo>
                    <a:pt x="281" y="1401"/>
                    <a:pt x="330" y="1418"/>
                    <a:pt x="379" y="1418"/>
                  </a:cubicBezTo>
                  <a:cubicBezTo>
                    <a:pt x="561" y="1418"/>
                    <a:pt x="693" y="1352"/>
                    <a:pt x="792" y="1220"/>
                  </a:cubicBezTo>
                  <a:cubicBezTo>
                    <a:pt x="890" y="1088"/>
                    <a:pt x="940" y="923"/>
                    <a:pt x="940" y="709"/>
                  </a:cubicBezTo>
                  <a:cubicBezTo>
                    <a:pt x="940" y="478"/>
                    <a:pt x="907" y="297"/>
                    <a:pt x="824" y="182"/>
                  </a:cubicBezTo>
                  <a:cubicBezTo>
                    <a:pt x="742" y="66"/>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512;p48"/>
            <p:cNvSpPr/>
            <p:nvPr/>
          </p:nvSpPr>
          <p:spPr>
            <a:xfrm>
              <a:off x="4534750" y="1433925"/>
              <a:ext cx="20200" cy="34225"/>
            </a:xfrm>
            <a:custGeom>
              <a:avLst/>
              <a:gdLst/>
              <a:ahLst/>
              <a:cxnLst/>
              <a:rect l="l" t="t" r="r" b="b"/>
              <a:pathLst>
                <a:path w="808" h="1369" extrusionOk="0">
                  <a:moveTo>
                    <a:pt x="330" y="1"/>
                  </a:moveTo>
                  <a:lnTo>
                    <a:pt x="0" y="67"/>
                  </a:lnTo>
                  <a:lnTo>
                    <a:pt x="0" y="248"/>
                  </a:lnTo>
                  <a:lnTo>
                    <a:pt x="330" y="182"/>
                  </a:lnTo>
                  <a:lnTo>
                    <a:pt x="330" y="1220"/>
                  </a:lnTo>
                  <a:lnTo>
                    <a:pt x="33" y="1220"/>
                  </a:lnTo>
                  <a:lnTo>
                    <a:pt x="33" y="1369"/>
                  </a:lnTo>
                  <a:lnTo>
                    <a:pt x="808" y="1369"/>
                  </a:lnTo>
                  <a:lnTo>
                    <a:pt x="808" y="1220"/>
                  </a:lnTo>
                  <a:lnTo>
                    <a:pt x="511" y="1220"/>
                  </a:lnTo>
                  <a:lnTo>
                    <a:pt x="51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513;p48"/>
            <p:cNvSpPr/>
            <p:nvPr/>
          </p:nvSpPr>
          <p:spPr>
            <a:xfrm>
              <a:off x="4562350" y="1433525"/>
              <a:ext cx="23925" cy="35450"/>
            </a:xfrm>
            <a:custGeom>
              <a:avLst/>
              <a:gdLst/>
              <a:ahLst/>
              <a:cxnLst/>
              <a:rect l="l" t="t" r="r" b="b"/>
              <a:pathLst>
                <a:path w="957" h="1418" extrusionOk="0">
                  <a:moveTo>
                    <a:pt x="479" y="149"/>
                  </a:moveTo>
                  <a:cubicBezTo>
                    <a:pt x="577" y="149"/>
                    <a:pt x="643" y="198"/>
                    <a:pt x="693" y="281"/>
                  </a:cubicBezTo>
                  <a:cubicBezTo>
                    <a:pt x="742" y="379"/>
                    <a:pt x="759" y="511"/>
                    <a:pt x="759" y="709"/>
                  </a:cubicBezTo>
                  <a:cubicBezTo>
                    <a:pt x="759" y="890"/>
                    <a:pt x="742" y="1039"/>
                    <a:pt x="693" y="1121"/>
                  </a:cubicBezTo>
                  <a:cubicBezTo>
                    <a:pt x="643" y="1220"/>
                    <a:pt x="577" y="1269"/>
                    <a:pt x="479" y="1269"/>
                  </a:cubicBezTo>
                  <a:cubicBezTo>
                    <a:pt x="380" y="1269"/>
                    <a:pt x="314" y="1220"/>
                    <a:pt x="264" y="1121"/>
                  </a:cubicBezTo>
                  <a:cubicBezTo>
                    <a:pt x="215" y="1039"/>
                    <a:pt x="198" y="890"/>
                    <a:pt x="198" y="709"/>
                  </a:cubicBezTo>
                  <a:cubicBezTo>
                    <a:pt x="198" y="511"/>
                    <a:pt x="215" y="379"/>
                    <a:pt x="264" y="281"/>
                  </a:cubicBezTo>
                  <a:cubicBezTo>
                    <a:pt x="314" y="198"/>
                    <a:pt x="380" y="149"/>
                    <a:pt x="479" y="149"/>
                  </a:cubicBezTo>
                  <a:close/>
                  <a:moveTo>
                    <a:pt x="479" y="0"/>
                  </a:moveTo>
                  <a:cubicBezTo>
                    <a:pt x="330" y="0"/>
                    <a:pt x="215" y="66"/>
                    <a:pt x="132" y="182"/>
                  </a:cubicBezTo>
                  <a:cubicBezTo>
                    <a:pt x="50" y="297"/>
                    <a:pt x="1" y="478"/>
                    <a:pt x="1" y="709"/>
                  </a:cubicBezTo>
                  <a:cubicBezTo>
                    <a:pt x="1" y="940"/>
                    <a:pt x="50" y="1105"/>
                    <a:pt x="132" y="1236"/>
                  </a:cubicBezTo>
                  <a:cubicBezTo>
                    <a:pt x="215" y="1352"/>
                    <a:pt x="330" y="1418"/>
                    <a:pt x="479" y="1418"/>
                  </a:cubicBezTo>
                  <a:cubicBezTo>
                    <a:pt x="627" y="1418"/>
                    <a:pt x="742" y="1352"/>
                    <a:pt x="825" y="1236"/>
                  </a:cubicBezTo>
                  <a:cubicBezTo>
                    <a:pt x="907" y="1105"/>
                    <a:pt x="956" y="940"/>
                    <a:pt x="956" y="709"/>
                  </a:cubicBezTo>
                  <a:cubicBezTo>
                    <a:pt x="956" y="478"/>
                    <a:pt x="907" y="297"/>
                    <a:pt x="825" y="182"/>
                  </a:cubicBezTo>
                  <a:cubicBezTo>
                    <a:pt x="742" y="66"/>
                    <a:pt x="627" y="0"/>
                    <a:pt x="4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514;p48"/>
            <p:cNvSpPr/>
            <p:nvPr/>
          </p:nvSpPr>
          <p:spPr>
            <a:xfrm>
              <a:off x="4689250" y="1433925"/>
              <a:ext cx="20625" cy="34225"/>
            </a:xfrm>
            <a:custGeom>
              <a:avLst/>
              <a:gdLst/>
              <a:ahLst/>
              <a:cxnLst/>
              <a:rect l="l" t="t" r="r" b="b"/>
              <a:pathLst>
                <a:path w="825" h="1369" extrusionOk="0">
                  <a:moveTo>
                    <a:pt x="330" y="1"/>
                  </a:moveTo>
                  <a:lnTo>
                    <a:pt x="1" y="67"/>
                  </a:lnTo>
                  <a:lnTo>
                    <a:pt x="1" y="248"/>
                  </a:lnTo>
                  <a:lnTo>
                    <a:pt x="330" y="182"/>
                  </a:lnTo>
                  <a:lnTo>
                    <a:pt x="330" y="1220"/>
                  </a:lnTo>
                  <a:lnTo>
                    <a:pt x="34" y="1220"/>
                  </a:lnTo>
                  <a:lnTo>
                    <a:pt x="34" y="1369"/>
                  </a:lnTo>
                  <a:lnTo>
                    <a:pt x="825" y="1369"/>
                  </a:lnTo>
                  <a:lnTo>
                    <a:pt x="825"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515;p48"/>
            <p:cNvSpPr/>
            <p:nvPr/>
          </p:nvSpPr>
          <p:spPr>
            <a:xfrm>
              <a:off x="4719325" y="1433925"/>
              <a:ext cx="20225" cy="34225"/>
            </a:xfrm>
            <a:custGeom>
              <a:avLst/>
              <a:gdLst/>
              <a:ahLst/>
              <a:cxnLst/>
              <a:rect l="l" t="t" r="r" b="b"/>
              <a:pathLst>
                <a:path w="809" h="1369" extrusionOk="0">
                  <a:moveTo>
                    <a:pt x="314" y="1"/>
                  </a:moveTo>
                  <a:lnTo>
                    <a:pt x="1" y="67"/>
                  </a:lnTo>
                  <a:lnTo>
                    <a:pt x="1" y="248"/>
                  </a:lnTo>
                  <a:lnTo>
                    <a:pt x="314" y="182"/>
                  </a:lnTo>
                  <a:lnTo>
                    <a:pt x="314" y="1220"/>
                  </a:lnTo>
                  <a:lnTo>
                    <a:pt x="17" y="1220"/>
                  </a:lnTo>
                  <a:lnTo>
                    <a:pt x="17" y="1369"/>
                  </a:lnTo>
                  <a:lnTo>
                    <a:pt x="808" y="1369"/>
                  </a:lnTo>
                  <a:lnTo>
                    <a:pt x="808" y="1220"/>
                  </a:lnTo>
                  <a:lnTo>
                    <a:pt x="495" y="1220"/>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516;p48"/>
            <p:cNvSpPr/>
            <p:nvPr/>
          </p:nvSpPr>
          <p:spPr>
            <a:xfrm>
              <a:off x="4854475" y="1433925"/>
              <a:ext cx="20225" cy="34225"/>
            </a:xfrm>
            <a:custGeom>
              <a:avLst/>
              <a:gdLst/>
              <a:ahLst/>
              <a:cxnLst/>
              <a:rect l="l" t="t" r="r" b="b"/>
              <a:pathLst>
                <a:path w="809" h="1369" extrusionOk="0">
                  <a:moveTo>
                    <a:pt x="330" y="1"/>
                  </a:moveTo>
                  <a:lnTo>
                    <a:pt x="1" y="67"/>
                  </a:lnTo>
                  <a:lnTo>
                    <a:pt x="1" y="248"/>
                  </a:lnTo>
                  <a:lnTo>
                    <a:pt x="330" y="182"/>
                  </a:lnTo>
                  <a:lnTo>
                    <a:pt x="330" y="1220"/>
                  </a:lnTo>
                  <a:lnTo>
                    <a:pt x="34" y="1220"/>
                  </a:lnTo>
                  <a:lnTo>
                    <a:pt x="34" y="1369"/>
                  </a:lnTo>
                  <a:lnTo>
                    <a:pt x="808" y="1369"/>
                  </a:lnTo>
                  <a:lnTo>
                    <a:pt x="808" y="1220"/>
                  </a:lnTo>
                  <a:lnTo>
                    <a:pt x="512" y="1220"/>
                  </a:lnTo>
                  <a:lnTo>
                    <a:pt x="51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517;p48"/>
            <p:cNvSpPr/>
            <p:nvPr/>
          </p:nvSpPr>
          <p:spPr>
            <a:xfrm>
              <a:off x="4882500" y="1433525"/>
              <a:ext cx="21850" cy="34625"/>
            </a:xfrm>
            <a:custGeom>
              <a:avLst/>
              <a:gdLst/>
              <a:ahLst/>
              <a:cxnLst/>
              <a:rect l="l" t="t" r="r" b="b"/>
              <a:pathLst>
                <a:path w="874" h="1385" extrusionOk="0">
                  <a:moveTo>
                    <a:pt x="396" y="0"/>
                  </a:moveTo>
                  <a:cubicBezTo>
                    <a:pt x="347" y="0"/>
                    <a:pt x="281" y="0"/>
                    <a:pt x="215" y="17"/>
                  </a:cubicBezTo>
                  <a:cubicBezTo>
                    <a:pt x="149" y="33"/>
                    <a:pt x="83" y="66"/>
                    <a:pt x="17" y="83"/>
                  </a:cubicBezTo>
                  <a:lnTo>
                    <a:pt x="17" y="281"/>
                  </a:lnTo>
                  <a:cubicBezTo>
                    <a:pt x="83" y="231"/>
                    <a:pt x="149" y="198"/>
                    <a:pt x="215" y="182"/>
                  </a:cubicBezTo>
                  <a:cubicBezTo>
                    <a:pt x="281" y="165"/>
                    <a:pt x="347" y="149"/>
                    <a:pt x="396" y="149"/>
                  </a:cubicBezTo>
                  <a:cubicBezTo>
                    <a:pt x="478" y="149"/>
                    <a:pt x="544" y="182"/>
                    <a:pt x="594" y="215"/>
                  </a:cubicBezTo>
                  <a:cubicBezTo>
                    <a:pt x="643" y="264"/>
                    <a:pt x="676" y="330"/>
                    <a:pt x="676" y="396"/>
                  </a:cubicBezTo>
                  <a:cubicBezTo>
                    <a:pt x="676" y="445"/>
                    <a:pt x="660" y="495"/>
                    <a:pt x="643" y="528"/>
                  </a:cubicBezTo>
                  <a:cubicBezTo>
                    <a:pt x="610" y="577"/>
                    <a:pt x="577" y="643"/>
                    <a:pt x="511" y="709"/>
                  </a:cubicBezTo>
                  <a:cubicBezTo>
                    <a:pt x="478" y="742"/>
                    <a:pt x="412" y="824"/>
                    <a:pt x="281" y="940"/>
                  </a:cubicBezTo>
                  <a:cubicBezTo>
                    <a:pt x="165" y="1055"/>
                    <a:pt x="66" y="1154"/>
                    <a:pt x="0" y="1236"/>
                  </a:cubicBezTo>
                  <a:lnTo>
                    <a:pt x="0" y="1385"/>
                  </a:lnTo>
                  <a:lnTo>
                    <a:pt x="874" y="1385"/>
                  </a:lnTo>
                  <a:lnTo>
                    <a:pt x="874" y="1236"/>
                  </a:lnTo>
                  <a:lnTo>
                    <a:pt x="231" y="1236"/>
                  </a:lnTo>
                  <a:cubicBezTo>
                    <a:pt x="379" y="1072"/>
                    <a:pt x="495" y="956"/>
                    <a:pt x="561" y="874"/>
                  </a:cubicBezTo>
                  <a:cubicBezTo>
                    <a:pt x="643" y="791"/>
                    <a:pt x="693" y="742"/>
                    <a:pt x="709" y="726"/>
                  </a:cubicBezTo>
                  <a:cubicBezTo>
                    <a:pt x="775" y="660"/>
                    <a:pt x="808" y="594"/>
                    <a:pt x="824" y="544"/>
                  </a:cubicBezTo>
                  <a:cubicBezTo>
                    <a:pt x="857" y="495"/>
                    <a:pt x="857" y="445"/>
                    <a:pt x="857" y="379"/>
                  </a:cubicBezTo>
                  <a:cubicBezTo>
                    <a:pt x="857" y="264"/>
                    <a:pt x="824" y="182"/>
                    <a:pt x="742" y="99"/>
                  </a:cubicBezTo>
                  <a:cubicBezTo>
                    <a:pt x="643" y="33"/>
                    <a:pt x="544"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518;p48"/>
            <p:cNvSpPr/>
            <p:nvPr/>
          </p:nvSpPr>
          <p:spPr>
            <a:xfrm>
              <a:off x="3423500" y="1176825"/>
              <a:ext cx="96450" cy="168125"/>
            </a:xfrm>
            <a:custGeom>
              <a:avLst/>
              <a:gdLst/>
              <a:ahLst/>
              <a:cxnLst/>
              <a:rect l="l" t="t" r="r" b="b"/>
              <a:pathLst>
                <a:path w="3858" h="6725" extrusionOk="0">
                  <a:moveTo>
                    <a:pt x="281" y="1"/>
                  </a:moveTo>
                  <a:cubicBezTo>
                    <a:pt x="133" y="1"/>
                    <a:pt x="1" y="116"/>
                    <a:pt x="17" y="281"/>
                  </a:cubicBezTo>
                  <a:cubicBezTo>
                    <a:pt x="17" y="429"/>
                    <a:pt x="133" y="545"/>
                    <a:pt x="281" y="545"/>
                  </a:cubicBezTo>
                  <a:lnTo>
                    <a:pt x="3577" y="545"/>
                  </a:lnTo>
                  <a:cubicBezTo>
                    <a:pt x="3725" y="545"/>
                    <a:pt x="3841" y="429"/>
                    <a:pt x="3857" y="281"/>
                  </a:cubicBezTo>
                  <a:cubicBezTo>
                    <a:pt x="3857" y="116"/>
                    <a:pt x="3725" y="1"/>
                    <a:pt x="3577" y="1"/>
                  </a:cubicBezTo>
                  <a:close/>
                  <a:moveTo>
                    <a:pt x="281" y="2061"/>
                  </a:moveTo>
                  <a:cubicBezTo>
                    <a:pt x="133" y="2061"/>
                    <a:pt x="1" y="2176"/>
                    <a:pt x="17" y="2341"/>
                  </a:cubicBezTo>
                  <a:cubicBezTo>
                    <a:pt x="17" y="2489"/>
                    <a:pt x="133" y="2605"/>
                    <a:pt x="281" y="2605"/>
                  </a:cubicBezTo>
                  <a:lnTo>
                    <a:pt x="3577" y="2605"/>
                  </a:lnTo>
                  <a:cubicBezTo>
                    <a:pt x="3725" y="2605"/>
                    <a:pt x="3857" y="2489"/>
                    <a:pt x="3857" y="2341"/>
                  </a:cubicBezTo>
                  <a:cubicBezTo>
                    <a:pt x="3857" y="2176"/>
                    <a:pt x="3725" y="2061"/>
                    <a:pt x="3577" y="2061"/>
                  </a:cubicBezTo>
                  <a:close/>
                  <a:moveTo>
                    <a:pt x="281" y="4121"/>
                  </a:moveTo>
                  <a:cubicBezTo>
                    <a:pt x="133" y="4121"/>
                    <a:pt x="1" y="4236"/>
                    <a:pt x="17" y="4401"/>
                  </a:cubicBezTo>
                  <a:cubicBezTo>
                    <a:pt x="17" y="4549"/>
                    <a:pt x="133" y="4665"/>
                    <a:pt x="281" y="4665"/>
                  </a:cubicBezTo>
                  <a:lnTo>
                    <a:pt x="3577" y="4665"/>
                  </a:lnTo>
                  <a:cubicBezTo>
                    <a:pt x="3725" y="4665"/>
                    <a:pt x="3857" y="4549"/>
                    <a:pt x="3857" y="4401"/>
                  </a:cubicBezTo>
                  <a:cubicBezTo>
                    <a:pt x="3857" y="4236"/>
                    <a:pt x="3725" y="4121"/>
                    <a:pt x="3577" y="4121"/>
                  </a:cubicBezTo>
                  <a:close/>
                  <a:moveTo>
                    <a:pt x="281" y="6181"/>
                  </a:moveTo>
                  <a:cubicBezTo>
                    <a:pt x="133" y="6181"/>
                    <a:pt x="1" y="6296"/>
                    <a:pt x="17" y="6445"/>
                  </a:cubicBezTo>
                  <a:cubicBezTo>
                    <a:pt x="17" y="6610"/>
                    <a:pt x="133" y="6725"/>
                    <a:pt x="281" y="6725"/>
                  </a:cubicBezTo>
                  <a:lnTo>
                    <a:pt x="3577" y="6725"/>
                  </a:lnTo>
                  <a:cubicBezTo>
                    <a:pt x="3725" y="6725"/>
                    <a:pt x="3857" y="6610"/>
                    <a:pt x="3857" y="6445"/>
                  </a:cubicBezTo>
                  <a:cubicBezTo>
                    <a:pt x="3857" y="6296"/>
                    <a:pt x="3725" y="6181"/>
                    <a:pt x="3577" y="6181"/>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519;p48"/>
            <p:cNvSpPr/>
            <p:nvPr/>
          </p:nvSpPr>
          <p:spPr>
            <a:xfrm>
              <a:off x="3115300" y="1125750"/>
              <a:ext cx="96450" cy="219200"/>
            </a:xfrm>
            <a:custGeom>
              <a:avLst/>
              <a:gdLst/>
              <a:ahLst/>
              <a:cxnLst/>
              <a:rect l="l" t="t" r="r" b="b"/>
              <a:pathLst>
                <a:path w="3858" h="8768" extrusionOk="0">
                  <a:moveTo>
                    <a:pt x="281" y="0"/>
                  </a:moveTo>
                  <a:cubicBezTo>
                    <a:pt x="133" y="0"/>
                    <a:pt x="1" y="115"/>
                    <a:pt x="1" y="264"/>
                  </a:cubicBezTo>
                  <a:cubicBezTo>
                    <a:pt x="1" y="429"/>
                    <a:pt x="133" y="544"/>
                    <a:pt x="281" y="544"/>
                  </a:cubicBezTo>
                  <a:lnTo>
                    <a:pt x="3577" y="544"/>
                  </a:lnTo>
                  <a:cubicBezTo>
                    <a:pt x="3726" y="544"/>
                    <a:pt x="3841" y="412"/>
                    <a:pt x="3841" y="264"/>
                  </a:cubicBezTo>
                  <a:lnTo>
                    <a:pt x="3857" y="264"/>
                  </a:lnTo>
                  <a:cubicBezTo>
                    <a:pt x="3841" y="115"/>
                    <a:pt x="3726" y="0"/>
                    <a:pt x="3577" y="0"/>
                  </a:cubicBezTo>
                  <a:close/>
                  <a:moveTo>
                    <a:pt x="281" y="2044"/>
                  </a:moveTo>
                  <a:cubicBezTo>
                    <a:pt x="133" y="2044"/>
                    <a:pt x="1" y="2159"/>
                    <a:pt x="1" y="2324"/>
                  </a:cubicBezTo>
                  <a:cubicBezTo>
                    <a:pt x="1" y="2472"/>
                    <a:pt x="133" y="2588"/>
                    <a:pt x="281" y="2588"/>
                  </a:cubicBezTo>
                  <a:lnTo>
                    <a:pt x="3577" y="2588"/>
                  </a:lnTo>
                  <a:cubicBezTo>
                    <a:pt x="3726" y="2588"/>
                    <a:pt x="3841" y="2472"/>
                    <a:pt x="3841" y="2324"/>
                  </a:cubicBezTo>
                  <a:lnTo>
                    <a:pt x="3857" y="2324"/>
                  </a:lnTo>
                  <a:cubicBezTo>
                    <a:pt x="3857" y="2159"/>
                    <a:pt x="3726" y="2044"/>
                    <a:pt x="3577" y="2044"/>
                  </a:cubicBezTo>
                  <a:close/>
                  <a:moveTo>
                    <a:pt x="281" y="4104"/>
                  </a:moveTo>
                  <a:cubicBezTo>
                    <a:pt x="133" y="4104"/>
                    <a:pt x="1" y="4219"/>
                    <a:pt x="1" y="4384"/>
                  </a:cubicBezTo>
                  <a:cubicBezTo>
                    <a:pt x="1" y="4532"/>
                    <a:pt x="133" y="4664"/>
                    <a:pt x="281" y="4664"/>
                  </a:cubicBezTo>
                  <a:lnTo>
                    <a:pt x="3577" y="4664"/>
                  </a:lnTo>
                  <a:cubicBezTo>
                    <a:pt x="3726" y="4648"/>
                    <a:pt x="3841" y="4532"/>
                    <a:pt x="3841" y="4384"/>
                  </a:cubicBezTo>
                  <a:lnTo>
                    <a:pt x="3857" y="4384"/>
                  </a:lnTo>
                  <a:cubicBezTo>
                    <a:pt x="3857" y="4219"/>
                    <a:pt x="3726" y="4104"/>
                    <a:pt x="3577" y="4104"/>
                  </a:cubicBezTo>
                  <a:close/>
                  <a:moveTo>
                    <a:pt x="281" y="6164"/>
                  </a:moveTo>
                  <a:cubicBezTo>
                    <a:pt x="133" y="6164"/>
                    <a:pt x="1" y="6279"/>
                    <a:pt x="1" y="6444"/>
                  </a:cubicBezTo>
                  <a:cubicBezTo>
                    <a:pt x="1" y="6592"/>
                    <a:pt x="133" y="6708"/>
                    <a:pt x="281" y="6708"/>
                  </a:cubicBezTo>
                  <a:lnTo>
                    <a:pt x="3577" y="6708"/>
                  </a:lnTo>
                  <a:cubicBezTo>
                    <a:pt x="3726" y="6708"/>
                    <a:pt x="3841" y="6592"/>
                    <a:pt x="3841" y="6444"/>
                  </a:cubicBezTo>
                  <a:lnTo>
                    <a:pt x="3857" y="6444"/>
                  </a:lnTo>
                  <a:cubicBezTo>
                    <a:pt x="3857" y="6279"/>
                    <a:pt x="3726" y="6164"/>
                    <a:pt x="3577" y="6164"/>
                  </a:cubicBezTo>
                  <a:close/>
                  <a:moveTo>
                    <a:pt x="281" y="8224"/>
                  </a:moveTo>
                  <a:cubicBezTo>
                    <a:pt x="133" y="8224"/>
                    <a:pt x="1" y="8339"/>
                    <a:pt x="1" y="8488"/>
                  </a:cubicBezTo>
                  <a:cubicBezTo>
                    <a:pt x="1" y="8653"/>
                    <a:pt x="133" y="8768"/>
                    <a:pt x="281" y="8768"/>
                  </a:cubicBezTo>
                  <a:lnTo>
                    <a:pt x="3577" y="8768"/>
                  </a:lnTo>
                  <a:cubicBezTo>
                    <a:pt x="3726" y="8768"/>
                    <a:pt x="3841" y="8636"/>
                    <a:pt x="3841" y="8488"/>
                  </a:cubicBezTo>
                  <a:cubicBezTo>
                    <a:pt x="3841" y="8339"/>
                    <a:pt x="3726" y="8224"/>
                    <a:pt x="3577" y="8224"/>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520;p48"/>
            <p:cNvSpPr/>
            <p:nvPr/>
          </p:nvSpPr>
          <p:spPr>
            <a:xfrm>
              <a:off x="3732125" y="1060650"/>
              <a:ext cx="96025" cy="284300"/>
            </a:xfrm>
            <a:custGeom>
              <a:avLst/>
              <a:gdLst/>
              <a:ahLst/>
              <a:cxnLst/>
              <a:rect l="l" t="t" r="r" b="b"/>
              <a:pathLst>
                <a:path w="3841" h="11372" extrusionOk="0">
                  <a:moveTo>
                    <a:pt x="280" y="0"/>
                  </a:moveTo>
                  <a:cubicBezTo>
                    <a:pt x="115" y="0"/>
                    <a:pt x="0" y="115"/>
                    <a:pt x="0" y="264"/>
                  </a:cubicBezTo>
                  <a:cubicBezTo>
                    <a:pt x="0" y="412"/>
                    <a:pt x="115" y="544"/>
                    <a:pt x="280" y="544"/>
                  </a:cubicBezTo>
                  <a:lnTo>
                    <a:pt x="3576" y="544"/>
                  </a:lnTo>
                  <a:cubicBezTo>
                    <a:pt x="3725" y="544"/>
                    <a:pt x="3840" y="429"/>
                    <a:pt x="3840" y="264"/>
                  </a:cubicBezTo>
                  <a:cubicBezTo>
                    <a:pt x="3840" y="115"/>
                    <a:pt x="3725" y="0"/>
                    <a:pt x="3576" y="0"/>
                  </a:cubicBezTo>
                  <a:close/>
                  <a:moveTo>
                    <a:pt x="280" y="2159"/>
                  </a:moveTo>
                  <a:cubicBezTo>
                    <a:pt x="115" y="2159"/>
                    <a:pt x="0" y="2291"/>
                    <a:pt x="0" y="2439"/>
                  </a:cubicBezTo>
                  <a:cubicBezTo>
                    <a:pt x="0" y="2588"/>
                    <a:pt x="132" y="2719"/>
                    <a:pt x="280" y="2719"/>
                  </a:cubicBezTo>
                  <a:lnTo>
                    <a:pt x="3576" y="2719"/>
                  </a:lnTo>
                  <a:cubicBezTo>
                    <a:pt x="3725" y="2703"/>
                    <a:pt x="3840" y="2588"/>
                    <a:pt x="3840" y="2439"/>
                  </a:cubicBezTo>
                  <a:cubicBezTo>
                    <a:pt x="3840" y="2291"/>
                    <a:pt x="3725" y="2159"/>
                    <a:pt x="3576" y="2159"/>
                  </a:cubicBezTo>
                  <a:close/>
                  <a:moveTo>
                    <a:pt x="253" y="4333"/>
                  </a:moveTo>
                  <a:cubicBezTo>
                    <a:pt x="103" y="4333"/>
                    <a:pt x="0" y="4458"/>
                    <a:pt x="0" y="4598"/>
                  </a:cubicBezTo>
                  <a:cubicBezTo>
                    <a:pt x="0" y="4747"/>
                    <a:pt x="115" y="4878"/>
                    <a:pt x="280" y="4878"/>
                  </a:cubicBezTo>
                  <a:lnTo>
                    <a:pt x="3576" y="4878"/>
                  </a:lnTo>
                  <a:cubicBezTo>
                    <a:pt x="3725" y="4878"/>
                    <a:pt x="3840" y="4747"/>
                    <a:pt x="3840" y="4598"/>
                  </a:cubicBezTo>
                  <a:cubicBezTo>
                    <a:pt x="3840" y="4458"/>
                    <a:pt x="3738" y="4333"/>
                    <a:pt x="3602" y="4333"/>
                  </a:cubicBezTo>
                  <a:cubicBezTo>
                    <a:pt x="3593" y="4333"/>
                    <a:pt x="3585" y="4334"/>
                    <a:pt x="3576" y="4335"/>
                  </a:cubicBezTo>
                  <a:lnTo>
                    <a:pt x="280" y="4335"/>
                  </a:lnTo>
                  <a:cubicBezTo>
                    <a:pt x="271" y="4334"/>
                    <a:pt x="262" y="4333"/>
                    <a:pt x="253" y="4333"/>
                  </a:cubicBezTo>
                  <a:close/>
                  <a:moveTo>
                    <a:pt x="280" y="6494"/>
                  </a:moveTo>
                  <a:cubicBezTo>
                    <a:pt x="115" y="6494"/>
                    <a:pt x="0" y="6609"/>
                    <a:pt x="0" y="6774"/>
                  </a:cubicBezTo>
                  <a:cubicBezTo>
                    <a:pt x="0" y="6922"/>
                    <a:pt x="115" y="7037"/>
                    <a:pt x="280" y="7037"/>
                  </a:cubicBezTo>
                  <a:lnTo>
                    <a:pt x="3576" y="7037"/>
                  </a:lnTo>
                  <a:cubicBezTo>
                    <a:pt x="3725" y="7037"/>
                    <a:pt x="3840" y="6922"/>
                    <a:pt x="3840" y="6774"/>
                  </a:cubicBezTo>
                  <a:cubicBezTo>
                    <a:pt x="3840" y="6609"/>
                    <a:pt x="3725" y="6494"/>
                    <a:pt x="3576" y="6494"/>
                  </a:cubicBezTo>
                  <a:close/>
                  <a:moveTo>
                    <a:pt x="280" y="8653"/>
                  </a:moveTo>
                  <a:cubicBezTo>
                    <a:pt x="115" y="8653"/>
                    <a:pt x="0" y="8784"/>
                    <a:pt x="0" y="8933"/>
                  </a:cubicBezTo>
                  <a:cubicBezTo>
                    <a:pt x="0" y="9081"/>
                    <a:pt x="115" y="9213"/>
                    <a:pt x="280" y="9213"/>
                  </a:cubicBezTo>
                  <a:lnTo>
                    <a:pt x="3576" y="9213"/>
                  </a:lnTo>
                  <a:cubicBezTo>
                    <a:pt x="3725" y="9213"/>
                    <a:pt x="3840" y="9081"/>
                    <a:pt x="3840" y="8933"/>
                  </a:cubicBezTo>
                  <a:cubicBezTo>
                    <a:pt x="3840" y="8784"/>
                    <a:pt x="3725" y="8653"/>
                    <a:pt x="3576" y="8653"/>
                  </a:cubicBezTo>
                  <a:close/>
                  <a:moveTo>
                    <a:pt x="280" y="10828"/>
                  </a:moveTo>
                  <a:cubicBezTo>
                    <a:pt x="115" y="10828"/>
                    <a:pt x="0" y="10943"/>
                    <a:pt x="0" y="11092"/>
                  </a:cubicBezTo>
                  <a:cubicBezTo>
                    <a:pt x="0" y="11257"/>
                    <a:pt x="115" y="11372"/>
                    <a:pt x="280" y="11372"/>
                  </a:cubicBezTo>
                  <a:lnTo>
                    <a:pt x="3576" y="11372"/>
                  </a:lnTo>
                  <a:cubicBezTo>
                    <a:pt x="3725" y="11372"/>
                    <a:pt x="3840" y="11257"/>
                    <a:pt x="3840" y="11092"/>
                  </a:cubicBezTo>
                  <a:cubicBezTo>
                    <a:pt x="3840" y="10943"/>
                    <a:pt x="3725" y="10828"/>
                    <a:pt x="3576" y="10828"/>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521;p48"/>
            <p:cNvSpPr/>
            <p:nvPr/>
          </p:nvSpPr>
          <p:spPr>
            <a:xfrm>
              <a:off x="3882925" y="1279825"/>
              <a:ext cx="96425" cy="65125"/>
            </a:xfrm>
            <a:custGeom>
              <a:avLst/>
              <a:gdLst/>
              <a:ahLst/>
              <a:cxnLst/>
              <a:rect l="l" t="t" r="r" b="b"/>
              <a:pathLst>
                <a:path w="3857" h="2605" extrusionOk="0">
                  <a:moveTo>
                    <a:pt x="280" y="1"/>
                  </a:moveTo>
                  <a:cubicBezTo>
                    <a:pt x="116" y="1"/>
                    <a:pt x="0" y="116"/>
                    <a:pt x="0" y="281"/>
                  </a:cubicBezTo>
                  <a:cubicBezTo>
                    <a:pt x="0" y="429"/>
                    <a:pt x="116" y="545"/>
                    <a:pt x="280" y="545"/>
                  </a:cubicBezTo>
                  <a:lnTo>
                    <a:pt x="3577" y="545"/>
                  </a:lnTo>
                  <a:cubicBezTo>
                    <a:pt x="3725" y="545"/>
                    <a:pt x="3840" y="429"/>
                    <a:pt x="3840" y="281"/>
                  </a:cubicBezTo>
                  <a:cubicBezTo>
                    <a:pt x="3840" y="116"/>
                    <a:pt x="3725" y="1"/>
                    <a:pt x="3577" y="1"/>
                  </a:cubicBezTo>
                  <a:close/>
                  <a:moveTo>
                    <a:pt x="280" y="2045"/>
                  </a:moveTo>
                  <a:cubicBezTo>
                    <a:pt x="132" y="2045"/>
                    <a:pt x="0" y="2176"/>
                    <a:pt x="0" y="2325"/>
                  </a:cubicBezTo>
                  <a:cubicBezTo>
                    <a:pt x="0" y="2473"/>
                    <a:pt x="116" y="2605"/>
                    <a:pt x="280" y="2605"/>
                  </a:cubicBezTo>
                  <a:lnTo>
                    <a:pt x="3577" y="2605"/>
                  </a:lnTo>
                  <a:cubicBezTo>
                    <a:pt x="3725" y="2605"/>
                    <a:pt x="3857" y="2473"/>
                    <a:pt x="3857" y="2325"/>
                  </a:cubicBezTo>
                  <a:cubicBezTo>
                    <a:pt x="3857"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522;p48"/>
            <p:cNvSpPr/>
            <p:nvPr/>
          </p:nvSpPr>
          <p:spPr>
            <a:xfrm>
              <a:off x="3272700" y="1009125"/>
              <a:ext cx="96450" cy="335825"/>
            </a:xfrm>
            <a:custGeom>
              <a:avLst/>
              <a:gdLst/>
              <a:ahLst/>
              <a:cxnLst/>
              <a:rect l="l" t="t" r="r" b="b"/>
              <a:pathLst>
                <a:path w="3858" h="13433" extrusionOk="0">
                  <a:moveTo>
                    <a:pt x="281" y="1"/>
                  </a:moveTo>
                  <a:cubicBezTo>
                    <a:pt x="132" y="1"/>
                    <a:pt x="17" y="116"/>
                    <a:pt x="17" y="265"/>
                  </a:cubicBezTo>
                  <a:cubicBezTo>
                    <a:pt x="1" y="429"/>
                    <a:pt x="132" y="545"/>
                    <a:pt x="281" y="545"/>
                  </a:cubicBezTo>
                  <a:lnTo>
                    <a:pt x="3577" y="545"/>
                  </a:lnTo>
                  <a:cubicBezTo>
                    <a:pt x="3725" y="545"/>
                    <a:pt x="3857" y="429"/>
                    <a:pt x="3857" y="265"/>
                  </a:cubicBezTo>
                  <a:cubicBezTo>
                    <a:pt x="3857" y="116"/>
                    <a:pt x="3725" y="1"/>
                    <a:pt x="3577" y="1"/>
                  </a:cubicBezTo>
                  <a:close/>
                  <a:moveTo>
                    <a:pt x="281" y="2143"/>
                  </a:moveTo>
                  <a:cubicBezTo>
                    <a:pt x="132" y="2143"/>
                    <a:pt x="17" y="2275"/>
                    <a:pt x="17" y="2424"/>
                  </a:cubicBezTo>
                  <a:cubicBezTo>
                    <a:pt x="17" y="2572"/>
                    <a:pt x="132" y="2687"/>
                    <a:pt x="281" y="2687"/>
                  </a:cubicBezTo>
                  <a:lnTo>
                    <a:pt x="3577" y="2687"/>
                  </a:lnTo>
                  <a:cubicBezTo>
                    <a:pt x="3585" y="2688"/>
                    <a:pt x="3594" y="2689"/>
                    <a:pt x="3602" y="2689"/>
                  </a:cubicBezTo>
                  <a:cubicBezTo>
                    <a:pt x="3740" y="2689"/>
                    <a:pt x="3857" y="2563"/>
                    <a:pt x="3857" y="2424"/>
                  </a:cubicBezTo>
                  <a:cubicBezTo>
                    <a:pt x="3857" y="2275"/>
                    <a:pt x="3725" y="2143"/>
                    <a:pt x="3577" y="2143"/>
                  </a:cubicBezTo>
                  <a:close/>
                  <a:moveTo>
                    <a:pt x="3602" y="4301"/>
                  </a:moveTo>
                  <a:cubicBezTo>
                    <a:pt x="3594" y="4301"/>
                    <a:pt x="3585" y="4302"/>
                    <a:pt x="3577" y="4302"/>
                  </a:cubicBezTo>
                  <a:lnTo>
                    <a:pt x="281" y="4302"/>
                  </a:lnTo>
                  <a:cubicBezTo>
                    <a:pt x="132" y="4302"/>
                    <a:pt x="17" y="4418"/>
                    <a:pt x="17" y="4566"/>
                  </a:cubicBezTo>
                  <a:cubicBezTo>
                    <a:pt x="17" y="4714"/>
                    <a:pt x="132" y="4846"/>
                    <a:pt x="281" y="4846"/>
                  </a:cubicBezTo>
                  <a:lnTo>
                    <a:pt x="3577" y="4846"/>
                  </a:lnTo>
                  <a:cubicBezTo>
                    <a:pt x="3725" y="4846"/>
                    <a:pt x="3857" y="4714"/>
                    <a:pt x="3857" y="4566"/>
                  </a:cubicBezTo>
                  <a:cubicBezTo>
                    <a:pt x="3857" y="4426"/>
                    <a:pt x="3740" y="4301"/>
                    <a:pt x="3602" y="4301"/>
                  </a:cubicBezTo>
                  <a:close/>
                  <a:moveTo>
                    <a:pt x="281" y="6445"/>
                  </a:moveTo>
                  <a:cubicBezTo>
                    <a:pt x="132" y="6445"/>
                    <a:pt x="17" y="6560"/>
                    <a:pt x="17" y="6709"/>
                  </a:cubicBezTo>
                  <a:cubicBezTo>
                    <a:pt x="1" y="6873"/>
                    <a:pt x="132" y="6989"/>
                    <a:pt x="281" y="6989"/>
                  </a:cubicBezTo>
                  <a:lnTo>
                    <a:pt x="3577" y="6989"/>
                  </a:lnTo>
                  <a:cubicBezTo>
                    <a:pt x="3725" y="6989"/>
                    <a:pt x="3857" y="6873"/>
                    <a:pt x="3857" y="6709"/>
                  </a:cubicBezTo>
                  <a:cubicBezTo>
                    <a:pt x="3857" y="6560"/>
                    <a:pt x="3725" y="6445"/>
                    <a:pt x="3577" y="6445"/>
                  </a:cubicBezTo>
                  <a:close/>
                  <a:moveTo>
                    <a:pt x="281" y="8588"/>
                  </a:moveTo>
                  <a:cubicBezTo>
                    <a:pt x="132" y="8588"/>
                    <a:pt x="17" y="8719"/>
                    <a:pt x="17" y="8868"/>
                  </a:cubicBezTo>
                  <a:cubicBezTo>
                    <a:pt x="17" y="9016"/>
                    <a:pt x="132" y="9131"/>
                    <a:pt x="281" y="9131"/>
                  </a:cubicBezTo>
                  <a:lnTo>
                    <a:pt x="3577" y="9131"/>
                  </a:lnTo>
                  <a:cubicBezTo>
                    <a:pt x="3725" y="9131"/>
                    <a:pt x="3857" y="9016"/>
                    <a:pt x="3857" y="8868"/>
                  </a:cubicBezTo>
                  <a:cubicBezTo>
                    <a:pt x="3857" y="8719"/>
                    <a:pt x="3725" y="8588"/>
                    <a:pt x="3577" y="8588"/>
                  </a:cubicBezTo>
                  <a:close/>
                  <a:moveTo>
                    <a:pt x="281" y="10730"/>
                  </a:moveTo>
                  <a:cubicBezTo>
                    <a:pt x="132" y="10730"/>
                    <a:pt x="17" y="10862"/>
                    <a:pt x="17" y="11010"/>
                  </a:cubicBezTo>
                  <a:cubicBezTo>
                    <a:pt x="17" y="11159"/>
                    <a:pt x="132" y="11290"/>
                    <a:pt x="281" y="11290"/>
                  </a:cubicBezTo>
                  <a:lnTo>
                    <a:pt x="3577" y="11290"/>
                  </a:lnTo>
                  <a:cubicBezTo>
                    <a:pt x="3725" y="11290"/>
                    <a:pt x="3857" y="11159"/>
                    <a:pt x="3857" y="11010"/>
                  </a:cubicBezTo>
                  <a:cubicBezTo>
                    <a:pt x="3857" y="10862"/>
                    <a:pt x="3725" y="10730"/>
                    <a:pt x="3577" y="10730"/>
                  </a:cubicBezTo>
                  <a:close/>
                  <a:moveTo>
                    <a:pt x="281" y="12889"/>
                  </a:moveTo>
                  <a:cubicBezTo>
                    <a:pt x="132" y="12889"/>
                    <a:pt x="1" y="13004"/>
                    <a:pt x="17" y="13153"/>
                  </a:cubicBezTo>
                  <a:cubicBezTo>
                    <a:pt x="17" y="13318"/>
                    <a:pt x="132" y="13433"/>
                    <a:pt x="281" y="13433"/>
                  </a:cubicBezTo>
                  <a:lnTo>
                    <a:pt x="3577" y="13433"/>
                  </a:lnTo>
                  <a:cubicBezTo>
                    <a:pt x="3725" y="13433"/>
                    <a:pt x="3857" y="13301"/>
                    <a:pt x="3857" y="13153"/>
                  </a:cubicBezTo>
                  <a:cubicBezTo>
                    <a:pt x="3857"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523;p48"/>
            <p:cNvSpPr/>
            <p:nvPr/>
          </p:nvSpPr>
          <p:spPr>
            <a:xfrm>
              <a:off x="3581300" y="906125"/>
              <a:ext cx="96050" cy="438825"/>
            </a:xfrm>
            <a:custGeom>
              <a:avLst/>
              <a:gdLst/>
              <a:ahLst/>
              <a:cxnLst/>
              <a:rect l="l" t="t" r="r" b="b"/>
              <a:pathLst>
                <a:path w="3842" h="17553" extrusionOk="0">
                  <a:moveTo>
                    <a:pt x="281" y="1"/>
                  </a:moveTo>
                  <a:cubicBezTo>
                    <a:pt x="116" y="1"/>
                    <a:pt x="1" y="132"/>
                    <a:pt x="1" y="281"/>
                  </a:cubicBezTo>
                  <a:cubicBezTo>
                    <a:pt x="1" y="429"/>
                    <a:pt x="116" y="561"/>
                    <a:pt x="281" y="561"/>
                  </a:cubicBezTo>
                  <a:lnTo>
                    <a:pt x="3577" y="561"/>
                  </a:lnTo>
                  <a:cubicBezTo>
                    <a:pt x="3726" y="561"/>
                    <a:pt x="3841" y="429"/>
                    <a:pt x="3841" y="281"/>
                  </a:cubicBezTo>
                  <a:cubicBezTo>
                    <a:pt x="3841" y="132"/>
                    <a:pt x="3726" y="1"/>
                    <a:pt x="3577" y="1"/>
                  </a:cubicBezTo>
                  <a:close/>
                  <a:moveTo>
                    <a:pt x="281" y="2127"/>
                  </a:moveTo>
                  <a:cubicBezTo>
                    <a:pt x="116" y="2127"/>
                    <a:pt x="1" y="2259"/>
                    <a:pt x="1" y="2407"/>
                  </a:cubicBezTo>
                  <a:cubicBezTo>
                    <a:pt x="1" y="2555"/>
                    <a:pt x="116" y="2687"/>
                    <a:pt x="281" y="2687"/>
                  </a:cubicBezTo>
                  <a:lnTo>
                    <a:pt x="3577" y="2687"/>
                  </a:lnTo>
                  <a:cubicBezTo>
                    <a:pt x="3726" y="2687"/>
                    <a:pt x="3841" y="2555"/>
                    <a:pt x="3841" y="2407"/>
                  </a:cubicBezTo>
                  <a:cubicBezTo>
                    <a:pt x="3841" y="2259"/>
                    <a:pt x="3726" y="2127"/>
                    <a:pt x="3577" y="2127"/>
                  </a:cubicBezTo>
                  <a:close/>
                  <a:moveTo>
                    <a:pt x="281" y="4253"/>
                  </a:moveTo>
                  <a:cubicBezTo>
                    <a:pt x="116" y="4253"/>
                    <a:pt x="1" y="4385"/>
                    <a:pt x="1" y="4533"/>
                  </a:cubicBezTo>
                  <a:cubicBezTo>
                    <a:pt x="1" y="4681"/>
                    <a:pt x="116" y="4797"/>
                    <a:pt x="281" y="4813"/>
                  </a:cubicBezTo>
                  <a:lnTo>
                    <a:pt x="3577" y="4813"/>
                  </a:lnTo>
                  <a:cubicBezTo>
                    <a:pt x="3726" y="4797"/>
                    <a:pt x="3841" y="4681"/>
                    <a:pt x="3841" y="4533"/>
                  </a:cubicBezTo>
                  <a:cubicBezTo>
                    <a:pt x="3841" y="4385"/>
                    <a:pt x="3726" y="4253"/>
                    <a:pt x="3577" y="4253"/>
                  </a:cubicBezTo>
                  <a:close/>
                  <a:moveTo>
                    <a:pt x="281" y="6379"/>
                  </a:moveTo>
                  <a:cubicBezTo>
                    <a:pt x="116" y="6379"/>
                    <a:pt x="1" y="6511"/>
                    <a:pt x="1" y="6659"/>
                  </a:cubicBezTo>
                  <a:cubicBezTo>
                    <a:pt x="1" y="6807"/>
                    <a:pt x="116" y="6923"/>
                    <a:pt x="281" y="6923"/>
                  </a:cubicBezTo>
                  <a:lnTo>
                    <a:pt x="3577" y="6923"/>
                  </a:lnTo>
                  <a:cubicBezTo>
                    <a:pt x="3726" y="6923"/>
                    <a:pt x="3841" y="6807"/>
                    <a:pt x="3841" y="6659"/>
                  </a:cubicBezTo>
                  <a:cubicBezTo>
                    <a:pt x="3841" y="6511"/>
                    <a:pt x="3726" y="6379"/>
                    <a:pt x="3577" y="6379"/>
                  </a:cubicBezTo>
                  <a:close/>
                  <a:moveTo>
                    <a:pt x="281" y="8505"/>
                  </a:moveTo>
                  <a:cubicBezTo>
                    <a:pt x="116" y="8505"/>
                    <a:pt x="1" y="8637"/>
                    <a:pt x="1" y="8785"/>
                  </a:cubicBezTo>
                  <a:cubicBezTo>
                    <a:pt x="1" y="8933"/>
                    <a:pt x="116" y="9049"/>
                    <a:pt x="281" y="9049"/>
                  </a:cubicBezTo>
                  <a:lnTo>
                    <a:pt x="3577" y="9049"/>
                  </a:lnTo>
                  <a:cubicBezTo>
                    <a:pt x="3726" y="9049"/>
                    <a:pt x="3841" y="8933"/>
                    <a:pt x="3841" y="8785"/>
                  </a:cubicBezTo>
                  <a:cubicBezTo>
                    <a:pt x="3841" y="8637"/>
                    <a:pt x="3726" y="8505"/>
                    <a:pt x="3577" y="8505"/>
                  </a:cubicBezTo>
                  <a:close/>
                  <a:moveTo>
                    <a:pt x="281" y="10631"/>
                  </a:moveTo>
                  <a:cubicBezTo>
                    <a:pt x="116" y="10631"/>
                    <a:pt x="1" y="10746"/>
                    <a:pt x="1" y="10911"/>
                  </a:cubicBezTo>
                  <a:cubicBezTo>
                    <a:pt x="1" y="11059"/>
                    <a:pt x="116" y="11175"/>
                    <a:pt x="281" y="11175"/>
                  </a:cubicBezTo>
                  <a:lnTo>
                    <a:pt x="3577" y="11175"/>
                  </a:lnTo>
                  <a:cubicBezTo>
                    <a:pt x="3726" y="11175"/>
                    <a:pt x="3841" y="11059"/>
                    <a:pt x="3841" y="10911"/>
                  </a:cubicBezTo>
                  <a:cubicBezTo>
                    <a:pt x="3841" y="10746"/>
                    <a:pt x="3726" y="10631"/>
                    <a:pt x="3577" y="10631"/>
                  </a:cubicBezTo>
                  <a:close/>
                  <a:moveTo>
                    <a:pt x="281" y="12757"/>
                  </a:moveTo>
                  <a:cubicBezTo>
                    <a:pt x="116" y="12757"/>
                    <a:pt x="1" y="12872"/>
                    <a:pt x="1" y="13037"/>
                  </a:cubicBezTo>
                  <a:cubicBezTo>
                    <a:pt x="1" y="13185"/>
                    <a:pt x="116" y="13301"/>
                    <a:pt x="281" y="13301"/>
                  </a:cubicBezTo>
                  <a:lnTo>
                    <a:pt x="3577" y="13301"/>
                  </a:lnTo>
                  <a:cubicBezTo>
                    <a:pt x="3726" y="13301"/>
                    <a:pt x="3841" y="13185"/>
                    <a:pt x="3841" y="13037"/>
                  </a:cubicBezTo>
                  <a:cubicBezTo>
                    <a:pt x="3841" y="12872"/>
                    <a:pt x="3726" y="12757"/>
                    <a:pt x="3577" y="12757"/>
                  </a:cubicBezTo>
                  <a:close/>
                  <a:moveTo>
                    <a:pt x="281" y="14883"/>
                  </a:moveTo>
                  <a:cubicBezTo>
                    <a:pt x="116" y="14883"/>
                    <a:pt x="1" y="14998"/>
                    <a:pt x="1" y="15147"/>
                  </a:cubicBezTo>
                  <a:cubicBezTo>
                    <a:pt x="1" y="15312"/>
                    <a:pt x="116" y="15427"/>
                    <a:pt x="281" y="15427"/>
                  </a:cubicBezTo>
                  <a:lnTo>
                    <a:pt x="3577" y="15427"/>
                  </a:lnTo>
                  <a:cubicBezTo>
                    <a:pt x="3726" y="15427"/>
                    <a:pt x="3841" y="15312"/>
                    <a:pt x="3841" y="15147"/>
                  </a:cubicBezTo>
                  <a:cubicBezTo>
                    <a:pt x="3841" y="14998"/>
                    <a:pt x="3726" y="14883"/>
                    <a:pt x="3577" y="14883"/>
                  </a:cubicBezTo>
                  <a:close/>
                  <a:moveTo>
                    <a:pt x="281" y="17009"/>
                  </a:moveTo>
                  <a:cubicBezTo>
                    <a:pt x="116" y="17009"/>
                    <a:pt x="1" y="17124"/>
                    <a:pt x="1" y="17273"/>
                  </a:cubicBezTo>
                  <a:cubicBezTo>
                    <a:pt x="1" y="17438"/>
                    <a:pt x="116" y="17553"/>
                    <a:pt x="281" y="17553"/>
                  </a:cubicBezTo>
                  <a:lnTo>
                    <a:pt x="3577" y="17553"/>
                  </a:lnTo>
                  <a:cubicBezTo>
                    <a:pt x="3726" y="17553"/>
                    <a:pt x="3841" y="17438"/>
                    <a:pt x="3841" y="17273"/>
                  </a:cubicBezTo>
                  <a:cubicBezTo>
                    <a:pt x="3841" y="17124"/>
                    <a:pt x="3726" y="17009"/>
                    <a:pt x="3577" y="1700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524;p48"/>
            <p:cNvSpPr/>
            <p:nvPr/>
          </p:nvSpPr>
          <p:spPr>
            <a:xfrm>
              <a:off x="4362525" y="1176825"/>
              <a:ext cx="96025" cy="168125"/>
            </a:xfrm>
            <a:custGeom>
              <a:avLst/>
              <a:gdLst/>
              <a:ahLst/>
              <a:cxnLst/>
              <a:rect l="l" t="t" r="r" b="b"/>
              <a:pathLst>
                <a:path w="3841" h="6725" extrusionOk="0">
                  <a:moveTo>
                    <a:pt x="280" y="1"/>
                  </a:moveTo>
                  <a:cubicBezTo>
                    <a:pt x="132" y="1"/>
                    <a:pt x="0" y="116"/>
                    <a:pt x="0" y="281"/>
                  </a:cubicBezTo>
                  <a:cubicBezTo>
                    <a:pt x="0" y="429"/>
                    <a:pt x="132" y="545"/>
                    <a:pt x="280" y="545"/>
                  </a:cubicBezTo>
                  <a:lnTo>
                    <a:pt x="3577" y="545"/>
                  </a:lnTo>
                  <a:cubicBezTo>
                    <a:pt x="3725" y="545"/>
                    <a:pt x="3840" y="429"/>
                    <a:pt x="3840" y="281"/>
                  </a:cubicBezTo>
                  <a:cubicBezTo>
                    <a:pt x="3840" y="116"/>
                    <a:pt x="3725" y="1"/>
                    <a:pt x="3577" y="1"/>
                  </a:cubicBezTo>
                  <a:close/>
                  <a:moveTo>
                    <a:pt x="280" y="2061"/>
                  </a:moveTo>
                  <a:cubicBezTo>
                    <a:pt x="132" y="2061"/>
                    <a:pt x="0" y="2176"/>
                    <a:pt x="0" y="2341"/>
                  </a:cubicBezTo>
                  <a:cubicBezTo>
                    <a:pt x="0" y="2489"/>
                    <a:pt x="132" y="2605"/>
                    <a:pt x="280" y="2605"/>
                  </a:cubicBezTo>
                  <a:lnTo>
                    <a:pt x="3577" y="2605"/>
                  </a:lnTo>
                  <a:cubicBezTo>
                    <a:pt x="3725" y="2605"/>
                    <a:pt x="3840" y="2489"/>
                    <a:pt x="3840" y="2341"/>
                  </a:cubicBezTo>
                  <a:cubicBezTo>
                    <a:pt x="3840" y="2176"/>
                    <a:pt x="3725" y="2061"/>
                    <a:pt x="3577" y="2061"/>
                  </a:cubicBezTo>
                  <a:close/>
                  <a:moveTo>
                    <a:pt x="280" y="4121"/>
                  </a:moveTo>
                  <a:cubicBezTo>
                    <a:pt x="132" y="4121"/>
                    <a:pt x="0" y="4236"/>
                    <a:pt x="0" y="4401"/>
                  </a:cubicBezTo>
                  <a:cubicBezTo>
                    <a:pt x="0" y="4549"/>
                    <a:pt x="132" y="4665"/>
                    <a:pt x="280" y="4665"/>
                  </a:cubicBezTo>
                  <a:lnTo>
                    <a:pt x="3577" y="4665"/>
                  </a:lnTo>
                  <a:cubicBezTo>
                    <a:pt x="3725" y="4665"/>
                    <a:pt x="3840" y="4549"/>
                    <a:pt x="3840" y="4401"/>
                  </a:cubicBezTo>
                  <a:cubicBezTo>
                    <a:pt x="3840" y="4236"/>
                    <a:pt x="3725" y="4121"/>
                    <a:pt x="3577" y="4121"/>
                  </a:cubicBezTo>
                  <a:close/>
                  <a:moveTo>
                    <a:pt x="280" y="6181"/>
                  </a:moveTo>
                  <a:cubicBezTo>
                    <a:pt x="132" y="6181"/>
                    <a:pt x="0" y="6296"/>
                    <a:pt x="0" y="6445"/>
                  </a:cubicBezTo>
                  <a:cubicBezTo>
                    <a:pt x="0" y="6610"/>
                    <a:pt x="132" y="6725"/>
                    <a:pt x="280" y="6725"/>
                  </a:cubicBezTo>
                  <a:lnTo>
                    <a:pt x="3577" y="6725"/>
                  </a:lnTo>
                  <a:cubicBezTo>
                    <a:pt x="3725" y="6725"/>
                    <a:pt x="3840" y="6610"/>
                    <a:pt x="3840" y="6445"/>
                  </a:cubicBezTo>
                  <a:cubicBezTo>
                    <a:pt x="3840" y="6296"/>
                    <a:pt x="3725" y="6181"/>
                    <a:pt x="3577" y="618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525;p48"/>
            <p:cNvSpPr/>
            <p:nvPr/>
          </p:nvSpPr>
          <p:spPr>
            <a:xfrm>
              <a:off x="4054325" y="1125325"/>
              <a:ext cx="96025" cy="219625"/>
            </a:xfrm>
            <a:custGeom>
              <a:avLst/>
              <a:gdLst/>
              <a:ahLst/>
              <a:cxnLst/>
              <a:rect l="l" t="t" r="r" b="b"/>
              <a:pathLst>
                <a:path w="3841" h="8785" extrusionOk="0">
                  <a:moveTo>
                    <a:pt x="264" y="1"/>
                  </a:moveTo>
                  <a:cubicBezTo>
                    <a:pt x="116" y="1"/>
                    <a:pt x="0" y="132"/>
                    <a:pt x="17" y="281"/>
                  </a:cubicBezTo>
                  <a:cubicBezTo>
                    <a:pt x="17" y="446"/>
                    <a:pt x="132" y="561"/>
                    <a:pt x="281" y="561"/>
                  </a:cubicBezTo>
                  <a:lnTo>
                    <a:pt x="3577" y="561"/>
                  </a:lnTo>
                  <a:cubicBezTo>
                    <a:pt x="3725" y="561"/>
                    <a:pt x="3840" y="429"/>
                    <a:pt x="3840" y="281"/>
                  </a:cubicBezTo>
                  <a:cubicBezTo>
                    <a:pt x="3840" y="116"/>
                    <a:pt x="3725" y="1"/>
                    <a:pt x="3560" y="1"/>
                  </a:cubicBezTo>
                  <a:close/>
                  <a:moveTo>
                    <a:pt x="264" y="2061"/>
                  </a:moveTo>
                  <a:cubicBezTo>
                    <a:pt x="116" y="2061"/>
                    <a:pt x="0" y="2176"/>
                    <a:pt x="0" y="2341"/>
                  </a:cubicBezTo>
                  <a:cubicBezTo>
                    <a:pt x="0" y="2489"/>
                    <a:pt x="116" y="2605"/>
                    <a:pt x="264" y="2605"/>
                  </a:cubicBezTo>
                  <a:lnTo>
                    <a:pt x="3560" y="2605"/>
                  </a:lnTo>
                  <a:cubicBezTo>
                    <a:pt x="3709" y="2605"/>
                    <a:pt x="3840" y="2489"/>
                    <a:pt x="3840" y="2341"/>
                  </a:cubicBezTo>
                  <a:cubicBezTo>
                    <a:pt x="3840" y="2176"/>
                    <a:pt x="3725" y="2061"/>
                    <a:pt x="3560" y="2061"/>
                  </a:cubicBezTo>
                  <a:close/>
                  <a:moveTo>
                    <a:pt x="264" y="4121"/>
                  </a:moveTo>
                  <a:cubicBezTo>
                    <a:pt x="116" y="4121"/>
                    <a:pt x="0" y="4236"/>
                    <a:pt x="0" y="4401"/>
                  </a:cubicBezTo>
                  <a:cubicBezTo>
                    <a:pt x="0" y="4549"/>
                    <a:pt x="116" y="4665"/>
                    <a:pt x="264" y="4665"/>
                  </a:cubicBezTo>
                  <a:lnTo>
                    <a:pt x="3560" y="4665"/>
                  </a:lnTo>
                  <a:cubicBezTo>
                    <a:pt x="3709" y="4665"/>
                    <a:pt x="3840" y="4549"/>
                    <a:pt x="3840" y="4401"/>
                  </a:cubicBezTo>
                  <a:cubicBezTo>
                    <a:pt x="3840" y="4236"/>
                    <a:pt x="3725" y="4121"/>
                    <a:pt x="3560" y="4121"/>
                  </a:cubicBezTo>
                  <a:close/>
                  <a:moveTo>
                    <a:pt x="264" y="6181"/>
                  </a:moveTo>
                  <a:cubicBezTo>
                    <a:pt x="116" y="6181"/>
                    <a:pt x="0" y="6296"/>
                    <a:pt x="0" y="6461"/>
                  </a:cubicBezTo>
                  <a:cubicBezTo>
                    <a:pt x="0" y="6609"/>
                    <a:pt x="116" y="6725"/>
                    <a:pt x="264" y="6725"/>
                  </a:cubicBezTo>
                  <a:lnTo>
                    <a:pt x="3560" y="6725"/>
                  </a:lnTo>
                  <a:cubicBezTo>
                    <a:pt x="3725" y="6725"/>
                    <a:pt x="3840" y="6609"/>
                    <a:pt x="3840" y="6461"/>
                  </a:cubicBezTo>
                  <a:cubicBezTo>
                    <a:pt x="3840" y="6296"/>
                    <a:pt x="3725" y="6181"/>
                    <a:pt x="3560" y="6181"/>
                  </a:cubicBezTo>
                  <a:close/>
                  <a:moveTo>
                    <a:pt x="281" y="8225"/>
                  </a:moveTo>
                  <a:cubicBezTo>
                    <a:pt x="132" y="8225"/>
                    <a:pt x="0" y="8356"/>
                    <a:pt x="17" y="8505"/>
                  </a:cubicBezTo>
                  <a:cubicBezTo>
                    <a:pt x="0" y="8653"/>
                    <a:pt x="116" y="8785"/>
                    <a:pt x="264" y="8785"/>
                  </a:cubicBezTo>
                  <a:lnTo>
                    <a:pt x="3560" y="8785"/>
                  </a:lnTo>
                  <a:cubicBezTo>
                    <a:pt x="3725" y="8785"/>
                    <a:pt x="3840" y="8653"/>
                    <a:pt x="3840" y="8505"/>
                  </a:cubicBezTo>
                  <a:cubicBezTo>
                    <a:pt x="3840" y="8356"/>
                    <a:pt x="3725" y="8241"/>
                    <a:pt x="3577" y="8225"/>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526;p48"/>
            <p:cNvSpPr/>
            <p:nvPr/>
          </p:nvSpPr>
          <p:spPr>
            <a:xfrm>
              <a:off x="4670725" y="1060650"/>
              <a:ext cx="96425" cy="284300"/>
            </a:xfrm>
            <a:custGeom>
              <a:avLst/>
              <a:gdLst/>
              <a:ahLst/>
              <a:cxnLst/>
              <a:rect l="l" t="t" r="r" b="b"/>
              <a:pathLst>
                <a:path w="3857" h="11372" extrusionOk="0">
                  <a:moveTo>
                    <a:pt x="280" y="0"/>
                  </a:moveTo>
                  <a:cubicBezTo>
                    <a:pt x="132" y="0"/>
                    <a:pt x="0" y="115"/>
                    <a:pt x="0" y="264"/>
                  </a:cubicBezTo>
                  <a:cubicBezTo>
                    <a:pt x="0" y="412"/>
                    <a:pt x="132" y="544"/>
                    <a:pt x="280" y="544"/>
                  </a:cubicBezTo>
                  <a:lnTo>
                    <a:pt x="3577" y="544"/>
                  </a:lnTo>
                  <a:cubicBezTo>
                    <a:pt x="3725" y="544"/>
                    <a:pt x="3857" y="429"/>
                    <a:pt x="3857" y="264"/>
                  </a:cubicBezTo>
                  <a:cubicBezTo>
                    <a:pt x="3857" y="115"/>
                    <a:pt x="3725" y="0"/>
                    <a:pt x="3577" y="0"/>
                  </a:cubicBezTo>
                  <a:close/>
                  <a:moveTo>
                    <a:pt x="280" y="2159"/>
                  </a:moveTo>
                  <a:cubicBezTo>
                    <a:pt x="132" y="2159"/>
                    <a:pt x="17" y="2291"/>
                    <a:pt x="17" y="2439"/>
                  </a:cubicBezTo>
                  <a:cubicBezTo>
                    <a:pt x="17" y="2588"/>
                    <a:pt x="148" y="2719"/>
                    <a:pt x="297" y="2719"/>
                  </a:cubicBezTo>
                  <a:lnTo>
                    <a:pt x="3593" y="2719"/>
                  </a:lnTo>
                  <a:cubicBezTo>
                    <a:pt x="3741" y="2703"/>
                    <a:pt x="3857" y="2588"/>
                    <a:pt x="3857" y="2439"/>
                  </a:cubicBezTo>
                  <a:cubicBezTo>
                    <a:pt x="3857" y="2291"/>
                    <a:pt x="3725" y="2159"/>
                    <a:pt x="3577" y="2159"/>
                  </a:cubicBezTo>
                  <a:close/>
                  <a:moveTo>
                    <a:pt x="255" y="4333"/>
                  </a:moveTo>
                  <a:cubicBezTo>
                    <a:pt x="117" y="4333"/>
                    <a:pt x="0" y="4458"/>
                    <a:pt x="0" y="4598"/>
                  </a:cubicBezTo>
                  <a:cubicBezTo>
                    <a:pt x="0" y="4747"/>
                    <a:pt x="132" y="4878"/>
                    <a:pt x="280" y="4878"/>
                  </a:cubicBezTo>
                  <a:lnTo>
                    <a:pt x="3577" y="4878"/>
                  </a:lnTo>
                  <a:cubicBezTo>
                    <a:pt x="3725" y="4878"/>
                    <a:pt x="3857" y="4747"/>
                    <a:pt x="3857" y="4598"/>
                  </a:cubicBezTo>
                  <a:cubicBezTo>
                    <a:pt x="3857" y="4458"/>
                    <a:pt x="3739" y="4333"/>
                    <a:pt x="3602" y="4333"/>
                  </a:cubicBezTo>
                  <a:cubicBezTo>
                    <a:pt x="3593" y="4333"/>
                    <a:pt x="3585" y="4334"/>
                    <a:pt x="3577" y="4335"/>
                  </a:cubicBezTo>
                  <a:lnTo>
                    <a:pt x="280" y="4335"/>
                  </a:lnTo>
                  <a:cubicBezTo>
                    <a:pt x="272" y="4334"/>
                    <a:pt x="263" y="4333"/>
                    <a:pt x="255" y="4333"/>
                  </a:cubicBezTo>
                  <a:close/>
                  <a:moveTo>
                    <a:pt x="280" y="6494"/>
                  </a:moveTo>
                  <a:cubicBezTo>
                    <a:pt x="132" y="6494"/>
                    <a:pt x="0" y="6609"/>
                    <a:pt x="0" y="6774"/>
                  </a:cubicBezTo>
                  <a:cubicBezTo>
                    <a:pt x="0" y="6922"/>
                    <a:pt x="132" y="7037"/>
                    <a:pt x="280" y="7037"/>
                  </a:cubicBezTo>
                  <a:lnTo>
                    <a:pt x="3577" y="7037"/>
                  </a:lnTo>
                  <a:cubicBezTo>
                    <a:pt x="3725" y="7037"/>
                    <a:pt x="3857" y="6922"/>
                    <a:pt x="3857" y="6774"/>
                  </a:cubicBezTo>
                  <a:cubicBezTo>
                    <a:pt x="3857" y="6609"/>
                    <a:pt x="3725" y="6494"/>
                    <a:pt x="3577" y="6494"/>
                  </a:cubicBezTo>
                  <a:close/>
                  <a:moveTo>
                    <a:pt x="280" y="8653"/>
                  </a:moveTo>
                  <a:cubicBezTo>
                    <a:pt x="132" y="8653"/>
                    <a:pt x="0" y="8784"/>
                    <a:pt x="0" y="8933"/>
                  </a:cubicBezTo>
                  <a:cubicBezTo>
                    <a:pt x="0" y="9081"/>
                    <a:pt x="132" y="9213"/>
                    <a:pt x="280" y="9213"/>
                  </a:cubicBezTo>
                  <a:lnTo>
                    <a:pt x="3577" y="9213"/>
                  </a:lnTo>
                  <a:cubicBezTo>
                    <a:pt x="3725" y="9213"/>
                    <a:pt x="3857" y="9081"/>
                    <a:pt x="3857" y="8933"/>
                  </a:cubicBezTo>
                  <a:cubicBezTo>
                    <a:pt x="3857" y="8784"/>
                    <a:pt x="3725" y="8653"/>
                    <a:pt x="3577" y="8653"/>
                  </a:cubicBezTo>
                  <a:close/>
                  <a:moveTo>
                    <a:pt x="280" y="10828"/>
                  </a:moveTo>
                  <a:cubicBezTo>
                    <a:pt x="132" y="10828"/>
                    <a:pt x="0" y="10943"/>
                    <a:pt x="0" y="11092"/>
                  </a:cubicBezTo>
                  <a:cubicBezTo>
                    <a:pt x="0" y="11257"/>
                    <a:pt x="132" y="11372"/>
                    <a:pt x="280" y="11372"/>
                  </a:cubicBezTo>
                  <a:lnTo>
                    <a:pt x="3577" y="11372"/>
                  </a:lnTo>
                  <a:cubicBezTo>
                    <a:pt x="3725" y="11372"/>
                    <a:pt x="3857" y="11257"/>
                    <a:pt x="3857" y="11092"/>
                  </a:cubicBezTo>
                  <a:cubicBezTo>
                    <a:pt x="3857" y="10943"/>
                    <a:pt x="3725" y="10828"/>
                    <a:pt x="3577" y="10828"/>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527;p48"/>
            <p:cNvSpPr/>
            <p:nvPr/>
          </p:nvSpPr>
          <p:spPr>
            <a:xfrm>
              <a:off x="4821925" y="1279825"/>
              <a:ext cx="96025" cy="65125"/>
            </a:xfrm>
            <a:custGeom>
              <a:avLst/>
              <a:gdLst/>
              <a:ahLst/>
              <a:cxnLst/>
              <a:rect l="l" t="t" r="r" b="b"/>
              <a:pathLst>
                <a:path w="3841" h="2605" extrusionOk="0">
                  <a:moveTo>
                    <a:pt x="264" y="1"/>
                  </a:moveTo>
                  <a:cubicBezTo>
                    <a:pt x="116" y="1"/>
                    <a:pt x="1" y="116"/>
                    <a:pt x="1" y="281"/>
                  </a:cubicBezTo>
                  <a:cubicBezTo>
                    <a:pt x="1" y="429"/>
                    <a:pt x="116" y="545"/>
                    <a:pt x="264" y="545"/>
                  </a:cubicBezTo>
                  <a:lnTo>
                    <a:pt x="3561" y="545"/>
                  </a:lnTo>
                  <a:cubicBezTo>
                    <a:pt x="3709" y="545"/>
                    <a:pt x="3841" y="429"/>
                    <a:pt x="3841" y="281"/>
                  </a:cubicBezTo>
                  <a:cubicBezTo>
                    <a:pt x="3841" y="116"/>
                    <a:pt x="3709" y="1"/>
                    <a:pt x="3561" y="1"/>
                  </a:cubicBezTo>
                  <a:close/>
                  <a:moveTo>
                    <a:pt x="281" y="2045"/>
                  </a:moveTo>
                  <a:cubicBezTo>
                    <a:pt x="116" y="2045"/>
                    <a:pt x="1" y="2176"/>
                    <a:pt x="1" y="2325"/>
                  </a:cubicBezTo>
                  <a:cubicBezTo>
                    <a:pt x="1" y="2473"/>
                    <a:pt x="116" y="2605"/>
                    <a:pt x="264" y="2605"/>
                  </a:cubicBezTo>
                  <a:lnTo>
                    <a:pt x="3561" y="2605"/>
                  </a:lnTo>
                  <a:cubicBezTo>
                    <a:pt x="3725" y="2605"/>
                    <a:pt x="3841" y="2473"/>
                    <a:pt x="3841" y="2325"/>
                  </a:cubicBezTo>
                  <a:cubicBezTo>
                    <a:pt x="3841" y="2176"/>
                    <a:pt x="3725" y="2045"/>
                    <a:pt x="3577" y="2045"/>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528;p48"/>
            <p:cNvSpPr/>
            <p:nvPr/>
          </p:nvSpPr>
          <p:spPr>
            <a:xfrm>
              <a:off x="4211725" y="1009125"/>
              <a:ext cx="96425" cy="335825"/>
            </a:xfrm>
            <a:custGeom>
              <a:avLst/>
              <a:gdLst/>
              <a:ahLst/>
              <a:cxnLst/>
              <a:rect l="l" t="t" r="r" b="b"/>
              <a:pathLst>
                <a:path w="3857" h="13433" extrusionOk="0">
                  <a:moveTo>
                    <a:pt x="280" y="1"/>
                  </a:moveTo>
                  <a:cubicBezTo>
                    <a:pt x="132" y="1"/>
                    <a:pt x="0" y="116"/>
                    <a:pt x="0" y="265"/>
                  </a:cubicBezTo>
                  <a:cubicBezTo>
                    <a:pt x="0" y="429"/>
                    <a:pt x="132" y="545"/>
                    <a:pt x="280" y="545"/>
                  </a:cubicBezTo>
                  <a:lnTo>
                    <a:pt x="3577" y="545"/>
                  </a:lnTo>
                  <a:cubicBezTo>
                    <a:pt x="3725" y="545"/>
                    <a:pt x="3857" y="429"/>
                    <a:pt x="3857" y="265"/>
                  </a:cubicBezTo>
                  <a:cubicBezTo>
                    <a:pt x="3840" y="116"/>
                    <a:pt x="3725" y="1"/>
                    <a:pt x="3577" y="1"/>
                  </a:cubicBezTo>
                  <a:close/>
                  <a:moveTo>
                    <a:pt x="280" y="2143"/>
                  </a:moveTo>
                  <a:cubicBezTo>
                    <a:pt x="132" y="2143"/>
                    <a:pt x="0" y="2275"/>
                    <a:pt x="0" y="2424"/>
                  </a:cubicBezTo>
                  <a:cubicBezTo>
                    <a:pt x="0" y="2572"/>
                    <a:pt x="132" y="2687"/>
                    <a:pt x="280" y="2687"/>
                  </a:cubicBezTo>
                  <a:lnTo>
                    <a:pt x="3577" y="2687"/>
                  </a:lnTo>
                  <a:cubicBezTo>
                    <a:pt x="3725" y="2687"/>
                    <a:pt x="3840" y="2572"/>
                    <a:pt x="3857" y="2424"/>
                  </a:cubicBezTo>
                  <a:cubicBezTo>
                    <a:pt x="3857" y="2275"/>
                    <a:pt x="3725" y="2143"/>
                    <a:pt x="3577" y="2143"/>
                  </a:cubicBezTo>
                  <a:close/>
                  <a:moveTo>
                    <a:pt x="280" y="4302"/>
                  </a:moveTo>
                  <a:cubicBezTo>
                    <a:pt x="132" y="4302"/>
                    <a:pt x="0" y="4418"/>
                    <a:pt x="0" y="4566"/>
                  </a:cubicBezTo>
                  <a:cubicBezTo>
                    <a:pt x="0" y="4714"/>
                    <a:pt x="132" y="4846"/>
                    <a:pt x="280" y="4846"/>
                  </a:cubicBezTo>
                  <a:lnTo>
                    <a:pt x="3577" y="4846"/>
                  </a:lnTo>
                  <a:cubicBezTo>
                    <a:pt x="3725" y="4846"/>
                    <a:pt x="3857" y="4714"/>
                    <a:pt x="3857" y="4566"/>
                  </a:cubicBezTo>
                  <a:cubicBezTo>
                    <a:pt x="3840" y="4418"/>
                    <a:pt x="3725" y="4302"/>
                    <a:pt x="3577" y="4302"/>
                  </a:cubicBezTo>
                  <a:close/>
                  <a:moveTo>
                    <a:pt x="280" y="6445"/>
                  </a:moveTo>
                  <a:cubicBezTo>
                    <a:pt x="132" y="6445"/>
                    <a:pt x="0" y="6560"/>
                    <a:pt x="0" y="6709"/>
                  </a:cubicBezTo>
                  <a:cubicBezTo>
                    <a:pt x="0" y="6873"/>
                    <a:pt x="132" y="6989"/>
                    <a:pt x="280" y="6989"/>
                  </a:cubicBezTo>
                  <a:lnTo>
                    <a:pt x="3577" y="6989"/>
                  </a:lnTo>
                  <a:cubicBezTo>
                    <a:pt x="3725" y="6989"/>
                    <a:pt x="3857" y="6873"/>
                    <a:pt x="3857" y="6709"/>
                  </a:cubicBezTo>
                  <a:cubicBezTo>
                    <a:pt x="3840" y="6560"/>
                    <a:pt x="3725" y="6445"/>
                    <a:pt x="3577" y="6445"/>
                  </a:cubicBezTo>
                  <a:close/>
                  <a:moveTo>
                    <a:pt x="280" y="8588"/>
                  </a:moveTo>
                  <a:cubicBezTo>
                    <a:pt x="132" y="8588"/>
                    <a:pt x="0" y="8719"/>
                    <a:pt x="0" y="8868"/>
                  </a:cubicBezTo>
                  <a:cubicBezTo>
                    <a:pt x="0" y="9016"/>
                    <a:pt x="132" y="9131"/>
                    <a:pt x="280" y="9131"/>
                  </a:cubicBezTo>
                  <a:lnTo>
                    <a:pt x="3577" y="9131"/>
                  </a:lnTo>
                  <a:cubicBezTo>
                    <a:pt x="3725" y="9131"/>
                    <a:pt x="3840" y="9016"/>
                    <a:pt x="3857" y="8868"/>
                  </a:cubicBezTo>
                  <a:cubicBezTo>
                    <a:pt x="3857" y="8719"/>
                    <a:pt x="3725" y="8588"/>
                    <a:pt x="3577" y="8588"/>
                  </a:cubicBezTo>
                  <a:close/>
                  <a:moveTo>
                    <a:pt x="280" y="10730"/>
                  </a:moveTo>
                  <a:cubicBezTo>
                    <a:pt x="132" y="10730"/>
                    <a:pt x="0" y="10862"/>
                    <a:pt x="0" y="11010"/>
                  </a:cubicBezTo>
                  <a:cubicBezTo>
                    <a:pt x="0" y="11159"/>
                    <a:pt x="132" y="11290"/>
                    <a:pt x="280" y="11290"/>
                  </a:cubicBezTo>
                  <a:lnTo>
                    <a:pt x="3577" y="11290"/>
                  </a:lnTo>
                  <a:cubicBezTo>
                    <a:pt x="3725" y="11290"/>
                    <a:pt x="3857" y="11159"/>
                    <a:pt x="3857" y="11010"/>
                  </a:cubicBezTo>
                  <a:cubicBezTo>
                    <a:pt x="3840" y="10862"/>
                    <a:pt x="3725" y="10730"/>
                    <a:pt x="3577" y="10730"/>
                  </a:cubicBezTo>
                  <a:close/>
                  <a:moveTo>
                    <a:pt x="280" y="12889"/>
                  </a:moveTo>
                  <a:cubicBezTo>
                    <a:pt x="132" y="12889"/>
                    <a:pt x="0" y="13004"/>
                    <a:pt x="0" y="13153"/>
                  </a:cubicBezTo>
                  <a:cubicBezTo>
                    <a:pt x="0" y="13318"/>
                    <a:pt x="132" y="13433"/>
                    <a:pt x="280" y="13433"/>
                  </a:cubicBezTo>
                  <a:lnTo>
                    <a:pt x="3577" y="13433"/>
                  </a:lnTo>
                  <a:cubicBezTo>
                    <a:pt x="3725" y="13433"/>
                    <a:pt x="3857" y="13301"/>
                    <a:pt x="3857" y="13153"/>
                  </a:cubicBezTo>
                  <a:cubicBezTo>
                    <a:pt x="3840" y="13004"/>
                    <a:pt x="3725" y="12889"/>
                    <a:pt x="3577" y="12889"/>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529;p48"/>
            <p:cNvSpPr/>
            <p:nvPr/>
          </p:nvSpPr>
          <p:spPr>
            <a:xfrm>
              <a:off x="4520325" y="906125"/>
              <a:ext cx="96025" cy="438825"/>
            </a:xfrm>
            <a:custGeom>
              <a:avLst/>
              <a:gdLst/>
              <a:ahLst/>
              <a:cxnLst/>
              <a:rect l="l" t="t" r="r" b="b"/>
              <a:pathLst>
                <a:path w="3841" h="17553" extrusionOk="0">
                  <a:moveTo>
                    <a:pt x="264" y="1"/>
                  </a:moveTo>
                  <a:cubicBezTo>
                    <a:pt x="116" y="1"/>
                    <a:pt x="0" y="132"/>
                    <a:pt x="0" y="281"/>
                  </a:cubicBezTo>
                  <a:cubicBezTo>
                    <a:pt x="0" y="429"/>
                    <a:pt x="116" y="561"/>
                    <a:pt x="264" y="561"/>
                  </a:cubicBezTo>
                  <a:lnTo>
                    <a:pt x="3560" y="561"/>
                  </a:lnTo>
                  <a:cubicBezTo>
                    <a:pt x="3725" y="561"/>
                    <a:pt x="3841" y="429"/>
                    <a:pt x="3841" y="281"/>
                  </a:cubicBezTo>
                  <a:cubicBezTo>
                    <a:pt x="3841" y="132"/>
                    <a:pt x="3725" y="1"/>
                    <a:pt x="3560" y="1"/>
                  </a:cubicBezTo>
                  <a:close/>
                  <a:moveTo>
                    <a:pt x="264" y="2127"/>
                  </a:moveTo>
                  <a:cubicBezTo>
                    <a:pt x="116" y="2127"/>
                    <a:pt x="0" y="2259"/>
                    <a:pt x="0" y="2407"/>
                  </a:cubicBezTo>
                  <a:cubicBezTo>
                    <a:pt x="0" y="2555"/>
                    <a:pt x="116" y="2687"/>
                    <a:pt x="264" y="2687"/>
                  </a:cubicBezTo>
                  <a:lnTo>
                    <a:pt x="3560" y="2687"/>
                  </a:lnTo>
                  <a:cubicBezTo>
                    <a:pt x="3725" y="2687"/>
                    <a:pt x="3841" y="2555"/>
                    <a:pt x="3841" y="2407"/>
                  </a:cubicBezTo>
                  <a:cubicBezTo>
                    <a:pt x="3841" y="2259"/>
                    <a:pt x="3725" y="2127"/>
                    <a:pt x="3560" y="2127"/>
                  </a:cubicBezTo>
                  <a:close/>
                  <a:moveTo>
                    <a:pt x="264" y="4253"/>
                  </a:moveTo>
                  <a:cubicBezTo>
                    <a:pt x="116" y="4253"/>
                    <a:pt x="0" y="4385"/>
                    <a:pt x="0" y="4533"/>
                  </a:cubicBezTo>
                  <a:cubicBezTo>
                    <a:pt x="0" y="4681"/>
                    <a:pt x="116" y="4797"/>
                    <a:pt x="264" y="4813"/>
                  </a:cubicBezTo>
                  <a:lnTo>
                    <a:pt x="3560" y="4813"/>
                  </a:lnTo>
                  <a:cubicBezTo>
                    <a:pt x="3725" y="4797"/>
                    <a:pt x="3841" y="4681"/>
                    <a:pt x="3841" y="4533"/>
                  </a:cubicBezTo>
                  <a:cubicBezTo>
                    <a:pt x="3841" y="4385"/>
                    <a:pt x="3725" y="4253"/>
                    <a:pt x="3560" y="4253"/>
                  </a:cubicBezTo>
                  <a:close/>
                  <a:moveTo>
                    <a:pt x="264" y="6379"/>
                  </a:moveTo>
                  <a:cubicBezTo>
                    <a:pt x="116" y="6379"/>
                    <a:pt x="0" y="6511"/>
                    <a:pt x="0" y="6659"/>
                  </a:cubicBezTo>
                  <a:cubicBezTo>
                    <a:pt x="0" y="6807"/>
                    <a:pt x="116" y="6923"/>
                    <a:pt x="264" y="6923"/>
                  </a:cubicBezTo>
                  <a:lnTo>
                    <a:pt x="3560" y="6923"/>
                  </a:lnTo>
                  <a:cubicBezTo>
                    <a:pt x="3725" y="6923"/>
                    <a:pt x="3841" y="6807"/>
                    <a:pt x="3841" y="6659"/>
                  </a:cubicBezTo>
                  <a:cubicBezTo>
                    <a:pt x="3841" y="6511"/>
                    <a:pt x="3725" y="6379"/>
                    <a:pt x="3560" y="6379"/>
                  </a:cubicBezTo>
                  <a:close/>
                  <a:moveTo>
                    <a:pt x="264" y="8505"/>
                  </a:moveTo>
                  <a:cubicBezTo>
                    <a:pt x="116" y="8505"/>
                    <a:pt x="0" y="8637"/>
                    <a:pt x="0" y="8785"/>
                  </a:cubicBezTo>
                  <a:cubicBezTo>
                    <a:pt x="0" y="8933"/>
                    <a:pt x="116" y="9049"/>
                    <a:pt x="264" y="9049"/>
                  </a:cubicBezTo>
                  <a:lnTo>
                    <a:pt x="3560" y="9049"/>
                  </a:lnTo>
                  <a:cubicBezTo>
                    <a:pt x="3725" y="9049"/>
                    <a:pt x="3841" y="8933"/>
                    <a:pt x="3841" y="8785"/>
                  </a:cubicBezTo>
                  <a:cubicBezTo>
                    <a:pt x="3841" y="8637"/>
                    <a:pt x="3725" y="8505"/>
                    <a:pt x="3560" y="8505"/>
                  </a:cubicBezTo>
                  <a:close/>
                  <a:moveTo>
                    <a:pt x="264" y="10631"/>
                  </a:moveTo>
                  <a:cubicBezTo>
                    <a:pt x="116" y="10631"/>
                    <a:pt x="0" y="10746"/>
                    <a:pt x="0" y="10911"/>
                  </a:cubicBezTo>
                  <a:cubicBezTo>
                    <a:pt x="0" y="11059"/>
                    <a:pt x="116" y="11175"/>
                    <a:pt x="264" y="11175"/>
                  </a:cubicBezTo>
                  <a:lnTo>
                    <a:pt x="3560" y="11175"/>
                  </a:lnTo>
                  <a:cubicBezTo>
                    <a:pt x="3725" y="11175"/>
                    <a:pt x="3841" y="11059"/>
                    <a:pt x="3841" y="10911"/>
                  </a:cubicBezTo>
                  <a:cubicBezTo>
                    <a:pt x="3841" y="10746"/>
                    <a:pt x="3725" y="10631"/>
                    <a:pt x="3560" y="10631"/>
                  </a:cubicBezTo>
                  <a:close/>
                  <a:moveTo>
                    <a:pt x="264" y="12757"/>
                  </a:moveTo>
                  <a:cubicBezTo>
                    <a:pt x="116" y="12757"/>
                    <a:pt x="0" y="12872"/>
                    <a:pt x="0" y="13037"/>
                  </a:cubicBezTo>
                  <a:cubicBezTo>
                    <a:pt x="0" y="13185"/>
                    <a:pt x="116" y="13301"/>
                    <a:pt x="264" y="13301"/>
                  </a:cubicBezTo>
                  <a:lnTo>
                    <a:pt x="3560" y="13301"/>
                  </a:lnTo>
                  <a:cubicBezTo>
                    <a:pt x="3725" y="13301"/>
                    <a:pt x="3841" y="13185"/>
                    <a:pt x="3841" y="13037"/>
                  </a:cubicBezTo>
                  <a:cubicBezTo>
                    <a:pt x="3841" y="12872"/>
                    <a:pt x="3725" y="12757"/>
                    <a:pt x="3560" y="12757"/>
                  </a:cubicBezTo>
                  <a:close/>
                  <a:moveTo>
                    <a:pt x="264" y="14883"/>
                  </a:moveTo>
                  <a:cubicBezTo>
                    <a:pt x="116" y="14883"/>
                    <a:pt x="0" y="14998"/>
                    <a:pt x="0" y="15147"/>
                  </a:cubicBezTo>
                  <a:cubicBezTo>
                    <a:pt x="0" y="15312"/>
                    <a:pt x="116" y="15427"/>
                    <a:pt x="264" y="15427"/>
                  </a:cubicBezTo>
                  <a:lnTo>
                    <a:pt x="3560" y="15427"/>
                  </a:lnTo>
                  <a:cubicBezTo>
                    <a:pt x="3725" y="15427"/>
                    <a:pt x="3841" y="15312"/>
                    <a:pt x="3841" y="15147"/>
                  </a:cubicBezTo>
                  <a:cubicBezTo>
                    <a:pt x="3841" y="14998"/>
                    <a:pt x="3725" y="14883"/>
                    <a:pt x="3560" y="14883"/>
                  </a:cubicBezTo>
                  <a:close/>
                  <a:moveTo>
                    <a:pt x="264" y="17009"/>
                  </a:moveTo>
                  <a:cubicBezTo>
                    <a:pt x="116" y="17009"/>
                    <a:pt x="0" y="17124"/>
                    <a:pt x="0" y="17273"/>
                  </a:cubicBezTo>
                  <a:cubicBezTo>
                    <a:pt x="0" y="17438"/>
                    <a:pt x="116" y="17553"/>
                    <a:pt x="264" y="17553"/>
                  </a:cubicBezTo>
                  <a:lnTo>
                    <a:pt x="3560" y="17553"/>
                  </a:lnTo>
                  <a:cubicBezTo>
                    <a:pt x="3725" y="17553"/>
                    <a:pt x="3841" y="17438"/>
                    <a:pt x="3841" y="17273"/>
                  </a:cubicBezTo>
                  <a:cubicBezTo>
                    <a:pt x="3841" y="17124"/>
                    <a:pt x="3725" y="17009"/>
                    <a:pt x="3560" y="17009"/>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0" name="Google Shape;1530;p48"/>
          <p:cNvGrpSpPr/>
          <p:nvPr/>
        </p:nvGrpSpPr>
        <p:grpSpPr>
          <a:xfrm>
            <a:off x="3908794" y="3031128"/>
            <a:ext cx="1783614" cy="1537747"/>
            <a:chOff x="5496475" y="713700"/>
            <a:chExt cx="1382325" cy="1191775"/>
          </a:xfrm>
        </p:grpSpPr>
        <p:sp>
          <p:nvSpPr>
            <p:cNvPr id="1531" name="Google Shape;1531;p48"/>
            <p:cNvSpPr/>
            <p:nvPr/>
          </p:nvSpPr>
          <p:spPr>
            <a:xfrm>
              <a:off x="5754750" y="713700"/>
              <a:ext cx="929150" cy="929150"/>
            </a:xfrm>
            <a:custGeom>
              <a:avLst/>
              <a:gdLst/>
              <a:ahLst/>
              <a:cxnLst/>
              <a:rect l="l" t="t" r="r" b="b"/>
              <a:pathLst>
                <a:path w="37166" h="37166" extrusionOk="0">
                  <a:moveTo>
                    <a:pt x="18575" y="1"/>
                  </a:moveTo>
                  <a:cubicBezTo>
                    <a:pt x="8324" y="1"/>
                    <a:pt x="1" y="8324"/>
                    <a:pt x="1" y="18592"/>
                  </a:cubicBezTo>
                  <a:cubicBezTo>
                    <a:pt x="1" y="28859"/>
                    <a:pt x="8324" y="37166"/>
                    <a:pt x="18575" y="37166"/>
                  </a:cubicBezTo>
                  <a:cubicBezTo>
                    <a:pt x="28843" y="37166"/>
                    <a:pt x="37166" y="28859"/>
                    <a:pt x="37166" y="18592"/>
                  </a:cubicBezTo>
                  <a:cubicBezTo>
                    <a:pt x="37166" y="8324"/>
                    <a:pt x="28843" y="1"/>
                    <a:pt x="18575" y="1"/>
                  </a:cubicBezTo>
                  <a:close/>
                </a:path>
              </a:pathLst>
            </a:custGeom>
            <a:solidFill>
              <a:srgbClr val="00284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8"/>
            <p:cNvSpPr/>
            <p:nvPr/>
          </p:nvSpPr>
          <p:spPr>
            <a:xfrm rot="1576680">
              <a:off x="6293477" y="878587"/>
              <a:ext cx="454816" cy="417565"/>
            </a:xfrm>
            <a:custGeom>
              <a:avLst/>
              <a:gdLst/>
              <a:ahLst/>
              <a:cxnLst/>
              <a:rect l="l" t="t" r="r" b="b"/>
              <a:pathLst>
                <a:path w="19597" h="18279" extrusionOk="0">
                  <a:moveTo>
                    <a:pt x="9362" y="1"/>
                  </a:moveTo>
                  <a:lnTo>
                    <a:pt x="0" y="18279"/>
                  </a:lnTo>
                  <a:lnTo>
                    <a:pt x="0" y="18279"/>
                  </a:lnTo>
                  <a:lnTo>
                    <a:pt x="19597" y="12115"/>
                  </a:lnTo>
                  <a:cubicBezTo>
                    <a:pt x="17932" y="6874"/>
                    <a:pt x="14257" y="2506"/>
                    <a:pt x="93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8"/>
            <p:cNvSpPr/>
            <p:nvPr/>
          </p:nvSpPr>
          <p:spPr>
            <a:xfrm>
              <a:off x="5732541" y="713702"/>
              <a:ext cx="656800" cy="554100"/>
            </a:xfrm>
            <a:custGeom>
              <a:avLst/>
              <a:gdLst/>
              <a:ahLst/>
              <a:cxnLst/>
              <a:rect l="l" t="t" r="r" b="b"/>
              <a:pathLst>
                <a:path w="26272" h="22164" extrusionOk="0">
                  <a:moveTo>
                    <a:pt x="19533" y="0"/>
                  </a:moveTo>
                  <a:cubicBezTo>
                    <a:pt x="15242" y="0"/>
                    <a:pt x="11004" y="1485"/>
                    <a:pt x="7598" y="4331"/>
                  </a:cubicBezTo>
                  <a:cubicBezTo>
                    <a:pt x="2406" y="8682"/>
                    <a:pt x="0" y="15522"/>
                    <a:pt x="1302" y="22163"/>
                  </a:cubicBezTo>
                  <a:lnTo>
                    <a:pt x="19530" y="18571"/>
                  </a:lnTo>
                  <a:lnTo>
                    <a:pt x="26271" y="1265"/>
                  </a:lnTo>
                  <a:cubicBezTo>
                    <a:pt x="24087" y="416"/>
                    <a:pt x="21803" y="0"/>
                    <a:pt x="19533" y="0"/>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8"/>
            <p:cNvSpPr/>
            <p:nvPr/>
          </p:nvSpPr>
          <p:spPr>
            <a:xfrm>
              <a:off x="5765332" y="1173513"/>
              <a:ext cx="829529" cy="484097"/>
            </a:xfrm>
            <a:custGeom>
              <a:avLst/>
              <a:gdLst/>
              <a:ahLst/>
              <a:cxnLst/>
              <a:rect l="l" t="t" r="r" b="b"/>
              <a:pathLst>
                <a:path w="36523" h="20657" extrusionOk="0">
                  <a:moveTo>
                    <a:pt x="20272" y="0"/>
                  </a:moveTo>
                  <a:lnTo>
                    <a:pt x="1" y="3989"/>
                  </a:lnTo>
                  <a:cubicBezTo>
                    <a:pt x="1566" y="11916"/>
                    <a:pt x="7598" y="18212"/>
                    <a:pt x="15460" y="20091"/>
                  </a:cubicBezTo>
                  <a:cubicBezTo>
                    <a:pt x="17054" y="20472"/>
                    <a:pt x="18663" y="20657"/>
                    <a:pt x="20257" y="20657"/>
                  </a:cubicBezTo>
                  <a:cubicBezTo>
                    <a:pt x="26523" y="20657"/>
                    <a:pt x="32555" y="17795"/>
                    <a:pt x="36523" y="12724"/>
                  </a:cubicBezTo>
                  <a:lnTo>
                    <a:pt x="20272" y="0"/>
                  </a:ln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8"/>
            <p:cNvSpPr/>
            <p:nvPr/>
          </p:nvSpPr>
          <p:spPr>
            <a:xfrm>
              <a:off x="6772875" y="1814650"/>
              <a:ext cx="105925" cy="90775"/>
            </a:xfrm>
            <a:custGeom>
              <a:avLst/>
              <a:gdLst/>
              <a:ahLst/>
              <a:cxnLst/>
              <a:rect l="l" t="t" r="r" b="b"/>
              <a:pathLst>
                <a:path w="4237" h="3631" extrusionOk="0">
                  <a:moveTo>
                    <a:pt x="2424" y="0"/>
                  </a:moveTo>
                  <a:cubicBezTo>
                    <a:pt x="808" y="0"/>
                    <a:pt x="1" y="1962"/>
                    <a:pt x="1138" y="3099"/>
                  </a:cubicBezTo>
                  <a:cubicBezTo>
                    <a:pt x="1505" y="3466"/>
                    <a:pt x="1958" y="3630"/>
                    <a:pt x="2403" y="3630"/>
                  </a:cubicBezTo>
                  <a:cubicBezTo>
                    <a:pt x="3337" y="3630"/>
                    <a:pt x="4237" y="2907"/>
                    <a:pt x="4237" y="1813"/>
                  </a:cubicBezTo>
                  <a:cubicBezTo>
                    <a:pt x="4237" y="808"/>
                    <a:pt x="3429" y="0"/>
                    <a:pt x="2424"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8"/>
            <p:cNvSpPr/>
            <p:nvPr/>
          </p:nvSpPr>
          <p:spPr>
            <a:xfrm>
              <a:off x="5921625" y="1814650"/>
              <a:ext cx="105925" cy="90775"/>
            </a:xfrm>
            <a:custGeom>
              <a:avLst/>
              <a:gdLst/>
              <a:ahLst/>
              <a:cxnLst/>
              <a:rect l="l" t="t" r="r" b="b"/>
              <a:pathLst>
                <a:path w="4237" h="3631" extrusionOk="0">
                  <a:moveTo>
                    <a:pt x="2424" y="0"/>
                  </a:moveTo>
                  <a:cubicBezTo>
                    <a:pt x="808" y="0"/>
                    <a:pt x="1" y="1962"/>
                    <a:pt x="1138" y="3099"/>
                  </a:cubicBezTo>
                  <a:cubicBezTo>
                    <a:pt x="1511" y="3466"/>
                    <a:pt x="1965" y="3630"/>
                    <a:pt x="2411" y="3630"/>
                  </a:cubicBezTo>
                  <a:cubicBezTo>
                    <a:pt x="3345" y="3630"/>
                    <a:pt x="4237" y="2907"/>
                    <a:pt x="4237" y="1813"/>
                  </a:cubicBezTo>
                  <a:cubicBezTo>
                    <a:pt x="4237" y="808"/>
                    <a:pt x="3429" y="0"/>
                    <a:pt x="2424" y="0"/>
                  </a:cubicBezTo>
                  <a:close/>
                </a:path>
              </a:pathLst>
            </a:custGeom>
            <a:solidFill>
              <a:srgbClr val="FFD6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8"/>
            <p:cNvSpPr/>
            <p:nvPr/>
          </p:nvSpPr>
          <p:spPr>
            <a:xfrm>
              <a:off x="6362500" y="1814650"/>
              <a:ext cx="90675" cy="90675"/>
            </a:xfrm>
            <a:custGeom>
              <a:avLst/>
              <a:gdLst/>
              <a:ahLst/>
              <a:cxnLst/>
              <a:rect l="l" t="t" r="r" b="b"/>
              <a:pathLst>
                <a:path w="3627" h="3627" extrusionOk="0">
                  <a:moveTo>
                    <a:pt x="1814" y="0"/>
                  </a:moveTo>
                  <a:cubicBezTo>
                    <a:pt x="808" y="0"/>
                    <a:pt x="1" y="808"/>
                    <a:pt x="1" y="1813"/>
                  </a:cubicBezTo>
                  <a:cubicBezTo>
                    <a:pt x="1" y="2819"/>
                    <a:pt x="808" y="3626"/>
                    <a:pt x="1814" y="3626"/>
                  </a:cubicBezTo>
                  <a:cubicBezTo>
                    <a:pt x="2819" y="3626"/>
                    <a:pt x="3627" y="2819"/>
                    <a:pt x="3627" y="1813"/>
                  </a:cubicBezTo>
                  <a:cubicBezTo>
                    <a:pt x="3627" y="808"/>
                    <a:pt x="2819" y="0"/>
                    <a:pt x="1814" y="0"/>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8"/>
            <p:cNvSpPr/>
            <p:nvPr/>
          </p:nvSpPr>
          <p:spPr>
            <a:xfrm>
              <a:off x="5496475" y="1814600"/>
              <a:ext cx="106675" cy="90875"/>
            </a:xfrm>
            <a:custGeom>
              <a:avLst/>
              <a:gdLst/>
              <a:ahLst/>
              <a:cxnLst/>
              <a:rect l="l" t="t" r="r" b="b"/>
              <a:pathLst>
                <a:path w="4267" h="3635" extrusionOk="0">
                  <a:moveTo>
                    <a:pt x="2390" y="1"/>
                  </a:moveTo>
                  <a:cubicBezTo>
                    <a:pt x="827" y="1"/>
                    <a:pt x="0" y="1885"/>
                    <a:pt x="1086" y="3051"/>
                  </a:cubicBezTo>
                  <a:cubicBezTo>
                    <a:pt x="1461" y="3454"/>
                    <a:pt x="1936" y="3634"/>
                    <a:pt x="2402" y="3634"/>
                  </a:cubicBezTo>
                  <a:cubicBezTo>
                    <a:pt x="3312" y="3634"/>
                    <a:pt x="4190" y="2949"/>
                    <a:pt x="4234" y="1881"/>
                  </a:cubicBezTo>
                  <a:cubicBezTo>
                    <a:pt x="4267" y="876"/>
                    <a:pt x="3476" y="35"/>
                    <a:pt x="2470" y="2"/>
                  </a:cubicBezTo>
                  <a:cubicBezTo>
                    <a:pt x="2443" y="1"/>
                    <a:pt x="2417" y="1"/>
                    <a:pt x="2390"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39" name="Google Shape;1539;p48"/>
          <p:cNvGrpSpPr/>
          <p:nvPr/>
        </p:nvGrpSpPr>
        <p:grpSpPr>
          <a:xfrm>
            <a:off x="752273" y="3682988"/>
            <a:ext cx="2994768" cy="866597"/>
            <a:chOff x="4976025" y="4294225"/>
            <a:chExt cx="2405050" cy="695950"/>
          </a:xfrm>
        </p:grpSpPr>
        <p:sp>
          <p:nvSpPr>
            <p:cNvPr id="1540" name="Google Shape;1540;p48"/>
            <p:cNvSpPr/>
            <p:nvPr/>
          </p:nvSpPr>
          <p:spPr>
            <a:xfrm>
              <a:off x="4976025" y="483852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8"/>
            <p:cNvSpPr/>
            <p:nvPr/>
          </p:nvSpPr>
          <p:spPr>
            <a:xfrm>
              <a:off x="4976025" y="47890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8"/>
            <p:cNvSpPr/>
            <p:nvPr/>
          </p:nvSpPr>
          <p:spPr>
            <a:xfrm>
              <a:off x="4976025" y="47396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8"/>
            <p:cNvSpPr/>
            <p:nvPr/>
          </p:nvSpPr>
          <p:spPr>
            <a:xfrm>
              <a:off x="4976025" y="464075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8"/>
            <p:cNvSpPr/>
            <p:nvPr/>
          </p:nvSpPr>
          <p:spPr>
            <a:xfrm>
              <a:off x="4976025" y="469017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8"/>
            <p:cNvSpPr/>
            <p:nvPr/>
          </p:nvSpPr>
          <p:spPr>
            <a:xfrm>
              <a:off x="4976025" y="4591300"/>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8"/>
            <p:cNvSpPr/>
            <p:nvPr/>
          </p:nvSpPr>
          <p:spPr>
            <a:xfrm>
              <a:off x="4976025" y="454185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8"/>
            <p:cNvSpPr/>
            <p:nvPr/>
          </p:nvSpPr>
          <p:spPr>
            <a:xfrm>
              <a:off x="4976025" y="44924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8"/>
            <p:cNvSpPr/>
            <p:nvPr/>
          </p:nvSpPr>
          <p:spPr>
            <a:xfrm>
              <a:off x="4976025" y="44429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8"/>
            <p:cNvSpPr/>
            <p:nvPr/>
          </p:nvSpPr>
          <p:spPr>
            <a:xfrm>
              <a:off x="4976025" y="4393100"/>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8"/>
            <p:cNvSpPr/>
            <p:nvPr/>
          </p:nvSpPr>
          <p:spPr>
            <a:xfrm>
              <a:off x="4976025" y="4343675"/>
              <a:ext cx="2405050" cy="25"/>
            </a:xfrm>
            <a:custGeom>
              <a:avLst/>
              <a:gdLst/>
              <a:ahLst/>
              <a:cxnLst/>
              <a:rect l="l" t="t" r="r" b="b"/>
              <a:pathLst>
                <a:path w="96202" h="1" fill="none" extrusionOk="0">
                  <a:moveTo>
                    <a:pt x="1" y="0"/>
                  </a:moveTo>
                  <a:lnTo>
                    <a:pt x="96201" y="0"/>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8"/>
            <p:cNvSpPr/>
            <p:nvPr/>
          </p:nvSpPr>
          <p:spPr>
            <a:xfrm>
              <a:off x="4976025" y="4294225"/>
              <a:ext cx="2405050" cy="25"/>
            </a:xfrm>
            <a:custGeom>
              <a:avLst/>
              <a:gdLst/>
              <a:ahLst/>
              <a:cxnLst/>
              <a:rect l="l" t="t" r="r" b="b"/>
              <a:pathLst>
                <a:path w="96202" h="1" fill="none" extrusionOk="0">
                  <a:moveTo>
                    <a:pt x="1" y="1"/>
                  </a:moveTo>
                  <a:lnTo>
                    <a:pt x="96201" y="1"/>
                  </a:lnTo>
                </a:path>
              </a:pathLst>
            </a:custGeom>
            <a:noFill/>
            <a:ln w="825" cap="flat" cmpd="sng">
              <a:solidFill>
                <a:srgbClr val="FFFFFF"/>
              </a:solidFill>
              <a:prstDash val="solid"/>
              <a:miter lim="16481"/>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8"/>
            <p:cNvSpPr/>
            <p:nvPr/>
          </p:nvSpPr>
          <p:spPr>
            <a:xfrm>
              <a:off x="5131375" y="4941925"/>
              <a:ext cx="31750" cy="48250"/>
            </a:xfrm>
            <a:custGeom>
              <a:avLst/>
              <a:gdLst/>
              <a:ahLst/>
              <a:cxnLst/>
              <a:rect l="l" t="t" r="r" b="b"/>
              <a:pathLst>
                <a:path w="1270" h="1930" extrusionOk="0">
                  <a:moveTo>
                    <a:pt x="643" y="199"/>
                  </a:moveTo>
                  <a:cubicBezTo>
                    <a:pt x="758" y="199"/>
                    <a:pt x="857" y="264"/>
                    <a:pt x="923" y="396"/>
                  </a:cubicBezTo>
                  <a:cubicBezTo>
                    <a:pt x="989" y="528"/>
                    <a:pt x="1022" y="709"/>
                    <a:pt x="1022" y="973"/>
                  </a:cubicBezTo>
                  <a:cubicBezTo>
                    <a:pt x="1022" y="1220"/>
                    <a:pt x="989" y="1418"/>
                    <a:pt x="923" y="1534"/>
                  </a:cubicBezTo>
                  <a:cubicBezTo>
                    <a:pt x="857" y="1665"/>
                    <a:pt x="758"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04" y="1682"/>
                  </a:cubicBezTo>
                  <a:cubicBezTo>
                    <a:pt x="1220" y="1517"/>
                    <a:pt x="1269" y="1286"/>
                    <a:pt x="1269" y="973"/>
                  </a:cubicBezTo>
                  <a:cubicBezTo>
                    <a:pt x="1269" y="660"/>
                    <a:pt x="1220" y="413"/>
                    <a:pt x="1104"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8"/>
            <p:cNvSpPr/>
            <p:nvPr/>
          </p:nvSpPr>
          <p:spPr>
            <a:xfrm>
              <a:off x="5174625" y="4942750"/>
              <a:ext cx="27225" cy="46600"/>
            </a:xfrm>
            <a:custGeom>
              <a:avLst/>
              <a:gdLst/>
              <a:ahLst/>
              <a:cxnLst/>
              <a:rect l="l" t="t" r="r" b="b"/>
              <a:pathLst>
                <a:path w="1089" h="1864" extrusionOk="0">
                  <a:moveTo>
                    <a:pt x="429" y="1"/>
                  </a:moveTo>
                  <a:lnTo>
                    <a:pt x="1" y="100"/>
                  </a:lnTo>
                  <a:lnTo>
                    <a:pt x="1" y="330"/>
                  </a:lnTo>
                  <a:lnTo>
                    <a:pt x="446" y="231"/>
                  </a:lnTo>
                  <a:lnTo>
                    <a:pt x="446" y="1649"/>
                  </a:lnTo>
                  <a:lnTo>
                    <a:pt x="34" y="1649"/>
                  </a:lnTo>
                  <a:lnTo>
                    <a:pt x="34" y="1863"/>
                  </a:lnTo>
                  <a:lnTo>
                    <a:pt x="1088" y="1863"/>
                  </a:lnTo>
                  <a:lnTo>
                    <a:pt x="1088" y="1649"/>
                  </a:lnTo>
                  <a:lnTo>
                    <a:pt x="693" y="1649"/>
                  </a:lnTo>
                  <a:lnTo>
                    <a:pt x="69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8"/>
            <p:cNvSpPr/>
            <p:nvPr/>
          </p:nvSpPr>
          <p:spPr>
            <a:xfrm>
              <a:off x="5470475" y="4941925"/>
              <a:ext cx="32150" cy="48250"/>
            </a:xfrm>
            <a:custGeom>
              <a:avLst/>
              <a:gdLst/>
              <a:ahLst/>
              <a:cxnLst/>
              <a:rect l="l" t="t" r="r" b="b"/>
              <a:pathLst>
                <a:path w="1286" h="1930" extrusionOk="0">
                  <a:moveTo>
                    <a:pt x="643" y="199"/>
                  </a:moveTo>
                  <a:cubicBezTo>
                    <a:pt x="775" y="199"/>
                    <a:pt x="857" y="264"/>
                    <a:pt x="923" y="396"/>
                  </a:cubicBezTo>
                  <a:cubicBezTo>
                    <a:pt x="989" y="528"/>
                    <a:pt x="1022" y="709"/>
                    <a:pt x="1022" y="973"/>
                  </a:cubicBezTo>
                  <a:cubicBezTo>
                    <a:pt x="1022" y="1220"/>
                    <a:pt x="989" y="1418"/>
                    <a:pt x="923" y="1534"/>
                  </a:cubicBezTo>
                  <a:cubicBezTo>
                    <a:pt x="857" y="1665"/>
                    <a:pt x="775" y="1731"/>
                    <a:pt x="643" y="1731"/>
                  </a:cubicBezTo>
                  <a:cubicBezTo>
                    <a:pt x="511" y="1731"/>
                    <a:pt x="412" y="1665"/>
                    <a:pt x="346" y="1534"/>
                  </a:cubicBezTo>
                  <a:cubicBezTo>
                    <a:pt x="280" y="1418"/>
                    <a:pt x="247" y="1220"/>
                    <a:pt x="247" y="973"/>
                  </a:cubicBezTo>
                  <a:cubicBezTo>
                    <a:pt x="247" y="709"/>
                    <a:pt x="280" y="528"/>
                    <a:pt x="346" y="396"/>
                  </a:cubicBezTo>
                  <a:cubicBezTo>
                    <a:pt x="412" y="264"/>
                    <a:pt x="511" y="199"/>
                    <a:pt x="643" y="199"/>
                  </a:cubicBezTo>
                  <a:close/>
                  <a:moveTo>
                    <a:pt x="643" y="1"/>
                  </a:moveTo>
                  <a:cubicBezTo>
                    <a:pt x="429" y="1"/>
                    <a:pt x="264" y="83"/>
                    <a:pt x="165" y="248"/>
                  </a:cubicBezTo>
                  <a:cubicBezTo>
                    <a:pt x="49" y="413"/>
                    <a:pt x="0" y="660"/>
                    <a:pt x="0" y="973"/>
                  </a:cubicBezTo>
                  <a:cubicBezTo>
                    <a:pt x="0" y="1286"/>
                    <a:pt x="49" y="1517"/>
                    <a:pt x="165" y="1682"/>
                  </a:cubicBezTo>
                  <a:cubicBezTo>
                    <a:pt x="264" y="1847"/>
                    <a:pt x="429" y="1929"/>
                    <a:pt x="643" y="1929"/>
                  </a:cubicBezTo>
                  <a:cubicBezTo>
                    <a:pt x="841" y="1929"/>
                    <a:pt x="1005" y="1847"/>
                    <a:pt x="1121" y="1682"/>
                  </a:cubicBezTo>
                  <a:cubicBezTo>
                    <a:pt x="1220" y="1517"/>
                    <a:pt x="1286" y="1286"/>
                    <a:pt x="1286" y="973"/>
                  </a:cubicBezTo>
                  <a:cubicBezTo>
                    <a:pt x="1286" y="660"/>
                    <a:pt x="1220" y="413"/>
                    <a:pt x="1121" y="248"/>
                  </a:cubicBezTo>
                  <a:cubicBezTo>
                    <a:pt x="1005" y="83"/>
                    <a:pt x="841" y="1"/>
                    <a:pt x="64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8"/>
            <p:cNvSpPr/>
            <p:nvPr/>
          </p:nvSpPr>
          <p:spPr>
            <a:xfrm>
              <a:off x="5511250" y="4941925"/>
              <a:ext cx="29275" cy="47425"/>
            </a:xfrm>
            <a:custGeom>
              <a:avLst/>
              <a:gdLst/>
              <a:ahLst/>
              <a:cxnLst/>
              <a:rect l="l" t="t" r="r" b="b"/>
              <a:pathLst>
                <a:path w="1171" h="1897" extrusionOk="0">
                  <a:moveTo>
                    <a:pt x="545" y="1"/>
                  </a:moveTo>
                  <a:cubicBezTo>
                    <a:pt x="462" y="1"/>
                    <a:pt x="380" y="17"/>
                    <a:pt x="297" y="34"/>
                  </a:cubicBezTo>
                  <a:cubicBezTo>
                    <a:pt x="215" y="67"/>
                    <a:pt x="116" y="83"/>
                    <a:pt x="17" y="133"/>
                  </a:cubicBezTo>
                  <a:lnTo>
                    <a:pt x="17" y="380"/>
                  </a:lnTo>
                  <a:cubicBezTo>
                    <a:pt x="116" y="330"/>
                    <a:pt x="198" y="281"/>
                    <a:pt x="297" y="264"/>
                  </a:cubicBezTo>
                  <a:cubicBezTo>
                    <a:pt x="380" y="232"/>
                    <a:pt x="462" y="215"/>
                    <a:pt x="545" y="215"/>
                  </a:cubicBezTo>
                  <a:cubicBezTo>
                    <a:pt x="660" y="215"/>
                    <a:pt x="742" y="248"/>
                    <a:pt x="808" y="314"/>
                  </a:cubicBezTo>
                  <a:cubicBezTo>
                    <a:pt x="874" y="380"/>
                    <a:pt x="924" y="446"/>
                    <a:pt x="924" y="545"/>
                  </a:cubicBezTo>
                  <a:cubicBezTo>
                    <a:pt x="924" y="611"/>
                    <a:pt x="907" y="677"/>
                    <a:pt x="874" y="742"/>
                  </a:cubicBezTo>
                  <a:cubicBezTo>
                    <a:pt x="841" y="792"/>
                    <a:pt x="775" y="874"/>
                    <a:pt x="693" y="973"/>
                  </a:cubicBezTo>
                  <a:cubicBezTo>
                    <a:pt x="660" y="1006"/>
                    <a:pt x="561" y="1122"/>
                    <a:pt x="396" y="1286"/>
                  </a:cubicBezTo>
                  <a:cubicBezTo>
                    <a:pt x="231" y="1451"/>
                    <a:pt x="100" y="1583"/>
                    <a:pt x="1" y="1682"/>
                  </a:cubicBezTo>
                  <a:lnTo>
                    <a:pt x="1" y="1896"/>
                  </a:lnTo>
                  <a:lnTo>
                    <a:pt x="1171" y="1896"/>
                  </a:lnTo>
                  <a:lnTo>
                    <a:pt x="1171" y="1682"/>
                  </a:lnTo>
                  <a:lnTo>
                    <a:pt x="297" y="1682"/>
                  </a:lnTo>
                  <a:cubicBezTo>
                    <a:pt x="512" y="1468"/>
                    <a:pt x="660" y="1319"/>
                    <a:pt x="775" y="1204"/>
                  </a:cubicBezTo>
                  <a:cubicBezTo>
                    <a:pt x="874" y="1089"/>
                    <a:pt x="940" y="1023"/>
                    <a:pt x="973" y="990"/>
                  </a:cubicBezTo>
                  <a:cubicBezTo>
                    <a:pt x="1039" y="907"/>
                    <a:pt x="1088" y="825"/>
                    <a:pt x="1121" y="759"/>
                  </a:cubicBezTo>
                  <a:cubicBezTo>
                    <a:pt x="1154" y="677"/>
                    <a:pt x="1171" y="611"/>
                    <a:pt x="1171" y="528"/>
                  </a:cubicBezTo>
                  <a:cubicBezTo>
                    <a:pt x="1171" y="380"/>
                    <a:pt x="1105" y="248"/>
                    <a:pt x="990" y="149"/>
                  </a:cubicBezTo>
                  <a:cubicBezTo>
                    <a:pt x="874" y="50"/>
                    <a:pt x="726" y="1"/>
                    <a:pt x="54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8"/>
            <p:cNvSpPr/>
            <p:nvPr/>
          </p:nvSpPr>
          <p:spPr>
            <a:xfrm>
              <a:off x="5809550" y="4941925"/>
              <a:ext cx="32175" cy="48250"/>
            </a:xfrm>
            <a:custGeom>
              <a:avLst/>
              <a:gdLst/>
              <a:ahLst/>
              <a:cxnLst/>
              <a:rect l="l" t="t" r="r" b="b"/>
              <a:pathLst>
                <a:path w="1287" h="1930" extrusionOk="0">
                  <a:moveTo>
                    <a:pt x="644" y="199"/>
                  </a:moveTo>
                  <a:cubicBezTo>
                    <a:pt x="776" y="199"/>
                    <a:pt x="874" y="264"/>
                    <a:pt x="924" y="396"/>
                  </a:cubicBezTo>
                  <a:cubicBezTo>
                    <a:pt x="990" y="528"/>
                    <a:pt x="1023" y="709"/>
                    <a:pt x="1023" y="973"/>
                  </a:cubicBezTo>
                  <a:cubicBezTo>
                    <a:pt x="1023" y="1220"/>
                    <a:pt x="990" y="1418"/>
                    <a:pt x="924" y="1534"/>
                  </a:cubicBezTo>
                  <a:cubicBezTo>
                    <a:pt x="874" y="1665"/>
                    <a:pt x="776" y="1731"/>
                    <a:pt x="644" y="1731"/>
                  </a:cubicBezTo>
                  <a:cubicBezTo>
                    <a:pt x="512" y="1731"/>
                    <a:pt x="413" y="1665"/>
                    <a:pt x="347" y="1534"/>
                  </a:cubicBezTo>
                  <a:cubicBezTo>
                    <a:pt x="281" y="1418"/>
                    <a:pt x="248" y="1220"/>
                    <a:pt x="248" y="973"/>
                  </a:cubicBezTo>
                  <a:cubicBezTo>
                    <a:pt x="248" y="709"/>
                    <a:pt x="281" y="528"/>
                    <a:pt x="347" y="396"/>
                  </a:cubicBezTo>
                  <a:cubicBezTo>
                    <a:pt x="413" y="264"/>
                    <a:pt x="512" y="199"/>
                    <a:pt x="644" y="199"/>
                  </a:cubicBezTo>
                  <a:close/>
                  <a:moveTo>
                    <a:pt x="644" y="1"/>
                  </a:moveTo>
                  <a:cubicBezTo>
                    <a:pt x="429" y="1"/>
                    <a:pt x="281" y="83"/>
                    <a:pt x="166" y="248"/>
                  </a:cubicBezTo>
                  <a:cubicBezTo>
                    <a:pt x="50" y="413"/>
                    <a:pt x="1" y="660"/>
                    <a:pt x="1" y="973"/>
                  </a:cubicBezTo>
                  <a:cubicBezTo>
                    <a:pt x="1" y="1286"/>
                    <a:pt x="50" y="1517"/>
                    <a:pt x="166" y="1682"/>
                  </a:cubicBezTo>
                  <a:cubicBezTo>
                    <a:pt x="281" y="1847"/>
                    <a:pt x="429" y="1929"/>
                    <a:pt x="644" y="1929"/>
                  </a:cubicBezTo>
                  <a:cubicBezTo>
                    <a:pt x="842" y="1929"/>
                    <a:pt x="1006" y="1847"/>
                    <a:pt x="1122" y="1682"/>
                  </a:cubicBezTo>
                  <a:cubicBezTo>
                    <a:pt x="1221" y="1517"/>
                    <a:pt x="1287" y="1286"/>
                    <a:pt x="1287" y="973"/>
                  </a:cubicBezTo>
                  <a:cubicBezTo>
                    <a:pt x="1287" y="660"/>
                    <a:pt x="1221" y="413"/>
                    <a:pt x="1122" y="248"/>
                  </a:cubicBezTo>
                  <a:cubicBezTo>
                    <a:pt x="1006" y="83"/>
                    <a:pt x="842"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8"/>
            <p:cNvSpPr/>
            <p:nvPr/>
          </p:nvSpPr>
          <p:spPr>
            <a:xfrm>
              <a:off x="5850775" y="4941925"/>
              <a:ext cx="30500" cy="48250"/>
            </a:xfrm>
            <a:custGeom>
              <a:avLst/>
              <a:gdLst/>
              <a:ahLst/>
              <a:cxnLst/>
              <a:rect l="l" t="t" r="r" b="b"/>
              <a:pathLst>
                <a:path w="1220" h="1930" extrusionOk="0">
                  <a:moveTo>
                    <a:pt x="544" y="1"/>
                  </a:moveTo>
                  <a:cubicBezTo>
                    <a:pt x="478" y="1"/>
                    <a:pt x="396" y="17"/>
                    <a:pt x="313" y="34"/>
                  </a:cubicBezTo>
                  <a:cubicBezTo>
                    <a:pt x="231" y="34"/>
                    <a:pt x="148" y="67"/>
                    <a:pt x="50" y="83"/>
                  </a:cubicBezTo>
                  <a:lnTo>
                    <a:pt x="50" y="314"/>
                  </a:lnTo>
                  <a:cubicBezTo>
                    <a:pt x="148" y="281"/>
                    <a:pt x="231" y="248"/>
                    <a:pt x="313" y="248"/>
                  </a:cubicBezTo>
                  <a:cubicBezTo>
                    <a:pt x="396" y="232"/>
                    <a:pt x="462" y="215"/>
                    <a:pt x="527" y="215"/>
                  </a:cubicBezTo>
                  <a:cubicBezTo>
                    <a:pt x="659" y="215"/>
                    <a:pt x="758" y="248"/>
                    <a:pt x="824" y="297"/>
                  </a:cubicBezTo>
                  <a:cubicBezTo>
                    <a:pt x="890" y="347"/>
                    <a:pt x="923" y="413"/>
                    <a:pt x="923" y="512"/>
                  </a:cubicBezTo>
                  <a:cubicBezTo>
                    <a:pt x="923" y="611"/>
                    <a:pt x="890" y="677"/>
                    <a:pt x="824" y="726"/>
                  </a:cubicBezTo>
                  <a:cubicBezTo>
                    <a:pt x="758" y="775"/>
                    <a:pt x="659" y="808"/>
                    <a:pt x="544" y="808"/>
                  </a:cubicBezTo>
                  <a:lnTo>
                    <a:pt x="313" y="808"/>
                  </a:lnTo>
                  <a:lnTo>
                    <a:pt x="313" y="1006"/>
                  </a:lnTo>
                  <a:lnTo>
                    <a:pt x="527" y="1006"/>
                  </a:lnTo>
                  <a:cubicBezTo>
                    <a:pt x="659" y="1006"/>
                    <a:pt x="775" y="1039"/>
                    <a:pt x="841" y="1105"/>
                  </a:cubicBezTo>
                  <a:cubicBezTo>
                    <a:pt x="923" y="1154"/>
                    <a:pt x="956" y="1237"/>
                    <a:pt x="956" y="1352"/>
                  </a:cubicBezTo>
                  <a:cubicBezTo>
                    <a:pt x="956" y="1468"/>
                    <a:pt x="923" y="1566"/>
                    <a:pt x="841" y="1632"/>
                  </a:cubicBezTo>
                  <a:cubicBezTo>
                    <a:pt x="758" y="1682"/>
                    <a:pt x="643" y="1715"/>
                    <a:pt x="478" y="1715"/>
                  </a:cubicBezTo>
                  <a:cubicBezTo>
                    <a:pt x="396" y="1715"/>
                    <a:pt x="313" y="1715"/>
                    <a:pt x="214" y="1682"/>
                  </a:cubicBezTo>
                  <a:cubicBezTo>
                    <a:pt x="132" y="1665"/>
                    <a:pt x="66" y="1632"/>
                    <a:pt x="0" y="1599"/>
                  </a:cubicBezTo>
                  <a:lnTo>
                    <a:pt x="0" y="1830"/>
                  </a:lnTo>
                  <a:cubicBezTo>
                    <a:pt x="82" y="1863"/>
                    <a:pt x="165" y="1896"/>
                    <a:pt x="247" y="1913"/>
                  </a:cubicBezTo>
                  <a:cubicBezTo>
                    <a:pt x="330" y="1913"/>
                    <a:pt x="412" y="1929"/>
                    <a:pt x="495" y="1929"/>
                  </a:cubicBezTo>
                  <a:cubicBezTo>
                    <a:pt x="725" y="1929"/>
                    <a:pt x="907" y="1880"/>
                    <a:pt x="1022" y="1781"/>
                  </a:cubicBezTo>
                  <a:cubicBezTo>
                    <a:pt x="1154" y="1682"/>
                    <a:pt x="1220" y="1534"/>
                    <a:pt x="1220" y="1352"/>
                  </a:cubicBezTo>
                  <a:cubicBezTo>
                    <a:pt x="1220" y="1237"/>
                    <a:pt x="1187" y="1138"/>
                    <a:pt x="1104" y="1056"/>
                  </a:cubicBezTo>
                  <a:cubicBezTo>
                    <a:pt x="1038" y="973"/>
                    <a:pt x="956" y="924"/>
                    <a:pt x="824" y="891"/>
                  </a:cubicBezTo>
                  <a:cubicBezTo>
                    <a:pt x="940" y="874"/>
                    <a:pt x="1022" y="825"/>
                    <a:pt x="1088" y="742"/>
                  </a:cubicBezTo>
                  <a:cubicBezTo>
                    <a:pt x="1137" y="677"/>
                    <a:pt x="1170" y="594"/>
                    <a:pt x="1170" y="495"/>
                  </a:cubicBezTo>
                  <a:cubicBezTo>
                    <a:pt x="1170" y="347"/>
                    <a:pt x="1121" y="232"/>
                    <a:pt x="1005" y="133"/>
                  </a:cubicBezTo>
                  <a:cubicBezTo>
                    <a:pt x="890" y="50"/>
                    <a:pt x="742" y="1"/>
                    <a:pt x="5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8"/>
            <p:cNvSpPr/>
            <p:nvPr/>
          </p:nvSpPr>
          <p:spPr>
            <a:xfrm>
              <a:off x="61486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47" y="1534"/>
                  </a:cubicBezTo>
                  <a:cubicBezTo>
                    <a:pt x="281" y="1418"/>
                    <a:pt x="265" y="1220"/>
                    <a:pt x="265" y="973"/>
                  </a:cubicBezTo>
                  <a:cubicBezTo>
                    <a:pt x="265" y="709"/>
                    <a:pt x="281" y="528"/>
                    <a:pt x="347" y="396"/>
                  </a:cubicBezTo>
                  <a:cubicBezTo>
                    <a:pt x="413" y="264"/>
                    <a:pt x="512" y="199"/>
                    <a:pt x="644" y="199"/>
                  </a:cubicBezTo>
                  <a:close/>
                  <a:moveTo>
                    <a:pt x="644" y="1"/>
                  </a:moveTo>
                  <a:cubicBezTo>
                    <a:pt x="429" y="1"/>
                    <a:pt x="281" y="83"/>
                    <a:pt x="166" y="248"/>
                  </a:cubicBezTo>
                  <a:cubicBezTo>
                    <a:pt x="67" y="413"/>
                    <a:pt x="1" y="660"/>
                    <a:pt x="1" y="973"/>
                  </a:cubicBezTo>
                  <a:cubicBezTo>
                    <a:pt x="1" y="1286"/>
                    <a:pt x="67" y="1517"/>
                    <a:pt x="166" y="1682"/>
                  </a:cubicBezTo>
                  <a:cubicBezTo>
                    <a:pt x="281" y="1847"/>
                    <a:pt x="429"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8"/>
            <p:cNvSpPr/>
            <p:nvPr/>
          </p:nvSpPr>
          <p:spPr>
            <a:xfrm>
              <a:off x="6188225" y="4942750"/>
              <a:ext cx="33800" cy="46600"/>
            </a:xfrm>
            <a:custGeom>
              <a:avLst/>
              <a:gdLst/>
              <a:ahLst/>
              <a:cxnLst/>
              <a:rect l="l" t="t" r="r" b="b"/>
              <a:pathLst>
                <a:path w="1352" h="1864" extrusionOk="0">
                  <a:moveTo>
                    <a:pt x="824" y="231"/>
                  </a:moveTo>
                  <a:lnTo>
                    <a:pt x="824" y="1220"/>
                  </a:lnTo>
                  <a:lnTo>
                    <a:pt x="198" y="1220"/>
                  </a:lnTo>
                  <a:lnTo>
                    <a:pt x="824" y="231"/>
                  </a:lnTo>
                  <a:close/>
                  <a:moveTo>
                    <a:pt x="758" y="1"/>
                  </a:moveTo>
                  <a:lnTo>
                    <a:pt x="0" y="1187"/>
                  </a:lnTo>
                  <a:lnTo>
                    <a:pt x="0" y="1418"/>
                  </a:lnTo>
                  <a:lnTo>
                    <a:pt x="824" y="1418"/>
                  </a:lnTo>
                  <a:lnTo>
                    <a:pt x="824" y="1863"/>
                  </a:lnTo>
                  <a:lnTo>
                    <a:pt x="1071" y="1863"/>
                  </a:lnTo>
                  <a:lnTo>
                    <a:pt x="1071" y="1418"/>
                  </a:lnTo>
                  <a:lnTo>
                    <a:pt x="1352" y="1418"/>
                  </a:lnTo>
                  <a:lnTo>
                    <a:pt x="1352" y="1220"/>
                  </a:lnTo>
                  <a:lnTo>
                    <a:pt x="1071" y="1220"/>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8"/>
            <p:cNvSpPr/>
            <p:nvPr/>
          </p:nvSpPr>
          <p:spPr>
            <a:xfrm>
              <a:off x="6487750" y="4941925"/>
              <a:ext cx="32175" cy="48250"/>
            </a:xfrm>
            <a:custGeom>
              <a:avLst/>
              <a:gdLst/>
              <a:ahLst/>
              <a:cxnLst/>
              <a:rect l="l" t="t" r="r" b="b"/>
              <a:pathLst>
                <a:path w="1287" h="1930" extrusionOk="0">
                  <a:moveTo>
                    <a:pt x="644" y="199"/>
                  </a:moveTo>
                  <a:cubicBezTo>
                    <a:pt x="776" y="199"/>
                    <a:pt x="874" y="264"/>
                    <a:pt x="940" y="396"/>
                  </a:cubicBezTo>
                  <a:cubicBezTo>
                    <a:pt x="1006" y="528"/>
                    <a:pt x="1039" y="709"/>
                    <a:pt x="1039" y="973"/>
                  </a:cubicBezTo>
                  <a:cubicBezTo>
                    <a:pt x="1039" y="1220"/>
                    <a:pt x="1006" y="1418"/>
                    <a:pt x="940" y="1534"/>
                  </a:cubicBezTo>
                  <a:cubicBezTo>
                    <a:pt x="874" y="1665"/>
                    <a:pt x="776" y="1731"/>
                    <a:pt x="644" y="1731"/>
                  </a:cubicBezTo>
                  <a:cubicBezTo>
                    <a:pt x="512" y="1731"/>
                    <a:pt x="413" y="1665"/>
                    <a:pt x="364" y="1534"/>
                  </a:cubicBezTo>
                  <a:cubicBezTo>
                    <a:pt x="298" y="1418"/>
                    <a:pt x="265" y="1220"/>
                    <a:pt x="265" y="973"/>
                  </a:cubicBezTo>
                  <a:cubicBezTo>
                    <a:pt x="265" y="709"/>
                    <a:pt x="298" y="528"/>
                    <a:pt x="364" y="396"/>
                  </a:cubicBezTo>
                  <a:cubicBezTo>
                    <a:pt x="413" y="264"/>
                    <a:pt x="512" y="199"/>
                    <a:pt x="644" y="199"/>
                  </a:cubicBezTo>
                  <a:close/>
                  <a:moveTo>
                    <a:pt x="644" y="1"/>
                  </a:moveTo>
                  <a:cubicBezTo>
                    <a:pt x="446" y="1"/>
                    <a:pt x="281" y="83"/>
                    <a:pt x="166" y="248"/>
                  </a:cubicBezTo>
                  <a:cubicBezTo>
                    <a:pt x="67" y="413"/>
                    <a:pt x="1" y="660"/>
                    <a:pt x="1" y="973"/>
                  </a:cubicBezTo>
                  <a:cubicBezTo>
                    <a:pt x="1" y="1286"/>
                    <a:pt x="67" y="1517"/>
                    <a:pt x="166" y="1682"/>
                  </a:cubicBezTo>
                  <a:cubicBezTo>
                    <a:pt x="281" y="1847"/>
                    <a:pt x="446" y="1929"/>
                    <a:pt x="644" y="1929"/>
                  </a:cubicBezTo>
                  <a:cubicBezTo>
                    <a:pt x="858" y="1929"/>
                    <a:pt x="1006" y="1847"/>
                    <a:pt x="1122" y="1682"/>
                  </a:cubicBezTo>
                  <a:cubicBezTo>
                    <a:pt x="1237" y="1517"/>
                    <a:pt x="1286" y="1286"/>
                    <a:pt x="1286" y="973"/>
                  </a:cubicBezTo>
                  <a:cubicBezTo>
                    <a:pt x="1286" y="660"/>
                    <a:pt x="1237" y="413"/>
                    <a:pt x="1122" y="248"/>
                  </a:cubicBezTo>
                  <a:cubicBezTo>
                    <a:pt x="1006" y="83"/>
                    <a:pt x="858" y="1"/>
                    <a:pt x="644"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8"/>
            <p:cNvSpPr/>
            <p:nvPr/>
          </p:nvSpPr>
          <p:spPr>
            <a:xfrm>
              <a:off x="6528975" y="4942750"/>
              <a:ext cx="30100" cy="47425"/>
            </a:xfrm>
            <a:custGeom>
              <a:avLst/>
              <a:gdLst/>
              <a:ahLst/>
              <a:cxnLst/>
              <a:rect l="l" t="t" r="r" b="b"/>
              <a:pathLst>
                <a:path w="1204" h="1897" extrusionOk="0">
                  <a:moveTo>
                    <a:pt x="82" y="1"/>
                  </a:moveTo>
                  <a:lnTo>
                    <a:pt x="82" y="940"/>
                  </a:lnTo>
                  <a:cubicBezTo>
                    <a:pt x="148" y="907"/>
                    <a:pt x="214" y="891"/>
                    <a:pt x="280" y="874"/>
                  </a:cubicBezTo>
                  <a:cubicBezTo>
                    <a:pt x="346" y="858"/>
                    <a:pt x="412" y="841"/>
                    <a:pt x="478" y="841"/>
                  </a:cubicBezTo>
                  <a:cubicBezTo>
                    <a:pt x="626" y="841"/>
                    <a:pt x="742" y="891"/>
                    <a:pt x="824" y="957"/>
                  </a:cubicBezTo>
                  <a:cubicBezTo>
                    <a:pt x="907" y="1039"/>
                    <a:pt x="956" y="1138"/>
                    <a:pt x="956" y="1270"/>
                  </a:cubicBezTo>
                  <a:cubicBezTo>
                    <a:pt x="956" y="1402"/>
                    <a:pt x="907" y="1501"/>
                    <a:pt x="824" y="1566"/>
                  </a:cubicBezTo>
                  <a:cubicBezTo>
                    <a:pt x="742" y="1649"/>
                    <a:pt x="626" y="1682"/>
                    <a:pt x="478" y="1682"/>
                  </a:cubicBezTo>
                  <a:cubicBezTo>
                    <a:pt x="396" y="1682"/>
                    <a:pt x="313" y="1682"/>
                    <a:pt x="231" y="1649"/>
                  </a:cubicBezTo>
                  <a:cubicBezTo>
                    <a:pt x="148" y="1632"/>
                    <a:pt x="82" y="1599"/>
                    <a:pt x="0" y="1566"/>
                  </a:cubicBezTo>
                  <a:lnTo>
                    <a:pt x="0" y="1814"/>
                  </a:lnTo>
                  <a:cubicBezTo>
                    <a:pt x="82" y="1847"/>
                    <a:pt x="165" y="1863"/>
                    <a:pt x="247" y="1880"/>
                  </a:cubicBezTo>
                  <a:cubicBezTo>
                    <a:pt x="330" y="1896"/>
                    <a:pt x="412" y="1896"/>
                    <a:pt x="494" y="1896"/>
                  </a:cubicBezTo>
                  <a:cubicBezTo>
                    <a:pt x="709" y="1896"/>
                    <a:pt x="890" y="1847"/>
                    <a:pt x="1022" y="1731"/>
                  </a:cubicBezTo>
                  <a:cubicBezTo>
                    <a:pt x="1137" y="1616"/>
                    <a:pt x="1203" y="1468"/>
                    <a:pt x="1203" y="1270"/>
                  </a:cubicBezTo>
                  <a:cubicBezTo>
                    <a:pt x="1203" y="1072"/>
                    <a:pt x="1137" y="924"/>
                    <a:pt x="1022" y="808"/>
                  </a:cubicBezTo>
                  <a:cubicBezTo>
                    <a:pt x="907" y="693"/>
                    <a:pt x="742" y="644"/>
                    <a:pt x="527" y="644"/>
                  </a:cubicBezTo>
                  <a:lnTo>
                    <a:pt x="412" y="644"/>
                  </a:lnTo>
                  <a:cubicBezTo>
                    <a:pt x="379" y="644"/>
                    <a:pt x="346" y="660"/>
                    <a:pt x="313" y="676"/>
                  </a:cubicBezTo>
                  <a:lnTo>
                    <a:pt x="313" y="215"/>
                  </a:lnTo>
                  <a:lnTo>
                    <a:pt x="1071" y="215"/>
                  </a:lnTo>
                  <a:lnTo>
                    <a:pt x="10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8"/>
            <p:cNvSpPr/>
            <p:nvPr/>
          </p:nvSpPr>
          <p:spPr>
            <a:xfrm>
              <a:off x="68272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7" y="1534"/>
                  </a:cubicBezTo>
                  <a:cubicBezTo>
                    <a:pt x="281" y="1418"/>
                    <a:pt x="248" y="1220"/>
                    <a:pt x="248" y="973"/>
                  </a:cubicBezTo>
                  <a:cubicBezTo>
                    <a:pt x="248" y="709"/>
                    <a:pt x="281" y="528"/>
                    <a:pt x="347" y="396"/>
                  </a:cubicBezTo>
                  <a:cubicBezTo>
                    <a:pt x="412" y="264"/>
                    <a:pt x="511" y="199"/>
                    <a:pt x="627" y="199"/>
                  </a:cubicBezTo>
                  <a:close/>
                  <a:moveTo>
                    <a:pt x="627" y="1"/>
                  </a:moveTo>
                  <a:cubicBezTo>
                    <a:pt x="429" y="1"/>
                    <a:pt x="264" y="83"/>
                    <a:pt x="149" y="248"/>
                  </a:cubicBezTo>
                  <a:cubicBezTo>
                    <a:pt x="50" y="413"/>
                    <a:pt x="0" y="660"/>
                    <a:pt x="0" y="973"/>
                  </a:cubicBezTo>
                  <a:cubicBezTo>
                    <a:pt x="0" y="1286"/>
                    <a:pt x="50" y="1517"/>
                    <a:pt x="149"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8"/>
            <p:cNvSpPr/>
            <p:nvPr/>
          </p:nvSpPr>
          <p:spPr>
            <a:xfrm>
              <a:off x="6867650" y="4941925"/>
              <a:ext cx="32175" cy="48250"/>
            </a:xfrm>
            <a:custGeom>
              <a:avLst/>
              <a:gdLst/>
              <a:ahLst/>
              <a:cxnLst/>
              <a:rect l="l" t="t" r="r" b="b"/>
              <a:pathLst>
                <a:path w="1287" h="1930" extrusionOk="0">
                  <a:moveTo>
                    <a:pt x="660" y="874"/>
                  </a:moveTo>
                  <a:cubicBezTo>
                    <a:pt x="775" y="874"/>
                    <a:pt x="858" y="907"/>
                    <a:pt x="923" y="990"/>
                  </a:cubicBezTo>
                  <a:cubicBezTo>
                    <a:pt x="989" y="1056"/>
                    <a:pt x="1022" y="1171"/>
                    <a:pt x="1022" y="1303"/>
                  </a:cubicBezTo>
                  <a:cubicBezTo>
                    <a:pt x="1022" y="1435"/>
                    <a:pt x="989" y="1534"/>
                    <a:pt x="923" y="1616"/>
                  </a:cubicBezTo>
                  <a:cubicBezTo>
                    <a:pt x="858" y="1698"/>
                    <a:pt x="775" y="1731"/>
                    <a:pt x="660" y="1731"/>
                  </a:cubicBezTo>
                  <a:cubicBezTo>
                    <a:pt x="544" y="1731"/>
                    <a:pt x="462" y="1698"/>
                    <a:pt x="396" y="1616"/>
                  </a:cubicBezTo>
                  <a:cubicBezTo>
                    <a:pt x="330" y="1534"/>
                    <a:pt x="297" y="1435"/>
                    <a:pt x="297" y="1303"/>
                  </a:cubicBezTo>
                  <a:cubicBezTo>
                    <a:pt x="297" y="1171"/>
                    <a:pt x="330" y="1056"/>
                    <a:pt x="396" y="990"/>
                  </a:cubicBezTo>
                  <a:cubicBezTo>
                    <a:pt x="462" y="907"/>
                    <a:pt x="544" y="874"/>
                    <a:pt x="660" y="874"/>
                  </a:cubicBezTo>
                  <a:close/>
                  <a:moveTo>
                    <a:pt x="775" y="1"/>
                  </a:moveTo>
                  <a:cubicBezTo>
                    <a:pt x="544" y="1"/>
                    <a:pt x="347" y="100"/>
                    <a:pt x="215" y="264"/>
                  </a:cubicBezTo>
                  <a:cubicBezTo>
                    <a:pt x="66" y="446"/>
                    <a:pt x="1" y="677"/>
                    <a:pt x="1" y="973"/>
                  </a:cubicBezTo>
                  <a:cubicBezTo>
                    <a:pt x="1" y="1286"/>
                    <a:pt x="66" y="1517"/>
                    <a:pt x="165" y="1682"/>
                  </a:cubicBezTo>
                  <a:cubicBezTo>
                    <a:pt x="281" y="1847"/>
                    <a:pt x="446" y="1929"/>
                    <a:pt x="660" y="1929"/>
                  </a:cubicBezTo>
                  <a:cubicBezTo>
                    <a:pt x="858" y="1929"/>
                    <a:pt x="1006" y="1863"/>
                    <a:pt x="1105" y="1748"/>
                  </a:cubicBezTo>
                  <a:cubicBezTo>
                    <a:pt x="1220" y="1649"/>
                    <a:pt x="1286" y="1484"/>
                    <a:pt x="1286" y="1303"/>
                  </a:cubicBezTo>
                  <a:cubicBezTo>
                    <a:pt x="1286" y="1105"/>
                    <a:pt x="1220" y="957"/>
                    <a:pt x="1121" y="841"/>
                  </a:cubicBezTo>
                  <a:cubicBezTo>
                    <a:pt x="1006" y="726"/>
                    <a:pt x="858" y="677"/>
                    <a:pt x="676" y="677"/>
                  </a:cubicBezTo>
                  <a:cubicBezTo>
                    <a:pt x="594" y="677"/>
                    <a:pt x="511" y="693"/>
                    <a:pt x="429" y="726"/>
                  </a:cubicBezTo>
                  <a:cubicBezTo>
                    <a:pt x="363" y="759"/>
                    <a:pt x="297" y="825"/>
                    <a:pt x="248" y="891"/>
                  </a:cubicBezTo>
                  <a:cubicBezTo>
                    <a:pt x="264" y="660"/>
                    <a:pt x="314" y="495"/>
                    <a:pt x="396" y="380"/>
                  </a:cubicBezTo>
                  <a:cubicBezTo>
                    <a:pt x="495" y="281"/>
                    <a:pt x="610" y="215"/>
                    <a:pt x="775" y="215"/>
                  </a:cubicBezTo>
                  <a:cubicBezTo>
                    <a:pt x="841" y="215"/>
                    <a:pt x="907" y="232"/>
                    <a:pt x="973" y="248"/>
                  </a:cubicBezTo>
                  <a:cubicBezTo>
                    <a:pt x="1039" y="264"/>
                    <a:pt x="1105" y="281"/>
                    <a:pt x="1154" y="314"/>
                  </a:cubicBezTo>
                  <a:lnTo>
                    <a:pt x="1154" y="83"/>
                  </a:lnTo>
                  <a:cubicBezTo>
                    <a:pt x="1088" y="50"/>
                    <a:pt x="1022" y="34"/>
                    <a:pt x="956" y="34"/>
                  </a:cubicBezTo>
                  <a:cubicBezTo>
                    <a:pt x="891" y="17"/>
                    <a:pt x="841" y="1"/>
                    <a:pt x="77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8"/>
            <p:cNvSpPr/>
            <p:nvPr/>
          </p:nvSpPr>
          <p:spPr>
            <a:xfrm>
              <a:off x="7166375" y="4941925"/>
              <a:ext cx="31750" cy="48250"/>
            </a:xfrm>
            <a:custGeom>
              <a:avLst/>
              <a:gdLst/>
              <a:ahLst/>
              <a:cxnLst/>
              <a:rect l="l" t="t" r="r" b="b"/>
              <a:pathLst>
                <a:path w="1270" h="1930" extrusionOk="0">
                  <a:moveTo>
                    <a:pt x="627" y="199"/>
                  </a:moveTo>
                  <a:cubicBezTo>
                    <a:pt x="759" y="199"/>
                    <a:pt x="857" y="264"/>
                    <a:pt x="923" y="396"/>
                  </a:cubicBezTo>
                  <a:cubicBezTo>
                    <a:pt x="989" y="528"/>
                    <a:pt x="1022" y="709"/>
                    <a:pt x="1022" y="973"/>
                  </a:cubicBezTo>
                  <a:cubicBezTo>
                    <a:pt x="1022" y="1220"/>
                    <a:pt x="989" y="1418"/>
                    <a:pt x="923" y="1534"/>
                  </a:cubicBezTo>
                  <a:cubicBezTo>
                    <a:pt x="857" y="1665"/>
                    <a:pt x="759" y="1731"/>
                    <a:pt x="627" y="1731"/>
                  </a:cubicBezTo>
                  <a:cubicBezTo>
                    <a:pt x="511" y="1731"/>
                    <a:pt x="412" y="1665"/>
                    <a:pt x="346" y="1534"/>
                  </a:cubicBezTo>
                  <a:cubicBezTo>
                    <a:pt x="281" y="1418"/>
                    <a:pt x="248" y="1220"/>
                    <a:pt x="248" y="973"/>
                  </a:cubicBezTo>
                  <a:cubicBezTo>
                    <a:pt x="248" y="709"/>
                    <a:pt x="281" y="528"/>
                    <a:pt x="346" y="396"/>
                  </a:cubicBezTo>
                  <a:cubicBezTo>
                    <a:pt x="412" y="264"/>
                    <a:pt x="511" y="199"/>
                    <a:pt x="627" y="199"/>
                  </a:cubicBezTo>
                  <a:close/>
                  <a:moveTo>
                    <a:pt x="627" y="1"/>
                  </a:moveTo>
                  <a:cubicBezTo>
                    <a:pt x="429" y="1"/>
                    <a:pt x="264" y="83"/>
                    <a:pt x="165" y="248"/>
                  </a:cubicBezTo>
                  <a:cubicBezTo>
                    <a:pt x="50" y="413"/>
                    <a:pt x="0" y="660"/>
                    <a:pt x="0" y="973"/>
                  </a:cubicBezTo>
                  <a:cubicBezTo>
                    <a:pt x="0" y="1286"/>
                    <a:pt x="50" y="1517"/>
                    <a:pt x="165" y="1682"/>
                  </a:cubicBezTo>
                  <a:cubicBezTo>
                    <a:pt x="264" y="1847"/>
                    <a:pt x="429" y="1929"/>
                    <a:pt x="627" y="1929"/>
                  </a:cubicBezTo>
                  <a:cubicBezTo>
                    <a:pt x="841" y="1929"/>
                    <a:pt x="1006" y="1847"/>
                    <a:pt x="1105" y="1682"/>
                  </a:cubicBezTo>
                  <a:cubicBezTo>
                    <a:pt x="1220" y="1517"/>
                    <a:pt x="1269" y="1286"/>
                    <a:pt x="1269" y="973"/>
                  </a:cubicBezTo>
                  <a:cubicBezTo>
                    <a:pt x="1269" y="660"/>
                    <a:pt x="1220" y="413"/>
                    <a:pt x="1105" y="248"/>
                  </a:cubicBezTo>
                  <a:cubicBezTo>
                    <a:pt x="1006" y="83"/>
                    <a:pt x="841" y="1"/>
                    <a:pt x="627"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8"/>
            <p:cNvSpPr/>
            <p:nvPr/>
          </p:nvSpPr>
          <p:spPr>
            <a:xfrm>
              <a:off x="7207575" y="4942750"/>
              <a:ext cx="29700" cy="46600"/>
            </a:xfrm>
            <a:custGeom>
              <a:avLst/>
              <a:gdLst/>
              <a:ahLst/>
              <a:cxnLst/>
              <a:rect l="l" t="t" r="r" b="b"/>
              <a:pathLst>
                <a:path w="1188" h="1864" extrusionOk="0">
                  <a:moveTo>
                    <a:pt x="0" y="1"/>
                  </a:moveTo>
                  <a:lnTo>
                    <a:pt x="0" y="215"/>
                  </a:lnTo>
                  <a:lnTo>
                    <a:pt x="890" y="215"/>
                  </a:lnTo>
                  <a:lnTo>
                    <a:pt x="264" y="1863"/>
                  </a:lnTo>
                  <a:lnTo>
                    <a:pt x="528" y="1863"/>
                  </a:lnTo>
                  <a:lnTo>
                    <a:pt x="1187" y="116"/>
                  </a:lnTo>
                  <a:lnTo>
                    <a:pt x="118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8"/>
            <p:cNvSpPr/>
            <p:nvPr/>
          </p:nvSpPr>
          <p:spPr>
            <a:xfrm>
              <a:off x="5105000" y="4338000"/>
              <a:ext cx="2145050" cy="480975"/>
            </a:xfrm>
            <a:custGeom>
              <a:avLst/>
              <a:gdLst/>
              <a:ahLst/>
              <a:cxnLst/>
              <a:rect l="l" t="t" r="r" b="b"/>
              <a:pathLst>
                <a:path w="85802" h="19239" extrusionOk="0">
                  <a:moveTo>
                    <a:pt x="38327" y="8620"/>
                  </a:moveTo>
                  <a:cubicBezTo>
                    <a:pt x="38216" y="8620"/>
                    <a:pt x="38105" y="8690"/>
                    <a:pt x="38088" y="8830"/>
                  </a:cubicBezTo>
                  <a:lnTo>
                    <a:pt x="38088" y="10413"/>
                  </a:lnTo>
                  <a:cubicBezTo>
                    <a:pt x="38105" y="10561"/>
                    <a:pt x="38216" y="10635"/>
                    <a:pt x="38327" y="10635"/>
                  </a:cubicBezTo>
                  <a:cubicBezTo>
                    <a:pt x="38438" y="10635"/>
                    <a:pt x="38550" y="10561"/>
                    <a:pt x="38566" y="10413"/>
                  </a:cubicBezTo>
                  <a:lnTo>
                    <a:pt x="38566" y="8830"/>
                  </a:lnTo>
                  <a:cubicBezTo>
                    <a:pt x="38550" y="8690"/>
                    <a:pt x="38438" y="8620"/>
                    <a:pt x="38327" y="8620"/>
                  </a:cubicBezTo>
                  <a:close/>
                  <a:moveTo>
                    <a:pt x="71842" y="8493"/>
                  </a:moveTo>
                  <a:cubicBezTo>
                    <a:pt x="71730" y="8493"/>
                    <a:pt x="71619" y="8567"/>
                    <a:pt x="71611" y="8715"/>
                  </a:cubicBezTo>
                  <a:lnTo>
                    <a:pt x="71611" y="10511"/>
                  </a:lnTo>
                  <a:cubicBezTo>
                    <a:pt x="71619" y="10652"/>
                    <a:pt x="71730" y="10722"/>
                    <a:pt x="71842" y="10722"/>
                  </a:cubicBezTo>
                  <a:cubicBezTo>
                    <a:pt x="71953" y="10722"/>
                    <a:pt x="72064" y="10652"/>
                    <a:pt x="72072" y="10511"/>
                  </a:cubicBezTo>
                  <a:lnTo>
                    <a:pt x="72072" y="8715"/>
                  </a:lnTo>
                  <a:cubicBezTo>
                    <a:pt x="72064" y="8567"/>
                    <a:pt x="71953" y="8493"/>
                    <a:pt x="71842" y="8493"/>
                  </a:cubicBezTo>
                  <a:close/>
                  <a:moveTo>
                    <a:pt x="13952" y="8480"/>
                  </a:moveTo>
                  <a:cubicBezTo>
                    <a:pt x="13832" y="8480"/>
                    <a:pt x="13713" y="8558"/>
                    <a:pt x="13713" y="8715"/>
                  </a:cubicBezTo>
                  <a:lnTo>
                    <a:pt x="13713" y="10511"/>
                  </a:lnTo>
                  <a:cubicBezTo>
                    <a:pt x="13721" y="10668"/>
                    <a:pt x="13840" y="10746"/>
                    <a:pt x="13958" y="10746"/>
                  </a:cubicBezTo>
                  <a:cubicBezTo>
                    <a:pt x="14075" y="10746"/>
                    <a:pt x="14190" y="10668"/>
                    <a:pt x="14190" y="10511"/>
                  </a:cubicBezTo>
                  <a:lnTo>
                    <a:pt x="14190" y="8715"/>
                  </a:lnTo>
                  <a:cubicBezTo>
                    <a:pt x="14190" y="8558"/>
                    <a:pt x="14071" y="8480"/>
                    <a:pt x="13952" y="8480"/>
                  </a:cubicBezTo>
                  <a:close/>
                  <a:moveTo>
                    <a:pt x="58127" y="8031"/>
                  </a:moveTo>
                  <a:cubicBezTo>
                    <a:pt x="58014" y="8031"/>
                    <a:pt x="57898" y="8105"/>
                    <a:pt x="57882" y="8254"/>
                  </a:cubicBezTo>
                  <a:lnTo>
                    <a:pt x="57882" y="10989"/>
                  </a:lnTo>
                  <a:cubicBezTo>
                    <a:pt x="57898" y="11129"/>
                    <a:pt x="58014" y="11200"/>
                    <a:pt x="58127" y="11200"/>
                  </a:cubicBezTo>
                  <a:cubicBezTo>
                    <a:pt x="58240" y="11200"/>
                    <a:pt x="58352" y="11129"/>
                    <a:pt x="58360" y="10989"/>
                  </a:cubicBezTo>
                  <a:lnTo>
                    <a:pt x="58360" y="8254"/>
                  </a:lnTo>
                  <a:cubicBezTo>
                    <a:pt x="58352" y="8105"/>
                    <a:pt x="58240" y="8031"/>
                    <a:pt x="58127" y="8031"/>
                  </a:cubicBezTo>
                  <a:close/>
                  <a:moveTo>
                    <a:pt x="70317" y="8031"/>
                  </a:moveTo>
                  <a:cubicBezTo>
                    <a:pt x="70206" y="8031"/>
                    <a:pt x="70095" y="8105"/>
                    <a:pt x="70078" y="8254"/>
                  </a:cubicBezTo>
                  <a:lnTo>
                    <a:pt x="70078" y="10989"/>
                  </a:lnTo>
                  <a:cubicBezTo>
                    <a:pt x="70095" y="11129"/>
                    <a:pt x="70206" y="11200"/>
                    <a:pt x="70317" y="11200"/>
                  </a:cubicBezTo>
                  <a:cubicBezTo>
                    <a:pt x="70428" y="11200"/>
                    <a:pt x="70540" y="11129"/>
                    <a:pt x="70556" y="10989"/>
                  </a:cubicBezTo>
                  <a:lnTo>
                    <a:pt x="70556" y="8254"/>
                  </a:lnTo>
                  <a:cubicBezTo>
                    <a:pt x="70540" y="8105"/>
                    <a:pt x="70428" y="8031"/>
                    <a:pt x="70317" y="8031"/>
                  </a:cubicBezTo>
                  <a:close/>
                  <a:moveTo>
                    <a:pt x="73366" y="8031"/>
                  </a:moveTo>
                  <a:cubicBezTo>
                    <a:pt x="73255" y="8031"/>
                    <a:pt x="73144" y="8105"/>
                    <a:pt x="73127" y="8254"/>
                  </a:cubicBezTo>
                  <a:lnTo>
                    <a:pt x="73127" y="10989"/>
                  </a:lnTo>
                  <a:cubicBezTo>
                    <a:pt x="73144" y="11129"/>
                    <a:pt x="73255" y="11200"/>
                    <a:pt x="73366" y="11200"/>
                  </a:cubicBezTo>
                  <a:cubicBezTo>
                    <a:pt x="73477" y="11200"/>
                    <a:pt x="73589" y="11129"/>
                    <a:pt x="73605" y="10989"/>
                  </a:cubicBezTo>
                  <a:lnTo>
                    <a:pt x="73605" y="8254"/>
                  </a:lnTo>
                  <a:cubicBezTo>
                    <a:pt x="73589" y="8105"/>
                    <a:pt x="73477" y="8031"/>
                    <a:pt x="73366" y="8031"/>
                  </a:cubicBezTo>
                  <a:close/>
                  <a:moveTo>
                    <a:pt x="239" y="8031"/>
                  </a:moveTo>
                  <a:cubicBezTo>
                    <a:pt x="128" y="8031"/>
                    <a:pt x="17" y="8105"/>
                    <a:pt x="0" y="8254"/>
                  </a:cubicBezTo>
                  <a:lnTo>
                    <a:pt x="0" y="11006"/>
                  </a:lnTo>
                  <a:cubicBezTo>
                    <a:pt x="17" y="11146"/>
                    <a:pt x="128" y="11216"/>
                    <a:pt x="239" y="11216"/>
                  </a:cubicBezTo>
                  <a:cubicBezTo>
                    <a:pt x="350" y="11216"/>
                    <a:pt x="462" y="11146"/>
                    <a:pt x="478" y="11006"/>
                  </a:cubicBezTo>
                  <a:lnTo>
                    <a:pt x="478" y="10989"/>
                  </a:lnTo>
                  <a:lnTo>
                    <a:pt x="478" y="8254"/>
                  </a:lnTo>
                  <a:cubicBezTo>
                    <a:pt x="462" y="8105"/>
                    <a:pt x="350" y="8031"/>
                    <a:pt x="239" y="8031"/>
                  </a:cubicBezTo>
                  <a:close/>
                  <a:moveTo>
                    <a:pt x="12435" y="8031"/>
                  </a:moveTo>
                  <a:cubicBezTo>
                    <a:pt x="12324" y="8031"/>
                    <a:pt x="12213" y="8105"/>
                    <a:pt x="12196" y="8254"/>
                  </a:cubicBezTo>
                  <a:lnTo>
                    <a:pt x="12196" y="11006"/>
                  </a:lnTo>
                  <a:cubicBezTo>
                    <a:pt x="12213" y="11146"/>
                    <a:pt x="12324" y="11216"/>
                    <a:pt x="12435" y="11216"/>
                  </a:cubicBezTo>
                  <a:cubicBezTo>
                    <a:pt x="12546" y="11216"/>
                    <a:pt x="12658" y="11146"/>
                    <a:pt x="12674" y="11006"/>
                  </a:cubicBezTo>
                  <a:lnTo>
                    <a:pt x="12674" y="10989"/>
                  </a:lnTo>
                  <a:lnTo>
                    <a:pt x="12674" y="8254"/>
                  </a:lnTo>
                  <a:cubicBezTo>
                    <a:pt x="12658" y="8105"/>
                    <a:pt x="12546" y="8031"/>
                    <a:pt x="12435" y="8031"/>
                  </a:cubicBezTo>
                  <a:close/>
                  <a:moveTo>
                    <a:pt x="52033" y="8031"/>
                  </a:moveTo>
                  <a:cubicBezTo>
                    <a:pt x="51920" y="8031"/>
                    <a:pt x="51809" y="8105"/>
                    <a:pt x="51800" y="8254"/>
                  </a:cubicBezTo>
                  <a:lnTo>
                    <a:pt x="51800" y="11006"/>
                  </a:lnTo>
                  <a:cubicBezTo>
                    <a:pt x="51809" y="11146"/>
                    <a:pt x="51920" y="11216"/>
                    <a:pt x="52033" y="11216"/>
                  </a:cubicBezTo>
                  <a:cubicBezTo>
                    <a:pt x="52147" y="11216"/>
                    <a:pt x="52262" y="11146"/>
                    <a:pt x="52278" y="11006"/>
                  </a:cubicBezTo>
                  <a:lnTo>
                    <a:pt x="52278" y="8254"/>
                  </a:lnTo>
                  <a:cubicBezTo>
                    <a:pt x="52262" y="8105"/>
                    <a:pt x="52147" y="8031"/>
                    <a:pt x="52033" y="8031"/>
                  </a:cubicBezTo>
                  <a:close/>
                  <a:moveTo>
                    <a:pt x="85562" y="8019"/>
                  </a:moveTo>
                  <a:cubicBezTo>
                    <a:pt x="85443" y="8019"/>
                    <a:pt x="85323" y="8097"/>
                    <a:pt x="85323" y="8254"/>
                  </a:cubicBezTo>
                  <a:lnTo>
                    <a:pt x="85323" y="10989"/>
                  </a:lnTo>
                  <a:cubicBezTo>
                    <a:pt x="85323" y="11146"/>
                    <a:pt x="85443" y="11224"/>
                    <a:pt x="85562" y="11224"/>
                  </a:cubicBezTo>
                  <a:cubicBezTo>
                    <a:pt x="85682" y="11224"/>
                    <a:pt x="85801" y="11146"/>
                    <a:pt x="85801" y="10989"/>
                  </a:cubicBezTo>
                  <a:lnTo>
                    <a:pt x="85801" y="8254"/>
                  </a:lnTo>
                  <a:cubicBezTo>
                    <a:pt x="85801" y="8097"/>
                    <a:pt x="85682" y="8019"/>
                    <a:pt x="85562" y="8019"/>
                  </a:cubicBezTo>
                  <a:close/>
                  <a:moveTo>
                    <a:pt x="36796" y="8019"/>
                  </a:moveTo>
                  <a:cubicBezTo>
                    <a:pt x="36679" y="8019"/>
                    <a:pt x="36564" y="8097"/>
                    <a:pt x="36572" y="8254"/>
                  </a:cubicBezTo>
                  <a:lnTo>
                    <a:pt x="36572" y="11006"/>
                  </a:lnTo>
                  <a:cubicBezTo>
                    <a:pt x="36572" y="11162"/>
                    <a:pt x="36687" y="11241"/>
                    <a:pt x="36803" y="11241"/>
                  </a:cubicBezTo>
                  <a:cubicBezTo>
                    <a:pt x="36918" y="11241"/>
                    <a:pt x="37033" y="11162"/>
                    <a:pt x="37033" y="11006"/>
                  </a:cubicBezTo>
                  <a:lnTo>
                    <a:pt x="37033" y="8254"/>
                  </a:lnTo>
                  <a:cubicBezTo>
                    <a:pt x="37033" y="8097"/>
                    <a:pt x="36914" y="8019"/>
                    <a:pt x="36796" y="8019"/>
                  </a:cubicBezTo>
                  <a:close/>
                  <a:moveTo>
                    <a:pt x="39843" y="8019"/>
                  </a:moveTo>
                  <a:cubicBezTo>
                    <a:pt x="39724" y="8019"/>
                    <a:pt x="39604" y="8097"/>
                    <a:pt x="39604" y="8254"/>
                  </a:cubicBezTo>
                  <a:lnTo>
                    <a:pt x="39604" y="11006"/>
                  </a:lnTo>
                  <a:cubicBezTo>
                    <a:pt x="39604" y="11162"/>
                    <a:pt x="39724" y="11241"/>
                    <a:pt x="39843" y="11241"/>
                  </a:cubicBezTo>
                  <a:cubicBezTo>
                    <a:pt x="39963" y="11241"/>
                    <a:pt x="40082" y="11162"/>
                    <a:pt x="40082" y="11006"/>
                  </a:cubicBezTo>
                  <a:lnTo>
                    <a:pt x="40082" y="8254"/>
                  </a:lnTo>
                  <a:cubicBezTo>
                    <a:pt x="40082" y="8097"/>
                    <a:pt x="39963" y="8019"/>
                    <a:pt x="39843" y="8019"/>
                  </a:cubicBezTo>
                  <a:close/>
                  <a:moveTo>
                    <a:pt x="53562" y="7615"/>
                  </a:moveTo>
                  <a:cubicBezTo>
                    <a:pt x="53449" y="7615"/>
                    <a:pt x="53333" y="7685"/>
                    <a:pt x="53317" y="7825"/>
                  </a:cubicBezTo>
                  <a:lnTo>
                    <a:pt x="53317" y="11401"/>
                  </a:lnTo>
                  <a:cubicBezTo>
                    <a:pt x="53333" y="11550"/>
                    <a:pt x="53449" y="11624"/>
                    <a:pt x="53562" y="11624"/>
                  </a:cubicBezTo>
                  <a:cubicBezTo>
                    <a:pt x="53675" y="11624"/>
                    <a:pt x="53786" y="11550"/>
                    <a:pt x="53795" y="11401"/>
                  </a:cubicBezTo>
                  <a:lnTo>
                    <a:pt x="53795" y="7825"/>
                  </a:lnTo>
                  <a:cubicBezTo>
                    <a:pt x="53786" y="7685"/>
                    <a:pt x="53675" y="7615"/>
                    <a:pt x="53562" y="7615"/>
                  </a:cubicBezTo>
                  <a:close/>
                  <a:moveTo>
                    <a:pt x="56611" y="7615"/>
                  </a:moveTo>
                  <a:cubicBezTo>
                    <a:pt x="56498" y="7615"/>
                    <a:pt x="56382" y="7685"/>
                    <a:pt x="56366" y="7825"/>
                  </a:cubicBezTo>
                  <a:lnTo>
                    <a:pt x="56366" y="11401"/>
                  </a:lnTo>
                  <a:cubicBezTo>
                    <a:pt x="56382" y="11550"/>
                    <a:pt x="56498" y="11624"/>
                    <a:pt x="56611" y="11624"/>
                  </a:cubicBezTo>
                  <a:cubicBezTo>
                    <a:pt x="56724" y="11624"/>
                    <a:pt x="56835" y="11550"/>
                    <a:pt x="56844" y="11401"/>
                  </a:cubicBezTo>
                  <a:lnTo>
                    <a:pt x="56844" y="7825"/>
                  </a:lnTo>
                  <a:cubicBezTo>
                    <a:pt x="56835" y="7685"/>
                    <a:pt x="56724" y="7615"/>
                    <a:pt x="56611" y="7615"/>
                  </a:cubicBezTo>
                  <a:close/>
                  <a:moveTo>
                    <a:pt x="29180" y="7520"/>
                  </a:moveTo>
                  <a:cubicBezTo>
                    <a:pt x="29069" y="7520"/>
                    <a:pt x="28958" y="7594"/>
                    <a:pt x="28941" y="7743"/>
                  </a:cubicBezTo>
                  <a:lnTo>
                    <a:pt x="28941" y="11500"/>
                  </a:lnTo>
                  <a:cubicBezTo>
                    <a:pt x="28958" y="11649"/>
                    <a:pt x="29069" y="11723"/>
                    <a:pt x="29180" y="11723"/>
                  </a:cubicBezTo>
                  <a:cubicBezTo>
                    <a:pt x="29291" y="11723"/>
                    <a:pt x="29403" y="11649"/>
                    <a:pt x="29419" y="11500"/>
                  </a:cubicBezTo>
                  <a:lnTo>
                    <a:pt x="29419" y="7743"/>
                  </a:lnTo>
                  <a:cubicBezTo>
                    <a:pt x="29403" y="7594"/>
                    <a:pt x="29291" y="7520"/>
                    <a:pt x="29180" y="7520"/>
                  </a:cubicBezTo>
                  <a:close/>
                  <a:moveTo>
                    <a:pt x="35278" y="7520"/>
                  </a:moveTo>
                  <a:cubicBezTo>
                    <a:pt x="35167" y="7520"/>
                    <a:pt x="35056" y="7594"/>
                    <a:pt x="35039" y="7743"/>
                  </a:cubicBezTo>
                  <a:lnTo>
                    <a:pt x="35039" y="11500"/>
                  </a:lnTo>
                  <a:cubicBezTo>
                    <a:pt x="35056" y="11649"/>
                    <a:pt x="35167" y="11723"/>
                    <a:pt x="35278" y="11723"/>
                  </a:cubicBezTo>
                  <a:cubicBezTo>
                    <a:pt x="35389" y="11723"/>
                    <a:pt x="35501" y="11649"/>
                    <a:pt x="35517" y="11500"/>
                  </a:cubicBezTo>
                  <a:lnTo>
                    <a:pt x="35517" y="7743"/>
                  </a:lnTo>
                  <a:cubicBezTo>
                    <a:pt x="35501" y="7594"/>
                    <a:pt x="35389" y="7520"/>
                    <a:pt x="35278" y="7520"/>
                  </a:cubicBezTo>
                  <a:close/>
                  <a:moveTo>
                    <a:pt x="55088" y="7088"/>
                  </a:moveTo>
                  <a:cubicBezTo>
                    <a:pt x="54977" y="7088"/>
                    <a:pt x="54866" y="7158"/>
                    <a:pt x="54849" y="7298"/>
                  </a:cubicBezTo>
                  <a:lnTo>
                    <a:pt x="54849" y="11929"/>
                  </a:lnTo>
                  <a:cubicBezTo>
                    <a:pt x="54866" y="12077"/>
                    <a:pt x="54977" y="12151"/>
                    <a:pt x="55088" y="12151"/>
                  </a:cubicBezTo>
                  <a:cubicBezTo>
                    <a:pt x="55200" y="12151"/>
                    <a:pt x="55311" y="12077"/>
                    <a:pt x="55327" y="11929"/>
                  </a:cubicBezTo>
                  <a:lnTo>
                    <a:pt x="55327" y="7298"/>
                  </a:lnTo>
                  <a:cubicBezTo>
                    <a:pt x="55311" y="7158"/>
                    <a:pt x="55200" y="7088"/>
                    <a:pt x="55088" y="7088"/>
                  </a:cubicBezTo>
                  <a:close/>
                  <a:moveTo>
                    <a:pt x="15474" y="6910"/>
                  </a:moveTo>
                  <a:cubicBezTo>
                    <a:pt x="15361" y="6910"/>
                    <a:pt x="15245" y="6985"/>
                    <a:pt x="15229" y="7133"/>
                  </a:cubicBezTo>
                  <a:lnTo>
                    <a:pt x="15229" y="12110"/>
                  </a:lnTo>
                  <a:cubicBezTo>
                    <a:pt x="15245" y="12258"/>
                    <a:pt x="15361" y="12333"/>
                    <a:pt x="15474" y="12333"/>
                  </a:cubicBezTo>
                  <a:cubicBezTo>
                    <a:pt x="15587" y="12333"/>
                    <a:pt x="15699" y="12258"/>
                    <a:pt x="15707" y="12110"/>
                  </a:cubicBezTo>
                  <a:lnTo>
                    <a:pt x="15707" y="7133"/>
                  </a:lnTo>
                  <a:cubicBezTo>
                    <a:pt x="15699" y="6985"/>
                    <a:pt x="15587" y="6910"/>
                    <a:pt x="15474" y="6910"/>
                  </a:cubicBezTo>
                  <a:close/>
                  <a:moveTo>
                    <a:pt x="27664" y="6910"/>
                  </a:moveTo>
                  <a:cubicBezTo>
                    <a:pt x="27553" y="6910"/>
                    <a:pt x="27441" y="6985"/>
                    <a:pt x="27425" y="7133"/>
                  </a:cubicBezTo>
                  <a:lnTo>
                    <a:pt x="27425" y="12110"/>
                  </a:lnTo>
                  <a:cubicBezTo>
                    <a:pt x="27441" y="12258"/>
                    <a:pt x="27553" y="12333"/>
                    <a:pt x="27664" y="12333"/>
                  </a:cubicBezTo>
                  <a:cubicBezTo>
                    <a:pt x="27775" y="12333"/>
                    <a:pt x="27886" y="12258"/>
                    <a:pt x="27903" y="12110"/>
                  </a:cubicBezTo>
                  <a:lnTo>
                    <a:pt x="27903" y="7133"/>
                  </a:lnTo>
                  <a:cubicBezTo>
                    <a:pt x="27886" y="6985"/>
                    <a:pt x="27775" y="6910"/>
                    <a:pt x="27664" y="6910"/>
                  </a:cubicBezTo>
                  <a:close/>
                  <a:moveTo>
                    <a:pt x="68795" y="6449"/>
                  </a:moveTo>
                  <a:cubicBezTo>
                    <a:pt x="68681" y="6449"/>
                    <a:pt x="68570" y="6523"/>
                    <a:pt x="68562" y="6671"/>
                  </a:cubicBezTo>
                  <a:lnTo>
                    <a:pt x="68562" y="12572"/>
                  </a:lnTo>
                  <a:cubicBezTo>
                    <a:pt x="68570" y="12720"/>
                    <a:pt x="68681" y="12794"/>
                    <a:pt x="68795" y="12794"/>
                  </a:cubicBezTo>
                  <a:cubicBezTo>
                    <a:pt x="68908" y="12794"/>
                    <a:pt x="69023" y="12720"/>
                    <a:pt x="69040" y="12572"/>
                  </a:cubicBezTo>
                  <a:lnTo>
                    <a:pt x="69040" y="6671"/>
                  </a:lnTo>
                  <a:cubicBezTo>
                    <a:pt x="69023" y="6523"/>
                    <a:pt x="68908" y="6449"/>
                    <a:pt x="68795" y="6449"/>
                  </a:cubicBezTo>
                  <a:close/>
                  <a:moveTo>
                    <a:pt x="74888" y="6449"/>
                  </a:moveTo>
                  <a:cubicBezTo>
                    <a:pt x="74775" y="6449"/>
                    <a:pt x="74660" y="6523"/>
                    <a:pt x="74643" y="6671"/>
                  </a:cubicBezTo>
                  <a:lnTo>
                    <a:pt x="74643" y="12572"/>
                  </a:lnTo>
                  <a:cubicBezTo>
                    <a:pt x="74660" y="12720"/>
                    <a:pt x="74775" y="12794"/>
                    <a:pt x="74888" y="12794"/>
                  </a:cubicBezTo>
                  <a:cubicBezTo>
                    <a:pt x="75002" y="12794"/>
                    <a:pt x="75113" y="12720"/>
                    <a:pt x="75121" y="12572"/>
                  </a:cubicBezTo>
                  <a:lnTo>
                    <a:pt x="75121" y="6671"/>
                  </a:lnTo>
                  <a:cubicBezTo>
                    <a:pt x="75113" y="6523"/>
                    <a:pt x="75002" y="6449"/>
                    <a:pt x="74888" y="6449"/>
                  </a:cubicBezTo>
                  <a:close/>
                  <a:moveTo>
                    <a:pt x="84036" y="6449"/>
                  </a:moveTo>
                  <a:cubicBezTo>
                    <a:pt x="83922" y="6449"/>
                    <a:pt x="83807" y="6523"/>
                    <a:pt x="83790" y="6671"/>
                  </a:cubicBezTo>
                  <a:lnTo>
                    <a:pt x="83790" y="12572"/>
                  </a:lnTo>
                  <a:cubicBezTo>
                    <a:pt x="83807" y="12720"/>
                    <a:pt x="83922" y="12794"/>
                    <a:pt x="84036" y="12794"/>
                  </a:cubicBezTo>
                  <a:cubicBezTo>
                    <a:pt x="84149" y="12794"/>
                    <a:pt x="84260" y="12720"/>
                    <a:pt x="84268" y="12572"/>
                  </a:cubicBezTo>
                  <a:lnTo>
                    <a:pt x="84268" y="6671"/>
                  </a:lnTo>
                  <a:cubicBezTo>
                    <a:pt x="84260" y="6523"/>
                    <a:pt x="84149" y="6449"/>
                    <a:pt x="84036" y="6449"/>
                  </a:cubicBezTo>
                  <a:close/>
                  <a:moveTo>
                    <a:pt x="1766" y="6449"/>
                  </a:moveTo>
                  <a:cubicBezTo>
                    <a:pt x="1652" y="6449"/>
                    <a:pt x="1541" y="6523"/>
                    <a:pt x="1533" y="6671"/>
                  </a:cubicBezTo>
                  <a:lnTo>
                    <a:pt x="1533" y="12588"/>
                  </a:lnTo>
                  <a:cubicBezTo>
                    <a:pt x="1541" y="12728"/>
                    <a:pt x="1652" y="12798"/>
                    <a:pt x="1766" y="12798"/>
                  </a:cubicBezTo>
                  <a:cubicBezTo>
                    <a:pt x="1879" y="12798"/>
                    <a:pt x="1994" y="12728"/>
                    <a:pt x="2011" y="12588"/>
                  </a:cubicBezTo>
                  <a:lnTo>
                    <a:pt x="2011" y="12572"/>
                  </a:lnTo>
                  <a:lnTo>
                    <a:pt x="2011" y="6671"/>
                  </a:lnTo>
                  <a:cubicBezTo>
                    <a:pt x="1994" y="6523"/>
                    <a:pt x="1879" y="6449"/>
                    <a:pt x="1766" y="6449"/>
                  </a:cubicBezTo>
                  <a:close/>
                  <a:moveTo>
                    <a:pt x="41366" y="6449"/>
                  </a:moveTo>
                  <a:cubicBezTo>
                    <a:pt x="41253" y="6449"/>
                    <a:pt x="41137" y="6523"/>
                    <a:pt x="41121" y="6671"/>
                  </a:cubicBezTo>
                  <a:lnTo>
                    <a:pt x="41121" y="12588"/>
                  </a:lnTo>
                  <a:cubicBezTo>
                    <a:pt x="41137" y="12728"/>
                    <a:pt x="41253" y="12798"/>
                    <a:pt x="41366" y="12798"/>
                  </a:cubicBezTo>
                  <a:cubicBezTo>
                    <a:pt x="41479" y="12798"/>
                    <a:pt x="41590" y="12728"/>
                    <a:pt x="41599" y="12588"/>
                  </a:cubicBezTo>
                  <a:lnTo>
                    <a:pt x="41599" y="6671"/>
                  </a:lnTo>
                  <a:cubicBezTo>
                    <a:pt x="41590" y="6523"/>
                    <a:pt x="41479" y="6449"/>
                    <a:pt x="41366" y="6449"/>
                  </a:cubicBezTo>
                  <a:close/>
                  <a:moveTo>
                    <a:pt x="50515" y="6449"/>
                  </a:moveTo>
                  <a:cubicBezTo>
                    <a:pt x="50404" y="6449"/>
                    <a:pt x="50292" y="6523"/>
                    <a:pt x="50284" y="6671"/>
                  </a:cubicBezTo>
                  <a:lnTo>
                    <a:pt x="50284" y="12588"/>
                  </a:lnTo>
                  <a:cubicBezTo>
                    <a:pt x="50292" y="12728"/>
                    <a:pt x="50404" y="12798"/>
                    <a:pt x="50515" y="12798"/>
                  </a:cubicBezTo>
                  <a:cubicBezTo>
                    <a:pt x="50626" y="12798"/>
                    <a:pt x="50737" y="12728"/>
                    <a:pt x="50746" y="12588"/>
                  </a:cubicBezTo>
                  <a:lnTo>
                    <a:pt x="50746" y="6671"/>
                  </a:lnTo>
                  <a:cubicBezTo>
                    <a:pt x="50737" y="6523"/>
                    <a:pt x="50626" y="6449"/>
                    <a:pt x="50515" y="6449"/>
                  </a:cubicBezTo>
                  <a:close/>
                  <a:moveTo>
                    <a:pt x="59654" y="6424"/>
                  </a:moveTo>
                  <a:cubicBezTo>
                    <a:pt x="59534" y="6424"/>
                    <a:pt x="59415" y="6507"/>
                    <a:pt x="59415" y="6671"/>
                  </a:cubicBezTo>
                  <a:lnTo>
                    <a:pt x="59415" y="12572"/>
                  </a:lnTo>
                  <a:cubicBezTo>
                    <a:pt x="59415" y="12728"/>
                    <a:pt x="59534" y="12806"/>
                    <a:pt x="59654" y="12806"/>
                  </a:cubicBezTo>
                  <a:cubicBezTo>
                    <a:pt x="59773" y="12806"/>
                    <a:pt x="59893" y="12728"/>
                    <a:pt x="59893" y="12572"/>
                  </a:cubicBezTo>
                  <a:lnTo>
                    <a:pt x="59893" y="6671"/>
                  </a:lnTo>
                  <a:cubicBezTo>
                    <a:pt x="59893" y="6507"/>
                    <a:pt x="59773" y="6424"/>
                    <a:pt x="59654" y="6424"/>
                  </a:cubicBezTo>
                  <a:close/>
                  <a:moveTo>
                    <a:pt x="10911" y="6424"/>
                  </a:moveTo>
                  <a:cubicBezTo>
                    <a:pt x="10795" y="6424"/>
                    <a:pt x="10680" y="6507"/>
                    <a:pt x="10680" y="6671"/>
                  </a:cubicBezTo>
                  <a:lnTo>
                    <a:pt x="10680" y="12588"/>
                  </a:lnTo>
                  <a:cubicBezTo>
                    <a:pt x="10680" y="12745"/>
                    <a:pt x="10795" y="12823"/>
                    <a:pt x="10911" y="12823"/>
                  </a:cubicBezTo>
                  <a:cubicBezTo>
                    <a:pt x="11026" y="12823"/>
                    <a:pt x="11141" y="12745"/>
                    <a:pt x="11141" y="12588"/>
                  </a:cubicBezTo>
                  <a:lnTo>
                    <a:pt x="11141" y="12572"/>
                  </a:lnTo>
                  <a:lnTo>
                    <a:pt x="11141" y="6671"/>
                  </a:lnTo>
                  <a:cubicBezTo>
                    <a:pt x="11141" y="6507"/>
                    <a:pt x="11026" y="6424"/>
                    <a:pt x="10911" y="6424"/>
                  </a:cubicBezTo>
                  <a:close/>
                  <a:moveTo>
                    <a:pt x="30756" y="5823"/>
                  </a:moveTo>
                  <a:cubicBezTo>
                    <a:pt x="30643" y="5823"/>
                    <a:pt x="30532" y="5897"/>
                    <a:pt x="30523" y="6045"/>
                  </a:cubicBezTo>
                  <a:lnTo>
                    <a:pt x="30408" y="13198"/>
                  </a:lnTo>
                  <a:cubicBezTo>
                    <a:pt x="30424" y="13338"/>
                    <a:pt x="30540" y="13408"/>
                    <a:pt x="30653" y="13408"/>
                  </a:cubicBezTo>
                  <a:cubicBezTo>
                    <a:pt x="30766" y="13408"/>
                    <a:pt x="30878" y="13338"/>
                    <a:pt x="30886" y="13198"/>
                  </a:cubicBezTo>
                  <a:lnTo>
                    <a:pt x="31001" y="6045"/>
                  </a:lnTo>
                  <a:cubicBezTo>
                    <a:pt x="30985" y="5897"/>
                    <a:pt x="30869" y="5823"/>
                    <a:pt x="30756" y="5823"/>
                  </a:cubicBezTo>
                  <a:close/>
                  <a:moveTo>
                    <a:pt x="33803" y="5823"/>
                  </a:moveTo>
                  <a:cubicBezTo>
                    <a:pt x="33692" y="5823"/>
                    <a:pt x="33581" y="5897"/>
                    <a:pt x="33572" y="6045"/>
                  </a:cubicBezTo>
                  <a:lnTo>
                    <a:pt x="33457" y="13198"/>
                  </a:lnTo>
                  <a:cubicBezTo>
                    <a:pt x="33473" y="13338"/>
                    <a:pt x="33585" y="13408"/>
                    <a:pt x="33696" y="13408"/>
                  </a:cubicBezTo>
                  <a:cubicBezTo>
                    <a:pt x="33807" y="13408"/>
                    <a:pt x="33918" y="13338"/>
                    <a:pt x="33935" y="13198"/>
                  </a:cubicBezTo>
                  <a:lnTo>
                    <a:pt x="34034" y="6045"/>
                  </a:lnTo>
                  <a:cubicBezTo>
                    <a:pt x="34026" y="5897"/>
                    <a:pt x="33914" y="5823"/>
                    <a:pt x="33803" y="5823"/>
                  </a:cubicBezTo>
                  <a:close/>
                  <a:moveTo>
                    <a:pt x="61170" y="5604"/>
                  </a:moveTo>
                  <a:cubicBezTo>
                    <a:pt x="61059" y="5604"/>
                    <a:pt x="60947" y="5674"/>
                    <a:pt x="60931" y="5814"/>
                  </a:cubicBezTo>
                  <a:lnTo>
                    <a:pt x="60931" y="13412"/>
                  </a:lnTo>
                  <a:cubicBezTo>
                    <a:pt x="60947" y="13560"/>
                    <a:pt x="61059" y="13635"/>
                    <a:pt x="61170" y="13635"/>
                  </a:cubicBezTo>
                  <a:cubicBezTo>
                    <a:pt x="61281" y="13635"/>
                    <a:pt x="61392" y="13560"/>
                    <a:pt x="61409" y="13412"/>
                  </a:cubicBezTo>
                  <a:lnTo>
                    <a:pt x="61409" y="5814"/>
                  </a:lnTo>
                  <a:cubicBezTo>
                    <a:pt x="61392" y="5674"/>
                    <a:pt x="61281" y="5604"/>
                    <a:pt x="61170" y="5604"/>
                  </a:cubicBezTo>
                  <a:close/>
                  <a:moveTo>
                    <a:pt x="67274" y="5604"/>
                  </a:moveTo>
                  <a:cubicBezTo>
                    <a:pt x="67161" y="5604"/>
                    <a:pt x="67046" y="5674"/>
                    <a:pt x="67029" y="5814"/>
                  </a:cubicBezTo>
                  <a:lnTo>
                    <a:pt x="67029" y="13412"/>
                  </a:lnTo>
                  <a:cubicBezTo>
                    <a:pt x="67046" y="13560"/>
                    <a:pt x="67161" y="13635"/>
                    <a:pt x="67274" y="13635"/>
                  </a:cubicBezTo>
                  <a:cubicBezTo>
                    <a:pt x="67387" y="13635"/>
                    <a:pt x="67499" y="13560"/>
                    <a:pt x="67507" y="13412"/>
                  </a:cubicBezTo>
                  <a:lnTo>
                    <a:pt x="67507" y="5814"/>
                  </a:lnTo>
                  <a:cubicBezTo>
                    <a:pt x="67499" y="5674"/>
                    <a:pt x="67387" y="5604"/>
                    <a:pt x="67274" y="5604"/>
                  </a:cubicBezTo>
                  <a:close/>
                  <a:moveTo>
                    <a:pt x="76415" y="5604"/>
                  </a:moveTo>
                  <a:cubicBezTo>
                    <a:pt x="76304" y="5604"/>
                    <a:pt x="76193" y="5674"/>
                    <a:pt x="76176" y="5814"/>
                  </a:cubicBezTo>
                  <a:lnTo>
                    <a:pt x="76176" y="13412"/>
                  </a:lnTo>
                  <a:cubicBezTo>
                    <a:pt x="76193" y="13560"/>
                    <a:pt x="76304" y="13635"/>
                    <a:pt x="76415" y="13635"/>
                  </a:cubicBezTo>
                  <a:cubicBezTo>
                    <a:pt x="76526" y="13635"/>
                    <a:pt x="76638" y="13560"/>
                    <a:pt x="76654" y="13412"/>
                  </a:cubicBezTo>
                  <a:lnTo>
                    <a:pt x="76654" y="5814"/>
                  </a:lnTo>
                  <a:cubicBezTo>
                    <a:pt x="76638" y="5674"/>
                    <a:pt x="76526" y="5604"/>
                    <a:pt x="76415" y="5604"/>
                  </a:cubicBezTo>
                  <a:close/>
                  <a:moveTo>
                    <a:pt x="82513" y="5604"/>
                  </a:moveTo>
                  <a:cubicBezTo>
                    <a:pt x="82402" y="5604"/>
                    <a:pt x="82291" y="5674"/>
                    <a:pt x="82274" y="5814"/>
                  </a:cubicBezTo>
                  <a:lnTo>
                    <a:pt x="82274" y="13412"/>
                  </a:lnTo>
                  <a:cubicBezTo>
                    <a:pt x="82291" y="13560"/>
                    <a:pt x="82402" y="13635"/>
                    <a:pt x="82513" y="13635"/>
                  </a:cubicBezTo>
                  <a:cubicBezTo>
                    <a:pt x="82624" y="13635"/>
                    <a:pt x="82736" y="13560"/>
                    <a:pt x="82752" y="13412"/>
                  </a:cubicBezTo>
                  <a:lnTo>
                    <a:pt x="82752" y="5814"/>
                  </a:lnTo>
                  <a:cubicBezTo>
                    <a:pt x="82736" y="5674"/>
                    <a:pt x="82624" y="5604"/>
                    <a:pt x="82513" y="5604"/>
                  </a:cubicBezTo>
                  <a:close/>
                  <a:moveTo>
                    <a:pt x="3288" y="5604"/>
                  </a:moveTo>
                  <a:cubicBezTo>
                    <a:pt x="3177" y="5604"/>
                    <a:pt x="3066" y="5674"/>
                    <a:pt x="3049" y="5814"/>
                  </a:cubicBezTo>
                  <a:lnTo>
                    <a:pt x="3049" y="13429"/>
                  </a:lnTo>
                  <a:cubicBezTo>
                    <a:pt x="3066" y="13577"/>
                    <a:pt x="3177" y="13651"/>
                    <a:pt x="3288" y="13651"/>
                  </a:cubicBezTo>
                  <a:cubicBezTo>
                    <a:pt x="3399" y="13651"/>
                    <a:pt x="3511" y="13577"/>
                    <a:pt x="3527" y="13429"/>
                  </a:cubicBezTo>
                  <a:lnTo>
                    <a:pt x="3527" y="13412"/>
                  </a:lnTo>
                  <a:lnTo>
                    <a:pt x="3527" y="5814"/>
                  </a:lnTo>
                  <a:cubicBezTo>
                    <a:pt x="3511" y="5674"/>
                    <a:pt x="3399" y="5604"/>
                    <a:pt x="3288" y="5604"/>
                  </a:cubicBezTo>
                  <a:close/>
                  <a:moveTo>
                    <a:pt x="9386" y="5604"/>
                  </a:moveTo>
                  <a:cubicBezTo>
                    <a:pt x="9275" y="5604"/>
                    <a:pt x="9164" y="5674"/>
                    <a:pt x="9147" y="5814"/>
                  </a:cubicBezTo>
                  <a:lnTo>
                    <a:pt x="9147" y="13429"/>
                  </a:lnTo>
                  <a:cubicBezTo>
                    <a:pt x="9164" y="13577"/>
                    <a:pt x="9275" y="13651"/>
                    <a:pt x="9386" y="13651"/>
                  </a:cubicBezTo>
                  <a:cubicBezTo>
                    <a:pt x="9497" y="13651"/>
                    <a:pt x="9609" y="13577"/>
                    <a:pt x="9625" y="13429"/>
                  </a:cubicBezTo>
                  <a:lnTo>
                    <a:pt x="9625" y="13412"/>
                  </a:lnTo>
                  <a:lnTo>
                    <a:pt x="9625" y="5814"/>
                  </a:lnTo>
                  <a:cubicBezTo>
                    <a:pt x="9609" y="5674"/>
                    <a:pt x="9497" y="5604"/>
                    <a:pt x="9386" y="5604"/>
                  </a:cubicBezTo>
                  <a:close/>
                  <a:moveTo>
                    <a:pt x="42886" y="5604"/>
                  </a:moveTo>
                  <a:cubicBezTo>
                    <a:pt x="42773" y="5604"/>
                    <a:pt x="42662" y="5674"/>
                    <a:pt x="42653" y="5814"/>
                  </a:cubicBezTo>
                  <a:lnTo>
                    <a:pt x="42653" y="13429"/>
                  </a:lnTo>
                  <a:cubicBezTo>
                    <a:pt x="42662" y="13577"/>
                    <a:pt x="42773" y="13651"/>
                    <a:pt x="42886" y="13651"/>
                  </a:cubicBezTo>
                  <a:cubicBezTo>
                    <a:pt x="43000" y="13651"/>
                    <a:pt x="43115" y="13577"/>
                    <a:pt x="43131" y="13429"/>
                  </a:cubicBezTo>
                  <a:lnTo>
                    <a:pt x="43131" y="5814"/>
                  </a:lnTo>
                  <a:cubicBezTo>
                    <a:pt x="43115" y="5674"/>
                    <a:pt x="43000" y="5604"/>
                    <a:pt x="42886" y="5604"/>
                  </a:cubicBezTo>
                  <a:close/>
                  <a:moveTo>
                    <a:pt x="48990" y="5604"/>
                  </a:moveTo>
                  <a:cubicBezTo>
                    <a:pt x="48879" y="5604"/>
                    <a:pt x="48768" y="5674"/>
                    <a:pt x="48751" y="5814"/>
                  </a:cubicBezTo>
                  <a:lnTo>
                    <a:pt x="48751" y="13429"/>
                  </a:lnTo>
                  <a:cubicBezTo>
                    <a:pt x="48768" y="13577"/>
                    <a:pt x="48879" y="13651"/>
                    <a:pt x="48990" y="13651"/>
                  </a:cubicBezTo>
                  <a:cubicBezTo>
                    <a:pt x="49102" y="13651"/>
                    <a:pt x="49213" y="13577"/>
                    <a:pt x="49229" y="13429"/>
                  </a:cubicBezTo>
                  <a:lnTo>
                    <a:pt x="49229" y="5814"/>
                  </a:lnTo>
                  <a:cubicBezTo>
                    <a:pt x="49213" y="5674"/>
                    <a:pt x="49102" y="5604"/>
                    <a:pt x="48990" y="5604"/>
                  </a:cubicBezTo>
                  <a:close/>
                  <a:moveTo>
                    <a:pt x="65752" y="5077"/>
                  </a:moveTo>
                  <a:cubicBezTo>
                    <a:pt x="65640" y="5077"/>
                    <a:pt x="65529" y="5147"/>
                    <a:pt x="65513" y="5287"/>
                  </a:cubicBezTo>
                  <a:lnTo>
                    <a:pt x="65513" y="13940"/>
                  </a:lnTo>
                  <a:cubicBezTo>
                    <a:pt x="65529" y="14088"/>
                    <a:pt x="65640" y="14162"/>
                    <a:pt x="65752" y="14162"/>
                  </a:cubicBezTo>
                  <a:cubicBezTo>
                    <a:pt x="65863" y="14162"/>
                    <a:pt x="65974" y="14088"/>
                    <a:pt x="65991" y="13940"/>
                  </a:cubicBezTo>
                  <a:lnTo>
                    <a:pt x="65991" y="5287"/>
                  </a:lnTo>
                  <a:cubicBezTo>
                    <a:pt x="65974" y="5147"/>
                    <a:pt x="65863" y="5077"/>
                    <a:pt x="65752" y="5077"/>
                  </a:cubicBezTo>
                  <a:close/>
                  <a:moveTo>
                    <a:pt x="77937" y="5077"/>
                  </a:moveTo>
                  <a:cubicBezTo>
                    <a:pt x="77824" y="5077"/>
                    <a:pt x="77709" y="5147"/>
                    <a:pt x="77692" y="5287"/>
                  </a:cubicBezTo>
                  <a:lnTo>
                    <a:pt x="77692" y="13940"/>
                  </a:lnTo>
                  <a:cubicBezTo>
                    <a:pt x="77709" y="14088"/>
                    <a:pt x="77824" y="14162"/>
                    <a:pt x="77937" y="14162"/>
                  </a:cubicBezTo>
                  <a:cubicBezTo>
                    <a:pt x="78051" y="14162"/>
                    <a:pt x="78162" y="14088"/>
                    <a:pt x="78170" y="13940"/>
                  </a:cubicBezTo>
                  <a:lnTo>
                    <a:pt x="78170" y="5287"/>
                  </a:lnTo>
                  <a:cubicBezTo>
                    <a:pt x="78162" y="5147"/>
                    <a:pt x="78051" y="5077"/>
                    <a:pt x="77937" y="5077"/>
                  </a:cubicBezTo>
                  <a:close/>
                  <a:moveTo>
                    <a:pt x="80986" y="5077"/>
                  </a:moveTo>
                  <a:cubicBezTo>
                    <a:pt x="80873" y="5077"/>
                    <a:pt x="80758" y="5147"/>
                    <a:pt x="80741" y="5287"/>
                  </a:cubicBezTo>
                  <a:lnTo>
                    <a:pt x="80741" y="13940"/>
                  </a:lnTo>
                  <a:cubicBezTo>
                    <a:pt x="80758" y="14088"/>
                    <a:pt x="80873" y="14162"/>
                    <a:pt x="80986" y="14162"/>
                  </a:cubicBezTo>
                  <a:cubicBezTo>
                    <a:pt x="81100" y="14162"/>
                    <a:pt x="81211" y="14088"/>
                    <a:pt x="81219" y="13940"/>
                  </a:cubicBezTo>
                  <a:lnTo>
                    <a:pt x="81219" y="5287"/>
                  </a:lnTo>
                  <a:cubicBezTo>
                    <a:pt x="81211" y="5147"/>
                    <a:pt x="81100" y="5077"/>
                    <a:pt x="80986" y="5077"/>
                  </a:cubicBezTo>
                  <a:close/>
                  <a:moveTo>
                    <a:pt x="62694" y="5052"/>
                  </a:moveTo>
                  <a:cubicBezTo>
                    <a:pt x="62579" y="5052"/>
                    <a:pt x="62464" y="5130"/>
                    <a:pt x="62464" y="5287"/>
                  </a:cubicBezTo>
                  <a:lnTo>
                    <a:pt x="62464" y="13940"/>
                  </a:lnTo>
                  <a:cubicBezTo>
                    <a:pt x="62464" y="14096"/>
                    <a:pt x="62583" y="14174"/>
                    <a:pt x="62701" y="14174"/>
                  </a:cubicBezTo>
                  <a:cubicBezTo>
                    <a:pt x="62818" y="14174"/>
                    <a:pt x="62933" y="14096"/>
                    <a:pt x="62925" y="13940"/>
                  </a:cubicBezTo>
                  <a:lnTo>
                    <a:pt x="62925" y="5287"/>
                  </a:lnTo>
                  <a:cubicBezTo>
                    <a:pt x="62925" y="5130"/>
                    <a:pt x="62810" y="5052"/>
                    <a:pt x="62694" y="5052"/>
                  </a:cubicBezTo>
                  <a:close/>
                  <a:moveTo>
                    <a:pt x="4813" y="5077"/>
                  </a:moveTo>
                  <a:cubicBezTo>
                    <a:pt x="4701" y="5077"/>
                    <a:pt x="4590" y="5147"/>
                    <a:pt x="4582" y="5287"/>
                  </a:cubicBezTo>
                  <a:lnTo>
                    <a:pt x="4582" y="13956"/>
                  </a:lnTo>
                  <a:cubicBezTo>
                    <a:pt x="4590" y="14104"/>
                    <a:pt x="4701" y="14178"/>
                    <a:pt x="4813" y="14178"/>
                  </a:cubicBezTo>
                  <a:cubicBezTo>
                    <a:pt x="4924" y="14178"/>
                    <a:pt x="5035" y="14104"/>
                    <a:pt x="5043" y="13956"/>
                  </a:cubicBezTo>
                  <a:lnTo>
                    <a:pt x="5043" y="13940"/>
                  </a:lnTo>
                  <a:lnTo>
                    <a:pt x="5043" y="5287"/>
                  </a:lnTo>
                  <a:cubicBezTo>
                    <a:pt x="5035" y="5147"/>
                    <a:pt x="4924" y="5077"/>
                    <a:pt x="4813" y="5077"/>
                  </a:cubicBezTo>
                  <a:close/>
                  <a:moveTo>
                    <a:pt x="7864" y="5077"/>
                  </a:moveTo>
                  <a:cubicBezTo>
                    <a:pt x="7750" y="5077"/>
                    <a:pt x="7639" y="5147"/>
                    <a:pt x="7631" y="5287"/>
                  </a:cubicBezTo>
                  <a:lnTo>
                    <a:pt x="7631" y="13956"/>
                  </a:lnTo>
                  <a:cubicBezTo>
                    <a:pt x="7639" y="14104"/>
                    <a:pt x="7750" y="14178"/>
                    <a:pt x="7864" y="14178"/>
                  </a:cubicBezTo>
                  <a:cubicBezTo>
                    <a:pt x="7977" y="14178"/>
                    <a:pt x="8092" y="14104"/>
                    <a:pt x="8109" y="13956"/>
                  </a:cubicBezTo>
                  <a:lnTo>
                    <a:pt x="8109" y="13940"/>
                  </a:lnTo>
                  <a:lnTo>
                    <a:pt x="8109" y="5287"/>
                  </a:lnTo>
                  <a:cubicBezTo>
                    <a:pt x="8092" y="5147"/>
                    <a:pt x="7977" y="5077"/>
                    <a:pt x="7864" y="5077"/>
                  </a:cubicBezTo>
                  <a:close/>
                  <a:moveTo>
                    <a:pt x="44409" y="5077"/>
                  </a:moveTo>
                  <a:cubicBezTo>
                    <a:pt x="44297" y="5077"/>
                    <a:pt x="44186" y="5147"/>
                    <a:pt x="44170" y="5287"/>
                  </a:cubicBezTo>
                  <a:lnTo>
                    <a:pt x="44170" y="13956"/>
                  </a:lnTo>
                  <a:cubicBezTo>
                    <a:pt x="44186" y="14104"/>
                    <a:pt x="44297" y="14178"/>
                    <a:pt x="44409" y="14178"/>
                  </a:cubicBezTo>
                  <a:cubicBezTo>
                    <a:pt x="44520" y="14178"/>
                    <a:pt x="44631" y="14104"/>
                    <a:pt x="44648" y="13956"/>
                  </a:cubicBezTo>
                  <a:lnTo>
                    <a:pt x="44648" y="5287"/>
                  </a:lnTo>
                  <a:cubicBezTo>
                    <a:pt x="44631" y="5147"/>
                    <a:pt x="44520" y="5077"/>
                    <a:pt x="44409" y="5077"/>
                  </a:cubicBezTo>
                  <a:close/>
                  <a:moveTo>
                    <a:pt x="47466" y="5077"/>
                  </a:moveTo>
                  <a:cubicBezTo>
                    <a:pt x="47355" y="5077"/>
                    <a:pt x="47243" y="5147"/>
                    <a:pt x="47235" y="5287"/>
                  </a:cubicBezTo>
                  <a:lnTo>
                    <a:pt x="47235" y="13956"/>
                  </a:lnTo>
                  <a:cubicBezTo>
                    <a:pt x="47243" y="14104"/>
                    <a:pt x="47355" y="14178"/>
                    <a:pt x="47466" y="14178"/>
                  </a:cubicBezTo>
                  <a:cubicBezTo>
                    <a:pt x="47577" y="14178"/>
                    <a:pt x="47688" y="14104"/>
                    <a:pt x="47697" y="13956"/>
                  </a:cubicBezTo>
                  <a:lnTo>
                    <a:pt x="47697" y="5287"/>
                  </a:lnTo>
                  <a:cubicBezTo>
                    <a:pt x="47688" y="5147"/>
                    <a:pt x="47577" y="5077"/>
                    <a:pt x="47466" y="5077"/>
                  </a:cubicBezTo>
                  <a:close/>
                  <a:moveTo>
                    <a:pt x="32229" y="4982"/>
                  </a:moveTo>
                  <a:cubicBezTo>
                    <a:pt x="32118" y="4982"/>
                    <a:pt x="32007" y="5056"/>
                    <a:pt x="31990" y="5205"/>
                  </a:cubicBezTo>
                  <a:lnTo>
                    <a:pt x="31990" y="14038"/>
                  </a:lnTo>
                  <a:cubicBezTo>
                    <a:pt x="32007" y="14178"/>
                    <a:pt x="32118" y="14249"/>
                    <a:pt x="32229" y="14249"/>
                  </a:cubicBezTo>
                  <a:cubicBezTo>
                    <a:pt x="32340" y="14249"/>
                    <a:pt x="32452" y="14178"/>
                    <a:pt x="32468" y="14038"/>
                  </a:cubicBezTo>
                  <a:lnTo>
                    <a:pt x="32468" y="5205"/>
                  </a:lnTo>
                  <a:cubicBezTo>
                    <a:pt x="32452" y="5056"/>
                    <a:pt x="32340" y="4982"/>
                    <a:pt x="32229" y="4982"/>
                  </a:cubicBezTo>
                  <a:close/>
                  <a:moveTo>
                    <a:pt x="64225" y="4224"/>
                  </a:moveTo>
                  <a:cubicBezTo>
                    <a:pt x="64112" y="4224"/>
                    <a:pt x="63997" y="4298"/>
                    <a:pt x="63980" y="4446"/>
                  </a:cubicBezTo>
                  <a:lnTo>
                    <a:pt x="63980" y="14797"/>
                  </a:lnTo>
                  <a:cubicBezTo>
                    <a:pt x="63997" y="14937"/>
                    <a:pt x="64112" y="15007"/>
                    <a:pt x="64225" y="15007"/>
                  </a:cubicBezTo>
                  <a:cubicBezTo>
                    <a:pt x="64338" y="15007"/>
                    <a:pt x="64450" y="14937"/>
                    <a:pt x="64458" y="14797"/>
                  </a:cubicBezTo>
                  <a:lnTo>
                    <a:pt x="64458" y="4446"/>
                  </a:lnTo>
                  <a:cubicBezTo>
                    <a:pt x="64450" y="4298"/>
                    <a:pt x="64338" y="4224"/>
                    <a:pt x="64225" y="4224"/>
                  </a:cubicBezTo>
                  <a:close/>
                  <a:moveTo>
                    <a:pt x="79464" y="4224"/>
                  </a:moveTo>
                  <a:cubicBezTo>
                    <a:pt x="79353" y="4224"/>
                    <a:pt x="79242" y="4298"/>
                    <a:pt x="79225" y="4446"/>
                  </a:cubicBezTo>
                  <a:lnTo>
                    <a:pt x="79225" y="14797"/>
                  </a:lnTo>
                  <a:cubicBezTo>
                    <a:pt x="79242" y="14937"/>
                    <a:pt x="79353" y="15007"/>
                    <a:pt x="79464" y="15007"/>
                  </a:cubicBezTo>
                  <a:cubicBezTo>
                    <a:pt x="79575" y="15007"/>
                    <a:pt x="79687" y="14937"/>
                    <a:pt x="79703" y="14797"/>
                  </a:cubicBezTo>
                  <a:lnTo>
                    <a:pt x="79703" y="4446"/>
                  </a:lnTo>
                  <a:cubicBezTo>
                    <a:pt x="79687" y="4298"/>
                    <a:pt x="79575" y="4224"/>
                    <a:pt x="79464" y="4224"/>
                  </a:cubicBezTo>
                  <a:close/>
                  <a:moveTo>
                    <a:pt x="6337" y="4224"/>
                  </a:moveTo>
                  <a:cubicBezTo>
                    <a:pt x="6226" y="4224"/>
                    <a:pt x="6115" y="4298"/>
                    <a:pt x="6098" y="4446"/>
                  </a:cubicBezTo>
                  <a:lnTo>
                    <a:pt x="6098" y="14813"/>
                  </a:lnTo>
                  <a:cubicBezTo>
                    <a:pt x="6115" y="14953"/>
                    <a:pt x="6226" y="15023"/>
                    <a:pt x="6337" y="15023"/>
                  </a:cubicBezTo>
                  <a:cubicBezTo>
                    <a:pt x="6448" y="15023"/>
                    <a:pt x="6560" y="14953"/>
                    <a:pt x="6576" y="14813"/>
                  </a:cubicBezTo>
                  <a:lnTo>
                    <a:pt x="6576" y="14797"/>
                  </a:lnTo>
                  <a:lnTo>
                    <a:pt x="6576" y="4446"/>
                  </a:lnTo>
                  <a:cubicBezTo>
                    <a:pt x="6560" y="4298"/>
                    <a:pt x="6448" y="4224"/>
                    <a:pt x="6337" y="4224"/>
                  </a:cubicBezTo>
                  <a:close/>
                  <a:moveTo>
                    <a:pt x="45941" y="4224"/>
                  </a:moveTo>
                  <a:cubicBezTo>
                    <a:pt x="45830" y="4224"/>
                    <a:pt x="45719" y="4298"/>
                    <a:pt x="45702" y="4446"/>
                  </a:cubicBezTo>
                  <a:lnTo>
                    <a:pt x="45702" y="14813"/>
                  </a:lnTo>
                  <a:cubicBezTo>
                    <a:pt x="45719" y="14953"/>
                    <a:pt x="45830" y="15023"/>
                    <a:pt x="45941" y="15023"/>
                  </a:cubicBezTo>
                  <a:cubicBezTo>
                    <a:pt x="46053" y="15023"/>
                    <a:pt x="46164" y="14953"/>
                    <a:pt x="46180" y="14813"/>
                  </a:cubicBezTo>
                  <a:lnTo>
                    <a:pt x="46180" y="4446"/>
                  </a:lnTo>
                  <a:cubicBezTo>
                    <a:pt x="46164" y="4298"/>
                    <a:pt x="46053" y="4224"/>
                    <a:pt x="45941" y="4224"/>
                  </a:cubicBezTo>
                  <a:close/>
                  <a:moveTo>
                    <a:pt x="26131" y="4010"/>
                  </a:moveTo>
                  <a:cubicBezTo>
                    <a:pt x="26020" y="4010"/>
                    <a:pt x="25909" y="4084"/>
                    <a:pt x="25892" y="4232"/>
                  </a:cubicBezTo>
                  <a:lnTo>
                    <a:pt x="25892" y="14978"/>
                  </a:lnTo>
                  <a:cubicBezTo>
                    <a:pt x="25909" y="15126"/>
                    <a:pt x="26020" y="15200"/>
                    <a:pt x="26131" y="15200"/>
                  </a:cubicBezTo>
                  <a:cubicBezTo>
                    <a:pt x="26242" y="15200"/>
                    <a:pt x="26354" y="15126"/>
                    <a:pt x="26370" y="14978"/>
                  </a:cubicBezTo>
                  <a:lnTo>
                    <a:pt x="26370" y="4232"/>
                  </a:lnTo>
                  <a:cubicBezTo>
                    <a:pt x="26354" y="4084"/>
                    <a:pt x="26242" y="4010"/>
                    <a:pt x="26131" y="4010"/>
                  </a:cubicBezTo>
                  <a:close/>
                  <a:moveTo>
                    <a:pt x="17001" y="4026"/>
                  </a:moveTo>
                  <a:cubicBezTo>
                    <a:pt x="16889" y="4026"/>
                    <a:pt x="16778" y="4100"/>
                    <a:pt x="16762" y="4249"/>
                  </a:cubicBezTo>
                  <a:lnTo>
                    <a:pt x="16762" y="14994"/>
                  </a:lnTo>
                  <a:cubicBezTo>
                    <a:pt x="16778" y="15143"/>
                    <a:pt x="16889" y="15217"/>
                    <a:pt x="17001" y="15217"/>
                  </a:cubicBezTo>
                  <a:cubicBezTo>
                    <a:pt x="17112" y="15217"/>
                    <a:pt x="17223" y="15143"/>
                    <a:pt x="17240" y="14994"/>
                  </a:cubicBezTo>
                  <a:lnTo>
                    <a:pt x="17240" y="4249"/>
                  </a:lnTo>
                  <a:cubicBezTo>
                    <a:pt x="17223" y="4100"/>
                    <a:pt x="17112" y="4026"/>
                    <a:pt x="17001" y="4026"/>
                  </a:cubicBezTo>
                  <a:close/>
                  <a:moveTo>
                    <a:pt x="24615" y="2477"/>
                  </a:moveTo>
                  <a:cubicBezTo>
                    <a:pt x="24504" y="2477"/>
                    <a:pt x="24392" y="2551"/>
                    <a:pt x="24376" y="2699"/>
                  </a:cubicBezTo>
                  <a:lnTo>
                    <a:pt x="24376" y="16527"/>
                  </a:lnTo>
                  <a:cubicBezTo>
                    <a:pt x="24392" y="16667"/>
                    <a:pt x="24504" y="16737"/>
                    <a:pt x="24615" y="16737"/>
                  </a:cubicBezTo>
                  <a:cubicBezTo>
                    <a:pt x="24726" y="16737"/>
                    <a:pt x="24837" y="16667"/>
                    <a:pt x="24854" y="16527"/>
                  </a:cubicBezTo>
                  <a:lnTo>
                    <a:pt x="24854" y="2699"/>
                  </a:lnTo>
                  <a:cubicBezTo>
                    <a:pt x="24837" y="2551"/>
                    <a:pt x="24726" y="2477"/>
                    <a:pt x="24615" y="2477"/>
                  </a:cubicBezTo>
                  <a:close/>
                  <a:moveTo>
                    <a:pt x="18523" y="2489"/>
                  </a:moveTo>
                  <a:cubicBezTo>
                    <a:pt x="18410" y="2489"/>
                    <a:pt x="18294" y="2559"/>
                    <a:pt x="18278" y="2699"/>
                  </a:cubicBezTo>
                  <a:lnTo>
                    <a:pt x="18278" y="16527"/>
                  </a:lnTo>
                  <a:cubicBezTo>
                    <a:pt x="18294" y="16675"/>
                    <a:pt x="18410" y="16750"/>
                    <a:pt x="18523" y="16750"/>
                  </a:cubicBezTo>
                  <a:cubicBezTo>
                    <a:pt x="18636" y="16750"/>
                    <a:pt x="18748" y="16675"/>
                    <a:pt x="18756" y="16527"/>
                  </a:cubicBezTo>
                  <a:lnTo>
                    <a:pt x="18756" y="2699"/>
                  </a:lnTo>
                  <a:cubicBezTo>
                    <a:pt x="18748" y="2559"/>
                    <a:pt x="18636" y="2489"/>
                    <a:pt x="18523" y="2489"/>
                  </a:cubicBezTo>
                  <a:close/>
                  <a:moveTo>
                    <a:pt x="23088" y="1538"/>
                  </a:moveTo>
                  <a:cubicBezTo>
                    <a:pt x="22975" y="1538"/>
                    <a:pt x="22860" y="1612"/>
                    <a:pt x="22843" y="1760"/>
                  </a:cubicBezTo>
                  <a:lnTo>
                    <a:pt x="22843" y="17483"/>
                  </a:lnTo>
                  <a:cubicBezTo>
                    <a:pt x="22860" y="17623"/>
                    <a:pt x="22975" y="17693"/>
                    <a:pt x="23088" y="17693"/>
                  </a:cubicBezTo>
                  <a:cubicBezTo>
                    <a:pt x="23202" y="17693"/>
                    <a:pt x="23313" y="17623"/>
                    <a:pt x="23321" y="17483"/>
                  </a:cubicBezTo>
                  <a:lnTo>
                    <a:pt x="23321" y="1760"/>
                  </a:lnTo>
                  <a:cubicBezTo>
                    <a:pt x="23313" y="1612"/>
                    <a:pt x="23202" y="1538"/>
                    <a:pt x="23088" y="1538"/>
                  </a:cubicBezTo>
                  <a:close/>
                  <a:moveTo>
                    <a:pt x="20043" y="1538"/>
                  </a:moveTo>
                  <a:cubicBezTo>
                    <a:pt x="19930" y="1538"/>
                    <a:pt x="19819" y="1612"/>
                    <a:pt x="19811" y="1760"/>
                  </a:cubicBezTo>
                  <a:lnTo>
                    <a:pt x="19811" y="17483"/>
                  </a:lnTo>
                  <a:cubicBezTo>
                    <a:pt x="19819" y="17631"/>
                    <a:pt x="19930" y="17705"/>
                    <a:pt x="20043" y="17705"/>
                  </a:cubicBezTo>
                  <a:cubicBezTo>
                    <a:pt x="20157" y="17705"/>
                    <a:pt x="20272" y="17631"/>
                    <a:pt x="20289" y="17483"/>
                  </a:cubicBezTo>
                  <a:lnTo>
                    <a:pt x="20289" y="1760"/>
                  </a:lnTo>
                  <a:cubicBezTo>
                    <a:pt x="20272" y="1612"/>
                    <a:pt x="20157" y="1538"/>
                    <a:pt x="20043" y="1538"/>
                  </a:cubicBezTo>
                  <a:close/>
                  <a:moveTo>
                    <a:pt x="21566" y="1"/>
                  </a:moveTo>
                  <a:cubicBezTo>
                    <a:pt x="21455" y="1"/>
                    <a:pt x="21343" y="71"/>
                    <a:pt x="21327" y="211"/>
                  </a:cubicBezTo>
                  <a:lnTo>
                    <a:pt x="21327" y="19016"/>
                  </a:lnTo>
                  <a:cubicBezTo>
                    <a:pt x="21343" y="19164"/>
                    <a:pt x="21455" y="19238"/>
                    <a:pt x="21566" y="19238"/>
                  </a:cubicBezTo>
                  <a:cubicBezTo>
                    <a:pt x="21677" y="19238"/>
                    <a:pt x="21788" y="19164"/>
                    <a:pt x="21805" y="19016"/>
                  </a:cubicBezTo>
                  <a:lnTo>
                    <a:pt x="21805" y="211"/>
                  </a:lnTo>
                  <a:cubicBezTo>
                    <a:pt x="21788" y="71"/>
                    <a:pt x="21677" y="1"/>
                    <a:pt x="21566"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67" name="Google Shape;1567;p48"/>
          <p:cNvGrpSpPr/>
          <p:nvPr/>
        </p:nvGrpSpPr>
        <p:grpSpPr>
          <a:xfrm>
            <a:off x="6044762" y="3020260"/>
            <a:ext cx="2069811" cy="1553187"/>
            <a:chOff x="3139200" y="4215125"/>
            <a:chExt cx="1046575" cy="785350"/>
          </a:xfrm>
        </p:grpSpPr>
        <p:sp>
          <p:nvSpPr>
            <p:cNvPr id="1568" name="Google Shape;1568;p48"/>
            <p:cNvSpPr/>
            <p:nvPr/>
          </p:nvSpPr>
          <p:spPr>
            <a:xfrm>
              <a:off x="3273525" y="4573575"/>
              <a:ext cx="315225" cy="77325"/>
            </a:xfrm>
            <a:custGeom>
              <a:avLst/>
              <a:gdLst/>
              <a:ahLst/>
              <a:cxnLst/>
              <a:rect l="l" t="t" r="r" b="b"/>
              <a:pathLst>
                <a:path w="12609" h="3093" extrusionOk="0">
                  <a:moveTo>
                    <a:pt x="2061" y="1"/>
                  </a:moveTo>
                  <a:cubicBezTo>
                    <a:pt x="693" y="1"/>
                    <a:pt x="1" y="1665"/>
                    <a:pt x="973" y="2638"/>
                  </a:cubicBezTo>
                  <a:cubicBezTo>
                    <a:pt x="1287" y="2952"/>
                    <a:pt x="1672" y="3092"/>
                    <a:pt x="2049" y="3092"/>
                  </a:cubicBezTo>
                  <a:cubicBezTo>
                    <a:pt x="2840" y="3092"/>
                    <a:pt x="3599"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297" y="2952"/>
                    <a:pt x="10680" y="3092"/>
                    <a:pt x="11057" y="3092"/>
                  </a:cubicBezTo>
                  <a:cubicBezTo>
                    <a:pt x="11846" y="3092"/>
                    <a:pt x="12609" y="2476"/>
                    <a:pt x="12609" y="1550"/>
                  </a:cubicBezTo>
                  <a:cubicBezTo>
                    <a:pt x="12609" y="693"/>
                    <a:pt x="11933" y="1"/>
                    <a:pt x="11076"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8"/>
            <p:cNvSpPr/>
            <p:nvPr/>
          </p:nvSpPr>
          <p:spPr>
            <a:xfrm>
              <a:off x="3273525" y="4312775"/>
              <a:ext cx="653500" cy="77300"/>
            </a:xfrm>
            <a:custGeom>
              <a:avLst/>
              <a:gdLst/>
              <a:ahLst/>
              <a:cxnLst/>
              <a:rect l="l" t="t" r="r" b="b"/>
              <a:pathLst>
                <a:path w="26140" h="3092" extrusionOk="0">
                  <a:moveTo>
                    <a:pt x="2061" y="0"/>
                  </a:moveTo>
                  <a:cubicBezTo>
                    <a:pt x="693" y="0"/>
                    <a:pt x="1" y="1665"/>
                    <a:pt x="973" y="2637"/>
                  </a:cubicBezTo>
                  <a:cubicBezTo>
                    <a:pt x="1287" y="2951"/>
                    <a:pt x="1674" y="3092"/>
                    <a:pt x="2053" y="3092"/>
                  </a:cubicBezTo>
                  <a:cubicBezTo>
                    <a:pt x="2847" y="3092"/>
                    <a:pt x="3610" y="2475"/>
                    <a:pt x="3610" y="1549"/>
                  </a:cubicBezTo>
                  <a:cubicBezTo>
                    <a:pt x="3610" y="692"/>
                    <a:pt x="2918" y="0"/>
                    <a:pt x="2061" y="0"/>
                  </a:cubicBezTo>
                  <a:close/>
                  <a:moveTo>
                    <a:pt x="6560" y="0"/>
                  </a:moveTo>
                  <a:cubicBezTo>
                    <a:pt x="5192" y="0"/>
                    <a:pt x="4500" y="1665"/>
                    <a:pt x="5472" y="2637"/>
                  </a:cubicBezTo>
                  <a:cubicBezTo>
                    <a:pt x="5786" y="2951"/>
                    <a:pt x="6173" y="3092"/>
                    <a:pt x="6552" y="3092"/>
                  </a:cubicBezTo>
                  <a:cubicBezTo>
                    <a:pt x="7347" y="3092"/>
                    <a:pt x="8109" y="2475"/>
                    <a:pt x="8109" y="1549"/>
                  </a:cubicBezTo>
                  <a:cubicBezTo>
                    <a:pt x="8109" y="692"/>
                    <a:pt x="7417" y="0"/>
                    <a:pt x="6560" y="0"/>
                  </a:cubicBezTo>
                  <a:close/>
                  <a:moveTo>
                    <a:pt x="11076" y="0"/>
                  </a:moveTo>
                  <a:cubicBezTo>
                    <a:pt x="9691" y="0"/>
                    <a:pt x="9016" y="1665"/>
                    <a:pt x="9988" y="2637"/>
                  </a:cubicBezTo>
                  <a:cubicBezTo>
                    <a:pt x="10302" y="2951"/>
                    <a:pt x="10687" y="3092"/>
                    <a:pt x="11064" y="3092"/>
                  </a:cubicBezTo>
                  <a:cubicBezTo>
                    <a:pt x="11853" y="3092"/>
                    <a:pt x="12609" y="2475"/>
                    <a:pt x="12609" y="1549"/>
                  </a:cubicBezTo>
                  <a:cubicBezTo>
                    <a:pt x="12609" y="692"/>
                    <a:pt x="11933" y="0"/>
                    <a:pt x="11076" y="0"/>
                  </a:cubicBezTo>
                  <a:close/>
                  <a:moveTo>
                    <a:pt x="15575" y="0"/>
                  </a:moveTo>
                  <a:cubicBezTo>
                    <a:pt x="14207" y="0"/>
                    <a:pt x="13515" y="1665"/>
                    <a:pt x="14487" y="2637"/>
                  </a:cubicBezTo>
                  <a:cubicBezTo>
                    <a:pt x="14802" y="2951"/>
                    <a:pt x="15188" y="3092"/>
                    <a:pt x="15567" y="3092"/>
                  </a:cubicBezTo>
                  <a:cubicBezTo>
                    <a:pt x="16362" y="3092"/>
                    <a:pt x="17124" y="2475"/>
                    <a:pt x="17124" y="1549"/>
                  </a:cubicBezTo>
                  <a:cubicBezTo>
                    <a:pt x="17124" y="692"/>
                    <a:pt x="16432" y="0"/>
                    <a:pt x="15592" y="0"/>
                  </a:cubicBezTo>
                  <a:close/>
                  <a:moveTo>
                    <a:pt x="20091" y="0"/>
                  </a:moveTo>
                  <a:cubicBezTo>
                    <a:pt x="18707" y="0"/>
                    <a:pt x="18031" y="1665"/>
                    <a:pt x="19003" y="2637"/>
                  </a:cubicBezTo>
                  <a:cubicBezTo>
                    <a:pt x="19317" y="2951"/>
                    <a:pt x="19702" y="3092"/>
                    <a:pt x="20079" y="3092"/>
                  </a:cubicBezTo>
                  <a:cubicBezTo>
                    <a:pt x="20869" y="3092"/>
                    <a:pt x="21624" y="2475"/>
                    <a:pt x="21624" y="1549"/>
                  </a:cubicBezTo>
                  <a:cubicBezTo>
                    <a:pt x="21624" y="692"/>
                    <a:pt x="20948" y="0"/>
                    <a:pt x="20091" y="0"/>
                  </a:cubicBezTo>
                  <a:close/>
                  <a:moveTo>
                    <a:pt x="24590" y="0"/>
                  </a:moveTo>
                  <a:cubicBezTo>
                    <a:pt x="23222" y="0"/>
                    <a:pt x="22530" y="1665"/>
                    <a:pt x="23503" y="2637"/>
                  </a:cubicBezTo>
                  <a:cubicBezTo>
                    <a:pt x="23817" y="2951"/>
                    <a:pt x="24203" y="3092"/>
                    <a:pt x="24582" y="3092"/>
                  </a:cubicBezTo>
                  <a:cubicBezTo>
                    <a:pt x="25377" y="3092"/>
                    <a:pt x="26140" y="2475"/>
                    <a:pt x="26140" y="1549"/>
                  </a:cubicBezTo>
                  <a:cubicBezTo>
                    <a:pt x="26140" y="692"/>
                    <a:pt x="25447" y="0"/>
                    <a:pt x="24590" y="0"/>
                  </a:cubicBezTo>
                  <a:close/>
                </a:path>
              </a:pathLst>
            </a:custGeom>
            <a:solidFill>
              <a:srgbClr val="E898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8"/>
            <p:cNvSpPr/>
            <p:nvPr/>
          </p:nvSpPr>
          <p:spPr>
            <a:xfrm>
              <a:off x="3273525" y="4721900"/>
              <a:ext cx="540600" cy="77325"/>
            </a:xfrm>
            <a:custGeom>
              <a:avLst/>
              <a:gdLst/>
              <a:ahLst/>
              <a:cxnLst/>
              <a:rect l="l" t="t" r="r" b="b"/>
              <a:pathLst>
                <a:path w="21624" h="3093" extrusionOk="0">
                  <a:moveTo>
                    <a:pt x="2061" y="1"/>
                  </a:moveTo>
                  <a:cubicBezTo>
                    <a:pt x="693" y="1"/>
                    <a:pt x="1" y="1665"/>
                    <a:pt x="973" y="2638"/>
                  </a:cubicBezTo>
                  <a:cubicBezTo>
                    <a:pt x="1287" y="2952"/>
                    <a:pt x="1674" y="3092"/>
                    <a:pt x="2053" y="3092"/>
                  </a:cubicBezTo>
                  <a:cubicBezTo>
                    <a:pt x="2847" y="3092"/>
                    <a:pt x="3610" y="2476"/>
                    <a:pt x="3610" y="1550"/>
                  </a:cubicBezTo>
                  <a:cubicBezTo>
                    <a:pt x="3610" y="693"/>
                    <a:pt x="2918" y="1"/>
                    <a:pt x="2061" y="1"/>
                  </a:cubicBezTo>
                  <a:close/>
                  <a:moveTo>
                    <a:pt x="6560" y="1"/>
                  </a:moveTo>
                  <a:cubicBezTo>
                    <a:pt x="5192" y="1"/>
                    <a:pt x="4500" y="1665"/>
                    <a:pt x="5472" y="2638"/>
                  </a:cubicBezTo>
                  <a:cubicBezTo>
                    <a:pt x="5786" y="2952"/>
                    <a:pt x="6173" y="3092"/>
                    <a:pt x="6552" y="3092"/>
                  </a:cubicBezTo>
                  <a:cubicBezTo>
                    <a:pt x="7347" y="3092"/>
                    <a:pt x="8109" y="2476"/>
                    <a:pt x="8109" y="1550"/>
                  </a:cubicBezTo>
                  <a:cubicBezTo>
                    <a:pt x="8109" y="693"/>
                    <a:pt x="7417" y="1"/>
                    <a:pt x="6560" y="1"/>
                  </a:cubicBezTo>
                  <a:close/>
                  <a:moveTo>
                    <a:pt x="11076" y="1"/>
                  </a:moveTo>
                  <a:cubicBezTo>
                    <a:pt x="9691" y="1"/>
                    <a:pt x="9016" y="1665"/>
                    <a:pt x="9988" y="2638"/>
                  </a:cubicBezTo>
                  <a:cubicBezTo>
                    <a:pt x="10302" y="2952"/>
                    <a:pt x="10687" y="3092"/>
                    <a:pt x="11064" y="3092"/>
                  </a:cubicBezTo>
                  <a:cubicBezTo>
                    <a:pt x="11853" y="3092"/>
                    <a:pt x="12609" y="2476"/>
                    <a:pt x="12609" y="1550"/>
                  </a:cubicBezTo>
                  <a:cubicBezTo>
                    <a:pt x="12609" y="693"/>
                    <a:pt x="11933" y="1"/>
                    <a:pt x="11076" y="1"/>
                  </a:cubicBezTo>
                  <a:close/>
                  <a:moveTo>
                    <a:pt x="15575" y="1"/>
                  </a:moveTo>
                  <a:cubicBezTo>
                    <a:pt x="14207" y="1"/>
                    <a:pt x="13515" y="1665"/>
                    <a:pt x="14487" y="2638"/>
                  </a:cubicBezTo>
                  <a:cubicBezTo>
                    <a:pt x="14802" y="2952"/>
                    <a:pt x="15188" y="3092"/>
                    <a:pt x="15567" y="3092"/>
                  </a:cubicBezTo>
                  <a:cubicBezTo>
                    <a:pt x="16362" y="3092"/>
                    <a:pt x="17124" y="2476"/>
                    <a:pt x="17124" y="1550"/>
                  </a:cubicBezTo>
                  <a:cubicBezTo>
                    <a:pt x="17124" y="693"/>
                    <a:pt x="16432" y="1"/>
                    <a:pt x="15592" y="1"/>
                  </a:cubicBezTo>
                  <a:close/>
                  <a:moveTo>
                    <a:pt x="20091" y="1"/>
                  </a:moveTo>
                  <a:cubicBezTo>
                    <a:pt x="18707" y="1"/>
                    <a:pt x="18031" y="1665"/>
                    <a:pt x="19003" y="2638"/>
                  </a:cubicBezTo>
                  <a:cubicBezTo>
                    <a:pt x="19317" y="2952"/>
                    <a:pt x="19702" y="3092"/>
                    <a:pt x="20079" y="3092"/>
                  </a:cubicBezTo>
                  <a:cubicBezTo>
                    <a:pt x="20869" y="3092"/>
                    <a:pt x="21624" y="2476"/>
                    <a:pt x="21624" y="1550"/>
                  </a:cubicBezTo>
                  <a:cubicBezTo>
                    <a:pt x="21624" y="693"/>
                    <a:pt x="20948" y="1"/>
                    <a:pt x="20091" y="1"/>
                  </a:cubicBezTo>
                  <a:close/>
                </a:path>
              </a:pathLst>
            </a:custGeom>
            <a:solidFill>
              <a:srgbClr val="00CF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8"/>
            <p:cNvSpPr/>
            <p:nvPr/>
          </p:nvSpPr>
          <p:spPr>
            <a:xfrm>
              <a:off x="3273525" y="4443375"/>
              <a:ext cx="902375" cy="77300"/>
            </a:xfrm>
            <a:custGeom>
              <a:avLst/>
              <a:gdLst/>
              <a:ahLst/>
              <a:cxnLst/>
              <a:rect l="l" t="t" r="r" b="b"/>
              <a:pathLst>
                <a:path w="36095" h="3092" extrusionOk="0">
                  <a:moveTo>
                    <a:pt x="2061" y="1"/>
                  </a:moveTo>
                  <a:cubicBezTo>
                    <a:pt x="693" y="1"/>
                    <a:pt x="1" y="1649"/>
                    <a:pt x="973" y="2638"/>
                  </a:cubicBezTo>
                  <a:cubicBezTo>
                    <a:pt x="1286" y="2951"/>
                    <a:pt x="1670" y="3092"/>
                    <a:pt x="2047" y="3092"/>
                  </a:cubicBezTo>
                  <a:cubicBezTo>
                    <a:pt x="2839" y="3092"/>
                    <a:pt x="3599" y="2471"/>
                    <a:pt x="3610" y="1533"/>
                  </a:cubicBezTo>
                  <a:cubicBezTo>
                    <a:pt x="3610" y="693"/>
                    <a:pt x="2918" y="1"/>
                    <a:pt x="2061" y="1"/>
                  </a:cubicBezTo>
                  <a:close/>
                  <a:moveTo>
                    <a:pt x="6692" y="1"/>
                  </a:moveTo>
                  <a:cubicBezTo>
                    <a:pt x="5324" y="1"/>
                    <a:pt x="4632" y="1665"/>
                    <a:pt x="5604" y="2638"/>
                  </a:cubicBezTo>
                  <a:cubicBezTo>
                    <a:pt x="5918" y="2951"/>
                    <a:pt x="6303" y="3092"/>
                    <a:pt x="6682" y="3092"/>
                  </a:cubicBezTo>
                  <a:cubicBezTo>
                    <a:pt x="7477" y="3092"/>
                    <a:pt x="8241" y="2471"/>
                    <a:pt x="8241" y="1533"/>
                  </a:cubicBezTo>
                  <a:cubicBezTo>
                    <a:pt x="8241" y="693"/>
                    <a:pt x="7549" y="1"/>
                    <a:pt x="6708" y="1"/>
                  </a:cubicBezTo>
                  <a:close/>
                  <a:moveTo>
                    <a:pt x="11340" y="1"/>
                  </a:moveTo>
                  <a:cubicBezTo>
                    <a:pt x="9955" y="1"/>
                    <a:pt x="9263" y="1649"/>
                    <a:pt x="10235" y="2638"/>
                  </a:cubicBezTo>
                  <a:cubicBezTo>
                    <a:pt x="10549" y="2951"/>
                    <a:pt x="10934" y="3092"/>
                    <a:pt x="11313" y="3092"/>
                  </a:cubicBezTo>
                  <a:cubicBezTo>
                    <a:pt x="12108" y="3092"/>
                    <a:pt x="12872" y="2471"/>
                    <a:pt x="12872" y="1533"/>
                  </a:cubicBezTo>
                  <a:cubicBezTo>
                    <a:pt x="12872" y="693"/>
                    <a:pt x="12197" y="1"/>
                    <a:pt x="11340" y="1"/>
                  </a:cubicBezTo>
                  <a:close/>
                  <a:moveTo>
                    <a:pt x="15971" y="1"/>
                  </a:moveTo>
                  <a:cubicBezTo>
                    <a:pt x="14603" y="1"/>
                    <a:pt x="13911" y="1665"/>
                    <a:pt x="14883" y="2638"/>
                  </a:cubicBezTo>
                  <a:cubicBezTo>
                    <a:pt x="15197" y="2951"/>
                    <a:pt x="15582" y="3092"/>
                    <a:pt x="15961" y="3092"/>
                  </a:cubicBezTo>
                  <a:cubicBezTo>
                    <a:pt x="16756" y="3092"/>
                    <a:pt x="17520" y="2471"/>
                    <a:pt x="17520" y="1533"/>
                  </a:cubicBezTo>
                  <a:cubicBezTo>
                    <a:pt x="17520" y="693"/>
                    <a:pt x="16844" y="1"/>
                    <a:pt x="16004" y="1"/>
                  </a:cubicBezTo>
                  <a:close/>
                  <a:moveTo>
                    <a:pt x="20618" y="1"/>
                  </a:moveTo>
                  <a:cubicBezTo>
                    <a:pt x="19251" y="1"/>
                    <a:pt x="18558" y="1649"/>
                    <a:pt x="19531" y="2638"/>
                  </a:cubicBezTo>
                  <a:cubicBezTo>
                    <a:pt x="19844" y="2951"/>
                    <a:pt x="20230" y="3092"/>
                    <a:pt x="20608" y="3092"/>
                  </a:cubicBezTo>
                  <a:cubicBezTo>
                    <a:pt x="21404" y="3092"/>
                    <a:pt x="22168" y="2471"/>
                    <a:pt x="22168" y="1533"/>
                  </a:cubicBezTo>
                  <a:cubicBezTo>
                    <a:pt x="22168" y="693"/>
                    <a:pt x="21475" y="1"/>
                    <a:pt x="20635" y="1"/>
                  </a:cubicBezTo>
                  <a:close/>
                  <a:moveTo>
                    <a:pt x="25266" y="1"/>
                  </a:moveTo>
                  <a:cubicBezTo>
                    <a:pt x="23882" y="1"/>
                    <a:pt x="23206" y="1665"/>
                    <a:pt x="24178" y="2638"/>
                  </a:cubicBezTo>
                  <a:cubicBezTo>
                    <a:pt x="24492" y="2951"/>
                    <a:pt x="24876" y="3092"/>
                    <a:pt x="25252" y="3092"/>
                  </a:cubicBezTo>
                  <a:cubicBezTo>
                    <a:pt x="26042" y="3092"/>
                    <a:pt x="26799" y="2471"/>
                    <a:pt x="26799" y="1533"/>
                  </a:cubicBezTo>
                  <a:cubicBezTo>
                    <a:pt x="26799" y="693"/>
                    <a:pt x="26123" y="1"/>
                    <a:pt x="25266" y="1"/>
                  </a:cubicBezTo>
                  <a:close/>
                  <a:moveTo>
                    <a:pt x="29897" y="1"/>
                  </a:moveTo>
                  <a:cubicBezTo>
                    <a:pt x="28529" y="1"/>
                    <a:pt x="27837" y="1649"/>
                    <a:pt x="28810" y="2638"/>
                  </a:cubicBezTo>
                  <a:cubicBezTo>
                    <a:pt x="29123" y="2951"/>
                    <a:pt x="29509" y="3092"/>
                    <a:pt x="29887" y="3092"/>
                  </a:cubicBezTo>
                  <a:cubicBezTo>
                    <a:pt x="30682" y="3092"/>
                    <a:pt x="31447" y="2471"/>
                    <a:pt x="31447" y="1533"/>
                  </a:cubicBezTo>
                  <a:cubicBezTo>
                    <a:pt x="31447" y="693"/>
                    <a:pt x="30771" y="1"/>
                    <a:pt x="29914" y="1"/>
                  </a:cubicBezTo>
                  <a:close/>
                  <a:moveTo>
                    <a:pt x="34545" y="1"/>
                  </a:moveTo>
                  <a:cubicBezTo>
                    <a:pt x="33177" y="1"/>
                    <a:pt x="32485" y="1665"/>
                    <a:pt x="33457" y="2638"/>
                  </a:cubicBezTo>
                  <a:cubicBezTo>
                    <a:pt x="33771" y="2951"/>
                    <a:pt x="34156" y="3092"/>
                    <a:pt x="34535" y="3092"/>
                  </a:cubicBezTo>
                  <a:cubicBezTo>
                    <a:pt x="35330" y="3092"/>
                    <a:pt x="36094" y="2471"/>
                    <a:pt x="36094" y="1533"/>
                  </a:cubicBezTo>
                  <a:cubicBezTo>
                    <a:pt x="36094" y="693"/>
                    <a:pt x="35402" y="1"/>
                    <a:pt x="34562" y="1"/>
                  </a:cubicBezTo>
                  <a:close/>
                </a:path>
              </a:pathLst>
            </a:custGeom>
            <a:solidFill>
              <a:srgbClr val="FF99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8"/>
            <p:cNvSpPr/>
            <p:nvPr/>
          </p:nvSpPr>
          <p:spPr>
            <a:xfrm>
              <a:off x="3139200" y="4881775"/>
              <a:ext cx="1046575" cy="3725"/>
            </a:xfrm>
            <a:custGeom>
              <a:avLst/>
              <a:gdLst/>
              <a:ahLst/>
              <a:cxnLst/>
              <a:rect l="l" t="t" r="r" b="b"/>
              <a:pathLst>
                <a:path w="41863" h="149" extrusionOk="0">
                  <a:moveTo>
                    <a:pt x="1" y="1"/>
                  </a:moveTo>
                  <a:lnTo>
                    <a:pt x="1" y="149"/>
                  </a:lnTo>
                  <a:lnTo>
                    <a:pt x="41863" y="149"/>
                  </a:lnTo>
                  <a:lnTo>
                    <a:pt x="418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48"/>
            <p:cNvSpPr/>
            <p:nvPr/>
          </p:nvSpPr>
          <p:spPr>
            <a:xfrm>
              <a:off x="3182050" y="4215125"/>
              <a:ext cx="4150" cy="721475"/>
            </a:xfrm>
            <a:custGeom>
              <a:avLst/>
              <a:gdLst/>
              <a:ahLst/>
              <a:cxnLst/>
              <a:rect l="l" t="t" r="r" b="b"/>
              <a:pathLst>
                <a:path w="166" h="28859" extrusionOk="0">
                  <a:moveTo>
                    <a:pt x="1" y="0"/>
                  </a:moveTo>
                  <a:lnTo>
                    <a:pt x="1" y="28859"/>
                  </a:lnTo>
                  <a:lnTo>
                    <a:pt x="166" y="28859"/>
                  </a:lnTo>
                  <a:lnTo>
                    <a:pt x="16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48"/>
            <p:cNvSpPr/>
            <p:nvPr/>
          </p:nvSpPr>
          <p:spPr>
            <a:xfrm>
              <a:off x="3293300" y="4966250"/>
              <a:ext cx="22700" cy="34225"/>
            </a:xfrm>
            <a:custGeom>
              <a:avLst/>
              <a:gdLst/>
              <a:ahLst/>
              <a:cxnLst/>
              <a:rect l="l" t="t" r="r" b="b"/>
              <a:pathLst>
                <a:path w="908" h="1369" extrusionOk="0">
                  <a:moveTo>
                    <a:pt x="462" y="132"/>
                  </a:moveTo>
                  <a:cubicBezTo>
                    <a:pt x="545" y="132"/>
                    <a:pt x="627" y="181"/>
                    <a:pt x="660" y="280"/>
                  </a:cubicBezTo>
                  <a:cubicBezTo>
                    <a:pt x="709" y="363"/>
                    <a:pt x="742" y="495"/>
                    <a:pt x="742" y="676"/>
                  </a:cubicBezTo>
                  <a:cubicBezTo>
                    <a:pt x="742" y="857"/>
                    <a:pt x="709" y="1006"/>
                    <a:pt x="660" y="1088"/>
                  </a:cubicBezTo>
                  <a:cubicBezTo>
                    <a:pt x="627" y="1187"/>
                    <a:pt x="545" y="1220"/>
                    <a:pt x="462" y="1220"/>
                  </a:cubicBezTo>
                  <a:cubicBezTo>
                    <a:pt x="363" y="1220"/>
                    <a:pt x="297" y="1187"/>
                    <a:pt x="248" y="1088"/>
                  </a:cubicBezTo>
                  <a:cubicBezTo>
                    <a:pt x="198" y="1006"/>
                    <a:pt x="182" y="857"/>
                    <a:pt x="182" y="676"/>
                  </a:cubicBezTo>
                  <a:cubicBezTo>
                    <a:pt x="182" y="495"/>
                    <a:pt x="198" y="363"/>
                    <a:pt x="248" y="280"/>
                  </a:cubicBezTo>
                  <a:cubicBezTo>
                    <a:pt x="297" y="181"/>
                    <a:pt x="363" y="132"/>
                    <a:pt x="462" y="132"/>
                  </a:cubicBezTo>
                  <a:close/>
                  <a:moveTo>
                    <a:pt x="462" y="0"/>
                  </a:moveTo>
                  <a:cubicBezTo>
                    <a:pt x="314" y="0"/>
                    <a:pt x="198" y="50"/>
                    <a:pt x="116" y="181"/>
                  </a:cubicBezTo>
                  <a:cubicBezTo>
                    <a:pt x="34" y="297"/>
                    <a:pt x="1" y="462"/>
                    <a:pt x="1" y="676"/>
                  </a:cubicBezTo>
                  <a:cubicBezTo>
                    <a:pt x="1" y="907"/>
                    <a:pt x="34" y="1071"/>
                    <a:pt x="116" y="1187"/>
                  </a:cubicBezTo>
                  <a:cubicBezTo>
                    <a:pt x="198" y="1319"/>
                    <a:pt x="314" y="1368"/>
                    <a:pt x="462" y="1368"/>
                  </a:cubicBezTo>
                  <a:cubicBezTo>
                    <a:pt x="610" y="1368"/>
                    <a:pt x="726" y="1319"/>
                    <a:pt x="792" y="1187"/>
                  </a:cubicBezTo>
                  <a:cubicBezTo>
                    <a:pt x="874" y="1071"/>
                    <a:pt x="907" y="907"/>
                    <a:pt x="907" y="676"/>
                  </a:cubicBezTo>
                  <a:cubicBezTo>
                    <a:pt x="907" y="462"/>
                    <a:pt x="874" y="297"/>
                    <a:pt x="792"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48"/>
            <p:cNvSpPr/>
            <p:nvPr/>
          </p:nvSpPr>
          <p:spPr>
            <a:xfrm>
              <a:off x="3324200" y="4966650"/>
              <a:ext cx="19800" cy="33400"/>
            </a:xfrm>
            <a:custGeom>
              <a:avLst/>
              <a:gdLst/>
              <a:ahLst/>
              <a:cxnLst/>
              <a:rect l="l" t="t" r="r" b="b"/>
              <a:pathLst>
                <a:path w="792" h="1336" extrusionOk="0">
                  <a:moveTo>
                    <a:pt x="314" y="1"/>
                  </a:moveTo>
                  <a:lnTo>
                    <a:pt x="1" y="67"/>
                  </a:lnTo>
                  <a:lnTo>
                    <a:pt x="1" y="231"/>
                  </a:lnTo>
                  <a:lnTo>
                    <a:pt x="314" y="165"/>
                  </a:lnTo>
                  <a:lnTo>
                    <a:pt x="314" y="1171"/>
                  </a:lnTo>
                  <a:lnTo>
                    <a:pt x="17" y="1171"/>
                  </a:lnTo>
                  <a:lnTo>
                    <a:pt x="17" y="1336"/>
                  </a:lnTo>
                  <a:lnTo>
                    <a:pt x="792" y="1336"/>
                  </a:lnTo>
                  <a:lnTo>
                    <a:pt x="792" y="1171"/>
                  </a:lnTo>
                  <a:lnTo>
                    <a:pt x="495" y="1171"/>
                  </a:lnTo>
                  <a:lnTo>
                    <a:pt x="49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48"/>
            <p:cNvSpPr/>
            <p:nvPr/>
          </p:nvSpPr>
          <p:spPr>
            <a:xfrm>
              <a:off x="3535575" y="4966250"/>
              <a:ext cx="23100" cy="34225"/>
            </a:xfrm>
            <a:custGeom>
              <a:avLst/>
              <a:gdLst/>
              <a:ahLst/>
              <a:cxnLst/>
              <a:rect l="l" t="t" r="r" b="b"/>
              <a:pathLst>
                <a:path w="924" h="1369" extrusionOk="0">
                  <a:moveTo>
                    <a:pt x="462" y="132"/>
                  </a:moveTo>
                  <a:cubicBezTo>
                    <a:pt x="561" y="132"/>
                    <a:pt x="627" y="181"/>
                    <a:pt x="676" y="280"/>
                  </a:cubicBezTo>
                  <a:cubicBezTo>
                    <a:pt x="726" y="363"/>
                    <a:pt x="742" y="495"/>
                    <a:pt x="742" y="676"/>
                  </a:cubicBezTo>
                  <a:cubicBezTo>
                    <a:pt x="742" y="857"/>
                    <a:pt x="726" y="1006"/>
                    <a:pt x="676" y="1088"/>
                  </a:cubicBezTo>
                  <a:cubicBezTo>
                    <a:pt x="627" y="1187"/>
                    <a:pt x="561" y="1220"/>
                    <a:pt x="462" y="1220"/>
                  </a:cubicBezTo>
                  <a:cubicBezTo>
                    <a:pt x="380" y="1220"/>
                    <a:pt x="297" y="1187"/>
                    <a:pt x="248" y="1088"/>
                  </a:cubicBezTo>
                  <a:cubicBezTo>
                    <a:pt x="215" y="1006"/>
                    <a:pt x="182" y="857"/>
                    <a:pt x="182" y="676"/>
                  </a:cubicBezTo>
                  <a:cubicBezTo>
                    <a:pt x="182" y="495"/>
                    <a:pt x="215" y="363"/>
                    <a:pt x="248" y="280"/>
                  </a:cubicBezTo>
                  <a:cubicBezTo>
                    <a:pt x="297" y="181"/>
                    <a:pt x="380" y="132"/>
                    <a:pt x="462" y="132"/>
                  </a:cubicBezTo>
                  <a:close/>
                  <a:moveTo>
                    <a:pt x="462" y="0"/>
                  </a:moveTo>
                  <a:cubicBezTo>
                    <a:pt x="314" y="0"/>
                    <a:pt x="198" y="50"/>
                    <a:pt x="116" y="181"/>
                  </a:cubicBezTo>
                  <a:cubicBezTo>
                    <a:pt x="50" y="297"/>
                    <a:pt x="1" y="462"/>
                    <a:pt x="1" y="676"/>
                  </a:cubicBezTo>
                  <a:cubicBezTo>
                    <a:pt x="1" y="907"/>
                    <a:pt x="50" y="1071"/>
                    <a:pt x="116" y="1187"/>
                  </a:cubicBezTo>
                  <a:cubicBezTo>
                    <a:pt x="198" y="1319"/>
                    <a:pt x="314" y="1368"/>
                    <a:pt x="462" y="1368"/>
                  </a:cubicBezTo>
                  <a:cubicBezTo>
                    <a:pt x="610" y="1368"/>
                    <a:pt x="726" y="1319"/>
                    <a:pt x="808" y="1187"/>
                  </a:cubicBezTo>
                  <a:cubicBezTo>
                    <a:pt x="874" y="1071"/>
                    <a:pt x="924" y="907"/>
                    <a:pt x="924" y="676"/>
                  </a:cubicBezTo>
                  <a:cubicBezTo>
                    <a:pt x="924" y="462"/>
                    <a:pt x="874" y="297"/>
                    <a:pt x="808" y="181"/>
                  </a:cubicBezTo>
                  <a:cubicBezTo>
                    <a:pt x="726" y="50"/>
                    <a:pt x="610"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48"/>
            <p:cNvSpPr/>
            <p:nvPr/>
          </p:nvSpPr>
          <p:spPr>
            <a:xfrm>
              <a:off x="3564825" y="4966250"/>
              <a:ext cx="21050" cy="33800"/>
            </a:xfrm>
            <a:custGeom>
              <a:avLst/>
              <a:gdLst/>
              <a:ahLst/>
              <a:cxnLst/>
              <a:rect l="l" t="t" r="r" b="b"/>
              <a:pathLst>
                <a:path w="842" h="1352" extrusionOk="0">
                  <a:moveTo>
                    <a:pt x="380" y="0"/>
                  </a:moveTo>
                  <a:cubicBezTo>
                    <a:pt x="330" y="0"/>
                    <a:pt x="281" y="0"/>
                    <a:pt x="215" y="17"/>
                  </a:cubicBezTo>
                  <a:cubicBezTo>
                    <a:pt x="149" y="33"/>
                    <a:pt x="83" y="50"/>
                    <a:pt x="17" y="83"/>
                  </a:cubicBezTo>
                  <a:lnTo>
                    <a:pt x="17" y="264"/>
                  </a:lnTo>
                  <a:cubicBezTo>
                    <a:pt x="83" y="231"/>
                    <a:pt x="149" y="198"/>
                    <a:pt x="215" y="181"/>
                  </a:cubicBezTo>
                  <a:cubicBezTo>
                    <a:pt x="281" y="165"/>
                    <a:pt x="330" y="149"/>
                    <a:pt x="396" y="149"/>
                  </a:cubicBezTo>
                  <a:cubicBezTo>
                    <a:pt x="462" y="149"/>
                    <a:pt x="528" y="165"/>
                    <a:pt x="578" y="214"/>
                  </a:cubicBezTo>
                  <a:cubicBezTo>
                    <a:pt x="627" y="264"/>
                    <a:pt x="660" y="313"/>
                    <a:pt x="660" y="379"/>
                  </a:cubicBezTo>
                  <a:cubicBezTo>
                    <a:pt x="660" y="429"/>
                    <a:pt x="643" y="478"/>
                    <a:pt x="627" y="511"/>
                  </a:cubicBezTo>
                  <a:cubicBezTo>
                    <a:pt x="594" y="561"/>
                    <a:pt x="561" y="610"/>
                    <a:pt x="495" y="676"/>
                  </a:cubicBezTo>
                  <a:cubicBezTo>
                    <a:pt x="479" y="709"/>
                    <a:pt x="396" y="791"/>
                    <a:pt x="281" y="907"/>
                  </a:cubicBezTo>
                  <a:cubicBezTo>
                    <a:pt x="166" y="1022"/>
                    <a:pt x="67" y="1121"/>
                    <a:pt x="1" y="1187"/>
                  </a:cubicBezTo>
                  <a:lnTo>
                    <a:pt x="1" y="1352"/>
                  </a:lnTo>
                  <a:lnTo>
                    <a:pt x="841" y="1352"/>
                  </a:lnTo>
                  <a:lnTo>
                    <a:pt x="841" y="1187"/>
                  </a:lnTo>
                  <a:lnTo>
                    <a:pt x="215" y="1187"/>
                  </a:lnTo>
                  <a:cubicBezTo>
                    <a:pt x="363" y="1038"/>
                    <a:pt x="479" y="940"/>
                    <a:pt x="561" y="857"/>
                  </a:cubicBezTo>
                  <a:cubicBezTo>
                    <a:pt x="627" y="775"/>
                    <a:pt x="676" y="725"/>
                    <a:pt x="693" y="709"/>
                  </a:cubicBezTo>
                  <a:cubicBezTo>
                    <a:pt x="742" y="643"/>
                    <a:pt x="792" y="577"/>
                    <a:pt x="808" y="528"/>
                  </a:cubicBezTo>
                  <a:cubicBezTo>
                    <a:pt x="825" y="478"/>
                    <a:pt x="841" y="429"/>
                    <a:pt x="841" y="379"/>
                  </a:cubicBezTo>
                  <a:cubicBezTo>
                    <a:pt x="841" y="264"/>
                    <a:pt x="792" y="165"/>
                    <a:pt x="709" y="99"/>
                  </a:cubicBezTo>
                  <a:cubicBezTo>
                    <a:pt x="627" y="33"/>
                    <a:pt x="528" y="0"/>
                    <a:pt x="38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48"/>
            <p:cNvSpPr/>
            <p:nvPr/>
          </p:nvSpPr>
          <p:spPr>
            <a:xfrm>
              <a:off x="3778250" y="4966250"/>
              <a:ext cx="22700" cy="34225"/>
            </a:xfrm>
            <a:custGeom>
              <a:avLst/>
              <a:gdLst/>
              <a:ahLst/>
              <a:cxnLst/>
              <a:rect l="l" t="t" r="r" b="b"/>
              <a:pathLst>
                <a:path w="908" h="1369" extrusionOk="0">
                  <a:moveTo>
                    <a:pt x="446" y="132"/>
                  </a:moveTo>
                  <a:cubicBezTo>
                    <a:pt x="545" y="132"/>
                    <a:pt x="611" y="181"/>
                    <a:pt x="660" y="280"/>
                  </a:cubicBezTo>
                  <a:cubicBezTo>
                    <a:pt x="710" y="363"/>
                    <a:pt x="726" y="495"/>
                    <a:pt x="726" y="676"/>
                  </a:cubicBezTo>
                  <a:cubicBezTo>
                    <a:pt x="726" y="857"/>
                    <a:pt x="710" y="1006"/>
                    <a:pt x="660" y="1088"/>
                  </a:cubicBezTo>
                  <a:cubicBezTo>
                    <a:pt x="611" y="1187"/>
                    <a:pt x="545" y="1220"/>
                    <a:pt x="446" y="1220"/>
                  </a:cubicBezTo>
                  <a:cubicBezTo>
                    <a:pt x="364" y="1220"/>
                    <a:pt x="298" y="1187"/>
                    <a:pt x="248" y="1088"/>
                  </a:cubicBezTo>
                  <a:cubicBezTo>
                    <a:pt x="199" y="1006"/>
                    <a:pt x="182" y="857"/>
                    <a:pt x="182" y="676"/>
                  </a:cubicBezTo>
                  <a:cubicBezTo>
                    <a:pt x="182" y="495"/>
                    <a:pt x="199" y="363"/>
                    <a:pt x="248" y="280"/>
                  </a:cubicBezTo>
                  <a:cubicBezTo>
                    <a:pt x="298" y="181"/>
                    <a:pt x="364" y="132"/>
                    <a:pt x="446" y="132"/>
                  </a:cubicBezTo>
                  <a:close/>
                  <a:moveTo>
                    <a:pt x="446" y="0"/>
                  </a:moveTo>
                  <a:cubicBezTo>
                    <a:pt x="298" y="0"/>
                    <a:pt x="199" y="50"/>
                    <a:pt x="116" y="181"/>
                  </a:cubicBezTo>
                  <a:cubicBezTo>
                    <a:pt x="34" y="297"/>
                    <a:pt x="1" y="462"/>
                    <a:pt x="1" y="676"/>
                  </a:cubicBezTo>
                  <a:cubicBezTo>
                    <a:pt x="1" y="907"/>
                    <a:pt x="34" y="1071"/>
                    <a:pt x="116" y="1187"/>
                  </a:cubicBezTo>
                  <a:cubicBezTo>
                    <a:pt x="199" y="1319"/>
                    <a:pt x="298" y="1368"/>
                    <a:pt x="446" y="1368"/>
                  </a:cubicBezTo>
                  <a:cubicBezTo>
                    <a:pt x="594" y="1368"/>
                    <a:pt x="710" y="1319"/>
                    <a:pt x="792" y="1187"/>
                  </a:cubicBezTo>
                  <a:cubicBezTo>
                    <a:pt x="874" y="1071"/>
                    <a:pt x="907" y="907"/>
                    <a:pt x="907" y="676"/>
                  </a:cubicBezTo>
                  <a:cubicBezTo>
                    <a:pt x="907" y="462"/>
                    <a:pt x="874" y="297"/>
                    <a:pt x="792" y="181"/>
                  </a:cubicBezTo>
                  <a:cubicBezTo>
                    <a:pt x="710" y="50"/>
                    <a:pt x="594" y="0"/>
                    <a:pt x="44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48"/>
            <p:cNvSpPr/>
            <p:nvPr/>
          </p:nvSpPr>
          <p:spPr>
            <a:xfrm>
              <a:off x="3807525" y="4966250"/>
              <a:ext cx="21850" cy="34225"/>
            </a:xfrm>
            <a:custGeom>
              <a:avLst/>
              <a:gdLst/>
              <a:ahLst/>
              <a:cxnLst/>
              <a:rect l="l" t="t" r="r" b="b"/>
              <a:pathLst>
                <a:path w="874" h="1369" extrusionOk="0">
                  <a:moveTo>
                    <a:pt x="396" y="0"/>
                  </a:moveTo>
                  <a:cubicBezTo>
                    <a:pt x="346" y="0"/>
                    <a:pt x="280" y="0"/>
                    <a:pt x="231" y="17"/>
                  </a:cubicBezTo>
                  <a:cubicBezTo>
                    <a:pt x="165" y="17"/>
                    <a:pt x="99" y="33"/>
                    <a:pt x="33" y="50"/>
                  </a:cubicBezTo>
                  <a:lnTo>
                    <a:pt x="33" y="214"/>
                  </a:lnTo>
                  <a:cubicBezTo>
                    <a:pt x="99" y="198"/>
                    <a:pt x="165" y="181"/>
                    <a:pt x="231" y="165"/>
                  </a:cubicBezTo>
                  <a:cubicBezTo>
                    <a:pt x="280" y="149"/>
                    <a:pt x="330" y="149"/>
                    <a:pt x="379" y="149"/>
                  </a:cubicBezTo>
                  <a:cubicBezTo>
                    <a:pt x="478" y="149"/>
                    <a:pt x="544" y="165"/>
                    <a:pt x="593" y="198"/>
                  </a:cubicBezTo>
                  <a:cubicBezTo>
                    <a:pt x="643" y="247"/>
                    <a:pt x="659" y="297"/>
                    <a:pt x="659" y="363"/>
                  </a:cubicBezTo>
                  <a:cubicBezTo>
                    <a:pt x="659" y="429"/>
                    <a:pt x="643" y="478"/>
                    <a:pt x="593" y="511"/>
                  </a:cubicBezTo>
                  <a:cubicBezTo>
                    <a:pt x="544" y="544"/>
                    <a:pt x="478" y="561"/>
                    <a:pt x="396" y="561"/>
                  </a:cubicBezTo>
                  <a:lnTo>
                    <a:pt x="231" y="561"/>
                  </a:lnTo>
                  <a:lnTo>
                    <a:pt x="231" y="709"/>
                  </a:lnTo>
                  <a:lnTo>
                    <a:pt x="379" y="709"/>
                  </a:lnTo>
                  <a:cubicBezTo>
                    <a:pt x="478" y="709"/>
                    <a:pt x="560" y="725"/>
                    <a:pt x="610" y="775"/>
                  </a:cubicBezTo>
                  <a:cubicBezTo>
                    <a:pt x="659" y="824"/>
                    <a:pt x="692" y="874"/>
                    <a:pt x="692" y="956"/>
                  </a:cubicBezTo>
                  <a:cubicBezTo>
                    <a:pt x="692" y="1038"/>
                    <a:pt x="659" y="1104"/>
                    <a:pt x="610" y="1154"/>
                  </a:cubicBezTo>
                  <a:cubicBezTo>
                    <a:pt x="544" y="1203"/>
                    <a:pt x="462" y="1220"/>
                    <a:pt x="346" y="1220"/>
                  </a:cubicBezTo>
                  <a:cubicBezTo>
                    <a:pt x="280" y="1220"/>
                    <a:pt x="214" y="1203"/>
                    <a:pt x="165" y="1203"/>
                  </a:cubicBezTo>
                  <a:cubicBezTo>
                    <a:pt x="99" y="1187"/>
                    <a:pt x="50" y="1154"/>
                    <a:pt x="0" y="1137"/>
                  </a:cubicBezTo>
                  <a:lnTo>
                    <a:pt x="0" y="1302"/>
                  </a:lnTo>
                  <a:cubicBezTo>
                    <a:pt x="66" y="1319"/>
                    <a:pt x="115" y="1335"/>
                    <a:pt x="181" y="1352"/>
                  </a:cubicBezTo>
                  <a:cubicBezTo>
                    <a:pt x="247" y="1368"/>
                    <a:pt x="297" y="1368"/>
                    <a:pt x="346" y="1368"/>
                  </a:cubicBezTo>
                  <a:cubicBezTo>
                    <a:pt x="511" y="1368"/>
                    <a:pt x="643" y="1335"/>
                    <a:pt x="742" y="1269"/>
                  </a:cubicBezTo>
                  <a:cubicBezTo>
                    <a:pt x="824" y="1187"/>
                    <a:pt x="874" y="1088"/>
                    <a:pt x="874" y="956"/>
                  </a:cubicBezTo>
                  <a:cubicBezTo>
                    <a:pt x="874" y="874"/>
                    <a:pt x="841" y="808"/>
                    <a:pt x="791" y="742"/>
                  </a:cubicBezTo>
                  <a:cubicBezTo>
                    <a:pt x="742" y="692"/>
                    <a:pt x="676" y="643"/>
                    <a:pt x="593" y="626"/>
                  </a:cubicBezTo>
                  <a:cubicBezTo>
                    <a:pt x="676" y="610"/>
                    <a:pt x="725" y="577"/>
                    <a:pt x="775" y="528"/>
                  </a:cubicBezTo>
                  <a:cubicBezTo>
                    <a:pt x="824" y="478"/>
                    <a:pt x="841" y="412"/>
                    <a:pt x="841" y="346"/>
                  </a:cubicBezTo>
                  <a:cubicBezTo>
                    <a:pt x="841" y="231"/>
                    <a:pt x="791" y="149"/>
                    <a:pt x="725" y="83"/>
                  </a:cubicBezTo>
                  <a:cubicBezTo>
                    <a:pt x="643" y="33"/>
                    <a:pt x="528" y="0"/>
                    <a:pt x="3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48"/>
            <p:cNvSpPr/>
            <p:nvPr/>
          </p:nvSpPr>
          <p:spPr>
            <a:xfrm>
              <a:off x="4020525" y="4966250"/>
              <a:ext cx="23100" cy="34225"/>
            </a:xfrm>
            <a:custGeom>
              <a:avLst/>
              <a:gdLst/>
              <a:ahLst/>
              <a:cxnLst/>
              <a:rect l="l" t="t" r="r" b="b"/>
              <a:pathLst>
                <a:path w="924" h="1369" extrusionOk="0">
                  <a:moveTo>
                    <a:pt x="462" y="132"/>
                  </a:moveTo>
                  <a:cubicBezTo>
                    <a:pt x="545" y="132"/>
                    <a:pt x="627" y="181"/>
                    <a:pt x="660" y="280"/>
                  </a:cubicBezTo>
                  <a:cubicBezTo>
                    <a:pt x="710" y="363"/>
                    <a:pt x="743" y="495"/>
                    <a:pt x="743" y="676"/>
                  </a:cubicBezTo>
                  <a:cubicBezTo>
                    <a:pt x="743" y="857"/>
                    <a:pt x="710" y="1006"/>
                    <a:pt x="660" y="1088"/>
                  </a:cubicBezTo>
                  <a:cubicBezTo>
                    <a:pt x="627" y="1187"/>
                    <a:pt x="545" y="1220"/>
                    <a:pt x="462" y="1220"/>
                  </a:cubicBezTo>
                  <a:cubicBezTo>
                    <a:pt x="363" y="1220"/>
                    <a:pt x="298" y="1187"/>
                    <a:pt x="248" y="1088"/>
                  </a:cubicBezTo>
                  <a:cubicBezTo>
                    <a:pt x="199" y="1006"/>
                    <a:pt x="182" y="857"/>
                    <a:pt x="182" y="676"/>
                  </a:cubicBezTo>
                  <a:cubicBezTo>
                    <a:pt x="182" y="495"/>
                    <a:pt x="199" y="363"/>
                    <a:pt x="248" y="280"/>
                  </a:cubicBezTo>
                  <a:cubicBezTo>
                    <a:pt x="298" y="181"/>
                    <a:pt x="363" y="132"/>
                    <a:pt x="462" y="132"/>
                  </a:cubicBezTo>
                  <a:close/>
                  <a:moveTo>
                    <a:pt x="462" y="0"/>
                  </a:moveTo>
                  <a:cubicBezTo>
                    <a:pt x="314" y="0"/>
                    <a:pt x="199" y="50"/>
                    <a:pt x="116" y="181"/>
                  </a:cubicBezTo>
                  <a:cubicBezTo>
                    <a:pt x="34" y="297"/>
                    <a:pt x="1" y="462"/>
                    <a:pt x="1" y="676"/>
                  </a:cubicBezTo>
                  <a:cubicBezTo>
                    <a:pt x="1" y="907"/>
                    <a:pt x="34" y="1071"/>
                    <a:pt x="116" y="1187"/>
                  </a:cubicBezTo>
                  <a:cubicBezTo>
                    <a:pt x="199" y="1319"/>
                    <a:pt x="314" y="1368"/>
                    <a:pt x="462" y="1368"/>
                  </a:cubicBezTo>
                  <a:cubicBezTo>
                    <a:pt x="611" y="1368"/>
                    <a:pt x="726" y="1319"/>
                    <a:pt x="792" y="1187"/>
                  </a:cubicBezTo>
                  <a:cubicBezTo>
                    <a:pt x="874" y="1071"/>
                    <a:pt x="924" y="907"/>
                    <a:pt x="924" y="676"/>
                  </a:cubicBezTo>
                  <a:cubicBezTo>
                    <a:pt x="924" y="462"/>
                    <a:pt x="874" y="297"/>
                    <a:pt x="792" y="181"/>
                  </a:cubicBezTo>
                  <a:cubicBezTo>
                    <a:pt x="726" y="50"/>
                    <a:pt x="611" y="0"/>
                    <a:pt x="46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48"/>
            <p:cNvSpPr/>
            <p:nvPr/>
          </p:nvSpPr>
          <p:spPr>
            <a:xfrm>
              <a:off x="4048550" y="4966650"/>
              <a:ext cx="24325" cy="33400"/>
            </a:xfrm>
            <a:custGeom>
              <a:avLst/>
              <a:gdLst/>
              <a:ahLst/>
              <a:cxnLst/>
              <a:rect l="l" t="t" r="r" b="b"/>
              <a:pathLst>
                <a:path w="973" h="1336" extrusionOk="0">
                  <a:moveTo>
                    <a:pt x="594" y="165"/>
                  </a:moveTo>
                  <a:lnTo>
                    <a:pt x="594" y="874"/>
                  </a:lnTo>
                  <a:lnTo>
                    <a:pt x="149" y="874"/>
                  </a:lnTo>
                  <a:lnTo>
                    <a:pt x="594" y="165"/>
                  </a:lnTo>
                  <a:close/>
                  <a:moveTo>
                    <a:pt x="561" y="1"/>
                  </a:moveTo>
                  <a:lnTo>
                    <a:pt x="1" y="841"/>
                  </a:lnTo>
                  <a:lnTo>
                    <a:pt x="1" y="1022"/>
                  </a:lnTo>
                  <a:lnTo>
                    <a:pt x="594" y="1022"/>
                  </a:lnTo>
                  <a:lnTo>
                    <a:pt x="594" y="1336"/>
                  </a:lnTo>
                  <a:lnTo>
                    <a:pt x="775" y="1336"/>
                  </a:lnTo>
                  <a:lnTo>
                    <a:pt x="775" y="1022"/>
                  </a:lnTo>
                  <a:lnTo>
                    <a:pt x="973" y="1022"/>
                  </a:lnTo>
                  <a:lnTo>
                    <a:pt x="973" y="874"/>
                  </a:lnTo>
                  <a:lnTo>
                    <a:pt x="775" y="874"/>
                  </a:lnTo>
                  <a:lnTo>
                    <a:pt x="77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Shape 1585"/>
        <p:cNvGrpSpPr/>
        <p:nvPr/>
      </p:nvGrpSpPr>
      <p:grpSpPr>
        <a:xfrm>
          <a:off x="0" y="0"/>
          <a:ext cx="0" cy="0"/>
          <a:chOff x="0" y="0"/>
          <a:chExt cx="0" cy="0"/>
        </a:xfrm>
      </p:grpSpPr>
      <p:sp>
        <p:nvSpPr>
          <p:cNvPr id="1586" name="Google Shape;1586;p49"/>
          <p:cNvSpPr txBox="1">
            <a:spLocks noGrp="1"/>
          </p:cNvSpPr>
          <p:nvPr>
            <p:ph type="body" idx="1"/>
          </p:nvPr>
        </p:nvSpPr>
        <p:spPr>
          <a:xfrm>
            <a:off x="597375" y="1438008"/>
            <a:ext cx="3908700" cy="3786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400"/>
              <a:t>Did you like the resources on this template? Get them for free at our other websites.</a:t>
            </a:r>
            <a:endParaRPr sz="1400"/>
          </a:p>
          <a:p>
            <a:pPr marL="0" lvl="0" indent="0" algn="l" rtl="0">
              <a:spcBef>
                <a:spcPts val="1600"/>
              </a:spcBef>
              <a:spcAft>
                <a:spcPts val="0"/>
              </a:spcAft>
              <a:buNone/>
            </a:pPr>
            <a:r>
              <a:rPr lang="en" sz="1800">
                <a:solidFill>
                  <a:schemeClr val="lt1"/>
                </a:solidFill>
                <a:latin typeface="Share Tech"/>
                <a:ea typeface="Share Tech"/>
                <a:cs typeface="Share Tech"/>
                <a:sym typeface="Share Tech"/>
              </a:rPr>
              <a:t>VECTOR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3"/>
              </a:rPr>
              <a:t>Abstract pixel rain blue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4"/>
              </a:rPr>
              <a:t>Dashboard element collection</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5"/>
              </a:rPr>
              <a:t>Red and blue neon fingerprint background</a:t>
            </a:r>
            <a:endParaRPr sz="1400"/>
          </a:p>
          <a:p>
            <a:pPr marL="241300" lvl="0" indent="-215900" algn="l" rtl="0">
              <a:spcBef>
                <a:spcPts val="300"/>
              </a:spcBef>
              <a:spcAft>
                <a:spcPts val="0"/>
              </a:spcAft>
              <a:buClr>
                <a:schemeClr val="accent2"/>
              </a:buClr>
              <a:buSzPts val="1400"/>
              <a:buFont typeface="Maven Pro"/>
              <a:buChar char="●"/>
            </a:pPr>
            <a:r>
              <a:rPr lang="en" sz="1400">
                <a:solidFill>
                  <a:schemeClr val="hlink"/>
                </a:solidFill>
                <a:uFill>
                  <a:noFill/>
                </a:uFill>
                <a:hlinkClick r:id="rId6"/>
              </a:rPr>
              <a:t>Dashboard element collection template</a:t>
            </a:r>
            <a:endParaRPr sz="1400"/>
          </a:p>
        </p:txBody>
      </p:sp>
      <p:sp>
        <p:nvSpPr>
          <p:cNvPr id="1587" name="Google Shape;1587;p49"/>
          <p:cNvSpPr txBox="1">
            <a:spLocks noGrp="1"/>
          </p:cNvSpPr>
          <p:nvPr>
            <p:ph type="ctrTitle"/>
          </p:nvPr>
        </p:nvSpPr>
        <p:spPr>
          <a:xfrm>
            <a:off x="618825" y="411675"/>
            <a:ext cx="4727700" cy="5778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a:t>RESOURCES</a:t>
            </a:r>
            <a:endParaRPr/>
          </a:p>
        </p:txBody>
      </p:sp>
      <p:sp>
        <p:nvSpPr>
          <p:cNvPr id="1588" name="Google Shape;1588;p49"/>
          <p:cNvSpPr txBox="1">
            <a:spLocks noGrp="1"/>
          </p:cNvSpPr>
          <p:nvPr>
            <p:ph type="body" idx="2"/>
          </p:nvPr>
        </p:nvSpPr>
        <p:spPr>
          <a:xfrm>
            <a:off x="4690125" y="2069712"/>
            <a:ext cx="3908700" cy="1915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800">
                <a:solidFill>
                  <a:schemeClr val="lt1"/>
                </a:solidFill>
                <a:latin typeface="Share Tech"/>
                <a:ea typeface="Share Tech"/>
                <a:cs typeface="Share Tech"/>
                <a:sym typeface="Share Tech"/>
              </a:rPr>
              <a:t>PHOTOS</a:t>
            </a:r>
            <a:endParaRPr sz="1800">
              <a:solidFill>
                <a:schemeClr val="lt1"/>
              </a:solidFill>
              <a:latin typeface="Share Tech"/>
              <a:ea typeface="Share Tech"/>
              <a:cs typeface="Share Tech"/>
              <a:sym typeface="Share Tech"/>
            </a:endParaRPr>
          </a:p>
          <a:p>
            <a:pPr marL="0" lvl="0" indent="0" algn="l" rtl="0">
              <a:spcBef>
                <a:spcPts val="0"/>
              </a:spcBef>
              <a:spcAft>
                <a:spcPts val="0"/>
              </a:spcAft>
              <a:buNone/>
            </a:pPr>
            <a:endParaRPr sz="1800">
              <a:latin typeface="Advent Pro Medium"/>
              <a:ea typeface="Advent Pro Medium"/>
              <a:cs typeface="Advent Pro Medium"/>
              <a:sym typeface="Advent Pro Medium"/>
            </a:endParaRPr>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7"/>
              </a:rPr>
              <a:t>Female colleagues discussing work at office</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8"/>
              </a:rPr>
              <a:t>Close-up confident adult woman posing</a:t>
            </a:r>
            <a:endParaRPr sz="1400"/>
          </a:p>
          <a:p>
            <a:pPr marL="241300" lvl="0" indent="-215900" algn="l" rtl="0">
              <a:spcBef>
                <a:spcPts val="300"/>
              </a:spcBef>
              <a:spcAft>
                <a:spcPts val="0"/>
              </a:spcAft>
              <a:buClr>
                <a:schemeClr val="accent3"/>
              </a:buClr>
              <a:buSzPts val="1400"/>
              <a:buFont typeface="Maven Pro"/>
              <a:buChar char="●"/>
            </a:pPr>
            <a:r>
              <a:rPr lang="en" sz="1400">
                <a:solidFill>
                  <a:schemeClr val="hlink"/>
                </a:solidFill>
                <a:uFill>
                  <a:noFill/>
                </a:uFill>
                <a:hlinkClick r:id="rId9"/>
              </a:rPr>
              <a:t>Portrait of beautiful adult woman smiling</a:t>
            </a:r>
            <a:endParaRPr sz="1400"/>
          </a:p>
          <a:p>
            <a:pPr marL="0" lvl="0" indent="0" algn="l" rtl="0">
              <a:spcBef>
                <a:spcPts val="0"/>
              </a:spcBef>
              <a:spcAft>
                <a:spcPts val="1600"/>
              </a:spcAft>
              <a:buNone/>
            </a:pPr>
            <a:endParaRPr sz="140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2"/>
        <p:cNvGrpSpPr/>
        <p:nvPr/>
      </p:nvGrpSpPr>
      <p:grpSpPr>
        <a:xfrm>
          <a:off x="0" y="0"/>
          <a:ext cx="0" cy="0"/>
          <a:chOff x="0" y="0"/>
          <a:chExt cx="0" cy="0"/>
        </a:xfrm>
      </p:grpSpPr>
      <p:sp>
        <p:nvSpPr>
          <p:cNvPr id="1593" name="Google Shape;1593;p50"/>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Instructions for use</a:t>
            </a:r>
            <a:endParaRPr>
              <a:solidFill>
                <a:srgbClr val="FFFFFF"/>
              </a:solidFill>
              <a:latin typeface="Arial"/>
              <a:ea typeface="Arial"/>
              <a:cs typeface="Arial"/>
              <a:sym typeface="Arial"/>
            </a:endParaRPr>
          </a:p>
        </p:txBody>
      </p:sp>
      <p:sp>
        <p:nvSpPr>
          <p:cNvPr id="1594" name="Google Shape;1594;p50"/>
          <p:cNvSpPr txBox="1">
            <a:spLocks noGrp="1"/>
          </p:cNvSpPr>
          <p:nvPr>
            <p:ph type="body" idx="4294967295"/>
          </p:nvPr>
        </p:nvSpPr>
        <p:spPr>
          <a:xfrm>
            <a:off x="1220500" y="1299875"/>
            <a:ext cx="7047300" cy="440100"/>
          </a:xfrm>
          <a:prstGeom prst="rect">
            <a:avLst/>
          </a:prstGeom>
        </p:spPr>
        <p:txBody>
          <a:bodyPr spcFirstLastPara="1" wrap="square" lIns="91425" tIns="91425" rIns="91425" bIns="91425" anchor="t" anchorCtr="0">
            <a:noAutofit/>
          </a:bodyPr>
          <a:lstStyle/>
          <a:p>
            <a:pPr marL="0" marR="0" lvl="0" indent="0" algn="l" rtl="0">
              <a:lnSpc>
                <a:spcPct val="115000"/>
              </a:lnSpc>
              <a:spcBef>
                <a:spcPts val="1400"/>
              </a:spcBef>
              <a:spcAft>
                <a:spcPts val="0"/>
              </a:spcAft>
              <a:buNone/>
            </a:pPr>
            <a:r>
              <a:rPr lang="en" sz="1200">
                <a:solidFill>
                  <a:srgbClr val="FFFFFF"/>
                </a:solidFill>
                <a:latin typeface="Arial"/>
                <a:ea typeface="Arial"/>
                <a:cs typeface="Arial"/>
                <a:sym typeface="Arial"/>
              </a:rPr>
              <a:t>In order to use this template, you must credit </a:t>
            </a:r>
            <a:r>
              <a:rPr lang="en" b="1" u="sng">
                <a:solidFill>
                  <a:srgbClr val="869FB2"/>
                </a:solidFill>
                <a:latin typeface="Arial"/>
                <a:ea typeface="Arial"/>
                <a:cs typeface="Arial"/>
                <a:sym typeface="Arial"/>
              </a:rPr>
              <a:t>S</a:t>
            </a:r>
            <a:r>
              <a:rPr lang="en" sz="1200" b="1" u="sng">
                <a:solidFill>
                  <a:srgbClr val="869FB2"/>
                </a:solidFill>
                <a:latin typeface="Arial"/>
                <a:ea typeface="Arial"/>
                <a:cs typeface="Arial"/>
                <a:sym typeface="Arial"/>
                <a:hlinkClick r:id="rId3">
                  <a:extLst>
                    <a:ext uri="{A12FA001-AC4F-418D-AE19-62706E023703}">
                      <ahyp:hlinkClr xmlns:ahyp="http://schemas.microsoft.com/office/drawing/2018/hyperlinkcolor" val="tx"/>
                    </a:ext>
                  </a:extLst>
                </a:hlinkClick>
              </a:rPr>
              <a:t>lidesgo</a:t>
            </a:r>
            <a:r>
              <a:rPr lang="en" sz="1200">
                <a:solidFill>
                  <a:srgbClr val="435D74"/>
                </a:solidFill>
                <a:latin typeface="Arial"/>
                <a:ea typeface="Arial"/>
                <a:cs typeface="Arial"/>
                <a:sym typeface="Arial"/>
              </a:rPr>
              <a:t> </a:t>
            </a:r>
            <a:r>
              <a:rPr lang="en" sz="1200">
                <a:solidFill>
                  <a:srgbClr val="FFFFFF"/>
                </a:solidFill>
                <a:latin typeface="Arial"/>
                <a:ea typeface="Arial"/>
                <a:cs typeface="Arial"/>
                <a:sym typeface="Arial"/>
              </a:rPr>
              <a:t>by keeping the </a:t>
            </a:r>
            <a:r>
              <a:rPr lang="en" sz="1200" b="1">
                <a:solidFill>
                  <a:srgbClr val="869FB2"/>
                </a:solidFill>
                <a:uFill>
                  <a:noFill/>
                </a:uFill>
                <a:latin typeface="Arial"/>
                <a:ea typeface="Arial"/>
                <a:cs typeface="Arial"/>
                <a:sym typeface="Arial"/>
                <a:hlinkClick r:id="rId4" action="ppaction://hlinksldjump">
                  <a:extLst>
                    <a:ext uri="{A12FA001-AC4F-418D-AE19-62706E023703}">
                      <ahyp:hlinkClr xmlns:ahyp="http://schemas.microsoft.com/office/drawing/2018/hyperlinkcolor" val="tx"/>
                    </a:ext>
                  </a:extLst>
                </a:hlinkClick>
              </a:rPr>
              <a:t>Thanks</a:t>
            </a:r>
            <a:r>
              <a:rPr lang="en" sz="1200">
                <a:solidFill>
                  <a:srgbClr val="FFFFFF"/>
                </a:solidFill>
                <a:latin typeface="Arial"/>
                <a:ea typeface="Arial"/>
                <a:cs typeface="Arial"/>
                <a:sym typeface="Arial"/>
              </a:rPr>
              <a:t> slide.</a:t>
            </a:r>
            <a:endParaRPr sz="1200">
              <a:solidFill>
                <a:srgbClr val="FFFFFF"/>
              </a:solidFill>
              <a:latin typeface="Arial"/>
              <a:ea typeface="Arial"/>
              <a:cs typeface="Arial"/>
              <a:sym typeface="Arial"/>
            </a:endParaRPr>
          </a:p>
          <a:p>
            <a:pPr marL="0" marR="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Modify this templat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Use it for both personal and commercial projects.</a:t>
            </a:r>
            <a:endParaRPr sz="1100">
              <a:solidFill>
                <a:srgbClr val="FFFFFF"/>
              </a:solidFill>
              <a:latin typeface="Arial"/>
              <a:ea typeface="Arial"/>
              <a:cs typeface="Arial"/>
              <a:sym typeface="Arial"/>
            </a:endParaRPr>
          </a:p>
          <a:p>
            <a:pPr marL="0" lvl="0" indent="0" algn="l" rtl="0">
              <a:lnSpc>
                <a:spcPct val="115000"/>
              </a:lnSpc>
              <a:spcBef>
                <a:spcPts val="1400"/>
              </a:spcBef>
              <a:spcAft>
                <a:spcPts val="0"/>
              </a:spcAft>
              <a:buNone/>
            </a:pPr>
            <a:r>
              <a:rPr lang="en" sz="1100" b="1">
                <a:solidFill>
                  <a:srgbClr val="869FB2"/>
                </a:solidFill>
                <a:latin typeface="Arial"/>
                <a:ea typeface="Arial"/>
                <a:cs typeface="Arial"/>
                <a:sym typeface="Arial"/>
              </a:rPr>
              <a:t>You are not allowed to:</a:t>
            </a:r>
            <a:endParaRPr sz="1100" b="1">
              <a:solidFill>
                <a:srgbClr val="869FB2"/>
              </a:solidFill>
              <a:latin typeface="Arial"/>
              <a:ea typeface="Arial"/>
              <a:cs typeface="Arial"/>
              <a:sym typeface="Arial"/>
            </a:endParaRPr>
          </a:p>
          <a:p>
            <a:pPr marL="0" lvl="0" indent="0" algn="l" rtl="0">
              <a:lnSpc>
                <a:spcPct val="115000"/>
              </a:lnSpc>
              <a:spcBef>
                <a:spcPts val="400"/>
              </a:spcBef>
              <a:spcAft>
                <a:spcPts val="0"/>
              </a:spcAft>
              <a:buNone/>
            </a:pPr>
            <a:r>
              <a:rPr lang="en" sz="1100">
                <a:solidFill>
                  <a:srgbClr val="FFFFFF"/>
                </a:solidFill>
                <a:latin typeface="Arial"/>
                <a:ea typeface="Arial"/>
                <a:cs typeface="Arial"/>
                <a:sym typeface="Arial"/>
              </a:rPr>
              <a:t>- Sublicense, sell or rent any of Slidesgo Content (or a modified version of Slidesgo Content).</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Distribute Slidesgo Content unless it has been expressly authorized by Slidesgo.</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Include Slidesgo Content in an online or offline database or file.</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Offer Slidesgo templates (or modified versions of Slidesgo templates) for download.</a:t>
            </a:r>
            <a:endParaRPr sz="1100">
              <a:solidFill>
                <a:srgbClr val="FFFFFF"/>
              </a:solidFill>
              <a:latin typeface="Arial"/>
              <a:ea typeface="Arial"/>
              <a:cs typeface="Arial"/>
              <a:sym typeface="Arial"/>
            </a:endParaRPr>
          </a:p>
          <a:p>
            <a:pPr marL="0" lvl="0" indent="0" algn="l" rtl="0">
              <a:lnSpc>
                <a:spcPct val="115000"/>
              </a:lnSpc>
              <a:spcBef>
                <a:spcPts val="0"/>
              </a:spcBef>
              <a:spcAft>
                <a:spcPts val="0"/>
              </a:spcAft>
              <a:buNone/>
            </a:pPr>
            <a:r>
              <a:rPr lang="en" sz="1100">
                <a:solidFill>
                  <a:srgbClr val="FFFFFF"/>
                </a:solidFill>
                <a:latin typeface="Arial"/>
                <a:ea typeface="Arial"/>
                <a:cs typeface="Arial"/>
                <a:sym typeface="Arial"/>
              </a:rPr>
              <a:t>- Acquire the copyright of Slidesgo Content.</a:t>
            </a:r>
            <a:endParaRPr sz="1100">
              <a:solidFill>
                <a:srgbClr val="FFFFFF"/>
              </a:solidFill>
              <a:latin typeface="Arial"/>
              <a:ea typeface="Arial"/>
              <a:cs typeface="Arial"/>
              <a:sym typeface="Arial"/>
            </a:endParaRPr>
          </a:p>
          <a:p>
            <a:pPr marL="0" lvl="0" indent="0" algn="ctr" rtl="0">
              <a:spcBef>
                <a:spcPts val="0"/>
              </a:spcBef>
              <a:spcAft>
                <a:spcPts val="0"/>
              </a:spcAft>
              <a:buNone/>
            </a:pPr>
            <a:endParaRPr sz="1100">
              <a:solidFill>
                <a:srgbClr val="435D74"/>
              </a:solidFill>
              <a:latin typeface="Arial"/>
              <a:ea typeface="Arial"/>
              <a:cs typeface="Arial"/>
              <a:sym typeface="Arial"/>
            </a:endParaRPr>
          </a:p>
          <a:p>
            <a:pPr marL="0" lvl="0" indent="0" algn="ctr" rtl="0">
              <a:spcBef>
                <a:spcPts val="0"/>
              </a:spcBef>
              <a:spcAft>
                <a:spcPts val="0"/>
              </a:spcAft>
              <a:buNone/>
            </a:pPr>
            <a:endParaRPr sz="1400">
              <a:solidFill>
                <a:srgbClr val="435D74"/>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595" name="Google Shape;1595;p50"/>
          <p:cNvSpPr txBox="1">
            <a:spLocks noGrp="1"/>
          </p:cNvSpPr>
          <p:nvPr>
            <p:ph type="body" idx="4294967295"/>
          </p:nvPr>
        </p:nvSpPr>
        <p:spPr>
          <a:xfrm>
            <a:off x="1048350" y="412442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For more information about editing slides, please </a:t>
            </a:r>
            <a:r>
              <a:rPr lang="en">
                <a:solidFill>
                  <a:srgbClr val="FFFFFF"/>
                </a:solidFill>
                <a:latin typeface="Arial"/>
                <a:ea typeface="Arial"/>
                <a:cs typeface="Arial"/>
                <a:sym typeface="Arial"/>
              </a:rPr>
              <a:t>read </a:t>
            </a:r>
            <a:r>
              <a:rPr lang="en" sz="1200">
                <a:solidFill>
                  <a:srgbClr val="FFFFFF"/>
                </a:solidFill>
                <a:latin typeface="Arial"/>
                <a:ea typeface="Arial"/>
                <a:cs typeface="Arial"/>
                <a:sym typeface="Arial"/>
              </a:rPr>
              <a:t>our FAQs or visit Slidesgo School:</a:t>
            </a:r>
            <a:endParaRPr sz="1200">
              <a:solidFill>
                <a:srgbClr val="FFFFFF"/>
              </a:solidFill>
              <a:latin typeface="Arial"/>
              <a:ea typeface="Arial"/>
              <a:cs typeface="Arial"/>
              <a:sym typeface="Arial"/>
            </a:endParaRPr>
          </a:p>
          <a:p>
            <a:pPr marL="0" lvl="0" indent="0" algn="ctr" rtl="0">
              <a:spcBef>
                <a:spcPts val="0"/>
              </a:spcBef>
              <a:spcAft>
                <a:spcPts val="0"/>
              </a:spcAft>
              <a:buNone/>
            </a:pPr>
            <a:r>
              <a:rPr lang="en" sz="1200" u="sng">
                <a:solidFill>
                  <a:srgbClr val="869FB2"/>
                </a:solidFill>
                <a:latin typeface="Arial"/>
                <a:ea typeface="Arial"/>
                <a:cs typeface="Arial"/>
                <a:sym typeface="Arial"/>
                <a:hlinkClick r:id="rId5">
                  <a:extLst>
                    <a:ext uri="{A12FA001-AC4F-418D-AE19-62706E023703}">
                      <ahyp:hlinkClr xmlns:ahyp="http://schemas.microsoft.com/office/drawing/2018/hyperlinkcolor" val="tx"/>
                    </a:ext>
                  </a:extLst>
                </a:hlinkClick>
              </a:rPr>
              <a:t>https://slidesgo.com/faqs</a:t>
            </a:r>
            <a:r>
              <a:rPr lang="en" sz="1400">
                <a:solidFill>
                  <a:srgbClr val="FFFFFF"/>
                </a:solidFill>
                <a:latin typeface="Arial"/>
                <a:ea typeface="Arial"/>
                <a:cs typeface="Arial"/>
                <a:sym typeface="Arial"/>
              </a:rPr>
              <a:t> </a:t>
            </a:r>
            <a:r>
              <a:rPr lang="en" sz="1200">
                <a:solidFill>
                  <a:srgbClr val="FFFFFF"/>
                </a:solidFill>
                <a:latin typeface="Arial"/>
                <a:ea typeface="Arial"/>
                <a:cs typeface="Arial"/>
                <a:sym typeface="Arial"/>
              </a:rPr>
              <a:t>and</a:t>
            </a:r>
            <a:r>
              <a:rPr lang="en" sz="1400">
                <a:solidFill>
                  <a:srgbClr val="FFFFFF"/>
                </a:solidFill>
                <a:latin typeface="Arial"/>
                <a:ea typeface="Arial"/>
                <a:cs typeface="Arial"/>
                <a:sym typeface="Arial"/>
              </a:rPr>
              <a:t> </a:t>
            </a:r>
            <a:r>
              <a:rPr lang="en" sz="1200" u="sng">
                <a:solidFill>
                  <a:srgbClr val="869FB2"/>
                </a:solidFill>
                <a:latin typeface="Arial"/>
                <a:ea typeface="Arial"/>
                <a:cs typeface="Arial"/>
                <a:sym typeface="Arial"/>
                <a:hlinkClick r:id="rId6">
                  <a:extLst>
                    <a:ext uri="{A12FA001-AC4F-418D-AE19-62706E023703}">
                      <ahyp:hlinkClr xmlns:ahyp="http://schemas.microsoft.com/office/drawing/2018/hyperlinkcolor" val="tx"/>
                    </a:ext>
                  </a:extLst>
                </a:hlinkClick>
              </a:rPr>
              <a:t>https://slidesgo.com/slidesgo-school</a:t>
            </a:r>
            <a:endParaRPr sz="1200" u="sng">
              <a:solidFill>
                <a:srgbClr val="869FB2"/>
              </a:solidFill>
              <a:latin typeface="Arial"/>
              <a:ea typeface="Arial"/>
              <a:cs typeface="Arial"/>
              <a:sym typeface="Arial"/>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599"/>
        <p:cNvGrpSpPr/>
        <p:nvPr/>
      </p:nvGrpSpPr>
      <p:grpSpPr>
        <a:xfrm>
          <a:off x="0" y="0"/>
          <a:ext cx="0" cy="0"/>
          <a:chOff x="0" y="0"/>
          <a:chExt cx="0" cy="0"/>
        </a:xfrm>
      </p:grpSpPr>
      <p:grpSp>
        <p:nvGrpSpPr>
          <p:cNvPr id="1600" name="Google Shape;1600;p51"/>
          <p:cNvGrpSpPr/>
          <p:nvPr/>
        </p:nvGrpSpPr>
        <p:grpSpPr>
          <a:xfrm>
            <a:off x="2583563" y="3498875"/>
            <a:ext cx="3976875" cy="754200"/>
            <a:chOff x="2052655" y="3498875"/>
            <a:chExt cx="3976875" cy="754200"/>
          </a:xfrm>
        </p:grpSpPr>
        <p:sp>
          <p:nvSpPr>
            <p:cNvPr id="1601" name="Google Shape;1601;p51"/>
            <p:cNvSpPr/>
            <p:nvPr/>
          </p:nvSpPr>
          <p:spPr>
            <a:xfrm>
              <a:off x="3114480" y="3498875"/>
              <a:ext cx="791400" cy="754200"/>
            </a:xfrm>
            <a:prstGeom prst="roundRect">
              <a:avLst>
                <a:gd name="adj" fmla="val 16667"/>
              </a:avLst>
            </a:prstGeom>
            <a:solidFill>
              <a:srgbClr val="E898A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602;p51"/>
            <p:cNvSpPr/>
            <p:nvPr/>
          </p:nvSpPr>
          <p:spPr>
            <a:xfrm>
              <a:off x="4176300" y="3498875"/>
              <a:ext cx="791400" cy="754200"/>
            </a:xfrm>
            <a:prstGeom prst="roundRect">
              <a:avLst>
                <a:gd name="adj" fmla="val 16667"/>
              </a:avLst>
            </a:prstGeom>
            <a:solidFill>
              <a:srgbClr val="00CFCC"/>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603;p51"/>
            <p:cNvSpPr/>
            <p:nvPr/>
          </p:nvSpPr>
          <p:spPr>
            <a:xfrm>
              <a:off x="5238120" y="3498875"/>
              <a:ext cx="791400" cy="754200"/>
            </a:xfrm>
            <a:prstGeom prst="roundRect">
              <a:avLst>
                <a:gd name="adj" fmla="val 16667"/>
              </a:avLst>
            </a:prstGeom>
            <a:solidFill>
              <a:srgbClr val="FF9973"/>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1604;p51"/>
            <p:cNvSpPr/>
            <p:nvPr/>
          </p:nvSpPr>
          <p:spPr>
            <a:xfrm>
              <a:off x="2052655" y="3498875"/>
              <a:ext cx="791400" cy="754200"/>
            </a:xfrm>
            <a:prstGeom prst="roundRect">
              <a:avLst>
                <a:gd name="adj" fmla="val 16667"/>
              </a:avLst>
            </a:prstGeom>
            <a:solidFill>
              <a:srgbClr val="002845"/>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1605;p51"/>
            <p:cNvSpPr txBox="1"/>
            <p:nvPr/>
          </p:nvSpPr>
          <p:spPr>
            <a:xfrm>
              <a:off x="311448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e898ac</a:t>
              </a:r>
              <a:endParaRPr sz="1000">
                <a:solidFill>
                  <a:srgbClr val="FFFFFF"/>
                </a:solidFill>
              </a:endParaRPr>
            </a:p>
          </p:txBody>
        </p:sp>
        <p:sp>
          <p:nvSpPr>
            <p:cNvPr id="1606" name="Google Shape;1606;p51"/>
            <p:cNvSpPr txBox="1"/>
            <p:nvPr/>
          </p:nvSpPr>
          <p:spPr>
            <a:xfrm>
              <a:off x="417630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cfcc</a:t>
              </a:r>
              <a:endParaRPr sz="1000">
                <a:solidFill>
                  <a:srgbClr val="FFFFFF"/>
                </a:solidFill>
              </a:endParaRPr>
            </a:p>
          </p:txBody>
        </p:sp>
        <p:sp>
          <p:nvSpPr>
            <p:cNvPr id="1607" name="Google Shape;1607;p51"/>
            <p:cNvSpPr txBox="1"/>
            <p:nvPr/>
          </p:nvSpPr>
          <p:spPr>
            <a:xfrm>
              <a:off x="5238130"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ff9973</a:t>
              </a:r>
              <a:endParaRPr sz="1000">
                <a:solidFill>
                  <a:srgbClr val="FFFFFF"/>
                </a:solidFill>
              </a:endParaRPr>
            </a:p>
          </p:txBody>
        </p:sp>
        <p:sp>
          <p:nvSpPr>
            <p:cNvPr id="1608" name="Google Shape;1608;p51"/>
            <p:cNvSpPr txBox="1"/>
            <p:nvPr/>
          </p:nvSpPr>
          <p:spPr>
            <a:xfrm>
              <a:off x="2052655" y="3655925"/>
              <a:ext cx="791400" cy="44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solidFill>
                    <a:srgbClr val="FFFFFF"/>
                  </a:solidFill>
                </a:rPr>
                <a:t>#002845</a:t>
              </a:r>
              <a:endParaRPr sz="1000">
                <a:solidFill>
                  <a:srgbClr val="FFFFFF"/>
                </a:solidFill>
              </a:endParaRPr>
            </a:p>
          </p:txBody>
        </p:sp>
      </p:grpSp>
      <p:sp>
        <p:nvSpPr>
          <p:cNvPr id="1609" name="Google Shape;1609;p51"/>
          <p:cNvSpPr txBox="1">
            <a:spLocks noGrp="1"/>
          </p:cNvSpPr>
          <p:nvPr>
            <p:ph type="title" idx="4294967295"/>
          </p:nvPr>
        </p:nvSpPr>
        <p:spPr>
          <a:xfrm>
            <a:off x="1048350" y="95440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Fonts &amp; colors used</a:t>
            </a:r>
            <a:endParaRPr>
              <a:solidFill>
                <a:srgbClr val="FFFFFF"/>
              </a:solidFill>
              <a:latin typeface="Arial"/>
              <a:ea typeface="Arial"/>
              <a:cs typeface="Arial"/>
              <a:sym typeface="Arial"/>
            </a:endParaRPr>
          </a:p>
        </p:txBody>
      </p:sp>
      <p:sp>
        <p:nvSpPr>
          <p:cNvPr id="1610" name="Google Shape;1610;p51"/>
          <p:cNvSpPr txBox="1">
            <a:spLocks noGrp="1"/>
          </p:cNvSpPr>
          <p:nvPr>
            <p:ph type="body" idx="4294967295"/>
          </p:nvPr>
        </p:nvSpPr>
        <p:spPr>
          <a:xfrm>
            <a:off x="1068100" y="1457875"/>
            <a:ext cx="7047300" cy="4401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1200">
                <a:solidFill>
                  <a:srgbClr val="FFFFFF"/>
                </a:solidFill>
                <a:latin typeface="Arial"/>
                <a:ea typeface="Arial"/>
                <a:cs typeface="Arial"/>
                <a:sym typeface="Arial"/>
              </a:rPr>
              <a:t>This presentation has been made using the following fonts:</a:t>
            </a:r>
            <a:endParaRPr sz="1200">
              <a:solidFill>
                <a:srgbClr val="FFFFFF"/>
              </a:solidFill>
              <a:latin typeface="Arial"/>
              <a:ea typeface="Arial"/>
              <a:cs typeface="Arial"/>
              <a:sym typeface="Arial"/>
            </a:endParaRPr>
          </a:p>
          <a:p>
            <a:pPr marL="0" lvl="0" indent="0" algn="l" rtl="0">
              <a:spcBef>
                <a:spcPts val="0"/>
              </a:spcBef>
              <a:spcAft>
                <a:spcPts val="0"/>
              </a:spcAft>
              <a:buNone/>
            </a:pPr>
            <a:endParaRPr sz="1400">
              <a:solidFill>
                <a:srgbClr val="435D74"/>
              </a:solidFill>
              <a:latin typeface="Arial"/>
              <a:ea typeface="Arial"/>
              <a:cs typeface="Arial"/>
              <a:sym typeface="Arial"/>
            </a:endParaRPr>
          </a:p>
        </p:txBody>
      </p:sp>
      <p:sp>
        <p:nvSpPr>
          <p:cNvPr id="1611" name="Google Shape;1611;p51"/>
          <p:cNvSpPr txBox="1">
            <a:spLocks noGrp="1"/>
          </p:cNvSpPr>
          <p:nvPr>
            <p:ph type="body" idx="4294967295"/>
          </p:nvPr>
        </p:nvSpPr>
        <p:spPr>
          <a:xfrm>
            <a:off x="1068100" y="1919049"/>
            <a:ext cx="7047300" cy="12549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b="1">
                <a:solidFill>
                  <a:schemeClr val="lt1"/>
                </a:solidFill>
                <a:latin typeface="Arial"/>
                <a:ea typeface="Arial"/>
                <a:cs typeface="Arial"/>
                <a:sym typeface="Arial"/>
              </a:rPr>
              <a:t>Share Tech</a:t>
            </a:r>
            <a:endParaRPr b="1">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https://fonts.google.com/specimen/Share+Tech</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a:p>
            <a:pPr marL="0" lvl="0" indent="0" algn="ctr" rtl="0">
              <a:spcBef>
                <a:spcPts val="0"/>
              </a:spcBef>
              <a:spcAft>
                <a:spcPts val="0"/>
              </a:spcAft>
              <a:buNone/>
            </a:pPr>
            <a:endParaRPr sz="800">
              <a:solidFill>
                <a:schemeClr val="lt1"/>
              </a:solidFill>
              <a:latin typeface="Arial"/>
              <a:ea typeface="Arial"/>
              <a:cs typeface="Arial"/>
              <a:sym typeface="Arial"/>
            </a:endParaRPr>
          </a:p>
          <a:p>
            <a:pPr marL="0" lvl="0" indent="0" algn="ctr" rtl="0">
              <a:spcBef>
                <a:spcPts val="0"/>
              </a:spcBef>
              <a:spcAft>
                <a:spcPts val="0"/>
              </a:spcAft>
              <a:buNone/>
            </a:pPr>
            <a:r>
              <a:rPr lang="en" b="1">
                <a:solidFill>
                  <a:schemeClr val="lt1"/>
                </a:solidFill>
                <a:latin typeface="Arial"/>
                <a:ea typeface="Arial"/>
                <a:cs typeface="Arial"/>
                <a:sym typeface="Arial"/>
              </a:rPr>
              <a:t>Maven Pro</a:t>
            </a:r>
            <a:endParaRPr b="1">
              <a:solidFill>
                <a:schemeClr val="lt1"/>
              </a:solidFill>
              <a:latin typeface="Arial"/>
              <a:ea typeface="Arial"/>
              <a:cs typeface="Arial"/>
              <a:sym typeface="Arial"/>
            </a:endParaRPr>
          </a:p>
          <a:p>
            <a:pPr marL="0" lvl="0" indent="0" algn="ctr" rtl="0">
              <a:spcBef>
                <a:spcPts val="0"/>
              </a:spcBef>
              <a:spcAft>
                <a:spcPts val="0"/>
              </a:spcAft>
              <a:buClr>
                <a:schemeClr val="dk1"/>
              </a:buClr>
              <a:buSzPts val="1100"/>
              <a:buFont typeface="Arial"/>
              <a:buNone/>
            </a:pPr>
            <a:r>
              <a:rPr lang="en" b="1">
                <a:solidFill>
                  <a:schemeClr val="lt1"/>
                </a:solidFill>
                <a:latin typeface="Arial"/>
                <a:ea typeface="Arial"/>
                <a:cs typeface="Arial"/>
                <a:sym typeface="Arial"/>
              </a:rPr>
              <a:t>(</a:t>
            </a:r>
            <a:r>
              <a:rPr lang="en">
                <a:solidFill>
                  <a:schemeClr val="lt1"/>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https://fonts.google.com/specimen/Maven+Pro</a:t>
            </a:r>
            <a:r>
              <a:rPr lang="en">
                <a:solidFill>
                  <a:schemeClr val="lt1"/>
                </a:solidFill>
                <a:latin typeface="Arial"/>
                <a:ea typeface="Arial"/>
                <a:cs typeface="Arial"/>
                <a:sym typeface="Arial"/>
              </a:rPr>
              <a:t>)</a:t>
            </a:r>
            <a:endParaRPr>
              <a:solidFill>
                <a:schemeClr val="lt1"/>
              </a:solidFill>
              <a:latin typeface="Arial"/>
              <a:ea typeface="Arial"/>
              <a:cs typeface="Arial"/>
              <a:sym typeface="Arial"/>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615"/>
        <p:cNvGrpSpPr/>
        <p:nvPr/>
      </p:nvGrpSpPr>
      <p:grpSpPr>
        <a:xfrm>
          <a:off x="0" y="0"/>
          <a:ext cx="0" cy="0"/>
          <a:chOff x="0" y="0"/>
          <a:chExt cx="0" cy="0"/>
        </a:xfrm>
      </p:grpSpPr>
      <p:sp>
        <p:nvSpPr>
          <p:cNvPr id="1616" name="Google Shape;1616;p52"/>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
        <p:nvSpPr>
          <p:cNvPr id="1617" name="Google Shape;1617;p52"/>
          <p:cNvSpPr txBox="1">
            <a:spLocks noGrp="1"/>
          </p:cNvSpPr>
          <p:nvPr>
            <p:ph type="body" idx="4294967295"/>
          </p:nvPr>
        </p:nvSpPr>
        <p:spPr>
          <a:xfrm>
            <a:off x="1068100" y="1534076"/>
            <a:ext cx="70473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1100">
                <a:solidFill>
                  <a:srgbClr val="FFFFFF"/>
                </a:solidFill>
                <a:latin typeface="Arial"/>
                <a:ea typeface="Arial"/>
                <a:cs typeface="Arial"/>
                <a:sym typeface="Arial"/>
              </a:rPr>
              <a:t>You can easily</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resize</a:t>
            </a:r>
            <a:r>
              <a:rPr lang="en" sz="1100">
                <a:solidFill>
                  <a:srgbClr val="435D74"/>
                </a:solidFill>
                <a:latin typeface="Arial"/>
                <a:ea typeface="Arial"/>
                <a:cs typeface="Arial"/>
                <a:sym typeface="Arial"/>
              </a:rPr>
              <a:t> </a:t>
            </a:r>
            <a:r>
              <a:rPr lang="en" sz="1100">
                <a:solidFill>
                  <a:srgbClr val="FFFFFF"/>
                </a:solidFill>
                <a:latin typeface="Arial"/>
                <a:ea typeface="Arial"/>
                <a:cs typeface="Arial"/>
                <a:sym typeface="Arial"/>
              </a:rPr>
              <a:t>these resources</a:t>
            </a:r>
            <a:r>
              <a:rPr lang="en">
                <a:solidFill>
                  <a:srgbClr val="FFFFFF"/>
                </a:solidFill>
                <a:latin typeface="Arial"/>
                <a:ea typeface="Arial"/>
                <a:cs typeface="Arial"/>
                <a:sym typeface="Arial"/>
              </a:rPr>
              <a:t> without losing</a:t>
            </a:r>
            <a:r>
              <a:rPr lang="en" sz="1100">
                <a:solidFill>
                  <a:srgbClr val="FFFFFF"/>
                </a:solidFill>
                <a:latin typeface="Arial"/>
                <a:ea typeface="Arial"/>
                <a:cs typeface="Arial"/>
                <a:sym typeface="Arial"/>
              </a:rPr>
              <a:t> quality. To</a:t>
            </a:r>
            <a:r>
              <a:rPr lang="en" sz="1100">
                <a:solidFill>
                  <a:srgbClr val="435D74"/>
                </a:solidFill>
                <a:latin typeface="Arial"/>
                <a:ea typeface="Arial"/>
                <a:cs typeface="Arial"/>
                <a:sym typeface="Arial"/>
              </a:rPr>
              <a:t> </a:t>
            </a:r>
            <a:r>
              <a:rPr lang="en" sz="1100">
                <a:solidFill>
                  <a:srgbClr val="869FB2"/>
                </a:solidFill>
                <a:latin typeface="Arial"/>
                <a:ea typeface="Arial"/>
                <a:cs typeface="Arial"/>
                <a:sym typeface="Arial"/>
              </a:rPr>
              <a:t>change the color</a:t>
            </a:r>
            <a:r>
              <a:rPr lang="en" sz="1100">
                <a:solidFill>
                  <a:srgbClr val="FFFFFF"/>
                </a:solidFill>
                <a:latin typeface="Arial"/>
                <a:ea typeface="Arial"/>
                <a:cs typeface="Arial"/>
                <a:sym typeface="Arial"/>
              </a:rPr>
              <a:t>, just ungroup the resource and click on the object you want to change. Then, click on the paint bucket and select the color you want. </a:t>
            </a:r>
            <a:r>
              <a:rPr lang="en">
                <a:solidFill>
                  <a:srgbClr val="FFFFFF"/>
                </a:solidFill>
                <a:latin typeface="Arial"/>
                <a:ea typeface="Arial"/>
                <a:cs typeface="Arial"/>
                <a:sym typeface="Arial"/>
              </a:rPr>
              <a:t>G</a:t>
            </a:r>
            <a:r>
              <a:rPr lang="en" sz="1100">
                <a:solidFill>
                  <a:srgbClr val="FFFFFF"/>
                </a:solidFill>
                <a:latin typeface="Arial"/>
                <a:ea typeface="Arial"/>
                <a:cs typeface="Arial"/>
                <a:sym typeface="Arial"/>
              </a:rPr>
              <a:t>roup the resource again when you’re done.</a:t>
            </a:r>
            <a:endParaRPr sz="1100">
              <a:solidFill>
                <a:srgbClr val="FFFFFF"/>
              </a:solidFill>
              <a:latin typeface="Arial"/>
              <a:ea typeface="Arial"/>
              <a:cs typeface="Arial"/>
              <a:sym typeface="Arial"/>
            </a:endParaRPr>
          </a:p>
        </p:txBody>
      </p:sp>
      <p:grpSp>
        <p:nvGrpSpPr>
          <p:cNvPr id="1618" name="Google Shape;1618;p52"/>
          <p:cNvGrpSpPr/>
          <p:nvPr/>
        </p:nvGrpSpPr>
        <p:grpSpPr>
          <a:xfrm>
            <a:off x="5156078" y="3085736"/>
            <a:ext cx="474294" cy="551291"/>
            <a:chOff x="4727025" y="1332775"/>
            <a:chExt cx="59900" cy="69625"/>
          </a:xfrm>
        </p:grpSpPr>
        <p:sp>
          <p:nvSpPr>
            <p:cNvPr id="1619" name="Google Shape;1619;p52"/>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1620;p52"/>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1" name="Google Shape;1621;p52"/>
          <p:cNvGrpSpPr/>
          <p:nvPr/>
        </p:nvGrpSpPr>
        <p:grpSpPr>
          <a:xfrm>
            <a:off x="5769734" y="2314340"/>
            <a:ext cx="555653" cy="557031"/>
            <a:chOff x="4820425" y="1329900"/>
            <a:chExt cx="70175" cy="70350"/>
          </a:xfrm>
        </p:grpSpPr>
        <p:sp>
          <p:nvSpPr>
            <p:cNvPr id="1622" name="Google Shape;1622;p52"/>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1623;p52"/>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1624;p52"/>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1625;p52"/>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6" name="Google Shape;1626;p52"/>
          <p:cNvGrpSpPr/>
          <p:nvPr/>
        </p:nvGrpSpPr>
        <p:grpSpPr>
          <a:xfrm>
            <a:off x="6396103" y="2318845"/>
            <a:ext cx="582574" cy="533871"/>
            <a:chOff x="4903200" y="1331525"/>
            <a:chExt cx="73575" cy="67425"/>
          </a:xfrm>
        </p:grpSpPr>
        <p:sp>
          <p:nvSpPr>
            <p:cNvPr id="1627" name="Google Shape;1627;p52"/>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52"/>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9" name="Google Shape;1629;p52"/>
          <p:cNvGrpSpPr/>
          <p:nvPr/>
        </p:nvGrpSpPr>
        <p:grpSpPr>
          <a:xfrm>
            <a:off x="5755581" y="3078709"/>
            <a:ext cx="583960" cy="565345"/>
            <a:chOff x="4815575" y="1416800"/>
            <a:chExt cx="73750" cy="71400"/>
          </a:xfrm>
        </p:grpSpPr>
        <p:sp>
          <p:nvSpPr>
            <p:cNvPr id="1630" name="Google Shape;1630;p52"/>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52"/>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52"/>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3" name="Google Shape;1633;p52"/>
          <p:cNvGrpSpPr/>
          <p:nvPr/>
        </p:nvGrpSpPr>
        <p:grpSpPr>
          <a:xfrm>
            <a:off x="6390362" y="3108896"/>
            <a:ext cx="589898" cy="504970"/>
            <a:chOff x="4902475" y="1418875"/>
            <a:chExt cx="74500" cy="63775"/>
          </a:xfrm>
        </p:grpSpPr>
        <p:sp>
          <p:nvSpPr>
            <p:cNvPr id="1634" name="Google Shape;1634;p52"/>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52"/>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6" name="Google Shape;1636;p52"/>
          <p:cNvGrpSpPr/>
          <p:nvPr/>
        </p:nvGrpSpPr>
        <p:grpSpPr>
          <a:xfrm>
            <a:off x="5765577" y="3826000"/>
            <a:ext cx="563967" cy="567127"/>
            <a:chOff x="4818100" y="1507675"/>
            <a:chExt cx="71225" cy="71625"/>
          </a:xfrm>
        </p:grpSpPr>
        <p:sp>
          <p:nvSpPr>
            <p:cNvPr id="1637" name="Google Shape;1637;p52"/>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8" name="Google Shape;1638;p52"/>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9" name="Google Shape;1639;p52"/>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52"/>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1" name="Google Shape;1641;p52"/>
          <p:cNvGrpSpPr/>
          <p:nvPr/>
        </p:nvGrpSpPr>
        <p:grpSpPr>
          <a:xfrm>
            <a:off x="5079075" y="3829461"/>
            <a:ext cx="628301" cy="588505"/>
            <a:chOff x="4721450" y="1509475"/>
            <a:chExt cx="79350" cy="74325"/>
          </a:xfrm>
        </p:grpSpPr>
        <p:sp>
          <p:nvSpPr>
            <p:cNvPr id="1642" name="Google Shape;1642;p52"/>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52"/>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52"/>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52"/>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46" name="Google Shape;1646;p52"/>
          <p:cNvGrpSpPr/>
          <p:nvPr/>
        </p:nvGrpSpPr>
        <p:grpSpPr>
          <a:xfrm>
            <a:off x="6424608" y="3814027"/>
            <a:ext cx="557038" cy="562772"/>
            <a:chOff x="4906800" y="1507500"/>
            <a:chExt cx="70350" cy="71075"/>
          </a:xfrm>
        </p:grpSpPr>
        <p:sp>
          <p:nvSpPr>
            <p:cNvPr id="1647" name="Google Shape;1647;p52"/>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52"/>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52"/>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52"/>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52"/>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2" name="Google Shape;1652;p52"/>
          <p:cNvGrpSpPr/>
          <p:nvPr/>
        </p:nvGrpSpPr>
        <p:grpSpPr>
          <a:xfrm>
            <a:off x="4462216" y="2340963"/>
            <a:ext cx="517934" cy="517934"/>
            <a:chOff x="3736598" y="2170606"/>
            <a:chExt cx="404889" cy="404889"/>
          </a:xfrm>
        </p:grpSpPr>
        <p:sp>
          <p:nvSpPr>
            <p:cNvPr id="1653" name="Google Shape;1653;p52"/>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52"/>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52"/>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52"/>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7" name="Google Shape;1657;p52"/>
          <p:cNvGrpSpPr/>
          <p:nvPr/>
        </p:nvGrpSpPr>
        <p:grpSpPr>
          <a:xfrm>
            <a:off x="3729277" y="2341061"/>
            <a:ext cx="586986" cy="517740"/>
            <a:chOff x="3161917" y="2170682"/>
            <a:chExt cx="458870" cy="404737"/>
          </a:xfrm>
        </p:grpSpPr>
        <p:sp>
          <p:nvSpPr>
            <p:cNvPr id="1658" name="Google Shape;1658;p52"/>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52"/>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52"/>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1" name="Google Shape;1661;p52"/>
          <p:cNvGrpSpPr/>
          <p:nvPr/>
        </p:nvGrpSpPr>
        <p:grpSpPr>
          <a:xfrm>
            <a:off x="3752299" y="3102400"/>
            <a:ext cx="540943" cy="517963"/>
            <a:chOff x="3179914" y="2889488"/>
            <a:chExt cx="422876" cy="404911"/>
          </a:xfrm>
        </p:grpSpPr>
        <p:sp>
          <p:nvSpPr>
            <p:cNvPr id="1662" name="Google Shape;1662;p52"/>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52"/>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52"/>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52"/>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52"/>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52"/>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68" name="Google Shape;1668;p52"/>
          <p:cNvGrpSpPr/>
          <p:nvPr/>
        </p:nvGrpSpPr>
        <p:grpSpPr>
          <a:xfrm>
            <a:off x="4453093" y="3102358"/>
            <a:ext cx="536180" cy="518047"/>
            <a:chOff x="3729467" y="2889422"/>
            <a:chExt cx="419153" cy="404977"/>
          </a:xfrm>
        </p:grpSpPr>
        <p:sp>
          <p:nvSpPr>
            <p:cNvPr id="1669" name="Google Shape;1669;p52"/>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52"/>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52"/>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52"/>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52"/>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52"/>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52"/>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76" name="Google Shape;1676;p52"/>
          <p:cNvGrpSpPr/>
          <p:nvPr/>
        </p:nvGrpSpPr>
        <p:grpSpPr>
          <a:xfrm>
            <a:off x="1990126" y="3445787"/>
            <a:ext cx="965351" cy="134611"/>
            <a:chOff x="4411970" y="2962952"/>
            <a:chExt cx="706544" cy="104212"/>
          </a:xfrm>
        </p:grpSpPr>
        <p:sp>
          <p:nvSpPr>
            <p:cNvPr id="1677" name="Google Shape;1677;p52"/>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52"/>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52"/>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52"/>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1" name="Google Shape;1681;p52"/>
          <p:cNvGrpSpPr/>
          <p:nvPr/>
        </p:nvGrpSpPr>
        <p:grpSpPr>
          <a:xfrm>
            <a:off x="1990126" y="3041077"/>
            <a:ext cx="960158" cy="289172"/>
            <a:chOff x="4411970" y="2726085"/>
            <a:chExt cx="643107" cy="193659"/>
          </a:xfrm>
        </p:grpSpPr>
        <p:sp>
          <p:nvSpPr>
            <p:cNvPr id="1682" name="Google Shape;1682;p52"/>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3" name="Google Shape;1683;p52"/>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4" name="Google Shape;1684;p52"/>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5" name="Google Shape;1685;p52"/>
          <p:cNvGrpSpPr/>
          <p:nvPr/>
        </p:nvGrpSpPr>
        <p:grpSpPr>
          <a:xfrm>
            <a:off x="998624" y="3295400"/>
            <a:ext cx="811503" cy="252584"/>
            <a:chOff x="4411970" y="4340222"/>
            <a:chExt cx="779467" cy="242683"/>
          </a:xfrm>
        </p:grpSpPr>
        <p:sp>
          <p:nvSpPr>
            <p:cNvPr id="1686" name="Google Shape;1686;p52"/>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7" name="Google Shape;1687;p52"/>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8" name="Google Shape;1688;p52"/>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9" name="Google Shape;1689;p52"/>
          <p:cNvGrpSpPr/>
          <p:nvPr/>
        </p:nvGrpSpPr>
        <p:grpSpPr>
          <a:xfrm>
            <a:off x="1990126" y="2709308"/>
            <a:ext cx="965160" cy="216230"/>
            <a:chOff x="4411970" y="2468674"/>
            <a:chExt cx="747317" cy="167425"/>
          </a:xfrm>
        </p:grpSpPr>
        <p:sp>
          <p:nvSpPr>
            <p:cNvPr id="1690" name="Google Shape;1690;p52"/>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1" name="Google Shape;1691;p52"/>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692" name="Google Shape;1692;p52"/>
          <p:cNvSpPr/>
          <p:nvPr/>
        </p:nvSpPr>
        <p:spPr>
          <a:xfrm>
            <a:off x="996874" y="3014089"/>
            <a:ext cx="810618" cy="192983"/>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93" name="Google Shape;1693;p52"/>
          <p:cNvGrpSpPr/>
          <p:nvPr/>
        </p:nvGrpSpPr>
        <p:grpSpPr>
          <a:xfrm>
            <a:off x="997692" y="2334687"/>
            <a:ext cx="1959041" cy="208784"/>
            <a:chOff x="6336019" y="3733725"/>
            <a:chExt cx="2566206" cy="351310"/>
          </a:xfrm>
        </p:grpSpPr>
        <p:sp>
          <p:nvSpPr>
            <p:cNvPr id="1694" name="Google Shape;1694;p52"/>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5" name="Google Shape;1695;p52"/>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6" name="Google Shape;1696;p52"/>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7" name="Google Shape;1697;p52"/>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98" name="Google Shape;1698;p52"/>
          <p:cNvGrpSpPr/>
          <p:nvPr/>
        </p:nvGrpSpPr>
        <p:grpSpPr>
          <a:xfrm>
            <a:off x="1990126" y="3950602"/>
            <a:ext cx="946551" cy="153200"/>
            <a:chOff x="4404545" y="3301592"/>
            <a:chExt cx="782403" cy="129272"/>
          </a:xfrm>
        </p:grpSpPr>
        <p:sp>
          <p:nvSpPr>
            <p:cNvPr id="1699" name="Google Shape;1699;p52"/>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0" name="Google Shape;1700;p52"/>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1" name="Google Shape;1701;p52"/>
          <p:cNvGrpSpPr/>
          <p:nvPr/>
        </p:nvGrpSpPr>
        <p:grpSpPr>
          <a:xfrm>
            <a:off x="1990126" y="3695937"/>
            <a:ext cx="962257" cy="139127"/>
            <a:chOff x="4411970" y="3131459"/>
            <a:chExt cx="710520" cy="117397"/>
          </a:xfrm>
        </p:grpSpPr>
        <p:sp>
          <p:nvSpPr>
            <p:cNvPr id="1702" name="Google Shape;1702;p52"/>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3" name="Google Shape;1703;p52"/>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04" name="Google Shape;1704;p52" descr="Timeline background shape"/>
          <p:cNvSpPr/>
          <p:nvPr/>
        </p:nvSpPr>
        <p:spPr>
          <a:xfrm>
            <a:off x="1990126" y="4219341"/>
            <a:ext cx="960300" cy="153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05" name="Google Shape;1705;p52"/>
          <p:cNvGrpSpPr/>
          <p:nvPr/>
        </p:nvGrpSpPr>
        <p:grpSpPr>
          <a:xfrm>
            <a:off x="990271" y="3621603"/>
            <a:ext cx="823838" cy="458988"/>
            <a:chOff x="4411970" y="1801825"/>
            <a:chExt cx="734586" cy="409262"/>
          </a:xfrm>
        </p:grpSpPr>
        <p:sp>
          <p:nvSpPr>
            <p:cNvPr id="1706" name="Google Shape;1706;p52"/>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7" name="Google Shape;1707;p52"/>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08" name="Google Shape;1708;p52"/>
          <p:cNvGrpSpPr/>
          <p:nvPr/>
        </p:nvGrpSpPr>
        <p:grpSpPr>
          <a:xfrm>
            <a:off x="3095243" y="2339173"/>
            <a:ext cx="521514" cy="521514"/>
            <a:chOff x="5681300" y="2527788"/>
            <a:chExt cx="805800" cy="805800"/>
          </a:xfrm>
        </p:grpSpPr>
        <p:sp>
          <p:nvSpPr>
            <p:cNvPr id="1709" name="Google Shape;1709;p52"/>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0" name="Google Shape;1710;p52"/>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1" name="Google Shape;1711;p52"/>
          <p:cNvGrpSpPr/>
          <p:nvPr/>
        </p:nvGrpSpPr>
        <p:grpSpPr>
          <a:xfrm>
            <a:off x="3089483" y="3094865"/>
            <a:ext cx="533033" cy="533033"/>
            <a:chOff x="4049800" y="640400"/>
            <a:chExt cx="858900" cy="858900"/>
          </a:xfrm>
        </p:grpSpPr>
        <p:sp>
          <p:nvSpPr>
            <p:cNvPr id="1712" name="Google Shape;1712;p52"/>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3" name="Google Shape;1713;p52"/>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14" name="Google Shape;1714;p52"/>
          <p:cNvGrpSpPr/>
          <p:nvPr/>
        </p:nvGrpSpPr>
        <p:grpSpPr>
          <a:xfrm>
            <a:off x="3014966" y="3772543"/>
            <a:ext cx="682068" cy="682068"/>
            <a:chOff x="5080188" y="927900"/>
            <a:chExt cx="961200" cy="961200"/>
          </a:xfrm>
        </p:grpSpPr>
        <p:sp>
          <p:nvSpPr>
            <p:cNvPr id="1715" name="Google Shape;1715;p52"/>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6" name="Google Shape;1716;p52"/>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7" name="Google Shape;1717;p52"/>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8" name="Google Shape;1718;p52"/>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9" name="Google Shape;1719;p52"/>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0" name="Google Shape;1720;p52"/>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1" name="Google Shape;1721;p52"/>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2" name="Google Shape;1722;p52"/>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3" name="Google Shape;1723;p52"/>
          <p:cNvGrpSpPr/>
          <p:nvPr/>
        </p:nvGrpSpPr>
        <p:grpSpPr>
          <a:xfrm>
            <a:off x="4478465" y="3869234"/>
            <a:ext cx="505650" cy="504006"/>
            <a:chOff x="6039282" y="1042577"/>
            <a:chExt cx="734315" cy="731929"/>
          </a:xfrm>
        </p:grpSpPr>
        <p:sp>
          <p:nvSpPr>
            <p:cNvPr id="1724" name="Google Shape;1724;p52"/>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5" name="Google Shape;1725;p52"/>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6" name="Google Shape;1726;p52"/>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7" name="Google Shape;1727;p52"/>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8" name="Google Shape;1728;p52"/>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9" name="Google Shape;1729;p52"/>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2"/>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1" name="Google Shape;1731;p52"/>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2" name="Google Shape;1732;p52"/>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3" name="Google Shape;1733;p52"/>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2"/>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5" name="Google Shape;1735;p52"/>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2"/>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7" name="Google Shape;1737;p52"/>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2"/>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9" name="Google Shape;1739;p52"/>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2"/>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1" name="Google Shape;1741;p52"/>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2"/>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3" name="Google Shape;1743;p52"/>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2"/>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45" name="Google Shape;1745;p52"/>
          <p:cNvGrpSpPr/>
          <p:nvPr/>
        </p:nvGrpSpPr>
        <p:grpSpPr>
          <a:xfrm>
            <a:off x="5091067" y="2298862"/>
            <a:ext cx="567744" cy="602136"/>
            <a:chOff x="1825800" y="1651625"/>
            <a:chExt cx="539989" cy="571775"/>
          </a:xfrm>
        </p:grpSpPr>
        <p:sp>
          <p:nvSpPr>
            <p:cNvPr id="1746" name="Google Shape;1746;p52"/>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7" name="Google Shape;1747;p52"/>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8" name="Google Shape;1748;p52"/>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9" name="Google Shape;1749;p52"/>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50" name="Google Shape;1750;p52"/>
          <p:cNvGrpSpPr/>
          <p:nvPr/>
        </p:nvGrpSpPr>
        <p:grpSpPr>
          <a:xfrm>
            <a:off x="3765995" y="3855579"/>
            <a:ext cx="508123" cy="507955"/>
            <a:chOff x="1897577" y="2802432"/>
            <a:chExt cx="492176" cy="492014"/>
          </a:xfrm>
        </p:grpSpPr>
        <p:sp>
          <p:nvSpPr>
            <p:cNvPr id="1751" name="Google Shape;1751;p52"/>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2" name="Google Shape;1752;p52"/>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3" name="Google Shape;1753;p52"/>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4" name="Google Shape;1754;p52"/>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5" name="Google Shape;1755;p52"/>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6" name="Google Shape;1756;p52"/>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7" name="Google Shape;1757;p52"/>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8" name="Google Shape;1758;p52"/>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9" name="Google Shape;1759;p52"/>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0" name="Google Shape;1760;p52"/>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1" name="Google Shape;1761;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2" name="Google Shape;1762;p52"/>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3" name="Google Shape;1763;p52"/>
          <p:cNvGrpSpPr/>
          <p:nvPr/>
        </p:nvGrpSpPr>
        <p:grpSpPr>
          <a:xfrm>
            <a:off x="997525" y="4169123"/>
            <a:ext cx="809227" cy="200842"/>
            <a:chOff x="2013045" y="4813233"/>
            <a:chExt cx="921986" cy="228854"/>
          </a:xfrm>
        </p:grpSpPr>
        <p:sp>
          <p:nvSpPr>
            <p:cNvPr id="1764" name="Google Shape;1764;p52"/>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5" name="Google Shape;1765;p52"/>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66" name="Google Shape;1766;p52"/>
          <p:cNvGrpSpPr/>
          <p:nvPr/>
        </p:nvGrpSpPr>
        <p:grpSpPr>
          <a:xfrm>
            <a:off x="1005985" y="2656004"/>
            <a:ext cx="792421" cy="269941"/>
            <a:chOff x="1046767" y="4756633"/>
            <a:chExt cx="859646" cy="292841"/>
          </a:xfrm>
        </p:grpSpPr>
        <p:sp>
          <p:nvSpPr>
            <p:cNvPr id="1767" name="Google Shape;1767;p52"/>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8" name="Google Shape;1768;p52"/>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9" name="Google Shape;1769;p52"/>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770" name="Google Shape;1770;p52"/>
          <p:cNvSpPr/>
          <p:nvPr/>
        </p:nvSpPr>
        <p:spPr>
          <a:xfrm>
            <a:off x="7439738" y="2350672"/>
            <a:ext cx="185410" cy="94006"/>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1" name="Google Shape;1771;p52"/>
          <p:cNvSpPr/>
          <p:nvPr/>
        </p:nvSpPr>
        <p:spPr>
          <a:xfrm>
            <a:off x="7139193" y="2333075"/>
            <a:ext cx="171771" cy="129198"/>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2" name="Google Shape;1772;p52"/>
          <p:cNvSpPr/>
          <p:nvPr/>
        </p:nvSpPr>
        <p:spPr>
          <a:xfrm>
            <a:off x="7761482" y="2339529"/>
            <a:ext cx="167813" cy="116777"/>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3" name="Google Shape;1773;p52"/>
          <p:cNvSpPr/>
          <p:nvPr/>
        </p:nvSpPr>
        <p:spPr>
          <a:xfrm>
            <a:off x="8056187" y="2333075"/>
            <a:ext cx="163855" cy="129198"/>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774" name="Google Shape;1774;p52"/>
          <p:cNvGrpSpPr/>
          <p:nvPr/>
        </p:nvGrpSpPr>
        <p:grpSpPr>
          <a:xfrm>
            <a:off x="7141841" y="2550562"/>
            <a:ext cx="166473" cy="141497"/>
            <a:chOff x="4660325" y="1866850"/>
            <a:chExt cx="68350" cy="58100"/>
          </a:xfrm>
        </p:grpSpPr>
        <p:sp>
          <p:nvSpPr>
            <p:cNvPr id="1775" name="Google Shape;1775;p52"/>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6" name="Google Shape;1776;p52"/>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77" name="Google Shape;1777;p52"/>
          <p:cNvGrpSpPr/>
          <p:nvPr/>
        </p:nvGrpSpPr>
        <p:grpSpPr>
          <a:xfrm>
            <a:off x="7451186" y="2576286"/>
            <a:ext cx="162515" cy="90049"/>
            <a:chOff x="4791775" y="1877500"/>
            <a:chExt cx="66725" cy="36975"/>
          </a:xfrm>
        </p:grpSpPr>
        <p:sp>
          <p:nvSpPr>
            <p:cNvPr id="1778" name="Google Shape;1778;p52"/>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9" name="Google Shape;1779;p52"/>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0" name="Google Shape;1780;p52"/>
          <p:cNvGrpSpPr/>
          <p:nvPr/>
        </p:nvGrpSpPr>
        <p:grpSpPr>
          <a:xfrm>
            <a:off x="7772899" y="2576286"/>
            <a:ext cx="144979" cy="90049"/>
            <a:chOff x="4923925" y="1877500"/>
            <a:chExt cx="59525" cy="36975"/>
          </a:xfrm>
        </p:grpSpPr>
        <p:sp>
          <p:nvSpPr>
            <p:cNvPr id="1781" name="Google Shape;1781;p52"/>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2" name="Google Shape;1782;p52"/>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3" name="Google Shape;1783;p52"/>
          <p:cNvGrpSpPr/>
          <p:nvPr/>
        </p:nvGrpSpPr>
        <p:grpSpPr>
          <a:xfrm>
            <a:off x="8067390" y="2558477"/>
            <a:ext cx="141447" cy="125667"/>
            <a:chOff x="5058450" y="1870100"/>
            <a:chExt cx="58075" cy="51600"/>
          </a:xfrm>
        </p:grpSpPr>
        <p:sp>
          <p:nvSpPr>
            <p:cNvPr id="1784" name="Google Shape;1784;p52"/>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5" name="Google Shape;1785;p52"/>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6" name="Google Shape;1786;p52"/>
          <p:cNvGrpSpPr/>
          <p:nvPr/>
        </p:nvGrpSpPr>
        <p:grpSpPr>
          <a:xfrm>
            <a:off x="7481905" y="2980885"/>
            <a:ext cx="101077" cy="107645"/>
            <a:chOff x="4811425" y="2065025"/>
            <a:chExt cx="41500" cy="44200"/>
          </a:xfrm>
        </p:grpSpPr>
        <p:sp>
          <p:nvSpPr>
            <p:cNvPr id="1787" name="Google Shape;1787;p52"/>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8" name="Google Shape;1788;p52"/>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9" name="Google Shape;1789;p52"/>
          <p:cNvGrpSpPr/>
          <p:nvPr/>
        </p:nvGrpSpPr>
        <p:grpSpPr>
          <a:xfrm>
            <a:off x="7774342" y="2981098"/>
            <a:ext cx="120867" cy="107218"/>
            <a:chOff x="4929875" y="2065025"/>
            <a:chExt cx="49625" cy="44025"/>
          </a:xfrm>
        </p:grpSpPr>
        <p:sp>
          <p:nvSpPr>
            <p:cNvPr id="1790" name="Google Shape;1790;p52"/>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1" name="Google Shape;1791;p52"/>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2" name="Google Shape;1792;p52"/>
          <p:cNvGrpSpPr/>
          <p:nvPr/>
        </p:nvGrpSpPr>
        <p:grpSpPr>
          <a:xfrm>
            <a:off x="8103011" y="2984112"/>
            <a:ext cx="70206" cy="101191"/>
            <a:chOff x="5083925" y="2066350"/>
            <a:chExt cx="28825" cy="41550"/>
          </a:xfrm>
        </p:grpSpPr>
        <p:sp>
          <p:nvSpPr>
            <p:cNvPr id="1793" name="Google Shape;1793;p52"/>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52"/>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5" name="Google Shape;1795;p52"/>
          <p:cNvGrpSpPr/>
          <p:nvPr/>
        </p:nvGrpSpPr>
        <p:grpSpPr>
          <a:xfrm>
            <a:off x="7134565" y="2999759"/>
            <a:ext cx="181026" cy="69896"/>
            <a:chOff x="4659775" y="2072775"/>
            <a:chExt cx="74325" cy="28700"/>
          </a:xfrm>
        </p:grpSpPr>
        <p:sp>
          <p:nvSpPr>
            <p:cNvPr id="1796" name="Google Shape;1796;p52"/>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52"/>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52"/>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9" name="Google Shape;1799;p52"/>
          <p:cNvGrpSpPr/>
          <p:nvPr/>
        </p:nvGrpSpPr>
        <p:grpSpPr>
          <a:xfrm>
            <a:off x="8054421" y="2790324"/>
            <a:ext cx="167387" cy="89197"/>
            <a:chOff x="4662475" y="1976500"/>
            <a:chExt cx="68725" cy="36625"/>
          </a:xfrm>
        </p:grpSpPr>
        <p:sp>
          <p:nvSpPr>
            <p:cNvPr id="1800" name="Google Shape;1800;p52"/>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52"/>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52"/>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3" name="Google Shape;1803;p52"/>
          <p:cNvGrpSpPr/>
          <p:nvPr/>
        </p:nvGrpSpPr>
        <p:grpSpPr>
          <a:xfrm>
            <a:off x="7751326" y="2793764"/>
            <a:ext cx="166899" cy="82317"/>
            <a:chOff x="4920150" y="1977875"/>
            <a:chExt cx="68525" cy="33800"/>
          </a:xfrm>
        </p:grpSpPr>
        <p:sp>
          <p:nvSpPr>
            <p:cNvPr id="1804" name="Google Shape;1804;p52"/>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52"/>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52"/>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07" name="Google Shape;1807;p52"/>
          <p:cNvGrpSpPr/>
          <p:nvPr/>
        </p:nvGrpSpPr>
        <p:grpSpPr>
          <a:xfrm>
            <a:off x="7162483" y="3197682"/>
            <a:ext cx="125190" cy="127859"/>
            <a:chOff x="4676550" y="2160575"/>
            <a:chExt cx="51400" cy="52500"/>
          </a:xfrm>
        </p:grpSpPr>
        <p:sp>
          <p:nvSpPr>
            <p:cNvPr id="1808" name="Google Shape;1808;p52"/>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52"/>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52"/>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11" name="Google Shape;1811;p52"/>
          <p:cNvGrpSpPr/>
          <p:nvPr/>
        </p:nvGrpSpPr>
        <p:grpSpPr>
          <a:xfrm>
            <a:off x="7459741" y="3204714"/>
            <a:ext cx="145405" cy="113794"/>
            <a:chOff x="4768325" y="2163475"/>
            <a:chExt cx="59700" cy="46725"/>
          </a:xfrm>
        </p:grpSpPr>
        <p:sp>
          <p:nvSpPr>
            <p:cNvPr id="1812" name="Google Shape;1812;p52"/>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52"/>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14" name="Google Shape;1814;p52"/>
          <p:cNvSpPr/>
          <p:nvPr/>
        </p:nvSpPr>
        <p:spPr>
          <a:xfrm>
            <a:off x="7791696" y="3196221"/>
            <a:ext cx="86159" cy="130781"/>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52"/>
          <p:cNvSpPr/>
          <p:nvPr/>
        </p:nvSpPr>
        <p:spPr>
          <a:xfrm>
            <a:off x="8064072" y="4203306"/>
            <a:ext cx="148084" cy="16298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52"/>
          <p:cNvSpPr/>
          <p:nvPr/>
        </p:nvSpPr>
        <p:spPr>
          <a:xfrm>
            <a:off x="7165528" y="3431527"/>
            <a:ext cx="119101" cy="163415"/>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52"/>
          <p:cNvSpPr/>
          <p:nvPr/>
        </p:nvSpPr>
        <p:spPr>
          <a:xfrm>
            <a:off x="7133499" y="4219136"/>
            <a:ext cx="183157" cy="131329"/>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52"/>
          <p:cNvSpPr/>
          <p:nvPr/>
        </p:nvSpPr>
        <p:spPr>
          <a:xfrm>
            <a:off x="7150823" y="3700780"/>
            <a:ext cx="148511" cy="112515"/>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52"/>
          <p:cNvSpPr/>
          <p:nvPr/>
        </p:nvSpPr>
        <p:spPr>
          <a:xfrm>
            <a:off x="7784572" y="3682697"/>
            <a:ext cx="100408" cy="14868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20" name="Google Shape;1820;p52"/>
          <p:cNvGrpSpPr/>
          <p:nvPr/>
        </p:nvGrpSpPr>
        <p:grpSpPr>
          <a:xfrm>
            <a:off x="7476059" y="3459808"/>
            <a:ext cx="112768" cy="106853"/>
            <a:chOff x="4768575" y="2253950"/>
            <a:chExt cx="46300" cy="43875"/>
          </a:xfrm>
        </p:grpSpPr>
        <p:sp>
          <p:nvSpPr>
            <p:cNvPr id="1821" name="Google Shape;1821;p52"/>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52"/>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3" name="Google Shape;1823;p52"/>
          <p:cNvGrpSpPr/>
          <p:nvPr/>
        </p:nvGrpSpPr>
        <p:grpSpPr>
          <a:xfrm>
            <a:off x="7775682" y="3948834"/>
            <a:ext cx="118187" cy="146246"/>
            <a:chOff x="4960900" y="2433225"/>
            <a:chExt cx="48525" cy="60050"/>
          </a:xfrm>
        </p:grpSpPr>
        <p:sp>
          <p:nvSpPr>
            <p:cNvPr id="1824" name="Google Shape;1824;p52"/>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52"/>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6" name="Google Shape;1826;p52"/>
          <p:cNvGrpSpPr/>
          <p:nvPr/>
        </p:nvGrpSpPr>
        <p:grpSpPr>
          <a:xfrm>
            <a:off x="7464247" y="4212895"/>
            <a:ext cx="136394" cy="143810"/>
            <a:chOff x="4854075" y="2527625"/>
            <a:chExt cx="56000" cy="59050"/>
          </a:xfrm>
        </p:grpSpPr>
        <p:sp>
          <p:nvSpPr>
            <p:cNvPr id="1827" name="Google Shape;1827;p52"/>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8" name="Google Shape;1828;p52"/>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9" name="Google Shape;1829;p52"/>
          <p:cNvSpPr/>
          <p:nvPr/>
        </p:nvSpPr>
        <p:spPr>
          <a:xfrm>
            <a:off x="7479500" y="3955623"/>
            <a:ext cx="105888" cy="132668"/>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0" name="Google Shape;1830;p52"/>
          <p:cNvSpPr/>
          <p:nvPr/>
        </p:nvSpPr>
        <p:spPr>
          <a:xfrm>
            <a:off x="8058166" y="3195277"/>
            <a:ext cx="159897" cy="132668"/>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1" name="Google Shape;1831;p52"/>
          <p:cNvSpPr/>
          <p:nvPr/>
        </p:nvSpPr>
        <p:spPr>
          <a:xfrm>
            <a:off x="7157429" y="3955623"/>
            <a:ext cx="135298" cy="132668"/>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32" name="Google Shape;1832;p52"/>
          <p:cNvGrpSpPr/>
          <p:nvPr/>
        </p:nvGrpSpPr>
        <p:grpSpPr>
          <a:xfrm>
            <a:off x="8088458" y="3676639"/>
            <a:ext cx="99312" cy="160797"/>
            <a:chOff x="5059700" y="2334775"/>
            <a:chExt cx="40775" cy="66025"/>
          </a:xfrm>
        </p:grpSpPr>
        <p:sp>
          <p:nvSpPr>
            <p:cNvPr id="1833" name="Google Shape;1833;p52"/>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4" name="Google Shape;1834;p52"/>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5" name="Google Shape;1835;p52"/>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6" name="Google Shape;1836;p52"/>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7" name="Google Shape;1837;p52"/>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8" name="Google Shape;1838;p52"/>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9" name="Google Shape;1839;p52"/>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0" name="Google Shape;1840;p52"/>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1" name="Google Shape;1841;p52"/>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2" name="Google Shape;1842;p52"/>
          <p:cNvGrpSpPr/>
          <p:nvPr/>
        </p:nvGrpSpPr>
        <p:grpSpPr>
          <a:xfrm>
            <a:off x="8045622" y="3941771"/>
            <a:ext cx="184984" cy="160371"/>
            <a:chOff x="5037700" y="2430325"/>
            <a:chExt cx="75950" cy="65850"/>
          </a:xfrm>
        </p:grpSpPr>
        <p:sp>
          <p:nvSpPr>
            <p:cNvPr id="1843" name="Google Shape;1843;p52"/>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4" name="Google Shape;1844;p52"/>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45" name="Google Shape;1845;p52"/>
          <p:cNvGrpSpPr/>
          <p:nvPr/>
        </p:nvGrpSpPr>
        <p:grpSpPr>
          <a:xfrm>
            <a:off x="7465128" y="3708223"/>
            <a:ext cx="173014" cy="97629"/>
            <a:chOff x="4756975" y="2341800"/>
            <a:chExt cx="91975" cy="51925"/>
          </a:xfrm>
        </p:grpSpPr>
        <p:sp>
          <p:nvSpPr>
            <p:cNvPr id="1846" name="Google Shape;1846;p52"/>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7" name="Google Shape;1847;p52"/>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8" name="Google Shape;1848;p52"/>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9" name="Google Shape;1849;p52"/>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0" name="Google Shape;1850;p52"/>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1" name="Google Shape;1851;p52"/>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2" name="Google Shape;1852;p52"/>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3" name="Google Shape;1853;p52"/>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4" name="Google Shape;1854;p52"/>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5" name="Google Shape;1855;p52"/>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6" name="Google Shape;1856;p52"/>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7" name="Google Shape;1857;p52"/>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8" name="Google Shape;1858;p52"/>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9" name="Google Shape;1859;p52"/>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0" name="Google Shape;1860;p52"/>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1" name="Google Shape;1861;p52"/>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2" name="Google Shape;1862;p52"/>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3" name="Google Shape;1863;p52"/>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4" name="Google Shape;1864;p52"/>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5" name="Google Shape;1865;p52"/>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66" name="Google Shape;1866;p52"/>
          <p:cNvGrpSpPr/>
          <p:nvPr/>
        </p:nvGrpSpPr>
        <p:grpSpPr>
          <a:xfrm>
            <a:off x="7732065" y="4196920"/>
            <a:ext cx="212497" cy="175761"/>
            <a:chOff x="4943575" y="2516350"/>
            <a:chExt cx="98675" cy="81700"/>
          </a:xfrm>
        </p:grpSpPr>
        <p:sp>
          <p:nvSpPr>
            <p:cNvPr id="1867" name="Google Shape;1867;p52"/>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8" name="Google Shape;1868;p52"/>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9" name="Google Shape;1869;p52"/>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0" name="Google Shape;1870;p52"/>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1" name="Google Shape;1871;p52"/>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2" name="Google Shape;1872;p52"/>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3" name="Google Shape;1873;p52"/>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4" name="Google Shape;1874;p52"/>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5" name="Google Shape;1875;p52"/>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6" name="Google Shape;1876;p52"/>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7" name="Google Shape;1877;p52"/>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8" name="Google Shape;1878;p52"/>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9" name="Google Shape;1879;p52"/>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0" name="Google Shape;1880;p52"/>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1" name="Google Shape;1881;p52"/>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2" name="Google Shape;1882;p52"/>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3" name="Google Shape;1883;p52"/>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4" name="Google Shape;1884;p52"/>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5" name="Google Shape;1885;p52"/>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6" name="Google Shape;1886;p52"/>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7" name="Google Shape;1887;p52"/>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8" name="Google Shape;1888;p52"/>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9" name="Google Shape;1889;p52"/>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0" name="Google Shape;1890;p52"/>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1" name="Google Shape;1891;p52"/>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2" name="Google Shape;1892;p52"/>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3" name="Google Shape;1893;p52"/>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4" name="Google Shape;1894;p52"/>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5" name="Google Shape;1895;p52"/>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6" name="Google Shape;1896;p52"/>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7" name="Google Shape;1897;p52"/>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8" name="Google Shape;1898;p52"/>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9" name="Google Shape;1899;p52"/>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0" name="Google Shape;1900;p52"/>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1" name="Google Shape;1901;p52"/>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2" name="Google Shape;1902;p52"/>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3" name="Google Shape;1903;p52"/>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4" name="Google Shape;1904;p52"/>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5" name="Google Shape;1905;p52"/>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6" name="Google Shape;1906;p52"/>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7" name="Google Shape;1907;p52"/>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8" name="Google Shape;1908;p52"/>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9" name="Google Shape;1909;p52"/>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0" name="Google Shape;1910;p52"/>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1" name="Google Shape;1911;p52"/>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2" name="Google Shape;1912;p52"/>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3" name="Google Shape;1913;p52"/>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4" name="Google Shape;1914;p52"/>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5" name="Google Shape;1915;p52"/>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6" name="Google Shape;1916;p52"/>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7" name="Google Shape;1917;p52"/>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8" name="Google Shape;1918;p52"/>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9" name="Google Shape;1919;p52"/>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0" name="Google Shape;1920;p52"/>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1" name="Google Shape;1921;p52"/>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2" name="Google Shape;1922;p52"/>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3" name="Google Shape;1923;p52"/>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4" name="Google Shape;1924;p52"/>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5" name="Google Shape;1925;p52"/>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6" name="Google Shape;1926;p52"/>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7" name="Google Shape;1927;p52"/>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8" name="Google Shape;1928;p52"/>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9" name="Google Shape;1929;p52"/>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0" name="Google Shape;1930;p52"/>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1" name="Google Shape;1931;p52"/>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2" name="Google Shape;1932;p52"/>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3" name="Google Shape;1933;p52"/>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4" name="Google Shape;1934;p52"/>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5" name="Google Shape;1935;p52"/>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6" name="Google Shape;1936;p52"/>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7" name="Google Shape;1937;p52"/>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8" name="Google Shape;1938;p52"/>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9" name="Google Shape;1939;p52"/>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0" name="Google Shape;1940;p52"/>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1" name="Google Shape;1941;p52"/>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2" name="Google Shape;1942;p52"/>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3" name="Google Shape;1943;p52"/>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4" name="Google Shape;1944;p52"/>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945" name="Google Shape;1945;p52"/>
          <p:cNvSpPr/>
          <p:nvPr/>
        </p:nvSpPr>
        <p:spPr>
          <a:xfrm>
            <a:off x="7747607" y="3426066"/>
            <a:ext cx="174337" cy="174337"/>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6" name="Google Shape;1946;p52"/>
          <p:cNvSpPr/>
          <p:nvPr/>
        </p:nvSpPr>
        <p:spPr>
          <a:xfrm>
            <a:off x="8063864" y="3454885"/>
            <a:ext cx="148500" cy="116700"/>
          </a:xfrm>
          <a:prstGeom prst="stripedRightArrow">
            <a:avLst>
              <a:gd name="adj1" fmla="val 50000"/>
              <a:gd name="adj2" fmla="val 50000"/>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7" name="Google Shape;1947;p52"/>
          <p:cNvSpPr/>
          <p:nvPr/>
        </p:nvSpPr>
        <p:spPr>
          <a:xfrm>
            <a:off x="7165978"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8" name="Google Shape;1948;p52"/>
          <p:cNvSpPr/>
          <p:nvPr/>
        </p:nvSpPr>
        <p:spPr>
          <a:xfrm flipH="1">
            <a:off x="7473344" y="2775822"/>
            <a:ext cx="118200" cy="1182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Shape 1952"/>
        <p:cNvGrpSpPr/>
        <p:nvPr/>
      </p:nvGrpSpPr>
      <p:grpSpPr>
        <a:xfrm>
          <a:off x="0" y="0"/>
          <a:ext cx="0" cy="0"/>
          <a:chOff x="0" y="0"/>
          <a:chExt cx="0" cy="0"/>
        </a:xfrm>
      </p:grpSpPr>
      <p:grpSp>
        <p:nvGrpSpPr>
          <p:cNvPr id="1953" name="Google Shape;1953;p53"/>
          <p:cNvGrpSpPr/>
          <p:nvPr/>
        </p:nvGrpSpPr>
        <p:grpSpPr>
          <a:xfrm>
            <a:off x="3642951" y="1176740"/>
            <a:ext cx="2078182" cy="1366558"/>
            <a:chOff x="235800" y="830650"/>
            <a:chExt cx="6978450" cy="4588844"/>
          </a:xfrm>
        </p:grpSpPr>
        <p:sp>
          <p:nvSpPr>
            <p:cNvPr id="1954" name="Google Shape;1954;p53"/>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5" name="Google Shape;1955;p53"/>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6" name="Google Shape;1956;p53"/>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7" name="Google Shape;1957;p53"/>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8" name="Google Shape;1958;p53"/>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9" name="Google Shape;1959;p53"/>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60" name="Google Shape;1960;p53"/>
          <p:cNvGrpSpPr/>
          <p:nvPr/>
        </p:nvGrpSpPr>
        <p:grpSpPr>
          <a:xfrm>
            <a:off x="738454" y="3007842"/>
            <a:ext cx="2622876" cy="1333540"/>
            <a:chOff x="238125" y="1038125"/>
            <a:chExt cx="7146800" cy="3633625"/>
          </a:xfrm>
        </p:grpSpPr>
        <p:sp>
          <p:nvSpPr>
            <p:cNvPr id="1961" name="Google Shape;1961;p53"/>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2" name="Google Shape;1962;p53"/>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3" name="Google Shape;1963;p53"/>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4" name="Google Shape;1964;p53"/>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5" name="Google Shape;1965;p53"/>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6" name="Google Shape;1966;p53"/>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7" name="Google Shape;1967;p53"/>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8" name="Google Shape;1968;p53"/>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9" name="Google Shape;1969;p53"/>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0" name="Google Shape;1970;p53"/>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1" name="Google Shape;1971;p53"/>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2" name="Google Shape;1972;p53"/>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3" name="Google Shape;1973;p53"/>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4" name="Google Shape;1974;p53"/>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5" name="Google Shape;1975;p53"/>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6" name="Google Shape;1976;p53"/>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7" name="Google Shape;1977;p53"/>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8" name="Google Shape;1978;p53"/>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9" name="Google Shape;1979;p53"/>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0" name="Google Shape;1980;p53"/>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1" name="Google Shape;1981;p53"/>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2" name="Google Shape;1982;p53"/>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3" name="Google Shape;1983;p53"/>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4" name="Google Shape;1984;p53"/>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5" name="Google Shape;1985;p53"/>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6" name="Google Shape;1986;p53"/>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7" name="Google Shape;1987;p53"/>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8" name="Google Shape;1988;p53"/>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9" name="Google Shape;1989;p53"/>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0" name="Google Shape;1990;p53"/>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1" name="Google Shape;1991;p53"/>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2" name="Google Shape;1992;p53"/>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3" name="Google Shape;1993;p53"/>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4" name="Google Shape;1994;p53"/>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5" name="Google Shape;1995;p53"/>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6" name="Google Shape;1996;p53"/>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7" name="Google Shape;1997;p53"/>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8" name="Google Shape;1998;p53"/>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9" name="Google Shape;1999;p53"/>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0" name="Google Shape;2000;p53"/>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1" name="Google Shape;2001;p53"/>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2" name="Google Shape;2002;p53"/>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3" name="Google Shape;2003;p53"/>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4" name="Google Shape;2004;p53"/>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5" name="Google Shape;2005;p53"/>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6" name="Google Shape;2006;p53"/>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7" name="Google Shape;2007;p53"/>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8" name="Google Shape;2008;p53"/>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9" name="Google Shape;2009;p53"/>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0" name="Google Shape;2010;p53"/>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1" name="Google Shape;2011;p53"/>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2" name="Google Shape;2012;p53"/>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3" name="Google Shape;2013;p53"/>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4" name="Google Shape;2014;p53"/>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5" name="Google Shape;2015;p53"/>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6" name="Google Shape;2016;p53"/>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7" name="Google Shape;2017;p53"/>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8" name="Google Shape;2018;p53"/>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9" name="Google Shape;2019;p53"/>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0" name="Google Shape;2020;p53"/>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1" name="Google Shape;2021;p53"/>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2" name="Google Shape;2022;p53"/>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3" name="Google Shape;2023;p53"/>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4" name="Google Shape;2024;p53"/>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5" name="Google Shape;2025;p53"/>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6" name="Google Shape;2026;p53"/>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7" name="Google Shape;2027;p53"/>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8" name="Google Shape;2028;p53"/>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9" name="Google Shape;2029;p53"/>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0" name="Google Shape;2030;p53"/>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1" name="Google Shape;2031;p53"/>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2" name="Google Shape;2032;p53"/>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3" name="Google Shape;2033;p53"/>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4" name="Google Shape;2034;p53"/>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5" name="Google Shape;2035;p53"/>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6" name="Google Shape;2036;p53"/>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7" name="Google Shape;2037;p53"/>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8" name="Google Shape;2038;p53"/>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9" name="Google Shape;2039;p53"/>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0" name="Google Shape;2040;p53"/>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1" name="Google Shape;2041;p53"/>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2" name="Google Shape;2042;p53"/>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3" name="Google Shape;2043;p53"/>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4" name="Google Shape;2044;p53"/>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5" name="Google Shape;2045;p53"/>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6" name="Google Shape;2046;p53"/>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7" name="Google Shape;2047;p53"/>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8" name="Google Shape;2048;p53"/>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9" name="Google Shape;2049;p53"/>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0" name="Google Shape;2050;p53"/>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1" name="Google Shape;2051;p53"/>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2" name="Google Shape;2052;p53"/>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3" name="Google Shape;2053;p53"/>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4" name="Google Shape;2054;p53"/>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5" name="Google Shape;2055;p53"/>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6" name="Google Shape;2056;p53"/>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7" name="Google Shape;2057;p53"/>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8" name="Google Shape;2058;p53"/>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9" name="Google Shape;2059;p53"/>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0" name="Google Shape;2060;p53"/>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1" name="Google Shape;2061;p53"/>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2" name="Google Shape;2062;p53"/>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3" name="Google Shape;2063;p53"/>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4" name="Google Shape;2064;p53"/>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5" name="Google Shape;2065;p53"/>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6" name="Google Shape;2066;p53"/>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7" name="Google Shape;2067;p53"/>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8" name="Google Shape;2068;p53"/>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9" name="Google Shape;2069;p53"/>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0" name="Google Shape;2070;p53"/>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1" name="Google Shape;2071;p53"/>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2" name="Google Shape;2072;p53"/>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3" name="Google Shape;2073;p53"/>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4" name="Google Shape;2074;p53"/>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5" name="Google Shape;2075;p53"/>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6" name="Google Shape;2076;p53"/>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7" name="Google Shape;2077;p53"/>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8" name="Google Shape;2078;p53"/>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9" name="Google Shape;2079;p53"/>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0" name="Google Shape;2080;p53"/>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1" name="Google Shape;2081;p53"/>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2" name="Google Shape;2082;p53"/>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3" name="Google Shape;2083;p53"/>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4" name="Google Shape;2084;p53"/>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5" name="Google Shape;2085;p53"/>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6" name="Google Shape;2086;p53"/>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7" name="Google Shape;2087;p53"/>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8" name="Google Shape;2088;p53"/>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9" name="Google Shape;2089;p53"/>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0" name="Google Shape;2090;p53"/>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1" name="Google Shape;2091;p53"/>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2" name="Google Shape;2092;p53"/>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3" name="Google Shape;2093;p53"/>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4" name="Google Shape;2094;p53"/>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5" name="Google Shape;2095;p53"/>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6" name="Google Shape;2096;p53"/>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7" name="Google Shape;2097;p53"/>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8" name="Google Shape;2098;p53"/>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9" name="Google Shape;2099;p53"/>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0" name="Google Shape;2100;p53"/>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1" name="Google Shape;2101;p53"/>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2" name="Google Shape;2102;p53"/>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3" name="Google Shape;2103;p53"/>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4" name="Google Shape;2104;p53"/>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5" name="Google Shape;2105;p53"/>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6" name="Google Shape;2106;p53"/>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7" name="Google Shape;2107;p53"/>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8" name="Google Shape;2108;p53"/>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9" name="Google Shape;2109;p53"/>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0" name="Google Shape;2110;p53"/>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1" name="Google Shape;2111;p53"/>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2" name="Google Shape;2112;p53"/>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3" name="Google Shape;2113;p53"/>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4" name="Google Shape;2114;p53"/>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5" name="Google Shape;2115;p53"/>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6" name="Google Shape;2116;p53"/>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7" name="Google Shape;2117;p53"/>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8" name="Google Shape;2118;p53"/>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9" name="Google Shape;2119;p53"/>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0" name="Google Shape;2120;p53"/>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1" name="Google Shape;2121;p53"/>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2" name="Google Shape;2122;p53"/>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3" name="Google Shape;2123;p53"/>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4" name="Google Shape;2124;p53"/>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5" name="Google Shape;2125;p53"/>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6" name="Google Shape;2126;p53"/>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7" name="Google Shape;2127;p53"/>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8" name="Google Shape;2128;p53"/>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9" name="Google Shape;2129;p53"/>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0" name="Google Shape;2130;p53"/>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1" name="Google Shape;2131;p53"/>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2" name="Google Shape;2132;p53"/>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3" name="Google Shape;2133;p53"/>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4" name="Google Shape;2134;p53"/>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5" name="Google Shape;2135;p53"/>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6" name="Google Shape;2136;p53"/>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7" name="Google Shape;2137;p53"/>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8" name="Google Shape;2138;p53"/>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9" name="Google Shape;2139;p53"/>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0" name="Google Shape;2140;p53"/>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1" name="Google Shape;2141;p53"/>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2" name="Google Shape;2142;p53"/>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3" name="Google Shape;2143;p53"/>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4" name="Google Shape;2144;p53"/>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5" name="Google Shape;2145;p53"/>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 name="Google Shape;2146;p53"/>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 name="Google Shape;2147;p53"/>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8" name="Google Shape;2148;p53"/>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9" name="Google Shape;2149;p53"/>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0" name="Google Shape;2150;p53"/>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1" name="Google Shape;2151;p53"/>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2" name="Google Shape;2152;p53"/>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3" name="Google Shape;2153;p53"/>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4" name="Google Shape;2154;p53"/>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5" name="Google Shape;2155;p53"/>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6" name="Google Shape;2156;p53"/>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7" name="Google Shape;2157;p53"/>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8" name="Google Shape;2158;p53"/>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9" name="Google Shape;2159;p53"/>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0" name="Google Shape;2160;p53"/>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1" name="Google Shape;2161;p53"/>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2" name="Google Shape;2162;p53"/>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3" name="Google Shape;2163;p53"/>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4" name="Google Shape;2164;p53"/>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5" name="Google Shape;2165;p53"/>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6" name="Google Shape;2166;p53"/>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7" name="Google Shape;2167;p53"/>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8" name="Google Shape;2168;p53"/>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9" name="Google Shape;2169;p53"/>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0" name="Google Shape;2170;p53"/>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1" name="Google Shape;2171;p53"/>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2" name="Google Shape;2172;p53"/>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3" name="Google Shape;2173;p53"/>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4" name="Google Shape;2174;p53"/>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5" name="Google Shape;2175;p53"/>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6" name="Google Shape;2176;p53"/>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7" name="Google Shape;2177;p53"/>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8" name="Google Shape;2178;p53"/>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9" name="Google Shape;2179;p53"/>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0" name="Google Shape;2180;p53"/>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1" name="Google Shape;2181;p53"/>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2" name="Google Shape;2182;p53"/>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3" name="Google Shape;2183;p53"/>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4" name="Google Shape;2184;p53"/>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5" name="Google Shape;2185;p53"/>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6" name="Google Shape;2186;p53"/>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7" name="Google Shape;2187;p53"/>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8" name="Google Shape;2188;p53"/>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9" name="Google Shape;2189;p53"/>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0" name="Google Shape;2190;p53"/>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1" name="Google Shape;2191;p53"/>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2" name="Google Shape;2192;p53"/>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3" name="Google Shape;2193;p53"/>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4" name="Google Shape;2194;p53"/>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5" name="Google Shape;2195;p53"/>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6" name="Google Shape;2196;p53"/>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7" name="Google Shape;2197;p53"/>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8" name="Google Shape;2198;p53"/>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9" name="Google Shape;2199;p53"/>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0" name="Google Shape;2200;p53"/>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1" name="Google Shape;2201;p53"/>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2" name="Google Shape;2202;p53"/>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4" name="Google Shape;2204;p53"/>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5" name="Google Shape;2235;p53"/>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3" name="Google Shape;2253;p53"/>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9" name="Google Shape;2259;p53"/>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0" name="Google Shape;2260;p53"/>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1" name="Google Shape;2261;p53"/>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2" name="Google Shape;2262;p53"/>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4" name="Google Shape;2264;p53"/>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6" name="Google Shape;2266;p53"/>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7" name="Google Shape;2267;p53"/>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8" name="Google Shape;2268;p53"/>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9" name="Google Shape;2269;p53"/>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0" name="Google Shape;2270;p53"/>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1" name="Google Shape;2271;p53"/>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2" name="Google Shape;2272;p53"/>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3" name="Google Shape;2273;p53"/>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4" name="Google Shape;2274;p53"/>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5" name="Google Shape;2275;p53"/>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6" name="Google Shape;2276;p53"/>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7" name="Google Shape;2277;p53"/>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8" name="Google Shape;2278;p53"/>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9" name="Google Shape;2279;p53"/>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0" name="Google Shape;2280;p53"/>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1" name="Google Shape;2281;p53"/>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2" name="Google Shape;2282;p53"/>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3" name="Google Shape;2283;p53"/>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4" name="Google Shape;2284;p53"/>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5" name="Google Shape;2285;p53"/>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6" name="Google Shape;2286;p53"/>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7" name="Google Shape;2287;p53"/>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8" name="Google Shape;2288;p53"/>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9" name="Google Shape;2289;p53"/>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0" name="Google Shape;2290;p53"/>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1" name="Google Shape;2291;p53"/>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2" name="Google Shape;2292;p53"/>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3" name="Google Shape;2293;p53"/>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4" name="Google Shape;2294;p53"/>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5" name="Google Shape;2295;p53"/>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6" name="Google Shape;2296;p53"/>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7" name="Google Shape;2297;p53"/>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8" name="Google Shape;2298;p53"/>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9" name="Google Shape;2299;p53"/>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0" name="Google Shape;2300;p53"/>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1" name="Google Shape;2301;p53"/>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2" name="Google Shape;2302;p53"/>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3" name="Google Shape;2303;p53"/>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4" name="Google Shape;2304;p53"/>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5" name="Google Shape;2305;p53"/>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6" name="Google Shape;2306;p53"/>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7" name="Google Shape;2307;p53"/>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8" name="Google Shape;2308;p53"/>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9" name="Google Shape;2309;p53"/>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0" name="Google Shape;2310;p53"/>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1" name="Google Shape;2311;p53"/>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2" name="Google Shape;2312;p53"/>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3" name="Google Shape;2313;p53"/>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53"/>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5" name="Google Shape;2315;p53"/>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6" name="Google Shape;2316;p53"/>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7" name="Google Shape;2317;p53"/>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8" name="Google Shape;2318;p53"/>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9" name="Google Shape;2319;p53"/>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0" name="Google Shape;2320;p53"/>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1" name="Google Shape;2321;p53"/>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2" name="Google Shape;2322;p53"/>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3" name="Google Shape;2323;p53"/>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4" name="Google Shape;2324;p53"/>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5" name="Google Shape;2325;p53"/>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6" name="Google Shape;2326;p53"/>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7" name="Google Shape;2327;p53"/>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8" name="Google Shape;2328;p53"/>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53"/>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2330;p53"/>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1" name="Google Shape;2331;p53"/>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2332;p53"/>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2333;p53"/>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53"/>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2335;p53"/>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2336;p53"/>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2337;p53"/>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2338;p53"/>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2339;p53"/>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2340;p53"/>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2341;p53"/>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53"/>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53"/>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53"/>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53"/>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53"/>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53"/>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53"/>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53"/>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53"/>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53"/>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53"/>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53"/>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53"/>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53"/>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53"/>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53"/>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53"/>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53"/>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53"/>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53"/>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53"/>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53"/>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53"/>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53"/>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53"/>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53"/>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53"/>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53"/>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53"/>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53"/>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53"/>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53"/>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53"/>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53"/>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53"/>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53"/>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53"/>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53"/>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53"/>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53"/>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53"/>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53"/>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53"/>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53"/>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53"/>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53"/>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53"/>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53"/>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53"/>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53"/>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53"/>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3" name="Google Shape;2393;p53"/>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4" name="Google Shape;2394;p53"/>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53"/>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53"/>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53"/>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53"/>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53"/>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53"/>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53"/>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53"/>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53"/>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53"/>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53"/>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53"/>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53"/>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53"/>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53"/>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53"/>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53"/>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53"/>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53"/>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53"/>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53"/>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53"/>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7" name="Google Shape;2417;p53"/>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8" name="Google Shape;2418;p53"/>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53"/>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53"/>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53"/>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53"/>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53"/>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53"/>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53"/>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53"/>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53"/>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53"/>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53"/>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53"/>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53"/>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53"/>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53"/>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53"/>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53"/>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53"/>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53"/>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53"/>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53"/>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53"/>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53"/>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53"/>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53"/>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53"/>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53"/>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53"/>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53"/>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53"/>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53"/>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53"/>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53"/>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2" name="Google Shape;2452;p53"/>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3" name="Google Shape;2453;p53"/>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4" name="Google Shape;2454;p53"/>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5" name="Google Shape;2455;p53"/>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6" name="Google Shape;2456;p53"/>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7" name="Google Shape;2457;p53"/>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8" name="Google Shape;2458;p53"/>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9" name="Google Shape;2459;p53"/>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0" name="Google Shape;2460;p53"/>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1" name="Google Shape;2461;p53"/>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2" name="Google Shape;2462;p53"/>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3" name="Google Shape;2463;p53"/>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4" name="Google Shape;2464;p53"/>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5" name="Google Shape;2465;p53"/>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6" name="Google Shape;2466;p53"/>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7" name="Google Shape;2467;p53"/>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8" name="Google Shape;2468;p53"/>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9" name="Google Shape;2469;p53"/>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0" name="Google Shape;2470;p53"/>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1" name="Google Shape;2471;p53"/>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2" name="Google Shape;2472;p53"/>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3" name="Google Shape;2473;p53"/>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4" name="Google Shape;2474;p53"/>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5" name="Google Shape;2475;p53"/>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6" name="Google Shape;2476;p53"/>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7" name="Google Shape;2477;p53"/>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8" name="Google Shape;2478;p53"/>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9" name="Google Shape;2479;p53"/>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0" name="Google Shape;2480;p53"/>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1" name="Google Shape;2481;p53"/>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2" name="Google Shape;2482;p53"/>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3" name="Google Shape;2483;p53"/>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4" name="Google Shape;2484;p53"/>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5" name="Google Shape;2485;p53"/>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6" name="Google Shape;2486;p53"/>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7" name="Google Shape;2487;p53"/>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8" name="Google Shape;2488;p53"/>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9" name="Google Shape;2489;p53"/>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0" name="Google Shape;2490;p53"/>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1" name="Google Shape;2491;p53"/>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2" name="Google Shape;2492;p53"/>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3" name="Google Shape;2493;p53"/>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4" name="Google Shape;2494;p53"/>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5" name="Google Shape;2495;p53"/>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6" name="Google Shape;2496;p53"/>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7" name="Google Shape;2497;p53"/>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8" name="Google Shape;2498;p53"/>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9" name="Google Shape;2499;p53"/>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0" name="Google Shape;2500;p53"/>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1" name="Google Shape;2501;p53"/>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2" name="Google Shape;2502;p53"/>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3" name="Google Shape;2503;p53"/>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4" name="Google Shape;2504;p53"/>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5" name="Google Shape;2505;p53"/>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6" name="Google Shape;2506;p53"/>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7" name="Google Shape;2507;p53"/>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8" name="Google Shape;2508;p53"/>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9" name="Google Shape;2509;p53"/>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0" name="Google Shape;2510;p53"/>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1" name="Google Shape;2511;p53"/>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2" name="Google Shape;2512;p53"/>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3" name="Google Shape;2513;p53"/>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4" name="Google Shape;2514;p53"/>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5" name="Google Shape;2515;p53"/>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6" name="Google Shape;2516;p53"/>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7" name="Google Shape;2517;p53"/>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8" name="Google Shape;2518;p53"/>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9" name="Google Shape;2519;p53"/>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0" name="Google Shape;2520;p53"/>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1" name="Google Shape;2521;p53"/>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2" name="Google Shape;2522;p53"/>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3" name="Google Shape;2523;p53"/>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4" name="Google Shape;2524;p53"/>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5" name="Google Shape;2525;p53"/>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6" name="Google Shape;2526;p53"/>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7" name="Google Shape;2527;p53"/>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8" name="Google Shape;2528;p53"/>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9" name="Google Shape;2529;p53"/>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0" name="Google Shape;2530;p53"/>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1" name="Google Shape;2531;p53"/>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2" name="Google Shape;2532;p53"/>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3" name="Google Shape;2533;p53"/>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4" name="Google Shape;2534;p53"/>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5" name="Google Shape;2535;p53"/>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6" name="Google Shape;2536;p53"/>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7" name="Google Shape;2537;p53"/>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8" name="Google Shape;2538;p53"/>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9" name="Google Shape;2539;p53"/>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0" name="Google Shape;2540;p53"/>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1" name="Google Shape;2541;p53"/>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2" name="Google Shape;2542;p53"/>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3" name="Google Shape;2543;p53"/>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4" name="Google Shape;2544;p53"/>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5" name="Google Shape;2545;p53"/>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6" name="Google Shape;2546;p53"/>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7" name="Google Shape;2547;p53"/>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8" name="Google Shape;2548;p53"/>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9" name="Google Shape;2549;p53"/>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0" name="Google Shape;2550;p53"/>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1" name="Google Shape;2551;p53"/>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2" name="Google Shape;2552;p53"/>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3" name="Google Shape;2553;p53"/>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4" name="Google Shape;2554;p53"/>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5" name="Google Shape;2555;p53"/>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6" name="Google Shape;2556;p53"/>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7" name="Google Shape;2557;p53"/>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8" name="Google Shape;2558;p53"/>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9" name="Google Shape;2559;p53"/>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0" name="Google Shape;2560;p53"/>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1" name="Google Shape;2561;p53"/>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2" name="Google Shape;2562;p53"/>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3" name="Google Shape;2563;p53"/>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4" name="Google Shape;2564;p53"/>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5" name="Google Shape;2565;p53"/>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6" name="Google Shape;2566;p53"/>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7" name="Google Shape;2567;p53"/>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8" name="Google Shape;2568;p53"/>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9" name="Google Shape;2569;p53"/>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0" name="Google Shape;2570;p53"/>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1" name="Google Shape;2571;p53"/>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2" name="Google Shape;2572;p53"/>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3" name="Google Shape;2573;p53"/>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4" name="Google Shape;2574;p53"/>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5" name="Google Shape;2575;p53"/>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6" name="Google Shape;2576;p53"/>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7" name="Google Shape;2577;p53"/>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8" name="Google Shape;2578;p53"/>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9" name="Google Shape;2579;p53"/>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0" name="Google Shape;2580;p53"/>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1" name="Google Shape;2581;p53"/>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2" name="Google Shape;2582;p53"/>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3" name="Google Shape;2583;p53"/>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4" name="Google Shape;2584;p53"/>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5" name="Google Shape;2585;p53"/>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6" name="Google Shape;2586;p53"/>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7" name="Google Shape;2587;p53"/>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8" name="Google Shape;2588;p53"/>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9" name="Google Shape;2589;p53"/>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0" name="Google Shape;2590;p53"/>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1" name="Google Shape;2591;p53"/>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2" name="Google Shape;2592;p53"/>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3" name="Google Shape;2593;p53"/>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4" name="Google Shape;2594;p53"/>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5" name="Google Shape;2595;p53"/>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6" name="Google Shape;2596;p53"/>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7" name="Google Shape;2597;p53"/>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8" name="Google Shape;2598;p53"/>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9" name="Google Shape;2599;p53"/>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0" name="Google Shape;2600;p53"/>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1" name="Google Shape;2601;p53"/>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2" name="Google Shape;2602;p53"/>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3" name="Google Shape;2603;p53"/>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4" name="Google Shape;2604;p53"/>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5" name="Google Shape;2605;p53"/>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6" name="Google Shape;2606;p53"/>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7" name="Google Shape;2607;p53"/>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8" name="Google Shape;2608;p53"/>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9" name="Google Shape;2609;p53"/>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0" name="Google Shape;2610;p53"/>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1" name="Google Shape;2611;p53"/>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2" name="Google Shape;2612;p53"/>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3" name="Google Shape;2613;p53"/>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4" name="Google Shape;2614;p53"/>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5" name="Google Shape;2615;p53"/>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6" name="Google Shape;2616;p53"/>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7" name="Google Shape;2617;p53"/>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8" name="Google Shape;2618;p53"/>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9" name="Google Shape;2619;p53"/>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0" name="Google Shape;2620;p53"/>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1" name="Google Shape;2621;p53"/>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2" name="Google Shape;2622;p53"/>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3" name="Google Shape;2623;p53"/>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4" name="Google Shape;2624;p53"/>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5" name="Google Shape;2625;p53"/>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6" name="Google Shape;2626;p53"/>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7" name="Google Shape;2627;p53"/>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8" name="Google Shape;2628;p53"/>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9" name="Google Shape;2629;p53"/>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0" name="Google Shape;2630;p53"/>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1" name="Google Shape;2631;p53"/>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2" name="Google Shape;2632;p53"/>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3" name="Google Shape;2633;p53"/>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4" name="Google Shape;2634;p53"/>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5" name="Google Shape;2635;p53"/>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6" name="Google Shape;2636;p53"/>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7" name="Google Shape;2637;p53"/>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8" name="Google Shape;2638;p53"/>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9" name="Google Shape;2639;p53"/>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0" name="Google Shape;2640;p53"/>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1" name="Google Shape;2641;p53"/>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2" name="Google Shape;2642;p53"/>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3" name="Google Shape;2643;p53"/>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4" name="Google Shape;2644;p53"/>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5" name="Google Shape;2645;p53"/>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6" name="Google Shape;2646;p53"/>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7" name="Google Shape;2647;p53"/>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8" name="Google Shape;2648;p53"/>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9" name="Google Shape;2649;p53"/>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0" name="Google Shape;2650;p53"/>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1" name="Google Shape;2651;p53"/>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2" name="Google Shape;2652;p53"/>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3" name="Google Shape;2653;p53"/>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4" name="Google Shape;2654;p53"/>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5" name="Google Shape;2655;p53"/>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6" name="Google Shape;2656;p53"/>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7" name="Google Shape;2657;p53"/>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8" name="Google Shape;2658;p53"/>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9" name="Google Shape;2659;p53"/>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0" name="Google Shape;2660;p53"/>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1" name="Google Shape;2661;p53"/>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2" name="Google Shape;2662;p53"/>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3" name="Google Shape;2663;p53"/>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4" name="Google Shape;2664;p53"/>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5" name="Google Shape;2665;p53"/>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6" name="Google Shape;2666;p53"/>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7" name="Google Shape;2667;p53"/>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8" name="Google Shape;2668;p53"/>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9" name="Google Shape;2669;p53"/>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0" name="Google Shape;2670;p53"/>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1" name="Google Shape;2671;p53"/>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2" name="Google Shape;2672;p53"/>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3" name="Google Shape;2673;p53"/>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4" name="Google Shape;2674;p53"/>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5" name="Google Shape;2675;p53"/>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6" name="Google Shape;2676;p53"/>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7" name="Google Shape;2677;p53"/>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8" name="Google Shape;2678;p53"/>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9" name="Google Shape;2679;p53"/>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0" name="Google Shape;2680;p53"/>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1" name="Google Shape;2681;p53"/>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2" name="Google Shape;2682;p53"/>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3" name="Google Shape;2683;p53"/>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4" name="Google Shape;2684;p53"/>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5" name="Google Shape;2685;p53"/>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6" name="Google Shape;2686;p53"/>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7" name="Google Shape;2687;p53"/>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8" name="Google Shape;2688;p53"/>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9" name="Google Shape;2689;p53"/>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0" name="Google Shape;2690;p53"/>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1" name="Google Shape;2691;p53"/>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2" name="Google Shape;2692;p53"/>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3" name="Google Shape;2693;p53"/>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4" name="Google Shape;2694;p53"/>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5" name="Google Shape;2695;p53"/>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6" name="Google Shape;2696;p53"/>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7" name="Google Shape;2697;p53"/>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8" name="Google Shape;2698;p53"/>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9" name="Google Shape;2699;p53"/>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0" name="Google Shape;2700;p53"/>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1" name="Google Shape;2701;p53"/>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2" name="Google Shape;2702;p53"/>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3" name="Google Shape;2703;p53"/>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4" name="Google Shape;2704;p53"/>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5" name="Google Shape;2705;p53"/>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6" name="Google Shape;2706;p53"/>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7" name="Google Shape;2707;p53"/>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8" name="Google Shape;2708;p53"/>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9" name="Google Shape;2709;p53"/>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0" name="Google Shape;2710;p53"/>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1" name="Google Shape;2711;p53"/>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2" name="Google Shape;2712;p53"/>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3" name="Google Shape;2713;p53"/>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4" name="Google Shape;2714;p53"/>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5" name="Google Shape;2715;p53"/>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6" name="Google Shape;2716;p53"/>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7" name="Google Shape;2717;p53"/>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8" name="Google Shape;2718;p53"/>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9" name="Google Shape;2719;p53"/>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0" name="Google Shape;2720;p53"/>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1" name="Google Shape;2721;p53"/>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2" name="Google Shape;2722;p53"/>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3" name="Google Shape;2723;p53"/>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4" name="Google Shape;2724;p53"/>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5" name="Google Shape;2725;p53"/>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6" name="Google Shape;2726;p53"/>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7" name="Google Shape;2727;p53"/>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8" name="Google Shape;2728;p53"/>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9" name="Google Shape;2729;p53"/>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0" name="Google Shape;2730;p53"/>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1" name="Google Shape;2731;p53"/>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2" name="Google Shape;2732;p53"/>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3" name="Google Shape;2733;p53"/>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4" name="Google Shape;2734;p53"/>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5" name="Google Shape;2735;p53"/>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6" name="Google Shape;2736;p53"/>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7" name="Google Shape;2737;p53"/>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8" name="Google Shape;2738;p53"/>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9" name="Google Shape;2739;p53"/>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0" name="Google Shape;2740;p53"/>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1" name="Google Shape;2741;p53"/>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2" name="Google Shape;2742;p53"/>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3" name="Google Shape;2743;p53"/>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4" name="Google Shape;2744;p53"/>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5" name="Google Shape;2745;p53"/>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6" name="Google Shape;2746;p53"/>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7" name="Google Shape;2747;p53"/>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8" name="Google Shape;2748;p53"/>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9" name="Google Shape;2749;p53"/>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0" name="Google Shape;2750;p53"/>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1" name="Google Shape;2751;p53"/>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2" name="Google Shape;2752;p53"/>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3" name="Google Shape;2753;p53"/>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4" name="Google Shape;2754;p53"/>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5" name="Google Shape;2755;p53"/>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6" name="Google Shape;2756;p53"/>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7" name="Google Shape;2757;p53"/>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8" name="Google Shape;2758;p53"/>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9" name="Google Shape;2759;p53"/>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0" name="Google Shape;2760;p53"/>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1" name="Google Shape;2761;p53"/>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2" name="Google Shape;2762;p53"/>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3" name="Google Shape;2763;p53"/>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4" name="Google Shape;2764;p53"/>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5" name="Google Shape;2765;p53"/>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6" name="Google Shape;2766;p53"/>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7" name="Google Shape;2767;p53"/>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8" name="Google Shape;2768;p53"/>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9" name="Google Shape;2769;p53"/>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0" name="Google Shape;2770;p53"/>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1" name="Google Shape;2771;p53"/>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2" name="Google Shape;2772;p53"/>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3" name="Google Shape;2773;p53"/>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4" name="Google Shape;2774;p53"/>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5" name="Google Shape;2775;p53"/>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6" name="Google Shape;2776;p53"/>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7" name="Google Shape;2777;p53"/>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8" name="Google Shape;2778;p53"/>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9" name="Google Shape;2779;p53"/>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0" name="Google Shape;2780;p53"/>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1" name="Google Shape;2781;p53"/>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2" name="Google Shape;2782;p53"/>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3" name="Google Shape;2783;p53"/>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4" name="Google Shape;2784;p53"/>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5" name="Google Shape;2785;p53"/>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6" name="Google Shape;2786;p53"/>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7" name="Google Shape;2787;p53"/>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8" name="Google Shape;2788;p53"/>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9" name="Google Shape;2789;p53"/>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0" name="Google Shape;2790;p53"/>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1" name="Google Shape;2791;p53"/>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2" name="Google Shape;2792;p53"/>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3" name="Google Shape;2793;p53"/>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4" name="Google Shape;2794;p53"/>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5" name="Google Shape;2795;p53"/>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6" name="Google Shape;2796;p53"/>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7" name="Google Shape;2797;p53"/>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8" name="Google Shape;2798;p53"/>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9" name="Google Shape;2799;p53"/>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0" name="Google Shape;2800;p53"/>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1" name="Google Shape;2801;p53"/>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2" name="Google Shape;2802;p53"/>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3" name="Google Shape;2803;p53"/>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4" name="Google Shape;2804;p53"/>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5" name="Google Shape;2805;p53"/>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6" name="Google Shape;2806;p53"/>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7" name="Google Shape;2807;p53"/>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8" name="Google Shape;2808;p53"/>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9" name="Google Shape;2809;p53"/>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0" name="Google Shape;2810;p53"/>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1" name="Google Shape;2811;p53"/>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2" name="Google Shape;2812;p53"/>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3" name="Google Shape;2813;p53"/>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4" name="Google Shape;2814;p53"/>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5" name="Google Shape;2815;p53"/>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6" name="Google Shape;2816;p53"/>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7" name="Google Shape;2817;p53"/>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8" name="Google Shape;2818;p53"/>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9" name="Google Shape;2819;p53"/>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0" name="Google Shape;2820;p53"/>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1" name="Google Shape;2821;p53"/>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2" name="Google Shape;2822;p53"/>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3" name="Google Shape;2823;p53"/>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4" name="Google Shape;2824;p53"/>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5" name="Google Shape;2825;p53"/>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6" name="Google Shape;2826;p53"/>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7" name="Google Shape;2827;p53"/>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8" name="Google Shape;2828;p53"/>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9" name="Google Shape;2829;p53"/>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0" name="Google Shape;2830;p53"/>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1" name="Google Shape;2831;p53"/>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2" name="Google Shape;2832;p53"/>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3" name="Google Shape;2833;p53"/>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4" name="Google Shape;2834;p53"/>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5" name="Google Shape;2835;p53"/>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6" name="Google Shape;2836;p53"/>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7" name="Google Shape;2837;p53"/>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8" name="Google Shape;2838;p53"/>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9" name="Google Shape;2839;p53"/>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0" name="Google Shape;2840;p53"/>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1" name="Google Shape;2841;p53"/>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2" name="Google Shape;2842;p53"/>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3" name="Google Shape;2843;p53"/>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4" name="Google Shape;2844;p53"/>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5" name="Google Shape;2845;p53"/>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6" name="Google Shape;2846;p53"/>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7" name="Google Shape;2847;p53"/>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8" name="Google Shape;2848;p53"/>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9" name="Google Shape;2849;p53"/>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0" name="Google Shape;2850;p53"/>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1" name="Google Shape;2851;p53"/>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2" name="Google Shape;2852;p53"/>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3" name="Google Shape;2853;p53"/>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4" name="Google Shape;2854;p53"/>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5" name="Google Shape;2855;p53"/>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6" name="Google Shape;2856;p53"/>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7" name="Google Shape;2857;p53"/>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8" name="Google Shape;2858;p53"/>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9" name="Google Shape;2859;p53"/>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0" name="Google Shape;2860;p53"/>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1" name="Google Shape;2861;p53"/>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2" name="Google Shape;2862;p53"/>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3" name="Google Shape;2863;p53"/>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4" name="Google Shape;2864;p53"/>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5" name="Google Shape;2865;p53"/>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6" name="Google Shape;2866;p53"/>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7" name="Google Shape;2867;p53"/>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8" name="Google Shape;2868;p53"/>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9" name="Google Shape;2869;p53"/>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0" name="Google Shape;2870;p53"/>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1" name="Google Shape;2871;p53"/>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2" name="Google Shape;2872;p53"/>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3" name="Google Shape;2873;p53"/>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4" name="Google Shape;2874;p53"/>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5" name="Google Shape;2875;p53"/>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6" name="Google Shape;2876;p53"/>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7" name="Google Shape;2877;p53"/>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8" name="Google Shape;2878;p53"/>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9" name="Google Shape;2879;p53"/>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0" name="Google Shape;2880;p53"/>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1" name="Google Shape;2881;p53"/>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2" name="Google Shape;2882;p53"/>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3" name="Google Shape;2883;p53"/>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4" name="Google Shape;2884;p53"/>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5" name="Google Shape;2885;p53"/>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6" name="Google Shape;2886;p53"/>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7" name="Google Shape;2887;p53"/>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8" name="Google Shape;2888;p53"/>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9" name="Google Shape;2889;p53"/>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0" name="Google Shape;2890;p53"/>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1" name="Google Shape;2891;p53"/>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2" name="Google Shape;2892;p53"/>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3" name="Google Shape;2893;p53"/>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4" name="Google Shape;2894;p53"/>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5" name="Google Shape;2895;p53"/>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6" name="Google Shape;2896;p53"/>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7" name="Google Shape;2897;p53"/>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8" name="Google Shape;2898;p53"/>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9" name="Google Shape;2899;p53"/>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0" name="Google Shape;2900;p53"/>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1" name="Google Shape;2901;p53"/>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2" name="Google Shape;2902;p53"/>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3" name="Google Shape;2903;p53"/>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4" name="Google Shape;2904;p53"/>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5" name="Google Shape;2905;p53"/>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6" name="Google Shape;2906;p53"/>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7" name="Google Shape;2907;p53"/>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8" name="Google Shape;2908;p53"/>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9" name="Google Shape;2909;p53"/>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0" name="Google Shape;2910;p53"/>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1" name="Google Shape;2911;p53"/>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2" name="Google Shape;2912;p53"/>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3" name="Google Shape;2913;p53"/>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4" name="Google Shape;2914;p53"/>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5" name="Google Shape;2915;p53"/>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6" name="Google Shape;2916;p53"/>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7" name="Google Shape;2917;p53"/>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8" name="Google Shape;2918;p53"/>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9" name="Google Shape;2919;p53"/>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0" name="Google Shape;2920;p53"/>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1" name="Google Shape;2921;p53"/>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2" name="Google Shape;2922;p53"/>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3" name="Google Shape;2923;p53"/>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4" name="Google Shape;2924;p53"/>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5" name="Google Shape;2925;p53"/>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6" name="Google Shape;2926;p53"/>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7" name="Google Shape;2927;p53"/>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8" name="Google Shape;2928;p53"/>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9" name="Google Shape;2929;p53"/>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0" name="Google Shape;2930;p53"/>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1" name="Google Shape;2931;p53"/>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2" name="Google Shape;2932;p53"/>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3" name="Google Shape;2933;p53"/>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4" name="Google Shape;2934;p53"/>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5" name="Google Shape;2935;p53"/>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6" name="Google Shape;2936;p53"/>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7" name="Google Shape;2937;p53"/>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8" name="Google Shape;2938;p53"/>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9" name="Google Shape;2939;p53"/>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0" name="Google Shape;2940;p53"/>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1" name="Google Shape;2941;p53"/>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2" name="Google Shape;2942;p53"/>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3" name="Google Shape;2943;p53"/>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4" name="Google Shape;2944;p53"/>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5" name="Google Shape;2945;p53"/>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6" name="Google Shape;2946;p53"/>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7" name="Google Shape;2947;p53"/>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8" name="Google Shape;2948;p53"/>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9" name="Google Shape;2949;p53"/>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0" name="Google Shape;2950;p53"/>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1" name="Google Shape;2951;p53"/>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2" name="Google Shape;2952;p53"/>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3" name="Google Shape;2953;p53"/>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4" name="Google Shape;2954;p53"/>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5" name="Google Shape;2955;p53"/>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6" name="Google Shape;2956;p53"/>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7" name="Google Shape;2957;p53"/>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8" name="Google Shape;2958;p53"/>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9" name="Google Shape;2959;p53"/>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0" name="Google Shape;2960;p53"/>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1" name="Google Shape;2961;p53"/>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2" name="Google Shape;2962;p53"/>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3" name="Google Shape;2963;p53"/>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4" name="Google Shape;2964;p53"/>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5" name="Google Shape;2965;p53"/>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6" name="Google Shape;2966;p53"/>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7" name="Google Shape;2967;p53"/>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8" name="Google Shape;2968;p53"/>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9" name="Google Shape;2969;p53"/>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0" name="Google Shape;2970;p53"/>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1" name="Google Shape;2971;p53"/>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2" name="Google Shape;2972;p53"/>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3" name="Google Shape;2973;p53"/>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4" name="Google Shape;2974;p53"/>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5" name="Google Shape;2975;p53"/>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6" name="Google Shape;2976;p53"/>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7" name="Google Shape;2977;p53"/>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8" name="Google Shape;2978;p53"/>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9" name="Google Shape;2979;p53"/>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0" name="Google Shape;2980;p53"/>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1" name="Google Shape;2981;p53"/>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2" name="Google Shape;2982;p53"/>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3" name="Google Shape;2983;p53"/>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4" name="Google Shape;2984;p53"/>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5" name="Google Shape;2985;p53"/>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6" name="Google Shape;2986;p53"/>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7" name="Google Shape;2987;p53"/>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8" name="Google Shape;2988;p53"/>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9" name="Google Shape;2989;p53"/>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0" name="Google Shape;2990;p53"/>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1" name="Google Shape;2991;p53"/>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2" name="Google Shape;2992;p53"/>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3" name="Google Shape;2993;p53"/>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4" name="Google Shape;2994;p53"/>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5" name="Google Shape;2995;p53"/>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6" name="Google Shape;2996;p53"/>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7" name="Google Shape;2997;p53"/>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8" name="Google Shape;2998;p53"/>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9" name="Google Shape;2999;p53"/>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0" name="Google Shape;3000;p53"/>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1" name="Google Shape;3001;p53"/>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2" name="Google Shape;3002;p53"/>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3" name="Google Shape;3003;p53"/>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4" name="Google Shape;3004;p53"/>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5" name="Google Shape;3005;p53"/>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6" name="Google Shape;3006;p53"/>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7" name="Google Shape;3007;p53"/>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8" name="Google Shape;3008;p53"/>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9" name="Google Shape;3009;p53"/>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0" name="Google Shape;3010;p53"/>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1" name="Google Shape;3011;p53"/>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2" name="Google Shape;3012;p53"/>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3" name="Google Shape;3013;p53"/>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4" name="Google Shape;3014;p53"/>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5" name="Google Shape;3015;p53"/>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6" name="Google Shape;3016;p53"/>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7" name="Google Shape;3017;p53"/>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8" name="Google Shape;3018;p53"/>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19" name="Google Shape;3019;p53"/>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0" name="Google Shape;3020;p53"/>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1" name="Google Shape;3021;p53"/>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2" name="Google Shape;3022;p53"/>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3" name="Google Shape;3023;p53"/>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4" name="Google Shape;3024;p53"/>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5" name="Google Shape;3025;p53"/>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6" name="Google Shape;3026;p53"/>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7" name="Google Shape;3027;p53"/>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8" name="Google Shape;3028;p53"/>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9" name="Google Shape;3029;p53"/>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0" name="Google Shape;3030;p53"/>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1" name="Google Shape;3031;p53"/>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2" name="Google Shape;3032;p53"/>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3" name="Google Shape;3033;p53"/>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4" name="Google Shape;3034;p53"/>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5" name="Google Shape;3035;p53"/>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6" name="Google Shape;3036;p53"/>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7" name="Google Shape;3037;p53"/>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8" name="Google Shape;3038;p53"/>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39" name="Google Shape;3039;p53"/>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0" name="Google Shape;3040;p53"/>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1" name="Google Shape;3041;p53"/>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2" name="Google Shape;3042;p53"/>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3" name="Google Shape;3043;p53"/>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4" name="Google Shape;3044;p53"/>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5" name="Google Shape;3045;p53"/>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6" name="Google Shape;3046;p53"/>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7" name="Google Shape;3047;p53"/>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8" name="Google Shape;3048;p53"/>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49" name="Google Shape;3049;p53"/>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0" name="Google Shape;3050;p53"/>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1" name="Google Shape;3051;p53"/>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2" name="Google Shape;3052;p53"/>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3" name="Google Shape;3053;p53"/>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4" name="Google Shape;3054;p53"/>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5" name="Google Shape;3055;p53"/>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6" name="Google Shape;3056;p53"/>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7" name="Google Shape;3057;p53"/>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8" name="Google Shape;3058;p53"/>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9" name="Google Shape;3059;p53"/>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0" name="Google Shape;3060;p53"/>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1" name="Google Shape;3061;p53"/>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2" name="Google Shape;3062;p53"/>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3" name="Google Shape;3063;p53"/>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4" name="Google Shape;3064;p53"/>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5" name="Google Shape;3065;p53"/>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6" name="Google Shape;3066;p53"/>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7" name="Google Shape;3067;p53"/>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8" name="Google Shape;3068;p53"/>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9" name="Google Shape;3069;p53"/>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0" name="Google Shape;3070;p53"/>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1" name="Google Shape;3071;p53"/>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2" name="Google Shape;3072;p53"/>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3" name="Google Shape;3073;p53"/>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4" name="Google Shape;3074;p53"/>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5" name="Google Shape;3075;p53"/>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6" name="Google Shape;3076;p53"/>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7" name="Google Shape;3077;p53"/>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8" name="Google Shape;3078;p53"/>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9" name="Google Shape;3079;p53"/>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0" name="Google Shape;3080;p53"/>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1" name="Google Shape;3081;p53"/>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2" name="Google Shape;3082;p53"/>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3" name="Google Shape;3083;p53"/>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4" name="Google Shape;3084;p53"/>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5" name="Google Shape;3085;p53"/>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6" name="Google Shape;3086;p53"/>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7" name="Google Shape;3087;p53"/>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8" name="Google Shape;3088;p53"/>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9" name="Google Shape;3089;p53"/>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0" name="Google Shape;3090;p53"/>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1" name="Google Shape;3091;p53"/>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2" name="Google Shape;3092;p53"/>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3" name="Google Shape;3093;p53"/>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4" name="Google Shape;3094;p53"/>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5" name="Google Shape;3095;p53"/>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6" name="Google Shape;3096;p53"/>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7" name="Google Shape;3097;p53"/>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8" name="Google Shape;3098;p53"/>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9" name="Google Shape;3099;p53"/>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0" name="Google Shape;3100;p53"/>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1" name="Google Shape;3101;p53"/>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2" name="Google Shape;3102;p53"/>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3" name="Google Shape;3103;p53"/>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4" name="Google Shape;3104;p53"/>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5" name="Google Shape;3105;p53"/>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6" name="Google Shape;3106;p53"/>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7" name="Google Shape;3107;p53"/>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8" name="Google Shape;3108;p53"/>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9" name="Google Shape;3109;p53"/>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0" name="Google Shape;3110;p53"/>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1" name="Google Shape;3111;p53"/>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2" name="Google Shape;3112;p53"/>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3" name="Google Shape;3113;p53"/>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4" name="Google Shape;3114;p53"/>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5" name="Google Shape;3115;p53"/>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6" name="Google Shape;3116;p53"/>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7" name="Google Shape;3117;p53"/>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8" name="Google Shape;3118;p53"/>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9" name="Google Shape;3119;p53"/>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0" name="Google Shape;3120;p53"/>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1" name="Google Shape;3121;p53"/>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2" name="Google Shape;3122;p53"/>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3" name="Google Shape;3123;p53"/>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4" name="Google Shape;3124;p53"/>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5" name="Google Shape;3125;p53"/>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6" name="Google Shape;3126;p53"/>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7" name="Google Shape;3127;p53"/>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8" name="Google Shape;3128;p53"/>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9" name="Google Shape;3129;p53"/>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0" name="Google Shape;3130;p53"/>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1" name="Google Shape;3131;p53"/>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2" name="Google Shape;3132;p53"/>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3" name="Google Shape;3133;p53"/>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4" name="Google Shape;3134;p53"/>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5" name="Google Shape;3135;p53"/>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6" name="Google Shape;3136;p53"/>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7" name="Google Shape;3137;p53"/>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8" name="Google Shape;3138;p53"/>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9" name="Google Shape;3139;p53"/>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0" name="Google Shape;3140;p53"/>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1" name="Google Shape;3141;p53"/>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2" name="Google Shape;3142;p53"/>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3" name="Google Shape;3143;p53"/>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4" name="Google Shape;3144;p53"/>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5" name="Google Shape;3145;p53"/>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6" name="Google Shape;3146;p53"/>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7" name="Google Shape;3147;p53"/>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8" name="Google Shape;3148;p53"/>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9" name="Google Shape;3149;p53"/>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0" name="Google Shape;3150;p53"/>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1" name="Google Shape;3151;p53"/>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2" name="Google Shape;3152;p53"/>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3" name="Google Shape;3153;p53"/>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4" name="Google Shape;3154;p53"/>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5" name="Google Shape;3155;p53"/>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6" name="Google Shape;3156;p53"/>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7" name="Google Shape;3157;p53"/>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8" name="Google Shape;3158;p53"/>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9" name="Google Shape;3159;p53"/>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0" name="Google Shape;3160;p53"/>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1" name="Google Shape;3161;p53"/>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2" name="Google Shape;3162;p53"/>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3" name="Google Shape;3163;p53"/>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4" name="Google Shape;3164;p53"/>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5" name="Google Shape;3165;p53"/>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6" name="Google Shape;3166;p53"/>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7" name="Google Shape;3167;p53"/>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8" name="Google Shape;3168;p53"/>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9" name="Google Shape;3169;p53"/>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0" name="Google Shape;3170;p53"/>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1" name="Google Shape;3171;p53"/>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2" name="Google Shape;3172;p53"/>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3" name="Google Shape;3173;p53"/>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4" name="Google Shape;3174;p53"/>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5" name="Google Shape;3175;p53"/>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6" name="Google Shape;3176;p53"/>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7" name="Google Shape;3177;p53"/>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8" name="Google Shape;3178;p53"/>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9" name="Google Shape;3179;p53"/>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0" name="Google Shape;3180;p53"/>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1" name="Google Shape;3181;p53"/>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2" name="Google Shape;3182;p53"/>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3" name="Google Shape;3183;p53"/>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4" name="Google Shape;3184;p53"/>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5" name="Google Shape;3185;p53"/>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6" name="Google Shape;3186;p53"/>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7" name="Google Shape;3187;p53"/>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8" name="Google Shape;3188;p53"/>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9" name="Google Shape;3189;p53"/>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0" name="Google Shape;3190;p53"/>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1" name="Google Shape;3191;p53"/>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2" name="Google Shape;3192;p53"/>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3" name="Google Shape;3193;p53"/>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4" name="Google Shape;3194;p53"/>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5" name="Google Shape;3195;p53"/>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6" name="Google Shape;3196;p53"/>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7" name="Google Shape;3197;p53"/>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8" name="Google Shape;3198;p53"/>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9" name="Google Shape;3199;p53"/>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0" name="Google Shape;3200;p53"/>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1" name="Google Shape;3201;p53"/>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2" name="Google Shape;3202;p53"/>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3" name="Google Shape;3203;p53"/>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4" name="Google Shape;3204;p53"/>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5" name="Google Shape;3205;p53"/>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6" name="Google Shape;3206;p53"/>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7" name="Google Shape;3207;p53"/>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8" name="Google Shape;3208;p53"/>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9" name="Google Shape;3209;p53"/>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0" name="Google Shape;3210;p53"/>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1" name="Google Shape;3211;p53"/>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2" name="Google Shape;3212;p53"/>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3" name="Google Shape;3213;p53"/>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4" name="Google Shape;3214;p53"/>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5" name="Google Shape;3215;p53"/>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6" name="Google Shape;3216;p53"/>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7" name="Google Shape;3217;p53"/>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8" name="Google Shape;3218;p53"/>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9" name="Google Shape;3219;p53"/>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0" name="Google Shape;3220;p53"/>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1" name="Google Shape;3221;p53"/>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2" name="Google Shape;3222;p53"/>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3" name="Google Shape;3223;p53"/>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4" name="Google Shape;3224;p53"/>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5" name="Google Shape;3225;p53"/>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6" name="Google Shape;3226;p53"/>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7" name="Google Shape;3227;p53"/>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8" name="Google Shape;3228;p53"/>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9" name="Google Shape;3229;p53"/>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0" name="Google Shape;3230;p53"/>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1" name="Google Shape;3231;p53"/>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2" name="Google Shape;3232;p53"/>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3" name="Google Shape;3233;p53"/>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4" name="Google Shape;3234;p53"/>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5" name="Google Shape;3235;p53"/>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6" name="Google Shape;3236;p53"/>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7" name="Google Shape;3237;p53"/>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8" name="Google Shape;3238;p53"/>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9" name="Google Shape;3239;p53"/>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0" name="Google Shape;3240;p53"/>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1" name="Google Shape;3241;p53"/>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2" name="Google Shape;3242;p53"/>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3" name="Google Shape;3243;p53"/>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4" name="Google Shape;3244;p53"/>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5" name="Google Shape;3245;p53"/>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6" name="Google Shape;3246;p53"/>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7" name="Google Shape;3247;p53"/>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8" name="Google Shape;3248;p53"/>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9" name="Google Shape;3249;p53"/>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0" name="Google Shape;3250;p53"/>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1" name="Google Shape;3251;p53"/>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2" name="Google Shape;3252;p53"/>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3" name="Google Shape;3253;p53"/>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4" name="Google Shape;3254;p53"/>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5" name="Google Shape;3255;p53"/>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6" name="Google Shape;3256;p53"/>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7" name="Google Shape;3257;p53"/>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8" name="Google Shape;3258;p53"/>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9" name="Google Shape;3259;p53"/>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0" name="Google Shape;3260;p53"/>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1" name="Google Shape;3261;p53"/>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2" name="Google Shape;3262;p53"/>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3" name="Google Shape;3263;p53"/>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4" name="Google Shape;3264;p53"/>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5" name="Google Shape;3265;p53"/>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6" name="Google Shape;3266;p53"/>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7" name="Google Shape;3267;p53"/>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8" name="Google Shape;3268;p53"/>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9" name="Google Shape;3269;p53"/>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0" name="Google Shape;3270;p53"/>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1" name="Google Shape;3271;p53"/>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2" name="Google Shape;3272;p53"/>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3" name="Google Shape;3273;p53"/>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4" name="Google Shape;3274;p53"/>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5" name="Google Shape;3275;p53"/>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6" name="Google Shape;3276;p53"/>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7" name="Google Shape;3277;p53"/>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8" name="Google Shape;3278;p53"/>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9" name="Google Shape;3279;p53"/>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0" name="Google Shape;3280;p53"/>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1" name="Google Shape;3281;p53"/>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2" name="Google Shape;3282;p53"/>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3" name="Google Shape;3283;p53"/>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4" name="Google Shape;3284;p53"/>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5" name="Google Shape;3285;p53"/>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6" name="Google Shape;3286;p53"/>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7" name="Google Shape;3287;p53"/>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8" name="Google Shape;3288;p53"/>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9" name="Google Shape;3289;p53"/>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0" name="Google Shape;3290;p53"/>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1" name="Google Shape;3291;p53"/>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2" name="Google Shape;3292;p53"/>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3" name="Google Shape;3293;p53"/>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4" name="Google Shape;3294;p53"/>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5" name="Google Shape;3295;p53"/>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6" name="Google Shape;3296;p53"/>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7" name="Google Shape;3297;p53"/>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8" name="Google Shape;3298;p53"/>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9" name="Google Shape;3299;p53"/>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0" name="Google Shape;3300;p53"/>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1" name="Google Shape;3301;p53"/>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2" name="Google Shape;3302;p53"/>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3" name="Google Shape;3303;p53"/>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4" name="Google Shape;3304;p53"/>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5" name="Google Shape;3305;p53"/>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6" name="Google Shape;3306;p53"/>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7" name="Google Shape;3307;p53"/>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8" name="Google Shape;3308;p53"/>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9" name="Google Shape;3309;p53"/>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0" name="Google Shape;3310;p53"/>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1" name="Google Shape;3311;p53"/>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2" name="Google Shape;3312;p53"/>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3" name="Google Shape;3313;p53"/>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4" name="Google Shape;3314;p53"/>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5" name="Google Shape;3315;p53"/>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6" name="Google Shape;3316;p53"/>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7" name="Google Shape;3317;p53"/>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8" name="Google Shape;3318;p53"/>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9" name="Google Shape;3319;p53"/>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0" name="Google Shape;3320;p53"/>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1" name="Google Shape;3321;p53"/>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2" name="Google Shape;3322;p53"/>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3" name="Google Shape;3323;p53"/>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4" name="Google Shape;3324;p53"/>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5" name="Google Shape;3325;p53"/>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6" name="Google Shape;3326;p53"/>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7" name="Google Shape;3327;p53"/>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8" name="Google Shape;3328;p53"/>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9" name="Google Shape;3329;p53"/>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0" name="Google Shape;3330;p53"/>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1" name="Google Shape;3331;p53"/>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2" name="Google Shape;3332;p53"/>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3" name="Google Shape;3333;p53"/>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4" name="Google Shape;3334;p53"/>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5" name="Google Shape;3335;p53"/>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6" name="Google Shape;3336;p53"/>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7" name="Google Shape;3337;p53"/>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8" name="Google Shape;3338;p53"/>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9" name="Google Shape;3339;p53"/>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0" name="Google Shape;3340;p53"/>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1" name="Google Shape;3341;p53"/>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2" name="Google Shape;3342;p53"/>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3" name="Google Shape;3343;p53"/>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4" name="Google Shape;3344;p53"/>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5" name="Google Shape;3345;p53"/>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6" name="Google Shape;3346;p53"/>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7" name="Google Shape;3347;p53"/>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8" name="Google Shape;3348;p53"/>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9" name="Google Shape;3349;p53"/>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0" name="Google Shape;3350;p53"/>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1" name="Google Shape;3351;p53"/>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2" name="Google Shape;3352;p53"/>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3" name="Google Shape;3353;p53"/>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4" name="Google Shape;3354;p53"/>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5" name="Google Shape;3355;p53"/>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6" name="Google Shape;3356;p53"/>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7" name="Google Shape;3357;p53"/>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8" name="Google Shape;3358;p53"/>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9" name="Google Shape;3359;p53"/>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0" name="Google Shape;3360;p53"/>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1" name="Google Shape;3361;p53"/>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2" name="Google Shape;3362;p53"/>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3" name="Google Shape;3363;p53"/>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4" name="Google Shape;3364;p53"/>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5" name="Google Shape;3365;p53"/>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6" name="Google Shape;3366;p53"/>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7" name="Google Shape;3367;p53"/>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8" name="Google Shape;3368;p53"/>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9" name="Google Shape;3369;p53"/>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0" name="Google Shape;3370;p53"/>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1" name="Google Shape;3371;p53"/>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2" name="Google Shape;3372;p53"/>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3" name="Google Shape;3373;p53"/>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4" name="Google Shape;3374;p53"/>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5" name="Google Shape;3375;p53"/>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6" name="Google Shape;3376;p53"/>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7" name="Google Shape;3377;p53"/>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8" name="Google Shape;3378;p53"/>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9" name="Google Shape;3379;p53"/>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0" name="Google Shape;3380;p53"/>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1" name="Google Shape;3381;p53"/>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2" name="Google Shape;3382;p53"/>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3" name="Google Shape;3383;p53"/>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4" name="Google Shape;3384;p53"/>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5" name="Google Shape;3385;p53"/>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6" name="Google Shape;3386;p53"/>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7" name="Google Shape;3387;p53"/>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8" name="Google Shape;3388;p53"/>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9" name="Google Shape;3389;p53"/>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0" name="Google Shape;3390;p53"/>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1" name="Google Shape;3391;p53"/>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2" name="Google Shape;3392;p53"/>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3" name="Google Shape;3393;p53"/>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4" name="Google Shape;3394;p53"/>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5" name="Google Shape;3395;p53"/>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6" name="Google Shape;3396;p53"/>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7" name="Google Shape;3397;p53"/>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8" name="Google Shape;3398;p53"/>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9" name="Google Shape;3399;p53"/>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0" name="Google Shape;3400;p53"/>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1" name="Google Shape;3401;p53"/>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2" name="Google Shape;3402;p53"/>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3" name="Google Shape;3403;p53"/>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4" name="Google Shape;3404;p53"/>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5" name="Google Shape;3405;p53"/>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6" name="Google Shape;3406;p53"/>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7" name="Google Shape;3407;p53"/>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8" name="Google Shape;3408;p53"/>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9" name="Google Shape;3409;p53"/>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0" name="Google Shape;3410;p53"/>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1" name="Google Shape;3411;p53"/>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2" name="Google Shape;3412;p53"/>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3" name="Google Shape;3413;p53"/>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4" name="Google Shape;3414;p53"/>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5" name="Google Shape;3415;p53"/>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6" name="Google Shape;3416;p53"/>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7" name="Google Shape;3417;p53"/>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8" name="Google Shape;3418;p53"/>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9" name="Google Shape;3419;p53"/>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0" name="Google Shape;3420;p53"/>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1" name="Google Shape;3421;p53"/>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2" name="Google Shape;3422;p53"/>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3" name="Google Shape;3423;p53"/>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4" name="Google Shape;3424;p53"/>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5" name="Google Shape;3425;p53"/>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6" name="Google Shape;3426;p53"/>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7" name="Google Shape;3427;p53"/>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8" name="Google Shape;3428;p53"/>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9" name="Google Shape;3429;p53"/>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0" name="Google Shape;3430;p53"/>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1" name="Google Shape;3431;p53"/>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2" name="Google Shape;3432;p53"/>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3" name="Google Shape;3433;p53"/>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4" name="Google Shape;3434;p53"/>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5" name="Google Shape;3435;p53"/>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6" name="Google Shape;3436;p53"/>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7" name="Google Shape;3437;p53"/>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8" name="Google Shape;3438;p53"/>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9" name="Google Shape;3439;p53"/>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0" name="Google Shape;3440;p53"/>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1" name="Google Shape;3441;p53"/>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2" name="Google Shape;3442;p53"/>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3" name="Google Shape;3443;p53"/>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4" name="Google Shape;3444;p53"/>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5" name="Google Shape;3445;p53"/>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6" name="Google Shape;3446;p53"/>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7" name="Google Shape;3447;p53"/>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8" name="Google Shape;3448;p53"/>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9" name="Google Shape;3449;p53"/>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0" name="Google Shape;3450;p53"/>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1" name="Google Shape;3451;p53"/>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2" name="Google Shape;3452;p53"/>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3" name="Google Shape;3453;p53"/>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4" name="Google Shape;3454;p53"/>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5" name="Google Shape;3455;p53"/>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6" name="Google Shape;3456;p53"/>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7" name="Google Shape;3457;p53"/>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8" name="Google Shape;3458;p53"/>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9" name="Google Shape;3459;p53"/>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0" name="Google Shape;3460;p53"/>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1" name="Google Shape;3461;p53"/>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2" name="Google Shape;3462;p53"/>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3" name="Google Shape;3463;p53"/>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4" name="Google Shape;3464;p53"/>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5" name="Google Shape;3465;p53"/>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6" name="Google Shape;3466;p53"/>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7" name="Google Shape;3467;p53"/>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8" name="Google Shape;3468;p53"/>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9" name="Google Shape;3469;p53"/>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0" name="Google Shape;3470;p53"/>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1" name="Google Shape;3471;p53"/>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2" name="Google Shape;3472;p53"/>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3" name="Google Shape;3473;p53"/>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4" name="Google Shape;3474;p53"/>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5" name="Google Shape;3475;p53"/>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6" name="Google Shape;3476;p53"/>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7" name="Google Shape;3477;p53"/>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8" name="Google Shape;3478;p53"/>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9" name="Google Shape;3479;p53"/>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0" name="Google Shape;3480;p53"/>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1" name="Google Shape;3481;p53"/>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2" name="Google Shape;3482;p53"/>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3" name="Google Shape;3483;p53"/>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4" name="Google Shape;3484;p53"/>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5" name="Google Shape;3485;p53"/>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6" name="Google Shape;3486;p53"/>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7" name="Google Shape;3487;p53"/>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8" name="Google Shape;3488;p53"/>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9" name="Google Shape;3489;p53"/>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0" name="Google Shape;3490;p53"/>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1" name="Google Shape;3491;p53"/>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2" name="Google Shape;3492;p53"/>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3" name="Google Shape;3493;p53"/>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4" name="Google Shape;3494;p53"/>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5" name="Google Shape;3495;p53"/>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6" name="Google Shape;3496;p53"/>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7" name="Google Shape;3497;p53"/>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8" name="Google Shape;3498;p53"/>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9" name="Google Shape;3499;p53"/>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0" name="Google Shape;3500;p53"/>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1" name="Google Shape;3501;p53"/>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2" name="Google Shape;3502;p53"/>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3" name="Google Shape;3503;p53"/>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4" name="Google Shape;3504;p53"/>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5" name="Google Shape;3505;p53"/>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6" name="Google Shape;3506;p53"/>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7" name="Google Shape;3507;p53"/>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8" name="Google Shape;3508;p53"/>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9" name="Google Shape;3509;p53"/>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0" name="Google Shape;3510;p53"/>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1" name="Google Shape;3511;p53"/>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2" name="Google Shape;3512;p53"/>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3" name="Google Shape;3513;p53"/>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4" name="Google Shape;3514;p53"/>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5" name="Google Shape;3515;p53"/>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6" name="Google Shape;3516;p53"/>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7" name="Google Shape;3517;p53"/>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8" name="Google Shape;3518;p53"/>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9" name="Google Shape;3519;p53"/>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0" name="Google Shape;3520;p53"/>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1" name="Google Shape;3521;p53"/>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2" name="Google Shape;3522;p53"/>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3" name="Google Shape;3523;p53"/>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4" name="Google Shape;3524;p53"/>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5" name="Google Shape;3525;p53"/>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6" name="Google Shape;3526;p53"/>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7" name="Google Shape;3527;p53"/>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8" name="Google Shape;3528;p53"/>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9" name="Google Shape;3529;p53"/>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0" name="Google Shape;3530;p53"/>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1" name="Google Shape;3531;p53"/>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2" name="Google Shape;3532;p53"/>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3" name="Google Shape;3533;p53"/>
          <p:cNvGrpSpPr/>
          <p:nvPr/>
        </p:nvGrpSpPr>
        <p:grpSpPr>
          <a:xfrm>
            <a:off x="5961311" y="1231136"/>
            <a:ext cx="2435960" cy="1297725"/>
            <a:chOff x="233350" y="949250"/>
            <a:chExt cx="7137300" cy="3802300"/>
          </a:xfrm>
        </p:grpSpPr>
        <p:sp>
          <p:nvSpPr>
            <p:cNvPr id="3534" name="Google Shape;3534;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5" name="Google Shape;3535;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6" name="Google Shape;3536;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7" name="Google Shape;3537;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8" name="Google Shape;3538;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9" name="Google Shape;3539;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0" name="Google Shape;3540;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1" name="Google Shape;3541;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2" name="Google Shape;3542;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3" name="Google Shape;3543;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4" name="Google Shape;3544;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5" name="Google Shape;3545;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6" name="Google Shape;3546;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7" name="Google Shape;3547;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8" name="Google Shape;3548;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9" name="Google Shape;3549;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0" name="Google Shape;3550;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1" name="Google Shape;3551;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2" name="Google Shape;3552;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3" name="Google Shape;3553;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4" name="Google Shape;3554;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5" name="Google Shape;3555;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6" name="Google Shape;3556;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7" name="Google Shape;3557;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8" name="Google Shape;3558;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9" name="Google Shape;3559;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0" name="Google Shape;3560;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1" name="Google Shape;3561;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2" name="Google Shape;3562;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3" name="Google Shape;3563;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4" name="Google Shape;3564;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5" name="Google Shape;3565;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6" name="Google Shape;3566;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7" name="Google Shape;3567;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8" name="Google Shape;3568;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9" name="Google Shape;3569;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0" name="Google Shape;3570;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1" name="Google Shape;3571;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2" name="Google Shape;3572;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3" name="Google Shape;3573;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4" name="Google Shape;3574;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5" name="Google Shape;3575;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6" name="Google Shape;3576;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7" name="Google Shape;3577;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8" name="Google Shape;3578;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9" name="Google Shape;3579;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0" name="Google Shape;3580;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1" name="Google Shape;3581;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2" name="Google Shape;3582;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3" name="Google Shape;3583;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4" name="Google Shape;3584;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5" name="Google Shape;3585;p53"/>
          <p:cNvGrpSpPr/>
          <p:nvPr/>
        </p:nvGrpSpPr>
        <p:grpSpPr>
          <a:xfrm>
            <a:off x="7714435" y="3194726"/>
            <a:ext cx="104231" cy="320340"/>
            <a:chOff x="7564426" y="3224343"/>
            <a:chExt cx="119985" cy="368801"/>
          </a:xfrm>
        </p:grpSpPr>
        <p:sp>
          <p:nvSpPr>
            <p:cNvPr id="3586" name="Google Shape;3586;p53"/>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7" name="Google Shape;3587;p53"/>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88" name="Google Shape;3588;p53"/>
          <p:cNvGrpSpPr/>
          <p:nvPr/>
        </p:nvGrpSpPr>
        <p:grpSpPr>
          <a:xfrm>
            <a:off x="7413923" y="3188827"/>
            <a:ext cx="189489" cy="332132"/>
            <a:chOff x="8370831" y="3202002"/>
            <a:chExt cx="218129" cy="382376"/>
          </a:xfrm>
        </p:grpSpPr>
        <p:sp>
          <p:nvSpPr>
            <p:cNvPr id="3589" name="Google Shape;3589;p53"/>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0" name="Google Shape;3590;p53"/>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1" name="Google Shape;3591;p53"/>
          <p:cNvGrpSpPr/>
          <p:nvPr/>
        </p:nvGrpSpPr>
        <p:grpSpPr>
          <a:xfrm>
            <a:off x="8137312" y="3599959"/>
            <a:ext cx="309429" cy="267000"/>
            <a:chOff x="6742064" y="3750480"/>
            <a:chExt cx="399315" cy="344560"/>
          </a:xfrm>
        </p:grpSpPr>
        <p:sp>
          <p:nvSpPr>
            <p:cNvPr id="3592" name="Google Shape;3592;p53"/>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3" name="Google Shape;3593;p53"/>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4" name="Google Shape;3594;p53"/>
          <p:cNvGrpSpPr/>
          <p:nvPr/>
        </p:nvGrpSpPr>
        <p:grpSpPr>
          <a:xfrm>
            <a:off x="7676331" y="3951006"/>
            <a:ext cx="180437" cy="281608"/>
            <a:chOff x="7248525" y="3739696"/>
            <a:chExt cx="230531" cy="359790"/>
          </a:xfrm>
        </p:grpSpPr>
        <p:sp>
          <p:nvSpPr>
            <p:cNvPr id="3595" name="Google Shape;3595;p53"/>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6" name="Google Shape;3596;p53"/>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97" name="Google Shape;3597;p53"/>
          <p:cNvGrpSpPr/>
          <p:nvPr/>
        </p:nvGrpSpPr>
        <p:grpSpPr>
          <a:xfrm>
            <a:off x="7922251" y="3594231"/>
            <a:ext cx="162896" cy="278710"/>
            <a:chOff x="7601242" y="3729267"/>
            <a:chExt cx="222566" cy="380803"/>
          </a:xfrm>
        </p:grpSpPr>
        <p:sp>
          <p:nvSpPr>
            <p:cNvPr id="3598" name="Google Shape;3598;p53"/>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9" name="Google Shape;3599;p53"/>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0" name="Google Shape;3600;p53"/>
          <p:cNvSpPr/>
          <p:nvPr/>
        </p:nvSpPr>
        <p:spPr>
          <a:xfrm>
            <a:off x="7888277" y="3206587"/>
            <a:ext cx="230844" cy="296575"/>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01" name="Google Shape;3601;p53"/>
          <p:cNvGrpSpPr/>
          <p:nvPr/>
        </p:nvGrpSpPr>
        <p:grpSpPr>
          <a:xfrm>
            <a:off x="7411896" y="3595371"/>
            <a:ext cx="193543" cy="275990"/>
            <a:chOff x="8304647" y="3738687"/>
            <a:chExt cx="225076" cy="320956"/>
          </a:xfrm>
        </p:grpSpPr>
        <p:sp>
          <p:nvSpPr>
            <p:cNvPr id="3602" name="Google Shape;3602;p53"/>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3" name="Google Shape;3603;p53"/>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4" name="Google Shape;3604;p53"/>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05" name="Google Shape;3605;p53"/>
          <p:cNvGrpSpPr/>
          <p:nvPr/>
        </p:nvGrpSpPr>
        <p:grpSpPr>
          <a:xfrm>
            <a:off x="7684389" y="3595371"/>
            <a:ext cx="178492" cy="275990"/>
            <a:chOff x="8615101" y="3738687"/>
            <a:chExt cx="207573" cy="320956"/>
          </a:xfrm>
        </p:grpSpPr>
        <p:sp>
          <p:nvSpPr>
            <p:cNvPr id="3606" name="Google Shape;3606;p53"/>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7" name="Google Shape;3607;p53"/>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8" name="Google Shape;3608;p53"/>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09" name="Google Shape;3609;p53"/>
          <p:cNvSpPr/>
          <p:nvPr/>
        </p:nvSpPr>
        <p:spPr>
          <a:xfrm>
            <a:off x="8180828" y="3185254"/>
            <a:ext cx="222397" cy="288694"/>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0" name="Google Shape;3610;p53"/>
          <p:cNvGrpSpPr/>
          <p:nvPr/>
        </p:nvGrpSpPr>
        <p:grpSpPr>
          <a:xfrm>
            <a:off x="7909920" y="3998032"/>
            <a:ext cx="187557" cy="187557"/>
            <a:chOff x="8565775" y="671075"/>
            <a:chExt cx="441000" cy="441000"/>
          </a:xfrm>
        </p:grpSpPr>
        <p:sp>
          <p:nvSpPr>
            <p:cNvPr id="3611" name="Google Shape;3611;p53"/>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2" name="Google Shape;3612;p53"/>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13" name="Google Shape;3613;p53"/>
          <p:cNvSpPr/>
          <p:nvPr/>
        </p:nvSpPr>
        <p:spPr>
          <a:xfrm>
            <a:off x="8195186" y="3993952"/>
            <a:ext cx="193683" cy="195716"/>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4" name="Google Shape;3614;p53"/>
          <p:cNvSpPr/>
          <p:nvPr/>
        </p:nvSpPr>
        <p:spPr>
          <a:xfrm flipH="1">
            <a:off x="7419373" y="3960408"/>
            <a:ext cx="178589" cy="262805"/>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615" name="Google Shape;3615;p53"/>
          <p:cNvGrpSpPr/>
          <p:nvPr/>
        </p:nvGrpSpPr>
        <p:grpSpPr>
          <a:xfrm>
            <a:off x="6064392" y="3070557"/>
            <a:ext cx="587865" cy="517731"/>
            <a:chOff x="6000718" y="3070557"/>
            <a:chExt cx="587865" cy="517731"/>
          </a:xfrm>
        </p:grpSpPr>
        <p:sp>
          <p:nvSpPr>
            <p:cNvPr id="3616" name="Google Shape;3616;p53"/>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7" name="Google Shape;3617;p53"/>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8" name="Google Shape;3618;p53"/>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9" name="Google Shape;3619;p53"/>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0" name="Google Shape;3620;p53"/>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1" name="Google Shape;3621;p53"/>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2" name="Google Shape;3622;p53"/>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3" name="Google Shape;3623;p53"/>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4" name="Google Shape;3624;p53"/>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5" name="Google Shape;3625;p53"/>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26" name="Google Shape;3626;p53"/>
          <p:cNvGrpSpPr/>
          <p:nvPr/>
        </p:nvGrpSpPr>
        <p:grpSpPr>
          <a:xfrm>
            <a:off x="6079197" y="3714217"/>
            <a:ext cx="557665" cy="516387"/>
            <a:chOff x="6015523" y="3714217"/>
            <a:chExt cx="557665" cy="516387"/>
          </a:xfrm>
        </p:grpSpPr>
        <p:grpSp>
          <p:nvGrpSpPr>
            <p:cNvPr id="3627" name="Google Shape;3627;p53"/>
            <p:cNvGrpSpPr/>
            <p:nvPr/>
          </p:nvGrpSpPr>
          <p:grpSpPr>
            <a:xfrm>
              <a:off x="6036094" y="3716980"/>
              <a:ext cx="529822" cy="510480"/>
              <a:chOff x="3148311" y="-545634"/>
              <a:chExt cx="1006118" cy="969572"/>
            </a:xfrm>
          </p:grpSpPr>
          <p:sp>
            <p:nvSpPr>
              <p:cNvPr id="3628" name="Google Shape;3628;p53"/>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9" name="Google Shape;3629;p53"/>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0" name="Google Shape;3630;p53"/>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1" name="Google Shape;3631;p53"/>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2" name="Google Shape;3632;p53"/>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3" name="Google Shape;3633;p53"/>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4" name="Google Shape;3634;p53"/>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5" name="Google Shape;3635;p53"/>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6" name="Google Shape;3636;p53"/>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7" name="Google Shape;3637;p53"/>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38" name="Google Shape;3638;p53"/>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39" name="Google Shape;3639;p53"/>
          <p:cNvGrpSpPr/>
          <p:nvPr/>
        </p:nvGrpSpPr>
        <p:grpSpPr>
          <a:xfrm>
            <a:off x="6707979" y="3073628"/>
            <a:ext cx="576302" cy="511871"/>
            <a:chOff x="6644304" y="3073628"/>
            <a:chExt cx="576302" cy="511871"/>
          </a:xfrm>
        </p:grpSpPr>
        <p:grpSp>
          <p:nvGrpSpPr>
            <p:cNvPr id="3640" name="Google Shape;3640;p53"/>
            <p:cNvGrpSpPr/>
            <p:nvPr/>
          </p:nvGrpSpPr>
          <p:grpSpPr>
            <a:xfrm>
              <a:off x="6712169" y="3073651"/>
              <a:ext cx="481611" cy="506713"/>
              <a:chOff x="1833536" y="-546641"/>
              <a:chExt cx="914567" cy="962419"/>
            </a:xfrm>
          </p:grpSpPr>
          <p:grpSp>
            <p:nvGrpSpPr>
              <p:cNvPr id="3641" name="Google Shape;3641;p53"/>
              <p:cNvGrpSpPr/>
              <p:nvPr/>
            </p:nvGrpSpPr>
            <p:grpSpPr>
              <a:xfrm>
                <a:off x="1833536" y="-524249"/>
                <a:ext cx="914567" cy="940027"/>
                <a:chOff x="1833536" y="-524249"/>
                <a:chExt cx="914567" cy="940027"/>
              </a:xfrm>
            </p:grpSpPr>
            <p:sp>
              <p:nvSpPr>
                <p:cNvPr id="3642" name="Google Shape;3642;p53"/>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3" name="Google Shape;3643;p53"/>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4" name="Google Shape;3644;p53"/>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5" name="Google Shape;3645;p53"/>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6" name="Google Shape;3646;p53"/>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47" name="Google Shape;3647;p53"/>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8" name="Google Shape;3648;p53"/>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9" name="Google Shape;3649;p53"/>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0" name="Google Shape;3650;p53"/>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51" name="Google Shape;3651;p53"/>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52" name="Google Shape;3652;p53"/>
          <p:cNvGrpSpPr/>
          <p:nvPr/>
        </p:nvGrpSpPr>
        <p:grpSpPr>
          <a:xfrm>
            <a:off x="6715725" y="3714143"/>
            <a:ext cx="560636" cy="516497"/>
            <a:chOff x="6652051" y="3714143"/>
            <a:chExt cx="560636" cy="516497"/>
          </a:xfrm>
        </p:grpSpPr>
        <p:grpSp>
          <p:nvGrpSpPr>
            <p:cNvPr id="3653" name="Google Shape;3653;p53"/>
            <p:cNvGrpSpPr/>
            <p:nvPr/>
          </p:nvGrpSpPr>
          <p:grpSpPr>
            <a:xfrm>
              <a:off x="6669657" y="3716715"/>
              <a:ext cx="466768" cy="464314"/>
              <a:chOff x="3139766" y="765669"/>
              <a:chExt cx="886380" cy="881888"/>
            </a:xfrm>
          </p:grpSpPr>
          <p:grpSp>
            <p:nvGrpSpPr>
              <p:cNvPr id="3654" name="Google Shape;3654;p53"/>
              <p:cNvGrpSpPr/>
              <p:nvPr/>
            </p:nvGrpSpPr>
            <p:grpSpPr>
              <a:xfrm>
                <a:off x="3139766" y="765669"/>
                <a:ext cx="886380" cy="881888"/>
                <a:chOff x="3139766" y="765669"/>
                <a:chExt cx="886380" cy="881888"/>
              </a:xfrm>
            </p:grpSpPr>
            <p:sp>
              <p:nvSpPr>
                <p:cNvPr id="3655" name="Google Shape;3655;p53"/>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6" name="Google Shape;3656;p53"/>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7" name="Google Shape;3657;p53"/>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8" name="Google Shape;3658;p53"/>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9" name="Google Shape;3659;p53"/>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0" name="Google Shape;3660;p53"/>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1" name="Google Shape;3661;p53"/>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2" name="Google Shape;3662;p53"/>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3" name="Google Shape;3663;p53"/>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4" name="Google Shape;3664;p53"/>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5" name="Google Shape;3665;p53"/>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6" name="Google Shape;3666;p53"/>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7" name="Google Shape;3667;p53"/>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68" name="Google Shape;3668;p53"/>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669" name="Google Shape;3669;p53"/>
          <p:cNvGrpSpPr/>
          <p:nvPr/>
        </p:nvGrpSpPr>
        <p:grpSpPr>
          <a:xfrm>
            <a:off x="625184" y="1201451"/>
            <a:ext cx="2665073" cy="1317140"/>
            <a:chOff x="793334" y="1192826"/>
            <a:chExt cx="2665073" cy="1317140"/>
          </a:xfrm>
        </p:grpSpPr>
        <p:sp>
          <p:nvSpPr>
            <p:cNvPr id="3670" name="Google Shape;3670;p53"/>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1" name="Google Shape;3671;p53"/>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2" name="Google Shape;3672;p53"/>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3" name="Google Shape;3673;p53"/>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4" name="Google Shape;3674;p53"/>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5" name="Google Shape;3675;p53"/>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6" name="Google Shape;3676;p53"/>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7" name="Google Shape;3677;p53"/>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8" name="Google Shape;3678;p53"/>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9" name="Google Shape;3679;p53"/>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0" name="Google Shape;3680;p53"/>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1" name="Google Shape;3681;p53"/>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2" name="Google Shape;3682;p53"/>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3" name="Google Shape;3683;p53"/>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4" name="Google Shape;3684;p53"/>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5" name="Google Shape;3685;p53"/>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6" name="Google Shape;3686;p53"/>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7" name="Google Shape;3687;p53"/>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8" name="Google Shape;3688;p53"/>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9" name="Google Shape;3689;p53"/>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0" name="Google Shape;3690;p53"/>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1" name="Google Shape;3691;p53"/>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2" name="Google Shape;3692;p53"/>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3" name="Google Shape;3693;p53"/>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4" name="Google Shape;3694;p53"/>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5" name="Google Shape;3695;p53"/>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6" name="Google Shape;3696;p53"/>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7" name="Google Shape;3697;p53"/>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8" name="Google Shape;3698;p53"/>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9" name="Google Shape;3699;p53"/>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0" name="Google Shape;3700;p53"/>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1" name="Google Shape;3701;p53"/>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2" name="Google Shape;3702;p53"/>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3" name="Google Shape;3703;p53"/>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4" name="Google Shape;3704;p53"/>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5" name="Google Shape;3705;p53"/>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6" name="Google Shape;3706;p53"/>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7" name="Google Shape;3707;p53"/>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8" name="Google Shape;3708;p53"/>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9" name="Google Shape;3709;p53"/>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0" name="Google Shape;3710;p53"/>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1" name="Google Shape;3711;p53"/>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2" name="Google Shape;3712;p53"/>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3" name="Google Shape;3713;p53"/>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4" name="Google Shape;3714;p53"/>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5" name="Google Shape;3715;p53"/>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6" name="Google Shape;3716;p53"/>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7" name="Google Shape;3717;p53"/>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8" name="Google Shape;3718;p53"/>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9" name="Google Shape;3719;p53"/>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0" name="Google Shape;3720;p53"/>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1" name="Google Shape;3721;p53"/>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2" name="Google Shape;3722;p53"/>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3" name="Google Shape;3723;p53"/>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4" name="Google Shape;3724;p53"/>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5" name="Google Shape;3725;p53"/>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6" name="Google Shape;3726;p53"/>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7" name="Google Shape;3727;p53"/>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8" name="Google Shape;3728;p53"/>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9" name="Google Shape;3729;p53"/>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0" name="Google Shape;3730;p53"/>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1" name="Google Shape;3731;p53"/>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2" name="Google Shape;3732;p53"/>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3" name="Google Shape;3733;p53"/>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4" name="Google Shape;3734;p53"/>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5" name="Google Shape;3735;p53"/>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6" name="Google Shape;3736;p53"/>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7" name="Google Shape;3737;p53"/>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8" name="Google Shape;3738;p53"/>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9" name="Google Shape;3739;p53"/>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0" name="Google Shape;3740;p53"/>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1" name="Google Shape;3741;p53"/>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2" name="Google Shape;3742;p53"/>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3" name="Google Shape;3743;p53"/>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4" name="Google Shape;3744;p53"/>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5" name="Google Shape;3745;p53"/>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6" name="Google Shape;3746;p53"/>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7" name="Google Shape;3747;p53"/>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8" name="Google Shape;3748;p53"/>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9" name="Google Shape;3749;p53"/>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0" name="Google Shape;3750;p53"/>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1" name="Google Shape;3751;p53"/>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2" name="Google Shape;3752;p53"/>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3" name="Google Shape;3753;p53"/>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4" name="Google Shape;3754;p53"/>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5" name="Google Shape;3755;p53"/>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6" name="Google Shape;3756;p53"/>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7" name="Google Shape;3757;p53"/>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8" name="Google Shape;3758;p53"/>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9" name="Google Shape;3759;p53"/>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0" name="Google Shape;3760;p53"/>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1" name="Google Shape;3761;p53"/>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2" name="Google Shape;3762;p53"/>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3" name="Google Shape;3763;p53"/>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4" name="Google Shape;3764;p53"/>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5" name="Google Shape;3765;p53"/>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6" name="Google Shape;3766;p53"/>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7" name="Google Shape;3767;p53"/>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8" name="Google Shape;3768;p53"/>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9" name="Google Shape;3769;p53"/>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0" name="Google Shape;3770;p53"/>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1" name="Google Shape;3771;p53"/>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2" name="Google Shape;3772;p53"/>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3" name="Google Shape;3773;p53"/>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4" name="Google Shape;3774;p53"/>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5" name="Google Shape;3775;p53"/>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6" name="Google Shape;3776;p53"/>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7" name="Google Shape;3777;p53"/>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8" name="Google Shape;3778;p53"/>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9" name="Google Shape;3779;p53"/>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0" name="Google Shape;3780;p53"/>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1" name="Google Shape;3781;p53"/>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2" name="Google Shape;3782;p53"/>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3" name="Google Shape;3783;p53"/>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4" name="Google Shape;3784;p53"/>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5" name="Google Shape;3785;p53"/>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6" name="Google Shape;3786;p53"/>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7" name="Google Shape;3787;p53"/>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8" name="Google Shape;3788;p53"/>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9" name="Google Shape;3789;p53"/>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0" name="Google Shape;3790;p53"/>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1" name="Google Shape;3791;p53"/>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2" name="Google Shape;3792;p53"/>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3" name="Google Shape;3793;p53"/>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4" name="Google Shape;3794;p53"/>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5" name="Google Shape;3795;p53"/>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6" name="Google Shape;3796;p53"/>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7" name="Google Shape;3797;p53"/>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8" name="Google Shape;3798;p53"/>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9" name="Google Shape;3799;p53"/>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0" name="Google Shape;3800;p53"/>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1" name="Google Shape;3801;p53"/>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2" name="Google Shape;3802;p53"/>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3" name="Google Shape;3803;p53"/>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4" name="Google Shape;3804;p53"/>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5" name="Google Shape;3805;p53"/>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6" name="Google Shape;3806;p53"/>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7" name="Google Shape;3807;p53"/>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8" name="Google Shape;3808;p53"/>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9" name="Google Shape;3809;p53"/>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0" name="Google Shape;3810;p53"/>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1" name="Google Shape;3811;p53"/>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2" name="Google Shape;3812;p53"/>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3" name="Google Shape;3813;p53"/>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4" name="Google Shape;3814;p53"/>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5" name="Google Shape;3815;p53"/>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6" name="Google Shape;3816;p53"/>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7" name="Google Shape;3817;p53"/>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8" name="Google Shape;3818;p53"/>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9" name="Google Shape;3819;p53"/>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0" name="Google Shape;3820;p53"/>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1" name="Google Shape;3821;p53"/>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2" name="Google Shape;3822;p53"/>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3" name="Google Shape;3823;p53"/>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4" name="Google Shape;3824;p53"/>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5" name="Google Shape;3825;p53"/>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6" name="Google Shape;3826;p53"/>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7" name="Google Shape;3827;p53"/>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8" name="Google Shape;3828;p53"/>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9" name="Google Shape;3829;p53"/>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0" name="Google Shape;3830;p53"/>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1" name="Google Shape;3831;p53"/>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2" name="Google Shape;3832;p53"/>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3" name="Google Shape;3833;p53"/>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4" name="Google Shape;3834;p53"/>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5" name="Google Shape;3835;p53"/>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6" name="Google Shape;3836;p53"/>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7" name="Google Shape;3837;p53"/>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8" name="Google Shape;3838;p53"/>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9" name="Google Shape;3839;p53"/>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0" name="Google Shape;3840;p53"/>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1" name="Google Shape;3841;p53"/>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2" name="Google Shape;3842;p53"/>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3" name="Google Shape;3843;p53"/>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4" name="Google Shape;3844;p53"/>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5" name="Google Shape;3845;p53"/>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6" name="Google Shape;3846;p53"/>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7" name="Google Shape;3847;p53"/>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8" name="Google Shape;3848;p53"/>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9" name="Google Shape;3849;p53"/>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0" name="Google Shape;3850;p53"/>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1" name="Google Shape;3851;p53"/>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2" name="Google Shape;3852;p53"/>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3" name="Google Shape;3853;p53"/>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4" name="Google Shape;3854;p53"/>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5" name="Google Shape;3855;p53"/>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6" name="Google Shape;3856;p53"/>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7" name="Google Shape;3857;p53"/>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8" name="Google Shape;3858;p53"/>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9" name="Google Shape;3859;p53"/>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0" name="Google Shape;3860;p53"/>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1" name="Google Shape;3861;p53"/>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2" name="Google Shape;3862;p53"/>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3" name="Google Shape;3863;p53"/>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4" name="Google Shape;3864;p53"/>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5" name="Google Shape;3865;p53"/>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6" name="Google Shape;3866;p53"/>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7" name="Google Shape;3867;p53"/>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8" name="Google Shape;3868;p53"/>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9" name="Google Shape;3869;p53"/>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0" name="Google Shape;3870;p53"/>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1" name="Google Shape;3871;p53"/>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2" name="Google Shape;3872;p53"/>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3" name="Google Shape;3873;p53"/>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4" name="Google Shape;3874;p53"/>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5" name="Google Shape;3875;p53"/>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6" name="Google Shape;3876;p53"/>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7" name="Google Shape;3877;p53"/>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8" name="Google Shape;3878;p53"/>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9" name="Google Shape;3879;p53"/>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0" name="Google Shape;3880;p53"/>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1" name="Google Shape;3881;p53"/>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2" name="Google Shape;3882;p53"/>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3" name="Google Shape;3883;p53"/>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4" name="Google Shape;3884;p53"/>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5" name="Google Shape;3885;p53"/>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6" name="Google Shape;3886;p53"/>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7" name="Google Shape;3887;p53"/>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8" name="Google Shape;3888;p53"/>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9" name="Google Shape;3889;p53"/>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0" name="Google Shape;3890;p53"/>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1" name="Google Shape;3891;p53"/>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2" name="Google Shape;3892;p53"/>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3" name="Google Shape;3893;p53"/>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4" name="Google Shape;3894;p53"/>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5" name="Google Shape;3895;p53"/>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6" name="Google Shape;3896;p53"/>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7" name="Google Shape;3897;p53"/>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8" name="Google Shape;3898;p53"/>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9" name="Google Shape;3899;p53"/>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0" name="Google Shape;3900;p53"/>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1" name="Google Shape;3901;p53"/>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2" name="Google Shape;3902;p53"/>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3" name="Google Shape;3903;p53"/>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4" name="Google Shape;3904;p53"/>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5" name="Google Shape;3905;p53"/>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6" name="Google Shape;3906;p53"/>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7" name="Google Shape;3907;p53"/>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8" name="Google Shape;3908;p53"/>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9" name="Google Shape;3909;p53"/>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0" name="Google Shape;3910;p53"/>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1" name="Google Shape;3911;p53"/>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2" name="Google Shape;3912;p53"/>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3" name="Google Shape;3913;p53"/>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4" name="Google Shape;3914;p53"/>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5" name="Google Shape;3915;p53"/>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6" name="Google Shape;3916;p53"/>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7" name="Google Shape;3917;p53"/>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8" name="Google Shape;3918;p53"/>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9" name="Google Shape;3919;p53"/>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0" name="Google Shape;3920;p53"/>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1" name="Google Shape;3921;p53"/>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2" name="Google Shape;3922;p53"/>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3" name="Google Shape;3923;p53"/>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4" name="Google Shape;3924;p53"/>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5" name="Google Shape;3925;p53"/>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6" name="Google Shape;3926;p53"/>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7" name="Google Shape;3927;p53"/>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8" name="Google Shape;3928;p53"/>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9" name="Google Shape;3929;p53"/>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0" name="Google Shape;3930;p53"/>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1" name="Google Shape;3931;p53"/>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2" name="Google Shape;3932;p53"/>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3" name="Google Shape;3933;p53"/>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4" name="Google Shape;3934;p53"/>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5" name="Google Shape;3935;p53"/>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6" name="Google Shape;3936;p53"/>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7" name="Google Shape;3937;p53"/>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8" name="Google Shape;3938;p53"/>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9" name="Google Shape;3939;p53"/>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0" name="Google Shape;3940;p53"/>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1" name="Google Shape;3941;p53"/>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2" name="Google Shape;3942;p53"/>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3" name="Google Shape;3943;p53"/>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4" name="Google Shape;3944;p53"/>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5" name="Google Shape;3945;p53"/>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6" name="Google Shape;3946;p53"/>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7" name="Google Shape;3947;p53"/>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8" name="Google Shape;3948;p53"/>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9" name="Google Shape;3949;p53"/>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0" name="Google Shape;3950;p53"/>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1" name="Google Shape;3951;p53"/>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2" name="Google Shape;3952;p53"/>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3" name="Google Shape;3953;p53"/>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4" name="Google Shape;3954;p53"/>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5" name="Google Shape;3955;p53"/>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6" name="Google Shape;3956;p53"/>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7" name="Google Shape;3957;p53"/>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8" name="Google Shape;3958;p53"/>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9" name="Google Shape;3959;p53"/>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0" name="Google Shape;3960;p53"/>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1" name="Google Shape;3961;p53"/>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2" name="Google Shape;3962;p53"/>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3" name="Google Shape;3963;p53"/>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4" name="Google Shape;3964;p53"/>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5" name="Google Shape;3965;p53"/>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6" name="Google Shape;3966;p53"/>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7" name="Google Shape;3967;p53"/>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8" name="Google Shape;3968;p53"/>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9" name="Google Shape;3969;p53"/>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0" name="Google Shape;3970;p53"/>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1" name="Google Shape;3971;p53"/>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2" name="Google Shape;3972;p53"/>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3" name="Google Shape;3973;p53"/>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4" name="Google Shape;3974;p53"/>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5" name="Google Shape;3975;p53"/>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6" name="Google Shape;3976;p53"/>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7" name="Google Shape;3977;p53"/>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8" name="Google Shape;3978;p53"/>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9" name="Google Shape;3979;p53"/>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0" name="Google Shape;3980;p53"/>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1" name="Google Shape;3981;p53"/>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2" name="Google Shape;3982;p53"/>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3" name="Google Shape;3983;p53"/>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4" name="Google Shape;3984;p53"/>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5" name="Google Shape;3985;p53"/>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6" name="Google Shape;3986;p53"/>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7" name="Google Shape;3987;p53"/>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8" name="Google Shape;3988;p53"/>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9" name="Google Shape;3989;p53"/>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0" name="Google Shape;3990;p53"/>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1" name="Google Shape;3991;p53"/>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2" name="Google Shape;3992;p53"/>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3" name="Google Shape;3993;p53"/>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4" name="Google Shape;3994;p53"/>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5" name="Google Shape;3995;p53"/>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6" name="Google Shape;3996;p53"/>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7" name="Google Shape;3997;p53"/>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8" name="Google Shape;3998;p53"/>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9" name="Google Shape;3999;p53"/>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0" name="Google Shape;4000;p53"/>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1" name="Google Shape;4001;p53"/>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2" name="Google Shape;4002;p53"/>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3" name="Google Shape;4003;p53"/>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4" name="Google Shape;4004;p53"/>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5" name="Google Shape;4005;p53"/>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6" name="Google Shape;4006;p53"/>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7" name="Google Shape;4007;p53"/>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8" name="Google Shape;4008;p53"/>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9" name="Google Shape;4009;p53"/>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0" name="Google Shape;4010;p53"/>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1" name="Google Shape;4011;p53"/>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2" name="Google Shape;4012;p53"/>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3" name="Google Shape;4013;p53"/>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4" name="Google Shape;4014;p53"/>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5" name="Google Shape;4015;p53"/>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6" name="Google Shape;4016;p53"/>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7" name="Google Shape;4017;p53"/>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8" name="Google Shape;4018;p53"/>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9" name="Google Shape;4019;p53"/>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0" name="Google Shape;4020;p53"/>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1" name="Google Shape;4021;p53"/>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2" name="Google Shape;4022;p53"/>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3" name="Google Shape;4023;p53"/>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4" name="Google Shape;4024;p53"/>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5" name="Google Shape;4025;p53"/>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6" name="Google Shape;4026;p53"/>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7" name="Google Shape;4027;p53"/>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8" name="Google Shape;4028;p53"/>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9" name="Google Shape;4029;p53"/>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0" name="Google Shape;4030;p53"/>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1" name="Google Shape;4031;p53"/>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2" name="Google Shape;4032;p53"/>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3" name="Google Shape;4033;p53"/>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4" name="Google Shape;4034;p53"/>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5" name="Google Shape;4035;p53"/>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6" name="Google Shape;4036;p53"/>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7" name="Google Shape;4037;p53"/>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8" name="Google Shape;4038;p53"/>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9" name="Google Shape;4039;p53"/>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0" name="Google Shape;4040;p53"/>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1" name="Google Shape;4041;p53"/>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2" name="Google Shape;4042;p53"/>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3" name="Google Shape;4043;p53"/>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4" name="Google Shape;4044;p53"/>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5" name="Google Shape;4045;p53"/>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6" name="Google Shape;4046;p53"/>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7" name="Google Shape;4047;p53"/>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8" name="Google Shape;4048;p53"/>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9" name="Google Shape;4049;p53"/>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0" name="Google Shape;4050;p53"/>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1" name="Google Shape;4051;p53"/>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2" name="Google Shape;4052;p53"/>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3" name="Google Shape;4053;p53"/>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4" name="Google Shape;4054;p53"/>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5" name="Google Shape;4055;p53"/>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6" name="Google Shape;4056;p53"/>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7" name="Google Shape;4057;p53"/>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8" name="Google Shape;4058;p53"/>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9" name="Google Shape;4059;p53"/>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0" name="Google Shape;4060;p53"/>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1" name="Google Shape;4061;p53"/>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2" name="Google Shape;4062;p53"/>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3" name="Google Shape;4063;p53"/>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4" name="Google Shape;4064;p53"/>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5" name="Google Shape;4065;p53"/>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6" name="Google Shape;4066;p53"/>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7" name="Google Shape;4067;p53"/>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8" name="Google Shape;4068;p53"/>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9" name="Google Shape;4069;p53"/>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0" name="Google Shape;4070;p53"/>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1" name="Google Shape;4071;p53"/>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2" name="Google Shape;4072;p53"/>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3" name="Google Shape;4073;p53"/>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4" name="Google Shape;4074;p53"/>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5" name="Google Shape;4075;p53"/>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6" name="Google Shape;4076;p53"/>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7" name="Google Shape;4077;p53"/>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8" name="Google Shape;4078;p53"/>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9" name="Google Shape;4079;p53"/>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0" name="Google Shape;4080;p53"/>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1" name="Google Shape;4081;p53"/>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2" name="Google Shape;4082;p53"/>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3" name="Google Shape;4083;p53"/>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4" name="Google Shape;4084;p53"/>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5" name="Google Shape;4085;p53"/>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6" name="Google Shape;4086;p53"/>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7" name="Google Shape;4087;p53"/>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8" name="Google Shape;4088;p53"/>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9" name="Google Shape;4089;p53"/>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0" name="Google Shape;4090;p53"/>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1" name="Google Shape;4091;p53"/>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2" name="Google Shape;4092;p53"/>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3" name="Google Shape;4093;p53"/>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4" name="Google Shape;4094;p53"/>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5" name="Google Shape;4095;p53"/>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6" name="Google Shape;4096;p53"/>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7" name="Google Shape;4097;p53"/>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8" name="Google Shape;4098;p53"/>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9" name="Google Shape;4099;p53"/>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0" name="Google Shape;4100;p53"/>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1" name="Google Shape;4101;p53"/>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2" name="Google Shape;4102;p53"/>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3" name="Google Shape;4103;p53"/>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4" name="Google Shape;4104;p53"/>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5" name="Google Shape;4105;p53"/>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6" name="Google Shape;4106;p53"/>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7" name="Google Shape;4107;p53"/>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8" name="Google Shape;4108;p53"/>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9" name="Google Shape;4109;p53"/>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0" name="Google Shape;4110;p53"/>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1" name="Google Shape;4111;p53"/>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2" name="Google Shape;4112;p53"/>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3" name="Google Shape;4113;p53"/>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4" name="Google Shape;4114;p53"/>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5" name="Google Shape;4115;p53"/>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6" name="Google Shape;4116;p53"/>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7" name="Google Shape;4117;p53"/>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8" name="Google Shape;4118;p53"/>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9" name="Google Shape;4119;p53"/>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0" name="Google Shape;4120;p53"/>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1" name="Google Shape;4121;p53"/>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2" name="Google Shape;4122;p53"/>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3" name="Google Shape;4123;p53"/>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4" name="Google Shape;4124;p53"/>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53"/>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6" name="Google Shape;4126;p53"/>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53"/>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8" name="Google Shape;4128;p53"/>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53"/>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0" name="Google Shape;4130;p53"/>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53"/>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2" name="Google Shape;4132;p53"/>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53"/>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4" name="Google Shape;4134;p53"/>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53"/>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6" name="Google Shape;4136;p53"/>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7" name="Google Shape;4137;p53"/>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8" name="Google Shape;4138;p53"/>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9" name="Google Shape;4139;p53"/>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0" name="Google Shape;4140;p53"/>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1" name="Google Shape;4141;p53"/>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2" name="Google Shape;4142;p53"/>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3" name="Google Shape;4143;p53"/>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4" name="Google Shape;4144;p53"/>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5" name="Google Shape;4145;p53"/>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6" name="Google Shape;4146;p53"/>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7" name="Google Shape;4147;p53"/>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8" name="Google Shape;4148;p53"/>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9" name="Google Shape;4149;p53"/>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0" name="Google Shape;4150;p53"/>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1" name="Google Shape;4151;p53"/>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2" name="Google Shape;4152;p53"/>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3" name="Google Shape;4153;p53"/>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4" name="Google Shape;4154;p53"/>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5" name="Google Shape;4155;p53"/>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6" name="Google Shape;4156;p53"/>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7" name="Google Shape;4157;p53"/>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8" name="Google Shape;4158;p53"/>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9" name="Google Shape;4159;p53"/>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0" name="Google Shape;4160;p53"/>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1" name="Google Shape;4161;p53"/>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2" name="Google Shape;4162;p53"/>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3" name="Google Shape;4163;p53"/>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4" name="Google Shape;4164;p53"/>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5" name="Google Shape;4165;p53"/>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6" name="Google Shape;4166;p53"/>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7" name="Google Shape;4167;p53"/>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8" name="Google Shape;4168;p53"/>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9" name="Google Shape;4169;p53"/>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0" name="Google Shape;4170;p53"/>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1" name="Google Shape;4171;p53"/>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2" name="Google Shape;4172;p53"/>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3" name="Google Shape;4173;p53"/>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4" name="Google Shape;4174;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5" name="Google Shape;4175;p53"/>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6" name="Google Shape;4176;p53"/>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7" name="Google Shape;4177;p53"/>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8" name="Google Shape;4178;p53"/>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9" name="Google Shape;4179;p53"/>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0" name="Google Shape;4180;p53"/>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1" name="Google Shape;4181;p53"/>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2" name="Google Shape;4182;p53"/>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3" name="Google Shape;4183;p53"/>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4" name="Google Shape;4184;p53"/>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5" name="Google Shape;4185;p53"/>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6" name="Google Shape;4186;p53"/>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7" name="Google Shape;4187;p53"/>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8" name="Google Shape;4188;p53"/>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9" name="Google Shape;4189;p53"/>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0" name="Google Shape;4190;p53"/>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1" name="Google Shape;4191;p53"/>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2" name="Google Shape;4192;p53"/>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3" name="Google Shape;4193;p53"/>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4" name="Google Shape;4194;p53"/>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5" name="Google Shape;4195;p53"/>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6" name="Google Shape;4196;p53"/>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7" name="Google Shape;4197;p53"/>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8" name="Google Shape;4198;p53"/>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9" name="Google Shape;4199;p53"/>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0" name="Google Shape;4200;p53"/>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1" name="Google Shape;4201;p53"/>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2" name="Google Shape;4202;p53"/>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3" name="Google Shape;4203;p53"/>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4" name="Google Shape;4204;p53"/>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5" name="Google Shape;4205;p53"/>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6" name="Google Shape;4206;p53"/>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7" name="Google Shape;4207;p53"/>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8" name="Google Shape;4208;p53"/>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9" name="Google Shape;4209;p53"/>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0" name="Google Shape;4210;p53"/>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1" name="Google Shape;4211;p53"/>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2" name="Google Shape;4212;p53"/>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3" name="Google Shape;4213;p53"/>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4" name="Google Shape;4214;p53"/>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5" name="Google Shape;4215;p53"/>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6" name="Google Shape;4216;p53"/>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7" name="Google Shape;4217;p53"/>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8" name="Google Shape;4218;p53"/>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9" name="Google Shape;4219;p53"/>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0" name="Google Shape;4220;p53"/>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1" name="Google Shape;4221;p53"/>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2" name="Google Shape;4222;p53"/>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3" name="Google Shape;4223;p53"/>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4" name="Google Shape;4224;p53"/>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5" name="Google Shape;4225;p53"/>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6" name="Google Shape;4226;p53"/>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7" name="Google Shape;4227;p53"/>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8" name="Google Shape;4228;p53"/>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9" name="Google Shape;4229;p53"/>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0" name="Google Shape;4230;p53"/>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1" name="Google Shape;4231;p53"/>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2" name="Google Shape;4232;p53"/>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3" name="Google Shape;4233;p53"/>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4" name="Google Shape;4234;p53"/>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5" name="Google Shape;4235;p53"/>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6" name="Google Shape;4236;p53"/>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7" name="Google Shape;4237;p53"/>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8" name="Google Shape;4238;p53"/>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9" name="Google Shape;4239;p53"/>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0" name="Google Shape;4240;p53"/>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1" name="Google Shape;4241;p53"/>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2" name="Google Shape;4242;p53"/>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3" name="Google Shape;4243;p53"/>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4" name="Google Shape;4244;p53"/>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5" name="Google Shape;4245;p53"/>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6" name="Google Shape;4246;p53"/>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7" name="Google Shape;4247;p53"/>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8" name="Google Shape;4248;p53"/>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9" name="Google Shape;4249;p53"/>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0" name="Google Shape;4250;p53"/>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1" name="Google Shape;4251;p53"/>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2" name="Google Shape;4252;p53"/>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3" name="Google Shape;4253;p53"/>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4" name="Google Shape;4254;p53"/>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5" name="Google Shape;4255;p53"/>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6" name="Google Shape;4256;p53"/>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7" name="Google Shape;4257;p53"/>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8" name="Google Shape;4258;p53"/>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9" name="Google Shape;4259;p53"/>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0" name="Google Shape;4260;p53"/>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1" name="Google Shape;4261;p53"/>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2" name="Google Shape;4262;p53"/>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3" name="Google Shape;4263;p53"/>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4" name="Google Shape;4264;p53"/>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5" name="Google Shape;4265;p53"/>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6" name="Google Shape;4266;p53"/>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7" name="Google Shape;4267;p53"/>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8" name="Google Shape;4268;p53"/>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9" name="Google Shape;4269;p53"/>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0" name="Google Shape;4270;p53"/>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1" name="Google Shape;4271;p53"/>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2" name="Google Shape;4272;p53"/>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3" name="Google Shape;4273;p53"/>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4" name="Google Shape;4274;p53"/>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5" name="Google Shape;4275;p53"/>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6" name="Google Shape;4276;p53"/>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7" name="Google Shape;4277;p53"/>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8" name="Google Shape;4278;p53"/>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9" name="Google Shape;4279;p53"/>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0" name="Google Shape;4280;p53"/>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1" name="Google Shape;4281;p53"/>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2" name="Google Shape;4282;p53"/>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3" name="Google Shape;4283;p53"/>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4" name="Google Shape;4284;p53"/>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5" name="Google Shape;4285;p53"/>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6" name="Google Shape;4286;p53"/>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7" name="Google Shape;4287;p53"/>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8" name="Google Shape;4288;p53"/>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9" name="Google Shape;4289;p53"/>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0" name="Google Shape;4290;p53"/>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1" name="Google Shape;4291;p53"/>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2" name="Google Shape;4292;p53"/>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3" name="Google Shape;4293;p53"/>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4" name="Google Shape;4294;p53"/>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5" name="Google Shape;4295;p53"/>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6" name="Google Shape;4296;p53"/>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7" name="Google Shape;4297;p53"/>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8" name="Google Shape;4298;p53"/>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9" name="Google Shape;4299;p53"/>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0" name="Google Shape;4300;p53"/>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1" name="Google Shape;4301;p53"/>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2" name="Google Shape;4302;p53"/>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3" name="Google Shape;4303;p53"/>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4" name="Google Shape;4304;p53"/>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5" name="Google Shape;4305;p53"/>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6" name="Google Shape;4306;p53"/>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7" name="Google Shape;4307;p53"/>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8" name="Google Shape;4308;p53"/>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9" name="Google Shape;4309;p53"/>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0" name="Google Shape;4310;p53"/>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1" name="Google Shape;4311;p53"/>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2" name="Google Shape;4312;p53"/>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3" name="Google Shape;4313;p53"/>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4" name="Google Shape;4314;p53"/>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5" name="Google Shape;4315;p53"/>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6" name="Google Shape;4316;p53"/>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7" name="Google Shape;4317;p53"/>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8" name="Google Shape;4318;p53"/>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9" name="Google Shape;4319;p53"/>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0" name="Google Shape;4320;p53"/>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1" name="Google Shape;4321;p53"/>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2" name="Google Shape;4322;p53"/>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3" name="Google Shape;4323;p53"/>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4" name="Google Shape;4324;p53"/>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5" name="Google Shape;4325;p53"/>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6" name="Google Shape;4326;p53"/>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7" name="Google Shape;4327;p53"/>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8" name="Google Shape;4328;p53"/>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9" name="Google Shape;4329;p53"/>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0" name="Google Shape;4330;p53"/>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1" name="Google Shape;4331;p53"/>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2" name="Google Shape;4332;p53"/>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3" name="Google Shape;4333;p53"/>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4" name="Google Shape;4334;p53"/>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5" name="Google Shape;4335;p53"/>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6" name="Google Shape;4336;p53"/>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7" name="Google Shape;4337;p53"/>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8" name="Google Shape;4338;p53"/>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9" name="Google Shape;4339;p53"/>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0" name="Google Shape;4340;p53"/>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1" name="Google Shape;4341;p53"/>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2" name="Google Shape;4342;p53"/>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3" name="Google Shape;4343;p53"/>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4" name="Google Shape;4344;p53"/>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5" name="Google Shape;4345;p53"/>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6" name="Google Shape;4346;p53"/>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7" name="Google Shape;4347;p53"/>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8" name="Google Shape;4348;p53"/>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9" name="Google Shape;4349;p53"/>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0" name="Google Shape;4350;p53"/>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1" name="Google Shape;4351;p53"/>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2" name="Google Shape;4352;p53"/>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3" name="Google Shape;4353;p53"/>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4" name="Google Shape;4354;p53"/>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5" name="Google Shape;4355;p53"/>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6" name="Google Shape;4356;p53"/>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7" name="Google Shape;4357;p53"/>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8" name="Google Shape;4358;p53"/>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9" name="Google Shape;4359;p53"/>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0" name="Google Shape;4360;p53"/>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1" name="Google Shape;4361;p53"/>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2" name="Google Shape;4362;p53"/>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3" name="Google Shape;4363;p53"/>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4" name="Google Shape;4364;p53"/>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5" name="Google Shape;4365;p53"/>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6" name="Google Shape;4366;p53"/>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7" name="Google Shape;4367;p53"/>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8" name="Google Shape;4368;p53"/>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9" name="Google Shape;4369;p53"/>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0" name="Google Shape;4370;p53"/>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1" name="Google Shape;4371;p53"/>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2" name="Google Shape;4372;p53"/>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3" name="Google Shape;4373;p53"/>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4" name="Google Shape;4374;p53"/>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5" name="Google Shape;4375;p53"/>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6" name="Google Shape;4376;p53"/>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7" name="Google Shape;4377;p53"/>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8" name="Google Shape;4378;p53"/>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9" name="Google Shape;4379;p53"/>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0" name="Google Shape;4380;p53"/>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1" name="Google Shape;4381;p53"/>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2" name="Google Shape;4382;p53"/>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3" name="Google Shape;4383;p53"/>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4" name="Google Shape;4384;p53"/>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5" name="Google Shape;4385;p53"/>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6" name="Google Shape;4386;p53"/>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7" name="Google Shape;4387;p53"/>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8" name="Google Shape;4388;p53"/>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9" name="Google Shape;4389;p53"/>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0" name="Google Shape;4390;p53"/>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1" name="Google Shape;4391;p53"/>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2" name="Google Shape;4392;p53"/>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3" name="Google Shape;4393;p53"/>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4" name="Google Shape;4394;p53"/>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5" name="Google Shape;4395;p53"/>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6" name="Google Shape;4396;p53"/>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7" name="Google Shape;4397;p53"/>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8" name="Google Shape;4398;p53"/>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9" name="Google Shape;4399;p53"/>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0" name="Google Shape;4400;p53"/>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1" name="Google Shape;4401;p53"/>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2" name="Google Shape;4402;p53"/>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3" name="Google Shape;4403;p53"/>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4" name="Google Shape;4404;p53"/>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5" name="Google Shape;4405;p53"/>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6" name="Google Shape;4406;p53"/>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7" name="Google Shape;4407;p53"/>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8" name="Google Shape;4408;p53"/>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09" name="Google Shape;4409;p53"/>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0" name="Google Shape;4410;p53"/>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1" name="Google Shape;4411;p53"/>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2" name="Google Shape;4412;p53"/>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3" name="Google Shape;4413;p53"/>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4" name="Google Shape;4414;p53"/>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5" name="Google Shape;4415;p53"/>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6" name="Google Shape;4416;p53"/>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7" name="Google Shape;4417;p53"/>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8" name="Google Shape;4418;p53"/>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9" name="Google Shape;4419;p53"/>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0" name="Google Shape;4420;p53"/>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1" name="Google Shape;4421;p53"/>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2" name="Google Shape;4422;p53"/>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3" name="Google Shape;4423;p53"/>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4" name="Google Shape;4424;p53"/>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5" name="Google Shape;4425;p53"/>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6" name="Google Shape;4426;p53"/>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7" name="Google Shape;4427;p53"/>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8" name="Google Shape;4428;p53"/>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9" name="Google Shape;4429;p53"/>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0" name="Google Shape;4430;p53"/>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1" name="Google Shape;4431;p53"/>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2" name="Google Shape;4432;p53"/>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3" name="Google Shape;4433;p53"/>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4" name="Google Shape;4434;p53"/>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5" name="Google Shape;4435;p53"/>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6" name="Google Shape;4436;p53"/>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7" name="Google Shape;4437;p53"/>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8" name="Google Shape;4438;p53"/>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9" name="Google Shape;4439;p53"/>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0" name="Google Shape;4440;p53"/>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1" name="Google Shape;4441;p53"/>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2" name="Google Shape;4442;p53"/>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3" name="Google Shape;4443;p53"/>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4" name="Google Shape;4444;p53"/>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5" name="Google Shape;4445;p53"/>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6" name="Google Shape;4446;p53"/>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7" name="Google Shape;4447;p53"/>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8" name="Google Shape;4448;p53"/>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9" name="Google Shape;4449;p53"/>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0" name="Google Shape;4450;p53"/>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1" name="Google Shape;4451;p53"/>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2" name="Google Shape;4452;p53"/>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3" name="Google Shape;4453;p53"/>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4" name="Google Shape;4454;p53"/>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5" name="Google Shape;4455;p53"/>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6" name="Google Shape;4456;p53"/>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7" name="Google Shape;4457;p53"/>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8" name="Google Shape;4458;p53"/>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9" name="Google Shape;4459;p53"/>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0" name="Google Shape;4460;p53"/>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1" name="Google Shape;4461;p53"/>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2" name="Google Shape;4462;p53"/>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3" name="Google Shape;4463;p53"/>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4" name="Google Shape;4464;p53"/>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5" name="Google Shape;4465;p53"/>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6" name="Google Shape;4466;p53"/>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7" name="Google Shape;4467;p53"/>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8" name="Google Shape;4468;p53"/>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9" name="Google Shape;4469;p53"/>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0" name="Google Shape;4470;p53"/>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1" name="Google Shape;4471;p53"/>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2" name="Google Shape;4472;p53"/>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3" name="Google Shape;4473;p53"/>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4" name="Google Shape;4474;p53"/>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5" name="Google Shape;4475;p53"/>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6" name="Google Shape;4476;p53"/>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7" name="Google Shape;4477;p53"/>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8" name="Google Shape;4478;p53"/>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9" name="Google Shape;4479;p53"/>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0" name="Google Shape;4480;p53"/>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1" name="Google Shape;4481;p53"/>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2" name="Google Shape;4482;p53"/>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3" name="Google Shape;4483;p53"/>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4" name="Google Shape;4484;p53"/>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5" name="Google Shape;4485;p53"/>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6" name="Google Shape;4486;p53"/>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7" name="Google Shape;4487;p53"/>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8" name="Google Shape;4488;p53"/>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9" name="Google Shape;4489;p53"/>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0" name="Google Shape;4490;p53"/>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1" name="Google Shape;4491;p53"/>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2" name="Google Shape;4492;p53"/>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3" name="Google Shape;4493;p53"/>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4" name="Google Shape;4494;p53"/>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5" name="Google Shape;4495;p53"/>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6" name="Google Shape;4496;p53"/>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7" name="Google Shape;4497;p53"/>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8" name="Google Shape;4498;p53"/>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9" name="Google Shape;4499;p53"/>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0" name="Google Shape;4500;p53"/>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1" name="Google Shape;4501;p53"/>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2" name="Google Shape;4502;p53"/>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3" name="Google Shape;4503;p53"/>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4" name="Google Shape;4504;p53"/>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5" name="Google Shape;4505;p53"/>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6" name="Google Shape;4506;p53"/>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7" name="Google Shape;4507;p53"/>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8" name="Google Shape;4508;p53"/>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9" name="Google Shape;4509;p53"/>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0" name="Google Shape;4510;p53"/>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1" name="Google Shape;4511;p53"/>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2" name="Google Shape;4512;p53"/>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3" name="Google Shape;4513;p53"/>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4" name="Google Shape;4514;p53"/>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5" name="Google Shape;4515;p53"/>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6" name="Google Shape;4516;p53"/>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7" name="Google Shape;4517;p53"/>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8" name="Google Shape;4518;p53"/>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9" name="Google Shape;4519;p53"/>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0" name="Google Shape;4520;p53"/>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1" name="Google Shape;4521;p53"/>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2" name="Google Shape;4522;p53"/>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3" name="Google Shape;4523;p53"/>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4" name="Google Shape;4524;p53"/>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5" name="Google Shape;4525;p53"/>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6" name="Google Shape;4526;p53"/>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7" name="Google Shape;4527;p53"/>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8" name="Google Shape;4528;p53"/>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9" name="Google Shape;4529;p53"/>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0" name="Google Shape;4530;p53"/>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1" name="Google Shape;4531;p53"/>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2" name="Google Shape;4532;p53"/>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3" name="Google Shape;4533;p53"/>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4" name="Google Shape;4534;p53"/>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5" name="Google Shape;4535;p53"/>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6" name="Google Shape;4536;p53"/>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7" name="Google Shape;4537;p53"/>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8" name="Google Shape;4538;p53"/>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9" name="Google Shape;4539;p53"/>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0" name="Google Shape;4540;p53"/>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1" name="Google Shape;4541;p53"/>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2" name="Google Shape;4542;p53"/>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3" name="Google Shape;4543;p53"/>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4" name="Google Shape;4544;p53"/>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5" name="Google Shape;4545;p53"/>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6" name="Google Shape;4546;p53"/>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7" name="Google Shape;4547;p53"/>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8" name="Google Shape;4548;p53"/>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9" name="Google Shape;4549;p53"/>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0" name="Google Shape;4550;p53"/>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1" name="Google Shape;4551;p53"/>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2" name="Google Shape;4552;p53"/>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3" name="Google Shape;4553;p53"/>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4" name="Google Shape;4554;p53"/>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5" name="Google Shape;4555;p53"/>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6" name="Google Shape;4556;p53"/>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7" name="Google Shape;4557;p53"/>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8" name="Google Shape;4558;p53"/>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9" name="Google Shape;4559;p53"/>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0" name="Google Shape;4560;p53"/>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1" name="Google Shape;4561;p53"/>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2" name="Google Shape;4562;p53"/>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3" name="Google Shape;4563;p53"/>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4" name="Google Shape;4564;p53"/>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5" name="Google Shape;4565;p53"/>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6" name="Google Shape;4566;p53"/>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7" name="Google Shape;4567;p53"/>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8" name="Google Shape;4568;p53"/>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9" name="Google Shape;4569;p53"/>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0" name="Google Shape;4570;p53"/>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1" name="Google Shape;4571;p53"/>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2" name="Google Shape;4572;p53"/>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3" name="Google Shape;4573;p53"/>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4" name="Google Shape;4574;p53"/>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5" name="Google Shape;4575;p53"/>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6" name="Google Shape;4576;p53"/>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7" name="Google Shape;4577;p53"/>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8" name="Google Shape;4578;p53"/>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9" name="Google Shape;4579;p53"/>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0" name="Google Shape;4580;p53"/>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1" name="Google Shape;4581;p53"/>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2" name="Google Shape;4582;p53"/>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3" name="Google Shape;4583;p53"/>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4" name="Google Shape;4584;p53"/>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5" name="Google Shape;4585;p53"/>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6" name="Google Shape;4586;p53"/>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7" name="Google Shape;4587;p53"/>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8" name="Google Shape;4588;p53"/>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9" name="Google Shape;4589;p53"/>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0" name="Google Shape;4590;p53"/>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1" name="Google Shape;4591;p53"/>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2" name="Google Shape;4592;p53"/>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3" name="Google Shape;4593;p53"/>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4" name="Google Shape;4594;p53"/>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5" name="Google Shape;4595;p53"/>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6" name="Google Shape;4596;p53"/>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7" name="Google Shape;4597;p53"/>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8" name="Google Shape;4598;p53"/>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9" name="Google Shape;4599;p53"/>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0" name="Google Shape;4600;p53"/>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1" name="Google Shape;4601;p53"/>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2" name="Google Shape;4602;p53"/>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3" name="Google Shape;4603;p53"/>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4" name="Google Shape;4604;p53"/>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5" name="Google Shape;4605;p53"/>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6" name="Google Shape;4606;p53"/>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7" name="Google Shape;4607;p53"/>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8" name="Google Shape;4608;p53"/>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9" name="Google Shape;4609;p53"/>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0" name="Google Shape;4610;p53"/>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1" name="Google Shape;4611;p53"/>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2" name="Google Shape;4612;p53"/>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3" name="Google Shape;4613;p53"/>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4" name="Google Shape;4614;p53"/>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5" name="Google Shape;4615;p53"/>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6" name="Google Shape;4616;p53"/>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7" name="Google Shape;4617;p53"/>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8" name="Google Shape;4618;p53"/>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9" name="Google Shape;4619;p53"/>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0" name="Google Shape;4620;p53"/>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1" name="Google Shape;4621;p53"/>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2" name="Google Shape;4622;p53"/>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3" name="Google Shape;4623;p53"/>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4" name="Google Shape;4624;p53"/>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5" name="Google Shape;4625;p53"/>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6" name="Google Shape;4626;p53"/>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7" name="Google Shape;4627;p53"/>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8" name="Google Shape;4628;p53"/>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9" name="Google Shape;4629;p53"/>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0" name="Google Shape;4630;p53"/>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1" name="Google Shape;4631;p53"/>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2" name="Google Shape;4632;p53"/>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3" name="Google Shape;4633;p53"/>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4" name="Google Shape;4634;p53"/>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5" name="Google Shape;4635;p53"/>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6" name="Google Shape;4636;p53"/>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7" name="Google Shape;4637;p53"/>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8" name="Google Shape;4638;p53"/>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9" name="Google Shape;4639;p53"/>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0" name="Google Shape;4640;p53"/>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1" name="Google Shape;4641;p53"/>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2" name="Google Shape;4642;p53"/>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3" name="Google Shape;4643;p53"/>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4" name="Google Shape;4644;p53"/>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5" name="Google Shape;4645;p53"/>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6" name="Google Shape;4646;p53"/>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7" name="Google Shape;4647;p53"/>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8" name="Google Shape;4648;p53"/>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9" name="Google Shape;4649;p53"/>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0" name="Google Shape;4650;p53"/>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1" name="Google Shape;4651;p53"/>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2" name="Google Shape;4652;p53"/>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3" name="Google Shape;4653;p53"/>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4" name="Google Shape;4654;p53"/>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5" name="Google Shape;4655;p53"/>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6" name="Google Shape;4656;p53"/>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7" name="Google Shape;4657;p53"/>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8" name="Google Shape;4658;p53"/>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9" name="Google Shape;4659;p53"/>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0" name="Google Shape;4660;p53"/>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1" name="Google Shape;4661;p53"/>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2" name="Google Shape;4662;p53"/>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3" name="Google Shape;4663;p53"/>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4" name="Google Shape;4664;p53"/>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5" name="Google Shape;4665;p53"/>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6" name="Google Shape;4666;p53"/>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7" name="Google Shape;4667;p53"/>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8" name="Google Shape;4668;p53"/>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9" name="Google Shape;4669;p53"/>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0" name="Google Shape;4670;p53"/>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1" name="Google Shape;4671;p53"/>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2" name="Google Shape;4672;p53"/>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3" name="Google Shape;4673;p53"/>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4" name="Google Shape;4674;p53"/>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5" name="Google Shape;4675;p53"/>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6" name="Google Shape;4676;p53"/>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7" name="Google Shape;4677;p53"/>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8" name="Google Shape;4678;p53"/>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9" name="Google Shape;4679;p53"/>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0" name="Google Shape;4680;p53"/>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1" name="Google Shape;4681;p53"/>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2" name="Google Shape;4682;p53"/>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3" name="Google Shape;4683;p53"/>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4" name="Google Shape;4684;p53"/>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5" name="Google Shape;4685;p53"/>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6" name="Google Shape;4686;p53"/>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7" name="Google Shape;4687;p53"/>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8" name="Google Shape;4688;p53"/>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9" name="Google Shape;4689;p53"/>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0" name="Google Shape;4690;p53"/>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1" name="Google Shape;4691;p53"/>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2" name="Google Shape;4692;p53"/>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3" name="Google Shape;4693;p53"/>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4" name="Google Shape;4694;p53"/>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5" name="Google Shape;4695;p53"/>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6" name="Google Shape;4696;p53"/>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7" name="Google Shape;4697;p53"/>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8" name="Google Shape;4698;p53"/>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9" name="Google Shape;4699;p53"/>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0" name="Google Shape;4700;p53"/>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1" name="Google Shape;4701;p53"/>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2" name="Google Shape;4702;p53"/>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3" name="Google Shape;4703;p53"/>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4" name="Google Shape;4704;p53"/>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5" name="Google Shape;4705;p53"/>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6" name="Google Shape;4706;p53"/>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7" name="Google Shape;4707;p53"/>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8" name="Google Shape;4708;p53"/>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9" name="Google Shape;4709;p53"/>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0" name="Google Shape;4710;p53"/>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1" name="Google Shape;4711;p53"/>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2" name="Google Shape;4712;p53"/>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3" name="Google Shape;4713;p53"/>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4" name="Google Shape;4714;p53"/>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5" name="Google Shape;4715;p53"/>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6" name="Google Shape;4716;p53"/>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7" name="Google Shape;4717;p53"/>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8" name="Google Shape;4718;p53"/>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9" name="Google Shape;4719;p53"/>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0" name="Google Shape;4720;p53"/>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1" name="Google Shape;4721;p53"/>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2" name="Google Shape;4722;p53"/>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3" name="Google Shape;4723;p53"/>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4" name="Google Shape;4724;p53"/>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5" name="Google Shape;4725;p53"/>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6" name="Google Shape;4726;p53"/>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7" name="Google Shape;4727;p53"/>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8" name="Google Shape;4728;p53"/>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9" name="Google Shape;4729;p53"/>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0" name="Google Shape;4730;p53"/>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1" name="Google Shape;4731;p53"/>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2" name="Google Shape;4732;p53"/>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3" name="Google Shape;4733;p53"/>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4" name="Google Shape;4734;p53"/>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5" name="Google Shape;4735;p53"/>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6" name="Google Shape;4736;p53"/>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7" name="Google Shape;4737;p53"/>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8" name="Google Shape;4738;p53"/>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9" name="Google Shape;4739;p53"/>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0" name="Google Shape;4740;p53"/>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1" name="Google Shape;4741;p53"/>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2" name="Google Shape;4742;p53"/>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3" name="Google Shape;4743;p53"/>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4" name="Google Shape;4744;p53"/>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5" name="Google Shape;4745;p53"/>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6" name="Google Shape;4746;p53"/>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7" name="Google Shape;4747;p53"/>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8" name="Google Shape;4748;p53"/>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9" name="Google Shape;4749;p53"/>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0" name="Google Shape;4750;p53"/>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1" name="Google Shape;4751;p53"/>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2" name="Google Shape;4752;p53"/>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3" name="Google Shape;4753;p53"/>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4" name="Google Shape;4754;p53"/>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5" name="Google Shape;4755;p53"/>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6" name="Google Shape;4756;p53"/>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7" name="Google Shape;4757;p53"/>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8" name="Google Shape;4758;p53"/>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9" name="Google Shape;4759;p53"/>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0" name="Google Shape;4760;p53"/>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1" name="Google Shape;4761;p53"/>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2" name="Google Shape;4762;p53"/>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3" name="Google Shape;4763;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4" name="Google Shape;4764;p53"/>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5" name="Google Shape;4765;p53"/>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6" name="Google Shape;4766;p53"/>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7" name="Google Shape;4767;p53"/>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8" name="Google Shape;4768;p53"/>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9" name="Google Shape;4769;p53"/>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0" name="Google Shape;4770;p53"/>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1" name="Google Shape;4771;p53"/>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2" name="Google Shape;4772;p53"/>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3" name="Google Shape;4773;p53"/>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4" name="Google Shape;4774;p53"/>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5" name="Google Shape;4775;p53"/>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6" name="Google Shape;4776;p53"/>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7" name="Google Shape;4777;p53"/>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8" name="Google Shape;4778;p53"/>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9" name="Google Shape;4779;p53"/>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0" name="Google Shape;4780;p53"/>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1" name="Google Shape;4781;p53"/>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2" name="Google Shape;4782;p53"/>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3" name="Google Shape;4783;p53"/>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4" name="Google Shape;4784;p53"/>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5" name="Google Shape;4785;p53"/>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6" name="Google Shape;4786;p53"/>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7" name="Google Shape;4787;p53"/>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8" name="Google Shape;4788;p53"/>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9" name="Google Shape;4789;p53"/>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0" name="Google Shape;4790;p53"/>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1" name="Google Shape;4791;p53"/>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2" name="Google Shape;4792;p53"/>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3" name="Google Shape;4793;p53"/>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4" name="Google Shape;4794;p53"/>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5" name="Google Shape;4795;p53"/>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6" name="Google Shape;4796;p53"/>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7" name="Google Shape;4797;p53"/>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8" name="Google Shape;4798;p53"/>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9" name="Google Shape;4799;p53"/>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0" name="Google Shape;4800;p53"/>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1" name="Google Shape;4801;p53"/>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2" name="Google Shape;4802;p53"/>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3" name="Google Shape;4803;p53"/>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4" name="Google Shape;4804;p53"/>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5" name="Google Shape;4805;p53"/>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6" name="Google Shape;4806;p53"/>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7" name="Google Shape;4807;p53"/>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8" name="Google Shape;4808;p53"/>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9" name="Google Shape;4809;p53"/>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0" name="Google Shape;4810;p53"/>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1" name="Google Shape;4811;p53"/>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2" name="Google Shape;4812;p53"/>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3" name="Google Shape;4813;p53"/>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4" name="Google Shape;4814;p53"/>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5" name="Google Shape;4815;p53"/>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6" name="Google Shape;4816;p53"/>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7" name="Google Shape;4817;p53"/>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8" name="Google Shape;4818;p53"/>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9" name="Google Shape;4819;p53"/>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0" name="Google Shape;4820;p53"/>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1" name="Google Shape;4821;p53"/>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2" name="Google Shape;4822;p53"/>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3" name="Google Shape;4823;p53"/>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4" name="Google Shape;4824;p53"/>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5" name="Google Shape;4825;p53"/>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6" name="Google Shape;4826;p53"/>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7" name="Google Shape;4827;p53"/>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8" name="Google Shape;4828;p53"/>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9" name="Google Shape;4829;p53"/>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0" name="Google Shape;4830;p53"/>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1" name="Google Shape;4831;p53"/>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2" name="Google Shape;4832;p53"/>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3" name="Google Shape;4833;p53"/>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4" name="Google Shape;4834;p53"/>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5" name="Google Shape;4835;p53"/>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6" name="Google Shape;4836;p53"/>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7" name="Google Shape;4837;p53"/>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8" name="Google Shape;4838;p53"/>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9" name="Google Shape;4839;p53"/>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0" name="Google Shape;4840;p53"/>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1" name="Google Shape;4841;p53"/>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2" name="Google Shape;4842;p53"/>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3" name="Google Shape;4843;p53"/>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4" name="Google Shape;4844;p53"/>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5" name="Google Shape;4845;p53"/>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6" name="Google Shape;4846;p53"/>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7" name="Google Shape;4847;p53"/>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8" name="Google Shape;4848;p53"/>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9" name="Google Shape;4849;p53"/>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0" name="Google Shape;4850;p53"/>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1" name="Google Shape;4851;p53"/>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2" name="Google Shape;4852;p53"/>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3" name="Google Shape;4853;p53"/>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4" name="Google Shape;4854;p53"/>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5" name="Google Shape;4855;p53"/>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6" name="Google Shape;4856;p53"/>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7" name="Google Shape;4857;p53"/>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8" name="Google Shape;4858;p53"/>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9" name="Google Shape;4859;p53"/>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0" name="Google Shape;4860;p53"/>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1" name="Google Shape;4861;p53"/>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2" name="Google Shape;4862;p53"/>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3" name="Google Shape;4863;p53"/>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4" name="Google Shape;4864;p53"/>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5" name="Google Shape;4865;p53"/>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6" name="Google Shape;4866;p53"/>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7" name="Google Shape;4867;p53"/>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8" name="Google Shape;4868;p53"/>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9" name="Google Shape;4869;p53"/>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0" name="Google Shape;4870;p53"/>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1" name="Google Shape;4871;p53"/>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2" name="Google Shape;4872;p53"/>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3" name="Google Shape;4873;p53"/>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4" name="Google Shape;4874;p53"/>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5" name="Google Shape;4875;p53"/>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6" name="Google Shape;4876;p53"/>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7" name="Google Shape;4877;p53"/>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8" name="Google Shape;4878;p53"/>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9" name="Google Shape;4879;p53"/>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0" name="Google Shape;4880;p53"/>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1" name="Google Shape;4881;p53"/>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2" name="Google Shape;4882;p53"/>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3" name="Google Shape;4883;p53"/>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4" name="Google Shape;4884;p53"/>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5" name="Google Shape;4885;p53"/>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6" name="Google Shape;4886;p53"/>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7" name="Google Shape;4887;p53"/>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8" name="Google Shape;4888;p53"/>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9" name="Google Shape;4889;p53"/>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0" name="Google Shape;4890;p53"/>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1" name="Google Shape;4891;p53"/>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2" name="Google Shape;4892;p53"/>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3" name="Google Shape;4893;p53"/>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4" name="Google Shape;4894;p53"/>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5" name="Google Shape;4895;p53"/>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6" name="Google Shape;4896;p53"/>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7" name="Google Shape;4897;p53"/>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8" name="Google Shape;4898;p53"/>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9" name="Google Shape;4899;p53"/>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0" name="Google Shape;4900;p53"/>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1" name="Google Shape;4901;p53"/>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2" name="Google Shape;4902;p53"/>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3" name="Google Shape;4903;p53"/>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4" name="Google Shape;4904;p53"/>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5" name="Google Shape;4905;p53"/>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6" name="Google Shape;4906;p53"/>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7" name="Google Shape;4907;p53"/>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8" name="Google Shape;4908;p53"/>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9" name="Google Shape;4909;p53"/>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0" name="Google Shape;4910;p53"/>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1" name="Google Shape;4911;p53"/>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2" name="Google Shape;4912;p53"/>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3" name="Google Shape;4913;p53"/>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4" name="Google Shape;4914;p53"/>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5" name="Google Shape;4915;p53"/>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6" name="Google Shape;4916;p53"/>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7" name="Google Shape;4917;p53"/>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8" name="Google Shape;4918;p53"/>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9" name="Google Shape;4919;p53"/>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0" name="Google Shape;4920;p53"/>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1" name="Google Shape;4921;p53"/>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2" name="Google Shape;4922;p53"/>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3" name="Google Shape;4923;p53"/>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4" name="Google Shape;4924;p53"/>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5" name="Google Shape;4925;p53"/>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6" name="Google Shape;4926;p53"/>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7" name="Google Shape;4927;p53"/>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8" name="Google Shape;4928;p53"/>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9" name="Google Shape;4929;p53"/>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0" name="Google Shape;4930;p53"/>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1" name="Google Shape;4931;p53"/>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2" name="Google Shape;4932;p53"/>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3" name="Google Shape;4933;p53"/>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4" name="Google Shape;4934;p53"/>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5" name="Google Shape;4935;p53"/>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6" name="Google Shape;4936;p53"/>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7" name="Google Shape;4937;p53"/>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8" name="Google Shape;4938;p53"/>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9" name="Google Shape;4939;p53"/>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0" name="Google Shape;4940;p53"/>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1" name="Google Shape;4941;p53"/>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2" name="Google Shape;4942;p53"/>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3" name="Google Shape;4943;p53"/>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4" name="Google Shape;4944;p53"/>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5" name="Google Shape;4945;p53"/>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6" name="Google Shape;4946;p53"/>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7" name="Google Shape;4947;p53"/>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8" name="Google Shape;4948;p53"/>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9" name="Google Shape;4949;p53"/>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0" name="Google Shape;4950;p53"/>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1" name="Google Shape;4951;p53"/>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2" name="Google Shape;4952;p53"/>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3" name="Google Shape;4953;p53"/>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4" name="Google Shape;4954;p53"/>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5" name="Google Shape;4955;p53"/>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6" name="Google Shape;4956;p53"/>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7" name="Google Shape;4957;p53"/>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8" name="Google Shape;4958;p53"/>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9" name="Google Shape;4959;p53"/>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0" name="Google Shape;4960;p53"/>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1" name="Google Shape;4961;p53"/>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2" name="Google Shape;4962;p53"/>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3" name="Google Shape;4963;p53"/>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4" name="Google Shape;4964;p53"/>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5" name="Google Shape;4965;p53"/>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6" name="Google Shape;4966;p53"/>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7" name="Google Shape;4967;p53"/>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8" name="Google Shape;4968;p53"/>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9" name="Google Shape;4969;p53"/>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0" name="Google Shape;4970;p53"/>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1" name="Google Shape;4971;p53"/>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2" name="Google Shape;4972;p53"/>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3" name="Google Shape;4973;p53"/>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4" name="Google Shape;4974;p53"/>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5" name="Google Shape;4975;p53"/>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6" name="Google Shape;4976;p53"/>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7" name="Google Shape;4977;p53"/>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8" name="Google Shape;4978;p53"/>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9" name="Google Shape;4979;p53"/>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0" name="Google Shape;4980;p53"/>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1" name="Google Shape;4981;p53"/>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2" name="Google Shape;4982;p53"/>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3" name="Google Shape;4983;p53"/>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4" name="Google Shape;4984;p53"/>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5" name="Google Shape;4985;p53"/>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6" name="Google Shape;4986;p53"/>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7" name="Google Shape;4987;p53"/>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8" name="Google Shape;4988;p53"/>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9" name="Google Shape;4989;p53"/>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0" name="Google Shape;4990;p53"/>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1" name="Google Shape;4991;p53"/>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2" name="Google Shape;4992;p53"/>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3" name="Google Shape;4993;p53"/>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4" name="Google Shape;4994;p53"/>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5" name="Google Shape;4995;p53"/>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6" name="Google Shape;4996;p53"/>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7" name="Google Shape;4997;p53"/>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8" name="Google Shape;4998;p53"/>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9" name="Google Shape;4999;p53"/>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0" name="Google Shape;5000;p53"/>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1" name="Google Shape;5001;p53"/>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2" name="Google Shape;5002;p53"/>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3" name="Google Shape;5003;p53"/>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4" name="Google Shape;5004;p53"/>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5" name="Google Shape;5005;p53"/>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6" name="Google Shape;5006;p53"/>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7" name="Google Shape;5007;p53"/>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8" name="Google Shape;5008;p53"/>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9" name="Google Shape;5009;p53"/>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0" name="Google Shape;5010;p53"/>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1" name="Google Shape;5011;p53"/>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2" name="Google Shape;5012;p53"/>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3" name="Google Shape;5013;p53"/>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4" name="Google Shape;5014;p53"/>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5" name="Google Shape;5015;p53"/>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6" name="Google Shape;5016;p53"/>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7" name="Google Shape;5017;p53"/>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8" name="Google Shape;5018;p53"/>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9" name="Google Shape;5019;p53"/>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0" name="Google Shape;5020;p53"/>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1" name="Google Shape;5021;p53"/>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2" name="Google Shape;5022;p53"/>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3" name="Google Shape;5023;p53"/>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4" name="Google Shape;5024;p53"/>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5" name="Google Shape;5025;p53"/>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6" name="Google Shape;5026;p53"/>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7" name="Google Shape;5027;p53"/>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8" name="Google Shape;5028;p53"/>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9" name="Google Shape;5029;p53"/>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0" name="Google Shape;5030;p53"/>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1" name="Google Shape;5031;p53"/>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2" name="Google Shape;5032;p53"/>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3" name="Google Shape;5033;p53"/>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4" name="Google Shape;5034;p53"/>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5" name="Google Shape;5035;p53"/>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6" name="Google Shape;5036;p53"/>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7" name="Google Shape;5037;p53"/>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8" name="Google Shape;5038;p53"/>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9" name="Google Shape;5039;p53"/>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0" name="Google Shape;5040;p53"/>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1" name="Google Shape;5041;p53"/>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2" name="Google Shape;5042;p53"/>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3" name="Google Shape;5043;p53"/>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4" name="Google Shape;5044;p53"/>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5" name="Google Shape;5045;p53"/>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6" name="Google Shape;5046;p53"/>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7" name="Google Shape;5047;p53"/>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8" name="Google Shape;5048;p53"/>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9" name="Google Shape;5049;p53"/>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0" name="Google Shape;5050;p53"/>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1" name="Google Shape;5051;p53"/>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2" name="Google Shape;5052;p53"/>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3" name="Google Shape;5053;p53"/>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4" name="Google Shape;5054;p53"/>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5" name="Google Shape;5055;p53"/>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6" name="Google Shape;5056;p53"/>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7" name="Google Shape;5057;p53"/>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8" name="Google Shape;5058;p53"/>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9" name="Google Shape;5059;p53"/>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0" name="Google Shape;5060;p53"/>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1" name="Google Shape;5061;p53"/>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2" name="Google Shape;5062;p53"/>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3" name="Google Shape;5063;p53"/>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4" name="Google Shape;5064;p53"/>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5" name="Google Shape;5065;p53"/>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6" name="Google Shape;5066;p53"/>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7" name="Google Shape;5067;p53"/>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8" name="Google Shape;5068;p53"/>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9" name="Google Shape;5069;p53"/>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0" name="Google Shape;5070;p53"/>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1" name="Google Shape;5071;p53"/>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2" name="Google Shape;5072;p53"/>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3" name="Google Shape;5073;p53"/>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4" name="Google Shape;5074;p53"/>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5" name="Google Shape;5075;p53"/>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6" name="Google Shape;5076;p53"/>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7" name="Google Shape;5077;p53"/>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8" name="Google Shape;5078;p53"/>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9" name="Google Shape;5079;p53"/>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0" name="Google Shape;5080;p53"/>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1" name="Google Shape;5081;p53"/>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2" name="Google Shape;5082;p53"/>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3" name="Google Shape;5083;p53"/>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4" name="Google Shape;5084;p53"/>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5" name="Google Shape;5085;p53"/>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6" name="Google Shape;5086;p53"/>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7" name="Google Shape;5087;p53"/>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8" name="Google Shape;5088;p53"/>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9" name="Google Shape;5089;p53"/>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0" name="Google Shape;5090;p53"/>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1" name="Google Shape;5091;p53"/>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2" name="Google Shape;5092;p53"/>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3" name="Google Shape;5093;p53"/>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4" name="Google Shape;5094;p53"/>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5" name="Google Shape;5095;p53"/>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6" name="Google Shape;5096;p53"/>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7" name="Google Shape;5097;p53"/>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8" name="Google Shape;5098;p53"/>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9" name="Google Shape;5099;p53"/>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0" name="Google Shape;5100;p53"/>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1" name="Google Shape;5101;p53"/>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2" name="Google Shape;5102;p53"/>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3" name="Google Shape;5103;p53"/>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4" name="Google Shape;5104;p53"/>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5" name="Google Shape;5105;p53"/>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6" name="Google Shape;5106;p53"/>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7" name="Google Shape;5107;p53"/>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8" name="Google Shape;5108;p53"/>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9" name="Google Shape;5109;p53"/>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0" name="Google Shape;5110;p53"/>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1" name="Google Shape;5111;p53"/>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2" name="Google Shape;5112;p53"/>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3" name="Google Shape;5113;p53"/>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4" name="Google Shape;5114;p53"/>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5" name="Google Shape;5115;p53"/>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6" name="Google Shape;5116;p53"/>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7" name="Google Shape;5117;p53"/>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8" name="Google Shape;5118;p53"/>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9" name="Google Shape;5119;p53"/>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0" name="Google Shape;5120;p53"/>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1" name="Google Shape;5121;p53"/>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2" name="Google Shape;5122;p53"/>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3" name="Google Shape;5123;p53"/>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4" name="Google Shape;5124;p53"/>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5" name="Google Shape;5125;p53"/>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6" name="Google Shape;5126;p53"/>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7" name="Google Shape;5127;p53"/>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8" name="Google Shape;5128;p53"/>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9" name="Google Shape;5129;p53"/>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0" name="Google Shape;5130;p53"/>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1" name="Google Shape;5131;p53"/>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2" name="Google Shape;5132;p53"/>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3" name="Google Shape;5133;p53"/>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4" name="Google Shape;5134;p53"/>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5" name="Google Shape;5135;p53"/>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6" name="Google Shape;5136;p53"/>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7" name="Google Shape;5137;p53"/>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8" name="Google Shape;5138;p53"/>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9" name="Google Shape;5139;p53"/>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0" name="Google Shape;5140;p53"/>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1" name="Google Shape;5141;p53"/>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2" name="Google Shape;5142;p53"/>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3" name="Google Shape;5143;p53"/>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4" name="Google Shape;5144;p53"/>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5" name="Google Shape;5145;p53"/>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6" name="Google Shape;5146;p53"/>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7" name="Google Shape;5147;p53"/>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8" name="Google Shape;5148;p53"/>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9" name="Google Shape;5149;p53"/>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0" name="Google Shape;5150;p53"/>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1" name="Google Shape;5151;p53"/>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2" name="Google Shape;5152;p53"/>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3" name="Google Shape;5153;p53"/>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4" name="Google Shape;5154;p53"/>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5" name="Google Shape;5155;p53"/>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6" name="Google Shape;5156;p53"/>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7" name="Google Shape;5157;p53"/>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8" name="Google Shape;5158;p53"/>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9" name="Google Shape;5159;p53"/>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0" name="Google Shape;5160;p53"/>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1" name="Google Shape;5161;p53"/>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2" name="Google Shape;5162;p53"/>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3" name="Google Shape;5163;p53"/>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4" name="Google Shape;5164;p53"/>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5" name="Google Shape;5165;p53"/>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6" name="Google Shape;5166;p53"/>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7" name="Google Shape;5167;p53"/>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8" name="Google Shape;5168;p53"/>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9" name="Google Shape;5169;p53"/>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0" name="Google Shape;5170;p53"/>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1" name="Google Shape;5171;p53"/>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2" name="Google Shape;5172;p53"/>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3" name="Google Shape;5173;p53"/>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4" name="Google Shape;5174;p53"/>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5" name="Google Shape;5175;p53"/>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6" name="Google Shape;5176;p53"/>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7" name="Google Shape;5177;p53"/>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8" name="Google Shape;5178;p53"/>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9" name="Google Shape;5179;p53"/>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0" name="Google Shape;5180;p53"/>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1" name="Google Shape;5181;p53"/>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2" name="Google Shape;5182;p53"/>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3" name="Google Shape;5183;p53"/>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4" name="Google Shape;5184;p53"/>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5" name="Google Shape;5185;p53"/>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6" name="Google Shape;5186;p53"/>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7" name="Google Shape;5187;p53"/>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8" name="Google Shape;5188;p53"/>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9" name="Google Shape;5189;p53"/>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0" name="Google Shape;5190;p53"/>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1" name="Google Shape;5191;p53"/>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2" name="Google Shape;5192;p53"/>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3" name="Google Shape;5193;p53"/>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4" name="Google Shape;5194;p53"/>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5" name="Google Shape;5195;p53"/>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6" name="Google Shape;5196;p53"/>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7" name="Google Shape;5197;p53"/>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8" name="Google Shape;5198;p53"/>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9" name="Google Shape;5199;p53"/>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0" name="Google Shape;5200;p53"/>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1" name="Google Shape;5201;p53"/>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2" name="Google Shape;5202;p53"/>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3" name="Google Shape;5203;p53"/>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4" name="Google Shape;5204;p53"/>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5" name="Google Shape;5205;p53"/>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6" name="Google Shape;5206;p53"/>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7" name="Google Shape;5207;p53"/>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8" name="Google Shape;5208;p53"/>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9" name="Google Shape;5209;p53"/>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0" name="Google Shape;5210;p53"/>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1" name="Google Shape;5211;p53"/>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2" name="Google Shape;5212;p53"/>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3" name="Google Shape;5213;p53"/>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4" name="Google Shape;5214;p53"/>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5" name="Google Shape;5215;p53"/>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6" name="Google Shape;5216;p53"/>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7" name="Google Shape;5217;p53"/>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8" name="Google Shape;5218;p53"/>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9" name="Google Shape;5219;p53"/>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0" name="Google Shape;5220;p53"/>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1" name="Google Shape;5221;p53"/>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2" name="Google Shape;5222;p53"/>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3" name="Google Shape;5223;p53"/>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4" name="Google Shape;5224;p53"/>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5" name="Google Shape;5225;p53"/>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6" name="Google Shape;5226;p53"/>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7" name="Google Shape;5227;p53"/>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8" name="Google Shape;5228;p53"/>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9" name="Google Shape;5229;p53"/>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0" name="Google Shape;5230;p53"/>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1" name="Google Shape;5231;p53"/>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2" name="Google Shape;5232;p53"/>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3" name="Google Shape;5233;p53"/>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4" name="Google Shape;5234;p53"/>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5" name="Google Shape;5235;p53"/>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6" name="Google Shape;5236;p53"/>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7" name="Google Shape;5237;p53"/>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8" name="Google Shape;5238;p53"/>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9" name="Google Shape;5239;p53"/>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0" name="Google Shape;5240;p53"/>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1" name="Google Shape;5241;p53"/>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2" name="Google Shape;5242;p53"/>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3" name="Google Shape;5243;p53"/>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4" name="Google Shape;5244;p53"/>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5" name="Google Shape;5245;p53"/>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6" name="Google Shape;5246;p53"/>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7" name="Google Shape;5247;p53"/>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8" name="Google Shape;5248;p53"/>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9" name="Google Shape;5249;p53"/>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0" name="Google Shape;5250;p53"/>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1" name="Google Shape;5251;p53"/>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2" name="Google Shape;5252;p53"/>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3" name="Google Shape;5253;p53"/>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4" name="Google Shape;5254;p53"/>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5" name="Google Shape;5255;p53"/>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6" name="Google Shape;5256;p53"/>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7" name="Google Shape;5257;p53"/>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8" name="Google Shape;5258;p53"/>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9" name="Google Shape;5259;p53"/>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0" name="Google Shape;5260;p53"/>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1" name="Google Shape;5261;p53"/>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2" name="Google Shape;5262;p53"/>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3" name="Google Shape;5263;p53"/>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4" name="Google Shape;5264;p53"/>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5" name="Google Shape;5265;p53"/>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6" name="Google Shape;5266;p53"/>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7" name="Google Shape;5267;p53"/>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8" name="Google Shape;5268;p53"/>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9" name="Google Shape;5269;p53"/>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0" name="Google Shape;5270;p53"/>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1" name="Google Shape;5271;p53"/>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2" name="Google Shape;5272;p53"/>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3" name="Google Shape;5273;p53"/>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4" name="Google Shape;5274;p53"/>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5" name="Google Shape;5275;p53"/>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6" name="Google Shape;5276;p53"/>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7" name="Google Shape;5277;p53"/>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8" name="Google Shape;5278;p53"/>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9" name="Google Shape;5279;p53"/>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0" name="Google Shape;5280;p53"/>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1" name="Google Shape;5281;p53"/>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2" name="Google Shape;5282;p53"/>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3" name="Google Shape;5283;p53"/>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4" name="Google Shape;5284;p53"/>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5" name="Google Shape;5285;p53"/>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6" name="Google Shape;5286;p53"/>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7" name="Google Shape;5287;p53"/>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8" name="Google Shape;5288;p53"/>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9" name="Google Shape;5289;p53"/>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0" name="Google Shape;5290;p53"/>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1" name="Google Shape;5291;p53"/>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2" name="Google Shape;5292;p53"/>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3" name="Google Shape;5293;p53"/>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4" name="Google Shape;5294;p53"/>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5" name="Google Shape;5295;p53"/>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6" name="Google Shape;5296;p53"/>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7" name="Google Shape;5297;p53"/>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8" name="Google Shape;5298;p53"/>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9" name="Google Shape;5299;p53"/>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0" name="Google Shape;5300;p53"/>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1" name="Google Shape;5301;p53"/>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2" name="Google Shape;5302;p53"/>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3" name="Google Shape;5303;p53"/>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4" name="Google Shape;5304;p53"/>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5" name="Google Shape;5305;p53"/>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6" name="Google Shape;5306;p53"/>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7" name="Google Shape;5307;p53"/>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8" name="Google Shape;5308;p53"/>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9" name="Google Shape;5309;p53"/>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0" name="Google Shape;5310;p53"/>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1" name="Google Shape;5311;p53"/>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2" name="Google Shape;5312;p53"/>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3" name="Google Shape;5313;p53"/>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4" name="Google Shape;5314;p53"/>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5" name="Google Shape;5315;p53"/>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6" name="Google Shape;5316;p53"/>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7" name="Google Shape;5317;p53"/>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8" name="Google Shape;5318;p53"/>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9" name="Google Shape;5319;p53"/>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0" name="Google Shape;5320;p53"/>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1" name="Google Shape;5321;p53"/>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2" name="Google Shape;5322;p53"/>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3" name="Google Shape;5323;p53"/>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4" name="Google Shape;5324;p53"/>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5" name="Google Shape;5325;p53"/>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6" name="Google Shape;5326;p53"/>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7" name="Google Shape;5327;p53"/>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8" name="Google Shape;5328;p53"/>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9" name="Google Shape;5329;p53"/>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0" name="Google Shape;5330;p53"/>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1" name="Google Shape;5331;p53"/>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2" name="Google Shape;5332;p53"/>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3" name="Google Shape;5333;p53"/>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4" name="Google Shape;5334;p53"/>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5" name="Google Shape;5335;p53"/>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6" name="Google Shape;5336;p53"/>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7" name="Google Shape;5337;p53"/>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8" name="Google Shape;5338;p53"/>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9" name="Google Shape;5339;p53"/>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0" name="Google Shape;5340;p53"/>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1" name="Google Shape;5341;p53"/>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2" name="Google Shape;5342;p53"/>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3" name="Google Shape;5343;p53"/>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4" name="Google Shape;5344;p53"/>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5" name="Google Shape;5345;p53"/>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6" name="Google Shape;5346;p53"/>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7" name="Google Shape;5347;p53"/>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8" name="Google Shape;5348;p53"/>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9" name="Google Shape;5349;p53"/>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0" name="Google Shape;5350;p53"/>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1" name="Google Shape;5351;p53"/>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2" name="Google Shape;5352;p53"/>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3" name="Google Shape;5353;p53"/>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4" name="Google Shape;5354;p53"/>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5" name="Google Shape;5355;p53"/>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6" name="Google Shape;5356;p53"/>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7" name="Google Shape;5357;p53"/>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8" name="Google Shape;5358;p53"/>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9" name="Google Shape;5359;p53"/>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0" name="Google Shape;5360;p53"/>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1" name="Google Shape;5361;p53"/>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2" name="Google Shape;5362;p53"/>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3" name="Google Shape;5363;p53"/>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4" name="Google Shape;5364;p53"/>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5" name="Google Shape;5365;p53"/>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6" name="Google Shape;5366;p53"/>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7" name="Google Shape;5367;p53"/>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8" name="Google Shape;5368;p53"/>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9" name="Google Shape;5369;p53"/>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0" name="Google Shape;5370;p53"/>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1" name="Google Shape;5371;p53"/>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2" name="Google Shape;5372;p53"/>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3" name="Google Shape;5373;p53"/>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4" name="Google Shape;5374;p53"/>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5" name="Google Shape;5375;p53"/>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6" name="Google Shape;5376;p53"/>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7" name="Google Shape;5377;p53"/>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8" name="Google Shape;5378;p53"/>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9" name="Google Shape;5379;p53"/>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0" name="Google Shape;5380;p53"/>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1" name="Google Shape;5381;p53"/>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2" name="Google Shape;5382;p53"/>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3" name="Google Shape;5383;p53"/>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4" name="Google Shape;5384;p53"/>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5" name="Google Shape;5385;p53"/>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6" name="Google Shape;5386;p53"/>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7" name="Google Shape;5387;p53"/>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8" name="Google Shape;5388;p53"/>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9" name="Google Shape;5389;p53"/>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0" name="Google Shape;5390;p53"/>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1" name="Google Shape;5391;p53"/>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2" name="Google Shape;5392;p53"/>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3" name="Google Shape;5393;p53"/>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4" name="Google Shape;5394;p53"/>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5" name="Google Shape;5395;p53"/>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6" name="Google Shape;5396;p53"/>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7" name="Google Shape;5397;p53"/>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8" name="Google Shape;5398;p53"/>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9" name="Google Shape;5399;p53"/>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0" name="Google Shape;5400;p53"/>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1" name="Google Shape;5401;p53"/>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2" name="Google Shape;5402;p53"/>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3" name="Google Shape;5403;p53"/>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4" name="Google Shape;5404;p53"/>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5" name="Google Shape;5405;p53"/>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6" name="Google Shape;5406;p53"/>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7" name="Google Shape;5407;p53"/>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8" name="Google Shape;5408;p53"/>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9" name="Google Shape;5409;p53"/>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0" name="Google Shape;5410;p53"/>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1" name="Google Shape;5411;p53"/>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2" name="Google Shape;5412;p53"/>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3" name="Google Shape;5413;p53"/>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4" name="Google Shape;5414;p53"/>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5" name="Google Shape;5415;p53"/>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6" name="Google Shape;5416;p53"/>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7" name="Google Shape;5417;p53"/>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8" name="Google Shape;5418;p53"/>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9" name="Google Shape;5419;p53"/>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0" name="Google Shape;5420;p53"/>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1" name="Google Shape;5421;p53"/>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2" name="Google Shape;5422;p53"/>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3" name="Google Shape;5423;p53"/>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4" name="Google Shape;5424;p53"/>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5" name="Google Shape;5425;p53"/>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6" name="Google Shape;5426;p53"/>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7" name="Google Shape;5427;p53"/>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8" name="Google Shape;5428;p53"/>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9" name="Google Shape;5429;p53"/>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0" name="Google Shape;5430;p53"/>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1" name="Google Shape;5431;p53"/>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2" name="Google Shape;5432;p53"/>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3" name="Google Shape;5433;p53"/>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4" name="Google Shape;5434;p53"/>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5" name="Google Shape;5435;p53"/>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6" name="Google Shape;5436;p53"/>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7" name="Google Shape;5437;p53"/>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8" name="Google Shape;5438;p53"/>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9" name="Google Shape;5439;p53"/>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0" name="Google Shape;5440;p53"/>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1" name="Google Shape;5441;p53"/>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2" name="Google Shape;5442;p53"/>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3" name="Google Shape;5443;p53"/>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4" name="Google Shape;5444;p53"/>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5" name="Google Shape;5445;p53"/>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6" name="Google Shape;5446;p53"/>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7" name="Google Shape;5447;p53"/>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8" name="Google Shape;5448;p53"/>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9" name="Google Shape;5449;p53"/>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0" name="Google Shape;5450;p53"/>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1" name="Google Shape;5451;p53"/>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2" name="Google Shape;5452;p53"/>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3" name="Google Shape;5453;p53"/>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4" name="Google Shape;5454;p53"/>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5" name="Google Shape;5455;p53"/>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6" name="Google Shape;5456;p53"/>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7" name="Google Shape;5457;p53"/>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8" name="Google Shape;5458;p53"/>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9" name="Google Shape;5459;p53"/>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0" name="Google Shape;5460;p53"/>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1" name="Google Shape;5461;p53"/>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2" name="Google Shape;5462;p53"/>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3" name="Google Shape;5463;p53"/>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4" name="Google Shape;5464;p53"/>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5" name="Google Shape;5465;p53"/>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6" name="Google Shape;5466;p53"/>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7" name="Google Shape;5467;p53"/>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8" name="Google Shape;5468;p53"/>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9" name="Google Shape;5469;p53"/>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0" name="Google Shape;5470;p53"/>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1" name="Google Shape;5471;p53"/>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2" name="Google Shape;5472;p53"/>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3" name="Google Shape;5473;p53"/>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4" name="Google Shape;5474;p53"/>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5" name="Google Shape;5475;p53"/>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6" name="Google Shape;5476;p53"/>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7" name="Google Shape;5477;p53"/>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8" name="Google Shape;5478;p53"/>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9" name="Google Shape;5479;p53"/>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0" name="Google Shape;5480;p53"/>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1" name="Google Shape;5481;p53"/>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2" name="Google Shape;5482;p53"/>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3" name="Google Shape;5483;p53"/>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4" name="Google Shape;5484;p53"/>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5" name="Google Shape;5485;p53"/>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6" name="Google Shape;5486;p53"/>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7" name="Google Shape;5487;p53"/>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8" name="Google Shape;5488;p53"/>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9" name="Google Shape;5489;p53"/>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0" name="Google Shape;5490;p53"/>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1" name="Google Shape;5491;p53"/>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2" name="Google Shape;5492;p53"/>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3" name="Google Shape;5493;p53"/>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4" name="Google Shape;5494;p53"/>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5" name="Google Shape;5495;p53"/>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6" name="Google Shape;5496;p53"/>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7" name="Google Shape;5497;p53"/>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8" name="Google Shape;5498;p53"/>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9" name="Google Shape;5499;p53"/>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0" name="Google Shape;5500;p53"/>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1" name="Google Shape;5501;p53"/>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2" name="Google Shape;5502;p53"/>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3" name="Google Shape;5503;p53"/>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4" name="Google Shape;5504;p53"/>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5" name="Google Shape;5505;p53"/>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6" name="Google Shape;5506;p53"/>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7" name="Google Shape;5507;p53"/>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8" name="Google Shape;5508;p53"/>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9" name="Google Shape;5509;p53"/>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0" name="Google Shape;5510;p53"/>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1" name="Google Shape;5511;p53"/>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2" name="Google Shape;5512;p53"/>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3" name="Google Shape;5513;p53"/>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4" name="Google Shape;5514;p53"/>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5" name="Google Shape;5515;p53"/>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6" name="Google Shape;5516;p53"/>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7" name="Google Shape;5517;p53"/>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8" name="Google Shape;5518;p53"/>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9" name="Google Shape;5519;p53"/>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0" name="Google Shape;5520;p53"/>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1" name="Google Shape;5521;p53"/>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2" name="Google Shape;5522;p53"/>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3" name="Google Shape;5523;p53"/>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4" name="Google Shape;5524;p53"/>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5" name="Google Shape;5525;p53"/>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6" name="Google Shape;5526;p53"/>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7" name="Google Shape;5527;p53"/>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8" name="Google Shape;5528;p53"/>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9" name="Google Shape;5529;p53"/>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0" name="Google Shape;5530;p53"/>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1" name="Google Shape;5531;p53"/>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2" name="Google Shape;5532;p53"/>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3" name="Google Shape;5533;p53"/>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4" name="Google Shape;5534;p53"/>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5" name="Google Shape;5535;p53"/>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6" name="Google Shape;5536;p53"/>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7" name="Google Shape;5537;p53"/>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8" name="Google Shape;5538;p53"/>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9" name="Google Shape;5539;p53"/>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0" name="Google Shape;5540;p53"/>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1" name="Google Shape;5541;p53"/>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2" name="Google Shape;5542;p53"/>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3" name="Google Shape;5543;p53"/>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4" name="Google Shape;5544;p53"/>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5" name="Google Shape;5545;p53"/>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6" name="Google Shape;5546;p53"/>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7" name="Google Shape;5547;p53"/>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8" name="Google Shape;5548;p53"/>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9" name="Google Shape;5549;p53"/>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0" name="Google Shape;5550;p53"/>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1" name="Google Shape;5551;p53"/>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2" name="Google Shape;5552;p53"/>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3" name="Google Shape;5553;p53"/>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4" name="Google Shape;5554;p53"/>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5" name="Google Shape;5555;p53"/>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6" name="Google Shape;5556;p53"/>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7" name="Google Shape;5557;p53"/>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8" name="Google Shape;5558;p53"/>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9" name="Google Shape;5559;p53"/>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0" name="Google Shape;5560;p53"/>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1" name="Google Shape;5561;p53"/>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2" name="Google Shape;5562;p53"/>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3" name="Google Shape;5563;p53"/>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4" name="Google Shape;5564;p53"/>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5" name="Google Shape;5565;p53"/>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6" name="Google Shape;5566;p53"/>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7" name="Google Shape;5567;p53"/>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8" name="Google Shape;5568;p53"/>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9" name="Google Shape;5569;p53"/>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0" name="Google Shape;5570;p53"/>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1" name="Google Shape;5571;p53"/>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2" name="Google Shape;5572;p53"/>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3" name="Google Shape;5573;p53"/>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4" name="Google Shape;5574;p53"/>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5" name="Google Shape;5575;p53"/>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6" name="Google Shape;5576;p53"/>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7" name="Google Shape;5577;p53"/>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8" name="Google Shape;5578;p53"/>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9" name="Google Shape;5579;p53"/>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0" name="Google Shape;5580;p53"/>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1" name="Google Shape;5581;p53"/>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2" name="Google Shape;5582;p53"/>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3" name="Google Shape;5583;p53"/>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4" name="Google Shape;5584;p53"/>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5" name="Google Shape;5585;p53"/>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6" name="Google Shape;5586;p53"/>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7" name="Google Shape;5587;p53"/>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8" name="Google Shape;5588;p53"/>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9" name="Google Shape;5589;p53"/>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0" name="Google Shape;5590;p53"/>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1" name="Google Shape;5591;p53"/>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2" name="Google Shape;5592;p53"/>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3" name="Google Shape;5593;p53"/>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4" name="Google Shape;5594;p53"/>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5" name="Google Shape;5595;p53"/>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6" name="Google Shape;5596;p53"/>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7" name="Google Shape;5597;p53"/>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8" name="Google Shape;5598;p53"/>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9" name="Google Shape;5599;p53"/>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0" name="Google Shape;5600;p53"/>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1" name="Google Shape;5601;p53"/>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2" name="Google Shape;5602;p53"/>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3" name="Google Shape;5603;p53"/>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4" name="Google Shape;5604;p53"/>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5" name="Google Shape;5605;p53"/>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6" name="Google Shape;5606;p53"/>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7" name="Google Shape;5607;p53"/>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8" name="Google Shape;5608;p53"/>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9" name="Google Shape;5609;p53"/>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0" name="Google Shape;5610;p53"/>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1" name="Google Shape;5611;p53"/>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2" name="Google Shape;5612;p53"/>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3" name="Google Shape;5613;p53"/>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4" name="Google Shape;5614;p53"/>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5" name="Google Shape;5615;p53"/>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6" name="Google Shape;5616;p53"/>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7" name="Google Shape;5617;p53"/>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8" name="Google Shape;5618;p53"/>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9" name="Google Shape;5619;p53"/>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0" name="Google Shape;5620;p53"/>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1" name="Google Shape;5621;p53"/>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2" name="Google Shape;5622;p53"/>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3" name="Google Shape;5623;p53"/>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4" name="Google Shape;5624;p53"/>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5" name="Google Shape;5625;p53"/>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6" name="Google Shape;5626;p53"/>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7" name="Google Shape;5627;p53"/>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8" name="Google Shape;5628;p53"/>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9" name="Google Shape;5629;p53"/>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0" name="Google Shape;5630;p53"/>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1" name="Google Shape;5631;p53"/>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2" name="Google Shape;5632;p53"/>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3" name="Google Shape;5633;p53"/>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4" name="Google Shape;5634;p53"/>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5" name="Google Shape;5635;p53"/>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6" name="Google Shape;5636;p53"/>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7" name="Google Shape;5637;p53"/>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8" name="Google Shape;5638;p53"/>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9" name="Google Shape;5639;p53"/>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0" name="Google Shape;5640;p53"/>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1" name="Google Shape;5641;p53"/>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2" name="Google Shape;5642;p53"/>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3" name="Google Shape;5643;p53"/>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4" name="Google Shape;5644;p53"/>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5" name="Google Shape;5645;p53"/>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6" name="Google Shape;5646;p53"/>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7" name="Google Shape;5647;p53"/>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8" name="Google Shape;5648;p53"/>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9" name="Google Shape;5649;p53"/>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0" name="Google Shape;5650;p53"/>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1" name="Google Shape;5651;p53"/>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2" name="Google Shape;5652;p53"/>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3" name="Google Shape;5653;p53"/>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4" name="Google Shape;5654;p53"/>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5" name="Google Shape;5655;p53"/>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6" name="Google Shape;5656;p53"/>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7" name="Google Shape;5657;p53"/>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8" name="Google Shape;5658;p53"/>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9" name="Google Shape;5659;p53"/>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0" name="Google Shape;5660;p53"/>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1" name="Google Shape;5661;p53"/>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2" name="Google Shape;5662;p53"/>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3" name="Google Shape;5663;p53"/>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4" name="Google Shape;5664;p53"/>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5" name="Google Shape;5665;p53"/>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6" name="Google Shape;5666;p53"/>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7" name="Google Shape;5667;p53"/>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8" name="Google Shape;5668;p53"/>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9" name="Google Shape;5669;p53"/>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0" name="Google Shape;5670;p53"/>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1" name="Google Shape;5671;p53"/>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2" name="Google Shape;5672;p53"/>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3" name="Google Shape;5673;p53"/>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4" name="Google Shape;5674;p53"/>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5" name="Google Shape;5675;p53"/>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6" name="Google Shape;5676;p53"/>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7" name="Google Shape;5677;p53"/>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8" name="Google Shape;5678;p53"/>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9" name="Google Shape;5679;p53"/>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0" name="Google Shape;5680;p53"/>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1" name="Google Shape;5681;p53"/>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2" name="Google Shape;5682;p53"/>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3" name="Google Shape;5683;p53"/>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4" name="Google Shape;5684;p53"/>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5" name="Google Shape;5685;p53"/>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6" name="Google Shape;5686;p53"/>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7" name="Google Shape;5687;p53"/>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8" name="Google Shape;5688;p53"/>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9" name="Google Shape;5689;p53"/>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0" name="Google Shape;5690;p53"/>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1" name="Google Shape;5691;p53"/>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2" name="Google Shape;5692;p53"/>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3" name="Google Shape;5693;p53"/>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4" name="Google Shape;5694;p53"/>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5" name="Google Shape;5695;p53"/>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6" name="Google Shape;5696;p53"/>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7" name="Google Shape;5697;p53"/>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8" name="Google Shape;5698;p53"/>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9" name="Google Shape;5699;p53"/>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0" name="Google Shape;5700;p53"/>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1" name="Google Shape;5701;p53"/>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2" name="Google Shape;5702;p53"/>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3" name="Google Shape;5703;p53"/>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4" name="Google Shape;5704;p53"/>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5" name="Google Shape;5705;p53"/>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6" name="Google Shape;5706;p53"/>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7" name="Google Shape;5707;p53"/>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8" name="Google Shape;5708;p53"/>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9" name="Google Shape;5709;p53"/>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0" name="Google Shape;5710;p53"/>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1" name="Google Shape;5711;p53"/>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2" name="Google Shape;5712;p53"/>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3" name="Google Shape;5713;p53"/>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4" name="Google Shape;5714;p53"/>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5" name="Google Shape;5715;p53"/>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6" name="Google Shape;5716;p53"/>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7" name="Google Shape;5717;p53"/>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8" name="Google Shape;5718;p53"/>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9" name="Google Shape;5719;p53"/>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0" name="Google Shape;5720;p53"/>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1" name="Google Shape;5721;p53"/>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2" name="Google Shape;5722;p53"/>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3" name="Google Shape;5723;p53"/>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4" name="Google Shape;5724;p53"/>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5" name="Google Shape;5725;p53"/>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6" name="Google Shape;5726;p53"/>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7" name="Google Shape;5727;p53"/>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8" name="Google Shape;5728;p53"/>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9" name="Google Shape;5729;p53"/>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0" name="Google Shape;5730;p53"/>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1" name="Google Shape;5731;p53"/>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2" name="Google Shape;5732;p53"/>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3" name="Google Shape;5733;p53"/>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4" name="Google Shape;5734;p53"/>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5" name="Google Shape;5735;p53"/>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6" name="Google Shape;5736;p53"/>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7" name="Google Shape;5737;p53"/>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8" name="Google Shape;5738;p53"/>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9" name="Google Shape;5739;p53"/>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0" name="Google Shape;5740;p53"/>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1" name="Google Shape;5741;p53"/>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2" name="Google Shape;5742;p53"/>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3" name="Google Shape;5743;p53"/>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4" name="Google Shape;5744;p53"/>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5" name="Google Shape;5745;p53"/>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6" name="Google Shape;5746;p53"/>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7" name="Google Shape;5747;p53"/>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8" name="Google Shape;5748;p53"/>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9" name="Google Shape;5749;p53"/>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0" name="Google Shape;5750;p53"/>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1" name="Google Shape;5751;p53"/>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2" name="Google Shape;5752;p53"/>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3" name="Google Shape;5753;p53"/>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4" name="Google Shape;5754;p53"/>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5" name="Google Shape;5755;p53"/>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6" name="Google Shape;5756;p53"/>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7" name="Google Shape;5757;p53"/>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8" name="Google Shape;5758;p53"/>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9" name="Google Shape;5759;p53"/>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0" name="Google Shape;5760;p53"/>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1" name="Google Shape;5761;p53"/>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2" name="Google Shape;5762;p53"/>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3" name="Google Shape;5763;p53"/>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4" name="Google Shape;5764;p53"/>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5" name="Google Shape;5765;p53"/>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6" name="Google Shape;5766;p53"/>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7" name="Google Shape;5767;p53"/>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8" name="Google Shape;5768;p53"/>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9" name="Google Shape;5769;p53"/>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0" name="Google Shape;5770;p53"/>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1" name="Google Shape;5771;p53"/>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2" name="Google Shape;5772;p53"/>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3" name="Google Shape;5773;p53"/>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4" name="Google Shape;5774;p53"/>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5" name="Google Shape;5775;p53"/>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6" name="Google Shape;5776;p53"/>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7" name="Google Shape;5777;p53"/>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8" name="Google Shape;5778;p53"/>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9" name="Google Shape;5779;p53"/>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0" name="Google Shape;5780;p53"/>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1" name="Google Shape;5781;p53"/>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2" name="Google Shape;5782;p53"/>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3" name="Google Shape;5783;p53"/>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4" name="Google Shape;5784;p53"/>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5" name="Google Shape;5785;p53"/>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6" name="Google Shape;5786;p53"/>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7" name="Google Shape;5787;p53"/>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8" name="Google Shape;5788;p53"/>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9" name="Google Shape;5789;p53"/>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0" name="Google Shape;5790;p53"/>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1" name="Google Shape;5791;p53"/>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2" name="Google Shape;5792;p53"/>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3" name="Google Shape;5793;p53"/>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4" name="Google Shape;5794;p53"/>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5" name="Google Shape;5795;p53"/>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6" name="Google Shape;5796;p53"/>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7" name="Google Shape;5797;p53"/>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8" name="Google Shape;5798;p53"/>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9" name="Google Shape;5799;p53"/>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0" name="Google Shape;5800;p53"/>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1" name="Google Shape;5801;p53"/>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2" name="Google Shape;5802;p53"/>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3" name="Google Shape;5803;p53"/>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4" name="Google Shape;5804;p53"/>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5" name="Google Shape;5805;p53"/>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6" name="Google Shape;5806;p53"/>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7" name="Google Shape;5807;p53"/>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8" name="Google Shape;5808;p53"/>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9" name="Google Shape;5809;p53"/>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0" name="Google Shape;5810;p53"/>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1" name="Google Shape;5811;p53"/>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2" name="Google Shape;5812;p53"/>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3" name="Google Shape;5813;p53"/>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4" name="Google Shape;5814;p53"/>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5" name="Google Shape;5815;p53"/>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6" name="Google Shape;5816;p53"/>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7" name="Google Shape;5817;p53"/>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8" name="Google Shape;5818;p53"/>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9" name="Google Shape;5819;p53"/>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0" name="Google Shape;5820;p53"/>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1" name="Google Shape;5821;p53"/>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2" name="Google Shape;5822;p53"/>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3" name="Google Shape;5823;p53"/>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4" name="Google Shape;5824;p53"/>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5" name="Google Shape;5825;p53"/>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6" name="Google Shape;5826;p53"/>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7" name="Google Shape;5827;p53"/>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8" name="Google Shape;5828;p53"/>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9" name="Google Shape;5829;p53"/>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0" name="Google Shape;5830;p53"/>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1" name="Google Shape;5831;p53"/>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2" name="Google Shape;5832;p53"/>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3" name="Google Shape;5833;p53"/>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4" name="Google Shape;5834;p53"/>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5" name="Google Shape;5835;p53"/>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6" name="Google Shape;5836;p53"/>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7" name="Google Shape;5837;p53"/>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8" name="Google Shape;5838;p53"/>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9" name="Google Shape;5839;p53"/>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0" name="Google Shape;5840;p53"/>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1" name="Google Shape;5841;p53"/>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2" name="Google Shape;5842;p53"/>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3" name="Google Shape;5843;p53"/>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4" name="Google Shape;5844;p53"/>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5" name="Google Shape;5845;p53"/>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6" name="Google Shape;5846;p53"/>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7" name="Google Shape;5847;p53"/>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8" name="Google Shape;5848;p53"/>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9" name="Google Shape;5849;p53"/>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0" name="Google Shape;5850;p53"/>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1" name="Google Shape;5851;p53"/>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2" name="Google Shape;5852;p53"/>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3" name="Google Shape;5853;p53"/>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4" name="Google Shape;5854;p53"/>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5" name="Google Shape;5855;p53"/>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6" name="Google Shape;5856;p53"/>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7" name="Google Shape;5857;p53"/>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8" name="Google Shape;5858;p53"/>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9" name="Google Shape;5859;p53"/>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0" name="Google Shape;5860;p53"/>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1" name="Google Shape;5861;p53"/>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2" name="Google Shape;5862;p53"/>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3" name="Google Shape;5863;p53"/>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4" name="Google Shape;5864;p53"/>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5" name="Google Shape;5865;p53"/>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6" name="Google Shape;5866;p53"/>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7" name="Google Shape;5867;p53"/>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8" name="Google Shape;5868;p53"/>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9" name="Google Shape;5869;p53"/>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0" name="Google Shape;5870;p53"/>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1" name="Google Shape;5871;p53"/>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2" name="Google Shape;5872;p53"/>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3" name="Google Shape;5873;p53"/>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4" name="Google Shape;5874;p53"/>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5" name="Google Shape;5875;p53"/>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6" name="Google Shape;5876;p53"/>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7" name="Google Shape;5877;p53"/>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8" name="Google Shape;5878;p53"/>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9" name="Google Shape;5879;p53"/>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0" name="Google Shape;5880;p53"/>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1" name="Google Shape;5881;p53"/>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2" name="Google Shape;5882;p53"/>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3" name="Google Shape;5883;p53"/>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4" name="Google Shape;5884;p53"/>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5" name="Google Shape;5885;p53"/>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6" name="Google Shape;5886;p53"/>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7" name="Google Shape;5887;p53"/>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8" name="Google Shape;5888;p53"/>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9" name="Google Shape;5889;p53"/>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0" name="Google Shape;5890;p53"/>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1" name="Google Shape;5891;p53"/>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2" name="Google Shape;5892;p53"/>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3" name="Google Shape;5893;p53"/>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4" name="Google Shape;5894;p53"/>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5" name="Google Shape;5895;p53"/>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6" name="Google Shape;5896;p53"/>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7" name="Google Shape;5897;p53"/>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8" name="Google Shape;5898;p53"/>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9" name="Google Shape;5899;p53"/>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0" name="Google Shape;5900;p53"/>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1" name="Google Shape;5901;p53"/>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2" name="Google Shape;5902;p53"/>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3" name="Google Shape;5903;p53"/>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4" name="Google Shape;5904;p53"/>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5" name="Google Shape;5905;p53"/>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6" name="Google Shape;5906;p53"/>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7" name="Google Shape;5907;p53"/>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8" name="Google Shape;5908;p53"/>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9" name="Google Shape;5909;p53"/>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0" name="Google Shape;5910;p53"/>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1" name="Google Shape;5911;p53"/>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2" name="Google Shape;5912;p53"/>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3" name="Google Shape;5913;p53"/>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4" name="Google Shape;5914;p53"/>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5" name="Google Shape;5915;p53"/>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6" name="Google Shape;5916;p53"/>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7" name="Google Shape;5917;p53"/>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8" name="Google Shape;5918;p53"/>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9" name="Google Shape;5919;p53"/>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0" name="Google Shape;5920;p53"/>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1" name="Google Shape;5921;p53"/>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2" name="Google Shape;5922;p53"/>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3" name="Google Shape;5923;p53"/>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4" name="Google Shape;5924;p53"/>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5" name="Google Shape;5925;p53"/>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6" name="Google Shape;5926;p53"/>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7" name="Google Shape;5927;p53"/>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8" name="Google Shape;5928;p53"/>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9" name="Google Shape;5929;p53"/>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0" name="Google Shape;5930;p53"/>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1" name="Google Shape;5931;p53"/>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2" name="Google Shape;5932;p53"/>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3" name="Google Shape;5933;p53"/>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4" name="Google Shape;5934;p53"/>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5" name="Google Shape;5935;p53"/>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6" name="Google Shape;5936;p53"/>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7" name="Google Shape;5937;p53"/>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8" name="Google Shape;5938;p53"/>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9" name="Google Shape;5939;p53"/>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0" name="Google Shape;5940;p53"/>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1" name="Google Shape;5941;p53"/>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2" name="Google Shape;5942;p53"/>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3" name="Google Shape;5943;p53"/>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4" name="Google Shape;5944;p53"/>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5" name="Google Shape;5945;p53"/>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6" name="Google Shape;5946;p53"/>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7" name="Google Shape;5947;p53"/>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8" name="Google Shape;5948;p53"/>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9" name="Google Shape;5949;p53"/>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0" name="Google Shape;5950;p53"/>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1" name="Google Shape;5951;p53"/>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2" name="Google Shape;5952;p53"/>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3" name="Google Shape;5953;p53"/>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4" name="Google Shape;5954;p53"/>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5" name="Google Shape;5955;p53"/>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6" name="Google Shape;5956;p53"/>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7" name="Google Shape;5957;p53"/>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8" name="Google Shape;5958;p53"/>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9" name="Google Shape;5959;p53"/>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0" name="Google Shape;5960;p53"/>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1" name="Google Shape;5961;p53"/>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2" name="Google Shape;5962;p53"/>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3" name="Google Shape;5963;p53"/>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4" name="Google Shape;5964;p53"/>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5" name="Google Shape;5965;p53"/>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6" name="Google Shape;5966;p53"/>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7" name="Google Shape;5967;p53"/>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8" name="Google Shape;5968;p53"/>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9" name="Google Shape;5969;p53"/>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0" name="Google Shape;5970;p53"/>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1" name="Google Shape;5971;p53"/>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2" name="Google Shape;5972;p53"/>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3" name="Google Shape;5973;p53"/>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4" name="Google Shape;5974;p53"/>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5" name="Google Shape;5975;p53"/>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6" name="Google Shape;5976;p53"/>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7" name="Google Shape;5977;p53"/>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8" name="Google Shape;5978;p53"/>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9" name="Google Shape;5979;p53"/>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0" name="Google Shape;5980;p53"/>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1" name="Google Shape;5981;p53"/>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2" name="Google Shape;5982;p53"/>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3" name="Google Shape;5983;p53"/>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4" name="Google Shape;5984;p53"/>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5" name="Google Shape;5985;p53"/>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6" name="Google Shape;5986;p53"/>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7" name="Google Shape;5987;p53"/>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8" name="Google Shape;5988;p53"/>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9" name="Google Shape;5989;p53"/>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0" name="Google Shape;5990;p53"/>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1" name="Google Shape;5991;p53"/>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2" name="Google Shape;5992;p53"/>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3" name="Google Shape;5993;p53"/>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4" name="Google Shape;5994;p53"/>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5" name="Google Shape;5995;p53"/>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6" name="Google Shape;5996;p53"/>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7" name="Google Shape;5997;p53"/>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8" name="Google Shape;5998;p53"/>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9" name="Google Shape;5999;p53"/>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0" name="Google Shape;6000;p53"/>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1" name="Google Shape;6001;p53"/>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2" name="Google Shape;6002;p53"/>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3" name="Google Shape;6003;p53"/>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4" name="Google Shape;6004;p53"/>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5" name="Google Shape;6005;p53"/>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6" name="Google Shape;6006;p53"/>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7" name="Google Shape;6007;p53"/>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8" name="Google Shape;6008;p53"/>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9" name="Google Shape;6009;p53"/>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0" name="Google Shape;6010;p53"/>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1" name="Google Shape;6011;p53"/>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2" name="Google Shape;6012;p53"/>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3" name="Google Shape;6013;p53"/>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4" name="Google Shape;6014;p53"/>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5" name="Google Shape;6015;p53"/>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6" name="Google Shape;6016;p53"/>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7" name="Google Shape;6017;p53"/>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8" name="Google Shape;6018;p53"/>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9" name="Google Shape;6019;p53"/>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0" name="Google Shape;6020;p53"/>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1" name="Google Shape;6021;p53"/>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2" name="Google Shape;6022;p53"/>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3" name="Google Shape;6023;p53"/>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4" name="Google Shape;6024;p53"/>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5" name="Google Shape;6025;p53"/>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6" name="Google Shape;6026;p53"/>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7" name="Google Shape;6027;p53"/>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8" name="Google Shape;6028;p53"/>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9" name="Google Shape;6029;p53"/>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0" name="Google Shape;6030;p53"/>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1" name="Google Shape;6031;p53"/>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2" name="Google Shape;6032;p53"/>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3" name="Google Shape;6033;p53"/>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4" name="Google Shape;6034;p53"/>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5" name="Google Shape;6035;p53"/>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6" name="Google Shape;6036;p53"/>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7" name="Google Shape;6037;p53"/>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8" name="Google Shape;6038;p53"/>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9" name="Google Shape;6039;p53"/>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0" name="Google Shape;6040;p53"/>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1" name="Google Shape;6041;p53"/>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2" name="Google Shape;6042;p53"/>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3" name="Google Shape;6043;p53"/>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4" name="Google Shape;6044;p53"/>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5" name="Google Shape;6045;p53"/>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6" name="Google Shape;6046;p53"/>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7" name="Google Shape;6047;p53"/>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8" name="Google Shape;6048;p53"/>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9" name="Google Shape;6049;p53"/>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0" name="Google Shape;6050;p53"/>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1" name="Google Shape;6051;p53"/>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2" name="Google Shape;6052;p53"/>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3" name="Google Shape;6053;p53"/>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4" name="Google Shape;6054;p53"/>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5" name="Google Shape;6055;p53"/>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6" name="Google Shape;6056;p53"/>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7" name="Google Shape;6057;p53"/>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8" name="Google Shape;6058;p53"/>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9" name="Google Shape;6059;p53"/>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0" name="Google Shape;6060;p53"/>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1" name="Google Shape;6061;p53"/>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2" name="Google Shape;6062;p53"/>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3" name="Google Shape;6063;p53"/>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4" name="Google Shape;6064;p53"/>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5" name="Google Shape;6065;p53"/>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6" name="Google Shape;6066;p53"/>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7" name="Google Shape;6067;p53"/>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8" name="Google Shape;6068;p53"/>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9" name="Google Shape;6069;p53"/>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0" name="Google Shape;6070;p53"/>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1" name="Google Shape;6071;p53"/>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2" name="Google Shape;6072;p53"/>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3" name="Google Shape;6073;p53"/>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4" name="Google Shape;6074;p53"/>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5" name="Google Shape;6075;p53"/>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6" name="Google Shape;6076;p53"/>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7" name="Google Shape;6077;p53"/>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8" name="Google Shape;6078;p53"/>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9" name="Google Shape;6079;p53"/>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0" name="Google Shape;6080;p53"/>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1" name="Google Shape;6081;p53"/>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2" name="Google Shape;6082;p53"/>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3" name="Google Shape;6083;p53"/>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4" name="Google Shape;6084;p53"/>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5" name="Google Shape;6085;p53"/>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6" name="Google Shape;6086;p53"/>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7" name="Google Shape;6087;p53"/>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8" name="Google Shape;6088;p53"/>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9" name="Google Shape;6089;p53"/>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0" name="Google Shape;6090;p53"/>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1" name="Google Shape;6091;p53"/>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2" name="Google Shape;6092;p53"/>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3" name="Google Shape;6093;p53"/>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4" name="Google Shape;6094;p53"/>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5" name="Google Shape;6095;p53"/>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6" name="Google Shape;6096;p53"/>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7" name="Google Shape;6097;p53"/>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8" name="Google Shape;6098;p53"/>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9" name="Google Shape;6099;p53"/>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0" name="Google Shape;6100;p53"/>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1" name="Google Shape;6101;p53"/>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2" name="Google Shape;6102;p53"/>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3" name="Google Shape;6103;p53"/>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4" name="Google Shape;6104;p53"/>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5" name="Google Shape;6105;p53"/>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6" name="Google Shape;6106;p53"/>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7" name="Google Shape;6107;p53"/>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8" name="Google Shape;6108;p53"/>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9" name="Google Shape;6109;p53"/>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0" name="Google Shape;6110;p53"/>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1" name="Google Shape;6111;p53"/>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2" name="Google Shape;6112;p53"/>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3" name="Google Shape;6113;p53"/>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4" name="Google Shape;6114;p53"/>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5" name="Google Shape;6115;p53"/>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6" name="Google Shape;6116;p53"/>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7" name="Google Shape;6117;p53"/>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8" name="Google Shape;6118;p53"/>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9" name="Google Shape;6119;p53"/>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0" name="Google Shape;6120;p53"/>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1" name="Google Shape;6121;p53"/>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2" name="Google Shape;6122;p53"/>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3" name="Google Shape;6123;p53"/>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4" name="Google Shape;6124;p53"/>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5" name="Google Shape;6125;p53"/>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6" name="Google Shape;6126;p53"/>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7" name="Google Shape;6127;p53"/>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8" name="Google Shape;6128;p53"/>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9" name="Google Shape;6129;p53"/>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0" name="Google Shape;6130;p53"/>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1" name="Google Shape;6131;p53"/>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2" name="Google Shape;6132;p53"/>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3" name="Google Shape;6133;p53"/>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4" name="Google Shape;6134;p53"/>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5" name="Google Shape;6135;p53"/>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6" name="Google Shape;6136;p53"/>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7" name="Google Shape;6137;p53"/>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8" name="Google Shape;6138;p53"/>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9" name="Google Shape;6139;p53"/>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0" name="Google Shape;6140;p53"/>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1" name="Google Shape;6141;p53"/>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2" name="Google Shape;6142;p53"/>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3" name="Google Shape;6143;p53"/>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4" name="Google Shape;6144;p53"/>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5" name="Google Shape;6145;p53"/>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6" name="Google Shape;6146;p53"/>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7" name="Google Shape;6147;p53"/>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8" name="Google Shape;6148;p53"/>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9" name="Google Shape;6149;p53"/>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0" name="Google Shape;6150;p53"/>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1" name="Google Shape;6151;p53"/>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2" name="Google Shape;6152;p53"/>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3" name="Google Shape;6153;p53"/>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4" name="Google Shape;6154;p53"/>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5" name="Google Shape;6155;p53"/>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6" name="Google Shape;6156;p53"/>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7" name="Google Shape;6157;p53"/>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8" name="Google Shape;6158;p53"/>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9" name="Google Shape;6159;p53"/>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0" name="Google Shape;6160;p53"/>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1" name="Google Shape;6161;p53"/>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2" name="Google Shape;6162;p53"/>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3" name="Google Shape;6163;p53"/>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4" name="Google Shape;6164;p53"/>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5" name="Google Shape;6165;p53"/>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6" name="Google Shape;6166;p53"/>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7" name="Google Shape;6167;p53"/>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8" name="Google Shape;6168;p53"/>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9" name="Google Shape;6169;p53"/>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0" name="Google Shape;6170;p53"/>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1" name="Google Shape;6171;p53"/>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2" name="Google Shape;6172;p53"/>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3" name="Google Shape;6173;p53"/>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4" name="Google Shape;6174;p53"/>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5" name="Google Shape;6175;p53"/>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6" name="Google Shape;6176;p53"/>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7" name="Google Shape;6177;p53"/>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8" name="Google Shape;6178;p53"/>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9" name="Google Shape;6179;p53"/>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0" name="Google Shape;6180;p53"/>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1" name="Google Shape;6181;p53"/>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2" name="Google Shape;6182;p53"/>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3" name="Google Shape;6183;p53"/>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4" name="Google Shape;6184;p53"/>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5" name="Google Shape;6185;p53"/>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6" name="Google Shape;6186;p53"/>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7" name="Google Shape;6187;p53"/>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8" name="Google Shape;6188;p53"/>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9" name="Google Shape;6189;p53"/>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0" name="Google Shape;6190;p53"/>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1" name="Google Shape;6191;p53"/>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2" name="Google Shape;6192;p53"/>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3" name="Google Shape;6193;p53"/>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4" name="Google Shape;6194;p53"/>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5" name="Google Shape;6195;p53"/>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6" name="Google Shape;6196;p53"/>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7" name="Google Shape;6197;p53"/>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8" name="Google Shape;6198;p53"/>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9" name="Google Shape;6199;p53"/>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0" name="Google Shape;6200;p53"/>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1" name="Google Shape;6201;p53"/>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2" name="Google Shape;6202;p53"/>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3" name="Google Shape;6203;p53"/>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4" name="Google Shape;6204;p53"/>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5" name="Google Shape;6205;p53"/>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6" name="Google Shape;6206;p53"/>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7" name="Google Shape;6207;p53"/>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8" name="Google Shape;6208;p53"/>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9" name="Google Shape;6209;p53"/>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0" name="Google Shape;6210;p53"/>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1" name="Google Shape;6211;p53"/>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2" name="Google Shape;6212;p53"/>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3" name="Google Shape;6213;p53"/>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4" name="Google Shape;6214;p53"/>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5" name="Google Shape;6215;p53"/>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6" name="Google Shape;6216;p53"/>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7" name="Google Shape;6217;p53"/>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8" name="Google Shape;6218;p53"/>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9" name="Google Shape;6219;p53"/>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0" name="Google Shape;6220;p53"/>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1" name="Google Shape;6221;p53"/>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2" name="Google Shape;6222;p53"/>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3" name="Google Shape;6223;p53"/>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4" name="Google Shape;6224;p53"/>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5" name="Google Shape;6225;p53"/>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6" name="Google Shape;6226;p53"/>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7" name="Google Shape;6227;p53"/>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8" name="Google Shape;6228;p53"/>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9" name="Google Shape;6229;p53"/>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0" name="Google Shape;6230;p53"/>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1" name="Google Shape;6231;p53"/>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2" name="Google Shape;6232;p53"/>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3" name="Google Shape;6233;p53"/>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4" name="Google Shape;6234;p53"/>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5" name="Google Shape;6235;p53"/>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6" name="Google Shape;6236;p53"/>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7" name="Google Shape;6237;p53"/>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8" name="Google Shape;6238;p53"/>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9" name="Google Shape;6239;p53"/>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0" name="Google Shape;6240;p53"/>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1" name="Google Shape;6241;p53"/>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2" name="Google Shape;6242;p53"/>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3" name="Google Shape;6243;p53"/>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4" name="Google Shape;6244;p53"/>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5" name="Google Shape;6245;p53"/>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6" name="Google Shape;6246;p53"/>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7" name="Google Shape;6247;p53"/>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8" name="Google Shape;6248;p53"/>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9" name="Google Shape;6249;p53"/>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0" name="Google Shape;6250;p53"/>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1" name="Google Shape;6251;p53"/>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2" name="Google Shape;6252;p53"/>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3" name="Google Shape;6253;p53"/>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4" name="Google Shape;6254;p53"/>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5" name="Google Shape;6255;p53"/>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6" name="Google Shape;6256;p53"/>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7" name="Google Shape;6257;p53"/>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8" name="Google Shape;6258;p53"/>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9" name="Google Shape;6259;p53"/>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0" name="Google Shape;6260;p53"/>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1" name="Google Shape;6261;p53"/>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2" name="Google Shape;6262;p53"/>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3" name="Google Shape;6263;p53"/>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4" name="Google Shape;6264;p53"/>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5" name="Google Shape;6265;p53"/>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6" name="Google Shape;6266;p53"/>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7" name="Google Shape;6267;p53"/>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8" name="Google Shape;6268;p53"/>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9" name="Google Shape;6269;p53"/>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0" name="Google Shape;6270;p53"/>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1" name="Google Shape;6271;p53"/>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2" name="Google Shape;6272;p53"/>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3" name="Google Shape;6273;p53"/>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4" name="Google Shape;6274;p53"/>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5" name="Google Shape;6275;p53"/>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6" name="Google Shape;6276;p53"/>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7" name="Google Shape;6277;p53"/>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8" name="Google Shape;6278;p53"/>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9" name="Google Shape;6279;p53"/>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0" name="Google Shape;6280;p53"/>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1" name="Google Shape;6281;p53"/>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2" name="Google Shape;6282;p53"/>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3" name="Google Shape;6283;p53"/>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4" name="Google Shape;6284;p53"/>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5" name="Google Shape;6285;p53"/>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6" name="Google Shape;6286;p53"/>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7" name="Google Shape;6287;p53"/>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8" name="Google Shape;6288;p53"/>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9" name="Google Shape;6289;p53"/>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0" name="Google Shape;6290;p53"/>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1" name="Google Shape;6291;p53"/>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2" name="Google Shape;6292;p53"/>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3" name="Google Shape;6293;p53"/>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4" name="Google Shape;6294;p53"/>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5" name="Google Shape;6295;p53"/>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6" name="Google Shape;6296;p53"/>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7" name="Google Shape;6297;p53"/>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8" name="Google Shape;6298;p53"/>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9" name="Google Shape;6299;p53"/>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0" name="Google Shape;6300;p53"/>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1" name="Google Shape;6301;p53"/>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2" name="Google Shape;6302;p53"/>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3" name="Google Shape;6303;p53"/>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4" name="Google Shape;6304;p53"/>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5" name="Google Shape;6305;p53"/>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6" name="Google Shape;6306;p53"/>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7" name="Google Shape;6307;p53"/>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8" name="Google Shape;6308;p53"/>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9" name="Google Shape;6309;p53"/>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0" name="Google Shape;6310;p53"/>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1" name="Google Shape;6311;p53"/>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2" name="Google Shape;6312;p53"/>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3" name="Google Shape;6313;p53"/>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4" name="Google Shape;6314;p53"/>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5" name="Google Shape;6315;p53"/>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6" name="Google Shape;6316;p53"/>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7" name="Google Shape;6317;p53"/>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8" name="Google Shape;6318;p53"/>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9" name="Google Shape;6319;p53"/>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0" name="Google Shape;6320;p53"/>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1" name="Google Shape;6321;p53"/>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2" name="Google Shape;6322;p53"/>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3" name="Google Shape;6323;p53"/>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4" name="Google Shape;6324;p53"/>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5" name="Google Shape;6325;p53"/>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6" name="Google Shape;6326;p53"/>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7" name="Google Shape;6327;p53"/>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8" name="Google Shape;6328;p53"/>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9" name="Google Shape;6329;p53"/>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0" name="Google Shape;6330;p53"/>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1" name="Google Shape;6331;p53"/>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2" name="Google Shape;6332;p53"/>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3" name="Google Shape;6333;p53"/>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4" name="Google Shape;6334;p53"/>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5" name="Google Shape;6335;p53"/>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6" name="Google Shape;6336;p53"/>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7" name="Google Shape;6337;p53"/>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8" name="Google Shape;6338;p53"/>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9" name="Google Shape;6339;p53"/>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0" name="Google Shape;6340;p53"/>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1" name="Google Shape;6341;p53"/>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2" name="Google Shape;6342;p53"/>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3" name="Google Shape;6343;p53"/>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4" name="Google Shape;6344;p53"/>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5" name="Google Shape;6345;p53"/>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6" name="Google Shape;6346;p53"/>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7" name="Google Shape;6347;p53"/>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8" name="Google Shape;6348;p53"/>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9" name="Google Shape;6349;p53"/>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0" name="Google Shape;6350;p53"/>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1" name="Google Shape;6351;p53"/>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2" name="Google Shape;6352;p53"/>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3" name="Google Shape;6353;p53"/>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4" name="Google Shape;6354;p53"/>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5" name="Google Shape;6355;p53"/>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6" name="Google Shape;6356;p53"/>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7" name="Google Shape;6357;p53"/>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8" name="Google Shape;6358;p53"/>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9" name="Google Shape;6359;p53"/>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0" name="Google Shape;6360;p53"/>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1" name="Google Shape;6361;p53"/>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2" name="Google Shape;6362;p53"/>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3" name="Google Shape;6363;p53"/>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4" name="Google Shape;6364;p53"/>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5" name="Google Shape;6365;p53"/>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6" name="Google Shape;6366;p53"/>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7" name="Google Shape;6367;p53"/>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8" name="Google Shape;6368;p53"/>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9" name="Google Shape;6369;p53"/>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0" name="Google Shape;6370;p53"/>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1" name="Google Shape;6371;p53"/>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2" name="Google Shape;6372;p53"/>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3" name="Google Shape;6373;p53"/>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4" name="Google Shape;6374;p53"/>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5" name="Google Shape;6375;p53"/>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6" name="Google Shape;6376;p53"/>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7" name="Google Shape;6377;p53"/>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8" name="Google Shape;6378;p53"/>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9" name="Google Shape;6379;p53"/>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0" name="Google Shape;6380;p53"/>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1" name="Google Shape;6381;p53"/>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2" name="Google Shape;6382;p53"/>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3" name="Google Shape;6383;p53"/>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4" name="Google Shape;6384;p53"/>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5" name="Google Shape;6385;p53"/>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6" name="Google Shape;6386;p53"/>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7" name="Google Shape;6387;p53"/>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8" name="Google Shape;6388;p53"/>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9" name="Google Shape;6389;p53"/>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0" name="Google Shape;6390;p53"/>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1" name="Google Shape;6391;p53"/>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2" name="Google Shape;6392;p53"/>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3" name="Google Shape;6393;p53"/>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4" name="Google Shape;6394;p53"/>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5" name="Google Shape;6395;p53"/>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6" name="Google Shape;6396;p53"/>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7" name="Google Shape;6397;p53"/>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8" name="Google Shape;6398;p53"/>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9" name="Google Shape;6399;p53"/>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0" name="Google Shape;6400;p53"/>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1" name="Google Shape;6401;p53"/>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2" name="Google Shape;6402;p53"/>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3" name="Google Shape;6403;p53"/>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4" name="Google Shape;6404;p53"/>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5" name="Google Shape;6405;p53"/>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6" name="Google Shape;6406;p53"/>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7" name="Google Shape;6407;p53"/>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8" name="Google Shape;6408;p53"/>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9" name="Google Shape;6409;p53"/>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0" name="Google Shape;6410;p53"/>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1" name="Google Shape;6411;p53"/>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2" name="Google Shape;6412;p53"/>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3" name="Google Shape;6413;p53"/>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4" name="Google Shape;6414;p53"/>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5" name="Google Shape;6415;p53"/>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6" name="Google Shape;6416;p53"/>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7" name="Google Shape;6417;p53"/>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8" name="Google Shape;6418;p53"/>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9" name="Google Shape;6419;p53"/>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0" name="Google Shape;6420;p53"/>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1" name="Google Shape;6421;p53"/>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2" name="Google Shape;6422;p53"/>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3" name="Google Shape;6423;p53"/>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4" name="Google Shape;6424;p53"/>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5" name="Google Shape;6425;p53"/>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6" name="Google Shape;6426;p53"/>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7" name="Google Shape;6427;p53"/>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8" name="Google Shape;6428;p53"/>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9" name="Google Shape;6429;p53"/>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0" name="Google Shape;6430;p53"/>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1" name="Google Shape;6431;p53"/>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2" name="Google Shape;6432;p53"/>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3" name="Google Shape;6433;p53"/>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4" name="Google Shape;6434;p53"/>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5" name="Google Shape;6435;p53"/>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6" name="Google Shape;6436;p53"/>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7" name="Google Shape;6437;p53"/>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8" name="Google Shape;6438;p53"/>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9" name="Google Shape;6439;p53"/>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0" name="Google Shape;6440;p53"/>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1" name="Google Shape;6441;p53"/>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2" name="Google Shape;6442;p53"/>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3" name="Google Shape;6443;p53"/>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4" name="Google Shape;6444;p53"/>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5" name="Google Shape;6445;p53"/>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6" name="Google Shape;6446;p53"/>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7" name="Google Shape;6447;p53"/>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8" name="Google Shape;6448;p53"/>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9" name="Google Shape;6449;p53"/>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0" name="Google Shape;6450;p53"/>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1" name="Google Shape;6451;p53"/>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2" name="Google Shape;6452;p53"/>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3" name="Google Shape;6453;p53"/>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4" name="Google Shape;6454;p53"/>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5" name="Google Shape;6455;p53"/>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6" name="Google Shape;6456;p53"/>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7" name="Google Shape;6457;p53"/>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8" name="Google Shape;6458;p53"/>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9" name="Google Shape;6459;p53"/>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0" name="Google Shape;6460;p53"/>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1" name="Google Shape;6461;p53"/>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2" name="Google Shape;6462;p53"/>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3" name="Google Shape;6463;p53"/>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4" name="Google Shape;6464;p53"/>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5" name="Google Shape;6465;p53"/>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6" name="Google Shape;6466;p53"/>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7" name="Google Shape;6467;p53"/>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8" name="Google Shape;6468;p53"/>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9" name="Google Shape;6469;p53"/>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0" name="Google Shape;6470;p53"/>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1" name="Google Shape;6471;p53"/>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2" name="Google Shape;6472;p53"/>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3" name="Google Shape;6473;p53"/>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4" name="Google Shape;6474;p53"/>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5" name="Google Shape;6475;p53"/>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6" name="Google Shape;6476;p53"/>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7" name="Google Shape;6477;p53"/>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8" name="Google Shape;6478;p53"/>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9" name="Google Shape;6479;p53"/>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0" name="Google Shape;6480;p53"/>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1" name="Google Shape;6481;p53"/>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2" name="Google Shape;6482;p53"/>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3" name="Google Shape;6483;p53"/>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4" name="Google Shape;6484;p53"/>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5" name="Google Shape;6485;p53"/>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6" name="Google Shape;6486;p53"/>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7" name="Google Shape;6487;p53"/>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8" name="Google Shape;6488;p53"/>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9" name="Google Shape;6489;p53"/>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0" name="Google Shape;6490;p53"/>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1" name="Google Shape;6491;p53"/>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2" name="Google Shape;6492;p53"/>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3" name="Google Shape;6493;p53"/>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4" name="Google Shape;6494;p53"/>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5" name="Google Shape;6495;p53"/>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6" name="Google Shape;6496;p53"/>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7" name="Google Shape;6497;p53"/>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8" name="Google Shape;6498;p53"/>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9" name="Google Shape;6499;p53"/>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0" name="Google Shape;6500;p53"/>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1" name="Google Shape;6501;p53"/>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2" name="Google Shape;6502;p53"/>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3" name="Google Shape;6503;p53"/>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4" name="Google Shape;6504;p53"/>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5" name="Google Shape;6505;p53"/>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6" name="Google Shape;6506;p53"/>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7" name="Google Shape;6507;p53"/>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8" name="Google Shape;6508;p53"/>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9" name="Google Shape;6509;p53"/>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0" name="Google Shape;6510;p53"/>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1" name="Google Shape;6511;p53"/>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2" name="Google Shape;6512;p53"/>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3" name="Google Shape;6513;p53"/>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4" name="Google Shape;6514;p53"/>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5" name="Google Shape;6515;p53"/>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6" name="Google Shape;6516;p53"/>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7" name="Google Shape;6517;p53"/>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8" name="Google Shape;6518;p53"/>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9" name="Google Shape;6519;p53"/>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0" name="Google Shape;6520;p53"/>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1" name="Google Shape;6521;p53"/>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2" name="Google Shape;6522;p53"/>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3" name="Google Shape;6523;p53"/>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4" name="Google Shape;6524;p53"/>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5" name="Google Shape;6525;p53"/>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6" name="Google Shape;6526;p53"/>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7" name="Google Shape;6527;p53"/>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8" name="Google Shape;6528;p53"/>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9" name="Google Shape;6529;p53"/>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0" name="Google Shape;6530;p53"/>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1" name="Google Shape;6531;p53"/>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2" name="Google Shape;6532;p53"/>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3" name="Google Shape;6533;p53"/>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4" name="Google Shape;6534;p53"/>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5" name="Google Shape;6535;p53"/>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6" name="Google Shape;6536;p53"/>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7" name="Google Shape;6537;p53"/>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8" name="Google Shape;6538;p53"/>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9" name="Google Shape;6539;p53"/>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0" name="Google Shape;6540;p53"/>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1" name="Google Shape;6541;p53"/>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2" name="Google Shape;6542;p53"/>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3" name="Google Shape;6543;p53"/>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4" name="Google Shape;6544;p53"/>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5" name="Google Shape;6545;p53"/>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6" name="Google Shape;6546;p53"/>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7" name="Google Shape;6547;p53"/>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8" name="Google Shape;6548;p53"/>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9" name="Google Shape;6549;p53"/>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0" name="Google Shape;6550;p53"/>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1" name="Google Shape;6551;p53"/>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2" name="Google Shape;6552;p53"/>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3" name="Google Shape;6553;p53"/>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4" name="Google Shape;6554;p53"/>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5" name="Google Shape;6555;p53"/>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6" name="Google Shape;6556;p53"/>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7" name="Google Shape;6557;p53"/>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8" name="Google Shape;6558;p53"/>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9" name="Google Shape;6559;p53"/>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0" name="Google Shape;6560;p53"/>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1" name="Google Shape;6561;p53"/>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2" name="Google Shape;6562;p53"/>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3" name="Google Shape;6563;p53"/>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4" name="Google Shape;6564;p53"/>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5" name="Google Shape;6565;p53"/>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6" name="Google Shape;6566;p53"/>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7" name="Google Shape;6567;p53"/>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8" name="Google Shape;6568;p53"/>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9" name="Google Shape;6569;p53"/>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0" name="Google Shape;6570;p53"/>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1" name="Google Shape;6571;p53"/>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2" name="Google Shape;6572;p53"/>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3" name="Google Shape;6573;p53"/>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4" name="Google Shape;6574;p53"/>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5" name="Google Shape;6575;p53"/>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6" name="Google Shape;6576;p53"/>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7" name="Google Shape;6577;p53"/>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8" name="Google Shape;6578;p53"/>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9" name="Google Shape;6579;p53"/>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0" name="Google Shape;6580;p53"/>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1" name="Google Shape;6581;p53"/>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2" name="Google Shape;6582;p53"/>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3" name="Google Shape;6583;p53"/>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4" name="Google Shape;6584;p53"/>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5" name="Google Shape;6585;p53"/>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6" name="Google Shape;6586;p53"/>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7" name="Google Shape;6587;p53"/>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8" name="Google Shape;6588;p53"/>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9" name="Google Shape;6589;p53"/>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0" name="Google Shape;6590;p53"/>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1" name="Google Shape;6591;p53"/>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2" name="Google Shape;6592;p53"/>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3" name="Google Shape;6593;p53"/>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4" name="Google Shape;6594;p53"/>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5" name="Google Shape;6595;p53"/>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6" name="Google Shape;6596;p53"/>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7" name="Google Shape;6597;p53"/>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8" name="Google Shape;6598;p53"/>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9" name="Google Shape;6599;p53"/>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0" name="Google Shape;6600;p53"/>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1" name="Google Shape;6601;p53"/>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2" name="Google Shape;6602;p53"/>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3" name="Google Shape;6603;p53"/>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4" name="Google Shape;6604;p53"/>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5" name="Google Shape;6605;p53"/>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6" name="Google Shape;6606;p53"/>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7" name="Google Shape;6607;p53"/>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8" name="Google Shape;6608;p53"/>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9" name="Google Shape;6609;p53"/>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0" name="Google Shape;6610;p53"/>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1" name="Google Shape;6611;p53"/>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2" name="Google Shape;6612;p53"/>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3" name="Google Shape;6613;p53"/>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4" name="Google Shape;6614;p53"/>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5" name="Google Shape;6615;p53"/>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6" name="Google Shape;6616;p53"/>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7" name="Google Shape;6617;p53"/>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8" name="Google Shape;6618;p53"/>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9" name="Google Shape;6619;p53"/>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0" name="Google Shape;6620;p53"/>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1" name="Google Shape;6621;p53"/>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2" name="Google Shape;6622;p53"/>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3" name="Google Shape;6623;p53"/>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4" name="Google Shape;6624;p53"/>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5" name="Google Shape;6625;p53"/>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6" name="Google Shape;6626;p53"/>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7" name="Google Shape;6627;p53"/>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8" name="Google Shape;6628;p53"/>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9" name="Google Shape;6629;p53"/>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0" name="Google Shape;6630;p53"/>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1" name="Google Shape;6631;p53"/>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2" name="Google Shape;6632;p53"/>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3" name="Google Shape;6633;p53"/>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4" name="Google Shape;6634;p53"/>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5" name="Google Shape;6635;p53"/>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6" name="Google Shape;6636;p53"/>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7" name="Google Shape;6637;p53"/>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8" name="Google Shape;6638;p53"/>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9" name="Google Shape;6639;p53"/>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0" name="Google Shape;6640;p53"/>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1" name="Google Shape;6641;p53"/>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2" name="Google Shape;6642;p53"/>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3" name="Google Shape;6643;p53"/>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4" name="Google Shape;6644;p53"/>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5" name="Google Shape;6645;p53"/>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6" name="Google Shape;6646;p53"/>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7" name="Google Shape;6647;p53"/>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8" name="Google Shape;6648;p53"/>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9" name="Google Shape;6649;p53"/>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0" name="Google Shape;6650;p53"/>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1" name="Google Shape;6651;p53"/>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2" name="Google Shape;6652;p53"/>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3" name="Google Shape;6653;p53"/>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4" name="Google Shape;6654;p53"/>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5" name="Google Shape;6655;p53"/>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6" name="Google Shape;6656;p53"/>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7" name="Google Shape;6657;p53"/>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8" name="Google Shape;6658;p53"/>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9" name="Google Shape;6659;p53"/>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0" name="Google Shape;6660;p53"/>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1" name="Google Shape;6661;p53"/>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2" name="Google Shape;6662;p53"/>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3" name="Google Shape;6663;p53"/>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4" name="Google Shape;6664;p53"/>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5" name="Google Shape;6665;p53"/>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6" name="Google Shape;6666;p53"/>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7" name="Google Shape;6667;p53"/>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8" name="Google Shape;6668;p53"/>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9" name="Google Shape;6669;p53"/>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0" name="Google Shape;6670;p53"/>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1" name="Google Shape;6671;p53"/>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2" name="Google Shape;6672;p53"/>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3" name="Google Shape;6673;p53"/>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4" name="Google Shape;6674;p53"/>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5" name="Google Shape;6675;p53"/>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6" name="Google Shape;6676;p53"/>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7" name="Google Shape;6677;p53"/>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8" name="Google Shape;6678;p53"/>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9" name="Google Shape;6679;p53"/>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0" name="Google Shape;6680;p53"/>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1" name="Google Shape;6681;p53"/>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2" name="Google Shape;6682;p53"/>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3" name="Google Shape;6683;p53"/>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4" name="Google Shape;6684;p53"/>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5" name="Google Shape;6685;p53"/>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6" name="Google Shape;6686;p53"/>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7" name="Google Shape;6687;p53"/>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8" name="Google Shape;6688;p53"/>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9" name="Google Shape;6689;p53"/>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0" name="Google Shape;6690;p53"/>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1" name="Google Shape;6691;p53"/>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2" name="Google Shape;6692;p53"/>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3" name="Google Shape;6693;p53"/>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4" name="Google Shape;6694;p53"/>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5" name="Google Shape;6695;p53"/>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6" name="Google Shape;6696;p53"/>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7" name="Google Shape;6697;p53"/>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8" name="Google Shape;6698;p53"/>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9" name="Google Shape;6699;p53"/>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0" name="Google Shape;6700;p53"/>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1" name="Google Shape;6701;p53"/>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2" name="Google Shape;6702;p53"/>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3" name="Google Shape;6703;p53"/>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4" name="Google Shape;6704;p53"/>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5" name="Google Shape;6705;p53"/>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6" name="Google Shape;6706;p53"/>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7" name="Google Shape;6707;p53"/>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8" name="Google Shape;6708;p53"/>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9" name="Google Shape;6709;p53"/>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0" name="Google Shape;6710;p53"/>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1" name="Google Shape;6711;p53"/>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2" name="Google Shape;6712;p53"/>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3" name="Google Shape;6713;p53"/>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4" name="Google Shape;6714;p53"/>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5" name="Google Shape;6715;p53"/>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6" name="Google Shape;6716;p53"/>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7" name="Google Shape;6717;p53"/>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8" name="Google Shape;6718;p53"/>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9" name="Google Shape;6719;p53"/>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0" name="Google Shape;6720;p53"/>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1" name="Google Shape;6721;p53"/>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2" name="Google Shape;6722;p53"/>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3" name="Google Shape;6723;p53"/>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4" name="Google Shape;6724;p53"/>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5" name="Google Shape;6725;p53"/>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6" name="Google Shape;6726;p53"/>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7" name="Google Shape;6727;p53"/>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8" name="Google Shape;6728;p53"/>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9" name="Google Shape;6729;p53"/>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0" name="Google Shape;6730;p53"/>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1" name="Google Shape;6731;p53"/>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2" name="Google Shape;6732;p53"/>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3" name="Google Shape;6733;p53"/>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4" name="Google Shape;6734;p53"/>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5" name="Google Shape;6735;p53"/>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6" name="Google Shape;6736;p53"/>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7" name="Google Shape;6737;p53"/>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8" name="Google Shape;6738;p53"/>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9" name="Google Shape;6739;p53"/>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0" name="Google Shape;6740;p53"/>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1" name="Google Shape;6741;p53"/>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2" name="Google Shape;6742;p53"/>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3" name="Google Shape;6743;p53"/>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4" name="Google Shape;6744;p53"/>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5" name="Google Shape;6745;p53"/>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6" name="Google Shape;6746;p53"/>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7" name="Google Shape;6747;p53"/>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8" name="Google Shape;6748;p53"/>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9" name="Google Shape;6749;p53"/>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0" name="Google Shape;6750;p53"/>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1" name="Google Shape;6751;p53"/>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2" name="Google Shape;6752;p53"/>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3" name="Google Shape;6753;p53"/>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4" name="Google Shape;6754;p53"/>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5" name="Google Shape;6755;p53"/>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6" name="Google Shape;6756;p53"/>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7" name="Google Shape;6757;p53"/>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8" name="Google Shape;6758;p53"/>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9" name="Google Shape;6759;p53"/>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0" name="Google Shape;6760;p53"/>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1" name="Google Shape;6761;p53"/>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2" name="Google Shape;6762;p53"/>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3" name="Google Shape;6763;p53"/>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4" name="Google Shape;6764;p53"/>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5" name="Google Shape;6765;p53"/>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6" name="Google Shape;6766;p53"/>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7" name="Google Shape;6767;p53"/>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8" name="Google Shape;6768;p53"/>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9" name="Google Shape;6769;p53"/>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0" name="Google Shape;6770;p53"/>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1" name="Google Shape;6771;p53"/>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2" name="Google Shape;6772;p53"/>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3" name="Google Shape;6773;p53"/>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4" name="Google Shape;6774;p53"/>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5" name="Google Shape;6775;p53"/>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6" name="Google Shape;6776;p53"/>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7" name="Google Shape;6777;p53"/>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8" name="Google Shape;6778;p53"/>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9" name="Google Shape;6779;p53"/>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0" name="Google Shape;6780;p53"/>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1" name="Google Shape;6781;p53"/>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2" name="Google Shape;6782;p53"/>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3" name="Google Shape;6783;p53"/>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4" name="Google Shape;6784;p53"/>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5" name="Google Shape;6785;p53"/>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6" name="Google Shape;6786;p53"/>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7" name="Google Shape;6787;p53"/>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8" name="Google Shape;6788;p53"/>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9" name="Google Shape;6789;p53"/>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0" name="Google Shape;6790;p53"/>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1" name="Google Shape;6791;p53"/>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2" name="Google Shape;6792;p53"/>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3" name="Google Shape;6793;p53"/>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4" name="Google Shape;6794;p53"/>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5" name="Google Shape;6795;p53"/>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6" name="Google Shape;6796;p53"/>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7" name="Google Shape;6797;p53"/>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8" name="Google Shape;6798;p53"/>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9" name="Google Shape;6799;p53"/>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0" name="Google Shape;6800;p53"/>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1" name="Google Shape;6801;p53"/>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2" name="Google Shape;6802;p53"/>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3" name="Google Shape;6803;p53"/>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4" name="Google Shape;6804;p53"/>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5" name="Google Shape;6805;p53"/>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6" name="Google Shape;6806;p53"/>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7" name="Google Shape;6807;p53"/>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8" name="Google Shape;6808;p53"/>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9" name="Google Shape;6809;p53"/>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0" name="Google Shape;6810;p53"/>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1" name="Google Shape;6811;p53"/>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2" name="Google Shape;6812;p53"/>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3" name="Google Shape;6813;p53"/>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4" name="Google Shape;6814;p53"/>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5" name="Google Shape;6815;p53"/>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6" name="Google Shape;6816;p53"/>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7" name="Google Shape;6817;p53"/>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8" name="Google Shape;6818;p53"/>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9" name="Google Shape;6819;p53"/>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0" name="Google Shape;6820;p53"/>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1" name="Google Shape;6821;p53"/>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2" name="Google Shape;6822;p53"/>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3" name="Google Shape;6823;p53"/>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4" name="Google Shape;6824;p53"/>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5" name="Google Shape;6825;p53"/>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6" name="Google Shape;6826;p53"/>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7" name="Google Shape;6827;p53"/>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8" name="Google Shape;6828;p53"/>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9" name="Google Shape;6829;p53"/>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0" name="Google Shape;6830;p53"/>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1" name="Google Shape;6831;p53"/>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2" name="Google Shape;6832;p53"/>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3" name="Google Shape;6833;p53"/>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4" name="Google Shape;6834;p53"/>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5" name="Google Shape;6835;p53"/>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6" name="Google Shape;6836;p53"/>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7" name="Google Shape;6837;p53"/>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8" name="Google Shape;6838;p53"/>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9" name="Google Shape;6839;p53"/>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0" name="Google Shape;6840;p53"/>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1" name="Google Shape;6841;p53"/>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2" name="Google Shape;6842;p53"/>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3" name="Google Shape;6843;p53"/>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4" name="Google Shape;6844;p53"/>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5" name="Google Shape;6845;p53"/>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6" name="Google Shape;6846;p53"/>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7" name="Google Shape;6847;p53"/>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8" name="Google Shape;6848;p53"/>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9" name="Google Shape;6849;p53"/>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0" name="Google Shape;6850;p53"/>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1" name="Google Shape;6851;p53"/>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2" name="Google Shape;6852;p53"/>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3" name="Google Shape;6853;p53"/>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4" name="Google Shape;6854;p53"/>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5" name="Google Shape;6855;p53"/>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6" name="Google Shape;6856;p53"/>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7" name="Google Shape;6857;p53"/>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8" name="Google Shape;6858;p53"/>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9" name="Google Shape;6859;p53"/>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0" name="Google Shape;6860;p53"/>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1" name="Google Shape;6861;p53"/>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2" name="Google Shape;6862;p53"/>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3" name="Google Shape;6863;p53"/>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4" name="Google Shape;6864;p53"/>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5" name="Google Shape;6865;p53"/>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6" name="Google Shape;6866;p53"/>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7" name="Google Shape;6867;p53"/>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8" name="Google Shape;6868;p53"/>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9" name="Google Shape;6869;p53"/>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0" name="Google Shape;6870;p53"/>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1" name="Google Shape;6871;p53"/>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2" name="Google Shape;6872;p53"/>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3" name="Google Shape;6873;p53"/>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4" name="Google Shape;6874;p53"/>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5" name="Google Shape;6875;p53"/>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6" name="Google Shape;6876;p53"/>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7" name="Google Shape;6877;p53"/>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8" name="Google Shape;6878;p53"/>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9" name="Google Shape;6879;p53"/>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0" name="Google Shape;6880;p53"/>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1" name="Google Shape;6881;p53"/>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2" name="Google Shape;6882;p53"/>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3" name="Google Shape;6883;p53"/>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4" name="Google Shape;6884;p53"/>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5" name="Google Shape;6885;p53"/>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6" name="Google Shape;6886;p53"/>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7" name="Google Shape;6887;p53"/>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8" name="Google Shape;6888;p53"/>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9" name="Google Shape;6889;p53"/>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0" name="Google Shape;6890;p53"/>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1" name="Google Shape;6891;p53"/>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2" name="Google Shape;6892;p53"/>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3" name="Google Shape;6893;p53"/>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4" name="Google Shape;6894;p53"/>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5" name="Google Shape;6895;p53"/>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6" name="Google Shape;6896;p53"/>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7" name="Google Shape;6897;p53"/>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8" name="Google Shape;6898;p53"/>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9" name="Google Shape;6899;p53"/>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0" name="Google Shape;6900;p53"/>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1" name="Google Shape;6901;p53"/>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2" name="Google Shape;6902;p53"/>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3" name="Google Shape;6903;p53"/>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4" name="Google Shape;6904;p53"/>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5" name="Google Shape;6905;p53"/>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6" name="Google Shape;6906;p53"/>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7" name="Google Shape;6907;p53"/>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8" name="Google Shape;6908;p53"/>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9" name="Google Shape;6909;p53"/>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0" name="Google Shape;6910;p53"/>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1" name="Google Shape;6911;p53"/>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2" name="Google Shape;6912;p53"/>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3" name="Google Shape;6913;p53"/>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4" name="Google Shape;6914;p53"/>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5" name="Google Shape;6915;p53"/>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6" name="Google Shape;6916;p53"/>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7" name="Google Shape;6917;p53"/>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8" name="Google Shape;6918;p53"/>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9" name="Google Shape;6919;p53"/>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0" name="Google Shape;6920;p53"/>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1" name="Google Shape;6921;p53"/>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2" name="Google Shape;6922;p53"/>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3" name="Google Shape;6923;p53"/>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4" name="Google Shape;6924;p53"/>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5" name="Google Shape;6925;p53"/>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6" name="Google Shape;6926;p53"/>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7" name="Google Shape;6927;p53"/>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8" name="Google Shape;6928;p53"/>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9" name="Google Shape;6929;p53"/>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0" name="Google Shape;6930;p53"/>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1" name="Google Shape;6931;p53"/>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2" name="Google Shape;6932;p53"/>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3" name="Google Shape;6933;p53"/>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4" name="Google Shape;6934;p53"/>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5" name="Google Shape;6935;p53"/>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6" name="Google Shape;6936;p53"/>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7" name="Google Shape;6937;p53"/>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8" name="Google Shape;6938;p53"/>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9" name="Google Shape;6939;p53"/>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0" name="Google Shape;6940;p53"/>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1" name="Google Shape;6941;p53"/>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2" name="Google Shape;6942;p53"/>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3" name="Google Shape;6943;p53"/>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4" name="Google Shape;6944;p53"/>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5" name="Google Shape;6945;p53"/>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6" name="Google Shape;6946;p53"/>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7" name="Google Shape;6947;p53"/>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8" name="Google Shape;6948;p53"/>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9" name="Google Shape;6949;p53"/>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0" name="Google Shape;6950;p53"/>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1" name="Google Shape;6951;p53"/>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2" name="Google Shape;6952;p53"/>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3" name="Google Shape;6953;p53"/>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4" name="Google Shape;6954;p53"/>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5" name="Google Shape;6955;p53"/>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6" name="Google Shape;6956;p53"/>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7" name="Google Shape;6957;p53"/>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8" name="Google Shape;6958;p53"/>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9" name="Google Shape;6959;p53"/>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0" name="Google Shape;6960;p53"/>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1" name="Google Shape;6961;p53"/>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2" name="Google Shape;6962;p53"/>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3" name="Google Shape;6963;p53"/>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4" name="Google Shape;6964;p53"/>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5" name="Google Shape;6965;p53"/>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6" name="Google Shape;6966;p53"/>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7" name="Google Shape;6967;p53"/>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8" name="Google Shape;6968;p53"/>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9" name="Google Shape;6969;p53"/>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0" name="Google Shape;6970;p53"/>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1" name="Google Shape;6971;p53"/>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2" name="Google Shape;6972;p53"/>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3" name="Google Shape;6973;p53"/>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4" name="Google Shape;6974;p53"/>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5" name="Google Shape;6975;p53"/>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6" name="Google Shape;6976;p53"/>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7" name="Google Shape;6977;p53"/>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8" name="Google Shape;6978;p53"/>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9" name="Google Shape;6979;p53"/>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0" name="Google Shape;6980;p53"/>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1" name="Google Shape;6981;p53"/>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2" name="Google Shape;6982;p53"/>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3" name="Google Shape;6983;p53"/>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4" name="Google Shape;6984;p53"/>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5" name="Google Shape;6985;p53"/>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6" name="Google Shape;6986;p53"/>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7" name="Google Shape;6987;p53"/>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8" name="Google Shape;6988;p53"/>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9" name="Google Shape;6989;p53"/>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0" name="Google Shape;6990;p53"/>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1" name="Google Shape;6991;p53"/>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2" name="Google Shape;6992;p53"/>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3" name="Google Shape;6993;p53"/>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4" name="Google Shape;6994;p53"/>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5" name="Google Shape;6995;p53"/>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6" name="Google Shape;6996;p53"/>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7" name="Google Shape;6997;p53"/>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8" name="Google Shape;6998;p53"/>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9" name="Google Shape;6999;p53"/>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0" name="Google Shape;7000;p53"/>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1" name="Google Shape;7001;p53"/>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2" name="Google Shape;7002;p53"/>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3" name="Google Shape;7003;p53"/>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4" name="Google Shape;7004;p53"/>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5" name="Google Shape;7005;p53"/>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6" name="Google Shape;7006;p53"/>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7" name="Google Shape;7007;p53"/>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8" name="Google Shape;7008;p53"/>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9" name="Google Shape;7009;p53"/>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0" name="Google Shape;7010;p53"/>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1" name="Google Shape;7011;p53"/>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2" name="Google Shape;7012;p53"/>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3" name="Google Shape;7013;p53"/>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4" name="Google Shape;7014;p53"/>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5" name="Google Shape;7015;p53"/>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6" name="Google Shape;7016;p53"/>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7" name="Google Shape;7017;p53"/>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8" name="Google Shape;7018;p53"/>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9" name="Google Shape;7019;p53"/>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0" name="Google Shape;7020;p53"/>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1" name="Google Shape;7021;p53"/>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2" name="Google Shape;7022;p53"/>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3" name="Google Shape;7023;p53"/>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4" name="Google Shape;7024;p53"/>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5" name="Google Shape;7025;p53"/>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6" name="Google Shape;7026;p53"/>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7" name="Google Shape;7027;p53"/>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8" name="Google Shape;7028;p53"/>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9" name="Google Shape;7029;p53"/>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0" name="Google Shape;7030;p53"/>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1" name="Google Shape;7031;p53"/>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2" name="Google Shape;7032;p53"/>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3" name="Google Shape;7033;p53"/>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4" name="Google Shape;7034;p53"/>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5" name="Google Shape;7035;p53"/>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6" name="Google Shape;7036;p53"/>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7" name="Google Shape;7037;p53"/>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8" name="Google Shape;7038;p53"/>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9" name="Google Shape;7039;p53"/>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0" name="Google Shape;7040;p53"/>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1" name="Google Shape;7041;p53"/>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2" name="Google Shape;7042;p53"/>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3" name="Google Shape;7043;p53"/>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4" name="Google Shape;7044;p53"/>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5" name="Google Shape;7045;p53"/>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6" name="Google Shape;7046;p53"/>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7" name="Google Shape;7047;p53"/>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8" name="Google Shape;7048;p53"/>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9" name="Google Shape;7049;p53"/>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0" name="Google Shape;7050;p53"/>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1" name="Google Shape;7051;p53"/>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2" name="Google Shape;7052;p53"/>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3" name="Google Shape;7053;p53"/>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4" name="Google Shape;7054;p53"/>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5" name="Google Shape;7055;p53"/>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6" name="Google Shape;7056;p53"/>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7" name="Google Shape;7057;p53"/>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8" name="Google Shape;7058;p53"/>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9" name="Google Shape;7059;p53"/>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0" name="Google Shape;7060;p53"/>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1" name="Google Shape;7061;p53"/>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2" name="Google Shape;7062;p53"/>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3" name="Google Shape;7063;p53"/>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4" name="Google Shape;7064;p53"/>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5" name="Google Shape;7065;p53"/>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6" name="Google Shape;7066;p53"/>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7" name="Google Shape;7067;p53"/>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8" name="Google Shape;7068;p53"/>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9" name="Google Shape;7069;p53"/>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0" name="Google Shape;7070;p53"/>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1" name="Google Shape;7071;p53"/>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2" name="Google Shape;7072;p53"/>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3" name="Google Shape;7073;p53"/>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4" name="Google Shape;7074;p53"/>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5" name="Google Shape;7075;p53"/>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6" name="Google Shape;7076;p53"/>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7" name="Google Shape;7077;p53"/>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8" name="Google Shape;7078;p53"/>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9" name="Google Shape;7079;p53"/>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0" name="Google Shape;7080;p53"/>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1" name="Google Shape;7081;p53"/>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2" name="Google Shape;7082;p53"/>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3" name="Google Shape;7083;p53"/>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4" name="Google Shape;7084;p53"/>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5" name="Google Shape;7085;p53"/>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6" name="Google Shape;7086;p53"/>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7" name="Google Shape;7087;p53"/>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8" name="Google Shape;7088;p53"/>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9" name="Google Shape;7089;p53"/>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0" name="Google Shape;7090;p53"/>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1" name="Google Shape;7091;p53"/>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2" name="Google Shape;7092;p53"/>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3" name="Google Shape;7093;p53"/>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4" name="Google Shape;7094;p53"/>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5" name="Google Shape;7095;p53"/>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6" name="Google Shape;7096;p53"/>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7" name="Google Shape;7097;p53"/>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8" name="Google Shape;7098;p53"/>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9" name="Google Shape;7099;p53"/>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0" name="Google Shape;7100;p53"/>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1" name="Google Shape;7101;p53"/>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2" name="Google Shape;7102;p53"/>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3" name="Google Shape;7103;p53"/>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4" name="Google Shape;7104;p53"/>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5" name="Google Shape;7105;p53"/>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6" name="Google Shape;7106;p53"/>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7" name="Google Shape;7107;p53"/>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8" name="Google Shape;7108;p53"/>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9" name="Google Shape;7109;p53"/>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0" name="Google Shape;7110;p53"/>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1" name="Google Shape;7111;p53"/>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2" name="Google Shape;7112;p53"/>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3" name="Google Shape;7113;p53"/>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4" name="Google Shape;7114;p53"/>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5" name="Google Shape;7115;p53"/>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6" name="Google Shape;7116;p53"/>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7" name="Google Shape;7117;p53"/>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8" name="Google Shape;7118;p53"/>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9" name="Google Shape;7119;p53"/>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0" name="Google Shape;7120;p53"/>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1" name="Google Shape;7121;p53"/>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2" name="Google Shape;7122;p53"/>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3" name="Google Shape;7123;p53"/>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4" name="Google Shape;7124;p53"/>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5" name="Google Shape;7125;p53"/>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6" name="Google Shape;7126;p53"/>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7" name="Google Shape;7127;p53"/>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8" name="Google Shape;7128;p53"/>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9" name="Google Shape;7129;p53"/>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0" name="Google Shape;7130;p53"/>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1" name="Google Shape;7131;p53"/>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2" name="Google Shape;7132;p53"/>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3" name="Google Shape;7133;p53"/>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4" name="Google Shape;7134;p53"/>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5" name="Google Shape;7135;p53"/>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6" name="Google Shape;7136;p53"/>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7" name="Google Shape;7137;p53"/>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8" name="Google Shape;7138;p53"/>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9" name="Google Shape;7139;p53"/>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0" name="Google Shape;7140;p53"/>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1" name="Google Shape;7141;p53"/>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2" name="Google Shape;7142;p53"/>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3" name="Google Shape;7143;p53"/>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4" name="Google Shape;7144;p53"/>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5" name="Google Shape;7145;p53"/>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6" name="Google Shape;7146;p53"/>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7" name="Google Shape;7147;p53"/>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8" name="Google Shape;7148;p53"/>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9" name="Google Shape;7149;p53"/>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0" name="Google Shape;7150;p53"/>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1" name="Google Shape;7151;p53"/>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2" name="Google Shape;7152;p53"/>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3" name="Google Shape;7153;p53"/>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4" name="Google Shape;7154;p53"/>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5" name="Google Shape;7155;p53"/>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6" name="Google Shape;7156;p53"/>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7" name="Google Shape;7157;p53"/>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8" name="Google Shape;7158;p53"/>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9" name="Google Shape;7159;p53"/>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0" name="Google Shape;7160;p53"/>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1" name="Google Shape;7161;p53"/>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2" name="Google Shape;7162;p53"/>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3" name="Google Shape;7163;p53"/>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4" name="Google Shape;7164;p53"/>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5" name="Google Shape;7165;p53"/>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6" name="Google Shape;7166;p53"/>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7" name="Google Shape;7167;p53"/>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8" name="Google Shape;7168;p53"/>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9" name="Google Shape;7169;p53"/>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0" name="Google Shape;7170;p53"/>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1" name="Google Shape;7171;p53"/>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2" name="Google Shape;7172;p53"/>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3" name="Google Shape;7173;p53"/>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4" name="Google Shape;7174;p53"/>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5" name="Google Shape;7175;p53"/>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6" name="Google Shape;7176;p53"/>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7" name="Google Shape;7177;p53"/>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8" name="Google Shape;7178;p53"/>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9" name="Google Shape;7179;p53"/>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0" name="Google Shape;7180;p53"/>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1" name="Google Shape;7181;p53"/>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2" name="Google Shape;7182;p53"/>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3" name="Google Shape;7183;p53"/>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4" name="Google Shape;7184;p53"/>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5" name="Google Shape;7185;p53"/>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6" name="Google Shape;7186;p53"/>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7" name="Google Shape;7187;p53"/>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8" name="Google Shape;7188;p53"/>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9" name="Google Shape;7189;p53"/>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0" name="Google Shape;7190;p53"/>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1" name="Google Shape;7191;p53"/>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2" name="Google Shape;7192;p53"/>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3" name="Google Shape;7193;p53"/>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4" name="Google Shape;7194;p53"/>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5" name="Google Shape;7195;p53"/>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6" name="Google Shape;7196;p53"/>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7" name="Google Shape;7197;p53"/>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8" name="Google Shape;7198;p53"/>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9" name="Google Shape;7199;p53"/>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0" name="Google Shape;7200;p53"/>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1" name="Google Shape;7201;p53"/>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2" name="Google Shape;7202;p53"/>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3" name="Google Shape;7203;p53"/>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4" name="Google Shape;7204;p53"/>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5" name="Google Shape;7205;p53"/>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6" name="Google Shape;7206;p53"/>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7" name="Google Shape;7207;p53"/>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8" name="Google Shape;7208;p53"/>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9" name="Google Shape;7209;p53"/>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0" name="Google Shape;7210;p53"/>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1" name="Google Shape;7211;p53"/>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2" name="Google Shape;7212;p53"/>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3" name="Google Shape;7213;p53"/>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4" name="Google Shape;7214;p53"/>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5" name="Google Shape;7215;p53"/>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6" name="Google Shape;7216;p53"/>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7" name="Google Shape;7217;p53"/>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8" name="Google Shape;7218;p53"/>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9" name="Google Shape;7219;p53"/>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0" name="Google Shape;7220;p53"/>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1" name="Google Shape;7221;p53"/>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2" name="Google Shape;7222;p53"/>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3" name="Google Shape;7223;p53"/>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4" name="Google Shape;7224;p53"/>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5" name="Google Shape;7225;p53"/>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6" name="Google Shape;7226;p53"/>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7" name="Google Shape;7227;p53"/>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8" name="Google Shape;7228;p53"/>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9" name="Google Shape;7229;p53"/>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0" name="Google Shape;7230;p53"/>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1" name="Google Shape;7231;p53"/>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2" name="Google Shape;7232;p53"/>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3" name="Google Shape;7233;p53"/>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4" name="Google Shape;7234;p53"/>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5" name="Google Shape;7235;p53"/>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6" name="Google Shape;7236;p53"/>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7" name="Google Shape;7237;p53"/>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8" name="Google Shape;7238;p53"/>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9" name="Google Shape;7239;p53"/>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0" name="Google Shape;7240;p53"/>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1" name="Google Shape;7241;p53"/>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2" name="Google Shape;7242;p53"/>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3" name="Google Shape;7243;p53"/>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4" name="Google Shape;7244;p53"/>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5" name="Google Shape;7245;p53"/>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6" name="Google Shape;7246;p53"/>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7" name="Google Shape;7247;p53"/>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8" name="Google Shape;7248;p53"/>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9" name="Google Shape;7249;p53"/>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0" name="Google Shape;7250;p53"/>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1" name="Google Shape;7251;p53"/>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2" name="Google Shape;7252;p53"/>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3" name="Google Shape;7253;p53"/>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4" name="Google Shape;7254;p53"/>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5" name="Google Shape;7255;p53"/>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6" name="Google Shape;7256;p53"/>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7" name="Google Shape;7257;p53"/>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8" name="Google Shape;7258;p53"/>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9" name="Google Shape;7259;p53"/>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0" name="Google Shape;7260;p53"/>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1" name="Google Shape;7261;p53"/>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2" name="Google Shape;7262;p53"/>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3" name="Google Shape;7263;p53"/>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4" name="Google Shape;7264;p53"/>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5" name="Google Shape;7265;p53"/>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6" name="Google Shape;7266;p53"/>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7" name="Google Shape;7267;p53"/>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8" name="Google Shape;7268;p53"/>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9" name="Google Shape;7269;p53"/>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0" name="Google Shape;7270;p53"/>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1" name="Google Shape;7271;p53"/>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2" name="Google Shape;7272;p53"/>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3" name="Google Shape;7273;p53"/>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4" name="Google Shape;7274;p53"/>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5" name="Google Shape;7275;p53"/>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6" name="Google Shape;7276;p53"/>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7" name="Google Shape;7277;p53"/>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8" name="Google Shape;7278;p53"/>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9" name="Google Shape;7279;p53"/>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0" name="Google Shape;7280;p53"/>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1" name="Google Shape;7281;p53"/>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2" name="Google Shape;7282;p53"/>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3" name="Google Shape;7283;p53"/>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4" name="Google Shape;7284;p53"/>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5" name="Google Shape;7285;p53"/>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6" name="Google Shape;7286;p53"/>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7" name="Google Shape;7287;p53"/>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8" name="Google Shape;7288;p53"/>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9" name="Google Shape;7289;p53"/>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0" name="Google Shape;7290;p53"/>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1" name="Google Shape;7291;p53"/>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2" name="Google Shape;7292;p53"/>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3" name="Google Shape;7293;p53"/>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4" name="Google Shape;7294;p53"/>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5" name="Google Shape;7295;p53"/>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6" name="Google Shape;7296;p53"/>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7" name="Google Shape;7297;p53"/>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8" name="Google Shape;7298;p53"/>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9" name="Google Shape;7299;p53"/>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0" name="Google Shape;7300;p53"/>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1" name="Google Shape;7301;p53"/>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2" name="Google Shape;7302;p53"/>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3" name="Google Shape;7303;p53"/>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4" name="Google Shape;7304;p53"/>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5" name="Google Shape;7305;p53"/>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6" name="Google Shape;7306;p53"/>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7" name="Google Shape;7307;p53"/>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8" name="Google Shape;7308;p53"/>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9" name="Google Shape;7309;p53"/>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0" name="Google Shape;7310;p53"/>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1" name="Google Shape;7311;p53"/>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2" name="Google Shape;7312;p53"/>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3" name="Google Shape;7313;p53"/>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4" name="Google Shape;7314;p53"/>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5" name="Google Shape;7315;p53"/>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6" name="Google Shape;7316;p53"/>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7" name="Google Shape;7317;p53"/>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8" name="Google Shape;7318;p53"/>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9" name="Google Shape;7319;p53"/>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0" name="Google Shape;7320;p53"/>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1" name="Google Shape;7321;p53"/>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2" name="Google Shape;7322;p53"/>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3" name="Google Shape;7323;p53"/>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4" name="Google Shape;7324;p53"/>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5" name="Google Shape;7325;p53"/>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6" name="Google Shape;7326;p53"/>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7" name="Google Shape;7327;p53"/>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8" name="Google Shape;7328;p53"/>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9" name="Google Shape;7329;p53"/>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0" name="Google Shape;7330;p53"/>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1" name="Google Shape;7331;p53"/>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2" name="Google Shape;7332;p53"/>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3" name="Google Shape;7333;p53"/>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4" name="Google Shape;7334;p53"/>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5" name="Google Shape;7335;p53"/>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6" name="Google Shape;7336;p53"/>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7" name="Google Shape;7337;p53"/>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8" name="Google Shape;7338;p53"/>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9" name="Google Shape;7339;p53"/>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0" name="Google Shape;7340;p53"/>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1" name="Google Shape;7341;p53"/>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2" name="Google Shape;7342;p53"/>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3" name="Google Shape;7343;p53"/>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4" name="Google Shape;7344;p53"/>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5" name="Google Shape;7345;p53"/>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6" name="Google Shape;7346;p53"/>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7" name="Google Shape;7347;p53"/>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8" name="Google Shape;7348;p53"/>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9" name="Google Shape;7349;p53"/>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0" name="Google Shape;7350;p53"/>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1" name="Google Shape;7351;p53"/>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2" name="Google Shape;7352;p53"/>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3" name="Google Shape;7353;p53"/>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4" name="Google Shape;7354;p53"/>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5" name="Google Shape;7355;p53"/>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6" name="Google Shape;7356;p53"/>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7" name="Google Shape;7357;p53"/>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8" name="Google Shape;7358;p53"/>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9" name="Google Shape;7359;p53"/>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0" name="Google Shape;7360;p53"/>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1" name="Google Shape;7361;p53"/>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2" name="Google Shape;7362;p53"/>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3" name="Google Shape;7363;p53"/>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4" name="Google Shape;7364;p53"/>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5" name="Google Shape;7365;p53"/>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6" name="Google Shape;7366;p53"/>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7" name="Google Shape;7367;p53"/>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8" name="Google Shape;7368;p53"/>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9" name="Google Shape;7369;p53"/>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0" name="Google Shape;7370;p53"/>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1" name="Google Shape;7371;p53"/>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2" name="Google Shape;7372;p53"/>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3" name="Google Shape;7373;p53"/>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4" name="Google Shape;7374;p53"/>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5" name="Google Shape;7375;p53"/>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6" name="Google Shape;7376;p53"/>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7" name="Google Shape;7377;p53"/>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8" name="Google Shape;7378;p53"/>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9" name="Google Shape;7379;p53"/>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0" name="Google Shape;7380;p53"/>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1" name="Google Shape;7381;p53"/>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2" name="Google Shape;7382;p53"/>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3" name="Google Shape;7383;p53"/>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4" name="Google Shape;7384;p53"/>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5" name="Google Shape;7385;p53"/>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6" name="Google Shape;7386;p53"/>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7" name="Google Shape;7387;p53"/>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8" name="Google Shape;7388;p53"/>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9" name="Google Shape;7389;p53"/>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0" name="Google Shape;7390;p53"/>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1" name="Google Shape;7391;p53"/>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2" name="Google Shape;7392;p53"/>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3" name="Google Shape;7393;p53"/>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4" name="Google Shape;7394;p53"/>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5" name="Google Shape;7395;p53"/>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6" name="Google Shape;7396;p53"/>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7" name="Google Shape;7397;p53"/>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8" name="Google Shape;7398;p53"/>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9" name="Google Shape;7399;p53"/>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0" name="Google Shape;7400;p53"/>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1" name="Google Shape;7401;p53"/>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2" name="Google Shape;7402;p53"/>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3" name="Google Shape;7403;p53"/>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4" name="Google Shape;7404;p53"/>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5" name="Google Shape;7405;p53"/>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6" name="Google Shape;7406;p53"/>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7" name="Google Shape;7407;p53"/>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8" name="Google Shape;7408;p53"/>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9" name="Google Shape;7409;p53"/>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0" name="Google Shape;7410;p53"/>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1" name="Google Shape;7411;p53"/>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2" name="Google Shape;7412;p53"/>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3" name="Google Shape;7413;p53"/>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4" name="Google Shape;7414;p53"/>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5" name="Google Shape;7415;p53"/>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6" name="Google Shape;7416;p53"/>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7" name="Google Shape;7417;p53"/>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8" name="Google Shape;7418;p53"/>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9" name="Google Shape;7419;p53"/>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0" name="Google Shape;7420;p53"/>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1" name="Google Shape;7421;p53"/>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2" name="Google Shape;7422;p53"/>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3" name="Google Shape;7423;p53"/>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4" name="Google Shape;7424;p53"/>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5" name="Google Shape;7425;p53"/>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6" name="Google Shape;7426;p53"/>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7" name="Google Shape;7427;p53"/>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8" name="Google Shape;7428;p53"/>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9" name="Google Shape;7429;p53"/>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0" name="Google Shape;7430;p53"/>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1" name="Google Shape;7431;p53"/>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2" name="Google Shape;7432;p53"/>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3" name="Google Shape;7433;p53"/>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4" name="Google Shape;7434;p53"/>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5" name="Google Shape;7435;p53"/>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6" name="Google Shape;7436;p53"/>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7" name="Google Shape;7437;p53"/>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8" name="Google Shape;7438;p53"/>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9" name="Google Shape;7439;p53"/>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0" name="Google Shape;7440;p53"/>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1" name="Google Shape;7441;p53"/>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2" name="Google Shape;7442;p53"/>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3" name="Google Shape;7443;p53"/>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4" name="Google Shape;7444;p53"/>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5" name="Google Shape;7445;p53"/>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6" name="Google Shape;7446;p53"/>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7" name="Google Shape;7447;p53"/>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8" name="Google Shape;7448;p53"/>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9" name="Google Shape;7449;p53"/>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0" name="Google Shape;7450;p53"/>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1" name="Google Shape;7451;p53"/>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2" name="Google Shape;7452;p53"/>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3" name="Google Shape;7453;p53"/>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4" name="Google Shape;7454;p53"/>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5" name="Google Shape;7455;p53"/>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6" name="Google Shape;7456;p53"/>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7" name="Google Shape;7457;p53"/>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8" name="Google Shape;7458;p53"/>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9" name="Google Shape;7459;p53"/>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0" name="Google Shape;7460;p53"/>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1" name="Google Shape;7461;p53"/>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2" name="Google Shape;7462;p53"/>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3" name="Google Shape;7463;p53"/>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4" name="Google Shape;7464;p53"/>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5" name="Google Shape;7465;p53"/>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6" name="Google Shape;7466;p53"/>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7" name="Google Shape;7467;p53"/>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8" name="Google Shape;7468;p53"/>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9" name="Google Shape;7469;p53"/>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0" name="Google Shape;7470;p53"/>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1" name="Google Shape;7471;p53"/>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2" name="Google Shape;7472;p53"/>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3" name="Google Shape;7473;p53"/>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4" name="Google Shape;7474;p53"/>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5" name="Google Shape;7475;p53"/>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6" name="Google Shape;7476;p53"/>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7" name="Google Shape;7477;p53"/>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8" name="Google Shape;7478;p53"/>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9" name="Google Shape;7479;p53"/>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0" name="Google Shape;7480;p53"/>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1" name="Google Shape;7481;p53"/>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2" name="Google Shape;7482;p53"/>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3" name="Google Shape;7483;p53"/>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4" name="Google Shape;7484;p53"/>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5" name="Google Shape;7485;p53"/>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6" name="Google Shape;7486;p53"/>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7" name="Google Shape;7487;p53"/>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8" name="Google Shape;7488;p53"/>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9" name="Google Shape;7489;p53"/>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0" name="Google Shape;7490;p53"/>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1" name="Google Shape;7491;p53"/>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2" name="Google Shape;7492;p53"/>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3" name="Google Shape;7493;p53"/>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4" name="Google Shape;7494;p53"/>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5" name="Google Shape;7495;p53"/>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6" name="Google Shape;7496;p53"/>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7" name="Google Shape;7497;p53"/>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8" name="Google Shape;7498;p53"/>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9" name="Google Shape;7499;p53"/>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0" name="Google Shape;7500;p53"/>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1" name="Google Shape;7501;p53"/>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2" name="Google Shape;7502;p53"/>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3" name="Google Shape;7503;p53"/>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4" name="Google Shape;7504;p53"/>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5" name="Google Shape;7505;p53"/>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6" name="Google Shape;7506;p53"/>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7" name="Google Shape;7507;p53"/>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8" name="Google Shape;7508;p53"/>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9" name="Google Shape;7509;p53"/>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0" name="Google Shape;7510;p53"/>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1" name="Google Shape;7511;p53"/>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2" name="Google Shape;7512;p53"/>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3" name="Google Shape;7513;p53"/>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4" name="Google Shape;7514;p53"/>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5" name="Google Shape;7515;p53"/>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6" name="Google Shape;7516;p53"/>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7" name="Google Shape;7517;p53"/>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8" name="Google Shape;7518;p53"/>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9" name="Google Shape;7519;p53"/>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0" name="Google Shape;7520;p53"/>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1" name="Google Shape;7521;p53"/>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2" name="Google Shape;7522;p53"/>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3" name="Google Shape;7523;p53"/>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4" name="Google Shape;7524;p53"/>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5" name="Google Shape;7525;p53"/>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6" name="Google Shape;7526;p53"/>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7" name="Google Shape;7527;p53"/>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8" name="Google Shape;7528;p53"/>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9" name="Google Shape;7529;p53"/>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0" name="Google Shape;7530;p53"/>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1" name="Google Shape;7531;p53"/>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2" name="Google Shape;7532;p53"/>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3" name="Google Shape;7533;p53"/>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4" name="Google Shape;7534;p53"/>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5" name="Google Shape;7535;p53"/>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6" name="Google Shape;7536;p53"/>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7" name="Google Shape;7537;p53"/>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8" name="Google Shape;7538;p53"/>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9" name="Google Shape;7539;p53"/>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0" name="Google Shape;7540;p53"/>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1" name="Google Shape;7541;p53"/>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2" name="Google Shape;7542;p53"/>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3" name="Google Shape;7543;p53"/>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4" name="Google Shape;7544;p53"/>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5" name="Google Shape;7545;p53"/>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6" name="Google Shape;7546;p53"/>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7" name="Google Shape;7547;p53"/>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8" name="Google Shape;7548;p53"/>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9" name="Google Shape;7549;p53"/>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0" name="Google Shape;7550;p53"/>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1" name="Google Shape;7551;p53"/>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2" name="Google Shape;7552;p53"/>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3" name="Google Shape;7553;p53"/>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4" name="Google Shape;7554;p53"/>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5" name="Google Shape;7555;p53"/>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6" name="Google Shape;7556;p53"/>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7" name="Google Shape;7557;p53"/>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8" name="Google Shape;7558;p53"/>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9" name="Google Shape;7559;p53"/>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0" name="Google Shape;7560;p53"/>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1" name="Google Shape;7561;p53"/>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2" name="Google Shape;7562;p53"/>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3" name="Google Shape;7563;p53"/>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4" name="Google Shape;7564;p53"/>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5" name="Google Shape;7565;p53"/>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6" name="Google Shape;7566;p53"/>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7" name="Google Shape;7567;p53"/>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8" name="Google Shape;7568;p53"/>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9" name="Google Shape;7569;p53"/>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0" name="Google Shape;7570;p53"/>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1" name="Google Shape;7571;p53"/>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2" name="Google Shape;7572;p53"/>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3" name="Google Shape;7573;p53"/>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4" name="Google Shape;7574;p53"/>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5" name="Google Shape;7575;p53"/>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6" name="Google Shape;7576;p53"/>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7" name="Google Shape;7577;p53"/>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8" name="Google Shape;7578;p53"/>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9" name="Google Shape;7579;p53"/>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0" name="Google Shape;7580;p53"/>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1" name="Google Shape;7581;p53"/>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2" name="Google Shape;7582;p53"/>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3" name="Google Shape;7583;p53"/>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4" name="Google Shape;7584;p53"/>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5" name="Google Shape;7585;p53"/>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6" name="Google Shape;7586;p53"/>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7" name="Google Shape;7587;p53"/>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8" name="Google Shape;7588;p53"/>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9" name="Google Shape;7589;p53"/>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0" name="Google Shape;7590;p53"/>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1" name="Google Shape;7591;p53"/>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2" name="Google Shape;7592;p53"/>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3" name="Google Shape;7593;p53"/>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4" name="Google Shape;7594;p53"/>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5" name="Google Shape;7595;p53"/>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6" name="Google Shape;7596;p53"/>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7" name="Google Shape;7597;p53"/>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8" name="Google Shape;7598;p53"/>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9" name="Google Shape;7599;p53"/>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0" name="Google Shape;7600;p53"/>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1" name="Google Shape;7601;p53"/>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2" name="Google Shape;7602;p53"/>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3" name="Google Shape;7603;p53"/>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4" name="Google Shape;7604;p53"/>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5" name="Google Shape;7605;p53"/>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6" name="Google Shape;7606;p53"/>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7" name="Google Shape;7607;p53"/>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8" name="Google Shape;7608;p53"/>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9" name="Google Shape;7609;p53"/>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0" name="Google Shape;7610;p53"/>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1" name="Google Shape;7611;p53"/>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2" name="Google Shape;7612;p53"/>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3" name="Google Shape;7613;p53"/>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4" name="Google Shape;7614;p53"/>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5" name="Google Shape;7615;p53"/>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6" name="Google Shape;7616;p53"/>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7" name="Google Shape;7617;p53"/>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8" name="Google Shape;7618;p53"/>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9" name="Google Shape;7619;p53"/>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0" name="Google Shape;7620;p53"/>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1" name="Google Shape;7621;p53"/>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2" name="Google Shape;7622;p53"/>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3" name="Google Shape;7623;p53"/>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4" name="Google Shape;7624;p53"/>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5" name="Google Shape;7625;p53"/>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6" name="Google Shape;7626;p53"/>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7" name="Google Shape;7627;p53"/>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8" name="Google Shape;7628;p53"/>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9" name="Google Shape;7629;p53"/>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0" name="Google Shape;7630;p53"/>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1" name="Google Shape;7631;p53"/>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2" name="Google Shape;7632;p53"/>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3" name="Google Shape;7633;p53"/>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4" name="Google Shape;7634;p53"/>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5" name="Google Shape;7635;p53"/>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6" name="Google Shape;7636;p53"/>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37" name="Google Shape;7637;p53"/>
          <p:cNvGrpSpPr/>
          <p:nvPr/>
        </p:nvGrpSpPr>
        <p:grpSpPr>
          <a:xfrm>
            <a:off x="3597785" y="3065882"/>
            <a:ext cx="2241344" cy="1330656"/>
            <a:chOff x="3597785" y="3065882"/>
            <a:chExt cx="2241344" cy="1330656"/>
          </a:xfrm>
        </p:grpSpPr>
        <p:grpSp>
          <p:nvGrpSpPr>
            <p:cNvPr id="7638" name="Google Shape;7638;p53"/>
            <p:cNvGrpSpPr/>
            <p:nvPr/>
          </p:nvGrpSpPr>
          <p:grpSpPr>
            <a:xfrm>
              <a:off x="5296908" y="3937355"/>
              <a:ext cx="143198" cy="32380"/>
              <a:chOff x="5296908" y="3937355"/>
              <a:chExt cx="143198" cy="32380"/>
            </a:xfrm>
          </p:grpSpPr>
          <p:sp>
            <p:nvSpPr>
              <p:cNvPr id="7639" name="Google Shape;7639;p53"/>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640" name="Google Shape;7640;p53"/>
              <p:cNvGrpSpPr/>
              <p:nvPr/>
            </p:nvGrpSpPr>
            <p:grpSpPr>
              <a:xfrm>
                <a:off x="5402331" y="3937355"/>
                <a:ext cx="37776" cy="32380"/>
                <a:chOff x="5402331" y="3937355"/>
                <a:chExt cx="37776" cy="32380"/>
              </a:xfrm>
            </p:grpSpPr>
            <p:sp>
              <p:nvSpPr>
                <p:cNvPr id="7641" name="Google Shape;7641;p53"/>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2" name="Google Shape;7642;p53"/>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43" name="Google Shape;7643;p53"/>
              <p:cNvGrpSpPr/>
              <p:nvPr/>
            </p:nvGrpSpPr>
            <p:grpSpPr>
              <a:xfrm>
                <a:off x="5296908" y="3937355"/>
                <a:ext cx="37783" cy="32380"/>
                <a:chOff x="5296908" y="3937355"/>
                <a:chExt cx="37783" cy="32380"/>
              </a:xfrm>
            </p:grpSpPr>
            <p:sp>
              <p:nvSpPr>
                <p:cNvPr id="7644" name="Google Shape;7644;p53"/>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5" name="Google Shape;7645;p53"/>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46" name="Google Shape;7646;p53"/>
            <p:cNvGrpSpPr/>
            <p:nvPr/>
          </p:nvGrpSpPr>
          <p:grpSpPr>
            <a:xfrm>
              <a:off x="4724163" y="3119631"/>
              <a:ext cx="120838" cy="84218"/>
              <a:chOff x="4724163" y="3119631"/>
              <a:chExt cx="120838" cy="84218"/>
            </a:xfrm>
          </p:grpSpPr>
          <p:grpSp>
            <p:nvGrpSpPr>
              <p:cNvPr id="7647" name="Google Shape;7647;p53"/>
              <p:cNvGrpSpPr/>
              <p:nvPr/>
            </p:nvGrpSpPr>
            <p:grpSpPr>
              <a:xfrm>
                <a:off x="4746712" y="3132773"/>
                <a:ext cx="86869" cy="56424"/>
                <a:chOff x="4746712" y="3132773"/>
                <a:chExt cx="86869" cy="56424"/>
              </a:xfrm>
            </p:grpSpPr>
            <p:sp>
              <p:nvSpPr>
                <p:cNvPr id="7648" name="Google Shape;7648;p53"/>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9" name="Google Shape;7649;p53"/>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0" name="Google Shape;7650;p53"/>
              <p:cNvGrpSpPr/>
              <p:nvPr/>
            </p:nvGrpSpPr>
            <p:grpSpPr>
              <a:xfrm>
                <a:off x="4773634" y="3143336"/>
                <a:ext cx="37776" cy="32451"/>
                <a:chOff x="4773634" y="3143336"/>
                <a:chExt cx="37776" cy="32451"/>
              </a:xfrm>
            </p:grpSpPr>
            <p:sp>
              <p:nvSpPr>
                <p:cNvPr id="7651" name="Google Shape;7651;p53"/>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2" name="Google Shape;7652;p53"/>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3" name="Google Shape;7653;p53"/>
              <p:cNvGrpSpPr/>
              <p:nvPr/>
            </p:nvGrpSpPr>
            <p:grpSpPr>
              <a:xfrm>
                <a:off x="4724163" y="3131248"/>
                <a:ext cx="37776" cy="32459"/>
                <a:chOff x="4724163" y="3131248"/>
                <a:chExt cx="37776" cy="32459"/>
              </a:xfrm>
            </p:grpSpPr>
            <p:sp>
              <p:nvSpPr>
                <p:cNvPr id="7654" name="Google Shape;7654;p53"/>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5" name="Google Shape;7655;p53"/>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6" name="Google Shape;7656;p53"/>
              <p:cNvGrpSpPr/>
              <p:nvPr/>
            </p:nvGrpSpPr>
            <p:grpSpPr>
              <a:xfrm>
                <a:off x="4755081" y="3176054"/>
                <a:ext cx="32357" cy="27795"/>
                <a:chOff x="4755081" y="3176054"/>
                <a:chExt cx="32357" cy="27795"/>
              </a:xfrm>
            </p:grpSpPr>
            <p:sp>
              <p:nvSpPr>
                <p:cNvPr id="7657" name="Google Shape;7657;p53"/>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8" name="Google Shape;7658;p53"/>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59" name="Google Shape;7659;p53"/>
              <p:cNvGrpSpPr/>
              <p:nvPr/>
            </p:nvGrpSpPr>
            <p:grpSpPr>
              <a:xfrm>
                <a:off x="4812550" y="3119631"/>
                <a:ext cx="32451" cy="27803"/>
                <a:chOff x="4812550" y="3119631"/>
                <a:chExt cx="32451" cy="27803"/>
              </a:xfrm>
            </p:grpSpPr>
            <p:sp>
              <p:nvSpPr>
                <p:cNvPr id="7660" name="Google Shape;7660;p53"/>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1" name="Google Shape;7661;p53"/>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62" name="Google Shape;7662;p53"/>
            <p:cNvGrpSpPr/>
            <p:nvPr/>
          </p:nvGrpSpPr>
          <p:grpSpPr>
            <a:xfrm>
              <a:off x="5382826" y="4027197"/>
              <a:ext cx="268967" cy="250422"/>
              <a:chOff x="5382826" y="4027197"/>
              <a:chExt cx="268967" cy="250422"/>
            </a:xfrm>
          </p:grpSpPr>
          <p:grpSp>
            <p:nvGrpSpPr>
              <p:cNvPr id="7663" name="Google Shape;7663;p53"/>
              <p:cNvGrpSpPr/>
              <p:nvPr/>
            </p:nvGrpSpPr>
            <p:grpSpPr>
              <a:xfrm>
                <a:off x="5405280" y="4042510"/>
                <a:ext cx="237570" cy="218647"/>
                <a:chOff x="5405280" y="4042510"/>
                <a:chExt cx="237570" cy="218647"/>
              </a:xfrm>
            </p:grpSpPr>
            <p:sp>
              <p:nvSpPr>
                <p:cNvPr id="7664" name="Google Shape;7664;p53"/>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5" name="Google Shape;7665;p53"/>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6" name="Google Shape;7666;p53"/>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7" name="Google Shape;7667;p53"/>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8" name="Google Shape;7668;p53"/>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9" name="Google Shape;7669;p53"/>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0" name="Google Shape;7670;p53"/>
              <p:cNvGrpSpPr/>
              <p:nvPr/>
            </p:nvGrpSpPr>
            <p:grpSpPr>
              <a:xfrm>
                <a:off x="5382826" y="4125549"/>
                <a:ext cx="37776" cy="32380"/>
                <a:chOff x="5382826" y="4125549"/>
                <a:chExt cx="37776" cy="32380"/>
              </a:xfrm>
            </p:grpSpPr>
            <p:sp>
              <p:nvSpPr>
                <p:cNvPr id="7671" name="Google Shape;7671;p53"/>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2" name="Google Shape;7672;p53"/>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3" name="Google Shape;7673;p53"/>
              <p:cNvGrpSpPr/>
              <p:nvPr/>
            </p:nvGrpSpPr>
            <p:grpSpPr>
              <a:xfrm>
                <a:off x="5475680" y="4195587"/>
                <a:ext cx="37783" cy="32364"/>
                <a:chOff x="5475680" y="4195587"/>
                <a:chExt cx="37783" cy="32364"/>
              </a:xfrm>
            </p:grpSpPr>
            <p:sp>
              <p:nvSpPr>
                <p:cNvPr id="7674" name="Google Shape;7674;p53"/>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5" name="Google Shape;7675;p53"/>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6" name="Google Shape;7676;p53"/>
              <p:cNvGrpSpPr/>
              <p:nvPr/>
            </p:nvGrpSpPr>
            <p:grpSpPr>
              <a:xfrm>
                <a:off x="5532575" y="4027197"/>
                <a:ext cx="33308" cy="32262"/>
                <a:chOff x="5532575" y="4027197"/>
                <a:chExt cx="33308" cy="32262"/>
              </a:xfrm>
            </p:grpSpPr>
            <p:sp>
              <p:nvSpPr>
                <p:cNvPr id="7677" name="Google Shape;7677;p53"/>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8" name="Google Shape;7678;p53"/>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79" name="Google Shape;7679;p53"/>
              <p:cNvGrpSpPr/>
              <p:nvPr/>
            </p:nvGrpSpPr>
            <p:grpSpPr>
              <a:xfrm>
                <a:off x="5590706" y="4245348"/>
                <a:ext cx="33497" cy="32270"/>
                <a:chOff x="5590706" y="4245348"/>
                <a:chExt cx="33497" cy="32270"/>
              </a:xfrm>
            </p:grpSpPr>
            <p:sp>
              <p:nvSpPr>
                <p:cNvPr id="7680" name="Google Shape;7680;p53"/>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1" name="Google Shape;7681;p53"/>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2" name="Google Shape;7682;p53"/>
              <p:cNvGrpSpPr/>
              <p:nvPr/>
            </p:nvGrpSpPr>
            <p:grpSpPr>
              <a:xfrm>
                <a:off x="5618681" y="4109677"/>
                <a:ext cx="33112" cy="32357"/>
                <a:chOff x="5618681" y="4109677"/>
                <a:chExt cx="33112" cy="32357"/>
              </a:xfrm>
            </p:grpSpPr>
            <p:sp>
              <p:nvSpPr>
                <p:cNvPr id="7683" name="Google Shape;7683;p53"/>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4" name="Google Shape;7684;p53"/>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5" name="Google Shape;7685;p53"/>
              <p:cNvGrpSpPr/>
              <p:nvPr/>
            </p:nvGrpSpPr>
            <p:grpSpPr>
              <a:xfrm>
                <a:off x="5479298" y="4128262"/>
                <a:ext cx="31405" cy="26906"/>
                <a:chOff x="5479298" y="4128262"/>
                <a:chExt cx="31405" cy="26906"/>
              </a:xfrm>
            </p:grpSpPr>
            <p:sp>
              <p:nvSpPr>
                <p:cNvPr id="7686" name="Google Shape;7686;p53"/>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7" name="Google Shape;7687;p53"/>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88" name="Google Shape;7688;p53"/>
              <p:cNvGrpSpPr/>
              <p:nvPr/>
            </p:nvGrpSpPr>
            <p:grpSpPr>
              <a:xfrm>
                <a:off x="5582903" y="4180116"/>
                <a:ext cx="31499" cy="26898"/>
                <a:chOff x="5582903" y="4180116"/>
                <a:chExt cx="31499" cy="26898"/>
              </a:xfrm>
            </p:grpSpPr>
            <p:sp>
              <p:nvSpPr>
                <p:cNvPr id="7689" name="Google Shape;7689;p53"/>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0" name="Google Shape;7690;p53"/>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691" name="Google Shape;7691;p53"/>
            <p:cNvGrpSpPr/>
            <p:nvPr/>
          </p:nvGrpSpPr>
          <p:grpSpPr>
            <a:xfrm>
              <a:off x="3977681" y="3230323"/>
              <a:ext cx="94584" cy="84085"/>
              <a:chOff x="3977681" y="3230323"/>
              <a:chExt cx="94584" cy="84085"/>
            </a:xfrm>
          </p:grpSpPr>
          <p:grpSp>
            <p:nvGrpSpPr>
              <p:cNvPr id="7692" name="Google Shape;7692;p53"/>
              <p:cNvGrpSpPr/>
              <p:nvPr/>
            </p:nvGrpSpPr>
            <p:grpSpPr>
              <a:xfrm>
                <a:off x="4000135" y="3243041"/>
                <a:ext cx="59570" cy="57186"/>
                <a:chOff x="4000135" y="3243041"/>
                <a:chExt cx="59570" cy="57186"/>
              </a:xfrm>
            </p:grpSpPr>
            <p:sp>
              <p:nvSpPr>
                <p:cNvPr id="7693" name="Google Shape;7693;p53"/>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4" name="Google Shape;7694;p53"/>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5" name="Google Shape;7695;p53"/>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6" name="Google Shape;7696;p53"/>
              <p:cNvGrpSpPr/>
              <p:nvPr/>
            </p:nvGrpSpPr>
            <p:grpSpPr>
              <a:xfrm>
                <a:off x="3977681" y="3245872"/>
                <a:ext cx="37783" cy="32380"/>
                <a:chOff x="3977681" y="3245872"/>
                <a:chExt cx="37783" cy="32380"/>
              </a:xfrm>
            </p:grpSpPr>
            <p:sp>
              <p:nvSpPr>
                <p:cNvPr id="7697" name="Google Shape;7697;p53"/>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8" name="Google Shape;7698;p53"/>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699" name="Google Shape;7699;p53"/>
              <p:cNvGrpSpPr/>
              <p:nvPr/>
            </p:nvGrpSpPr>
            <p:grpSpPr>
              <a:xfrm>
                <a:off x="4040860" y="3262672"/>
                <a:ext cx="31405" cy="27001"/>
                <a:chOff x="4040860" y="3262672"/>
                <a:chExt cx="31405" cy="27001"/>
              </a:xfrm>
            </p:grpSpPr>
            <p:sp>
              <p:nvSpPr>
                <p:cNvPr id="7700" name="Google Shape;7700;p53"/>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1" name="Google Shape;7701;p53"/>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2" name="Google Shape;7702;p53"/>
              <p:cNvGrpSpPr/>
              <p:nvPr/>
            </p:nvGrpSpPr>
            <p:grpSpPr>
              <a:xfrm>
                <a:off x="4021072" y="3230323"/>
                <a:ext cx="31397" cy="26906"/>
                <a:chOff x="4021072" y="3230323"/>
                <a:chExt cx="31397" cy="26906"/>
              </a:xfrm>
            </p:grpSpPr>
            <p:sp>
              <p:nvSpPr>
                <p:cNvPr id="7703" name="Google Shape;7703;p53"/>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4" name="Google Shape;7704;p53"/>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05" name="Google Shape;7705;p53"/>
              <p:cNvGrpSpPr/>
              <p:nvPr/>
            </p:nvGrpSpPr>
            <p:grpSpPr>
              <a:xfrm>
                <a:off x="4001472" y="3287462"/>
                <a:ext cx="31499" cy="26945"/>
                <a:chOff x="4001472" y="3287462"/>
                <a:chExt cx="31499" cy="26945"/>
              </a:xfrm>
            </p:grpSpPr>
            <p:sp>
              <p:nvSpPr>
                <p:cNvPr id="7706" name="Google Shape;7706;p53"/>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7" name="Google Shape;7707;p53"/>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08" name="Google Shape;7708;p53"/>
            <p:cNvGrpSpPr/>
            <p:nvPr/>
          </p:nvGrpSpPr>
          <p:grpSpPr>
            <a:xfrm>
              <a:off x="4084715" y="3258865"/>
              <a:ext cx="184961" cy="137268"/>
              <a:chOff x="4084715" y="3258865"/>
              <a:chExt cx="184961" cy="137268"/>
            </a:xfrm>
          </p:grpSpPr>
          <p:grpSp>
            <p:nvGrpSpPr>
              <p:cNvPr id="7709" name="Google Shape;7709;p53"/>
              <p:cNvGrpSpPr/>
              <p:nvPr/>
            </p:nvGrpSpPr>
            <p:grpSpPr>
              <a:xfrm>
                <a:off x="4107453" y="3271583"/>
                <a:ext cx="153470" cy="110275"/>
                <a:chOff x="4107453" y="3271583"/>
                <a:chExt cx="153470" cy="110275"/>
              </a:xfrm>
            </p:grpSpPr>
            <p:sp>
              <p:nvSpPr>
                <p:cNvPr id="7710" name="Google Shape;7710;p53"/>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1" name="Google Shape;7711;p53"/>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2" name="Google Shape;7712;p53"/>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3" name="Google Shape;7713;p53"/>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4" name="Google Shape;7714;p53"/>
              <p:cNvGrpSpPr/>
              <p:nvPr/>
            </p:nvGrpSpPr>
            <p:grpSpPr>
              <a:xfrm>
                <a:off x="4136947" y="3258865"/>
                <a:ext cx="31499" cy="27001"/>
                <a:chOff x="4136947" y="3258865"/>
                <a:chExt cx="31499" cy="27001"/>
              </a:xfrm>
            </p:grpSpPr>
            <p:sp>
              <p:nvSpPr>
                <p:cNvPr id="7715" name="Google Shape;7715;p53"/>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6" name="Google Shape;7716;p53"/>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17" name="Google Shape;7717;p53"/>
              <p:cNvGrpSpPr/>
              <p:nvPr/>
            </p:nvGrpSpPr>
            <p:grpSpPr>
              <a:xfrm>
                <a:off x="4084715" y="3266478"/>
                <a:ext cx="31468" cy="26898"/>
                <a:chOff x="4084715" y="3266478"/>
                <a:chExt cx="31468" cy="26898"/>
              </a:xfrm>
            </p:grpSpPr>
            <p:sp>
              <p:nvSpPr>
                <p:cNvPr id="7718" name="Google Shape;7718;p53"/>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9" name="Google Shape;7719;p53"/>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0" name="Google Shape;7720;p53"/>
              <p:cNvGrpSpPr/>
              <p:nvPr/>
            </p:nvGrpSpPr>
            <p:grpSpPr>
              <a:xfrm>
                <a:off x="4159213" y="3279849"/>
                <a:ext cx="31405" cy="26945"/>
                <a:chOff x="4159213" y="3279849"/>
                <a:chExt cx="31405" cy="26945"/>
              </a:xfrm>
            </p:grpSpPr>
            <p:sp>
              <p:nvSpPr>
                <p:cNvPr id="7721" name="Google Shape;7721;p53"/>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2" name="Google Shape;7722;p53"/>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3" name="Google Shape;7723;p53"/>
              <p:cNvGrpSpPr/>
              <p:nvPr/>
            </p:nvGrpSpPr>
            <p:grpSpPr>
              <a:xfrm>
                <a:off x="4201550" y="3266502"/>
                <a:ext cx="31405" cy="26883"/>
                <a:chOff x="4201550" y="3266502"/>
                <a:chExt cx="31405" cy="26883"/>
              </a:xfrm>
            </p:grpSpPr>
            <p:sp>
              <p:nvSpPr>
                <p:cNvPr id="7724" name="Google Shape;7724;p53"/>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5" name="Google Shape;7725;p53"/>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6" name="Google Shape;7726;p53"/>
              <p:cNvGrpSpPr/>
              <p:nvPr/>
            </p:nvGrpSpPr>
            <p:grpSpPr>
              <a:xfrm>
                <a:off x="4201550" y="3338278"/>
                <a:ext cx="31405" cy="26930"/>
                <a:chOff x="4201550" y="3338278"/>
                <a:chExt cx="31405" cy="26930"/>
              </a:xfrm>
            </p:grpSpPr>
            <p:sp>
              <p:nvSpPr>
                <p:cNvPr id="7727" name="Google Shape;7727;p53"/>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8" name="Google Shape;7728;p53"/>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29" name="Google Shape;7729;p53"/>
              <p:cNvGrpSpPr/>
              <p:nvPr/>
            </p:nvGrpSpPr>
            <p:grpSpPr>
              <a:xfrm>
                <a:off x="4238272" y="3369132"/>
                <a:ext cx="31405" cy="27001"/>
                <a:chOff x="4238272" y="3369132"/>
                <a:chExt cx="31405" cy="27001"/>
              </a:xfrm>
            </p:grpSpPr>
            <p:sp>
              <p:nvSpPr>
                <p:cNvPr id="7730" name="Google Shape;7730;p53"/>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1" name="Google Shape;7731;p53"/>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32" name="Google Shape;7732;p53"/>
            <p:cNvGrpSpPr/>
            <p:nvPr/>
          </p:nvGrpSpPr>
          <p:grpSpPr>
            <a:xfrm>
              <a:off x="4068639" y="3200169"/>
              <a:ext cx="77643" cy="37272"/>
              <a:chOff x="4068639" y="3200169"/>
              <a:chExt cx="77643" cy="37272"/>
            </a:xfrm>
          </p:grpSpPr>
          <p:sp>
            <p:nvSpPr>
              <p:cNvPr id="7733" name="Google Shape;7733;p53"/>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734" name="Google Shape;7734;p53"/>
              <p:cNvGrpSpPr/>
              <p:nvPr/>
            </p:nvGrpSpPr>
            <p:grpSpPr>
              <a:xfrm>
                <a:off x="4114878" y="3200169"/>
                <a:ext cx="31405" cy="26993"/>
                <a:chOff x="4114878" y="3200169"/>
                <a:chExt cx="31405" cy="26993"/>
              </a:xfrm>
            </p:grpSpPr>
            <p:sp>
              <p:nvSpPr>
                <p:cNvPr id="7735" name="Google Shape;7735;p53"/>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6" name="Google Shape;7736;p53"/>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37" name="Google Shape;7737;p53"/>
              <p:cNvGrpSpPr/>
              <p:nvPr/>
            </p:nvGrpSpPr>
            <p:grpSpPr>
              <a:xfrm>
                <a:off x="4068639" y="3210535"/>
                <a:ext cx="31499" cy="26906"/>
                <a:chOff x="4068639" y="3210535"/>
                <a:chExt cx="31499" cy="26906"/>
              </a:xfrm>
            </p:grpSpPr>
            <p:sp>
              <p:nvSpPr>
                <p:cNvPr id="7738" name="Google Shape;7738;p53"/>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9" name="Google Shape;7739;p53"/>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40" name="Google Shape;7740;p53"/>
            <p:cNvGrpSpPr/>
            <p:nvPr/>
          </p:nvGrpSpPr>
          <p:grpSpPr>
            <a:xfrm>
              <a:off x="3869702" y="3066935"/>
              <a:ext cx="382664" cy="190294"/>
              <a:chOff x="3869702" y="3066935"/>
              <a:chExt cx="382664" cy="190294"/>
            </a:xfrm>
          </p:grpSpPr>
          <p:grpSp>
            <p:nvGrpSpPr>
              <p:cNvPr id="7741" name="Google Shape;7741;p53"/>
              <p:cNvGrpSpPr/>
              <p:nvPr/>
            </p:nvGrpSpPr>
            <p:grpSpPr>
              <a:xfrm>
                <a:off x="3888633" y="3082351"/>
                <a:ext cx="351172" cy="160698"/>
                <a:chOff x="3888633" y="3082351"/>
                <a:chExt cx="351172" cy="160698"/>
              </a:xfrm>
            </p:grpSpPr>
            <p:sp>
              <p:nvSpPr>
                <p:cNvPr id="7742" name="Google Shape;7742;p53"/>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3" name="Google Shape;7743;p53"/>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4" name="Google Shape;7744;p53"/>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5" name="Google Shape;7745;p53"/>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6" name="Google Shape;7746;p53"/>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7" name="Google Shape;7747;p53"/>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48" name="Google Shape;7748;p53"/>
              <p:cNvGrpSpPr/>
              <p:nvPr/>
            </p:nvGrpSpPr>
            <p:grpSpPr>
              <a:xfrm>
                <a:off x="4143703" y="3066935"/>
                <a:ext cx="37783" cy="32357"/>
                <a:chOff x="4143703" y="3066935"/>
                <a:chExt cx="37783" cy="32357"/>
              </a:xfrm>
            </p:grpSpPr>
            <p:sp>
              <p:nvSpPr>
                <p:cNvPr id="7749" name="Google Shape;7749;p53"/>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0" name="Google Shape;7750;p53"/>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1" name="Google Shape;7751;p53"/>
              <p:cNvGrpSpPr/>
              <p:nvPr/>
            </p:nvGrpSpPr>
            <p:grpSpPr>
              <a:xfrm>
                <a:off x="4044565" y="3103563"/>
                <a:ext cx="37783" cy="32451"/>
                <a:chOff x="4044565" y="3103563"/>
                <a:chExt cx="37783" cy="32451"/>
              </a:xfrm>
            </p:grpSpPr>
            <p:sp>
              <p:nvSpPr>
                <p:cNvPr id="7752" name="Google Shape;7752;p53"/>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3" name="Google Shape;7753;p53"/>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4" name="Google Shape;7754;p53"/>
              <p:cNvGrpSpPr/>
              <p:nvPr/>
            </p:nvGrpSpPr>
            <p:grpSpPr>
              <a:xfrm>
                <a:off x="4017454" y="3188237"/>
                <a:ext cx="37776" cy="32357"/>
                <a:chOff x="4017454" y="3188237"/>
                <a:chExt cx="37776" cy="32357"/>
              </a:xfrm>
            </p:grpSpPr>
            <p:sp>
              <p:nvSpPr>
                <p:cNvPr id="7755" name="Google Shape;7755;p53"/>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6" name="Google Shape;7756;p53"/>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57" name="Google Shape;7757;p53"/>
              <p:cNvGrpSpPr/>
              <p:nvPr/>
            </p:nvGrpSpPr>
            <p:grpSpPr>
              <a:xfrm>
                <a:off x="3921548" y="3157509"/>
                <a:ext cx="37783" cy="32357"/>
                <a:chOff x="3921548" y="3157509"/>
                <a:chExt cx="37783" cy="32357"/>
              </a:xfrm>
            </p:grpSpPr>
            <p:sp>
              <p:nvSpPr>
                <p:cNvPr id="7758" name="Google Shape;7758;p53"/>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9" name="Google Shape;7759;p53"/>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0" name="Google Shape;7760;p53"/>
              <p:cNvGrpSpPr/>
              <p:nvPr/>
            </p:nvGrpSpPr>
            <p:grpSpPr>
              <a:xfrm>
                <a:off x="3939056" y="3211620"/>
                <a:ext cx="37783" cy="32380"/>
                <a:chOff x="3939056" y="3211620"/>
                <a:chExt cx="37783" cy="32380"/>
              </a:xfrm>
            </p:grpSpPr>
            <p:sp>
              <p:nvSpPr>
                <p:cNvPr id="7761" name="Google Shape;7761;p53"/>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2" name="Google Shape;7762;p53"/>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3" name="Google Shape;7763;p53"/>
              <p:cNvGrpSpPr/>
              <p:nvPr/>
            </p:nvGrpSpPr>
            <p:grpSpPr>
              <a:xfrm>
                <a:off x="4176240" y="3136965"/>
                <a:ext cx="31405" cy="26930"/>
                <a:chOff x="4176240" y="3136965"/>
                <a:chExt cx="31405" cy="26930"/>
              </a:xfrm>
            </p:grpSpPr>
            <p:sp>
              <p:nvSpPr>
                <p:cNvPr id="7764" name="Google Shape;7764;p53"/>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5" name="Google Shape;7765;p53"/>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6" name="Google Shape;7766;p53"/>
              <p:cNvGrpSpPr/>
              <p:nvPr/>
            </p:nvGrpSpPr>
            <p:grpSpPr>
              <a:xfrm>
                <a:off x="4133148" y="3152593"/>
                <a:ext cx="31499" cy="27001"/>
                <a:chOff x="4133148" y="3152593"/>
                <a:chExt cx="31499" cy="27001"/>
              </a:xfrm>
            </p:grpSpPr>
            <p:sp>
              <p:nvSpPr>
                <p:cNvPr id="7767" name="Google Shape;7767;p53"/>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8" name="Google Shape;7768;p53"/>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69" name="Google Shape;7769;p53"/>
              <p:cNvGrpSpPr/>
              <p:nvPr/>
            </p:nvGrpSpPr>
            <p:grpSpPr>
              <a:xfrm>
                <a:off x="4220866" y="3073534"/>
                <a:ext cx="31499" cy="26898"/>
                <a:chOff x="4220866" y="3073534"/>
                <a:chExt cx="31499" cy="26898"/>
              </a:xfrm>
            </p:grpSpPr>
            <p:sp>
              <p:nvSpPr>
                <p:cNvPr id="7770" name="Google Shape;7770;p53"/>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1" name="Google Shape;7771;p53"/>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72" name="Google Shape;7772;p53"/>
              <p:cNvGrpSpPr/>
              <p:nvPr/>
            </p:nvGrpSpPr>
            <p:grpSpPr>
              <a:xfrm>
                <a:off x="3869702" y="3230323"/>
                <a:ext cx="31499" cy="26906"/>
                <a:chOff x="3869702" y="3230323"/>
                <a:chExt cx="31499" cy="26906"/>
              </a:xfrm>
            </p:grpSpPr>
            <p:sp>
              <p:nvSpPr>
                <p:cNvPr id="7773" name="Google Shape;7773;p53"/>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4" name="Google Shape;7774;p53"/>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775" name="Google Shape;7775;p53"/>
            <p:cNvGrpSpPr/>
            <p:nvPr/>
          </p:nvGrpSpPr>
          <p:grpSpPr>
            <a:xfrm>
              <a:off x="4271383" y="3065882"/>
              <a:ext cx="304556" cy="341663"/>
              <a:chOff x="4271383" y="3065882"/>
              <a:chExt cx="304556" cy="341663"/>
            </a:xfrm>
          </p:grpSpPr>
          <p:grpSp>
            <p:nvGrpSpPr>
              <p:cNvPr id="7776" name="Google Shape;7776;p53"/>
              <p:cNvGrpSpPr/>
              <p:nvPr/>
            </p:nvGrpSpPr>
            <p:grpSpPr>
              <a:xfrm>
                <a:off x="4293838" y="3078639"/>
                <a:ext cx="269353" cy="311973"/>
                <a:chOff x="4293838" y="3078639"/>
                <a:chExt cx="269353" cy="311973"/>
              </a:xfrm>
            </p:grpSpPr>
            <p:sp>
              <p:nvSpPr>
                <p:cNvPr id="7777" name="Google Shape;7777;p53"/>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8" name="Google Shape;7778;p53"/>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9" name="Google Shape;7779;p53"/>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0" name="Google Shape;7780;p53"/>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1" name="Google Shape;7781;p53"/>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2" name="Google Shape;7782;p53"/>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3" name="Google Shape;7783;p53"/>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4" name="Google Shape;7784;p53"/>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5" name="Google Shape;7785;p53"/>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6" name="Google Shape;7786;p53"/>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7" name="Google Shape;7787;p53"/>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8" name="Google Shape;7788;p53"/>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9" name="Google Shape;7789;p53"/>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0" name="Google Shape;7790;p53"/>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1" name="Google Shape;7791;p53"/>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2" name="Google Shape;7792;p53"/>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3" name="Google Shape;7793;p53"/>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4" name="Google Shape;7794;p53"/>
              <p:cNvGrpSpPr/>
              <p:nvPr/>
            </p:nvGrpSpPr>
            <p:grpSpPr>
              <a:xfrm>
                <a:off x="4538164" y="3342061"/>
                <a:ext cx="37776" cy="32380"/>
                <a:chOff x="4538164" y="3342061"/>
                <a:chExt cx="37776" cy="32380"/>
              </a:xfrm>
            </p:grpSpPr>
            <p:sp>
              <p:nvSpPr>
                <p:cNvPr id="7795" name="Google Shape;7795;p53"/>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6" name="Google Shape;7796;p53"/>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797" name="Google Shape;7797;p53"/>
              <p:cNvGrpSpPr/>
              <p:nvPr/>
            </p:nvGrpSpPr>
            <p:grpSpPr>
              <a:xfrm>
                <a:off x="4271383" y="3194742"/>
                <a:ext cx="37783" cy="32420"/>
                <a:chOff x="4271383" y="3194742"/>
                <a:chExt cx="37783" cy="32420"/>
              </a:xfrm>
            </p:grpSpPr>
            <p:sp>
              <p:nvSpPr>
                <p:cNvPr id="7798" name="Google Shape;7798;p53"/>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9" name="Google Shape;7799;p53"/>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0" name="Google Shape;7800;p53"/>
              <p:cNvGrpSpPr/>
              <p:nvPr/>
            </p:nvGrpSpPr>
            <p:grpSpPr>
              <a:xfrm>
                <a:off x="4284416" y="3084058"/>
                <a:ext cx="37783" cy="32357"/>
                <a:chOff x="4284416" y="3084058"/>
                <a:chExt cx="37783" cy="32357"/>
              </a:xfrm>
            </p:grpSpPr>
            <p:sp>
              <p:nvSpPr>
                <p:cNvPr id="7801" name="Google Shape;7801;p53"/>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2" name="Google Shape;7802;p53"/>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3" name="Google Shape;7803;p53"/>
              <p:cNvGrpSpPr/>
              <p:nvPr/>
            </p:nvGrpSpPr>
            <p:grpSpPr>
              <a:xfrm>
                <a:off x="4478697" y="3297561"/>
                <a:ext cx="37776" cy="32451"/>
                <a:chOff x="4478697" y="3297561"/>
                <a:chExt cx="37776" cy="32451"/>
              </a:xfrm>
            </p:grpSpPr>
            <p:sp>
              <p:nvSpPr>
                <p:cNvPr id="7804" name="Google Shape;7804;p53"/>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5" name="Google Shape;7805;p53"/>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6" name="Google Shape;7806;p53"/>
              <p:cNvGrpSpPr/>
              <p:nvPr/>
            </p:nvGrpSpPr>
            <p:grpSpPr>
              <a:xfrm>
                <a:off x="4411813" y="3331711"/>
                <a:ext cx="37776" cy="32451"/>
                <a:chOff x="4411813" y="3331711"/>
                <a:chExt cx="37776" cy="32451"/>
              </a:xfrm>
            </p:grpSpPr>
            <p:sp>
              <p:nvSpPr>
                <p:cNvPr id="7807" name="Google Shape;7807;p53"/>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8" name="Google Shape;7808;p53"/>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09" name="Google Shape;7809;p53"/>
              <p:cNvGrpSpPr/>
              <p:nvPr/>
            </p:nvGrpSpPr>
            <p:grpSpPr>
              <a:xfrm>
                <a:off x="4337984" y="3375188"/>
                <a:ext cx="37776" cy="32357"/>
                <a:chOff x="4337984" y="3375188"/>
                <a:chExt cx="37776" cy="32357"/>
              </a:xfrm>
            </p:grpSpPr>
            <p:sp>
              <p:nvSpPr>
                <p:cNvPr id="7810" name="Google Shape;7810;p53"/>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1" name="Google Shape;7811;p53"/>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2" name="Google Shape;7812;p53"/>
              <p:cNvGrpSpPr/>
              <p:nvPr/>
            </p:nvGrpSpPr>
            <p:grpSpPr>
              <a:xfrm>
                <a:off x="4494867" y="3090530"/>
                <a:ext cx="37878" cy="32451"/>
                <a:chOff x="4494867" y="3090530"/>
                <a:chExt cx="37878" cy="32451"/>
              </a:xfrm>
            </p:grpSpPr>
            <p:sp>
              <p:nvSpPr>
                <p:cNvPr id="7813" name="Google Shape;7813;p53"/>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4" name="Google Shape;7814;p53"/>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5" name="Google Shape;7815;p53"/>
              <p:cNvGrpSpPr/>
              <p:nvPr/>
            </p:nvGrpSpPr>
            <p:grpSpPr>
              <a:xfrm>
                <a:off x="4525124" y="3207774"/>
                <a:ext cx="37783" cy="32420"/>
                <a:chOff x="4525124" y="3207774"/>
                <a:chExt cx="37783" cy="32420"/>
              </a:xfrm>
            </p:grpSpPr>
            <p:sp>
              <p:nvSpPr>
                <p:cNvPr id="7816" name="Google Shape;7816;p53"/>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7" name="Google Shape;7817;p53"/>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18" name="Google Shape;7818;p53"/>
              <p:cNvGrpSpPr/>
              <p:nvPr/>
            </p:nvGrpSpPr>
            <p:grpSpPr>
              <a:xfrm>
                <a:off x="4440544" y="3176479"/>
                <a:ext cx="31499" cy="26898"/>
                <a:chOff x="4440544" y="3176479"/>
                <a:chExt cx="31499" cy="26898"/>
              </a:xfrm>
            </p:grpSpPr>
            <p:sp>
              <p:nvSpPr>
                <p:cNvPr id="7819" name="Google Shape;7819;p53"/>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0" name="Google Shape;7820;p53"/>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1" name="Google Shape;7821;p53"/>
              <p:cNvGrpSpPr/>
              <p:nvPr/>
            </p:nvGrpSpPr>
            <p:grpSpPr>
              <a:xfrm>
                <a:off x="4350545" y="3156400"/>
                <a:ext cx="31405" cy="27001"/>
                <a:chOff x="4350545" y="3156400"/>
                <a:chExt cx="31405" cy="27001"/>
              </a:xfrm>
            </p:grpSpPr>
            <p:sp>
              <p:nvSpPr>
                <p:cNvPr id="7822" name="Google Shape;7822;p53"/>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3" name="Google Shape;7823;p53"/>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4" name="Google Shape;7824;p53"/>
              <p:cNvGrpSpPr/>
              <p:nvPr/>
            </p:nvGrpSpPr>
            <p:grpSpPr>
              <a:xfrm>
                <a:off x="4376703" y="3255058"/>
                <a:ext cx="31405" cy="27001"/>
                <a:chOff x="4376703" y="3255058"/>
                <a:chExt cx="31405" cy="27001"/>
              </a:xfrm>
            </p:grpSpPr>
            <p:sp>
              <p:nvSpPr>
                <p:cNvPr id="7825" name="Google Shape;7825;p53"/>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6" name="Google Shape;7826;p53"/>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27" name="Google Shape;7827;p53"/>
              <p:cNvGrpSpPr/>
              <p:nvPr/>
            </p:nvGrpSpPr>
            <p:grpSpPr>
              <a:xfrm>
                <a:off x="4331322" y="3283656"/>
                <a:ext cx="31405" cy="26945"/>
                <a:chOff x="4331322" y="3283656"/>
                <a:chExt cx="31405" cy="26945"/>
              </a:xfrm>
            </p:grpSpPr>
            <p:sp>
              <p:nvSpPr>
                <p:cNvPr id="7828" name="Google Shape;7828;p53"/>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9" name="Google Shape;7829;p53"/>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830" name="Google Shape;7830;p53"/>
              <p:cNvGrpSpPr/>
              <p:nvPr/>
            </p:nvGrpSpPr>
            <p:grpSpPr>
              <a:xfrm>
                <a:off x="4380510" y="3065882"/>
                <a:ext cx="31405" cy="26938"/>
                <a:chOff x="4380510" y="3065882"/>
                <a:chExt cx="31405" cy="26938"/>
              </a:xfrm>
            </p:grpSpPr>
            <p:sp>
              <p:nvSpPr>
                <p:cNvPr id="7831" name="Google Shape;7831;p53"/>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2" name="Google Shape;7832;p53"/>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833" name="Google Shape;7833;p53"/>
            <p:cNvGrpSpPr/>
            <p:nvPr/>
          </p:nvGrpSpPr>
          <p:grpSpPr>
            <a:xfrm>
              <a:off x="4558998" y="3188237"/>
              <a:ext cx="1280131" cy="1052746"/>
              <a:chOff x="4558998" y="3188237"/>
              <a:chExt cx="1280131" cy="1052746"/>
            </a:xfrm>
          </p:grpSpPr>
          <p:sp>
            <p:nvSpPr>
              <p:cNvPr id="7834" name="Google Shape;7834;p53"/>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5" name="Google Shape;7835;p53"/>
              <p:cNvGrpSpPr/>
              <p:nvPr/>
            </p:nvGrpSpPr>
            <p:grpSpPr>
              <a:xfrm>
                <a:off x="4579164" y="3203653"/>
                <a:ext cx="1244833" cy="1020397"/>
                <a:chOff x="4579164" y="3203653"/>
                <a:chExt cx="1244833" cy="1020397"/>
              </a:xfrm>
            </p:grpSpPr>
            <p:sp>
              <p:nvSpPr>
                <p:cNvPr id="7836" name="Google Shape;7836;p53"/>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7" name="Google Shape;7837;p53"/>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38" name="Google Shape;7838;p53"/>
                <p:cNvGrpSpPr/>
                <p:nvPr/>
              </p:nvGrpSpPr>
              <p:grpSpPr>
                <a:xfrm>
                  <a:off x="4579164" y="3203653"/>
                  <a:ext cx="1244833" cy="1020397"/>
                  <a:chOff x="4579164" y="3203653"/>
                  <a:chExt cx="1244833" cy="1020397"/>
                </a:xfrm>
              </p:grpSpPr>
              <p:sp>
                <p:nvSpPr>
                  <p:cNvPr id="7839" name="Google Shape;7839;p53"/>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0" name="Google Shape;7840;p53"/>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41" name="Google Shape;7841;p53"/>
                  <p:cNvGrpSpPr/>
                  <p:nvPr/>
                </p:nvGrpSpPr>
                <p:grpSpPr>
                  <a:xfrm>
                    <a:off x="4579164" y="3203653"/>
                    <a:ext cx="1244833" cy="1020397"/>
                    <a:chOff x="4579164" y="3203653"/>
                    <a:chExt cx="1244833" cy="1020397"/>
                  </a:xfrm>
                </p:grpSpPr>
                <p:sp>
                  <p:nvSpPr>
                    <p:cNvPr id="7842" name="Google Shape;7842;p53"/>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3" name="Google Shape;7843;p53"/>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4" name="Google Shape;7844;p53"/>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5" name="Google Shape;7845;p53"/>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6" name="Google Shape;7846;p53"/>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7" name="Google Shape;7847;p53"/>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8" name="Google Shape;7848;p53"/>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9" name="Google Shape;7849;p53"/>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50" name="Google Shape;7850;p53"/>
                    <p:cNvGrpSpPr/>
                    <p:nvPr/>
                  </p:nvGrpSpPr>
                  <p:grpSpPr>
                    <a:xfrm>
                      <a:off x="4579164" y="3203653"/>
                      <a:ext cx="1244833" cy="1020397"/>
                      <a:chOff x="4579164" y="3203653"/>
                      <a:chExt cx="1244833" cy="1020397"/>
                    </a:xfrm>
                  </p:grpSpPr>
                  <p:sp>
                    <p:nvSpPr>
                      <p:cNvPr id="7851" name="Google Shape;7851;p53"/>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2" name="Google Shape;7852;p53"/>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3" name="Google Shape;7853;p53"/>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4" name="Google Shape;7854;p53"/>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5" name="Google Shape;7855;p53"/>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6" name="Google Shape;7856;p53"/>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7" name="Google Shape;7857;p53"/>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8" name="Google Shape;7858;p53"/>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9" name="Google Shape;7859;p53"/>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0" name="Google Shape;7860;p53"/>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1" name="Google Shape;7861;p53"/>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2" name="Google Shape;7862;p53"/>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3" name="Google Shape;7863;p53"/>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4" name="Google Shape;7864;p53"/>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65" name="Google Shape;7865;p53"/>
                      <p:cNvGrpSpPr/>
                      <p:nvPr/>
                    </p:nvGrpSpPr>
                    <p:grpSpPr>
                      <a:xfrm>
                        <a:off x="4579164" y="3203653"/>
                        <a:ext cx="1244833" cy="1020397"/>
                        <a:chOff x="4579164" y="3203653"/>
                        <a:chExt cx="1244833" cy="1020397"/>
                      </a:xfrm>
                    </p:grpSpPr>
                    <p:sp>
                      <p:nvSpPr>
                        <p:cNvPr id="7866" name="Google Shape;7866;p53"/>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7" name="Google Shape;7867;p53"/>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8" name="Google Shape;7868;p53"/>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9" name="Google Shape;7869;p53"/>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0" name="Google Shape;7870;p53"/>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1" name="Google Shape;7871;p53"/>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2" name="Google Shape;7872;p53"/>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3" name="Google Shape;7873;p53"/>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4" name="Google Shape;7874;p53"/>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5" name="Google Shape;7875;p53"/>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6" name="Google Shape;7876;p53"/>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7" name="Google Shape;7877;p53"/>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8" name="Google Shape;7878;p53"/>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9" name="Google Shape;7879;p53"/>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0" name="Google Shape;7880;p53"/>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1" name="Google Shape;7881;p53"/>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2" name="Google Shape;7882;p53"/>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3" name="Google Shape;7883;p53"/>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4" name="Google Shape;7884;p53"/>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5" name="Google Shape;7885;p53"/>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6" name="Google Shape;7886;p53"/>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7" name="Google Shape;7887;p53"/>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8" name="Google Shape;7888;p53"/>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9" name="Google Shape;7889;p53"/>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0" name="Google Shape;7890;p53"/>
                        <p:cNvGrpSpPr/>
                        <p:nvPr/>
                      </p:nvGrpSpPr>
                      <p:grpSpPr>
                        <a:xfrm>
                          <a:off x="4579164" y="3203653"/>
                          <a:ext cx="1244833" cy="1020397"/>
                          <a:chOff x="4579164" y="3203653"/>
                          <a:chExt cx="1244833" cy="1020397"/>
                        </a:xfrm>
                      </p:grpSpPr>
                      <p:sp>
                        <p:nvSpPr>
                          <p:cNvPr id="7891" name="Google Shape;7891;p53"/>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892" name="Google Shape;7892;p53"/>
                          <p:cNvGrpSpPr/>
                          <p:nvPr/>
                        </p:nvGrpSpPr>
                        <p:grpSpPr>
                          <a:xfrm>
                            <a:off x="4579164" y="3203653"/>
                            <a:ext cx="1244833" cy="1020397"/>
                            <a:chOff x="4579164" y="3203653"/>
                            <a:chExt cx="1244833" cy="1020397"/>
                          </a:xfrm>
                        </p:grpSpPr>
                        <p:sp>
                          <p:nvSpPr>
                            <p:cNvPr id="7893" name="Google Shape;7893;p53"/>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4" name="Google Shape;7894;p53"/>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5" name="Google Shape;7895;p53"/>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6" name="Google Shape;7896;p53"/>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7" name="Google Shape;7897;p53"/>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8" name="Google Shape;7898;p53"/>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9" name="Google Shape;7899;p53"/>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00" name="Google Shape;7900;p53"/>
                            <p:cNvGrpSpPr/>
                            <p:nvPr/>
                          </p:nvGrpSpPr>
                          <p:grpSpPr>
                            <a:xfrm>
                              <a:off x="4579164" y="3203653"/>
                              <a:ext cx="1244833" cy="1020397"/>
                              <a:chOff x="4579164" y="3203653"/>
                              <a:chExt cx="1244833" cy="1020397"/>
                            </a:xfrm>
                          </p:grpSpPr>
                          <p:sp>
                            <p:nvSpPr>
                              <p:cNvPr id="7901" name="Google Shape;7901;p53"/>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2" name="Google Shape;7902;p53"/>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3" name="Google Shape;7903;p53"/>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4" name="Google Shape;7904;p53"/>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5" name="Google Shape;7905;p53"/>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6" name="Google Shape;7906;p53"/>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7" name="Google Shape;7907;p53"/>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8" name="Google Shape;7908;p53"/>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9" name="Google Shape;7909;p53"/>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0" name="Google Shape;7910;p53"/>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1" name="Google Shape;7911;p53"/>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2" name="Google Shape;7912;p53"/>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3" name="Google Shape;7913;p53"/>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14" name="Google Shape;7914;p53"/>
                              <p:cNvGrpSpPr/>
                              <p:nvPr/>
                            </p:nvGrpSpPr>
                            <p:grpSpPr>
                              <a:xfrm>
                                <a:off x="4579164" y="3203653"/>
                                <a:ext cx="1244833" cy="1020397"/>
                                <a:chOff x="4579164" y="3203653"/>
                                <a:chExt cx="1244833" cy="1020397"/>
                              </a:xfrm>
                            </p:grpSpPr>
                            <p:sp>
                              <p:nvSpPr>
                                <p:cNvPr id="7915" name="Google Shape;7915;p53"/>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6" name="Google Shape;7916;p53"/>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7" name="Google Shape;7917;p53"/>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8" name="Google Shape;7918;p53"/>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9" name="Google Shape;7919;p53"/>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0" name="Google Shape;7920;p53"/>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1" name="Google Shape;7921;p53"/>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2" name="Google Shape;7922;p53"/>
                                <p:cNvGrpSpPr/>
                                <p:nvPr/>
                              </p:nvGrpSpPr>
                              <p:grpSpPr>
                                <a:xfrm>
                                  <a:off x="4579164" y="3203653"/>
                                  <a:ext cx="1244833" cy="1020397"/>
                                  <a:chOff x="4579164" y="3203653"/>
                                  <a:chExt cx="1244833" cy="1020397"/>
                                </a:xfrm>
                              </p:grpSpPr>
                              <p:sp>
                                <p:nvSpPr>
                                  <p:cNvPr id="7923" name="Google Shape;7923;p53"/>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4" name="Google Shape;7924;p53"/>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5" name="Google Shape;7925;p53"/>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6" name="Google Shape;7926;p53"/>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7" name="Google Shape;7927;p53"/>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928" name="Google Shape;7928;p53"/>
                                  <p:cNvGrpSpPr/>
                                  <p:nvPr/>
                                </p:nvGrpSpPr>
                                <p:grpSpPr>
                                  <a:xfrm>
                                    <a:off x="4579164" y="3203653"/>
                                    <a:ext cx="1244833" cy="1020397"/>
                                    <a:chOff x="4579164" y="3203653"/>
                                    <a:chExt cx="1244833" cy="1020397"/>
                                  </a:xfrm>
                                </p:grpSpPr>
                                <p:sp>
                                  <p:nvSpPr>
                                    <p:cNvPr id="7929" name="Google Shape;7929;p53"/>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0" name="Google Shape;7930;p53"/>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1" name="Google Shape;7931;p53"/>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2" name="Google Shape;7932;p53"/>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
                          <p:nvSpPr>
                            <p:cNvPr id="7933" name="Google Shape;7933;p53"/>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4" name="Google Shape;7934;p53"/>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5" name="Google Shape;7935;p53"/>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936" name="Google Shape;7936;p53"/>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grpSp>
            <p:nvGrpSpPr>
              <p:cNvPr id="7937" name="Google Shape;7937;p53"/>
              <p:cNvGrpSpPr/>
              <p:nvPr/>
            </p:nvGrpSpPr>
            <p:grpSpPr>
              <a:xfrm>
                <a:off x="4595437" y="3598775"/>
                <a:ext cx="37776" cy="32451"/>
                <a:chOff x="4595437" y="3598775"/>
                <a:chExt cx="37776" cy="32451"/>
              </a:xfrm>
            </p:grpSpPr>
            <p:sp>
              <p:nvSpPr>
                <p:cNvPr id="7938" name="Google Shape;7938;p53"/>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9" name="Google Shape;7939;p53"/>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0" name="Google Shape;7940;p53"/>
              <p:cNvGrpSpPr/>
              <p:nvPr/>
            </p:nvGrpSpPr>
            <p:grpSpPr>
              <a:xfrm>
                <a:off x="4641864" y="3524443"/>
                <a:ext cx="37776" cy="32380"/>
                <a:chOff x="4641864" y="3524443"/>
                <a:chExt cx="37776" cy="32380"/>
              </a:xfrm>
            </p:grpSpPr>
            <p:sp>
              <p:nvSpPr>
                <p:cNvPr id="7941" name="Google Shape;7941;p53"/>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2" name="Google Shape;7942;p53"/>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3" name="Google Shape;7943;p53"/>
              <p:cNvGrpSpPr/>
              <p:nvPr/>
            </p:nvGrpSpPr>
            <p:grpSpPr>
              <a:xfrm>
                <a:off x="4648431" y="3893901"/>
                <a:ext cx="37776" cy="32357"/>
                <a:chOff x="4648431" y="3893901"/>
                <a:chExt cx="37776" cy="32357"/>
              </a:xfrm>
            </p:grpSpPr>
            <p:sp>
              <p:nvSpPr>
                <p:cNvPr id="7944" name="Google Shape;7944;p53"/>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5" name="Google Shape;7945;p53"/>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6" name="Google Shape;7946;p53"/>
              <p:cNvGrpSpPr/>
              <p:nvPr/>
            </p:nvGrpSpPr>
            <p:grpSpPr>
              <a:xfrm>
                <a:off x="4567752" y="3722908"/>
                <a:ext cx="37870" cy="32380"/>
                <a:chOff x="4567752" y="3722908"/>
                <a:chExt cx="37870" cy="32380"/>
              </a:xfrm>
            </p:grpSpPr>
            <p:sp>
              <p:nvSpPr>
                <p:cNvPr id="7947" name="Google Shape;7947;p53"/>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8" name="Google Shape;7948;p53"/>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49" name="Google Shape;7949;p53"/>
              <p:cNvGrpSpPr/>
              <p:nvPr/>
            </p:nvGrpSpPr>
            <p:grpSpPr>
              <a:xfrm>
                <a:off x="4617506" y="3652052"/>
                <a:ext cx="37783" cy="32357"/>
                <a:chOff x="4617506" y="3652052"/>
                <a:chExt cx="37783" cy="32357"/>
              </a:xfrm>
            </p:grpSpPr>
            <p:sp>
              <p:nvSpPr>
                <p:cNvPr id="7950" name="Google Shape;7950;p53"/>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1" name="Google Shape;7951;p53"/>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2" name="Google Shape;7952;p53"/>
              <p:cNvGrpSpPr/>
              <p:nvPr/>
            </p:nvGrpSpPr>
            <p:grpSpPr>
              <a:xfrm>
                <a:off x="4739005" y="3554149"/>
                <a:ext cx="37870" cy="32357"/>
                <a:chOff x="4739005" y="3554149"/>
                <a:chExt cx="37870" cy="32357"/>
              </a:xfrm>
            </p:grpSpPr>
            <p:sp>
              <p:nvSpPr>
                <p:cNvPr id="7953" name="Google Shape;7953;p53"/>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4" name="Google Shape;7954;p53"/>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5" name="Google Shape;7955;p53"/>
              <p:cNvGrpSpPr/>
              <p:nvPr/>
            </p:nvGrpSpPr>
            <p:grpSpPr>
              <a:xfrm>
                <a:off x="4806557" y="3630258"/>
                <a:ext cx="37776" cy="32364"/>
                <a:chOff x="4806557" y="3630258"/>
                <a:chExt cx="37776" cy="32364"/>
              </a:xfrm>
            </p:grpSpPr>
            <p:sp>
              <p:nvSpPr>
                <p:cNvPr id="7956" name="Google Shape;7956;p53"/>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7" name="Google Shape;7957;p53"/>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58" name="Google Shape;7958;p53"/>
              <p:cNvGrpSpPr/>
              <p:nvPr/>
            </p:nvGrpSpPr>
            <p:grpSpPr>
              <a:xfrm>
                <a:off x="4737007" y="4004357"/>
                <a:ext cx="37870" cy="32357"/>
                <a:chOff x="4737007" y="4004357"/>
                <a:chExt cx="37870" cy="32357"/>
              </a:xfrm>
            </p:grpSpPr>
            <p:sp>
              <p:nvSpPr>
                <p:cNvPr id="7959" name="Google Shape;7959;p53"/>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0" name="Google Shape;7960;p53"/>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1" name="Google Shape;7961;p53"/>
              <p:cNvGrpSpPr/>
              <p:nvPr/>
            </p:nvGrpSpPr>
            <p:grpSpPr>
              <a:xfrm>
                <a:off x="4773634" y="4208627"/>
                <a:ext cx="37776" cy="32357"/>
                <a:chOff x="4773634" y="4208627"/>
                <a:chExt cx="37776" cy="32357"/>
              </a:xfrm>
            </p:grpSpPr>
            <p:sp>
              <p:nvSpPr>
                <p:cNvPr id="7962" name="Google Shape;7962;p53"/>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3" name="Google Shape;7963;p53"/>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4" name="Google Shape;7964;p53"/>
              <p:cNvGrpSpPr/>
              <p:nvPr/>
            </p:nvGrpSpPr>
            <p:grpSpPr>
              <a:xfrm>
                <a:off x="4888282" y="4074764"/>
                <a:ext cx="37776" cy="32451"/>
                <a:chOff x="4888282" y="4074764"/>
                <a:chExt cx="37776" cy="32451"/>
              </a:xfrm>
            </p:grpSpPr>
            <p:sp>
              <p:nvSpPr>
                <p:cNvPr id="7965" name="Google Shape;7965;p53"/>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6" name="Google Shape;7966;p53"/>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67" name="Google Shape;7967;p53"/>
              <p:cNvGrpSpPr/>
              <p:nvPr/>
            </p:nvGrpSpPr>
            <p:grpSpPr>
              <a:xfrm>
                <a:off x="4901315" y="3804271"/>
                <a:ext cx="37776" cy="32364"/>
                <a:chOff x="4901315" y="3804271"/>
                <a:chExt cx="37776" cy="32364"/>
              </a:xfrm>
            </p:grpSpPr>
            <p:sp>
              <p:nvSpPr>
                <p:cNvPr id="7968" name="Google Shape;7968;p53"/>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9" name="Google Shape;7969;p53"/>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0" name="Google Shape;7970;p53"/>
              <p:cNvGrpSpPr/>
              <p:nvPr/>
            </p:nvGrpSpPr>
            <p:grpSpPr>
              <a:xfrm>
                <a:off x="4866394" y="3715035"/>
                <a:ext cx="37846" cy="32357"/>
                <a:chOff x="4866394" y="3715035"/>
                <a:chExt cx="37846" cy="32357"/>
              </a:xfrm>
            </p:grpSpPr>
            <p:sp>
              <p:nvSpPr>
                <p:cNvPr id="7971" name="Google Shape;7971;p53"/>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2" name="Google Shape;7972;p53"/>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3" name="Google Shape;7973;p53"/>
              <p:cNvGrpSpPr/>
              <p:nvPr/>
            </p:nvGrpSpPr>
            <p:grpSpPr>
              <a:xfrm>
                <a:off x="4979233" y="3839798"/>
                <a:ext cx="37878" cy="32420"/>
                <a:chOff x="4979233" y="3839798"/>
                <a:chExt cx="37878" cy="32420"/>
              </a:xfrm>
            </p:grpSpPr>
            <p:sp>
              <p:nvSpPr>
                <p:cNvPr id="7974" name="Google Shape;7974;p53"/>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5" name="Google Shape;7975;p53"/>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6" name="Google Shape;7976;p53"/>
              <p:cNvGrpSpPr/>
              <p:nvPr/>
            </p:nvGrpSpPr>
            <p:grpSpPr>
              <a:xfrm>
                <a:off x="4790662" y="3679147"/>
                <a:ext cx="37783" cy="32380"/>
                <a:chOff x="4790662" y="3679147"/>
                <a:chExt cx="37783" cy="32380"/>
              </a:xfrm>
            </p:grpSpPr>
            <p:sp>
              <p:nvSpPr>
                <p:cNvPr id="7977" name="Google Shape;7977;p53"/>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8" name="Google Shape;7978;p53"/>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79" name="Google Shape;7979;p53"/>
              <p:cNvGrpSpPr/>
              <p:nvPr/>
            </p:nvGrpSpPr>
            <p:grpSpPr>
              <a:xfrm>
                <a:off x="4857263" y="3557861"/>
                <a:ext cx="37776" cy="32357"/>
                <a:chOff x="4857263" y="3557861"/>
                <a:chExt cx="37776" cy="32357"/>
              </a:xfrm>
            </p:grpSpPr>
            <p:sp>
              <p:nvSpPr>
                <p:cNvPr id="7980" name="Google Shape;7980;p53"/>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1" name="Google Shape;7981;p53"/>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2" name="Google Shape;7982;p53"/>
              <p:cNvGrpSpPr/>
              <p:nvPr/>
            </p:nvGrpSpPr>
            <p:grpSpPr>
              <a:xfrm>
                <a:off x="4883902" y="3648033"/>
                <a:ext cx="37783" cy="32380"/>
                <a:chOff x="4883902" y="3648033"/>
                <a:chExt cx="37783" cy="32380"/>
              </a:xfrm>
            </p:grpSpPr>
            <p:sp>
              <p:nvSpPr>
                <p:cNvPr id="7983" name="Google Shape;7983;p53"/>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4" name="Google Shape;7984;p53"/>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5" name="Google Shape;7985;p53"/>
              <p:cNvGrpSpPr/>
              <p:nvPr/>
            </p:nvGrpSpPr>
            <p:grpSpPr>
              <a:xfrm>
                <a:off x="4907780" y="3347220"/>
                <a:ext cx="37878" cy="32357"/>
                <a:chOff x="4907780" y="3347220"/>
                <a:chExt cx="37878" cy="32357"/>
              </a:xfrm>
            </p:grpSpPr>
            <p:sp>
              <p:nvSpPr>
                <p:cNvPr id="7986" name="Google Shape;7986;p53"/>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7" name="Google Shape;7987;p53"/>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88" name="Google Shape;7988;p53"/>
              <p:cNvGrpSpPr/>
              <p:nvPr/>
            </p:nvGrpSpPr>
            <p:grpSpPr>
              <a:xfrm>
                <a:off x="5065048" y="3738150"/>
                <a:ext cx="37783" cy="32364"/>
                <a:chOff x="5065048" y="3738150"/>
                <a:chExt cx="37783" cy="32364"/>
              </a:xfrm>
            </p:grpSpPr>
            <p:sp>
              <p:nvSpPr>
                <p:cNvPr id="7989" name="Google Shape;7989;p53"/>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0" name="Google Shape;7990;p53"/>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1" name="Google Shape;7991;p53"/>
              <p:cNvGrpSpPr/>
              <p:nvPr/>
            </p:nvGrpSpPr>
            <p:grpSpPr>
              <a:xfrm>
                <a:off x="5071616" y="3284615"/>
                <a:ext cx="37783" cy="32357"/>
                <a:chOff x="5071616" y="3284615"/>
                <a:chExt cx="37783" cy="32357"/>
              </a:xfrm>
            </p:grpSpPr>
            <p:sp>
              <p:nvSpPr>
                <p:cNvPr id="7992" name="Google Shape;7992;p53"/>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3" name="Google Shape;7993;p53"/>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4" name="Google Shape;7994;p53"/>
              <p:cNvGrpSpPr/>
              <p:nvPr/>
            </p:nvGrpSpPr>
            <p:grpSpPr>
              <a:xfrm>
                <a:off x="5389291" y="3759921"/>
                <a:ext cx="37783" cy="32380"/>
                <a:chOff x="5389291" y="3759921"/>
                <a:chExt cx="37783" cy="32380"/>
              </a:xfrm>
            </p:grpSpPr>
            <p:sp>
              <p:nvSpPr>
                <p:cNvPr id="7995" name="Google Shape;7995;p53"/>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6" name="Google Shape;7996;p53"/>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997" name="Google Shape;7997;p53"/>
              <p:cNvGrpSpPr/>
              <p:nvPr/>
            </p:nvGrpSpPr>
            <p:grpSpPr>
              <a:xfrm>
                <a:off x="5431534" y="3632932"/>
                <a:ext cx="37878" cy="32451"/>
                <a:chOff x="5431534" y="3632932"/>
                <a:chExt cx="37878" cy="32451"/>
              </a:xfrm>
            </p:grpSpPr>
            <p:sp>
              <p:nvSpPr>
                <p:cNvPr id="7998" name="Google Shape;7998;p53"/>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9" name="Google Shape;7999;p53"/>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0" name="Google Shape;8000;p53"/>
              <p:cNvGrpSpPr/>
              <p:nvPr/>
            </p:nvGrpSpPr>
            <p:grpSpPr>
              <a:xfrm>
                <a:off x="5540755" y="3544829"/>
                <a:ext cx="37783" cy="32357"/>
                <a:chOff x="5540755" y="3544829"/>
                <a:chExt cx="37783" cy="32357"/>
              </a:xfrm>
            </p:grpSpPr>
            <p:sp>
              <p:nvSpPr>
                <p:cNvPr id="8001" name="Google Shape;8001;p53"/>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2" name="Google Shape;8002;p53"/>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3" name="Google Shape;8003;p53"/>
              <p:cNvGrpSpPr/>
              <p:nvPr/>
            </p:nvGrpSpPr>
            <p:grpSpPr>
              <a:xfrm>
                <a:off x="5579293" y="3412107"/>
                <a:ext cx="37776" cy="32357"/>
                <a:chOff x="5579293" y="3412107"/>
                <a:chExt cx="37776" cy="32357"/>
              </a:xfrm>
            </p:grpSpPr>
            <p:sp>
              <p:nvSpPr>
                <p:cNvPr id="8004" name="Google Shape;8004;p53"/>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5" name="Google Shape;8005;p53"/>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6" name="Google Shape;8006;p53"/>
              <p:cNvGrpSpPr/>
              <p:nvPr/>
            </p:nvGrpSpPr>
            <p:grpSpPr>
              <a:xfrm>
                <a:off x="5801346" y="3284615"/>
                <a:ext cx="37783" cy="32357"/>
                <a:chOff x="5801346" y="3284615"/>
                <a:chExt cx="37783" cy="32357"/>
              </a:xfrm>
            </p:grpSpPr>
            <p:sp>
              <p:nvSpPr>
                <p:cNvPr id="8007" name="Google Shape;8007;p53"/>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8" name="Google Shape;8008;p53"/>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09" name="Google Shape;8009;p53"/>
              <p:cNvGrpSpPr/>
              <p:nvPr/>
            </p:nvGrpSpPr>
            <p:grpSpPr>
              <a:xfrm>
                <a:off x="5763578" y="3399067"/>
                <a:ext cx="37776" cy="32364"/>
                <a:chOff x="5763578" y="3399067"/>
                <a:chExt cx="37776" cy="32364"/>
              </a:xfrm>
            </p:grpSpPr>
            <p:sp>
              <p:nvSpPr>
                <p:cNvPr id="8010" name="Google Shape;8010;p53"/>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1" name="Google Shape;8011;p53"/>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2" name="Google Shape;8012;p53"/>
              <p:cNvGrpSpPr/>
              <p:nvPr/>
            </p:nvGrpSpPr>
            <p:grpSpPr>
              <a:xfrm>
                <a:off x="5395858" y="3230952"/>
                <a:ext cx="37776" cy="32364"/>
                <a:chOff x="5395858" y="3230952"/>
                <a:chExt cx="37776" cy="32364"/>
              </a:xfrm>
            </p:grpSpPr>
            <p:sp>
              <p:nvSpPr>
                <p:cNvPr id="8013" name="Google Shape;8013;p53"/>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4" name="Google Shape;8014;p53"/>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5" name="Google Shape;8015;p53"/>
              <p:cNvGrpSpPr/>
              <p:nvPr/>
            </p:nvGrpSpPr>
            <p:grpSpPr>
              <a:xfrm>
                <a:off x="5264088" y="3188237"/>
                <a:ext cx="37776" cy="32357"/>
                <a:chOff x="5264088" y="3188237"/>
                <a:chExt cx="37776" cy="32357"/>
              </a:xfrm>
            </p:grpSpPr>
            <p:sp>
              <p:nvSpPr>
                <p:cNvPr id="8016" name="Google Shape;8016;p53"/>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7" name="Google Shape;8017;p53"/>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18" name="Google Shape;8018;p53"/>
              <p:cNvGrpSpPr/>
              <p:nvPr/>
            </p:nvGrpSpPr>
            <p:grpSpPr>
              <a:xfrm>
                <a:off x="5585758" y="3237425"/>
                <a:ext cx="37878" cy="32357"/>
                <a:chOff x="5585758" y="3237425"/>
                <a:chExt cx="37878" cy="32357"/>
              </a:xfrm>
            </p:grpSpPr>
            <p:sp>
              <p:nvSpPr>
                <p:cNvPr id="8019" name="Google Shape;8019;p53"/>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0" name="Google Shape;8020;p53"/>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1" name="Google Shape;8021;p53"/>
              <p:cNvGrpSpPr/>
              <p:nvPr/>
            </p:nvGrpSpPr>
            <p:grpSpPr>
              <a:xfrm>
                <a:off x="4874196" y="3291088"/>
                <a:ext cx="37878" cy="32451"/>
                <a:chOff x="4874196" y="3291088"/>
                <a:chExt cx="37878" cy="32451"/>
              </a:xfrm>
            </p:grpSpPr>
            <p:sp>
              <p:nvSpPr>
                <p:cNvPr id="8022" name="Google Shape;8022;p53"/>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3" name="Google Shape;8023;p53"/>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4" name="Google Shape;8024;p53"/>
              <p:cNvGrpSpPr/>
              <p:nvPr/>
            </p:nvGrpSpPr>
            <p:grpSpPr>
              <a:xfrm>
                <a:off x="5197770" y="3785466"/>
                <a:ext cx="37783" cy="32427"/>
                <a:chOff x="5197770" y="3785466"/>
                <a:chExt cx="37783" cy="32427"/>
              </a:xfrm>
            </p:grpSpPr>
            <p:sp>
              <p:nvSpPr>
                <p:cNvPr id="8025" name="Google Shape;8025;p53"/>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6" name="Google Shape;8026;p53"/>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27" name="Google Shape;8027;p53"/>
              <p:cNvGrpSpPr/>
              <p:nvPr/>
            </p:nvGrpSpPr>
            <p:grpSpPr>
              <a:xfrm>
                <a:off x="5177699" y="3492117"/>
                <a:ext cx="37776" cy="32357"/>
                <a:chOff x="5177699" y="3492117"/>
                <a:chExt cx="37776" cy="32357"/>
              </a:xfrm>
            </p:grpSpPr>
            <p:sp>
              <p:nvSpPr>
                <p:cNvPr id="8028" name="Google Shape;8028;p53"/>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9" name="Google Shape;8029;p53"/>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0" name="Google Shape;8030;p53"/>
              <p:cNvGrpSpPr/>
              <p:nvPr/>
            </p:nvGrpSpPr>
            <p:grpSpPr>
              <a:xfrm>
                <a:off x="5349431" y="3622346"/>
                <a:ext cx="37870" cy="32380"/>
                <a:chOff x="5349431" y="3622346"/>
                <a:chExt cx="37870" cy="32380"/>
              </a:xfrm>
            </p:grpSpPr>
            <p:sp>
              <p:nvSpPr>
                <p:cNvPr id="8031" name="Google Shape;8031;p53"/>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2" name="Google Shape;8032;p53"/>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3" name="Google Shape;8033;p53"/>
              <p:cNvGrpSpPr/>
              <p:nvPr/>
            </p:nvGrpSpPr>
            <p:grpSpPr>
              <a:xfrm>
                <a:off x="5068855" y="3563980"/>
                <a:ext cx="53954" cy="46223"/>
                <a:chOff x="5068855" y="3563980"/>
                <a:chExt cx="53954" cy="46223"/>
              </a:xfrm>
            </p:grpSpPr>
            <p:sp>
              <p:nvSpPr>
                <p:cNvPr id="8034" name="Google Shape;8034;p53"/>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5" name="Google Shape;8035;p53"/>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6" name="Google Shape;8036;p53"/>
              <p:cNvGrpSpPr/>
              <p:nvPr/>
            </p:nvGrpSpPr>
            <p:grpSpPr>
              <a:xfrm>
                <a:off x="5037654" y="3392507"/>
                <a:ext cx="37870" cy="32451"/>
                <a:chOff x="5037654" y="3392507"/>
                <a:chExt cx="37870" cy="32451"/>
              </a:xfrm>
            </p:grpSpPr>
            <p:sp>
              <p:nvSpPr>
                <p:cNvPr id="8037" name="Google Shape;8037;p53"/>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8" name="Google Shape;8038;p53"/>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39" name="Google Shape;8039;p53"/>
              <p:cNvGrpSpPr/>
              <p:nvPr/>
            </p:nvGrpSpPr>
            <p:grpSpPr>
              <a:xfrm>
                <a:off x="5456560" y="3368629"/>
                <a:ext cx="37870" cy="32451"/>
                <a:chOff x="5456560" y="3368629"/>
                <a:chExt cx="37870" cy="32451"/>
              </a:xfrm>
            </p:grpSpPr>
            <p:sp>
              <p:nvSpPr>
                <p:cNvPr id="8040" name="Google Shape;8040;p53"/>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1" name="Google Shape;8041;p53"/>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2" name="Google Shape;8042;p53"/>
              <p:cNvGrpSpPr/>
              <p:nvPr/>
            </p:nvGrpSpPr>
            <p:grpSpPr>
              <a:xfrm>
                <a:off x="4755749" y="3501516"/>
                <a:ext cx="46246" cy="39608"/>
                <a:chOff x="4755749" y="3501516"/>
                <a:chExt cx="46246" cy="39608"/>
              </a:xfrm>
            </p:grpSpPr>
            <p:sp>
              <p:nvSpPr>
                <p:cNvPr id="8043" name="Google Shape;8043;p53"/>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4" name="Google Shape;8044;p53"/>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5" name="Google Shape;8045;p53"/>
              <p:cNvGrpSpPr/>
              <p:nvPr/>
            </p:nvGrpSpPr>
            <p:grpSpPr>
              <a:xfrm>
                <a:off x="4681346" y="3485582"/>
                <a:ext cx="37783" cy="32427"/>
                <a:chOff x="4681346" y="3485582"/>
                <a:chExt cx="37783" cy="32427"/>
              </a:xfrm>
            </p:grpSpPr>
            <p:sp>
              <p:nvSpPr>
                <p:cNvPr id="8046" name="Google Shape;8046;p53"/>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7" name="Google Shape;8047;p53"/>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48" name="Google Shape;8048;p53"/>
              <p:cNvGrpSpPr/>
              <p:nvPr/>
            </p:nvGrpSpPr>
            <p:grpSpPr>
              <a:xfrm>
                <a:off x="4767067" y="3291088"/>
                <a:ext cx="37878" cy="32451"/>
                <a:chOff x="4767067" y="3291088"/>
                <a:chExt cx="37878" cy="32451"/>
              </a:xfrm>
            </p:grpSpPr>
            <p:sp>
              <p:nvSpPr>
                <p:cNvPr id="8049" name="Google Shape;8049;p53"/>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0" name="Google Shape;8050;p53"/>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1" name="Google Shape;8051;p53"/>
              <p:cNvGrpSpPr/>
              <p:nvPr/>
            </p:nvGrpSpPr>
            <p:grpSpPr>
              <a:xfrm>
                <a:off x="4687819" y="3405539"/>
                <a:ext cx="37776" cy="32451"/>
                <a:chOff x="4687819" y="3405539"/>
                <a:chExt cx="37776" cy="32451"/>
              </a:xfrm>
            </p:grpSpPr>
            <p:sp>
              <p:nvSpPr>
                <p:cNvPr id="8052" name="Google Shape;8052;p53"/>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3" name="Google Shape;8053;p53"/>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4" name="Google Shape;8054;p53"/>
              <p:cNvGrpSpPr/>
              <p:nvPr/>
            </p:nvGrpSpPr>
            <p:grpSpPr>
              <a:xfrm>
                <a:off x="4923101" y="3444809"/>
                <a:ext cx="52813" cy="45318"/>
                <a:chOff x="4923101" y="3444809"/>
                <a:chExt cx="52813" cy="45318"/>
              </a:xfrm>
            </p:grpSpPr>
            <p:sp>
              <p:nvSpPr>
                <p:cNvPr id="8055" name="Google Shape;8055;p53"/>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6" name="Google Shape;8056;p53"/>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57" name="Google Shape;8057;p53"/>
              <p:cNvGrpSpPr/>
              <p:nvPr/>
            </p:nvGrpSpPr>
            <p:grpSpPr>
              <a:xfrm>
                <a:off x="4846040" y="3654750"/>
                <a:ext cx="31405" cy="26993"/>
                <a:chOff x="4846040" y="3654750"/>
                <a:chExt cx="31405" cy="26993"/>
              </a:xfrm>
            </p:grpSpPr>
            <p:sp>
              <p:nvSpPr>
                <p:cNvPr id="8058" name="Google Shape;8058;p53"/>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9" name="Google Shape;8059;p53"/>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0" name="Google Shape;8060;p53"/>
              <p:cNvGrpSpPr/>
              <p:nvPr/>
            </p:nvGrpSpPr>
            <p:grpSpPr>
              <a:xfrm>
                <a:off x="4925673" y="3691700"/>
                <a:ext cx="40253" cy="34472"/>
                <a:chOff x="4925673" y="3691700"/>
                <a:chExt cx="40253" cy="34472"/>
              </a:xfrm>
            </p:grpSpPr>
            <p:sp>
              <p:nvSpPr>
                <p:cNvPr id="8061" name="Google Shape;8061;p53"/>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2" name="Google Shape;8062;p53"/>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3" name="Google Shape;8063;p53"/>
              <p:cNvGrpSpPr/>
              <p:nvPr/>
            </p:nvGrpSpPr>
            <p:grpSpPr>
              <a:xfrm>
                <a:off x="4894653" y="3740848"/>
                <a:ext cx="31405" cy="26906"/>
                <a:chOff x="4894653" y="3740848"/>
                <a:chExt cx="31405" cy="26906"/>
              </a:xfrm>
            </p:grpSpPr>
            <p:sp>
              <p:nvSpPr>
                <p:cNvPr id="8064" name="Google Shape;8064;p53"/>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5" name="Google Shape;8065;p53"/>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6" name="Google Shape;8066;p53"/>
              <p:cNvGrpSpPr/>
              <p:nvPr/>
            </p:nvGrpSpPr>
            <p:grpSpPr>
              <a:xfrm>
                <a:off x="4962300" y="3696348"/>
                <a:ext cx="38255" cy="32773"/>
                <a:chOff x="4962300" y="3696348"/>
                <a:chExt cx="38255" cy="32773"/>
              </a:xfrm>
            </p:grpSpPr>
            <p:sp>
              <p:nvSpPr>
                <p:cNvPr id="8067" name="Google Shape;8067;p53"/>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8" name="Google Shape;8068;p53"/>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69" name="Google Shape;8069;p53"/>
              <p:cNvGrpSpPr/>
              <p:nvPr/>
            </p:nvGrpSpPr>
            <p:grpSpPr>
              <a:xfrm>
                <a:off x="4980185" y="3743349"/>
                <a:ext cx="31499" cy="26969"/>
                <a:chOff x="4980185" y="3743349"/>
                <a:chExt cx="31499" cy="26969"/>
              </a:xfrm>
            </p:grpSpPr>
            <p:sp>
              <p:nvSpPr>
                <p:cNvPr id="8070" name="Google Shape;8070;p53"/>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1" name="Google Shape;8071;p53"/>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2" name="Google Shape;8072;p53"/>
              <p:cNvGrpSpPr/>
              <p:nvPr/>
            </p:nvGrpSpPr>
            <p:grpSpPr>
              <a:xfrm>
                <a:off x="5013768" y="3734312"/>
                <a:ext cx="31499" cy="26969"/>
                <a:chOff x="5013768" y="3734312"/>
                <a:chExt cx="31499" cy="26969"/>
              </a:xfrm>
            </p:grpSpPr>
            <p:sp>
              <p:nvSpPr>
                <p:cNvPr id="8073" name="Google Shape;8073;p53"/>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4" name="Google Shape;8074;p53"/>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5" name="Google Shape;8075;p53"/>
              <p:cNvGrpSpPr/>
              <p:nvPr/>
            </p:nvGrpSpPr>
            <p:grpSpPr>
              <a:xfrm>
                <a:off x="5036703" y="3764545"/>
                <a:ext cx="31499" cy="26898"/>
                <a:chOff x="5036703" y="3764545"/>
                <a:chExt cx="31499" cy="26898"/>
              </a:xfrm>
            </p:grpSpPr>
            <p:sp>
              <p:nvSpPr>
                <p:cNvPr id="8076" name="Google Shape;8076;p53"/>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7" name="Google Shape;8077;p53"/>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78" name="Google Shape;8078;p53"/>
              <p:cNvGrpSpPr/>
              <p:nvPr/>
            </p:nvGrpSpPr>
            <p:grpSpPr>
              <a:xfrm>
                <a:off x="4953546" y="3768352"/>
                <a:ext cx="31405" cy="26898"/>
                <a:chOff x="4953546" y="3768352"/>
                <a:chExt cx="31405" cy="26898"/>
              </a:xfrm>
            </p:grpSpPr>
            <p:sp>
              <p:nvSpPr>
                <p:cNvPr id="8079" name="Google Shape;8079;p53"/>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0" name="Google Shape;8080;p53"/>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1" name="Google Shape;8081;p53"/>
              <p:cNvGrpSpPr/>
              <p:nvPr/>
            </p:nvGrpSpPr>
            <p:grpSpPr>
              <a:xfrm>
                <a:off x="4964770" y="3814016"/>
                <a:ext cx="31499" cy="26993"/>
                <a:chOff x="4964770" y="3814016"/>
                <a:chExt cx="31499" cy="26993"/>
              </a:xfrm>
            </p:grpSpPr>
            <p:sp>
              <p:nvSpPr>
                <p:cNvPr id="8082" name="Google Shape;8082;p53"/>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3" name="Google Shape;8083;p53"/>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4" name="Google Shape;8084;p53"/>
              <p:cNvGrpSpPr/>
              <p:nvPr/>
            </p:nvGrpSpPr>
            <p:grpSpPr>
              <a:xfrm>
                <a:off x="4923290" y="3800504"/>
                <a:ext cx="31468" cy="26898"/>
                <a:chOff x="4923290" y="3800504"/>
                <a:chExt cx="31468" cy="26898"/>
              </a:xfrm>
            </p:grpSpPr>
            <p:sp>
              <p:nvSpPr>
                <p:cNvPr id="8085" name="Google Shape;8085;p53"/>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6" name="Google Shape;8086;p53"/>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7" name="Google Shape;8087;p53"/>
              <p:cNvGrpSpPr/>
              <p:nvPr/>
            </p:nvGrpSpPr>
            <p:grpSpPr>
              <a:xfrm>
                <a:off x="5108534" y="3650943"/>
                <a:ext cx="31405" cy="26993"/>
                <a:chOff x="5108534" y="3650943"/>
                <a:chExt cx="31405" cy="26993"/>
              </a:xfrm>
            </p:grpSpPr>
            <p:sp>
              <p:nvSpPr>
                <p:cNvPr id="8088" name="Google Shape;8088;p53"/>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9" name="Google Shape;8089;p53"/>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0" name="Google Shape;8090;p53"/>
              <p:cNvGrpSpPr/>
              <p:nvPr/>
            </p:nvGrpSpPr>
            <p:grpSpPr>
              <a:xfrm>
                <a:off x="5119380" y="3760739"/>
                <a:ext cx="31499" cy="26993"/>
                <a:chOff x="5119380" y="3760739"/>
                <a:chExt cx="31499" cy="26993"/>
              </a:xfrm>
            </p:grpSpPr>
            <p:sp>
              <p:nvSpPr>
                <p:cNvPr id="8091" name="Google Shape;8091;p53"/>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2" name="Google Shape;8092;p53"/>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3" name="Google Shape;8093;p53"/>
              <p:cNvGrpSpPr/>
              <p:nvPr/>
            </p:nvGrpSpPr>
            <p:grpSpPr>
              <a:xfrm>
                <a:off x="5119380" y="3788235"/>
                <a:ext cx="31499" cy="26993"/>
                <a:chOff x="5119380" y="3788235"/>
                <a:chExt cx="31499" cy="26993"/>
              </a:xfrm>
            </p:grpSpPr>
            <p:sp>
              <p:nvSpPr>
                <p:cNvPr id="8094" name="Google Shape;8094;p53"/>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5" name="Google Shape;8095;p53"/>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6" name="Google Shape;8096;p53"/>
              <p:cNvGrpSpPr/>
              <p:nvPr/>
            </p:nvGrpSpPr>
            <p:grpSpPr>
              <a:xfrm>
                <a:off x="5158005" y="3875284"/>
                <a:ext cx="31405" cy="27001"/>
                <a:chOff x="5158005" y="3875284"/>
                <a:chExt cx="31405" cy="27001"/>
              </a:xfrm>
            </p:grpSpPr>
            <p:sp>
              <p:nvSpPr>
                <p:cNvPr id="8097" name="Google Shape;8097;p53"/>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8" name="Google Shape;8098;p53"/>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99" name="Google Shape;8099;p53"/>
              <p:cNvGrpSpPr/>
              <p:nvPr/>
            </p:nvGrpSpPr>
            <p:grpSpPr>
              <a:xfrm>
                <a:off x="5233163" y="3764545"/>
                <a:ext cx="31499" cy="26898"/>
                <a:chOff x="5233163" y="3764545"/>
                <a:chExt cx="31499" cy="26898"/>
              </a:xfrm>
            </p:grpSpPr>
            <p:sp>
              <p:nvSpPr>
                <p:cNvPr id="8100" name="Google Shape;8100;p53"/>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1" name="Google Shape;8101;p53"/>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2" name="Google Shape;8102;p53"/>
              <p:cNvGrpSpPr/>
              <p:nvPr/>
            </p:nvGrpSpPr>
            <p:grpSpPr>
              <a:xfrm>
                <a:off x="5276168" y="3805545"/>
                <a:ext cx="31499" cy="26906"/>
                <a:chOff x="5276168" y="3805545"/>
                <a:chExt cx="31499" cy="26906"/>
              </a:xfrm>
            </p:grpSpPr>
            <p:sp>
              <p:nvSpPr>
                <p:cNvPr id="8103" name="Google Shape;8103;p53"/>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4" name="Google Shape;8104;p53"/>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5" name="Google Shape;8105;p53"/>
              <p:cNvGrpSpPr/>
              <p:nvPr/>
            </p:nvGrpSpPr>
            <p:grpSpPr>
              <a:xfrm>
                <a:off x="5294053" y="3851933"/>
                <a:ext cx="31405" cy="26945"/>
                <a:chOff x="5294053" y="3851933"/>
                <a:chExt cx="31405" cy="26945"/>
              </a:xfrm>
            </p:grpSpPr>
            <p:sp>
              <p:nvSpPr>
                <p:cNvPr id="8106" name="Google Shape;8106;p53"/>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7" name="Google Shape;8107;p53"/>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08" name="Google Shape;8108;p53"/>
              <p:cNvGrpSpPr/>
              <p:nvPr/>
            </p:nvGrpSpPr>
            <p:grpSpPr>
              <a:xfrm>
                <a:off x="5341723" y="3851902"/>
                <a:ext cx="31405" cy="26977"/>
                <a:chOff x="5341723" y="3851902"/>
                <a:chExt cx="31405" cy="26977"/>
              </a:xfrm>
            </p:grpSpPr>
            <p:sp>
              <p:nvSpPr>
                <p:cNvPr id="8109" name="Google Shape;8109;p53"/>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0" name="Google Shape;8110;p53"/>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1" name="Google Shape;8111;p53"/>
              <p:cNvGrpSpPr/>
              <p:nvPr/>
            </p:nvGrpSpPr>
            <p:grpSpPr>
              <a:xfrm>
                <a:off x="5054871" y="3507855"/>
                <a:ext cx="31405" cy="26993"/>
                <a:chOff x="5054871" y="3507855"/>
                <a:chExt cx="31405" cy="26993"/>
              </a:xfrm>
            </p:grpSpPr>
            <p:sp>
              <p:nvSpPr>
                <p:cNvPr id="8112" name="Google Shape;8112;p53"/>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3" name="Google Shape;8113;p53"/>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4" name="Google Shape;8114;p53"/>
              <p:cNvGrpSpPr/>
              <p:nvPr/>
            </p:nvGrpSpPr>
            <p:grpSpPr>
              <a:xfrm>
                <a:off x="4876579" y="3675325"/>
                <a:ext cx="31405" cy="26969"/>
                <a:chOff x="4876579" y="3675325"/>
                <a:chExt cx="31405" cy="26969"/>
              </a:xfrm>
            </p:grpSpPr>
            <p:sp>
              <p:nvSpPr>
                <p:cNvPr id="8115" name="Google Shape;8115;p53"/>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6" name="Google Shape;8116;p53"/>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17" name="Google Shape;8117;p53"/>
              <p:cNvGrpSpPr/>
              <p:nvPr/>
            </p:nvGrpSpPr>
            <p:grpSpPr>
              <a:xfrm>
                <a:off x="4842233" y="3688333"/>
                <a:ext cx="31405" cy="26993"/>
                <a:chOff x="4842233" y="3688333"/>
                <a:chExt cx="31405" cy="26993"/>
              </a:xfrm>
            </p:grpSpPr>
            <p:sp>
              <p:nvSpPr>
                <p:cNvPr id="8118" name="Google Shape;8118;p53"/>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9" name="Google Shape;8119;p53"/>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0" name="Google Shape;8120;p53"/>
              <p:cNvGrpSpPr/>
              <p:nvPr/>
            </p:nvGrpSpPr>
            <p:grpSpPr>
              <a:xfrm>
                <a:off x="5187876" y="3608032"/>
                <a:ext cx="31405" cy="27001"/>
                <a:chOff x="5187876" y="3608032"/>
                <a:chExt cx="31405" cy="27001"/>
              </a:xfrm>
            </p:grpSpPr>
            <p:sp>
              <p:nvSpPr>
                <p:cNvPr id="8121" name="Google Shape;8121;p53"/>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2" name="Google Shape;8122;p53"/>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23" name="Google Shape;8123;p53"/>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4" name="Google Shape;8124;p53"/>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25" name="Google Shape;8125;p53"/>
              <p:cNvGrpSpPr/>
              <p:nvPr/>
            </p:nvGrpSpPr>
            <p:grpSpPr>
              <a:xfrm>
                <a:off x="5269224" y="3304167"/>
                <a:ext cx="40253" cy="34402"/>
                <a:chOff x="5269224" y="3304167"/>
                <a:chExt cx="40253" cy="34402"/>
              </a:xfrm>
            </p:grpSpPr>
            <p:sp>
              <p:nvSpPr>
                <p:cNvPr id="8126" name="Google Shape;8126;p53"/>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7" name="Google Shape;8127;p53"/>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28" name="Google Shape;8128;p53"/>
              <p:cNvGrpSpPr/>
              <p:nvPr/>
            </p:nvGrpSpPr>
            <p:grpSpPr>
              <a:xfrm>
                <a:off x="5327354" y="3476615"/>
                <a:ext cx="49864" cy="42723"/>
                <a:chOff x="5327354" y="3476615"/>
                <a:chExt cx="49864" cy="42723"/>
              </a:xfrm>
            </p:grpSpPr>
            <p:sp>
              <p:nvSpPr>
                <p:cNvPr id="8129" name="Google Shape;8129;p53"/>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0" name="Google Shape;8130;p53"/>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31" name="Google Shape;8131;p53"/>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2" name="Google Shape;8132;p53"/>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33" name="Google Shape;8133;p53"/>
              <p:cNvGrpSpPr/>
              <p:nvPr/>
            </p:nvGrpSpPr>
            <p:grpSpPr>
              <a:xfrm>
                <a:off x="5341723" y="3775957"/>
                <a:ext cx="31405" cy="26898"/>
                <a:chOff x="5341723" y="3775957"/>
                <a:chExt cx="31405" cy="26898"/>
              </a:xfrm>
            </p:grpSpPr>
            <p:sp>
              <p:nvSpPr>
                <p:cNvPr id="8134" name="Google Shape;8134;p53"/>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5" name="Google Shape;8135;p53"/>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6" name="Google Shape;8136;p53"/>
              <p:cNvGrpSpPr/>
              <p:nvPr/>
            </p:nvGrpSpPr>
            <p:grpSpPr>
              <a:xfrm>
                <a:off x="5439053" y="3699274"/>
                <a:ext cx="31405" cy="26898"/>
                <a:chOff x="5439053" y="3699274"/>
                <a:chExt cx="31405" cy="26898"/>
              </a:xfrm>
            </p:grpSpPr>
            <p:sp>
              <p:nvSpPr>
                <p:cNvPr id="8137" name="Google Shape;8137;p53"/>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8" name="Google Shape;8138;p53"/>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39" name="Google Shape;8139;p53"/>
              <p:cNvGrpSpPr/>
              <p:nvPr/>
            </p:nvGrpSpPr>
            <p:grpSpPr>
              <a:xfrm>
                <a:off x="5412414" y="3622307"/>
                <a:ext cx="31499" cy="26993"/>
                <a:chOff x="5412414" y="3622307"/>
                <a:chExt cx="31499" cy="26993"/>
              </a:xfrm>
            </p:grpSpPr>
            <p:sp>
              <p:nvSpPr>
                <p:cNvPr id="8140" name="Google Shape;8140;p53"/>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1" name="Google Shape;8141;p53"/>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2" name="Google Shape;8142;p53"/>
              <p:cNvGrpSpPr/>
              <p:nvPr/>
            </p:nvGrpSpPr>
            <p:grpSpPr>
              <a:xfrm>
                <a:off x="5476254" y="3473949"/>
                <a:ext cx="26835" cy="26930"/>
                <a:chOff x="5476254" y="3473949"/>
                <a:chExt cx="26835" cy="26930"/>
              </a:xfrm>
            </p:grpSpPr>
            <p:sp>
              <p:nvSpPr>
                <p:cNvPr id="8143" name="Google Shape;8143;p53"/>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4" name="Google Shape;8144;p53"/>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5" name="Google Shape;8145;p53"/>
              <p:cNvGrpSpPr/>
              <p:nvPr/>
            </p:nvGrpSpPr>
            <p:grpSpPr>
              <a:xfrm>
                <a:off x="5564547" y="3481594"/>
                <a:ext cx="31397" cy="26898"/>
                <a:chOff x="5564547" y="3481594"/>
                <a:chExt cx="31397" cy="26898"/>
              </a:xfrm>
            </p:grpSpPr>
            <p:sp>
              <p:nvSpPr>
                <p:cNvPr id="8146" name="Google Shape;8146;p53"/>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7" name="Google Shape;8147;p53"/>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48" name="Google Shape;8148;p53"/>
              <p:cNvGrpSpPr/>
              <p:nvPr/>
            </p:nvGrpSpPr>
            <p:grpSpPr>
              <a:xfrm>
                <a:off x="5534101" y="3470174"/>
                <a:ext cx="31397" cy="26906"/>
                <a:chOff x="5534101" y="3470174"/>
                <a:chExt cx="31397" cy="26906"/>
              </a:xfrm>
            </p:grpSpPr>
            <p:sp>
              <p:nvSpPr>
                <p:cNvPr id="8149" name="Google Shape;8149;p53"/>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0" name="Google Shape;8150;p53"/>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1" name="Google Shape;8151;p53"/>
              <p:cNvGrpSpPr/>
              <p:nvPr/>
            </p:nvGrpSpPr>
            <p:grpSpPr>
              <a:xfrm>
                <a:off x="5610879" y="3314486"/>
                <a:ext cx="31499" cy="26938"/>
                <a:chOff x="5610879" y="3314486"/>
                <a:chExt cx="31499" cy="26938"/>
              </a:xfrm>
            </p:grpSpPr>
            <p:sp>
              <p:nvSpPr>
                <p:cNvPr id="8152" name="Google Shape;8152;p53"/>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3" name="Google Shape;8153;p53"/>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4" name="Google Shape;8154;p53"/>
              <p:cNvGrpSpPr/>
              <p:nvPr/>
            </p:nvGrpSpPr>
            <p:grpSpPr>
              <a:xfrm>
                <a:off x="4834525" y="3501382"/>
                <a:ext cx="31499" cy="26898"/>
                <a:chOff x="4834525" y="3501382"/>
                <a:chExt cx="31499" cy="26898"/>
              </a:xfrm>
            </p:grpSpPr>
            <p:sp>
              <p:nvSpPr>
                <p:cNvPr id="8155" name="Google Shape;8155;p53"/>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6" name="Google Shape;8156;p53"/>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7" name="Google Shape;8157;p53"/>
              <p:cNvGrpSpPr/>
              <p:nvPr/>
            </p:nvGrpSpPr>
            <p:grpSpPr>
              <a:xfrm>
                <a:off x="4898460" y="3580158"/>
                <a:ext cx="31405" cy="26898"/>
                <a:chOff x="4898460" y="3580158"/>
                <a:chExt cx="31405" cy="26898"/>
              </a:xfrm>
            </p:grpSpPr>
            <p:sp>
              <p:nvSpPr>
                <p:cNvPr id="8158" name="Google Shape;8158;p53"/>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9" name="Google Shape;8159;p53"/>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0" name="Google Shape;8160;p53"/>
              <p:cNvGrpSpPr/>
              <p:nvPr/>
            </p:nvGrpSpPr>
            <p:grpSpPr>
              <a:xfrm>
                <a:off x="4882667" y="3608032"/>
                <a:ext cx="31499" cy="27001"/>
                <a:chOff x="4882667" y="3608032"/>
                <a:chExt cx="31499" cy="27001"/>
              </a:xfrm>
            </p:grpSpPr>
            <p:sp>
              <p:nvSpPr>
                <p:cNvPr id="8161" name="Google Shape;8161;p53"/>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2" name="Google Shape;8162;p53"/>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3" name="Google Shape;8163;p53"/>
              <p:cNvGrpSpPr/>
              <p:nvPr/>
            </p:nvGrpSpPr>
            <p:grpSpPr>
              <a:xfrm>
                <a:off x="4843373" y="3631407"/>
                <a:ext cx="16273" cy="16186"/>
                <a:chOff x="4843373" y="3631407"/>
                <a:chExt cx="16273" cy="16186"/>
              </a:xfrm>
            </p:grpSpPr>
            <p:sp>
              <p:nvSpPr>
                <p:cNvPr id="8164" name="Google Shape;8164;p53"/>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5" name="Google Shape;8165;p53"/>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66" name="Google Shape;8166;p53"/>
              <p:cNvGrpSpPr/>
              <p:nvPr/>
            </p:nvGrpSpPr>
            <p:grpSpPr>
              <a:xfrm>
                <a:off x="4727773" y="3591578"/>
                <a:ext cx="31499" cy="26898"/>
                <a:chOff x="4727773" y="3591578"/>
                <a:chExt cx="31499" cy="26898"/>
              </a:xfrm>
            </p:grpSpPr>
            <p:sp>
              <p:nvSpPr>
                <p:cNvPr id="8167" name="Google Shape;8167;p53"/>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8" name="Google Shape;8168;p53"/>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169" name="Google Shape;8169;p53"/>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0" name="Google Shape;8170;p53"/>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1" name="Google Shape;8171;p53"/>
              <p:cNvGrpSpPr/>
              <p:nvPr/>
            </p:nvGrpSpPr>
            <p:grpSpPr>
              <a:xfrm>
                <a:off x="4609421" y="3577398"/>
                <a:ext cx="31499" cy="27001"/>
                <a:chOff x="4609421" y="3577398"/>
                <a:chExt cx="31499" cy="27001"/>
              </a:xfrm>
            </p:grpSpPr>
            <p:sp>
              <p:nvSpPr>
                <p:cNvPr id="8172" name="Google Shape;8172;p53"/>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3" name="Google Shape;8173;p53"/>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4" name="Google Shape;8174;p53"/>
              <p:cNvGrpSpPr/>
              <p:nvPr/>
            </p:nvGrpSpPr>
            <p:grpSpPr>
              <a:xfrm>
                <a:off x="4649289" y="3577398"/>
                <a:ext cx="31499" cy="27001"/>
                <a:chOff x="4649289" y="3577398"/>
                <a:chExt cx="31499" cy="27001"/>
              </a:xfrm>
            </p:grpSpPr>
            <p:sp>
              <p:nvSpPr>
                <p:cNvPr id="8175" name="Google Shape;8175;p53"/>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6" name="Google Shape;8176;p53"/>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77" name="Google Shape;8177;p53"/>
              <p:cNvGrpSpPr/>
              <p:nvPr/>
            </p:nvGrpSpPr>
            <p:grpSpPr>
              <a:xfrm>
                <a:off x="4605614" y="3639523"/>
                <a:ext cx="31499" cy="26906"/>
                <a:chOff x="4605614" y="3639523"/>
                <a:chExt cx="31499" cy="26906"/>
              </a:xfrm>
            </p:grpSpPr>
            <p:sp>
              <p:nvSpPr>
                <p:cNvPr id="8178" name="Google Shape;8178;p53"/>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9" name="Google Shape;8179;p53"/>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0" name="Google Shape;8180;p53"/>
              <p:cNvGrpSpPr/>
              <p:nvPr/>
            </p:nvGrpSpPr>
            <p:grpSpPr>
              <a:xfrm>
                <a:off x="4785149" y="3618846"/>
                <a:ext cx="26930" cy="26843"/>
                <a:chOff x="4785149" y="3618846"/>
                <a:chExt cx="26930" cy="26843"/>
              </a:xfrm>
            </p:grpSpPr>
            <p:sp>
              <p:nvSpPr>
                <p:cNvPr id="8181" name="Google Shape;8181;p53"/>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2" name="Google Shape;8182;p53"/>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3" name="Google Shape;8183;p53"/>
              <p:cNvGrpSpPr/>
              <p:nvPr/>
            </p:nvGrpSpPr>
            <p:grpSpPr>
              <a:xfrm>
                <a:off x="4810167" y="3601567"/>
                <a:ext cx="31405" cy="26898"/>
                <a:chOff x="4810167" y="3601567"/>
                <a:chExt cx="31405" cy="26898"/>
              </a:xfrm>
            </p:grpSpPr>
            <p:sp>
              <p:nvSpPr>
                <p:cNvPr id="8184" name="Google Shape;8184;p53"/>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5" name="Google Shape;8185;p53"/>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6" name="Google Shape;8186;p53"/>
              <p:cNvGrpSpPr/>
              <p:nvPr/>
            </p:nvGrpSpPr>
            <p:grpSpPr>
              <a:xfrm>
                <a:off x="4831002" y="3373230"/>
                <a:ext cx="31405" cy="26898"/>
                <a:chOff x="4831002" y="3373230"/>
                <a:chExt cx="31405" cy="26898"/>
              </a:xfrm>
            </p:grpSpPr>
            <p:sp>
              <p:nvSpPr>
                <p:cNvPr id="8187" name="Google Shape;8187;p53"/>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8" name="Google Shape;8188;p53"/>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89" name="Google Shape;8189;p53"/>
              <p:cNvGrpSpPr/>
              <p:nvPr/>
            </p:nvGrpSpPr>
            <p:grpSpPr>
              <a:xfrm>
                <a:off x="4719311" y="3355054"/>
                <a:ext cx="31499" cy="27001"/>
                <a:chOff x="4719311" y="3355054"/>
                <a:chExt cx="31499" cy="27001"/>
              </a:xfrm>
            </p:grpSpPr>
            <p:sp>
              <p:nvSpPr>
                <p:cNvPr id="8190" name="Google Shape;8190;p53"/>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1" name="Google Shape;8191;p53"/>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2" name="Google Shape;8192;p53"/>
              <p:cNvGrpSpPr/>
              <p:nvPr/>
            </p:nvGrpSpPr>
            <p:grpSpPr>
              <a:xfrm>
                <a:off x="4798755" y="3450260"/>
                <a:ext cx="26930" cy="26930"/>
                <a:chOff x="4798755" y="3450260"/>
                <a:chExt cx="26930" cy="26930"/>
              </a:xfrm>
            </p:grpSpPr>
            <p:sp>
              <p:nvSpPr>
                <p:cNvPr id="8193" name="Google Shape;8193;p53"/>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4" name="Google Shape;8194;p53"/>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5" name="Google Shape;8195;p53"/>
              <p:cNvGrpSpPr/>
              <p:nvPr/>
            </p:nvGrpSpPr>
            <p:grpSpPr>
              <a:xfrm>
                <a:off x="4645576" y="3467555"/>
                <a:ext cx="31405" cy="26953"/>
                <a:chOff x="4645576" y="3467555"/>
                <a:chExt cx="31405" cy="26953"/>
              </a:xfrm>
            </p:grpSpPr>
            <p:sp>
              <p:nvSpPr>
                <p:cNvPr id="8196" name="Google Shape;8196;p53"/>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7" name="Google Shape;8197;p53"/>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98" name="Google Shape;8198;p53"/>
              <p:cNvGrpSpPr/>
              <p:nvPr/>
            </p:nvGrpSpPr>
            <p:grpSpPr>
              <a:xfrm>
                <a:off x="4687631" y="3583965"/>
                <a:ext cx="31499" cy="26898"/>
                <a:chOff x="4687631" y="3583965"/>
                <a:chExt cx="31499" cy="26898"/>
              </a:xfrm>
            </p:grpSpPr>
            <p:sp>
              <p:nvSpPr>
                <p:cNvPr id="8199" name="Google Shape;8199;p53"/>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0" name="Google Shape;8200;p53"/>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1" name="Google Shape;8201;p53"/>
              <p:cNvGrpSpPr/>
              <p:nvPr/>
            </p:nvGrpSpPr>
            <p:grpSpPr>
              <a:xfrm>
                <a:off x="4719311" y="3471314"/>
                <a:ext cx="31499" cy="27001"/>
                <a:chOff x="4719311" y="3471314"/>
                <a:chExt cx="31499" cy="27001"/>
              </a:xfrm>
            </p:grpSpPr>
            <p:sp>
              <p:nvSpPr>
                <p:cNvPr id="8202" name="Google Shape;8202;p53"/>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3" name="Google Shape;8203;p53"/>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4" name="Google Shape;8204;p53"/>
              <p:cNvGrpSpPr/>
              <p:nvPr/>
            </p:nvGrpSpPr>
            <p:grpSpPr>
              <a:xfrm>
                <a:off x="4719311" y="3434404"/>
                <a:ext cx="31499" cy="26898"/>
                <a:chOff x="4719311" y="3434404"/>
                <a:chExt cx="31499" cy="26898"/>
              </a:xfrm>
            </p:grpSpPr>
            <p:sp>
              <p:nvSpPr>
                <p:cNvPr id="8205" name="Google Shape;8205;p53"/>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6" name="Google Shape;8206;p53"/>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07" name="Google Shape;8207;p53"/>
              <p:cNvGrpSpPr/>
              <p:nvPr/>
            </p:nvGrpSpPr>
            <p:grpSpPr>
              <a:xfrm>
                <a:off x="4768876" y="3401772"/>
                <a:ext cx="31499" cy="26898"/>
                <a:chOff x="4768876" y="3401772"/>
                <a:chExt cx="31499" cy="26898"/>
              </a:xfrm>
            </p:grpSpPr>
            <p:sp>
              <p:nvSpPr>
                <p:cNvPr id="8208" name="Google Shape;8208;p53"/>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9" name="Google Shape;8209;p53"/>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0" name="Google Shape;8210;p53"/>
              <p:cNvGrpSpPr/>
              <p:nvPr/>
            </p:nvGrpSpPr>
            <p:grpSpPr>
              <a:xfrm>
                <a:off x="4762214" y="3471377"/>
                <a:ext cx="26938" cy="26938"/>
                <a:chOff x="4762214" y="3471377"/>
                <a:chExt cx="26938" cy="26938"/>
              </a:xfrm>
            </p:grpSpPr>
            <p:sp>
              <p:nvSpPr>
                <p:cNvPr id="8211" name="Google Shape;8211;p53"/>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2" name="Google Shape;8212;p53"/>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3" name="Google Shape;8213;p53"/>
              <p:cNvGrpSpPr/>
              <p:nvPr/>
            </p:nvGrpSpPr>
            <p:grpSpPr>
              <a:xfrm>
                <a:off x="4790473" y="3344782"/>
                <a:ext cx="31405" cy="26898"/>
                <a:chOff x="4790473" y="3344782"/>
                <a:chExt cx="31405" cy="26898"/>
              </a:xfrm>
            </p:grpSpPr>
            <p:sp>
              <p:nvSpPr>
                <p:cNvPr id="8214" name="Google Shape;8214;p53"/>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5" name="Google Shape;8215;p53"/>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6" name="Google Shape;8216;p53"/>
              <p:cNvGrpSpPr/>
              <p:nvPr/>
            </p:nvGrpSpPr>
            <p:grpSpPr>
              <a:xfrm>
                <a:off x="4823774" y="3950733"/>
                <a:ext cx="37398" cy="32034"/>
                <a:chOff x="4823774" y="3950733"/>
                <a:chExt cx="37398" cy="32034"/>
              </a:xfrm>
            </p:grpSpPr>
            <p:sp>
              <p:nvSpPr>
                <p:cNvPr id="8217" name="Google Shape;8217;p53"/>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8" name="Google Shape;8218;p53"/>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19" name="Google Shape;8219;p53"/>
              <p:cNvGrpSpPr/>
              <p:nvPr/>
            </p:nvGrpSpPr>
            <p:grpSpPr>
              <a:xfrm>
                <a:off x="4823396" y="4110566"/>
                <a:ext cx="31405" cy="26906"/>
                <a:chOff x="4823396" y="4110566"/>
                <a:chExt cx="31405" cy="26906"/>
              </a:xfrm>
            </p:grpSpPr>
            <p:sp>
              <p:nvSpPr>
                <p:cNvPr id="8220" name="Google Shape;8220;p53"/>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1" name="Google Shape;8221;p53"/>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2" name="Google Shape;8222;p53"/>
              <p:cNvGrpSpPr/>
              <p:nvPr/>
            </p:nvGrpSpPr>
            <p:grpSpPr>
              <a:xfrm>
                <a:off x="4838332" y="3821150"/>
                <a:ext cx="31499" cy="26898"/>
                <a:chOff x="4838332" y="3821150"/>
                <a:chExt cx="31499" cy="26898"/>
              </a:xfrm>
            </p:grpSpPr>
            <p:sp>
              <p:nvSpPr>
                <p:cNvPr id="8223" name="Google Shape;8223;p53"/>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4" name="Google Shape;8224;p53"/>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5" name="Google Shape;8225;p53"/>
              <p:cNvGrpSpPr/>
              <p:nvPr/>
            </p:nvGrpSpPr>
            <p:grpSpPr>
              <a:xfrm>
                <a:off x="4661275" y="3815007"/>
                <a:ext cx="36824" cy="31523"/>
                <a:chOff x="4661275" y="3815007"/>
                <a:chExt cx="36824" cy="31523"/>
              </a:xfrm>
            </p:grpSpPr>
            <p:sp>
              <p:nvSpPr>
                <p:cNvPr id="8226" name="Google Shape;8226;p53"/>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7" name="Google Shape;8227;p53"/>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28" name="Google Shape;8228;p53"/>
              <p:cNvGrpSpPr/>
              <p:nvPr/>
            </p:nvGrpSpPr>
            <p:grpSpPr>
              <a:xfrm>
                <a:off x="4558998" y="3851037"/>
                <a:ext cx="33591" cy="28699"/>
                <a:chOff x="4558998" y="3851037"/>
                <a:chExt cx="33591" cy="28699"/>
              </a:xfrm>
            </p:grpSpPr>
            <p:sp>
              <p:nvSpPr>
                <p:cNvPr id="8229" name="Google Shape;8229;p53"/>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0" name="Google Shape;8230;p53"/>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1" name="Google Shape;8231;p53"/>
              <p:cNvGrpSpPr/>
              <p:nvPr/>
            </p:nvGrpSpPr>
            <p:grpSpPr>
              <a:xfrm>
                <a:off x="4696762" y="3638587"/>
                <a:ext cx="33591" cy="28794"/>
                <a:chOff x="4696762" y="3638587"/>
                <a:chExt cx="33591" cy="28794"/>
              </a:xfrm>
            </p:grpSpPr>
            <p:sp>
              <p:nvSpPr>
                <p:cNvPr id="8232" name="Google Shape;8232;p53"/>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3" name="Google Shape;8233;p53"/>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4" name="Google Shape;8234;p53"/>
              <p:cNvGrpSpPr/>
              <p:nvPr/>
            </p:nvGrpSpPr>
            <p:grpSpPr>
              <a:xfrm>
                <a:off x="4929479" y="3939140"/>
                <a:ext cx="33497" cy="28692"/>
                <a:chOff x="4929479" y="3939140"/>
                <a:chExt cx="33497" cy="28692"/>
              </a:xfrm>
            </p:grpSpPr>
            <p:sp>
              <p:nvSpPr>
                <p:cNvPr id="8235" name="Google Shape;8235;p53"/>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6" name="Google Shape;8236;p53"/>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37" name="Google Shape;8237;p53"/>
              <p:cNvGrpSpPr/>
              <p:nvPr/>
            </p:nvGrpSpPr>
            <p:grpSpPr>
              <a:xfrm>
                <a:off x="4907119" y="3986039"/>
                <a:ext cx="33497" cy="28699"/>
                <a:chOff x="4907119" y="3986039"/>
                <a:chExt cx="33497" cy="28699"/>
              </a:xfrm>
            </p:grpSpPr>
            <p:sp>
              <p:nvSpPr>
                <p:cNvPr id="8238" name="Google Shape;8238;p53"/>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9" name="Google Shape;8239;p53"/>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0" name="Google Shape;8240;p53"/>
              <p:cNvGrpSpPr/>
              <p:nvPr/>
            </p:nvGrpSpPr>
            <p:grpSpPr>
              <a:xfrm>
                <a:off x="4911783" y="4048102"/>
                <a:ext cx="33591" cy="28762"/>
                <a:chOff x="4911783" y="4048102"/>
                <a:chExt cx="33591" cy="28762"/>
              </a:xfrm>
            </p:grpSpPr>
            <p:sp>
              <p:nvSpPr>
                <p:cNvPr id="8241" name="Google Shape;8241;p53"/>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2" name="Google Shape;8242;p53"/>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43" name="Google Shape;8243;p53"/>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4" name="Google Shape;8244;p53"/>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245" name="Google Shape;8245;p53"/>
              <p:cNvGrpSpPr/>
              <p:nvPr/>
            </p:nvGrpSpPr>
            <p:grpSpPr>
              <a:xfrm>
                <a:off x="4762623" y="3837847"/>
                <a:ext cx="42416" cy="36273"/>
                <a:chOff x="4762623" y="3837847"/>
                <a:chExt cx="42416" cy="36273"/>
              </a:xfrm>
            </p:grpSpPr>
            <p:sp>
              <p:nvSpPr>
                <p:cNvPr id="8246" name="Google Shape;8246;p53"/>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7" name="Google Shape;8247;p53"/>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48" name="Google Shape;8248;p53"/>
              <p:cNvGrpSpPr/>
              <p:nvPr/>
            </p:nvGrpSpPr>
            <p:grpSpPr>
              <a:xfrm>
                <a:off x="4746044" y="4104966"/>
                <a:ext cx="33497" cy="28699"/>
                <a:chOff x="4746044" y="4104966"/>
                <a:chExt cx="33497" cy="28699"/>
              </a:xfrm>
            </p:grpSpPr>
            <p:sp>
              <p:nvSpPr>
                <p:cNvPr id="8249" name="Google Shape;8249;p53"/>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0" name="Google Shape;8250;p53"/>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51" name="Google Shape;8251;p53"/>
              <p:cNvGrpSpPr/>
              <p:nvPr/>
            </p:nvGrpSpPr>
            <p:grpSpPr>
              <a:xfrm>
                <a:off x="4859646" y="4162554"/>
                <a:ext cx="33591" cy="28762"/>
                <a:chOff x="4859646" y="4162554"/>
                <a:chExt cx="33591" cy="28762"/>
              </a:xfrm>
            </p:grpSpPr>
            <p:sp>
              <p:nvSpPr>
                <p:cNvPr id="8252" name="Google Shape;8252;p53"/>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3" name="Google Shape;8253;p53"/>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254" name="Google Shape;8254;p53"/>
            <p:cNvGrpSpPr/>
            <p:nvPr/>
          </p:nvGrpSpPr>
          <p:grpSpPr>
            <a:xfrm>
              <a:off x="3597785" y="3274438"/>
              <a:ext cx="855610" cy="1122100"/>
              <a:chOff x="3597785" y="3274438"/>
              <a:chExt cx="855610" cy="1122100"/>
            </a:xfrm>
          </p:grpSpPr>
          <p:grpSp>
            <p:nvGrpSpPr>
              <p:cNvPr id="8255" name="Google Shape;8255;p53"/>
              <p:cNvGrpSpPr/>
              <p:nvPr/>
            </p:nvGrpSpPr>
            <p:grpSpPr>
              <a:xfrm>
                <a:off x="3617857" y="3284717"/>
                <a:ext cx="826785" cy="1099165"/>
                <a:chOff x="3617857" y="3284717"/>
                <a:chExt cx="826785" cy="1099165"/>
              </a:xfrm>
            </p:grpSpPr>
            <p:sp>
              <p:nvSpPr>
                <p:cNvPr id="8256" name="Google Shape;8256;p53"/>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7" name="Google Shape;8257;p53"/>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8" name="Google Shape;8258;p53"/>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9" name="Google Shape;8259;p53"/>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0" name="Google Shape;8260;p53"/>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1" name="Google Shape;8261;p53"/>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2" name="Google Shape;8262;p53"/>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3" name="Google Shape;8263;p53"/>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4" name="Google Shape;8264;p53"/>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5" name="Google Shape;8265;p53"/>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6" name="Google Shape;8266;p53"/>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7" name="Google Shape;8267;p53"/>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8" name="Google Shape;8268;p53"/>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9" name="Google Shape;8269;p53"/>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0" name="Google Shape;8270;p53"/>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1" name="Google Shape;8271;p53"/>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2" name="Google Shape;8272;p53"/>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3" name="Google Shape;8273;p53"/>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4" name="Google Shape;8274;p53"/>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5" name="Google Shape;8275;p53"/>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6" name="Google Shape;8276;p53"/>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7" name="Google Shape;8277;p53"/>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8" name="Google Shape;8278;p53"/>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9" name="Google Shape;8279;p53"/>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0" name="Google Shape;8280;p53"/>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1" name="Google Shape;8281;p53"/>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2" name="Google Shape;8282;p53"/>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3" name="Google Shape;8283;p53"/>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4" name="Google Shape;8284;p53"/>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5" name="Google Shape;8285;p53"/>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6" name="Google Shape;8286;p53"/>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7" name="Google Shape;8287;p53"/>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8" name="Google Shape;8288;p53"/>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9" name="Google Shape;8289;p53"/>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0" name="Google Shape;8290;p53"/>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1" name="Google Shape;8291;p53"/>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2" name="Google Shape;8292;p53"/>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3" name="Google Shape;8293;p53"/>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4" name="Google Shape;8294;p53"/>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5" name="Google Shape;8295;p53"/>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6" name="Google Shape;8296;p53"/>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7" name="Google Shape;8297;p53"/>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8" name="Google Shape;8298;p53"/>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9" name="Google Shape;8299;p53"/>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0" name="Google Shape;8300;p53"/>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1" name="Google Shape;8301;p53"/>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2" name="Google Shape;8302;p53"/>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3" name="Google Shape;8303;p53"/>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4" name="Google Shape;8304;p53"/>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5" name="Google Shape;8305;p53"/>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6" name="Google Shape;8306;p53"/>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7" name="Google Shape;8307;p53"/>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8" name="Google Shape;8308;p53"/>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9" name="Google Shape;8309;p53"/>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0" name="Google Shape;8310;p53"/>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1" name="Google Shape;8311;p53"/>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2" name="Google Shape;8312;p53"/>
              <p:cNvGrpSpPr/>
              <p:nvPr/>
            </p:nvGrpSpPr>
            <p:grpSpPr>
              <a:xfrm>
                <a:off x="4180904" y="4251758"/>
                <a:ext cx="37783" cy="32420"/>
                <a:chOff x="4180904" y="4251758"/>
                <a:chExt cx="37783" cy="32420"/>
              </a:xfrm>
            </p:grpSpPr>
            <p:sp>
              <p:nvSpPr>
                <p:cNvPr id="8313" name="Google Shape;8313;p53"/>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4" name="Google Shape;8314;p53"/>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5" name="Google Shape;8315;p53"/>
              <p:cNvGrpSpPr/>
              <p:nvPr/>
            </p:nvGrpSpPr>
            <p:grpSpPr>
              <a:xfrm>
                <a:off x="4201644" y="4081324"/>
                <a:ext cx="37783" cy="32364"/>
                <a:chOff x="4201644" y="4081324"/>
                <a:chExt cx="37783" cy="32364"/>
              </a:xfrm>
            </p:grpSpPr>
            <p:sp>
              <p:nvSpPr>
                <p:cNvPr id="8316" name="Google Shape;8316;p53"/>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7" name="Google Shape;8317;p53"/>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18" name="Google Shape;8318;p53"/>
              <p:cNvGrpSpPr/>
              <p:nvPr/>
            </p:nvGrpSpPr>
            <p:grpSpPr>
              <a:xfrm>
                <a:off x="4284416" y="3887428"/>
                <a:ext cx="37783" cy="32451"/>
                <a:chOff x="4284416" y="3887428"/>
                <a:chExt cx="37783" cy="32451"/>
              </a:xfrm>
            </p:grpSpPr>
            <p:sp>
              <p:nvSpPr>
                <p:cNvPr id="8319" name="Google Shape;8319;p53"/>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0" name="Google Shape;8320;p53"/>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1" name="Google Shape;8321;p53"/>
              <p:cNvGrpSpPr/>
              <p:nvPr/>
            </p:nvGrpSpPr>
            <p:grpSpPr>
              <a:xfrm>
                <a:off x="4223721" y="3860404"/>
                <a:ext cx="37870" cy="32364"/>
                <a:chOff x="4223721" y="3860404"/>
                <a:chExt cx="37870" cy="32364"/>
              </a:xfrm>
            </p:grpSpPr>
            <p:sp>
              <p:nvSpPr>
                <p:cNvPr id="8322" name="Google Shape;8322;p53"/>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3" name="Google Shape;8323;p53"/>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4" name="Google Shape;8324;p53"/>
              <p:cNvGrpSpPr/>
              <p:nvPr/>
            </p:nvGrpSpPr>
            <p:grpSpPr>
              <a:xfrm>
                <a:off x="4104889" y="3699242"/>
                <a:ext cx="37776" cy="32357"/>
                <a:chOff x="4104889" y="3699242"/>
                <a:chExt cx="37776" cy="32357"/>
              </a:xfrm>
            </p:grpSpPr>
            <p:sp>
              <p:nvSpPr>
                <p:cNvPr id="8325" name="Google Shape;8325;p53"/>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6" name="Google Shape;8326;p53"/>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27" name="Google Shape;8327;p53"/>
              <p:cNvGrpSpPr/>
              <p:nvPr/>
            </p:nvGrpSpPr>
            <p:grpSpPr>
              <a:xfrm>
                <a:off x="4143608" y="3475121"/>
                <a:ext cx="37878" cy="32420"/>
                <a:chOff x="4143608" y="3475121"/>
                <a:chExt cx="37878" cy="32420"/>
              </a:xfrm>
            </p:grpSpPr>
            <p:sp>
              <p:nvSpPr>
                <p:cNvPr id="8328" name="Google Shape;8328;p53"/>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9" name="Google Shape;8329;p53"/>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0" name="Google Shape;8330;p53"/>
              <p:cNvGrpSpPr/>
              <p:nvPr/>
            </p:nvGrpSpPr>
            <p:grpSpPr>
              <a:xfrm>
                <a:off x="4217248" y="3570893"/>
                <a:ext cx="37776" cy="32364"/>
                <a:chOff x="4217248" y="3570893"/>
                <a:chExt cx="37776" cy="32364"/>
              </a:xfrm>
            </p:grpSpPr>
            <p:sp>
              <p:nvSpPr>
                <p:cNvPr id="8331" name="Google Shape;8331;p53"/>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2" name="Google Shape;8332;p53"/>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3" name="Google Shape;8333;p53"/>
              <p:cNvGrpSpPr/>
              <p:nvPr/>
            </p:nvGrpSpPr>
            <p:grpSpPr>
              <a:xfrm>
                <a:off x="4255307" y="3431612"/>
                <a:ext cx="37776" cy="32451"/>
                <a:chOff x="4255307" y="3431612"/>
                <a:chExt cx="37776" cy="32451"/>
              </a:xfrm>
            </p:grpSpPr>
            <p:sp>
              <p:nvSpPr>
                <p:cNvPr id="8334" name="Google Shape;8334;p53"/>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5" name="Google Shape;8335;p53"/>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6" name="Google Shape;8336;p53"/>
              <p:cNvGrpSpPr/>
              <p:nvPr/>
            </p:nvGrpSpPr>
            <p:grpSpPr>
              <a:xfrm>
                <a:off x="3853052" y="3577398"/>
                <a:ext cx="37776" cy="32420"/>
                <a:chOff x="3853052" y="3577398"/>
                <a:chExt cx="37776" cy="32420"/>
              </a:xfrm>
            </p:grpSpPr>
            <p:sp>
              <p:nvSpPr>
                <p:cNvPr id="8337" name="Google Shape;8337;p53"/>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8" name="Google Shape;8338;p53"/>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9" name="Google Shape;8339;p53"/>
              <p:cNvGrpSpPr/>
              <p:nvPr/>
            </p:nvGrpSpPr>
            <p:grpSpPr>
              <a:xfrm>
                <a:off x="4039908" y="3412107"/>
                <a:ext cx="37776" cy="32357"/>
                <a:chOff x="4039908" y="3412107"/>
                <a:chExt cx="37776" cy="32357"/>
              </a:xfrm>
            </p:grpSpPr>
            <p:sp>
              <p:nvSpPr>
                <p:cNvPr id="8340" name="Google Shape;8340;p53"/>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1" name="Google Shape;8341;p53"/>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42" name="Google Shape;8342;p53"/>
              <p:cNvGrpSpPr/>
              <p:nvPr/>
            </p:nvGrpSpPr>
            <p:grpSpPr>
              <a:xfrm>
                <a:off x="4017360" y="3342061"/>
                <a:ext cx="37870" cy="32380"/>
                <a:chOff x="4017360" y="3342061"/>
                <a:chExt cx="37870" cy="32380"/>
              </a:xfrm>
            </p:grpSpPr>
            <p:sp>
              <p:nvSpPr>
                <p:cNvPr id="8343" name="Google Shape;8343;p53"/>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4" name="Google Shape;8344;p53"/>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345" name="Google Shape;8345;p53"/>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6" name="Google Shape;8346;p53"/>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347" name="Google Shape;8347;p53"/>
              <p:cNvGrpSpPr/>
              <p:nvPr/>
            </p:nvGrpSpPr>
            <p:grpSpPr>
              <a:xfrm>
                <a:off x="3750870" y="3418650"/>
                <a:ext cx="37776" cy="32380"/>
                <a:chOff x="3750870" y="3418650"/>
                <a:chExt cx="37776" cy="32380"/>
              </a:xfrm>
            </p:grpSpPr>
            <p:sp>
              <p:nvSpPr>
                <p:cNvPr id="8348" name="Google Shape;8348;p53"/>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9" name="Google Shape;8349;p53"/>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0" name="Google Shape;8350;p53"/>
              <p:cNvGrpSpPr/>
              <p:nvPr/>
            </p:nvGrpSpPr>
            <p:grpSpPr>
              <a:xfrm>
                <a:off x="3632509" y="3274438"/>
                <a:ext cx="37783" cy="32357"/>
                <a:chOff x="3632509" y="3274438"/>
                <a:chExt cx="37783" cy="32357"/>
              </a:xfrm>
            </p:grpSpPr>
            <p:sp>
              <p:nvSpPr>
                <p:cNvPr id="8351" name="Google Shape;8351;p53"/>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2" name="Google Shape;8352;p53"/>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3" name="Google Shape;8353;p53"/>
              <p:cNvGrpSpPr/>
              <p:nvPr/>
            </p:nvGrpSpPr>
            <p:grpSpPr>
              <a:xfrm>
                <a:off x="3906424" y="3297561"/>
                <a:ext cx="37776" cy="32451"/>
                <a:chOff x="3906424" y="3297561"/>
                <a:chExt cx="37776" cy="32451"/>
              </a:xfrm>
            </p:grpSpPr>
            <p:sp>
              <p:nvSpPr>
                <p:cNvPr id="8354" name="Google Shape;8354;p53"/>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5" name="Google Shape;8355;p53"/>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6" name="Google Shape;8356;p53"/>
              <p:cNvGrpSpPr/>
              <p:nvPr/>
            </p:nvGrpSpPr>
            <p:grpSpPr>
              <a:xfrm>
                <a:off x="3866084" y="3412107"/>
                <a:ext cx="37776" cy="32357"/>
                <a:chOff x="3866084" y="3412107"/>
                <a:chExt cx="37776" cy="32357"/>
              </a:xfrm>
            </p:grpSpPr>
            <p:sp>
              <p:nvSpPr>
                <p:cNvPr id="8357" name="Google Shape;8357;p53"/>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8" name="Google Shape;8358;p53"/>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59" name="Google Shape;8359;p53"/>
              <p:cNvGrpSpPr/>
              <p:nvPr/>
            </p:nvGrpSpPr>
            <p:grpSpPr>
              <a:xfrm>
                <a:off x="4023919" y="3766409"/>
                <a:ext cx="37783" cy="32357"/>
                <a:chOff x="4023919" y="3766409"/>
                <a:chExt cx="37783" cy="32357"/>
              </a:xfrm>
            </p:grpSpPr>
            <p:sp>
              <p:nvSpPr>
                <p:cNvPr id="8360" name="Google Shape;8360;p53"/>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1" name="Google Shape;8361;p53"/>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2" name="Google Shape;8362;p53"/>
              <p:cNvGrpSpPr/>
              <p:nvPr/>
            </p:nvGrpSpPr>
            <p:grpSpPr>
              <a:xfrm>
                <a:off x="3973882" y="3779449"/>
                <a:ext cx="37776" cy="32357"/>
                <a:chOff x="3973882" y="3779449"/>
                <a:chExt cx="37776" cy="32357"/>
              </a:xfrm>
            </p:grpSpPr>
            <p:sp>
              <p:nvSpPr>
                <p:cNvPr id="8363" name="Google Shape;8363;p53"/>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4" name="Google Shape;8364;p53"/>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5" name="Google Shape;8365;p53"/>
              <p:cNvGrpSpPr/>
              <p:nvPr/>
            </p:nvGrpSpPr>
            <p:grpSpPr>
              <a:xfrm>
                <a:off x="4073398" y="3838028"/>
                <a:ext cx="37776" cy="32380"/>
                <a:chOff x="4073398" y="3838028"/>
                <a:chExt cx="37776" cy="32380"/>
              </a:xfrm>
            </p:grpSpPr>
            <p:sp>
              <p:nvSpPr>
                <p:cNvPr id="8366" name="Google Shape;8366;p53"/>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7" name="Google Shape;8367;p53"/>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68" name="Google Shape;8368;p53"/>
              <p:cNvGrpSpPr/>
              <p:nvPr/>
            </p:nvGrpSpPr>
            <p:grpSpPr>
              <a:xfrm>
                <a:off x="4342672" y="4144496"/>
                <a:ext cx="37752" cy="32364"/>
                <a:chOff x="4342672" y="4144496"/>
                <a:chExt cx="37752" cy="32364"/>
              </a:xfrm>
            </p:grpSpPr>
            <p:sp>
              <p:nvSpPr>
                <p:cNvPr id="8369" name="Google Shape;8369;p53"/>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0" name="Google Shape;8370;p53"/>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1" name="Google Shape;8371;p53"/>
              <p:cNvGrpSpPr/>
              <p:nvPr/>
            </p:nvGrpSpPr>
            <p:grpSpPr>
              <a:xfrm>
                <a:off x="4406386" y="4056872"/>
                <a:ext cx="37783" cy="32364"/>
                <a:chOff x="4406386" y="4056872"/>
                <a:chExt cx="37783" cy="32364"/>
              </a:xfrm>
            </p:grpSpPr>
            <p:sp>
              <p:nvSpPr>
                <p:cNvPr id="8372" name="Google Shape;8372;p53"/>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3" name="Google Shape;8373;p53"/>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4" name="Google Shape;8374;p53"/>
              <p:cNvGrpSpPr/>
              <p:nvPr/>
            </p:nvGrpSpPr>
            <p:grpSpPr>
              <a:xfrm>
                <a:off x="4284416" y="4245254"/>
                <a:ext cx="37783" cy="32357"/>
                <a:chOff x="4284416" y="4245254"/>
                <a:chExt cx="37783" cy="32357"/>
              </a:xfrm>
            </p:grpSpPr>
            <p:sp>
              <p:nvSpPr>
                <p:cNvPr id="8375" name="Google Shape;8375;p53"/>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6" name="Google Shape;8376;p53"/>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77" name="Google Shape;8377;p53"/>
              <p:cNvGrpSpPr/>
              <p:nvPr/>
            </p:nvGrpSpPr>
            <p:grpSpPr>
              <a:xfrm>
                <a:off x="4219057" y="4331258"/>
                <a:ext cx="37776" cy="32364"/>
                <a:chOff x="4219057" y="4331258"/>
                <a:chExt cx="37776" cy="32364"/>
              </a:xfrm>
            </p:grpSpPr>
            <p:sp>
              <p:nvSpPr>
                <p:cNvPr id="8378" name="Google Shape;8378;p53"/>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9" name="Google Shape;8379;p53"/>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0" name="Google Shape;8380;p53"/>
              <p:cNvGrpSpPr/>
              <p:nvPr/>
            </p:nvGrpSpPr>
            <p:grpSpPr>
              <a:xfrm>
                <a:off x="4204122" y="4141688"/>
                <a:ext cx="33497" cy="28699"/>
                <a:chOff x="4204122" y="4141688"/>
                <a:chExt cx="33497" cy="28699"/>
              </a:xfrm>
            </p:grpSpPr>
            <p:sp>
              <p:nvSpPr>
                <p:cNvPr id="8381" name="Google Shape;8381;p53"/>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2" name="Google Shape;8382;p53"/>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3" name="Google Shape;8383;p53"/>
              <p:cNvGrpSpPr/>
              <p:nvPr/>
            </p:nvGrpSpPr>
            <p:grpSpPr>
              <a:xfrm>
                <a:off x="4301546" y="4003869"/>
                <a:ext cx="38916" cy="33324"/>
                <a:chOff x="4301546" y="4003869"/>
                <a:chExt cx="38916" cy="33324"/>
              </a:xfrm>
            </p:grpSpPr>
            <p:sp>
              <p:nvSpPr>
                <p:cNvPr id="8384" name="Google Shape;8384;p53"/>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5" name="Google Shape;8385;p53"/>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6" name="Google Shape;8386;p53"/>
              <p:cNvGrpSpPr/>
              <p:nvPr/>
            </p:nvGrpSpPr>
            <p:grpSpPr>
              <a:xfrm>
                <a:off x="4210681" y="3924669"/>
                <a:ext cx="36549" cy="31366"/>
                <a:chOff x="4210681" y="3924669"/>
                <a:chExt cx="36549" cy="31366"/>
              </a:xfrm>
            </p:grpSpPr>
            <p:sp>
              <p:nvSpPr>
                <p:cNvPr id="8387" name="Google Shape;8387;p53"/>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8" name="Google Shape;8388;p53"/>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89" name="Google Shape;8389;p53"/>
              <p:cNvGrpSpPr/>
              <p:nvPr/>
            </p:nvGrpSpPr>
            <p:grpSpPr>
              <a:xfrm>
                <a:off x="3987771" y="3628874"/>
                <a:ext cx="31499" cy="26993"/>
                <a:chOff x="3987771" y="3628874"/>
                <a:chExt cx="31499" cy="26993"/>
              </a:xfrm>
            </p:grpSpPr>
            <p:sp>
              <p:nvSpPr>
                <p:cNvPr id="8390" name="Google Shape;8390;p53"/>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1" name="Google Shape;8391;p53"/>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2" name="Google Shape;8392;p53"/>
              <p:cNvGrpSpPr/>
              <p:nvPr/>
            </p:nvGrpSpPr>
            <p:grpSpPr>
              <a:xfrm>
                <a:off x="4087382" y="3775674"/>
                <a:ext cx="31405" cy="26898"/>
                <a:chOff x="4087382" y="3775674"/>
                <a:chExt cx="31405" cy="26898"/>
              </a:xfrm>
            </p:grpSpPr>
            <p:sp>
              <p:nvSpPr>
                <p:cNvPr id="8393" name="Google Shape;8393;p53"/>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4" name="Google Shape;8394;p53"/>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5" name="Google Shape;8395;p53"/>
              <p:cNvGrpSpPr/>
              <p:nvPr/>
            </p:nvGrpSpPr>
            <p:grpSpPr>
              <a:xfrm>
                <a:off x="4118873" y="3856637"/>
                <a:ext cx="31405" cy="26906"/>
                <a:chOff x="4118873" y="3856637"/>
                <a:chExt cx="31405" cy="26906"/>
              </a:xfrm>
            </p:grpSpPr>
            <p:sp>
              <p:nvSpPr>
                <p:cNvPr id="8396" name="Google Shape;8396;p53"/>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7" name="Google Shape;8397;p53"/>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98" name="Google Shape;8398;p53"/>
              <p:cNvGrpSpPr/>
              <p:nvPr/>
            </p:nvGrpSpPr>
            <p:grpSpPr>
              <a:xfrm>
                <a:off x="4168541" y="3639523"/>
                <a:ext cx="31499" cy="26906"/>
                <a:chOff x="4168541" y="3639523"/>
                <a:chExt cx="31499" cy="26906"/>
              </a:xfrm>
            </p:grpSpPr>
            <p:sp>
              <p:nvSpPr>
                <p:cNvPr id="8399" name="Google Shape;8399;p53"/>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0" name="Google Shape;8400;p53"/>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1" name="Google Shape;8401;p53"/>
              <p:cNvGrpSpPr/>
              <p:nvPr/>
            </p:nvGrpSpPr>
            <p:grpSpPr>
              <a:xfrm>
                <a:off x="3965789" y="3393545"/>
                <a:ext cx="31405" cy="26945"/>
                <a:chOff x="3965789" y="3393545"/>
                <a:chExt cx="31405" cy="26945"/>
              </a:xfrm>
            </p:grpSpPr>
            <p:sp>
              <p:nvSpPr>
                <p:cNvPr id="8402" name="Google Shape;8402;p53"/>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3" name="Google Shape;8403;p53"/>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4" name="Google Shape;8404;p53"/>
              <p:cNvGrpSpPr/>
              <p:nvPr/>
            </p:nvGrpSpPr>
            <p:grpSpPr>
              <a:xfrm>
                <a:off x="3925166" y="3491008"/>
                <a:ext cx="31405" cy="27001"/>
                <a:chOff x="3925166" y="3491008"/>
                <a:chExt cx="31405" cy="27001"/>
              </a:xfrm>
            </p:grpSpPr>
            <p:sp>
              <p:nvSpPr>
                <p:cNvPr id="8405" name="Google Shape;8405;p53"/>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6" name="Google Shape;8406;p53"/>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07" name="Google Shape;8407;p53"/>
              <p:cNvGrpSpPr/>
              <p:nvPr/>
            </p:nvGrpSpPr>
            <p:grpSpPr>
              <a:xfrm>
                <a:off x="3682845" y="3340976"/>
                <a:ext cx="31397" cy="26898"/>
                <a:chOff x="3682845" y="3340976"/>
                <a:chExt cx="31397" cy="26898"/>
              </a:xfrm>
            </p:grpSpPr>
            <p:sp>
              <p:nvSpPr>
                <p:cNvPr id="8408" name="Google Shape;8408;p53"/>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9" name="Google Shape;8409;p53"/>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0" name="Google Shape;8410;p53"/>
              <p:cNvGrpSpPr/>
              <p:nvPr/>
            </p:nvGrpSpPr>
            <p:grpSpPr>
              <a:xfrm>
                <a:off x="3795393" y="3353725"/>
                <a:ext cx="31499" cy="26993"/>
                <a:chOff x="3795393" y="3353725"/>
                <a:chExt cx="31499" cy="26993"/>
              </a:xfrm>
            </p:grpSpPr>
            <p:sp>
              <p:nvSpPr>
                <p:cNvPr id="8411" name="Google Shape;8411;p53"/>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2" name="Google Shape;8412;p53"/>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3" name="Google Shape;8413;p53"/>
              <p:cNvGrpSpPr/>
              <p:nvPr/>
            </p:nvGrpSpPr>
            <p:grpSpPr>
              <a:xfrm>
                <a:off x="4176909" y="4363221"/>
                <a:ext cx="38924" cy="33316"/>
                <a:chOff x="4176909" y="4363221"/>
                <a:chExt cx="38924" cy="33316"/>
              </a:xfrm>
            </p:grpSpPr>
            <p:sp>
              <p:nvSpPr>
                <p:cNvPr id="8414" name="Google Shape;8414;p53"/>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5" name="Google Shape;8415;p53"/>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6" name="Google Shape;8416;p53"/>
              <p:cNvGrpSpPr/>
              <p:nvPr/>
            </p:nvGrpSpPr>
            <p:grpSpPr>
              <a:xfrm>
                <a:off x="4226191" y="4007660"/>
                <a:ext cx="33560" cy="28770"/>
                <a:chOff x="4226191" y="4007660"/>
                <a:chExt cx="33560" cy="28770"/>
              </a:xfrm>
            </p:grpSpPr>
            <p:sp>
              <p:nvSpPr>
                <p:cNvPr id="8417" name="Google Shape;8417;p53"/>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8" name="Google Shape;8418;p53"/>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19" name="Google Shape;8419;p53"/>
              <p:cNvGrpSpPr/>
              <p:nvPr/>
            </p:nvGrpSpPr>
            <p:grpSpPr>
              <a:xfrm>
                <a:off x="3597785" y="3377045"/>
                <a:ext cx="33591" cy="28699"/>
                <a:chOff x="3597785" y="3377045"/>
                <a:chExt cx="33591" cy="28699"/>
              </a:xfrm>
            </p:grpSpPr>
            <p:sp>
              <p:nvSpPr>
                <p:cNvPr id="8420" name="Google Shape;8420;p53"/>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1" name="Google Shape;8421;p53"/>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2" name="Google Shape;8422;p53"/>
              <p:cNvGrpSpPr/>
              <p:nvPr/>
            </p:nvGrpSpPr>
            <p:grpSpPr>
              <a:xfrm>
                <a:off x="3887870" y="3669796"/>
                <a:ext cx="33591" cy="28692"/>
                <a:chOff x="3887870" y="3669796"/>
                <a:chExt cx="33591" cy="28692"/>
              </a:xfrm>
            </p:grpSpPr>
            <p:sp>
              <p:nvSpPr>
                <p:cNvPr id="8423" name="Google Shape;8423;p53"/>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4" name="Google Shape;8424;p53"/>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5" name="Google Shape;8425;p53"/>
              <p:cNvGrpSpPr/>
              <p:nvPr/>
            </p:nvGrpSpPr>
            <p:grpSpPr>
              <a:xfrm>
                <a:off x="3818320" y="3481625"/>
                <a:ext cx="33497" cy="28770"/>
                <a:chOff x="3818320" y="3481625"/>
                <a:chExt cx="33497" cy="28770"/>
              </a:xfrm>
            </p:grpSpPr>
            <p:sp>
              <p:nvSpPr>
                <p:cNvPr id="8426" name="Google Shape;8426;p53"/>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7" name="Google Shape;8427;p53"/>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28" name="Google Shape;8428;p53"/>
              <p:cNvGrpSpPr/>
              <p:nvPr/>
            </p:nvGrpSpPr>
            <p:grpSpPr>
              <a:xfrm>
                <a:off x="4278139" y="4120948"/>
                <a:ext cx="37492" cy="32129"/>
                <a:chOff x="4278139" y="4120948"/>
                <a:chExt cx="37492" cy="32129"/>
              </a:xfrm>
            </p:grpSpPr>
            <p:sp>
              <p:nvSpPr>
                <p:cNvPr id="8429" name="Google Shape;8429;p53"/>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0" name="Google Shape;8430;p53"/>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1" name="Google Shape;8431;p53"/>
              <p:cNvGrpSpPr/>
              <p:nvPr/>
            </p:nvGrpSpPr>
            <p:grpSpPr>
              <a:xfrm>
                <a:off x="4419898" y="3977388"/>
                <a:ext cx="33497" cy="28692"/>
                <a:chOff x="4419898" y="3977388"/>
                <a:chExt cx="33497" cy="28692"/>
              </a:xfrm>
            </p:grpSpPr>
            <p:sp>
              <p:nvSpPr>
                <p:cNvPr id="8432" name="Google Shape;8432;p53"/>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3" name="Google Shape;8433;p53"/>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4" name="Google Shape;8434;p53"/>
              <p:cNvGrpSpPr/>
              <p:nvPr/>
            </p:nvGrpSpPr>
            <p:grpSpPr>
              <a:xfrm>
                <a:off x="4158930" y="4034684"/>
                <a:ext cx="33497" cy="28762"/>
                <a:chOff x="4158930" y="4034684"/>
                <a:chExt cx="33497" cy="28762"/>
              </a:xfrm>
            </p:grpSpPr>
            <p:sp>
              <p:nvSpPr>
                <p:cNvPr id="8435" name="Google Shape;8435;p53"/>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6" name="Google Shape;8436;p53"/>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37" name="Google Shape;8437;p53"/>
              <p:cNvGrpSpPr/>
              <p:nvPr/>
            </p:nvGrpSpPr>
            <p:grpSpPr>
              <a:xfrm>
                <a:off x="4134949" y="3957049"/>
                <a:ext cx="33497" cy="28770"/>
                <a:chOff x="4134949" y="3957049"/>
                <a:chExt cx="33497" cy="28770"/>
              </a:xfrm>
            </p:grpSpPr>
            <p:sp>
              <p:nvSpPr>
                <p:cNvPr id="8438" name="Google Shape;8438;p53"/>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9" name="Google Shape;8439;p53"/>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0" name="Google Shape;8440;p53"/>
              <p:cNvGrpSpPr/>
              <p:nvPr/>
            </p:nvGrpSpPr>
            <p:grpSpPr>
              <a:xfrm>
                <a:off x="4193653" y="4184403"/>
                <a:ext cx="43580" cy="37264"/>
                <a:chOff x="4193653" y="4184403"/>
                <a:chExt cx="43580" cy="37264"/>
              </a:xfrm>
            </p:grpSpPr>
            <p:sp>
              <p:nvSpPr>
                <p:cNvPr id="8441" name="Google Shape;8441;p53"/>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2" name="Google Shape;8442;p53"/>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3" name="Google Shape;8443;p53"/>
              <p:cNvGrpSpPr/>
              <p:nvPr/>
            </p:nvGrpSpPr>
            <p:grpSpPr>
              <a:xfrm>
                <a:off x="4343600" y="3943844"/>
                <a:ext cx="43580" cy="37312"/>
                <a:chOff x="4343600" y="3943844"/>
                <a:chExt cx="43580" cy="37312"/>
              </a:xfrm>
            </p:grpSpPr>
            <p:sp>
              <p:nvSpPr>
                <p:cNvPr id="8444" name="Google Shape;8444;p53"/>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5" name="Google Shape;8445;p53"/>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46" name="Google Shape;8446;p53"/>
              <p:cNvGrpSpPr/>
              <p:nvPr/>
            </p:nvGrpSpPr>
            <p:grpSpPr>
              <a:xfrm>
                <a:off x="4172339" y="3381693"/>
                <a:ext cx="31499" cy="27001"/>
                <a:chOff x="4172339" y="3381693"/>
                <a:chExt cx="31499" cy="27001"/>
              </a:xfrm>
            </p:grpSpPr>
            <p:sp>
              <p:nvSpPr>
                <p:cNvPr id="8447" name="Google Shape;8447;p53"/>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8" name="Google Shape;8448;p53"/>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Shape 8452"/>
        <p:cNvGrpSpPr/>
        <p:nvPr/>
      </p:nvGrpSpPr>
      <p:grpSpPr>
        <a:xfrm>
          <a:off x="0" y="0"/>
          <a:ext cx="0" cy="0"/>
          <a:chOff x="0" y="0"/>
          <a:chExt cx="0" cy="0"/>
        </a:xfrm>
      </p:grpSpPr>
      <p:grpSp>
        <p:nvGrpSpPr>
          <p:cNvPr id="8453" name="Google Shape;8453;p54"/>
          <p:cNvGrpSpPr/>
          <p:nvPr/>
        </p:nvGrpSpPr>
        <p:grpSpPr>
          <a:xfrm>
            <a:off x="2126623" y="3607908"/>
            <a:ext cx="1102891" cy="760337"/>
            <a:chOff x="4967783" y="2151471"/>
            <a:chExt cx="3920692" cy="2702940"/>
          </a:xfrm>
        </p:grpSpPr>
        <p:grpSp>
          <p:nvGrpSpPr>
            <p:cNvPr id="8454" name="Google Shape;8454;p54"/>
            <p:cNvGrpSpPr/>
            <p:nvPr/>
          </p:nvGrpSpPr>
          <p:grpSpPr>
            <a:xfrm>
              <a:off x="5045709" y="2252109"/>
              <a:ext cx="3761071" cy="2501708"/>
              <a:chOff x="2691784" y="1805334"/>
              <a:chExt cx="3761071" cy="2501708"/>
            </a:xfrm>
          </p:grpSpPr>
          <p:sp>
            <p:nvSpPr>
              <p:cNvPr id="8455" name="Google Shape;8455;p54"/>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6" name="Google Shape;8456;p54"/>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7" name="Google Shape;8457;p54"/>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8" name="Google Shape;8458;p54"/>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9" name="Google Shape;8459;p54"/>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0" name="Google Shape;8460;p54"/>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1" name="Google Shape;8461;p54"/>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62" name="Google Shape;8462;p54"/>
            <p:cNvGrpSpPr/>
            <p:nvPr/>
          </p:nvGrpSpPr>
          <p:grpSpPr>
            <a:xfrm>
              <a:off x="4967783" y="2151471"/>
              <a:ext cx="3920692" cy="2702940"/>
              <a:chOff x="2613858" y="1704696"/>
              <a:chExt cx="3920692" cy="2702940"/>
            </a:xfrm>
          </p:grpSpPr>
          <p:sp>
            <p:nvSpPr>
              <p:cNvPr id="8463" name="Google Shape;8463;p54"/>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4" name="Google Shape;8464;p54"/>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5" name="Google Shape;8465;p54"/>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6" name="Google Shape;8466;p54"/>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7" name="Google Shape;8467;p54"/>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68" name="Google Shape;8468;p54"/>
          <p:cNvGrpSpPr/>
          <p:nvPr/>
        </p:nvGrpSpPr>
        <p:grpSpPr>
          <a:xfrm>
            <a:off x="3530532" y="1496185"/>
            <a:ext cx="1561911" cy="708580"/>
            <a:chOff x="3530532" y="1496185"/>
            <a:chExt cx="1561911" cy="708580"/>
          </a:xfrm>
        </p:grpSpPr>
        <p:grpSp>
          <p:nvGrpSpPr>
            <p:cNvPr id="8469" name="Google Shape;8469;p54"/>
            <p:cNvGrpSpPr/>
            <p:nvPr/>
          </p:nvGrpSpPr>
          <p:grpSpPr>
            <a:xfrm>
              <a:off x="3720318" y="1857562"/>
              <a:ext cx="1372125" cy="54"/>
              <a:chOff x="3720318" y="1857562"/>
              <a:chExt cx="1372125" cy="54"/>
            </a:xfrm>
          </p:grpSpPr>
          <p:cxnSp>
            <p:nvCxnSpPr>
              <p:cNvPr id="8470" name="Google Shape;8470;p54"/>
              <p:cNvCxnSpPr>
                <a:endCxn id="8471"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2" name="Google Shape;8472;p54"/>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3" name="Google Shape;8473;p54"/>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8474" name="Google Shape;8474;p54"/>
              <p:cNvCxnSpPr>
                <a:stCxn id="8471"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8475" name="Google Shape;8475;p54"/>
            <p:cNvGrpSpPr/>
            <p:nvPr/>
          </p:nvGrpSpPr>
          <p:grpSpPr>
            <a:xfrm>
              <a:off x="3567462" y="1496185"/>
              <a:ext cx="286500" cy="272914"/>
              <a:chOff x="3567462" y="1496185"/>
              <a:chExt cx="286500" cy="272914"/>
            </a:xfrm>
          </p:grpSpPr>
          <p:cxnSp>
            <p:nvCxnSpPr>
              <p:cNvPr id="8476" name="Google Shape;8476;p54"/>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77" name="Google Shape;8477;p54"/>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78" name="Google Shape;8478;p54"/>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9" name="Google Shape;8479;p54"/>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0" name="Google Shape;8480;p54"/>
            <p:cNvGrpSpPr/>
            <p:nvPr/>
          </p:nvGrpSpPr>
          <p:grpSpPr>
            <a:xfrm>
              <a:off x="3929014" y="1960574"/>
              <a:ext cx="286500" cy="242342"/>
              <a:chOff x="3929014" y="1960574"/>
              <a:chExt cx="286500" cy="242342"/>
            </a:xfrm>
          </p:grpSpPr>
          <p:cxnSp>
            <p:nvCxnSpPr>
              <p:cNvPr id="8481" name="Google Shape;8481;p54"/>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8482" name="Google Shape;8482;p54"/>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3" name="Google Shape;8483;p54"/>
            <p:cNvGrpSpPr/>
            <p:nvPr/>
          </p:nvGrpSpPr>
          <p:grpSpPr>
            <a:xfrm>
              <a:off x="4290828" y="1496185"/>
              <a:ext cx="286500" cy="272914"/>
              <a:chOff x="4290828" y="1496185"/>
              <a:chExt cx="286500" cy="272914"/>
            </a:xfrm>
          </p:grpSpPr>
          <p:cxnSp>
            <p:nvCxnSpPr>
              <p:cNvPr id="8484" name="Google Shape;8484;p54"/>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8485" name="Google Shape;8485;p54"/>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486" name="Google Shape;8486;p54"/>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1" name="Google Shape;8471;p54"/>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487" name="Google Shape;8487;p54"/>
            <p:cNvGrpSpPr/>
            <p:nvPr/>
          </p:nvGrpSpPr>
          <p:grpSpPr>
            <a:xfrm>
              <a:off x="4657726" y="1959674"/>
              <a:ext cx="286500" cy="245092"/>
              <a:chOff x="4657726" y="1959674"/>
              <a:chExt cx="286500" cy="245092"/>
            </a:xfrm>
          </p:grpSpPr>
          <p:cxnSp>
            <p:nvCxnSpPr>
              <p:cNvPr id="8488" name="Google Shape;8488;p54"/>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8489" name="Google Shape;8489;p54"/>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490" name="Google Shape;8490;p54"/>
          <p:cNvGrpSpPr/>
          <p:nvPr/>
        </p:nvGrpSpPr>
        <p:grpSpPr>
          <a:xfrm>
            <a:off x="3512551" y="2358282"/>
            <a:ext cx="1597032" cy="378649"/>
            <a:chOff x="3512551" y="2358282"/>
            <a:chExt cx="1597032" cy="378649"/>
          </a:xfrm>
        </p:grpSpPr>
        <p:grpSp>
          <p:nvGrpSpPr>
            <p:cNvPr id="8491" name="Google Shape;8491;p54"/>
            <p:cNvGrpSpPr/>
            <p:nvPr/>
          </p:nvGrpSpPr>
          <p:grpSpPr>
            <a:xfrm>
              <a:off x="3738198" y="2553002"/>
              <a:ext cx="1145834" cy="117"/>
              <a:chOff x="3738198" y="2553002"/>
              <a:chExt cx="1145834" cy="117"/>
            </a:xfrm>
          </p:grpSpPr>
          <p:cxnSp>
            <p:nvCxnSpPr>
              <p:cNvPr id="8492" name="Google Shape;8492;p54"/>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3" name="Google Shape;8493;p54"/>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8494" name="Google Shape;8494;p54"/>
              <p:cNvCxnSpPr>
                <a:stCxn id="8495" idx="6"/>
                <a:endCxn id="8496"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8497" name="Google Shape;8497;p54"/>
            <p:cNvGrpSpPr/>
            <p:nvPr/>
          </p:nvGrpSpPr>
          <p:grpSpPr>
            <a:xfrm>
              <a:off x="3969644" y="2440153"/>
              <a:ext cx="225900" cy="296779"/>
              <a:chOff x="3969644" y="2440153"/>
              <a:chExt cx="225900" cy="296779"/>
            </a:xfrm>
          </p:grpSpPr>
          <p:cxnSp>
            <p:nvCxnSpPr>
              <p:cNvPr id="8498" name="Google Shape;8498;p54"/>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8496" name="Google Shape;8496;p54"/>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9" name="Google Shape;8499;p54"/>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0" name="Google Shape;8500;p54"/>
            <p:cNvGrpSpPr/>
            <p:nvPr/>
          </p:nvGrpSpPr>
          <p:grpSpPr>
            <a:xfrm>
              <a:off x="4426818" y="2358282"/>
              <a:ext cx="225600" cy="307471"/>
              <a:chOff x="4426818" y="2358282"/>
              <a:chExt cx="225600" cy="307471"/>
            </a:xfrm>
          </p:grpSpPr>
          <p:cxnSp>
            <p:nvCxnSpPr>
              <p:cNvPr id="8501" name="Google Shape;8501;p54"/>
              <p:cNvCxnSpPr>
                <a:stCxn id="8502"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8503" name="Google Shape;8503;p54"/>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2" name="Google Shape;8502;p54"/>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4" name="Google Shape;8504;p54"/>
            <p:cNvGrpSpPr/>
            <p:nvPr/>
          </p:nvGrpSpPr>
          <p:grpSpPr>
            <a:xfrm>
              <a:off x="4883984" y="2440153"/>
              <a:ext cx="225600" cy="296479"/>
              <a:chOff x="4883984" y="2440153"/>
              <a:chExt cx="225600" cy="296479"/>
            </a:xfrm>
          </p:grpSpPr>
          <p:cxnSp>
            <p:nvCxnSpPr>
              <p:cNvPr id="8505" name="Google Shape;8505;p54"/>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8506" name="Google Shape;8506;p54"/>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7" name="Google Shape;8507;p54"/>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08" name="Google Shape;8508;p54"/>
            <p:cNvGrpSpPr/>
            <p:nvPr/>
          </p:nvGrpSpPr>
          <p:grpSpPr>
            <a:xfrm>
              <a:off x="3512551" y="2358356"/>
              <a:ext cx="225647" cy="307629"/>
              <a:chOff x="2182679" y="2005014"/>
              <a:chExt cx="792300" cy="1080158"/>
            </a:xfrm>
          </p:grpSpPr>
          <p:cxnSp>
            <p:nvCxnSpPr>
              <p:cNvPr id="8509" name="Google Shape;8509;p54"/>
              <p:cNvCxnSpPr>
                <a:stCxn id="8510"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8495" name="Google Shape;8495;p54"/>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0" name="Google Shape;8510;p54"/>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11" name="Google Shape;8511;p54"/>
          <p:cNvGrpSpPr/>
          <p:nvPr/>
        </p:nvGrpSpPr>
        <p:grpSpPr>
          <a:xfrm>
            <a:off x="6872633" y="1182079"/>
            <a:ext cx="1559809" cy="722610"/>
            <a:chOff x="634175" y="2986275"/>
            <a:chExt cx="3147949" cy="1458344"/>
          </a:xfrm>
        </p:grpSpPr>
        <p:cxnSp>
          <p:nvCxnSpPr>
            <p:cNvPr id="8512" name="Google Shape;8512;p54"/>
            <p:cNvCxnSpPr>
              <a:stCxn id="8513" idx="4"/>
              <a:endCxn id="8514"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8515" name="Google Shape;8515;p54"/>
            <p:cNvCxnSpPr>
              <a:stCxn id="8514" idx="0"/>
              <a:endCxn id="8516"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7" name="Google Shape;8517;p54"/>
            <p:cNvCxnSpPr>
              <a:stCxn id="8516" idx="4"/>
              <a:endCxn id="8518"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519" name="Google Shape;8519;p54"/>
            <p:cNvCxnSpPr>
              <a:stCxn id="8518" idx="0"/>
              <a:endCxn id="8520"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520" name="Google Shape;8520;p54"/>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6" name="Google Shape;8516;p54"/>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3" name="Google Shape;8513;p54"/>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8" name="Google Shape;8518;p54"/>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sp>
          <p:nvSpPr>
            <p:cNvPr id="8514" name="Google Shape;8514;p54"/>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grpSp>
      <p:grpSp>
        <p:nvGrpSpPr>
          <p:cNvPr id="8521" name="Google Shape;8521;p54"/>
          <p:cNvGrpSpPr/>
          <p:nvPr/>
        </p:nvGrpSpPr>
        <p:grpSpPr>
          <a:xfrm>
            <a:off x="3526424" y="2891987"/>
            <a:ext cx="1570719" cy="294123"/>
            <a:chOff x="998425" y="1182125"/>
            <a:chExt cx="1065400" cy="199500"/>
          </a:xfrm>
        </p:grpSpPr>
        <p:sp>
          <p:nvSpPr>
            <p:cNvPr id="8522" name="Google Shape;8522;p54"/>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3" name="Google Shape;8523;p54"/>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4" name="Google Shape;8524;p54"/>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5" name="Google Shape;8525;p54"/>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6" name="Google Shape;8526;p54"/>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27" name="Google Shape;8527;p54"/>
          <p:cNvGrpSpPr/>
          <p:nvPr/>
        </p:nvGrpSpPr>
        <p:grpSpPr>
          <a:xfrm>
            <a:off x="6869680" y="2009474"/>
            <a:ext cx="1565716" cy="366729"/>
            <a:chOff x="1247650" y="2075423"/>
            <a:chExt cx="6648477" cy="1557238"/>
          </a:xfrm>
        </p:grpSpPr>
        <p:sp>
          <p:nvSpPr>
            <p:cNvPr id="8528" name="Google Shape;8528;p54"/>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9" name="Google Shape;8529;p54"/>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0" name="Google Shape;8530;p54"/>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1" name="Google Shape;8531;p54"/>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2" name="Google Shape;8532;p54"/>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3" name="Google Shape;8533;p54"/>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34" name="Google Shape;8534;p54"/>
          <p:cNvGrpSpPr/>
          <p:nvPr/>
        </p:nvGrpSpPr>
        <p:grpSpPr>
          <a:xfrm>
            <a:off x="6853992" y="3158289"/>
            <a:ext cx="1597061" cy="663440"/>
            <a:chOff x="6796238" y="3158297"/>
            <a:chExt cx="1630319" cy="677257"/>
          </a:xfrm>
        </p:grpSpPr>
        <p:cxnSp>
          <p:nvCxnSpPr>
            <p:cNvPr id="8535" name="Google Shape;8535;p54"/>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6" name="Google Shape;8536;p54"/>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537" name="Google Shape;8537;p54"/>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538" name="Google Shape;8538;p54"/>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539" name="Google Shape;8539;p54"/>
            <p:cNvGrpSpPr/>
            <p:nvPr/>
          </p:nvGrpSpPr>
          <p:grpSpPr>
            <a:xfrm>
              <a:off x="6796238" y="3311904"/>
              <a:ext cx="1630319" cy="377697"/>
              <a:chOff x="6796238" y="3311904"/>
              <a:chExt cx="1630319" cy="377697"/>
            </a:xfrm>
          </p:grpSpPr>
          <p:sp>
            <p:nvSpPr>
              <p:cNvPr id="8540" name="Google Shape;8540;p54"/>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1" name="Google Shape;8541;p54"/>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2" name="Google Shape;8542;p54"/>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543" name="Google Shape;8543;p54"/>
          <p:cNvGrpSpPr/>
          <p:nvPr/>
        </p:nvGrpSpPr>
        <p:grpSpPr>
          <a:xfrm>
            <a:off x="5375130" y="1179681"/>
            <a:ext cx="1368606" cy="1593805"/>
            <a:chOff x="1839112" y="2209163"/>
            <a:chExt cx="1918159" cy="2233784"/>
          </a:xfrm>
        </p:grpSpPr>
        <p:sp>
          <p:nvSpPr>
            <p:cNvPr id="8544" name="Google Shape;8544;p54"/>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5" name="Google Shape;8545;p54"/>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6" name="Google Shape;8546;p54"/>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47" name="Google Shape;8547;p54"/>
            <p:cNvCxnSpPr>
              <a:stCxn id="8544" idx="6"/>
              <a:endCxn id="8545"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48" name="Google Shape;8548;p54"/>
            <p:cNvCxnSpPr>
              <a:stCxn id="8545" idx="4"/>
              <a:endCxn id="8549"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550" name="Google Shape;8550;p54"/>
            <p:cNvCxnSpPr>
              <a:stCxn id="8549" idx="6"/>
              <a:endCxn id="8546"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551" name="Google Shape;8551;p54"/>
            <p:cNvCxnSpPr>
              <a:stCxn id="8546" idx="4"/>
              <a:endCxn id="8552"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549" name="Google Shape;8549;p54"/>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2" name="Google Shape;8552;p54"/>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3" name="Google Shape;8553;p54"/>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54" name="Google Shape;8554;p54"/>
            <p:cNvCxnSpPr>
              <a:endCxn id="8553"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555" name="Google Shape;8555;p54"/>
          <p:cNvGrpSpPr/>
          <p:nvPr/>
        </p:nvGrpSpPr>
        <p:grpSpPr>
          <a:xfrm>
            <a:off x="3507503" y="1185917"/>
            <a:ext cx="1637968" cy="154942"/>
            <a:chOff x="238125" y="2506075"/>
            <a:chExt cx="7115411" cy="673075"/>
          </a:xfrm>
        </p:grpSpPr>
        <p:sp>
          <p:nvSpPr>
            <p:cNvPr id="8556" name="Google Shape;8556;p54"/>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7" name="Google Shape;8557;p54"/>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8" name="Google Shape;8558;p54"/>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9" name="Google Shape;8559;p54"/>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0" name="Google Shape;8560;p54"/>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61" name="Google Shape;8561;p54"/>
          <p:cNvGrpSpPr/>
          <p:nvPr/>
        </p:nvGrpSpPr>
        <p:grpSpPr>
          <a:xfrm>
            <a:off x="746187" y="1507514"/>
            <a:ext cx="2476762" cy="91743"/>
            <a:chOff x="1464850" y="436376"/>
            <a:chExt cx="6001362" cy="222300"/>
          </a:xfrm>
        </p:grpSpPr>
        <p:sp>
          <p:nvSpPr>
            <p:cNvPr id="8562" name="Google Shape;8562;p54"/>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3" name="Google Shape;8563;p54"/>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4" name="Google Shape;8564;p54"/>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5" name="Google Shape;8565;p54"/>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6" name="Google Shape;8566;p54"/>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567" name="Google Shape;8567;p54"/>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8" name="Google Shape;8568;p54"/>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69" name="Google Shape;8569;p54"/>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570" name="Google Shape;8570;p54"/>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571" name="Google Shape;8571;p54"/>
          <p:cNvGrpSpPr/>
          <p:nvPr/>
        </p:nvGrpSpPr>
        <p:grpSpPr>
          <a:xfrm>
            <a:off x="732455" y="2742980"/>
            <a:ext cx="1452710" cy="651923"/>
            <a:chOff x="803162" y="2667727"/>
            <a:chExt cx="1411906" cy="633611"/>
          </a:xfrm>
        </p:grpSpPr>
        <p:cxnSp>
          <p:nvCxnSpPr>
            <p:cNvPr id="8572" name="Google Shape;8572;p54"/>
            <p:cNvCxnSpPr>
              <a:stCxn id="8573" idx="2"/>
              <a:endCxn id="8574"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5" name="Google Shape;8575;p54"/>
            <p:cNvCxnSpPr>
              <a:stCxn id="8576" idx="0"/>
              <a:endCxn id="8573"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7" name="Google Shape;8577;p54"/>
            <p:cNvCxnSpPr>
              <a:stCxn id="8576" idx="2"/>
              <a:endCxn id="8578"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79" name="Google Shape;8579;p54"/>
            <p:cNvCxnSpPr>
              <a:stCxn id="8580" idx="0"/>
              <a:endCxn id="8576"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1" name="Google Shape;8581;p54"/>
            <p:cNvCxnSpPr>
              <a:stCxn id="8574" idx="2"/>
              <a:endCxn id="8582"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583" name="Google Shape;8583;p54"/>
            <p:cNvCxnSpPr>
              <a:stCxn id="8584" idx="0"/>
              <a:endCxn id="8574"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580" name="Google Shape;8580;p54"/>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8" name="Google Shape;8578;p54"/>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4" name="Google Shape;8584;p54"/>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82" name="Google Shape;8582;p54"/>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4" name="Google Shape;8574;p54"/>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6" name="Google Shape;8576;p54"/>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solidFill>
                  <a:srgbClr val="FFFFFF"/>
                </a:solidFill>
              </a:endParaRPr>
            </a:p>
          </p:txBody>
        </p:sp>
        <p:sp>
          <p:nvSpPr>
            <p:cNvPr id="8573" name="Google Shape;8573;p54"/>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FFFF"/>
                </a:solidFill>
              </a:endParaRPr>
            </a:p>
          </p:txBody>
        </p:sp>
      </p:grpSp>
      <p:grpSp>
        <p:nvGrpSpPr>
          <p:cNvPr id="8585" name="Google Shape;8585;p54"/>
          <p:cNvGrpSpPr/>
          <p:nvPr/>
        </p:nvGrpSpPr>
        <p:grpSpPr>
          <a:xfrm>
            <a:off x="732456" y="1178518"/>
            <a:ext cx="2518541" cy="209309"/>
            <a:chOff x="803163" y="1111966"/>
            <a:chExt cx="2447800" cy="203430"/>
          </a:xfrm>
        </p:grpSpPr>
        <p:grpSp>
          <p:nvGrpSpPr>
            <p:cNvPr id="8586" name="Google Shape;8586;p54"/>
            <p:cNvGrpSpPr/>
            <p:nvPr/>
          </p:nvGrpSpPr>
          <p:grpSpPr>
            <a:xfrm>
              <a:off x="1958180" y="1111966"/>
              <a:ext cx="588019" cy="121396"/>
              <a:chOff x="4808316" y="2800065"/>
              <a:chExt cx="1999386" cy="412910"/>
            </a:xfrm>
          </p:grpSpPr>
          <p:sp>
            <p:nvSpPr>
              <p:cNvPr id="8587" name="Google Shape;8587;p54"/>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88" name="Google Shape;8588;p54"/>
              <p:cNvGrpSpPr/>
              <p:nvPr/>
            </p:nvGrpSpPr>
            <p:grpSpPr>
              <a:xfrm>
                <a:off x="4808316" y="2800065"/>
                <a:ext cx="92400" cy="411825"/>
                <a:chOff x="845575" y="2563700"/>
                <a:chExt cx="92400" cy="411825"/>
              </a:xfrm>
            </p:grpSpPr>
            <p:cxnSp>
              <p:nvCxnSpPr>
                <p:cNvPr id="8589" name="Google Shape;8589;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0" name="Google Shape;8590;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cxnSp>
          <p:nvCxnSpPr>
            <p:cNvPr id="8591" name="Google Shape;8591;p54"/>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592" name="Google Shape;8592;p54"/>
            <p:cNvSpPr/>
            <p:nvPr/>
          </p:nvSpPr>
          <p:spPr>
            <a:xfrm>
              <a:off x="3223663" y="1111974"/>
              <a:ext cx="27300" cy="273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93" name="Google Shape;8593;p54"/>
            <p:cNvGrpSpPr/>
            <p:nvPr/>
          </p:nvGrpSpPr>
          <p:grpSpPr>
            <a:xfrm>
              <a:off x="803163" y="1111974"/>
              <a:ext cx="591158" cy="121545"/>
              <a:chOff x="803163" y="1111974"/>
              <a:chExt cx="591158" cy="121545"/>
            </a:xfrm>
          </p:grpSpPr>
          <p:grpSp>
            <p:nvGrpSpPr>
              <p:cNvPr id="8594" name="Google Shape;8594;p54"/>
              <p:cNvGrpSpPr/>
              <p:nvPr/>
            </p:nvGrpSpPr>
            <p:grpSpPr>
              <a:xfrm>
                <a:off x="803163" y="1111974"/>
                <a:ext cx="27175" cy="121077"/>
                <a:chOff x="845575" y="2563700"/>
                <a:chExt cx="92400" cy="411825"/>
              </a:xfrm>
            </p:grpSpPr>
            <p:cxnSp>
              <p:nvCxnSpPr>
                <p:cNvPr id="8595" name="Google Shape;8595;p54"/>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596" name="Google Shape;8596;p54"/>
                <p:cNvSpPr/>
                <p:nvPr/>
              </p:nvSpPr>
              <p:spPr>
                <a:xfrm>
                  <a:off x="845575"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597" name="Google Shape;8597;p54"/>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98" name="Google Shape;8598;p54"/>
            <p:cNvGrpSpPr/>
            <p:nvPr/>
          </p:nvGrpSpPr>
          <p:grpSpPr>
            <a:xfrm>
              <a:off x="1381910" y="1194219"/>
              <a:ext cx="588341" cy="121177"/>
              <a:chOff x="1381910" y="1194219"/>
              <a:chExt cx="588341" cy="121177"/>
            </a:xfrm>
          </p:grpSpPr>
          <p:grpSp>
            <p:nvGrpSpPr>
              <p:cNvPr id="8599" name="Google Shape;8599;p54"/>
              <p:cNvGrpSpPr/>
              <p:nvPr/>
            </p:nvGrpSpPr>
            <p:grpSpPr>
              <a:xfrm rot="10800000">
                <a:off x="1381910" y="1194319"/>
                <a:ext cx="27175" cy="121077"/>
                <a:chOff x="2070100" y="2563700"/>
                <a:chExt cx="92400" cy="411825"/>
              </a:xfrm>
            </p:grpSpPr>
            <p:cxnSp>
              <p:nvCxnSpPr>
                <p:cNvPr id="8600" name="Google Shape;8600;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1" name="Google Shape;8601;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2" name="Google Shape;8602;p54"/>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03" name="Google Shape;8603;p54"/>
            <p:cNvGrpSpPr/>
            <p:nvPr/>
          </p:nvGrpSpPr>
          <p:grpSpPr>
            <a:xfrm>
              <a:off x="2532079" y="1194219"/>
              <a:ext cx="704927" cy="121177"/>
              <a:chOff x="2532079" y="1194219"/>
              <a:chExt cx="704927" cy="121177"/>
            </a:xfrm>
          </p:grpSpPr>
          <p:grpSp>
            <p:nvGrpSpPr>
              <p:cNvPr id="8604" name="Google Shape;8604;p54"/>
              <p:cNvGrpSpPr/>
              <p:nvPr/>
            </p:nvGrpSpPr>
            <p:grpSpPr>
              <a:xfrm rot="10800000">
                <a:off x="2532079" y="1194319"/>
                <a:ext cx="27175" cy="121077"/>
                <a:chOff x="2070100" y="2563700"/>
                <a:chExt cx="92400" cy="411825"/>
              </a:xfrm>
            </p:grpSpPr>
            <p:cxnSp>
              <p:nvCxnSpPr>
                <p:cNvPr id="8605" name="Google Shape;8605;p54"/>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606" name="Google Shape;8606;p54"/>
                <p:cNvSpPr/>
                <p:nvPr/>
              </p:nvSpPr>
              <p:spPr>
                <a:xfrm>
                  <a:off x="2070100" y="2563700"/>
                  <a:ext cx="92400" cy="92400"/>
                </a:xfrm>
                <a:prstGeom prst="ellipse">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07" name="Google Shape;8607;p54"/>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08" name="Google Shape;8608;p54"/>
          <p:cNvGrpSpPr/>
          <p:nvPr/>
        </p:nvGrpSpPr>
        <p:grpSpPr>
          <a:xfrm>
            <a:off x="3525467" y="3875150"/>
            <a:ext cx="1567778" cy="491677"/>
            <a:chOff x="5194708" y="3484366"/>
            <a:chExt cx="3148148" cy="987304"/>
          </a:xfrm>
        </p:grpSpPr>
        <p:grpSp>
          <p:nvGrpSpPr>
            <p:cNvPr id="8609" name="Google Shape;8609;p54"/>
            <p:cNvGrpSpPr/>
            <p:nvPr/>
          </p:nvGrpSpPr>
          <p:grpSpPr>
            <a:xfrm>
              <a:off x="7531521" y="3484366"/>
              <a:ext cx="811335" cy="987304"/>
              <a:chOff x="3379425" y="1617275"/>
              <a:chExt cx="1090650" cy="1327200"/>
            </a:xfrm>
          </p:grpSpPr>
          <p:sp>
            <p:nvSpPr>
              <p:cNvPr id="8610" name="Google Shape;8610;p54"/>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1" name="Google Shape;8611;p54"/>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2" name="Google Shape;8612;p54"/>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3" name="Google Shape;8613;p54"/>
            <p:cNvGrpSpPr/>
            <p:nvPr/>
          </p:nvGrpSpPr>
          <p:grpSpPr>
            <a:xfrm>
              <a:off x="6752546" y="3484366"/>
              <a:ext cx="811428" cy="987304"/>
              <a:chOff x="2332275" y="1617275"/>
              <a:chExt cx="1090775" cy="1327200"/>
            </a:xfrm>
          </p:grpSpPr>
          <p:sp>
            <p:nvSpPr>
              <p:cNvPr id="8614" name="Google Shape;8614;p54"/>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5" name="Google Shape;8615;p54"/>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6" name="Google Shape;8616;p54"/>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17" name="Google Shape;8617;p54"/>
            <p:cNvGrpSpPr/>
            <p:nvPr/>
          </p:nvGrpSpPr>
          <p:grpSpPr>
            <a:xfrm>
              <a:off x="5973664" y="3484366"/>
              <a:ext cx="811335" cy="987304"/>
              <a:chOff x="1285250" y="1617275"/>
              <a:chExt cx="1090650" cy="1327200"/>
            </a:xfrm>
          </p:grpSpPr>
          <p:sp>
            <p:nvSpPr>
              <p:cNvPr id="8618" name="Google Shape;8618;p54"/>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9" name="Google Shape;8619;p54"/>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0" name="Google Shape;8620;p54"/>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21" name="Google Shape;8621;p54"/>
            <p:cNvGrpSpPr/>
            <p:nvPr/>
          </p:nvGrpSpPr>
          <p:grpSpPr>
            <a:xfrm>
              <a:off x="5194708" y="3484366"/>
              <a:ext cx="811409" cy="987304"/>
              <a:chOff x="238125" y="1617275"/>
              <a:chExt cx="1090750" cy="1327200"/>
            </a:xfrm>
          </p:grpSpPr>
          <p:sp>
            <p:nvSpPr>
              <p:cNvPr id="8622" name="Google Shape;8622;p54"/>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3" name="Google Shape;8623;p54"/>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4" name="Google Shape;8624;p54"/>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625" name="Google Shape;8625;p54"/>
          <p:cNvGrpSpPr/>
          <p:nvPr/>
        </p:nvGrpSpPr>
        <p:grpSpPr>
          <a:xfrm>
            <a:off x="3486076" y="3355561"/>
            <a:ext cx="1616964" cy="346256"/>
            <a:chOff x="1808063" y="4294338"/>
            <a:chExt cx="3370782" cy="721817"/>
          </a:xfrm>
        </p:grpSpPr>
        <p:sp>
          <p:nvSpPr>
            <p:cNvPr id="8626" name="Google Shape;8626;p54"/>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7" name="Google Shape;8627;p54"/>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8" name="Google Shape;8628;p54"/>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9" name="Google Shape;8629;p54"/>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0" name="Google Shape;8630;p54"/>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1" name="Google Shape;8631;p54"/>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2" name="Google Shape;8632;p54"/>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3" name="Google Shape;8633;p54"/>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4" name="Google Shape;8634;p54"/>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5" name="Google Shape;8635;p54"/>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36" name="Google Shape;8636;p54"/>
          <p:cNvGrpSpPr/>
          <p:nvPr/>
        </p:nvGrpSpPr>
        <p:grpSpPr>
          <a:xfrm>
            <a:off x="764288" y="3641590"/>
            <a:ext cx="1295882" cy="646587"/>
            <a:chOff x="834100" y="3642869"/>
            <a:chExt cx="1259483" cy="628426"/>
          </a:xfrm>
        </p:grpSpPr>
        <p:sp>
          <p:nvSpPr>
            <p:cNvPr id="8637" name="Google Shape;8637;p54"/>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8" name="Google Shape;8638;p54"/>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9" name="Google Shape;8639;p54"/>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0" name="Google Shape;8640;p54"/>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1" name="Google Shape;8641;p54"/>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2" name="Google Shape;8642;p54"/>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3" name="Google Shape;8643;p54"/>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4" name="Google Shape;8644;p54"/>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5" name="Google Shape;8645;p54"/>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6" name="Google Shape;8646;p54"/>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7" name="Google Shape;8647;p54"/>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8" name="Google Shape;8648;p54"/>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9" name="Google Shape;8649;p54"/>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0" name="Google Shape;8650;p54"/>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1" name="Google Shape;8651;p54"/>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2" name="Google Shape;8652;p54"/>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3" name="Google Shape;8653;p54"/>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4" name="Google Shape;8654;p54"/>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5" name="Google Shape;8655;p54"/>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6" name="Google Shape;8656;p54"/>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7" name="Google Shape;8657;p54"/>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8" name="Google Shape;8658;p54"/>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9" name="Google Shape;8659;p54"/>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0" name="Google Shape;8660;p54"/>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1" name="Google Shape;8661;p54"/>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62" name="Google Shape;8662;p54"/>
            <p:cNvGrpSpPr/>
            <p:nvPr/>
          </p:nvGrpSpPr>
          <p:grpSpPr>
            <a:xfrm>
              <a:off x="1360364" y="3847835"/>
              <a:ext cx="208119" cy="224359"/>
              <a:chOff x="1360769" y="3847100"/>
              <a:chExt cx="208119" cy="224359"/>
            </a:xfrm>
          </p:grpSpPr>
          <p:sp>
            <p:nvSpPr>
              <p:cNvPr id="8663" name="Google Shape;8663;p54"/>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4" name="Google Shape;8664;p54"/>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5" name="Google Shape;8665;p54"/>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6" name="Google Shape;8666;p54"/>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7" name="Google Shape;8667;p54"/>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8" name="Google Shape;8668;p54"/>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9" name="Google Shape;8669;p54"/>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0" name="Google Shape;8670;p54"/>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1" name="Google Shape;8671;p54"/>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2" name="Google Shape;8672;p54"/>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3" name="Google Shape;8673;p54"/>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4" name="Google Shape;8674;p54"/>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5" name="Google Shape;8675;p54"/>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6" name="Google Shape;8676;p54"/>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7" name="Google Shape;8677;p54"/>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8" name="Google Shape;8678;p54"/>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9" name="Google Shape;8679;p54"/>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0" name="Google Shape;8680;p54"/>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1" name="Google Shape;8681;p54"/>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2" name="Google Shape;8682;p54"/>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683" name="Google Shape;8683;p54"/>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4" name="Google Shape;8684;p54"/>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5" name="Google Shape;8685;p54"/>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6" name="Google Shape;8686;p54"/>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7" name="Google Shape;8687;p54"/>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8" name="Google Shape;8688;p54"/>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9" name="Google Shape;8689;p54"/>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0" name="Google Shape;8690;p54"/>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1" name="Google Shape;8691;p54"/>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2" name="Google Shape;8692;p54"/>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3" name="Google Shape;8693;p54"/>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4" name="Google Shape;8694;p54"/>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5" name="Google Shape;8695;p54"/>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6" name="Google Shape;8696;p54"/>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97" name="Google Shape;8697;p54"/>
          <p:cNvGrpSpPr/>
          <p:nvPr/>
        </p:nvGrpSpPr>
        <p:grpSpPr>
          <a:xfrm rot="5400000">
            <a:off x="5977401" y="3438087"/>
            <a:ext cx="164064" cy="1414916"/>
            <a:chOff x="4428249" y="1369375"/>
            <a:chExt cx="36905" cy="429569"/>
          </a:xfrm>
        </p:grpSpPr>
        <p:sp>
          <p:nvSpPr>
            <p:cNvPr id="8698" name="Google Shape;8698;p54"/>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9" name="Google Shape;8699;p54"/>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0" name="Google Shape;8700;p54"/>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1" name="Google Shape;8701;p54"/>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2" name="Google Shape;8702;p54"/>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3" name="Google Shape;8703;p54"/>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4" name="Google Shape;8704;p54"/>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5" name="Google Shape;8705;p54"/>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6" name="Google Shape;8706;p54"/>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7" name="Google Shape;8707;p54"/>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8" name="Google Shape;8708;p54"/>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9" name="Google Shape;8709;p54"/>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0" name="Google Shape;8710;p54"/>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1" name="Google Shape;8711;p54"/>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2" name="Google Shape;8712;p54"/>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3" name="Google Shape;8713;p54"/>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4" name="Google Shape;8714;p54"/>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5" name="Google Shape;8715;p54"/>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6" name="Google Shape;8716;p54"/>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7" name="Google Shape;8717;p54"/>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8" name="Google Shape;8718;p54"/>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9" name="Google Shape;8719;p54"/>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0" name="Google Shape;8720;p54"/>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1" name="Google Shape;8721;p54"/>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2" name="Google Shape;8722;p54"/>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3" name="Google Shape;8723;p54"/>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4" name="Google Shape;8724;p54"/>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5" name="Google Shape;8725;p54"/>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6" name="Google Shape;8726;p54"/>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7" name="Google Shape;8727;p54"/>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8" name="Google Shape;8728;p54"/>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9" name="Google Shape;8729;p54"/>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0" name="Google Shape;8730;p54"/>
          <p:cNvGrpSpPr/>
          <p:nvPr/>
        </p:nvGrpSpPr>
        <p:grpSpPr>
          <a:xfrm rot="10800000" flipH="1">
            <a:off x="5349830" y="3026630"/>
            <a:ext cx="1419207" cy="24808"/>
            <a:chOff x="219558" y="4738465"/>
            <a:chExt cx="5852400" cy="102300"/>
          </a:xfrm>
        </p:grpSpPr>
        <p:cxnSp>
          <p:nvCxnSpPr>
            <p:cNvPr id="8731" name="Google Shape;8731;p54"/>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732" name="Google Shape;8732;p54"/>
            <p:cNvSpPr/>
            <p:nvPr/>
          </p:nvSpPr>
          <p:spPr>
            <a:xfrm>
              <a:off x="1200298"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3" name="Google Shape;8733;p54"/>
            <p:cNvSpPr/>
            <p:nvPr/>
          </p:nvSpPr>
          <p:spPr>
            <a:xfrm>
              <a:off x="2175146"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4" name="Google Shape;8734;p54"/>
            <p:cNvSpPr/>
            <p:nvPr/>
          </p:nvSpPr>
          <p:spPr>
            <a:xfrm>
              <a:off x="3040751"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5" name="Google Shape;8735;p54"/>
            <p:cNvSpPr/>
            <p:nvPr/>
          </p:nvSpPr>
          <p:spPr>
            <a:xfrm>
              <a:off x="402815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6" name="Google Shape;8736;p54"/>
            <p:cNvSpPr/>
            <p:nvPr/>
          </p:nvSpPr>
          <p:spPr>
            <a:xfrm>
              <a:off x="5040827" y="4738465"/>
              <a:ext cx="102300" cy="102300"/>
            </a:xfrm>
            <a:prstGeom prst="ellipse">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37" name="Google Shape;8737;p54"/>
          <p:cNvGrpSpPr/>
          <p:nvPr/>
        </p:nvGrpSpPr>
        <p:grpSpPr>
          <a:xfrm>
            <a:off x="5361148" y="3399694"/>
            <a:ext cx="1396570" cy="385016"/>
            <a:chOff x="5286284" y="2966544"/>
            <a:chExt cx="1396570" cy="385016"/>
          </a:xfrm>
        </p:grpSpPr>
        <p:cxnSp>
          <p:nvCxnSpPr>
            <p:cNvPr id="8738" name="Google Shape;8738;p54"/>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739" name="Google Shape;8739;p54"/>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740" name="Google Shape;8740;p54"/>
            <p:cNvGrpSpPr/>
            <p:nvPr/>
          </p:nvGrpSpPr>
          <p:grpSpPr>
            <a:xfrm>
              <a:off x="5287688" y="3173364"/>
              <a:ext cx="1395166" cy="74100"/>
              <a:chOff x="5287688" y="3173364"/>
              <a:chExt cx="1395166" cy="74100"/>
            </a:xfrm>
          </p:grpSpPr>
          <p:cxnSp>
            <p:nvCxnSpPr>
              <p:cNvPr id="8741" name="Google Shape;8741;p54"/>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742" name="Google Shape;8742;p54"/>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743" name="Google Shape;8743;p54"/>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4" name="Google Shape;8744;p54"/>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5" name="Google Shape;8745;p54"/>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6" name="Google Shape;8746;p54"/>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7" name="Google Shape;8747;p54"/>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748" name="Google Shape;8748;p54"/>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749" name="Google Shape;8749;p54"/>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750" name="Google Shape;8750;p54"/>
          <p:cNvGrpSpPr/>
          <p:nvPr/>
        </p:nvGrpSpPr>
        <p:grpSpPr>
          <a:xfrm>
            <a:off x="2047214" y="1818470"/>
            <a:ext cx="1182276" cy="662027"/>
            <a:chOff x="2029517" y="1732295"/>
            <a:chExt cx="1149068" cy="643432"/>
          </a:xfrm>
        </p:grpSpPr>
        <p:grpSp>
          <p:nvGrpSpPr>
            <p:cNvPr id="8751" name="Google Shape;8751;p54"/>
            <p:cNvGrpSpPr/>
            <p:nvPr/>
          </p:nvGrpSpPr>
          <p:grpSpPr>
            <a:xfrm>
              <a:off x="2708660" y="1746937"/>
              <a:ext cx="455427" cy="244429"/>
              <a:chOff x="2700693" y="1746937"/>
              <a:chExt cx="455427" cy="244429"/>
            </a:xfrm>
          </p:grpSpPr>
          <p:grpSp>
            <p:nvGrpSpPr>
              <p:cNvPr id="8752" name="Google Shape;8752;p54"/>
              <p:cNvGrpSpPr/>
              <p:nvPr/>
            </p:nvGrpSpPr>
            <p:grpSpPr>
              <a:xfrm>
                <a:off x="2905682" y="1782817"/>
                <a:ext cx="250438" cy="208549"/>
                <a:chOff x="2905682" y="1782817"/>
                <a:chExt cx="250438" cy="208549"/>
              </a:xfrm>
            </p:grpSpPr>
            <p:cxnSp>
              <p:nvCxnSpPr>
                <p:cNvPr id="8753" name="Google Shape;8753;p54"/>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4" name="Google Shape;8754;p54"/>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55" name="Google Shape;8755;p54"/>
              <p:cNvGrpSpPr/>
              <p:nvPr/>
            </p:nvGrpSpPr>
            <p:grpSpPr>
              <a:xfrm>
                <a:off x="2700693" y="1746937"/>
                <a:ext cx="449967" cy="72374"/>
                <a:chOff x="2700693" y="1746937"/>
                <a:chExt cx="449967" cy="72374"/>
              </a:xfrm>
            </p:grpSpPr>
            <p:cxnSp>
              <p:nvCxnSpPr>
                <p:cNvPr id="8756" name="Google Shape;8756;p54"/>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57" name="Google Shape;8757;p54"/>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58" name="Google Shape;8758;p54"/>
            <p:cNvGrpSpPr/>
            <p:nvPr/>
          </p:nvGrpSpPr>
          <p:grpSpPr>
            <a:xfrm>
              <a:off x="2029517" y="1732295"/>
              <a:ext cx="1149068" cy="643432"/>
              <a:chOff x="2029517" y="1732295"/>
              <a:chExt cx="1149068" cy="643432"/>
            </a:xfrm>
          </p:grpSpPr>
          <p:grpSp>
            <p:nvGrpSpPr>
              <p:cNvPr id="8759" name="Google Shape;8759;p54"/>
              <p:cNvGrpSpPr/>
              <p:nvPr/>
            </p:nvGrpSpPr>
            <p:grpSpPr>
              <a:xfrm>
                <a:off x="2703618" y="2103152"/>
                <a:ext cx="474966" cy="260017"/>
                <a:chOff x="2703618" y="2103152"/>
                <a:chExt cx="474966" cy="260017"/>
              </a:xfrm>
            </p:grpSpPr>
            <p:grpSp>
              <p:nvGrpSpPr>
                <p:cNvPr id="8760" name="Google Shape;8760;p54"/>
                <p:cNvGrpSpPr/>
                <p:nvPr/>
              </p:nvGrpSpPr>
              <p:grpSpPr>
                <a:xfrm>
                  <a:off x="2703618" y="2290640"/>
                  <a:ext cx="450291" cy="72529"/>
                  <a:chOff x="2703618" y="2290640"/>
                  <a:chExt cx="450291" cy="72529"/>
                </a:xfrm>
              </p:grpSpPr>
              <p:cxnSp>
                <p:nvCxnSpPr>
                  <p:cNvPr id="8761" name="Google Shape;8761;p54"/>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2" name="Google Shape;8762;p54"/>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63" name="Google Shape;8763;p54"/>
                <p:cNvGrpSpPr/>
                <p:nvPr/>
              </p:nvGrpSpPr>
              <p:grpSpPr>
                <a:xfrm>
                  <a:off x="2908607" y="2103152"/>
                  <a:ext cx="269977" cy="223538"/>
                  <a:chOff x="2908607" y="2103152"/>
                  <a:chExt cx="269977" cy="223538"/>
                </a:xfrm>
              </p:grpSpPr>
              <p:cxnSp>
                <p:nvCxnSpPr>
                  <p:cNvPr id="8764" name="Google Shape;8764;p54"/>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765" name="Google Shape;8765;p54"/>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66" name="Google Shape;8766;p54"/>
              <p:cNvGrpSpPr/>
              <p:nvPr/>
            </p:nvGrpSpPr>
            <p:grpSpPr>
              <a:xfrm>
                <a:off x="2029517" y="1732295"/>
                <a:ext cx="685827" cy="643432"/>
                <a:chOff x="2029517" y="1732295"/>
                <a:chExt cx="685827" cy="643432"/>
              </a:xfrm>
            </p:grpSpPr>
            <p:sp>
              <p:nvSpPr>
                <p:cNvPr id="8767" name="Google Shape;8767;p54"/>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68" name="Google Shape;8768;p54"/>
                <p:cNvGrpSpPr/>
                <p:nvPr/>
              </p:nvGrpSpPr>
              <p:grpSpPr>
                <a:xfrm>
                  <a:off x="2158948" y="1732295"/>
                  <a:ext cx="556396" cy="333108"/>
                  <a:chOff x="2158948" y="1732295"/>
                  <a:chExt cx="556396" cy="333108"/>
                </a:xfrm>
              </p:grpSpPr>
              <p:cxnSp>
                <p:nvCxnSpPr>
                  <p:cNvPr id="8769" name="Google Shape;8769;p54"/>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0" name="Google Shape;8770;p54"/>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71" name="Google Shape;8771;p54"/>
                <p:cNvGrpSpPr/>
                <p:nvPr/>
              </p:nvGrpSpPr>
              <p:grpSpPr>
                <a:xfrm>
                  <a:off x="2159908" y="2065057"/>
                  <a:ext cx="550884" cy="310670"/>
                  <a:chOff x="2159908" y="2065057"/>
                  <a:chExt cx="550884" cy="310670"/>
                </a:xfrm>
              </p:grpSpPr>
              <p:cxnSp>
                <p:nvCxnSpPr>
                  <p:cNvPr id="8772" name="Google Shape;8772;p54"/>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773" name="Google Shape;8773;p54"/>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nvGrpSpPr>
          <p:cNvPr id="8774" name="Google Shape;8774;p54"/>
          <p:cNvGrpSpPr/>
          <p:nvPr/>
        </p:nvGrpSpPr>
        <p:grpSpPr>
          <a:xfrm>
            <a:off x="732462" y="1766083"/>
            <a:ext cx="962651" cy="810058"/>
            <a:chOff x="844912" y="1681380"/>
            <a:chExt cx="935611" cy="787305"/>
          </a:xfrm>
        </p:grpSpPr>
        <p:grpSp>
          <p:nvGrpSpPr>
            <p:cNvPr id="8775" name="Google Shape;8775;p54"/>
            <p:cNvGrpSpPr/>
            <p:nvPr/>
          </p:nvGrpSpPr>
          <p:grpSpPr>
            <a:xfrm>
              <a:off x="844912" y="1819635"/>
              <a:ext cx="329836" cy="510016"/>
              <a:chOff x="844912" y="1819635"/>
              <a:chExt cx="329836" cy="510016"/>
            </a:xfrm>
          </p:grpSpPr>
          <p:sp>
            <p:nvSpPr>
              <p:cNvPr id="8776" name="Google Shape;8776;p54"/>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7" name="Google Shape;8777;p54"/>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8" name="Google Shape;8778;p54"/>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9" name="Google Shape;8779;p54"/>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0" name="Google Shape;8780;p54"/>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1" name="Google Shape;8781;p54"/>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782" name="Google Shape;8782;p54"/>
            <p:cNvGrpSpPr/>
            <p:nvPr/>
          </p:nvGrpSpPr>
          <p:grpSpPr>
            <a:xfrm>
              <a:off x="1284601" y="2158168"/>
              <a:ext cx="495923" cy="310517"/>
              <a:chOff x="1284601" y="2158168"/>
              <a:chExt cx="495923" cy="310517"/>
            </a:xfrm>
          </p:grpSpPr>
          <p:sp>
            <p:nvSpPr>
              <p:cNvPr id="8783" name="Google Shape;8783;p54"/>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84" name="Google Shape;8784;p54"/>
              <p:cNvGrpSpPr/>
              <p:nvPr/>
            </p:nvGrpSpPr>
            <p:grpSpPr>
              <a:xfrm>
                <a:off x="1507666" y="2158168"/>
                <a:ext cx="272858" cy="310517"/>
                <a:chOff x="1507666" y="2158168"/>
                <a:chExt cx="272858" cy="310517"/>
              </a:xfrm>
            </p:grpSpPr>
            <p:grpSp>
              <p:nvGrpSpPr>
                <p:cNvPr id="8785" name="Google Shape;8785;p54"/>
                <p:cNvGrpSpPr/>
                <p:nvPr/>
              </p:nvGrpSpPr>
              <p:grpSpPr>
                <a:xfrm>
                  <a:off x="1507666" y="2176104"/>
                  <a:ext cx="166395" cy="273149"/>
                  <a:chOff x="1507666" y="2176104"/>
                  <a:chExt cx="166395" cy="273149"/>
                </a:xfrm>
              </p:grpSpPr>
              <p:sp>
                <p:nvSpPr>
                  <p:cNvPr id="8786" name="Google Shape;8786;p54"/>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7" name="Google Shape;8787;p54"/>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8" name="Google Shape;8788;p54"/>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9" name="Google Shape;8789;p54"/>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0" name="Google Shape;8790;p54"/>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1" name="Google Shape;8791;p54"/>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2" name="Google Shape;8792;p54"/>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93" name="Google Shape;8793;p54"/>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4" name="Google Shape;8794;p54"/>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795" name="Google Shape;8795;p54"/>
            <p:cNvGrpSpPr/>
            <p:nvPr/>
          </p:nvGrpSpPr>
          <p:grpSpPr>
            <a:xfrm>
              <a:off x="1284601" y="1681380"/>
              <a:ext cx="495923" cy="310517"/>
              <a:chOff x="1284601" y="1681380"/>
              <a:chExt cx="495923" cy="310517"/>
            </a:xfrm>
          </p:grpSpPr>
          <p:sp>
            <p:nvSpPr>
              <p:cNvPr id="8796" name="Google Shape;8796;p54"/>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797" name="Google Shape;8797;p54"/>
              <p:cNvGrpSpPr/>
              <p:nvPr/>
            </p:nvGrpSpPr>
            <p:grpSpPr>
              <a:xfrm>
                <a:off x="1507666" y="1681380"/>
                <a:ext cx="272858" cy="310517"/>
                <a:chOff x="1507666" y="1681380"/>
                <a:chExt cx="272858" cy="310517"/>
              </a:xfrm>
            </p:grpSpPr>
            <p:grpSp>
              <p:nvGrpSpPr>
                <p:cNvPr id="8798" name="Google Shape;8798;p54"/>
                <p:cNvGrpSpPr/>
                <p:nvPr/>
              </p:nvGrpSpPr>
              <p:grpSpPr>
                <a:xfrm>
                  <a:off x="1507666" y="1700120"/>
                  <a:ext cx="166395" cy="272984"/>
                  <a:chOff x="1507666" y="1700120"/>
                  <a:chExt cx="166395" cy="272984"/>
                </a:xfrm>
              </p:grpSpPr>
              <p:sp>
                <p:nvSpPr>
                  <p:cNvPr id="8799" name="Google Shape;8799;p54"/>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0" name="Google Shape;8800;p54"/>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1" name="Google Shape;8801;p54"/>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2" name="Google Shape;8802;p54"/>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3" name="Google Shape;8803;p54"/>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4" name="Google Shape;8804;p54"/>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5" name="Google Shape;8805;p54"/>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806" name="Google Shape;8806;p54"/>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7" name="Google Shape;8807;p54"/>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08" name="Google Shape;8808;p54"/>
          <p:cNvGrpSpPr/>
          <p:nvPr/>
        </p:nvGrpSpPr>
        <p:grpSpPr>
          <a:xfrm>
            <a:off x="6841403" y="2533512"/>
            <a:ext cx="1622269" cy="552443"/>
            <a:chOff x="6894650" y="2574740"/>
            <a:chExt cx="1445100" cy="492111"/>
          </a:xfrm>
        </p:grpSpPr>
        <p:sp>
          <p:nvSpPr>
            <p:cNvPr id="8809" name="Google Shape;8809;p54"/>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0" name="Google Shape;8810;p54"/>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1" name="Google Shape;8811;p54"/>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2" name="Google Shape;8812;p54"/>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3" name="Google Shape;8813;p54"/>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14" name="Google Shape;8814;p54"/>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815" name="Google Shape;8815;p54"/>
          <p:cNvGrpSpPr/>
          <p:nvPr/>
        </p:nvGrpSpPr>
        <p:grpSpPr>
          <a:xfrm>
            <a:off x="6860946" y="3907768"/>
            <a:ext cx="1583206" cy="475705"/>
            <a:chOff x="6953919" y="3907920"/>
            <a:chExt cx="1377300" cy="475705"/>
          </a:xfrm>
        </p:grpSpPr>
        <p:cxnSp>
          <p:nvCxnSpPr>
            <p:cNvPr id="8816" name="Google Shape;8816;p54"/>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7" name="Google Shape;8817;p54"/>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818" name="Google Shape;8818;p54"/>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819" name="Google Shape;8819;p54"/>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820" name="Google Shape;8820;p54"/>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821" name="Google Shape;8821;p54"/>
          <p:cNvGrpSpPr/>
          <p:nvPr/>
        </p:nvGrpSpPr>
        <p:grpSpPr>
          <a:xfrm>
            <a:off x="2364534" y="2668913"/>
            <a:ext cx="836286" cy="824529"/>
            <a:chOff x="2389399" y="2595741"/>
            <a:chExt cx="812796" cy="801369"/>
          </a:xfrm>
        </p:grpSpPr>
        <p:grpSp>
          <p:nvGrpSpPr>
            <p:cNvPr id="8822" name="Google Shape;8822;p54"/>
            <p:cNvGrpSpPr/>
            <p:nvPr/>
          </p:nvGrpSpPr>
          <p:grpSpPr>
            <a:xfrm>
              <a:off x="2492145" y="2881565"/>
              <a:ext cx="607300" cy="229751"/>
              <a:chOff x="2492145" y="2881565"/>
              <a:chExt cx="607300" cy="229751"/>
            </a:xfrm>
          </p:grpSpPr>
          <p:sp>
            <p:nvSpPr>
              <p:cNvPr id="8823" name="Google Shape;8823;p54"/>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4" name="Google Shape;8824;p54"/>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5" name="Google Shape;8825;p54"/>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26" name="Google Shape;8826;p54"/>
            <p:cNvGrpSpPr/>
            <p:nvPr/>
          </p:nvGrpSpPr>
          <p:grpSpPr>
            <a:xfrm>
              <a:off x="2389399" y="2595741"/>
              <a:ext cx="812796" cy="296825"/>
              <a:chOff x="2389399" y="2595741"/>
              <a:chExt cx="812796" cy="296825"/>
            </a:xfrm>
          </p:grpSpPr>
          <p:grpSp>
            <p:nvGrpSpPr>
              <p:cNvPr id="8827" name="Google Shape;8827;p54"/>
              <p:cNvGrpSpPr/>
              <p:nvPr/>
            </p:nvGrpSpPr>
            <p:grpSpPr>
              <a:xfrm>
                <a:off x="2389399" y="2595741"/>
                <a:ext cx="363638" cy="296825"/>
                <a:chOff x="2389399" y="2595741"/>
                <a:chExt cx="363638" cy="296825"/>
              </a:xfrm>
            </p:grpSpPr>
            <p:grpSp>
              <p:nvGrpSpPr>
                <p:cNvPr id="8828" name="Google Shape;8828;p54"/>
                <p:cNvGrpSpPr/>
                <p:nvPr/>
              </p:nvGrpSpPr>
              <p:grpSpPr>
                <a:xfrm>
                  <a:off x="2493852" y="2794333"/>
                  <a:ext cx="259185" cy="98232"/>
                  <a:chOff x="2493852" y="2794333"/>
                  <a:chExt cx="259185" cy="98232"/>
                </a:xfrm>
              </p:grpSpPr>
              <p:sp>
                <p:nvSpPr>
                  <p:cNvPr id="8829" name="Google Shape;8829;p54"/>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0" name="Google Shape;8830;p54"/>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1" name="Google Shape;8831;p54"/>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32" name="Google Shape;8832;p54"/>
                <p:cNvGrpSpPr/>
                <p:nvPr/>
              </p:nvGrpSpPr>
              <p:grpSpPr>
                <a:xfrm>
                  <a:off x="2389399" y="2595741"/>
                  <a:ext cx="224343" cy="182054"/>
                  <a:chOff x="2389399" y="2595741"/>
                  <a:chExt cx="224343" cy="182054"/>
                </a:xfrm>
              </p:grpSpPr>
              <p:sp>
                <p:nvSpPr>
                  <p:cNvPr id="8833" name="Google Shape;8833;p54"/>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4" name="Google Shape;8834;p54"/>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35" name="Google Shape;8835;p54"/>
              <p:cNvGrpSpPr/>
              <p:nvPr/>
            </p:nvGrpSpPr>
            <p:grpSpPr>
              <a:xfrm>
                <a:off x="2683630" y="2595741"/>
                <a:ext cx="224334" cy="296825"/>
                <a:chOff x="2683630" y="2595741"/>
                <a:chExt cx="224334" cy="296825"/>
              </a:xfrm>
            </p:grpSpPr>
            <p:grpSp>
              <p:nvGrpSpPr>
                <p:cNvPr id="8836" name="Google Shape;8836;p54"/>
                <p:cNvGrpSpPr/>
                <p:nvPr/>
              </p:nvGrpSpPr>
              <p:grpSpPr>
                <a:xfrm>
                  <a:off x="2788083" y="2794333"/>
                  <a:ext cx="15356" cy="98232"/>
                  <a:chOff x="2788083" y="2794333"/>
                  <a:chExt cx="15356" cy="98232"/>
                </a:xfrm>
              </p:grpSpPr>
              <p:sp>
                <p:nvSpPr>
                  <p:cNvPr id="8837" name="Google Shape;8837;p54"/>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8" name="Google Shape;8838;p54"/>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9" name="Google Shape;8839;p54"/>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0" name="Google Shape;8840;p54"/>
                <p:cNvGrpSpPr/>
                <p:nvPr/>
              </p:nvGrpSpPr>
              <p:grpSpPr>
                <a:xfrm>
                  <a:off x="2683630" y="2595741"/>
                  <a:ext cx="224334" cy="182054"/>
                  <a:chOff x="2683630" y="2595741"/>
                  <a:chExt cx="224334" cy="182054"/>
                </a:xfrm>
              </p:grpSpPr>
              <p:sp>
                <p:nvSpPr>
                  <p:cNvPr id="8841" name="Google Shape;8841;p54"/>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2" name="Google Shape;8842;p54"/>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43" name="Google Shape;8843;p54"/>
              <p:cNvGrpSpPr/>
              <p:nvPr/>
            </p:nvGrpSpPr>
            <p:grpSpPr>
              <a:xfrm>
                <a:off x="2838475" y="2595741"/>
                <a:ext cx="363719" cy="296825"/>
                <a:chOff x="2838475" y="2595741"/>
                <a:chExt cx="363719" cy="296825"/>
              </a:xfrm>
            </p:grpSpPr>
            <p:grpSp>
              <p:nvGrpSpPr>
                <p:cNvPr id="8844" name="Google Shape;8844;p54"/>
                <p:cNvGrpSpPr/>
                <p:nvPr/>
              </p:nvGrpSpPr>
              <p:grpSpPr>
                <a:xfrm>
                  <a:off x="2838475" y="2794333"/>
                  <a:ext cx="259185" cy="98232"/>
                  <a:chOff x="2838475" y="2794333"/>
                  <a:chExt cx="259185" cy="98232"/>
                </a:xfrm>
              </p:grpSpPr>
              <p:sp>
                <p:nvSpPr>
                  <p:cNvPr id="8845" name="Google Shape;8845;p54"/>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6" name="Google Shape;8846;p54"/>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7" name="Google Shape;8847;p54"/>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48" name="Google Shape;8848;p54"/>
                <p:cNvGrpSpPr/>
                <p:nvPr/>
              </p:nvGrpSpPr>
              <p:grpSpPr>
                <a:xfrm>
                  <a:off x="2977852" y="2595741"/>
                  <a:ext cx="224343" cy="182054"/>
                  <a:chOff x="2977852" y="2595741"/>
                  <a:chExt cx="224343" cy="182054"/>
                </a:xfrm>
              </p:grpSpPr>
              <p:sp>
                <p:nvSpPr>
                  <p:cNvPr id="8849" name="Google Shape;8849;p54"/>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0" name="Google Shape;8850;p54"/>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8851" name="Google Shape;8851;p54"/>
            <p:cNvGrpSpPr/>
            <p:nvPr/>
          </p:nvGrpSpPr>
          <p:grpSpPr>
            <a:xfrm>
              <a:off x="2389399" y="3100241"/>
              <a:ext cx="812796" cy="296869"/>
              <a:chOff x="2389399" y="3100241"/>
              <a:chExt cx="812796" cy="296869"/>
            </a:xfrm>
          </p:grpSpPr>
          <p:grpSp>
            <p:nvGrpSpPr>
              <p:cNvPr id="8852" name="Google Shape;8852;p54"/>
              <p:cNvGrpSpPr/>
              <p:nvPr/>
            </p:nvGrpSpPr>
            <p:grpSpPr>
              <a:xfrm>
                <a:off x="2683630" y="3100241"/>
                <a:ext cx="224334" cy="296869"/>
                <a:chOff x="2683630" y="3100241"/>
                <a:chExt cx="224334" cy="296869"/>
              </a:xfrm>
            </p:grpSpPr>
            <p:grpSp>
              <p:nvGrpSpPr>
                <p:cNvPr id="8853" name="Google Shape;8853;p54"/>
                <p:cNvGrpSpPr/>
                <p:nvPr/>
              </p:nvGrpSpPr>
              <p:grpSpPr>
                <a:xfrm>
                  <a:off x="2788083" y="3100241"/>
                  <a:ext cx="15356" cy="98237"/>
                  <a:chOff x="2788083" y="3100241"/>
                  <a:chExt cx="15356" cy="98237"/>
                </a:xfrm>
              </p:grpSpPr>
              <p:sp>
                <p:nvSpPr>
                  <p:cNvPr id="8854" name="Google Shape;8854;p54"/>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5" name="Google Shape;8855;p54"/>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6" name="Google Shape;8856;p54"/>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57" name="Google Shape;8857;p54"/>
                <p:cNvGrpSpPr/>
                <p:nvPr/>
              </p:nvGrpSpPr>
              <p:grpSpPr>
                <a:xfrm>
                  <a:off x="2683630" y="3215065"/>
                  <a:ext cx="224334" cy="182045"/>
                  <a:chOff x="2683630" y="3215065"/>
                  <a:chExt cx="224334" cy="182045"/>
                </a:xfrm>
              </p:grpSpPr>
              <p:sp>
                <p:nvSpPr>
                  <p:cNvPr id="8858" name="Google Shape;8858;p54"/>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9" name="Google Shape;8859;p54"/>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0" name="Google Shape;8860;p54"/>
              <p:cNvGrpSpPr/>
              <p:nvPr/>
            </p:nvGrpSpPr>
            <p:grpSpPr>
              <a:xfrm>
                <a:off x="2389399" y="3100241"/>
                <a:ext cx="363638" cy="296869"/>
                <a:chOff x="2389399" y="3100241"/>
                <a:chExt cx="363638" cy="296869"/>
              </a:xfrm>
            </p:grpSpPr>
            <p:grpSp>
              <p:nvGrpSpPr>
                <p:cNvPr id="8861" name="Google Shape;8861;p54"/>
                <p:cNvGrpSpPr/>
                <p:nvPr/>
              </p:nvGrpSpPr>
              <p:grpSpPr>
                <a:xfrm>
                  <a:off x="2493852" y="3100241"/>
                  <a:ext cx="259185" cy="98237"/>
                  <a:chOff x="2493852" y="3100241"/>
                  <a:chExt cx="259185" cy="98237"/>
                </a:xfrm>
              </p:grpSpPr>
              <p:sp>
                <p:nvSpPr>
                  <p:cNvPr id="8862" name="Google Shape;8862;p54"/>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3" name="Google Shape;8863;p54"/>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4" name="Google Shape;8864;p54"/>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65" name="Google Shape;8865;p54"/>
                <p:cNvGrpSpPr/>
                <p:nvPr/>
              </p:nvGrpSpPr>
              <p:grpSpPr>
                <a:xfrm>
                  <a:off x="2389399" y="3215065"/>
                  <a:ext cx="224343" cy="182045"/>
                  <a:chOff x="2389399" y="3215065"/>
                  <a:chExt cx="224343" cy="182045"/>
                </a:xfrm>
              </p:grpSpPr>
              <p:sp>
                <p:nvSpPr>
                  <p:cNvPr id="8866" name="Google Shape;8866;p54"/>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7" name="Google Shape;8867;p54"/>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868" name="Google Shape;8868;p54"/>
              <p:cNvGrpSpPr/>
              <p:nvPr/>
            </p:nvGrpSpPr>
            <p:grpSpPr>
              <a:xfrm>
                <a:off x="2838475" y="3100241"/>
                <a:ext cx="363719" cy="296869"/>
                <a:chOff x="2838475" y="3100241"/>
                <a:chExt cx="363719" cy="296869"/>
              </a:xfrm>
            </p:grpSpPr>
            <p:grpSp>
              <p:nvGrpSpPr>
                <p:cNvPr id="8869" name="Google Shape;8869;p54"/>
                <p:cNvGrpSpPr/>
                <p:nvPr/>
              </p:nvGrpSpPr>
              <p:grpSpPr>
                <a:xfrm>
                  <a:off x="2838475" y="3100241"/>
                  <a:ext cx="259185" cy="98237"/>
                  <a:chOff x="2838475" y="3100241"/>
                  <a:chExt cx="259185" cy="98237"/>
                </a:xfrm>
              </p:grpSpPr>
              <p:sp>
                <p:nvSpPr>
                  <p:cNvPr id="8870" name="Google Shape;8870;p54"/>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1" name="Google Shape;8871;p54"/>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2" name="Google Shape;8872;p54"/>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873" name="Google Shape;8873;p54"/>
                <p:cNvGrpSpPr/>
                <p:nvPr/>
              </p:nvGrpSpPr>
              <p:grpSpPr>
                <a:xfrm>
                  <a:off x="2977852" y="3215065"/>
                  <a:ext cx="224343" cy="182045"/>
                  <a:chOff x="2977852" y="3215065"/>
                  <a:chExt cx="224343" cy="182045"/>
                </a:xfrm>
              </p:grpSpPr>
              <p:sp>
                <p:nvSpPr>
                  <p:cNvPr id="8874" name="Google Shape;8874;p54"/>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5" name="Google Shape;8875;p54"/>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8879"/>
        <p:cNvGrpSpPr/>
        <p:nvPr/>
      </p:nvGrpSpPr>
      <p:grpSpPr>
        <a:xfrm>
          <a:off x="0" y="0"/>
          <a:ext cx="0" cy="0"/>
          <a:chOff x="0" y="0"/>
          <a:chExt cx="0" cy="0"/>
        </a:xfrm>
      </p:grpSpPr>
      <p:grpSp>
        <p:nvGrpSpPr>
          <p:cNvPr id="8880" name="Google Shape;8880;p55"/>
          <p:cNvGrpSpPr/>
          <p:nvPr/>
        </p:nvGrpSpPr>
        <p:grpSpPr>
          <a:xfrm>
            <a:off x="718875" y="3363288"/>
            <a:ext cx="2390414" cy="1024800"/>
            <a:chOff x="728925" y="3296613"/>
            <a:chExt cx="2390414" cy="1024800"/>
          </a:xfrm>
        </p:grpSpPr>
        <p:grpSp>
          <p:nvGrpSpPr>
            <p:cNvPr id="8881" name="Google Shape;8881;p55"/>
            <p:cNvGrpSpPr/>
            <p:nvPr/>
          </p:nvGrpSpPr>
          <p:grpSpPr>
            <a:xfrm>
              <a:off x="728925" y="3619800"/>
              <a:ext cx="2390414" cy="500893"/>
              <a:chOff x="728925" y="3619800"/>
              <a:chExt cx="2390414" cy="500893"/>
            </a:xfrm>
          </p:grpSpPr>
          <p:sp>
            <p:nvSpPr>
              <p:cNvPr id="8882" name="Google Shape;8882;p55"/>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3" name="Google Shape;8883;p55"/>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84" name="Google Shape;8884;p55"/>
            <p:cNvGrpSpPr/>
            <p:nvPr/>
          </p:nvGrpSpPr>
          <p:grpSpPr>
            <a:xfrm>
              <a:off x="1348050" y="3296613"/>
              <a:ext cx="1706152" cy="1024800"/>
              <a:chOff x="1348050" y="3296613"/>
              <a:chExt cx="1706152" cy="1024800"/>
            </a:xfrm>
          </p:grpSpPr>
          <p:sp>
            <p:nvSpPr>
              <p:cNvPr id="8885" name="Google Shape;8885;p55"/>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6" name="Google Shape;8886;p55"/>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7" name="Google Shape;8887;p55"/>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8" name="Google Shape;8888;p55"/>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sp>
            <p:nvSpPr>
              <p:cNvPr id="8889" name="Google Shape;8889;p55"/>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p>
            </p:txBody>
          </p:sp>
        </p:grpSp>
        <p:grpSp>
          <p:nvGrpSpPr>
            <p:cNvPr id="8890" name="Google Shape;8890;p55"/>
            <p:cNvGrpSpPr/>
            <p:nvPr/>
          </p:nvGrpSpPr>
          <p:grpSpPr>
            <a:xfrm>
              <a:off x="1455707" y="3654858"/>
              <a:ext cx="1491150" cy="417657"/>
              <a:chOff x="1455707" y="3654858"/>
              <a:chExt cx="1491150" cy="417657"/>
            </a:xfrm>
          </p:grpSpPr>
          <p:sp>
            <p:nvSpPr>
              <p:cNvPr id="8891" name="Google Shape;8891;p55"/>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2" name="Google Shape;8892;p55"/>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3" name="Google Shape;8893;p55"/>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4" name="Google Shape;8894;p55"/>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5" name="Google Shape;8895;p55"/>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6" name="Google Shape;8896;p55"/>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7" name="Google Shape;8897;p55"/>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8" name="Google Shape;8898;p55"/>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9" name="Google Shape;8899;p55"/>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0" name="Google Shape;8900;p55"/>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1" name="Google Shape;8901;p55"/>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2" name="Google Shape;8902;p55"/>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3" name="Google Shape;8903;p55"/>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4" name="Google Shape;8904;p55"/>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5" name="Google Shape;8905;p55"/>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6" name="Google Shape;8906;p55"/>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7" name="Google Shape;8907;p55"/>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8" name="Google Shape;8908;p55"/>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9" name="Google Shape;8909;p55"/>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0" name="Google Shape;8910;p55"/>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11" name="Google Shape;8911;p55"/>
          <p:cNvGraphicFramePr/>
          <p:nvPr/>
        </p:nvGraphicFramePr>
        <p:xfrm>
          <a:off x="5954575" y="236120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17150">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200" b="1">
                        <a:latin typeface="Amatic SC"/>
                        <a:ea typeface="Amatic SC"/>
                        <a:cs typeface="Amatic SC"/>
                        <a:sym typeface="Amatic SC"/>
                      </a:endParaRPr>
                    </a:p>
                  </a:txBody>
                  <a:tcPr marL="91425" marR="91425" marT="91425" marB="91425">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912" name="Google Shape;8912;p55"/>
          <p:cNvGrpSpPr/>
          <p:nvPr/>
        </p:nvGrpSpPr>
        <p:grpSpPr>
          <a:xfrm>
            <a:off x="727251" y="1188964"/>
            <a:ext cx="2396505" cy="976502"/>
            <a:chOff x="749309" y="1112739"/>
            <a:chExt cx="2371603" cy="976502"/>
          </a:xfrm>
        </p:grpSpPr>
        <p:grpSp>
          <p:nvGrpSpPr>
            <p:cNvPr id="8913" name="Google Shape;8913;p55"/>
            <p:cNvGrpSpPr/>
            <p:nvPr/>
          </p:nvGrpSpPr>
          <p:grpSpPr>
            <a:xfrm>
              <a:off x="1092126" y="1112739"/>
              <a:ext cx="2028786" cy="975464"/>
              <a:chOff x="1092126" y="1112739"/>
              <a:chExt cx="2028786" cy="975464"/>
            </a:xfrm>
          </p:grpSpPr>
          <p:sp>
            <p:nvSpPr>
              <p:cNvPr id="8914" name="Google Shape;8914;p55"/>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5" name="Google Shape;8915;p55"/>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6" name="Google Shape;8916;p55"/>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7" name="Google Shape;8917;p55"/>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8" name="Google Shape;8918;p55"/>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9" name="Google Shape;8919;p55"/>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0" name="Google Shape;8920;p55"/>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1" name="Google Shape;8921;p55"/>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2" name="Google Shape;8922;p55"/>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3" name="Google Shape;8923;p55"/>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4" name="Google Shape;8924;p55"/>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5" name="Google Shape;8925;p55"/>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6" name="Google Shape;8926;p55"/>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7" name="Google Shape;8927;p55"/>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8" name="Google Shape;8928;p55"/>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9" name="Google Shape;8929;p55"/>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0" name="Google Shape;8930;p55"/>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1" name="Google Shape;8931;p55"/>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2" name="Google Shape;8932;p55"/>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3" name="Google Shape;8933;p55"/>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4" name="Google Shape;8934;p55"/>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5" name="Google Shape;8935;p55"/>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6" name="Google Shape;8936;p55"/>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7" name="Google Shape;8937;p55"/>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38" name="Google Shape;8938;p55"/>
            <p:cNvGrpSpPr/>
            <p:nvPr/>
          </p:nvGrpSpPr>
          <p:grpSpPr>
            <a:xfrm>
              <a:off x="749309" y="1112739"/>
              <a:ext cx="314700" cy="975464"/>
              <a:chOff x="749309" y="1112739"/>
              <a:chExt cx="314700" cy="975464"/>
            </a:xfrm>
          </p:grpSpPr>
          <p:sp>
            <p:nvSpPr>
              <p:cNvPr id="8939" name="Google Shape;8939;p55"/>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0" name="Google Shape;8940;p55"/>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1" name="Google Shape;8941;p55"/>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2" name="Google Shape;8942;p55"/>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943" name="Google Shape;8943;p55"/>
            <p:cNvSpPr/>
            <p:nvPr/>
          </p:nvSpPr>
          <p:spPr>
            <a:xfrm>
              <a:off x="1434877" y="1258345"/>
              <a:ext cx="16857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4" name="Google Shape;8944;p55"/>
            <p:cNvSpPr/>
            <p:nvPr/>
          </p:nvSpPr>
          <p:spPr>
            <a:xfrm>
              <a:off x="1777683" y="2010641"/>
              <a:ext cx="10002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5" name="Google Shape;8945;p55"/>
            <p:cNvSpPr/>
            <p:nvPr/>
          </p:nvSpPr>
          <p:spPr>
            <a:xfrm>
              <a:off x="1092070"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6" name="Google Shape;8946;p55"/>
            <p:cNvSpPr/>
            <p:nvPr/>
          </p:nvSpPr>
          <p:spPr>
            <a:xfrm>
              <a:off x="2463277" y="1759876"/>
              <a:ext cx="657600" cy="78600"/>
            </a:xfrm>
            <a:prstGeom prst="rect">
              <a:avLst/>
            </a:pr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aphicFrame>
        <p:nvGraphicFramePr>
          <p:cNvPr id="8947" name="Google Shape;8947;p55"/>
          <p:cNvGraphicFramePr/>
          <p:nvPr/>
        </p:nvGraphicFramePr>
        <p:xfrm>
          <a:off x="5954600" y="1188950"/>
          <a:ext cx="3000000" cy="3000000"/>
        </p:xfrm>
        <a:graphic>
          <a:graphicData uri="http://schemas.openxmlformats.org/drawingml/2006/table">
            <a:tbl>
              <a:tblPr>
                <a:noFill/>
                <a:tableStyleId>{E723F757-1103-4035-A6BF-FC693B604208}</a:tableStyleId>
              </a:tblPr>
              <a:tblGrid>
                <a:gridCol w="626025">
                  <a:extLst>
                    <a:ext uri="{9D8B030D-6E8A-4147-A177-3AD203B41FA5}">
                      <a16:colId xmlns:a16="http://schemas.microsoft.com/office/drawing/2014/main" val="20000"/>
                    </a:ext>
                  </a:extLst>
                </a:gridCol>
                <a:gridCol w="626025">
                  <a:extLst>
                    <a:ext uri="{9D8B030D-6E8A-4147-A177-3AD203B41FA5}">
                      <a16:colId xmlns:a16="http://schemas.microsoft.com/office/drawing/2014/main" val="20001"/>
                    </a:ext>
                  </a:extLst>
                </a:gridCol>
                <a:gridCol w="626025">
                  <a:extLst>
                    <a:ext uri="{9D8B030D-6E8A-4147-A177-3AD203B41FA5}">
                      <a16:colId xmlns:a16="http://schemas.microsoft.com/office/drawing/2014/main" val="20002"/>
                    </a:ext>
                  </a:extLst>
                </a:gridCol>
                <a:gridCol w="626025">
                  <a:extLst>
                    <a:ext uri="{9D8B030D-6E8A-4147-A177-3AD203B41FA5}">
                      <a16:colId xmlns:a16="http://schemas.microsoft.com/office/drawing/2014/main" val="20003"/>
                    </a:ext>
                  </a:extLst>
                </a:gridCol>
              </a:tblGrid>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25500">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948" name="Google Shape;8948;p55"/>
          <p:cNvGraphicFramePr/>
          <p:nvPr/>
        </p:nvGraphicFramePr>
        <p:xfrm>
          <a:off x="3375463" y="2361200"/>
          <a:ext cx="3000000" cy="3000000"/>
        </p:xfrm>
        <a:graphic>
          <a:graphicData uri="http://schemas.openxmlformats.org/drawingml/2006/table">
            <a:tbl>
              <a:tblPr>
                <a:noFill/>
                <a:tableStyleId>{E723F757-1103-4035-A6BF-FC693B604208}</a:tableStyleId>
              </a:tblPr>
              <a:tblGrid>
                <a:gridCol w="590850">
                  <a:extLst>
                    <a:ext uri="{9D8B030D-6E8A-4147-A177-3AD203B41FA5}">
                      <a16:colId xmlns:a16="http://schemas.microsoft.com/office/drawing/2014/main" val="20000"/>
                    </a:ext>
                  </a:extLst>
                </a:gridCol>
                <a:gridCol w="590850">
                  <a:extLst>
                    <a:ext uri="{9D8B030D-6E8A-4147-A177-3AD203B41FA5}">
                      <a16:colId xmlns:a16="http://schemas.microsoft.com/office/drawing/2014/main" val="20001"/>
                    </a:ext>
                  </a:extLst>
                </a:gridCol>
                <a:gridCol w="590850">
                  <a:extLst>
                    <a:ext uri="{9D8B030D-6E8A-4147-A177-3AD203B41FA5}">
                      <a16:colId xmlns:a16="http://schemas.microsoft.com/office/drawing/2014/main" val="20002"/>
                    </a:ext>
                  </a:extLst>
                </a:gridCol>
                <a:gridCol w="590850">
                  <a:extLst>
                    <a:ext uri="{9D8B030D-6E8A-4147-A177-3AD203B41FA5}">
                      <a16:colId xmlns:a16="http://schemas.microsoft.com/office/drawing/2014/main" val="20003"/>
                    </a:ext>
                  </a:extLst>
                </a:gridCol>
              </a:tblGrid>
              <a:tr h="289525">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89525">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49" name="Google Shape;8949;p55"/>
          <p:cNvGrpSpPr/>
          <p:nvPr/>
        </p:nvGrpSpPr>
        <p:grpSpPr>
          <a:xfrm>
            <a:off x="3377449" y="3352160"/>
            <a:ext cx="2363377" cy="1047062"/>
            <a:chOff x="3358399" y="3285485"/>
            <a:chExt cx="2363377" cy="1047062"/>
          </a:xfrm>
        </p:grpSpPr>
        <p:grpSp>
          <p:nvGrpSpPr>
            <p:cNvPr id="8950" name="Google Shape;8950;p55"/>
            <p:cNvGrpSpPr/>
            <p:nvPr/>
          </p:nvGrpSpPr>
          <p:grpSpPr>
            <a:xfrm>
              <a:off x="3358412" y="3285485"/>
              <a:ext cx="2363244" cy="139500"/>
              <a:chOff x="3358412" y="3285485"/>
              <a:chExt cx="2363244" cy="139500"/>
            </a:xfrm>
          </p:grpSpPr>
          <p:sp>
            <p:nvSpPr>
              <p:cNvPr id="8951" name="Google Shape;8951;p55"/>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2" name="Google Shape;8952;p55"/>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3" name="Google Shape;8953;p55"/>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4" name="Google Shape;8954;p55"/>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5" name="Google Shape;8955;p55"/>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56" name="Google Shape;8956;p55"/>
            <p:cNvGrpSpPr/>
            <p:nvPr/>
          </p:nvGrpSpPr>
          <p:grpSpPr>
            <a:xfrm>
              <a:off x="3358412" y="3466996"/>
              <a:ext cx="2363244" cy="139500"/>
              <a:chOff x="3358412" y="3466996"/>
              <a:chExt cx="2363244" cy="139500"/>
            </a:xfrm>
          </p:grpSpPr>
          <p:sp>
            <p:nvSpPr>
              <p:cNvPr id="8957" name="Google Shape;8957;p55"/>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8" name="Google Shape;8958;p55"/>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9" name="Google Shape;8959;p55"/>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0" name="Google Shape;8960;p55"/>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1" name="Google Shape;8961;p55"/>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2" name="Google Shape;8962;p55"/>
            <p:cNvGrpSpPr/>
            <p:nvPr/>
          </p:nvGrpSpPr>
          <p:grpSpPr>
            <a:xfrm>
              <a:off x="3358412" y="3648507"/>
              <a:ext cx="2363244" cy="139500"/>
              <a:chOff x="3358412" y="3648507"/>
              <a:chExt cx="2363244" cy="139500"/>
            </a:xfrm>
          </p:grpSpPr>
          <p:sp>
            <p:nvSpPr>
              <p:cNvPr id="8963" name="Google Shape;8963;p55"/>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4" name="Google Shape;8964;p55"/>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5" name="Google Shape;8965;p55"/>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6" name="Google Shape;8966;p55"/>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7" name="Google Shape;8967;p55"/>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68" name="Google Shape;8968;p55"/>
            <p:cNvGrpSpPr/>
            <p:nvPr/>
          </p:nvGrpSpPr>
          <p:grpSpPr>
            <a:xfrm>
              <a:off x="3358412" y="3830018"/>
              <a:ext cx="2363244" cy="139500"/>
              <a:chOff x="3358412" y="3830018"/>
              <a:chExt cx="2363244" cy="139500"/>
            </a:xfrm>
          </p:grpSpPr>
          <p:sp>
            <p:nvSpPr>
              <p:cNvPr id="8969" name="Google Shape;8969;p55"/>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0" name="Google Shape;8970;p55"/>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1" name="Google Shape;8971;p55"/>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2" name="Google Shape;8972;p55"/>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3" name="Google Shape;8973;p55"/>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74" name="Google Shape;8974;p55"/>
            <p:cNvGrpSpPr/>
            <p:nvPr/>
          </p:nvGrpSpPr>
          <p:grpSpPr>
            <a:xfrm>
              <a:off x="3358399" y="4011514"/>
              <a:ext cx="2363377" cy="139537"/>
              <a:chOff x="3294800" y="4134603"/>
              <a:chExt cx="2638876" cy="152400"/>
            </a:xfrm>
          </p:grpSpPr>
          <p:sp>
            <p:nvSpPr>
              <p:cNvPr id="8975" name="Google Shape;8975;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6" name="Google Shape;8976;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7" name="Google Shape;8977;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8" name="Google Shape;8978;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9" name="Google Shape;8979;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80" name="Google Shape;8980;p55"/>
            <p:cNvGrpSpPr/>
            <p:nvPr/>
          </p:nvGrpSpPr>
          <p:grpSpPr>
            <a:xfrm>
              <a:off x="3358399" y="4193010"/>
              <a:ext cx="2363377" cy="139537"/>
              <a:chOff x="3294800" y="4134603"/>
              <a:chExt cx="2638876" cy="152400"/>
            </a:xfrm>
          </p:grpSpPr>
          <p:sp>
            <p:nvSpPr>
              <p:cNvPr id="8981" name="Google Shape;8981;p55"/>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2" name="Google Shape;8982;p55"/>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3" name="Google Shape;8983;p55"/>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4" name="Google Shape;8984;p55"/>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5" name="Google Shape;8985;p55"/>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aphicFrame>
        <p:nvGraphicFramePr>
          <p:cNvPr id="8986" name="Google Shape;8986;p55"/>
          <p:cNvGraphicFramePr/>
          <p:nvPr/>
        </p:nvGraphicFramePr>
        <p:xfrm>
          <a:off x="728250" y="2361200"/>
          <a:ext cx="3000000" cy="3000000"/>
        </p:xfrm>
        <a:graphic>
          <a:graphicData uri="http://schemas.openxmlformats.org/drawingml/2006/table">
            <a:tbl>
              <a:tblPr>
                <a:noFill/>
                <a:tableStyleId>{E723F757-1103-4035-A6BF-FC693B604208}</a:tableStyleId>
              </a:tblPr>
              <a:tblGrid>
                <a:gridCol w="592450">
                  <a:extLst>
                    <a:ext uri="{9D8B030D-6E8A-4147-A177-3AD203B41FA5}">
                      <a16:colId xmlns:a16="http://schemas.microsoft.com/office/drawing/2014/main" val="20000"/>
                    </a:ext>
                  </a:extLst>
                </a:gridCol>
                <a:gridCol w="592450">
                  <a:extLst>
                    <a:ext uri="{9D8B030D-6E8A-4147-A177-3AD203B41FA5}">
                      <a16:colId xmlns:a16="http://schemas.microsoft.com/office/drawing/2014/main" val="20001"/>
                    </a:ext>
                  </a:extLst>
                </a:gridCol>
                <a:gridCol w="592450">
                  <a:extLst>
                    <a:ext uri="{9D8B030D-6E8A-4147-A177-3AD203B41FA5}">
                      <a16:colId xmlns:a16="http://schemas.microsoft.com/office/drawing/2014/main" val="20002"/>
                    </a:ext>
                  </a:extLst>
                </a:gridCol>
                <a:gridCol w="592450">
                  <a:extLst>
                    <a:ext uri="{9D8B030D-6E8A-4147-A177-3AD203B41FA5}">
                      <a16:colId xmlns:a16="http://schemas.microsoft.com/office/drawing/2014/main" val="20003"/>
                    </a:ext>
                  </a:extLst>
                </a:gridCol>
              </a:tblGrid>
              <a:tr h="296450">
                <a:tc>
                  <a:txBody>
                    <a:bodyPr/>
                    <a:lstStyle/>
                    <a:p>
                      <a:pPr marL="0" lvl="0" indent="0" algn="l" rtl="0">
                        <a:spcBef>
                          <a:spcPts val="0"/>
                        </a:spcBef>
                        <a:spcAft>
                          <a:spcPts val="0"/>
                        </a:spcAft>
                        <a:buNone/>
                      </a:pPr>
                      <a:endParaRPr sz="200"/>
                    </a:p>
                  </a:txBody>
                  <a:tcPr marL="91425" marR="91425" marT="91425" marB="91425">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296450">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200"/>
                    </a:p>
                  </a:txBody>
                  <a:tcPr marL="91425" marR="91425" marT="91425" marB="91425">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987" name="Google Shape;8987;p55"/>
          <p:cNvGrpSpPr/>
          <p:nvPr/>
        </p:nvGrpSpPr>
        <p:grpSpPr>
          <a:xfrm>
            <a:off x="4177919" y="2765014"/>
            <a:ext cx="1302095" cy="60959"/>
            <a:chOff x="3558802" y="4011427"/>
            <a:chExt cx="1866000" cy="111300"/>
          </a:xfrm>
        </p:grpSpPr>
        <p:sp>
          <p:nvSpPr>
            <p:cNvPr id="8988" name="Google Shape;8988;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9" name="Google Shape;8989;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0" name="Google Shape;8990;p55"/>
          <p:cNvGrpSpPr/>
          <p:nvPr/>
        </p:nvGrpSpPr>
        <p:grpSpPr>
          <a:xfrm>
            <a:off x="4723407" y="3047174"/>
            <a:ext cx="914340" cy="60959"/>
            <a:chOff x="3558802" y="4011427"/>
            <a:chExt cx="1866000" cy="111300"/>
          </a:xfrm>
        </p:grpSpPr>
        <p:sp>
          <p:nvSpPr>
            <p:cNvPr id="8991" name="Google Shape;8991;p55"/>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2" name="Google Shape;8992;p55"/>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93" name="Google Shape;8993;p55"/>
          <p:cNvGrpSpPr/>
          <p:nvPr/>
        </p:nvGrpSpPr>
        <p:grpSpPr>
          <a:xfrm>
            <a:off x="5891249" y="3374972"/>
            <a:ext cx="2519825" cy="1001454"/>
            <a:chOff x="1906114" y="789980"/>
            <a:chExt cx="1487676" cy="606868"/>
          </a:xfrm>
        </p:grpSpPr>
        <p:cxnSp>
          <p:nvCxnSpPr>
            <p:cNvPr id="8994" name="Google Shape;8994;p55"/>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5" name="Google Shape;8995;p55"/>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996" name="Google Shape;8996;p55"/>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997" name="Google Shape;8997;p55"/>
            <p:cNvSpPr txBox="1"/>
            <p:nvPr/>
          </p:nvSpPr>
          <p:spPr>
            <a:xfrm flipH="1">
              <a:off x="210971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JANUARY</a:t>
              </a:r>
              <a:endParaRPr sz="300">
                <a:solidFill>
                  <a:srgbClr val="E3E9ED"/>
                </a:solidFill>
              </a:endParaRPr>
            </a:p>
          </p:txBody>
        </p:sp>
        <p:sp>
          <p:nvSpPr>
            <p:cNvPr id="8998" name="Google Shape;8998;p55"/>
            <p:cNvSpPr txBox="1"/>
            <p:nvPr/>
          </p:nvSpPr>
          <p:spPr>
            <a:xfrm flipH="1">
              <a:off x="2434275" y="789980"/>
              <a:ext cx="2892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FEBRUARY</a:t>
              </a:r>
              <a:endParaRPr sz="300">
                <a:solidFill>
                  <a:srgbClr val="E3E9ED"/>
                </a:solidFill>
              </a:endParaRPr>
            </a:p>
          </p:txBody>
        </p:sp>
        <p:sp>
          <p:nvSpPr>
            <p:cNvPr id="8999" name="Google Shape;8999;p55"/>
            <p:cNvSpPr txBox="1"/>
            <p:nvPr/>
          </p:nvSpPr>
          <p:spPr>
            <a:xfrm flipH="1">
              <a:off x="2781049"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MARCH</a:t>
              </a:r>
              <a:endParaRPr sz="300">
                <a:solidFill>
                  <a:srgbClr val="E3E9ED"/>
                </a:solidFill>
              </a:endParaRPr>
            </a:p>
          </p:txBody>
        </p:sp>
        <p:sp>
          <p:nvSpPr>
            <p:cNvPr id="9000" name="Google Shape;9000;p55"/>
            <p:cNvSpPr txBox="1"/>
            <p:nvPr/>
          </p:nvSpPr>
          <p:spPr>
            <a:xfrm flipH="1">
              <a:off x="3112690" y="789981"/>
              <a:ext cx="281100" cy="1074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1600"/>
                </a:spcAft>
                <a:buNone/>
              </a:pPr>
              <a:r>
                <a:rPr lang="en" sz="300">
                  <a:solidFill>
                    <a:srgbClr val="E3E9ED"/>
                  </a:solidFill>
                </a:rPr>
                <a:t>APRIL</a:t>
              </a:r>
              <a:endParaRPr sz="300">
                <a:solidFill>
                  <a:srgbClr val="E3E9ED"/>
                </a:solidFill>
              </a:endParaRPr>
            </a:p>
          </p:txBody>
        </p:sp>
        <p:sp>
          <p:nvSpPr>
            <p:cNvPr id="9001" name="Google Shape;9001;p55"/>
            <p:cNvSpPr/>
            <p:nvPr/>
          </p:nvSpPr>
          <p:spPr>
            <a:xfrm>
              <a:off x="2105681" y="964326"/>
              <a:ext cx="2892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2" name="Google Shape;9002;p55"/>
            <p:cNvSpPr/>
            <p:nvPr/>
          </p:nvSpPr>
          <p:spPr>
            <a:xfrm>
              <a:off x="2109515" y="1159286"/>
              <a:ext cx="280200" cy="42600"/>
            </a:xfrm>
            <a:prstGeom prst="rect">
              <a:avLst/>
            </a:prstGeom>
            <a:solidFill>
              <a:srgbClr val="EEEEE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3" name="Google Shape;9003;p55"/>
            <p:cNvSpPr/>
            <p:nvPr/>
          </p:nvSpPr>
          <p:spPr>
            <a:xfrm>
              <a:off x="2753389" y="1353677"/>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4" name="Google Shape;9004;p55"/>
            <p:cNvSpPr/>
            <p:nvPr/>
          </p:nvSpPr>
          <p:spPr>
            <a:xfrm>
              <a:off x="2105681" y="1159287"/>
              <a:ext cx="2892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5" name="Google Shape;9005;p55"/>
            <p:cNvSpPr/>
            <p:nvPr/>
          </p:nvSpPr>
          <p:spPr>
            <a:xfrm>
              <a:off x="2412005" y="1354248"/>
              <a:ext cx="325500" cy="42600"/>
            </a:xfrm>
            <a:prstGeom prst="rect">
              <a:avLst/>
            </a:pr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6" name="Google Shape;9006;p55"/>
            <p:cNvSpPr/>
            <p:nvPr/>
          </p:nvSpPr>
          <p:spPr>
            <a:xfrm>
              <a:off x="2410087"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7" name="Google Shape;9007;p55"/>
            <p:cNvSpPr txBox="1"/>
            <p:nvPr/>
          </p:nvSpPr>
          <p:spPr>
            <a:xfrm flipH="1">
              <a:off x="1906114" y="918164"/>
              <a:ext cx="203400" cy="1065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1600"/>
                </a:spcAft>
                <a:buNone/>
              </a:pPr>
              <a:r>
                <a:rPr lang="en" sz="300">
                  <a:solidFill>
                    <a:srgbClr val="E3E9ED"/>
                  </a:solidFill>
                </a:rPr>
                <a:t>PHASE 1</a:t>
              </a:r>
              <a:endParaRPr sz="300">
                <a:solidFill>
                  <a:srgbClr val="E3E9ED"/>
                </a:solidFill>
              </a:endParaRPr>
            </a:p>
          </p:txBody>
        </p:sp>
        <p:sp>
          <p:nvSpPr>
            <p:cNvPr id="9008" name="Google Shape;9008;p55"/>
            <p:cNvSpPr txBox="1"/>
            <p:nvPr/>
          </p:nvSpPr>
          <p:spPr>
            <a:xfrm flipH="1">
              <a:off x="1919618" y="1113390"/>
              <a:ext cx="1899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1</a:t>
              </a:r>
              <a:endParaRPr sz="300">
                <a:solidFill>
                  <a:srgbClr val="E3E9ED"/>
                </a:solidFill>
              </a:endParaRPr>
            </a:p>
          </p:txBody>
        </p:sp>
        <p:sp>
          <p:nvSpPr>
            <p:cNvPr id="9009" name="Google Shape;9009;p55"/>
            <p:cNvSpPr txBox="1"/>
            <p:nvPr/>
          </p:nvSpPr>
          <p:spPr>
            <a:xfrm flipH="1">
              <a:off x="1906118" y="1304527"/>
              <a:ext cx="203400" cy="91200"/>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1600"/>
                </a:spcAft>
                <a:buNone/>
              </a:pPr>
              <a:r>
                <a:rPr lang="en" sz="300">
                  <a:solidFill>
                    <a:srgbClr val="E3E9ED"/>
                  </a:solidFill>
                </a:rPr>
                <a:t>Task 2</a:t>
              </a:r>
              <a:endParaRPr sz="300">
                <a:solidFill>
                  <a:srgbClr val="E3E9ED"/>
                </a:solidFill>
              </a:endParaRPr>
            </a:p>
          </p:txBody>
        </p:sp>
        <p:sp>
          <p:nvSpPr>
            <p:cNvPr id="9010" name="Google Shape;9010;p55"/>
            <p:cNvSpPr/>
            <p:nvPr/>
          </p:nvSpPr>
          <p:spPr>
            <a:xfrm>
              <a:off x="2750975" y="964961"/>
              <a:ext cx="325500" cy="42600"/>
            </a:xfrm>
            <a:prstGeom prst="rect">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11" name="Google Shape;9011;p55"/>
          <p:cNvGrpSpPr/>
          <p:nvPr/>
        </p:nvGrpSpPr>
        <p:grpSpPr>
          <a:xfrm>
            <a:off x="3372612" y="1159008"/>
            <a:ext cx="2363393" cy="1005865"/>
            <a:chOff x="3292400" y="1193188"/>
            <a:chExt cx="2615240" cy="1131075"/>
          </a:xfrm>
        </p:grpSpPr>
        <p:sp>
          <p:nvSpPr>
            <p:cNvPr id="9012" name="Google Shape;9012;p55"/>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3" name="Google Shape;9013;p55"/>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14" name="Google Shape;9014;p55"/>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ANUARY</a:t>
              </a:r>
              <a:endParaRPr sz="200">
                <a:solidFill>
                  <a:srgbClr val="FFFFFF"/>
                </a:solidFill>
              </a:endParaRPr>
            </a:p>
          </p:txBody>
        </p:sp>
        <p:sp>
          <p:nvSpPr>
            <p:cNvPr id="9015" name="Google Shape;9015;p55"/>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FEBRUARY</a:t>
              </a:r>
              <a:endParaRPr sz="200">
                <a:solidFill>
                  <a:srgbClr val="FFFFFF"/>
                </a:solidFill>
              </a:endParaRPr>
            </a:p>
          </p:txBody>
        </p:sp>
        <p:sp>
          <p:nvSpPr>
            <p:cNvPr id="9016" name="Google Shape;9016;p55"/>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RCH</a:t>
              </a:r>
              <a:endParaRPr sz="200">
                <a:solidFill>
                  <a:srgbClr val="FFFFFF"/>
                </a:solidFill>
              </a:endParaRPr>
            </a:p>
          </p:txBody>
        </p:sp>
        <p:sp>
          <p:nvSpPr>
            <p:cNvPr id="9017" name="Google Shape;9017;p55"/>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APRIL</a:t>
              </a:r>
              <a:endParaRPr sz="200">
                <a:solidFill>
                  <a:srgbClr val="FFFFFF"/>
                </a:solidFill>
              </a:endParaRPr>
            </a:p>
          </p:txBody>
        </p:sp>
        <p:sp>
          <p:nvSpPr>
            <p:cNvPr id="9018" name="Google Shape;9018;p55"/>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MAY</a:t>
              </a:r>
              <a:endParaRPr sz="200">
                <a:solidFill>
                  <a:srgbClr val="FFFFFF"/>
                </a:solidFill>
              </a:endParaRPr>
            </a:p>
          </p:txBody>
        </p:sp>
        <p:sp>
          <p:nvSpPr>
            <p:cNvPr id="9019" name="Google Shape;9019;p55"/>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marL="0" lvl="0" indent="0" algn="ctr" rtl="0">
                <a:spcBef>
                  <a:spcPts val="0"/>
                </a:spcBef>
                <a:spcAft>
                  <a:spcPts val="1600"/>
                </a:spcAft>
                <a:buNone/>
              </a:pPr>
              <a:r>
                <a:rPr lang="en" sz="200">
                  <a:solidFill>
                    <a:srgbClr val="FFFFFF"/>
                  </a:solidFill>
                </a:rPr>
                <a:t>JUNE</a:t>
              </a:r>
              <a:endParaRPr sz="200">
                <a:solidFill>
                  <a:srgbClr val="FFFFFF"/>
                </a:solidFill>
              </a:endParaRPr>
            </a:p>
          </p:txBody>
        </p:sp>
        <p:sp>
          <p:nvSpPr>
            <p:cNvPr id="9020" name="Google Shape;9020;p55"/>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1</a:t>
              </a:r>
              <a:endParaRPr sz="200">
                <a:solidFill>
                  <a:srgbClr val="FFFFFF"/>
                </a:solidFill>
              </a:endParaRPr>
            </a:p>
          </p:txBody>
        </p:sp>
        <p:sp>
          <p:nvSpPr>
            <p:cNvPr id="9021" name="Google Shape;9021;p55"/>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marL="0" lvl="0" indent="0" algn="r" rtl="0">
                <a:spcBef>
                  <a:spcPts val="0"/>
                </a:spcBef>
                <a:spcAft>
                  <a:spcPts val="1600"/>
                </a:spcAft>
                <a:buNone/>
              </a:pPr>
              <a:r>
                <a:rPr lang="en" sz="200">
                  <a:solidFill>
                    <a:srgbClr val="FFFFFF"/>
                  </a:solidFill>
                </a:rPr>
                <a:t>PHASE 2</a:t>
              </a:r>
              <a:endParaRPr sz="200">
                <a:solidFill>
                  <a:srgbClr val="FFFFFF"/>
                </a:solidFill>
              </a:endParaRPr>
            </a:p>
          </p:txBody>
        </p:sp>
        <p:sp>
          <p:nvSpPr>
            <p:cNvPr id="9022" name="Google Shape;9022;p55"/>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3" name="Google Shape;9023;p55"/>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sp>
          <p:nvSpPr>
            <p:cNvPr id="9024" name="Google Shape;9024;p55"/>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1</a:t>
              </a:r>
              <a:endParaRPr sz="200">
                <a:solidFill>
                  <a:srgbClr val="FFFFFF"/>
                </a:solidFill>
              </a:endParaRPr>
            </a:p>
          </p:txBody>
        </p:sp>
        <p:sp>
          <p:nvSpPr>
            <p:cNvPr id="9025" name="Google Shape;9025;p55"/>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marL="0" lvl="0" indent="0" algn="r" rtl="0">
                <a:lnSpc>
                  <a:spcPct val="115000"/>
                </a:lnSpc>
                <a:spcBef>
                  <a:spcPts val="0"/>
                </a:spcBef>
                <a:spcAft>
                  <a:spcPts val="1600"/>
                </a:spcAft>
                <a:buNone/>
              </a:pPr>
              <a:r>
                <a:rPr lang="en" sz="200">
                  <a:solidFill>
                    <a:srgbClr val="FFFFFF"/>
                  </a:solidFill>
                </a:rPr>
                <a:t>Task 2</a:t>
              </a:r>
              <a:endParaRPr sz="200">
                <a:solidFill>
                  <a:srgbClr val="FFFFFF"/>
                </a:solidFill>
              </a:endParaRPr>
            </a:p>
          </p:txBody>
        </p:sp>
        <p:grpSp>
          <p:nvGrpSpPr>
            <p:cNvPr id="9026" name="Google Shape;9026;p55"/>
            <p:cNvGrpSpPr/>
            <p:nvPr/>
          </p:nvGrpSpPr>
          <p:grpSpPr>
            <a:xfrm>
              <a:off x="3748438" y="1378608"/>
              <a:ext cx="2159202" cy="903971"/>
              <a:chOff x="1683525" y="2179850"/>
              <a:chExt cx="4519050" cy="2134525"/>
            </a:xfrm>
          </p:grpSpPr>
          <p:sp>
            <p:nvSpPr>
              <p:cNvPr id="9027" name="Google Shape;9027;p55"/>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8" name="Google Shape;9028;p55"/>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29" name="Google Shape;9029;p55"/>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0" name="Google Shape;9030;p55"/>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1" name="Google Shape;9031;p55"/>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2" name="Google Shape;9032;p55"/>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3" name="Google Shape;9033;p55"/>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4" name="Google Shape;9034;p55"/>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5" name="Google Shape;9035;p55"/>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6" name="Google Shape;9036;p55"/>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7" name="Google Shape;9037;p55"/>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sp>
            <p:nvSpPr>
              <p:cNvPr id="9038" name="Google Shape;9038;p55"/>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00">
                  <a:solidFill>
                    <a:srgbClr val="FFFFFF"/>
                  </a:solidFill>
                </a:endParaRPr>
              </a:p>
            </p:txBody>
          </p:sp>
        </p:gr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extLst>
              <p:ext uri="{D42A27DB-BD31-4B8C-83A1-F6EECF244321}">
                <p14:modId xmlns:p14="http://schemas.microsoft.com/office/powerpoint/2010/main" val="118781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err="1"/>
              <a:t>Scope</a:t>
            </a:r>
            <a:r>
              <a:rPr lang="de-DE" dirty="0"/>
              <a:t>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1</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ro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üße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bäck</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ur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häufig</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usamm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kauf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2</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r>
              <a:rPr lang="en-US" dirty="0">
                <a:solidFill>
                  <a:schemeClr val="bg1"/>
                </a:solidFill>
                <a:latin typeface="Maven Pro" panose="020B0604020202020204" charset="0"/>
              </a:rPr>
              <a:t>, Milch, </a:t>
            </a:r>
            <a:r>
              <a:rPr lang="en-US" dirty="0" err="1">
                <a:solidFill>
                  <a:schemeClr val="bg1"/>
                </a:solidFill>
                <a:latin typeface="Maven Pro" panose="020B0604020202020204" charset="0"/>
              </a:rPr>
              <a:t>Brot</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An </a:t>
            </a:r>
            <a:r>
              <a:rPr lang="en-US" dirty="0" err="1">
                <a:solidFill>
                  <a:schemeClr val="bg1"/>
                </a:solidFill>
                <a:latin typeface="Maven Pro" panose="020B0604020202020204" charset="0"/>
              </a:rPr>
              <a:t>wel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i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tat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3</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Wochenenden</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a:solidFill>
                  <a:schemeClr val="bg1"/>
                </a:solidFill>
                <a:latin typeface="Maven Pro" panose="020B0604020202020204" charset="0"/>
              </a:rPr>
              <a:t>Zu </a:t>
            </a:r>
            <a:r>
              <a:rPr lang="en-US" dirty="0" err="1">
                <a:solidFill>
                  <a:schemeClr val="bg1"/>
                </a:solidFill>
                <a:latin typeface="Maven Pro" panose="020B0604020202020204" charset="0"/>
              </a:rPr>
              <a:t>welch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szeit</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ufen</a:t>
            </a:r>
            <a:r>
              <a:rPr lang="en-US" dirty="0">
                <a:solidFill>
                  <a:schemeClr val="bg1"/>
                </a:solidFill>
                <a:latin typeface="Maven Pro" panose="020B0604020202020204" charset="0"/>
              </a:rPr>
              <a:t> die </a:t>
            </a:r>
            <a:r>
              <a:rPr lang="en-US" dirty="0" err="1">
                <a:solidFill>
                  <a:schemeClr val="bg1"/>
                </a:solidFill>
                <a:latin typeface="Maven Pro" panose="020B0604020202020204" charset="0"/>
              </a:rPr>
              <a:t>Kund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4</a:t>
            </a:r>
            <a:r>
              <a:rPr lang="en-US" dirty="0">
                <a:solidFill>
                  <a:schemeClr val="bg1"/>
                </a:solidFill>
                <a:latin typeface="Maven Pro" panose="020B0604020202020204" charset="0"/>
              </a:rPr>
              <a:t>: Am Morgen</a:t>
            </a:r>
          </a:p>
        </p:txBody>
      </p:sp>
    </p:spTree>
    <p:extLst>
      <p:ext uri="{BB962C8B-B14F-4D97-AF65-F5344CB8AC3E}">
        <p14:creationId xmlns:p14="http://schemas.microsoft.com/office/powerpoint/2010/main" val="34975188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Shape 9042"/>
        <p:cNvGrpSpPr/>
        <p:nvPr/>
      </p:nvGrpSpPr>
      <p:grpSpPr>
        <a:xfrm>
          <a:off x="0" y="0"/>
          <a:ext cx="0" cy="0"/>
          <a:chOff x="0" y="0"/>
          <a:chExt cx="0" cy="0"/>
        </a:xfrm>
      </p:grpSpPr>
      <p:grpSp>
        <p:nvGrpSpPr>
          <p:cNvPr id="9043" name="Google Shape;9043;p56"/>
          <p:cNvGrpSpPr/>
          <p:nvPr/>
        </p:nvGrpSpPr>
        <p:grpSpPr>
          <a:xfrm>
            <a:off x="4814684" y="1191441"/>
            <a:ext cx="745431" cy="718863"/>
            <a:chOff x="4249973" y="1201875"/>
            <a:chExt cx="1958568" cy="1888762"/>
          </a:xfrm>
        </p:grpSpPr>
        <p:sp>
          <p:nvSpPr>
            <p:cNvPr id="9044" name="Google Shape;9044;p56"/>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045" name="Google Shape;9045;p56"/>
            <p:cNvGrpSpPr/>
            <p:nvPr/>
          </p:nvGrpSpPr>
          <p:grpSpPr>
            <a:xfrm>
              <a:off x="5853086" y="1789142"/>
              <a:ext cx="355454" cy="1048099"/>
              <a:chOff x="5576108" y="2016725"/>
              <a:chExt cx="565200" cy="1666560"/>
            </a:xfrm>
          </p:grpSpPr>
          <p:sp>
            <p:nvSpPr>
              <p:cNvPr id="9046" name="Google Shape;9046;p56"/>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47" name="Google Shape;9047;p56"/>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48" name="Google Shape;9048;p56"/>
            <p:cNvGrpSpPr/>
            <p:nvPr/>
          </p:nvGrpSpPr>
          <p:grpSpPr>
            <a:xfrm>
              <a:off x="4869455" y="2691676"/>
              <a:ext cx="1013897" cy="398961"/>
              <a:chOff x="4012057" y="3451825"/>
              <a:chExt cx="1612175" cy="634379"/>
            </a:xfrm>
          </p:grpSpPr>
          <p:sp>
            <p:nvSpPr>
              <p:cNvPr id="9049" name="Google Shape;9049;p56"/>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0" name="Google Shape;9050;p56"/>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1" name="Google Shape;9051;p56"/>
            <p:cNvGrpSpPr/>
            <p:nvPr/>
          </p:nvGrpSpPr>
          <p:grpSpPr>
            <a:xfrm>
              <a:off x="4276937" y="2155961"/>
              <a:ext cx="651965" cy="891358"/>
              <a:chOff x="3069908" y="2599997"/>
              <a:chExt cx="1036675" cy="1417328"/>
            </a:xfrm>
          </p:grpSpPr>
          <p:sp>
            <p:nvSpPr>
              <p:cNvPr id="9052" name="Google Shape;9052;p56"/>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3" name="Google Shape;9053;p56"/>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4" name="Google Shape;9054;p56"/>
            <p:cNvGrpSpPr/>
            <p:nvPr/>
          </p:nvGrpSpPr>
          <p:grpSpPr>
            <a:xfrm>
              <a:off x="5054918" y="1201875"/>
              <a:ext cx="999548" cy="602711"/>
              <a:chOff x="4306958" y="1082925"/>
              <a:chExt cx="1589359" cy="958358"/>
            </a:xfrm>
          </p:grpSpPr>
          <p:sp>
            <p:nvSpPr>
              <p:cNvPr id="9055" name="Google Shape;9055;p56"/>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6" name="Google Shape;9056;p56"/>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57" name="Google Shape;9057;p56"/>
            <p:cNvGrpSpPr/>
            <p:nvPr/>
          </p:nvGrpSpPr>
          <p:grpSpPr>
            <a:xfrm>
              <a:off x="4249973" y="1303451"/>
              <a:ext cx="799317" cy="841334"/>
              <a:chOff x="3027033" y="1244439"/>
              <a:chExt cx="1270977" cy="1337786"/>
            </a:xfrm>
          </p:grpSpPr>
          <p:sp>
            <p:nvSpPr>
              <p:cNvPr id="9058" name="Google Shape;9058;p56"/>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sz="1200">
                  <a:solidFill>
                    <a:srgbClr val="FFFFFF"/>
                  </a:solidFill>
                  <a:latin typeface="Roboto Medium"/>
                  <a:ea typeface="Roboto Medium"/>
                  <a:cs typeface="Roboto Medium"/>
                  <a:sym typeface="Roboto Medium"/>
                </a:endParaRPr>
              </a:p>
            </p:txBody>
          </p:sp>
          <p:sp>
            <p:nvSpPr>
              <p:cNvPr id="9059" name="Google Shape;9059;p56"/>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060" name="Google Shape;9060;p56"/>
          <p:cNvGrpSpPr/>
          <p:nvPr/>
        </p:nvGrpSpPr>
        <p:grpSpPr>
          <a:xfrm>
            <a:off x="731057" y="2069890"/>
            <a:ext cx="761767" cy="729896"/>
            <a:chOff x="2657744" y="2337745"/>
            <a:chExt cx="832987" cy="798137"/>
          </a:xfrm>
        </p:grpSpPr>
        <p:sp>
          <p:nvSpPr>
            <p:cNvPr id="9061" name="Google Shape;9061;p56"/>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2" name="Google Shape;9062;p56"/>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3" name="Google Shape;9063;p56"/>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4" name="Google Shape;9064;p56"/>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5" name="Google Shape;9065;p56"/>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6" name="Google Shape;9066;p56"/>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67" name="Google Shape;9067;p56"/>
          <p:cNvGrpSpPr/>
          <p:nvPr/>
        </p:nvGrpSpPr>
        <p:grpSpPr>
          <a:xfrm>
            <a:off x="3242022" y="2073097"/>
            <a:ext cx="685569" cy="723586"/>
            <a:chOff x="3398134" y="2057755"/>
            <a:chExt cx="704087" cy="743130"/>
          </a:xfrm>
        </p:grpSpPr>
        <p:grpSp>
          <p:nvGrpSpPr>
            <p:cNvPr id="9068" name="Google Shape;9068;p56"/>
            <p:cNvGrpSpPr/>
            <p:nvPr/>
          </p:nvGrpSpPr>
          <p:grpSpPr>
            <a:xfrm>
              <a:off x="3398134" y="2290183"/>
              <a:ext cx="315300" cy="219900"/>
              <a:chOff x="3398134" y="2290183"/>
              <a:chExt cx="315300" cy="219900"/>
            </a:xfrm>
          </p:grpSpPr>
          <p:sp>
            <p:nvSpPr>
              <p:cNvPr id="9069" name="Google Shape;9069;p56"/>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0" name="Google Shape;9070;p56"/>
              <p:cNvCxnSpPr>
                <a:stCxn id="9069"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9071" name="Google Shape;9071;p56"/>
            <p:cNvGrpSpPr/>
            <p:nvPr/>
          </p:nvGrpSpPr>
          <p:grpSpPr>
            <a:xfrm>
              <a:off x="3547823" y="2467358"/>
              <a:ext cx="219900" cy="333527"/>
              <a:chOff x="3547823" y="2467358"/>
              <a:chExt cx="219900" cy="333527"/>
            </a:xfrm>
          </p:grpSpPr>
          <p:sp>
            <p:nvSpPr>
              <p:cNvPr id="9072" name="Google Shape;9072;p56"/>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3" name="Google Shape;9073;p56"/>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9074" name="Google Shape;9074;p56"/>
            <p:cNvGrpSpPr/>
            <p:nvPr/>
          </p:nvGrpSpPr>
          <p:grpSpPr>
            <a:xfrm>
              <a:off x="3734138" y="2467358"/>
              <a:ext cx="219900" cy="333527"/>
              <a:chOff x="3734138" y="2467358"/>
              <a:chExt cx="219900" cy="333527"/>
            </a:xfrm>
          </p:grpSpPr>
          <p:sp>
            <p:nvSpPr>
              <p:cNvPr id="9075" name="Google Shape;9075;p56"/>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6" name="Google Shape;9076;p56"/>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9077" name="Google Shape;9077;p56"/>
            <p:cNvGrpSpPr/>
            <p:nvPr/>
          </p:nvGrpSpPr>
          <p:grpSpPr>
            <a:xfrm>
              <a:off x="3787560" y="2288011"/>
              <a:ext cx="314661" cy="219900"/>
              <a:chOff x="3787560" y="2288011"/>
              <a:chExt cx="314661" cy="219900"/>
            </a:xfrm>
          </p:grpSpPr>
          <p:sp>
            <p:nvSpPr>
              <p:cNvPr id="9078" name="Google Shape;9078;p56"/>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00C3B1"/>
                  </a:solidFill>
                  <a:latin typeface="Calibri"/>
                  <a:ea typeface="Calibri"/>
                  <a:cs typeface="Calibri"/>
                  <a:sym typeface="Calibri"/>
                </a:endParaRPr>
              </a:p>
            </p:txBody>
          </p:sp>
          <p:cxnSp>
            <p:nvCxnSpPr>
              <p:cNvPr id="9079" name="Google Shape;9079;p56"/>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9080" name="Google Shape;9080;p56"/>
            <p:cNvGrpSpPr/>
            <p:nvPr/>
          </p:nvGrpSpPr>
          <p:grpSpPr>
            <a:xfrm>
              <a:off x="3637290" y="2057755"/>
              <a:ext cx="219900" cy="335499"/>
              <a:chOff x="3637290" y="2057755"/>
              <a:chExt cx="219900" cy="335499"/>
            </a:xfrm>
          </p:grpSpPr>
          <p:sp>
            <p:nvSpPr>
              <p:cNvPr id="9081" name="Google Shape;9081;p56"/>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b="0" i="0" u="none" strike="noStrike" cap="none">
                  <a:solidFill>
                    <a:srgbClr val="FFFFFF"/>
                  </a:solidFill>
                  <a:latin typeface="Calibri"/>
                  <a:ea typeface="Calibri"/>
                  <a:cs typeface="Calibri"/>
                  <a:sym typeface="Calibri"/>
                </a:endParaRPr>
              </a:p>
            </p:txBody>
          </p:sp>
          <p:cxnSp>
            <p:nvCxnSpPr>
              <p:cNvPr id="9082" name="Google Shape;9082;p56"/>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9083" name="Google Shape;9083;p56"/>
          <p:cNvGrpSpPr/>
          <p:nvPr/>
        </p:nvGrpSpPr>
        <p:grpSpPr>
          <a:xfrm>
            <a:off x="4917244" y="2079792"/>
            <a:ext cx="710153" cy="710153"/>
            <a:chOff x="5007123" y="2079403"/>
            <a:chExt cx="687600" cy="687600"/>
          </a:xfrm>
        </p:grpSpPr>
        <p:sp>
          <p:nvSpPr>
            <p:cNvPr id="9084" name="Google Shape;9084;p56"/>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5" name="Google Shape;9085;p56"/>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6" name="Google Shape;9086;p56"/>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7" name="Google Shape;9087;p56"/>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88" name="Google Shape;9088;p56"/>
          <p:cNvGrpSpPr/>
          <p:nvPr/>
        </p:nvGrpSpPr>
        <p:grpSpPr>
          <a:xfrm>
            <a:off x="5726681" y="2074299"/>
            <a:ext cx="720998" cy="721183"/>
            <a:chOff x="5797446" y="2063053"/>
            <a:chExt cx="698100" cy="698280"/>
          </a:xfrm>
        </p:grpSpPr>
        <p:sp>
          <p:nvSpPr>
            <p:cNvPr id="9089" name="Google Shape;9089;p56"/>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0" name="Google Shape;9090;p56"/>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1" name="Google Shape;9091;p56"/>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2" name="Google Shape;9092;p56"/>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3" name="Google Shape;9093;p56"/>
          <p:cNvGrpSpPr/>
          <p:nvPr/>
        </p:nvGrpSpPr>
        <p:grpSpPr>
          <a:xfrm>
            <a:off x="8171828" y="3719904"/>
            <a:ext cx="280585" cy="673164"/>
            <a:chOff x="8075075" y="3754290"/>
            <a:chExt cx="255612" cy="613194"/>
          </a:xfrm>
        </p:grpSpPr>
        <p:grpSp>
          <p:nvGrpSpPr>
            <p:cNvPr id="9094" name="Google Shape;9094;p56"/>
            <p:cNvGrpSpPr/>
            <p:nvPr/>
          </p:nvGrpSpPr>
          <p:grpSpPr>
            <a:xfrm>
              <a:off x="8075075" y="3754290"/>
              <a:ext cx="255612" cy="613194"/>
              <a:chOff x="8075075" y="3754290"/>
              <a:chExt cx="255612" cy="613194"/>
            </a:xfrm>
          </p:grpSpPr>
          <p:sp>
            <p:nvSpPr>
              <p:cNvPr id="9095" name="Google Shape;9095;p56"/>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6" name="Google Shape;9096;p56"/>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97" name="Google Shape;9097;p56"/>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098" name="Google Shape;9098;p56"/>
          <p:cNvGrpSpPr/>
          <p:nvPr/>
        </p:nvGrpSpPr>
        <p:grpSpPr>
          <a:xfrm>
            <a:off x="5288887" y="3708700"/>
            <a:ext cx="470352" cy="683745"/>
            <a:chOff x="1697726" y="3244179"/>
            <a:chExt cx="788124" cy="1146069"/>
          </a:xfrm>
        </p:grpSpPr>
        <p:sp>
          <p:nvSpPr>
            <p:cNvPr id="9099" name="Google Shape;9099;p56"/>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0" name="Google Shape;9100;p56"/>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1" name="Google Shape;9101;p56"/>
          <p:cNvSpPr/>
          <p:nvPr/>
        </p:nvSpPr>
        <p:spPr>
          <a:xfrm>
            <a:off x="8146351" y="3622703"/>
            <a:ext cx="204" cy="4"/>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02" name="Google Shape;9102;p56"/>
          <p:cNvGrpSpPr/>
          <p:nvPr/>
        </p:nvGrpSpPr>
        <p:grpSpPr>
          <a:xfrm>
            <a:off x="5910037" y="3719902"/>
            <a:ext cx="293891" cy="293845"/>
            <a:chOff x="6134814" y="3754290"/>
            <a:chExt cx="293891" cy="293845"/>
          </a:xfrm>
        </p:grpSpPr>
        <p:sp>
          <p:nvSpPr>
            <p:cNvPr id="9103" name="Google Shape;9103;p56"/>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4" name="Google Shape;9104;p56"/>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05" name="Google Shape;9105;p56"/>
          <p:cNvGrpSpPr/>
          <p:nvPr/>
        </p:nvGrpSpPr>
        <p:grpSpPr>
          <a:xfrm>
            <a:off x="5910037" y="4098574"/>
            <a:ext cx="293891" cy="293891"/>
            <a:chOff x="6134814" y="4086186"/>
            <a:chExt cx="293891" cy="293891"/>
          </a:xfrm>
        </p:grpSpPr>
        <p:sp>
          <p:nvSpPr>
            <p:cNvPr id="9106" name="Google Shape;9106;p56"/>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7" name="Google Shape;9107;p56"/>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08" name="Google Shape;9108;p56"/>
          <p:cNvSpPr/>
          <p:nvPr/>
        </p:nvSpPr>
        <p:spPr>
          <a:xfrm>
            <a:off x="6948464" y="3719100"/>
            <a:ext cx="609693" cy="673150"/>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9" name="Google Shape;9109;p56"/>
          <p:cNvSpPr/>
          <p:nvPr/>
        </p:nvSpPr>
        <p:spPr>
          <a:xfrm rot="10800000">
            <a:off x="6354727" y="3716837"/>
            <a:ext cx="442939" cy="675638"/>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10" name="Google Shape;9110;p56"/>
          <p:cNvGrpSpPr/>
          <p:nvPr/>
        </p:nvGrpSpPr>
        <p:grpSpPr>
          <a:xfrm>
            <a:off x="7835013" y="2927266"/>
            <a:ext cx="622883" cy="621944"/>
            <a:chOff x="1187048" y="238125"/>
            <a:chExt cx="5256397" cy="5248476"/>
          </a:xfrm>
        </p:grpSpPr>
        <p:sp>
          <p:nvSpPr>
            <p:cNvPr id="9111" name="Google Shape;9111;p56"/>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2" name="Google Shape;9112;p56"/>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3" name="Google Shape;9113;p56"/>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4" name="Google Shape;9114;p56"/>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15" name="Google Shape;9115;p56"/>
          <p:cNvGrpSpPr/>
          <p:nvPr/>
        </p:nvGrpSpPr>
        <p:grpSpPr>
          <a:xfrm>
            <a:off x="2292118" y="2936875"/>
            <a:ext cx="1310987" cy="612407"/>
            <a:chOff x="238125" y="1188750"/>
            <a:chExt cx="7140450" cy="3335550"/>
          </a:xfrm>
        </p:grpSpPr>
        <p:sp>
          <p:nvSpPr>
            <p:cNvPr id="9116" name="Google Shape;9116;p56"/>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7" name="Google Shape;9117;p56"/>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8" name="Google Shape;9118;p56"/>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9" name="Google Shape;9119;p56"/>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0" name="Google Shape;9120;p56"/>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1" name="Google Shape;9121;p56"/>
          <p:cNvGrpSpPr/>
          <p:nvPr/>
        </p:nvGrpSpPr>
        <p:grpSpPr>
          <a:xfrm>
            <a:off x="6617990" y="2927430"/>
            <a:ext cx="1110299" cy="621702"/>
            <a:chOff x="238125" y="1335475"/>
            <a:chExt cx="5418735" cy="3034175"/>
          </a:xfrm>
        </p:grpSpPr>
        <p:sp>
          <p:nvSpPr>
            <p:cNvPr id="9122" name="Google Shape;9122;p56"/>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3" name="Google Shape;9123;p56"/>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4" name="Google Shape;9124;p56"/>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25" name="Google Shape;9125;p56"/>
          <p:cNvGrpSpPr/>
          <p:nvPr/>
        </p:nvGrpSpPr>
        <p:grpSpPr>
          <a:xfrm>
            <a:off x="5435649" y="2924327"/>
            <a:ext cx="1074451" cy="627181"/>
            <a:chOff x="5359127" y="2910889"/>
            <a:chExt cx="1097723" cy="640831"/>
          </a:xfrm>
        </p:grpSpPr>
        <p:grpSp>
          <p:nvGrpSpPr>
            <p:cNvPr id="9126" name="Google Shape;9126;p56"/>
            <p:cNvGrpSpPr/>
            <p:nvPr/>
          </p:nvGrpSpPr>
          <p:grpSpPr>
            <a:xfrm>
              <a:off x="5929791" y="3263088"/>
              <a:ext cx="527060" cy="287097"/>
              <a:chOff x="5929791" y="3263088"/>
              <a:chExt cx="527060" cy="287097"/>
            </a:xfrm>
          </p:grpSpPr>
          <p:sp>
            <p:nvSpPr>
              <p:cNvPr id="9127" name="Google Shape;9127;p56"/>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28" name="Google Shape;9128;p56"/>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29" name="Google Shape;9129;p56"/>
            <p:cNvGrpSpPr/>
            <p:nvPr/>
          </p:nvGrpSpPr>
          <p:grpSpPr>
            <a:xfrm>
              <a:off x="5359127" y="3263089"/>
              <a:ext cx="526428" cy="288631"/>
              <a:chOff x="5359127" y="3263089"/>
              <a:chExt cx="526428" cy="288631"/>
            </a:xfrm>
          </p:grpSpPr>
          <p:sp>
            <p:nvSpPr>
              <p:cNvPr id="9130" name="Google Shape;9130;p56"/>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1" name="Google Shape;9131;p56"/>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2" name="Google Shape;9132;p56"/>
            <p:cNvGrpSpPr/>
            <p:nvPr/>
          </p:nvGrpSpPr>
          <p:grpSpPr>
            <a:xfrm>
              <a:off x="5551525" y="2910889"/>
              <a:ext cx="520901" cy="610283"/>
              <a:chOff x="5551525" y="2910889"/>
              <a:chExt cx="520901" cy="610283"/>
            </a:xfrm>
          </p:grpSpPr>
          <p:sp>
            <p:nvSpPr>
              <p:cNvPr id="9133" name="Google Shape;9133;p56"/>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4" name="Google Shape;9134;p56"/>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nvGrpSpPr>
            <p:cNvPr id="9135" name="Google Shape;9135;p56"/>
            <p:cNvGrpSpPr/>
            <p:nvPr/>
          </p:nvGrpSpPr>
          <p:grpSpPr>
            <a:xfrm>
              <a:off x="5743962" y="2919100"/>
              <a:ext cx="623674" cy="284502"/>
              <a:chOff x="5743962" y="2919100"/>
              <a:chExt cx="623674" cy="284502"/>
            </a:xfrm>
          </p:grpSpPr>
          <p:sp>
            <p:nvSpPr>
              <p:cNvPr id="9136" name="Google Shape;9136;p56"/>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sp>
            <p:nvSpPr>
              <p:cNvPr id="9137" name="Google Shape;9137;p56"/>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900"/>
              </a:p>
            </p:txBody>
          </p:sp>
        </p:grpSp>
      </p:grpSp>
      <p:grpSp>
        <p:nvGrpSpPr>
          <p:cNvPr id="9138" name="Google Shape;9138;p56"/>
          <p:cNvGrpSpPr/>
          <p:nvPr/>
        </p:nvGrpSpPr>
        <p:grpSpPr>
          <a:xfrm>
            <a:off x="7586863" y="2075038"/>
            <a:ext cx="874976" cy="719600"/>
            <a:chOff x="7608988" y="2093194"/>
            <a:chExt cx="817276" cy="672147"/>
          </a:xfrm>
        </p:grpSpPr>
        <p:cxnSp>
          <p:nvCxnSpPr>
            <p:cNvPr id="9139" name="Google Shape;9139;p56"/>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0" name="Google Shape;9140;p56"/>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1" name="Google Shape;9141;p56"/>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2" name="Google Shape;9142;p56"/>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9143" name="Google Shape;9143;p56"/>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9144" name="Google Shape;9144;p56"/>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9145" name="Google Shape;9145;p56"/>
            <p:cNvGrpSpPr/>
            <p:nvPr/>
          </p:nvGrpSpPr>
          <p:grpSpPr>
            <a:xfrm>
              <a:off x="7721175" y="2093194"/>
              <a:ext cx="599587" cy="623846"/>
              <a:chOff x="7721175" y="2093194"/>
              <a:chExt cx="599587" cy="623846"/>
            </a:xfrm>
          </p:grpSpPr>
          <p:grpSp>
            <p:nvGrpSpPr>
              <p:cNvPr id="9146" name="Google Shape;9146;p56"/>
              <p:cNvGrpSpPr/>
              <p:nvPr/>
            </p:nvGrpSpPr>
            <p:grpSpPr>
              <a:xfrm>
                <a:off x="7721175" y="2093194"/>
                <a:ext cx="291605" cy="623846"/>
                <a:chOff x="9405575" y="2061418"/>
                <a:chExt cx="291605" cy="623846"/>
              </a:xfrm>
            </p:grpSpPr>
            <p:sp>
              <p:nvSpPr>
                <p:cNvPr id="9147" name="Google Shape;9147;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8" name="Google Shape;9148;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9" name="Google Shape;9149;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0" name="Google Shape;9150;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1" name="Google Shape;9151;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2" name="Google Shape;9152;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3" name="Google Shape;9153;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54" name="Google Shape;9154;p56"/>
              <p:cNvGrpSpPr/>
              <p:nvPr/>
            </p:nvGrpSpPr>
            <p:grpSpPr>
              <a:xfrm flipH="1">
                <a:off x="8029157" y="2093194"/>
                <a:ext cx="291605" cy="623846"/>
                <a:chOff x="9405575" y="2061418"/>
                <a:chExt cx="291605" cy="623846"/>
              </a:xfrm>
            </p:grpSpPr>
            <p:sp>
              <p:nvSpPr>
                <p:cNvPr id="9155" name="Google Shape;9155;p56"/>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6" name="Google Shape;9156;p56"/>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7" name="Google Shape;9157;p56"/>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8" name="Google Shape;9158;p56"/>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9" name="Google Shape;9159;p56"/>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0" name="Google Shape;9160;p56"/>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1" name="Google Shape;9161;p56"/>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162" name="Google Shape;9162;p56"/>
          <p:cNvGrpSpPr/>
          <p:nvPr/>
        </p:nvGrpSpPr>
        <p:grpSpPr>
          <a:xfrm>
            <a:off x="4031299" y="1191441"/>
            <a:ext cx="712557" cy="785901"/>
            <a:chOff x="4206459" y="1191441"/>
            <a:chExt cx="712557" cy="785901"/>
          </a:xfrm>
        </p:grpSpPr>
        <p:sp>
          <p:nvSpPr>
            <p:cNvPr id="9163" name="Google Shape;9163;p56"/>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4" name="Google Shape;9164;p56"/>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5" name="Google Shape;9165;p56"/>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6" name="Google Shape;9166;p56"/>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67" name="Google Shape;9167;p56"/>
            <p:cNvGrpSpPr/>
            <p:nvPr/>
          </p:nvGrpSpPr>
          <p:grpSpPr>
            <a:xfrm>
              <a:off x="4644280" y="1290523"/>
              <a:ext cx="143716" cy="29463"/>
              <a:chOff x="4644280" y="1290523"/>
              <a:chExt cx="143716" cy="29463"/>
            </a:xfrm>
          </p:grpSpPr>
          <p:sp>
            <p:nvSpPr>
              <p:cNvPr id="9168" name="Google Shape;9168;p56"/>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9" name="Google Shape;9169;p56"/>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0" name="Google Shape;9170;p56"/>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1" name="Google Shape;9171;p56"/>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2" name="Google Shape;9172;p56"/>
            <p:cNvGrpSpPr/>
            <p:nvPr/>
          </p:nvGrpSpPr>
          <p:grpSpPr>
            <a:xfrm>
              <a:off x="4356567" y="1191441"/>
              <a:ext cx="143690" cy="29488"/>
              <a:chOff x="4356567" y="1191441"/>
              <a:chExt cx="143690" cy="29488"/>
            </a:xfrm>
          </p:grpSpPr>
          <p:sp>
            <p:nvSpPr>
              <p:cNvPr id="9173" name="Google Shape;9173;p56"/>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4" name="Google Shape;9174;p56"/>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5" name="Google Shape;9175;p56"/>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6" name="Google Shape;9176;p56"/>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77" name="Google Shape;9177;p56"/>
            <p:cNvGrpSpPr/>
            <p:nvPr/>
          </p:nvGrpSpPr>
          <p:grpSpPr>
            <a:xfrm>
              <a:off x="4339009" y="1863727"/>
              <a:ext cx="143703" cy="29476"/>
              <a:chOff x="4339009" y="1863727"/>
              <a:chExt cx="143703" cy="29476"/>
            </a:xfrm>
          </p:grpSpPr>
          <p:sp>
            <p:nvSpPr>
              <p:cNvPr id="9178" name="Google Shape;9178;p56"/>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9" name="Google Shape;9179;p56"/>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0" name="Google Shape;9180;p56"/>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1" name="Google Shape;9181;p56"/>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82" name="Google Shape;9182;p56"/>
            <p:cNvGrpSpPr/>
            <p:nvPr/>
          </p:nvGrpSpPr>
          <p:grpSpPr>
            <a:xfrm>
              <a:off x="4206459" y="1607315"/>
              <a:ext cx="29539" cy="142899"/>
              <a:chOff x="4206459" y="1607315"/>
              <a:chExt cx="29539" cy="142899"/>
            </a:xfrm>
          </p:grpSpPr>
          <p:sp>
            <p:nvSpPr>
              <p:cNvPr id="9183" name="Google Shape;9183;p56"/>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4" name="Google Shape;9184;p56"/>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5" name="Google Shape;9185;p56"/>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6" name="Google Shape;9186;p56"/>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187" name="Google Shape;9187;p56"/>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8" name="Google Shape;9188;p56"/>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9" name="Google Shape;9189;p56"/>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0" name="Google Shape;9190;p56"/>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191" name="Google Shape;9191;p56"/>
            <p:cNvGrpSpPr/>
            <p:nvPr/>
          </p:nvGrpSpPr>
          <p:grpSpPr>
            <a:xfrm>
              <a:off x="4889463" y="1423737"/>
              <a:ext cx="29552" cy="142899"/>
              <a:chOff x="4889463" y="1423737"/>
              <a:chExt cx="29552" cy="142899"/>
            </a:xfrm>
          </p:grpSpPr>
          <p:sp>
            <p:nvSpPr>
              <p:cNvPr id="9192" name="Google Shape;9192;p56"/>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3" name="Google Shape;9193;p56"/>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4" name="Google Shape;9194;p56"/>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5" name="Google Shape;9195;p56"/>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196" name="Google Shape;9196;p56"/>
            <p:cNvGrpSpPr/>
            <p:nvPr/>
          </p:nvGrpSpPr>
          <p:grpSpPr>
            <a:xfrm>
              <a:off x="4771663" y="1876896"/>
              <a:ext cx="108651" cy="100447"/>
              <a:chOff x="4771663" y="1876896"/>
              <a:chExt cx="108651" cy="100447"/>
            </a:xfrm>
          </p:grpSpPr>
          <p:sp>
            <p:nvSpPr>
              <p:cNvPr id="9197" name="Google Shape;9197;p56"/>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8" name="Google Shape;9198;p56"/>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9" name="Google Shape;9199;p56"/>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0" name="Google Shape;9200;p56"/>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01" name="Google Shape;9201;p56"/>
          <p:cNvGrpSpPr/>
          <p:nvPr/>
        </p:nvGrpSpPr>
        <p:grpSpPr>
          <a:xfrm>
            <a:off x="4026774" y="2074664"/>
            <a:ext cx="791287" cy="720350"/>
            <a:chOff x="267375" y="1071875"/>
            <a:chExt cx="470500" cy="428550"/>
          </a:xfrm>
        </p:grpSpPr>
        <p:sp>
          <p:nvSpPr>
            <p:cNvPr id="9202" name="Google Shape;9202;p56"/>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3" name="Google Shape;9203;p56"/>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4" name="Google Shape;9204;p56"/>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5" name="Google Shape;9205;p56"/>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6" name="Google Shape;9206;p56"/>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7" name="Google Shape;9207;p56"/>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8" name="Google Shape;9208;p56"/>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9" name="Google Shape;9209;p56"/>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0" name="Google Shape;9210;p56"/>
          <p:cNvGrpSpPr/>
          <p:nvPr/>
        </p:nvGrpSpPr>
        <p:grpSpPr>
          <a:xfrm>
            <a:off x="727269" y="3719294"/>
            <a:ext cx="1408444" cy="673166"/>
            <a:chOff x="712664" y="3693287"/>
            <a:chExt cx="1460738" cy="698160"/>
          </a:xfrm>
        </p:grpSpPr>
        <p:grpSp>
          <p:nvGrpSpPr>
            <p:cNvPr id="9211" name="Google Shape;9211;p56"/>
            <p:cNvGrpSpPr/>
            <p:nvPr/>
          </p:nvGrpSpPr>
          <p:grpSpPr>
            <a:xfrm>
              <a:off x="1380079" y="4133090"/>
              <a:ext cx="234048" cy="258099"/>
              <a:chOff x="1380079" y="4133090"/>
              <a:chExt cx="234048" cy="258099"/>
            </a:xfrm>
          </p:grpSpPr>
          <p:sp>
            <p:nvSpPr>
              <p:cNvPr id="9212" name="Google Shape;9212;p56"/>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3" name="Google Shape;9213;p56"/>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4" name="Google Shape;9214;p56"/>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5" name="Google Shape;9215;p56"/>
            <p:cNvGrpSpPr/>
            <p:nvPr/>
          </p:nvGrpSpPr>
          <p:grpSpPr>
            <a:xfrm>
              <a:off x="884610" y="3864082"/>
              <a:ext cx="1118566" cy="527275"/>
              <a:chOff x="890961" y="3865463"/>
              <a:chExt cx="1115221" cy="525698"/>
            </a:xfrm>
          </p:grpSpPr>
          <p:sp>
            <p:nvSpPr>
              <p:cNvPr id="9216" name="Google Shape;9216;p56"/>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7" name="Google Shape;9217;p56"/>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8" name="Google Shape;9218;p56"/>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19" name="Google Shape;9219;p56"/>
            <p:cNvGrpSpPr/>
            <p:nvPr/>
          </p:nvGrpSpPr>
          <p:grpSpPr>
            <a:xfrm>
              <a:off x="712664" y="3693287"/>
              <a:ext cx="1460738" cy="698160"/>
              <a:chOff x="712664" y="3693025"/>
              <a:chExt cx="1460738" cy="698160"/>
            </a:xfrm>
          </p:grpSpPr>
          <p:sp>
            <p:nvSpPr>
              <p:cNvPr id="9220" name="Google Shape;9220;p56"/>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1" name="Google Shape;9221;p56"/>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2" name="Google Shape;9222;p56"/>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3" name="Google Shape;9223;p56"/>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4" name="Google Shape;9224;p56"/>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5" name="Google Shape;9225;p56"/>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26" name="Google Shape;9226;p56"/>
          <p:cNvGrpSpPr/>
          <p:nvPr/>
        </p:nvGrpSpPr>
        <p:grpSpPr>
          <a:xfrm>
            <a:off x="3164985" y="1191441"/>
            <a:ext cx="795485" cy="738831"/>
            <a:chOff x="3348603" y="1236445"/>
            <a:chExt cx="749256" cy="695894"/>
          </a:xfrm>
        </p:grpSpPr>
        <p:grpSp>
          <p:nvGrpSpPr>
            <p:cNvPr id="9227" name="Google Shape;9227;p56"/>
            <p:cNvGrpSpPr/>
            <p:nvPr/>
          </p:nvGrpSpPr>
          <p:grpSpPr>
            <a:xfrm>
              <a:off x="3583779" y="1236445"/>
              <a:ext cx="293795" cy="285811"/>
              <a:chOff x="3750225" y="1774000"/>
              <a:chExt cx="149575" cy="145525"/>
            </a:xfrm>
          </p:grpSpPr>
          <p:sp>
            <p:nvSpPr>
              <p:cNvPr id="9228" name="Google Shape;9228;p56"/>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9" name="Google Shape;9229;p56"/>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0" name="Google Shape;9230;p56"/>
            <p:cNvGrpSpPr/>
            <p:nvPr/>
          </p:nvGrpSpPr>
          <p:grpSpPr>
            <a:xfrm>
              <a:off x="3775534" y="1462599"/>
              <a:ext cx="322325" cy="285958"/>
              <a:chOff x="3847850" y="1889150"/>
              <a:chExt cx="164100" cy="145600"/>
            </a:xfrm>
          </p:grpSpPr>
          <p:sp>
            <p:nvSpPr>
              <p:cNvPr id="9231" name="Google Shape;9231;p56"/>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2" name="Google Shape;9232;p56"/>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3" name="Google Shape;9233;p56"/>
            <p:cNvGrpSpPr/>
            <p:nvPr/>
          </p:nvGrpSpPr>
          <p:grpSpPr>
            <a:xfrm>
              <a:off x="3545329" y="1646528"/>
              <a:ext cx="293746" cy="285811"/>
              <a:chOff x="3730650" y="1982800"/>
              <a:chExt cx="149550" cy="145525"/>
            </a:xfrm>
          </p:grpSpPr>
          <p:sp>
            <p:nvSpPr>
              <p:cNvPr id="9234" name="Google Shape;9234;p56"/>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5" name="Google Shape;9235;p56"/>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36" name="Google Shape;9236;p56"/>
            <p:cNvGrpSpPr/>
            <p:nvPr/>
          </p:nvGrpSpPr>
          <p:grpSpPr>
            <a:xfrm>
              <a:off x="3348603" y="1415046"/>
              <a:ext cx="294384" cy="284387"/>
              <a:chOff x="3630494" y="1864938"/>
              <a:chExt cx="149875" cy="144800"/>
            </a:xfrm>
          </p:grpSpPr>
          <p:sp>
            <p:nvSpPr>
              <p:cNvPr id="9237" name="Google Shape;9237;p56"/>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8" name="Google Shape;9238;p56"/>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39" name="Google Shape;9239;p56"/>
          <p:cNvGrpSpPr/>
          <p:nvPr/>
        </p:nvGrpSpPr>
        <p:grpSpPr>
          <a:xfrm>
            <a:off x="2286512" y="3714337"/>
            <a:ext cx="1324924" cy="678083"/>
            <a:chOff x="2413923" y="3711366"/>
            <a:chExt cx="1374117" cy="703260"/>
          </a:xfrm>
        </p:grpSpPr>
        <p:grpSp>
          <p:nvGrpSpPr>
            <p:cNvPr id="9240" name="Google Shape;9240;p56"/>
            <p:cNvGrpSpPr/>
            <p:nvPr/>
          </p:nvGrpSpPr>
          <p:grpSpPr>
            <a:xfrm>
              <a:off x="2413923" y="3711366"/>
              <a:ext cx="1374117" cy="703260"/>
              <a:chOff x="2413923" y="3711366"/>
              <a:chExt cx="1374117" cy="703260"/>
            </a:xfrm>
          </p:grpSpPr>
          <p:sp>
            <p:nvSpPr>
              <p:cNvPr id="9241" name="Google Shape;9241;p56"/>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42" name="Google Shape;9242;p56"/>
              <p:cNvGrpSpPr/>
              <p:nvPr/>
            </p:nvGrpSpPr>
            <p:grpSpPr>
              <a:xfrm>
                <a:off x="2600284" y="3808654"/>
                <a:ext cx="234506" cy="138009"/>
                <a:chOff x="2600284" y="3808654"/>
                <a:chExt cx="234506" cy="138009"/>
              </a:xfrm>
            </p:grpSpPr>
            <p:sp>
              <p:nvSpPr>
                <p:cNvPr id="9243" name="Google Shape;9243;p56"/>
                <p:cNvSpPr/>
                <p:nvPr/>
              </p:nvSpPr>
              <p:spPr>
                <a:xfrm>
                  <a:off x="2767890"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4" name="Google Shape;9244;p56"/>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5" name="Google Shape;9245;p56"/>
              <p:cNvGrpSpPr/>
              <p:nvPr/>
            </p:nvGrpSpPr>
            <p:grpSpPr>
              <a:xfrm>
                <a:off x="3359659" y="3805664"/>
                <a:ext cx="232294" cy="141000"/>
                <a:chOff x="3359659" y="3805664"/>
                <a:chExt cx="232294" cy="141000"/>
              </a:xfrm>
            </p:grpSpPr>
            <p:sp>
              <p:nvSpPr>
                <p:cNvPr id="9246" name="Google Shape;9246;p56"/>
                <p:cNvSpPr/>
                <p:nvPr/>
              </p:nvSpPr>
              <p:spPr>
                <a:xfrm>
                  <a:off x="3359659" y="3879764"/>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47" name="Google Shape;9247;p56"/>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48" name="Google Shape;9248;p56"/>
              <p:cNvGrpSpPr/>
              <p:nvPr/>
            </p:nvGrpSpPr>
            <p:grpSpPr>
              <a:xfrm>
                <a:off x="3067316" y="3711366"/>
                <a:ext cx="66900" cy="166809"/>
                <a:chOff x="3067316" y="3711366"/>
                <a:chExt cx="66900" cy="166809"/>
              </a:xfrm>
            </p:grpSpPr>
            <p:sp>
              <p:nvSpPr>
                <p:cNvPr id="9249" name="Google Shape;9249;p56"/>
                <p:cNvSpPr/>
                <p:nvPr/>
              </p:nvSpPr>
              <p:spPr>
                <a:xfrm>
                  <a:off x="3067316" y="381127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0" name="Google Shape;9250;p56"/>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1" name="Google Shape;9251;p56"/>
              <p:cNvGrpSpPr/>
              <p:nvPr/>
            </p:nvGrpSpPr>
            <p:grpSpPr>
              <a:xfrm>
                <a:off x="2413923" y="4058666"/>
                <a:ext cx="224119" cy="66900"/>
                <a:chOff x="2413923" y="4058666"/>
                <a:chExt cx="224119" cy="66900"/>
              </a:xfrm>
            </p:grpSpPr>
            <p:sp>
              <p:nvSpPr>
                <p:cNvPr id="9252" name="Google Shape;9252;p56"/>
                <p:cNvSpPr/>
                <p:nvPr/>
              </p:nvSpPr>
              <p:spPr>
                <a:xfrm>
                  <a:off x="2571142"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3" name="Google Shape;9253;p56"/>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9254" name="Google Shape;9254;p56"/>
              <p:cNvGrpSpPr/>
              <p:nvPr/>
            </p:nvGrpSpPr>
            <p:grpSpPr>
              <a:xfrm>
                <a:off x="3564643" y="4058666"/>
                <a:ext cx="223397" cy="66900"/>
                <a:chOff x="3564643" y="4058666"/>
                <a:chExt cx="223397" cy="66900"/>
              </a:xfrm>
            </p:grpSpPr>
            <p:sp>
              <p:nvSpPr>
                <p:cNvPr id="9255" name="Google Shape;9255;p56"/>
                <p:cNvSpPr/>
                <p:nvPr/>
              </p:nvSpPr>
              <p:spPr>
                <a:xfrm>
                  <a:off x="3564643" y="4058666"/>
                  <a:ext cx="66900" cy="66900"/>
                </a:xfrm>
                <a:prstGeom prst="ellipse">
                  <a:avLst/>
                </a:pr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256" name="Google Shape;9256;p56"/>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9257" name="Google Shape;9257;p56"/>
            <p:cNvGrpSpPr/>
            <p:nvPr/>
          </p:nvGrpSpPr>
          <p:grpSpPr>
            <a:xfrm>
              <a:off x="2633353" y="3965763"/>
              <a:ext cx="933975" cy="445687"/>
              <a:chOff x="2633353" y="3965763"/>
              <a:chExt cx="933975" cy="445687"/>
            </a:xfrm>
          </p:grpSpPr>
          <p:sp>
            <p:nvSpPr>
              <p:cNvPr id="9258" name="Google Shape;9258;p56"/>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9" name="Google Shape;9259;p56"/>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60" name="Google Shape;9260;p56"/>
          <p:cNvGrpSpPr/>
          <p:nvPr/>
        </p:nvGrpSpPr>
        <p:grpSpPr>
          <a:xfrm>
            <a:off x="6410784" y="1264884"/>
            <a:ext cx="1131087" cy="587383"/>
            <a:chOff x="238125" y="999450"/>
            <a:chExt cx="7140700" cy="3708225"/>
          </a:xfrm>
        </p:grpSpPr>
        <p:sp>
          <p:nvSpPr>
            <p:cNvPr id="9261" name="Google Shape;9261;p56"/>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2" name="Google Shape;9262;p56"/>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3" name="Google Shape;9263;p56"/>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4" name="Google Shape;9264;p56"/>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5" name="Google Shape;9265;p56"/>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6" name="Google Shape;9266;p56"/>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7" name="Google Shape;9267;p56"/>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8" name="Google Shape;9268;p56"/>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9" name="Google Shape;9269;p56"/>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0" name="Google Shape;9270;p56"/>
          <p:cNvGrpSpPr/>
          <p:nvPr/>
        </p:nvGrpSpPr>
        <p:grpSpPr>
          <a:xfrm>
            <a:off x="3762234" y="3714379"/>
            <a:ext cx="1375854" cy="678131"/>
            <a:chOff x="3913765" y="3641905"/>
            <a:chExt cx="1522805" cy="750560"/>
          </a:xfrm>
        </p:grpSpPr>
        <p:grpSp>
          <p:nvGrpSpPr>
            <p:cNvPr id="9271" name="Google Shape;9271;p56"/>
            <p:cNvGrpSpPr/>
            <p:nvPr/>
          </p:nvGrpSpPr>
          <p:grpSpPr>
            <a:xfrm>
              <a:off x="3913765" y="3997002"/>
              <a:ext cx="1522805" cy="395463"/>
              <a:chOff x="3913765" y="3997002"/>
              <a:chExt cx="1522805" cy="395463"/>
            </a:xfrm>
          </p:grpSpPr>
          <p:grpSp>
            <p:nvGrpSpPr>
              <p:cNvPr id="9272" name="Google Shape;9272;p56"/>
              <p:cNvGrpSpPr/>
              <p:nvPr/>
            </p:nvGrpSpPr>
            <p:grpSpPr>
              <a:xfrm>
                <a:off x="3913765" y="4138659"/>
                <a:ext cx="507602" cy="253806"/>
                <a:chOff x="3913765" y="4138659"/>
                <a:chExt cx="507602" cy="253806"/>
              </a:xfrm>
            </p:grpSpPr>
            <p:sp>
              <p:nvSpPr>
                <p:cNvPr id="9273" name="Google Shape;9273;p56"/>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4" name="Google Shape;9274;p56"/>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
                    <a:t>     </a:t>
                  </a:r>
                  <a:endParaRPr/>
                </a:p>
              </p:txBody>
            </p:sp>
          </p:grpSp>
          <p:grpSp>
            <p:nvGrpSpPr>
              <p:cNvPr id="9275" name="Google Shape;9275;p56"/>
              <p:cNvGrpSpPr/>
              <p:nvPr/>
            </p:nvGrpSpPr>
            <p:grpSpPr>
              <a:xfrm>
                <a:off x="4421361" y="3997002"/>
                <a:ext cx="507618" cy="395463"/>
                <a:chOff x="4421361" y="3997002"/>
                <a:chExt cx="507618" cy="395463"/>
              </a:xfrm>
            </p:grpSpPr>
            <p:sp>
              <p:nvSpPr>
                <p:cNvPr id="9276" name="Google Shape;9276;p56"/>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7" name="Google Shape;9277;p56"/>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278" name="Google Shape;9278;p56"/>
              <p:cNvGrpSpPr/>
              <p:nvPr/>
            </p:nvGrpSpPr>
            <p:grpSpPr>
              <a:xfrm>
                <a:off x="4928973" y="4189418"/>
                <a:ext cx="507596" cy="203047"/>
                <a:chOff x="4928973" y="4189418"/>
                <a:chExt cx="507596" cy="203047"/>
              </a:xfrm>
            </p:grpSpPr>
            <p:sp>
              <p:nvSpPr>
                <p:cNvPr id="9279" name="Google Shape;9279;p56"/>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0" name="Google Shape;9280;p56"/>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1" name="Google Shape;9281;p56"/>
            <p:cNvGrpSpPr/>
            <p:nvPr/>
          </p:nvGrpSpPr>
          <p:grpSpPr>
            <a:xfrm>
              <a:off x="4482186" y="3641905"/>
              <a:ext cx="397605" cy="349784"/>
              <a:chOff x="2906375" y="1159725"/>
              <a:chExt cx="1860575" cy="1636800"/>
            </a:xfrm>
          </p:grpSpPr>
          <p:sp>
            <p:nvSpPr>
              <p:cNvPr id="9282" name="Google Shape;9282;p56"/>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3" name="Google Shape;9283;p56"/>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4" name="Google Shape;9284;p56"/>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5" name="Google Shape;9285;p56"/>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286" name="Google Shape;9286;p56"/>
          <p:cNvGrpSpPr/>
          <p:nvPr/>
        </p:nvGrpSpPr>
        <p:grpSpPr>
          <a:xfrm>
            <a:off x="6546943" y="2074305"/>
            <a:ext cx="940737" cy="721067"/>
            <a:chOff x="6599718" y="2068734"/>
            <a:chExt cx="940737" cy="721067"/>
          </a:xfrm>
        </p:grpSpPr>
        <p:sp>
          <p:nvSpPr>
            <p:cNvPr id="9287" name="Google Shape;9287;p56"/>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8" name="Google Shape;9288;p56"/>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9" name="Google Shape;9289;p56"/>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0" name="Google Shape;9290;p56"/>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1" name="Google Shape;9291;p56"/>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2" name="Google Shape;9292;p56"/>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93" name="Google Shape;9293;p56"/>
            <p:cNvGrpSpPr/>
            <p:nvPr/>
          </p:nvGrpSpPr>
          <p:grpSpPr>
            <a:xfrm>
              <a:off x="6836957" y="2068734"/>
              <a:ext cx="461892" cy="721067"/>
              <a:chOff x="6836957" y="2068734"/>
              <a:chExt cx="461892" cy="721067"/>
            </a:xfrm>
          </p:grpSpPr>
          <p:sp>
            <p:nvSpPr>
              <p:cNvPr id="9294" name="Google Shape;9294;p56"/>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5" name="Google Shape;9295;p56"/>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6" name="Google Shape;9296;p56"/>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7" name="Google Shape;9297;p56"/>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8" name="Google Shape;9298;p56"/>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9" name="Google Shape;9299;p56"/>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0" name="Google Shape;9300;p56"/>
              <p:cNvGrpSpPr/>
              <p:nvPr/>
            </p:nvGrpSpPr>
            <p:grpSpPr>
              <a:xfrm>
                <a:off x="6836957" y="2068734"/>
                <a:ext cx="461892" cy="721067"/>
                <a:chOff x="6836957" y="2068734"/>
                <a:chExt cx="461892" cy="721067"/>
              </a:xfrm>
            </p:grpSpPr>
            <p:sp>
              <p:nvSpPr>
                <p:cNvPr id="9301" name="Google Shape;9301;p56"/>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2" name="Google Shape;9302;p56"/>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3" name="Google Shape;9303;p56"/>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4" name="Google Shape;9304;p56"/>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5" name="Google Shape;9305;p56"/>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6" name="Google Shape;9306;p56"/>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7" name="Google Shape;9307;p56"/>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9308" name="Google Shape;9308;p56"/>
          <p:cNvGrpSpPr/>
          <p:nvPr/>
        </p:nvGrpSpPr>
        <p:grpSpPr>
          <a:xfrm>
            <a:off x="2430262" y="2078652"/>
            <a:ext cx="712577" cy="712374"/>
            <a:chOff x="2559249" y="2069323"/>
            <a:chExt cx="685566" cy="685634"/>
          </a:xfrm>
        </p:grpSpPr>
        <p:sp>
          <p:nvSpPr>
            <p:cNvPr id="9309" name="Google Shape;9309;p56"/>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0" name="Google Shape;9310;p56"/>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1" name="Google Shape;9311;p56"/>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2" name="Google Shape;9312;p56"/>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3" name="Google Shape;9313;p56"/>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4" name="Google Shape;9314;p56"/>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5" name="Google Shape;9315;p56"/>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6" name="Google Shape;9316;p56"/>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7" name="Google Shape;9317;p56"/>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8" name="Google Shape;9318;p56"/>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9" name="Google Shape;9319;p56"/>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0" name="Google Shape;9320;p56"/>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1" name="Google Shape;9321;p56"/>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22" name="Google Shape;9322;p56"/>
          <p:cNvGrpSpPr/>
          <p:nvPr/>
        </p:nvGrpSpPr>
        <p:grpSpPr>
          <a:xfrm>
            <a:off x="7612699" y="1191441"/>
            <a:ext cx="845645" cy="711911"/>
            <a:chOff x="951975" y="315800"/>
            <a:chExt cx="5860325" cy="4933550"/>
          </a:xfrm>
        </p:grpSpPr>
        <p:sp>
          <p:nvSpPr>
            <p:cNvPr id="9323" name="Google Shape;9323;p56"/>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4" name="Google Shape;9324;p56"/>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5" name="Google Shape;9325;p56"/>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6" name="Google Shape;9326;p56"/>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7" name="Google Shape;9327;p56"/>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8" name="Google Shape;9328;p56"/>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9" name="Google Shape;9329;p56"/>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0" name="Google Shape;9330;p56"/>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1" name="Google Shape;9331;p56"/>
          <p:cNvGrpSpPr/>
          <p:nvPr/>
        </p:nvGrpSpPr>
        <p:grpSpPr>
          <a:xfrm>
            <a:off x="3709828" y="2927550"/>
            <a:ext cx="1617932" cy="621724"/>
            <a:chOff x="3862800" y="3038525"/>
            <a:chExt cx="1329006" cy="510698"/>
          </a:xfrm>
        </p:grpSpPr>
        <p:sp>
          <p:nvSpPr>
            <p:cNvPr id="9332" name="Google Shape;9332;p56"/>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3" name="Google Shape;9333;p56"/>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4" name="Google Shape;9334;p56"/>
            <p:cNvGrpSpPr/>
            <p:nvPr/>
          </p:nvGrpSpPr>
          <p:grpSpPr>
            <a:xfrm>
              <a:off x="3967075" y="3040337"/>
              <a:ext cx="1019927" cy="402126"/>
              <a:chOff x="3967075" y="3040337"/>
              <a:chExt cx="1019927" cy="402126"/>
            </a:xfrm>
          </p:grpSpPr>
          <p:sp>
            <p:nvSpPr>
              <p:cNvPr id="9335" name="Google Shape;9335;p56"/>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6" name="Google Shape;9336;p56"/>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37" name="Google Shape;9337;p56"/>
            <p:cNvGrpSpPr/>
            <p:nvPr/>
          </p:nvGrpSpPr>
          <p:grpSpPr>
            <a:xfrm>
              <a:off x="4186700" y="3040337"/>
              <a:ext cx="390475" cy="183289"/>
              <a:chOff x="4186700" y="3040337"/>
              <a:chExt cx="390475" cy="183289"/>
            </a:xfrm>
          </p:grpSpPr>
          <p:sp>
            <p:nvSpPr>
              <p:cNvPr id="9338" name="Google Shape;9338;p56"/>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9" name="Google Shape;9339;p56"/>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0" name="Google Shape;9340;p56"/>
            <p:cNvGrpSpPr/>
            <p:nvPr/>
          </p:nvGrpSpPr>
          <p:grpSpPr>
            <a:xfrm>
              <a:off x="4073727" y="3040337"/>
              <a:ext cx="697794" cy="296263"/>
              <a:chOff x="4073727" y="3040337"/>
              <a:chExt cx="697794" cy="296263"/>
            </a:xfrm>
          </p:grpSpPr>
          <p:sp>
            <p:nvSpPr>
              <p:cNvPr id="9341" name="Google Shape;9341;p56"/>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2" name="Google Shape;9342;p56"/>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43" name="Google Shape;9343;p56"/>
            <p:cNvGrpSpPr/>
            <p:nvPr/>
          </p:nvGrpSpPr>
          <p:grpSpPr>
            <a:xfrm>
              <a:off x="3862800" y="3038525"/>
              <a:ext cx="1329006" cy="510698"/>
              <a:chOff x="3862800" y="3038525"/>
              <a:chExt cx="1329006" cy="510698"/>
            </a:xfrm>
          </p:grpSpPr>
          <p:sp>
            <p:nvSpPr>
              <p:cNvPr id="9344" name="Google Shape;9344;p56"/>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5" name="Google Shape;9345;p56"/>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46" name="Google Shape;9346;p56"/>
          <p:cNvGrpSpPr/>
          <p:nvPr/>
        </p:nvGrpSpPr>
        <p:grpSpPr>
          <a:xfrm>
            <a:off x="718150" y="1191441"/>
            <a:ext cx="883205" cy="775176"/>
            <a:chOff x="649648" y="271400"/>
            <a:chExt cx="6215377" cy="5455143"/>
          </a:xfrm>
        </p:grpSpPr>
        <p:sp>
          <p:nvSpPr>
            <p:cNvPr id="9347" name="Google Shape;9347;p56"/>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8" name="Google Shape;9348;p56"/>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9" name="Google Shape;9349;p56"/>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0" name="Google Shape;9350;p56"/>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1" name="Google Shape;9351;p56"/>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2" name="Google Shape;9352;p56"/>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3" name="Google Shape;9353;p56"/>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4" name="Google Shape;9354;p56"/>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5" name="Google Shape;9355;p56"/>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6" name="Google Shape;9356;p56"/>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7" name="Google Shape;9357;p56"/>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8" name="Google Shape;9358;p56"/>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59" name="Google Shape;9359;p56"/>
          <p:cNvGrpSpPr/>
          <p:nvPr/>
        </p:nvGrpSpPr>
        <p:grpSpPr>
          <a:xfrm>
            <a:off x="2326452" y="1191441"/>
            <a:ext cx="767704" cy="815489"/>
            <a:chOff x="2499700" y="1135950"/>
            <a:chExt cx="732402" cy="777990"/>
          </a:xfrm>
        </p:grpSpPr>
        <p:grpSp>
          <p:nvGrpSpPr>
            <p:cNvPr id="9360" name="Google Shape;9360;p56"/>
            <p:cNvGrpSpPr/>
            <p:nvPr/>
          </p:nvGrpSpPr>
          <p:grpSpPr>
            <a:xfrm>
              <a:off x="2499700" y="1135950"/>
              <a:ext cx="732402" cy="694705"/>
              <a:chOff x="2499700" y="1135950"/>
              <a:chExt cx="732402" cy="694705"/>
            </a:xfrm>
          </p:grpSpPr>
          <p:sp>
            <p:nvSpPr>
              <p:cNvPr id="9361" name="Google Shape;9361;p56"/>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2" name="Google Shape;9362;p56"/>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3" name="Google Shape;9363;p56"/>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4" name="Google Shape;9364;p56"/>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5" name="Google Shape;9365;p56"/>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6" name="Google Shape;9366;p56"/>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7" name="Google Shape;9367;p56"/>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8" name="Google Shape;9368;p56"/>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9" name="Google Shape;9369;p56"/>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0" name="Google Shape;9370;p56"/>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1" name="Google Shape;9371;p56"/>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2" name="Google Shape;9372;p56"/>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3" name="Google Shape;9373;p56"/>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4" name="Google Shape;9374;p56"/>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5" name="Google Shape;9375;p56"/>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6" name="Google Shape;9376;p56"/>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7" name="Google Shape;9377;p56"/>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8" name="Google Shape;9378;p56"/>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9" name="Google Shape;9379;p56"/>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0" name="Google Shape;9380;p56"/>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1" name="Google Shape;9381;p56"/>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2" name="Google Shape;9382;p56"/>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3" name="Google Shape;9383;p56"/>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4" name="Google Shape;9384;p56"/>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5" name="Google Shape;9385;p56"/>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6" name="Google Shape;9386;p56"/>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7" name="Google Shape;9387;p56"/>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88" name="Google Shape;9388;p56"/>
            <p:cNvGrpSpPr/>
            <p:nvPr/>
          </p:nvGrpSpPr>
          <p:grpSpPr>
            <a:xfrm>
              <a:off x="2517909" y="1188726"/>
              <a:ext cx="702702" cy="725214"/>
              <a:chOff x="2517909" y="1188726"/>
              <a:chExt cx="702702" cy="725214"/>
            </a:xfrm>
          </p:grpSpPr>
          <p:sp>
            <p:nvSpPr>
              <p:cNvPr id="9389" name="Google Shape;9389;p56"/>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0" name="Google Shape;9390;p56"/>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1" name="Google Shape;9391;p56"/>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2" name="Google Shape;9392;p56"/>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3" name="Google Shape;9393;p56"/>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394" name="Google Shape;9394;p56"/>
          <p:cNvGrpSpPr/>
          <p:nvPr/>
        </p:nvGrpSpPr>
        <p:grpSpPr>
          <a:xfrm>
            <a:off x="1672184" y="1191441"/>
            <a:ext cx="583439" cy="870229"/>
            <a:chOff x="1716825" y="1121550"/>
            <a:chExt cx="622800" cy="928938"/>
          </a:xfrm>
        </p:grpSpPr>
        <p:grpSp>
          <p:nvGrpSpPr>
            <p:cNvPr id="9395" name="Google Shape;9395;p56"/>
            <p:cNvGrpSpPr/>
            <p:nvPr/>
          </p:nvGrpSpPr>
          <p:grpSpPr>
            <a:xfrm>
              <a:off x="1716825" y="1121550"/>
              <a:ext cx="622800" cy="928938"/>
              <a:chOff x="1716825" y="1121550"/>
              <a:chExt cx="622800" cy="928938"/>
            </a:xfrm>
          </p:grpSpPr>
          <p:cxnSp>
            <p:nvCxnSpPr>
              <p:cNvPr id="9396" name="Google Shape;9396;p56"/>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9397" name="Google Shape;9397;p56"/>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398" name="Google Shape;9398;p56"/>
            <p:cNvGrpSpPr/>
            <p:nvPr/>
          </p:nvGrpSpPr>
          <p:grpSpPr>
            <a:xfrm>
              <a:off x="1768050" y="1172775"/>
              <a:ext cx="520200" cy="832000"/>
              <a:chOff x="1768050" y="1172775"/>
              <a:chExt cx="520200" cy="832000"/>
            </a:xfrm>
          </p:grpSpPr>
          <p:cxnSp>
            <p:nvCxnSpPr>
              <p:cNvPr id="9399" name="Google Shape;9399;p56"/>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9400" name="Google Shape;9400;p56"/>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1" name="Google Shape;9401;p56"/>
            <p:cNvGrpSpPr/>
            <p:nvPr/>
          </p:nvGrpSpPr>
          <p:grpSpPr>
            <a:xfrm>
              <a:off x="1820100" y="1225475"/>
              <a:ext cx="416400" cy="729575"/>
              <a:chOff x="1820100" y="1225475"/>
              <a:chExt cx="416400" cy="729575"/>
            </a:xfrm>
          </p:grpSpPr>
          <p:cxnSp>
            <p:nvCxnSpPr>
              <p:cNvPr id="9402" name="Google Shape;9402;p56"/>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9403" name="Google Shape;9403;p56"/>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4" name="Google Shape;9404;p56"/>
            <p:cNvGrpSpPr/>
            <p:nvPr/>
          </p:nvGrpSpPr>
          <p:grpSpPr>
            <a:xfrm>
              <a:off x="1874250" y="1278825"/>
              <a:ext cx="308100" cy="605275"/>
              <a:chOff x="1874250" y="1278825"/>
              <a:chExt cx="308100" cy="605275"/>
            </a:xfrm>
          </p:grpSpPr>
          <p:cxnSp>
            <p:nvCxnSpPr>
              <p:cNvPr id="9405" name="Google Shape;9405;p56"/>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9406" name="Google Shape;9406;p56"/>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07" name="Google Shape;9407;p56"/>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08" name="Google Shape;9408;p56"/>
          <p:cNvGrpSpPr/>
          <p:nvPr/>
        </p:nvGrpSpPr>
        <p:grpSpPr>
          <a:xfrm>
            <a:off x="1592007" y="2077763"/>
            <a:ext cx="739072" cy="714152"/>
            <a:chOff x="4334725" y="1355875"/>
            <a:chExt cx="3106650" cy="3001900"/>
          </a:xfrm>
        </p:grpSpPr>
        <p:grpSp>
          <p:nvGrpSpPr>
            <p:cNvPr id="9409" name="Google Shape;9409;p56"/>
            <p:cNvGrpSpPr/>
            <p:nvPr/>
          </p:nvGrpSpPr>
          <p:grpSpPr>
            <a:xfrm>
              <a:off x="4516050" y="1724875"/>
              <a:ext cx="2693725" cy="2632900"/>
              <a:chOff x="4516050" y="1724875"/>
              <a:chExt cx="2693725" cy="2632900"/>
            </a:xfrm>
          </p:grpSpPr>
          <p:sp>
            <p:nvSpPr>
              <p:cNvPr id="9410" name="Google Shape;9410;p56"/>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1" name="Google Shape;9411;p56"/>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2" name="Google Shape;9412;p56"/>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13" name="Google Shape;9413;p56"/>
            <p:cNvGrpSpPr/>
            <p:nvPr/>
          </p:nvGrpSpPr>
          <p:grpSpPr>
            <a:xfrm>
              <a:off x="4334725" y="1355875"/>
              <a:ext cx="3106650" cy="2709650"/>
              <a:chOff x="4334725" y="1355875"/>
              <a:chExt cx="3106650" cy="2709650"/>
            </a:xfrm>
          </p:grpSpPr>
          <p:sp>
            <p:nvSpPr>
              <p:cNvPr id="9414" name="Google Shape;9414;p56"/>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5" name="Google Shape;9415;p56"/>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6" name="Google Shape;9416;p56"/>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417" name="Google Shape;9417;p56"/>
          <p:cNvGrpSpPr/>
          <p:nvPr/>
        </p:nvGrpSpPr>
        <p:grpSpPr>
          <a:xfrm>
            <a:off x="7708956" y="3708534"/>
            <a:ext cx="312074" cy="684173"/>
            <a:chOff x="7645573" y="3754300"/>
            <a:chExt cx="293855" cy="644170"/>
          </a:xfrm>
        </p:grpSpPr>
        <p:sp>
          <p:nvSpPr>
            <p:cNvPr id="9418" name="Google Shape;9418;p56"/>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9" name="Google Shape;9419;p56"/>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0" name="Google Shape;9420;p56"/>
          <p:cNvGrpSpPr/>
          <p:nvPr/>
        </p:nvGrpSpPr>
        <p:grpSpPr>
          <a:xfrm>
            <a:off x="5630944" y="1191441"/>
            <a:ext cx="709011" cy="739359"/>
            <a:chOff x="5830645" y="1256617"/>
            <a:chExt cx="530340" cy="553040"/>
          </a:xfrm>
        </p:grpSpPr>
        <p:grpSp>
          <p:nvGrpSpPr>
            <p:cNvPr id="9421" name="Google Shape;9421;p56"/>
            <p:cNvGrpSpPr/>
            <p:nvPr/>
          </p:nvGrpSpPr>
          <p:grpSpPr>
            <a:xfrm>
              <a:off x="5830645" y="1256617"/>
              <a:ext cx="259743" cy="269909"/>
              <a:chOff x="5830645" y="1256617"/>
              <a:chExt cx="259743" cy="269909"/>
            </a:xfrm>
          </p:grpSpPr>
          <p:sp>
            <p:nvSpPr>
              <p:cNvPr id="9422" name="Google Shape;9422;p56"/>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3" name="Google Shape;9423;p56"/>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4" name="Google Shape;9424;p56"/>
            <p:cNvGrpSpPr/>
            <p:nvPr/>
          </p:nvGrpSpPr>
          <p:grpSpPr>
            <a:xfrm>
              <a:off x="6101293" y="1256617"/>
              <a:ext cx="259692" cy="269909"/>
              <a:chOff x="6101293" y="1256617"/>
              <a:chExt cx="259692" cy="269909"/>
            </a:xfrm>
          </p:grpSpPr>
          <p:sp>
            <p:nvSpPr>
              <p:cNvPr id="9425" name="Google Shape;9425;p56"/>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6" name="Google Shape;9426;p56"/>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27" name="Google Shape;9427;p56"/>
            <p:cNvGrpSpPr/>
            <p:nvPr/>
          </p:nvGrpSpPr>
          <p:grpSpPr>
            <a:xfrm>
              <a:off x="5830645" y="1539749"/>
              <a:ext cx="259692" cy="269909"/>
              <a:chOff x="5830645" y="1539749"/>
              <a:chExt cx="259692" cy="269909"/>
            </a:xfrm>
          </p:grpSpPr>
          <p:sp>
            <p:nvSpPr>
              <p:cNvPr id="9428" name="Google Shape;9428;p56"/>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9" name="Google Shape;9429;p56"/>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0" name="Google Shape;9430;p56"/>
            <p:cNvGrpSpPr/>
            <p:nvPr/>
          </p:nvGrpSpPr>
          <p:grpSpPr>
            <a:xfrm>
              <a:off x="6101293" y="1539749"/>
              <a:ext cx="259692" cy="269909"/>
              <a:chOff x="6101293" y="1539749"/>
              <a:chExt cx="259692" cy="269909"/>
            </a:xfrm>
          </p:grpSpPr>
          <p:sp>
            <p:nvSpPr>
              <p:cNvPr id="9431" name="Google Shape;9431;p56"/>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2" name="Google Shape;9432;p56"/>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3" name="Google Shape;9433;p56"/>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34" name="Google Shape;9434;p56"/>
          <p:cNvGrpSpPr/>
          <p:nvPr/>
        </p:nvGrpSpPr>
        <p:grpSpPr>
          <a:xfrm>
            <a:off x="732438" y="2927557"/>
            <a:ext cx="1452955" cy="621360"/>
            <a:chOff x="732422" y="2990152"/>
            <a:chExt cx="1337773" cy="572102"/>
          </a:xfrm>
        </p:grpSpPr>
        <p:sp>
          <p:nvSpPr>
            <p:cNvPr id="9435" name="Google Shape;9435;p56"/>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6" name="Google Shape;9436;p56"/>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7" name="Google Shape;9437;p56"/>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8" name="Google Shape;9438;p56"/>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9" name="Google Shape;9439;p56"/>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0" name="Google Shape;9440;p56"/>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Shape 9444"/>
        <p:cNvGrpSpPr/>
        <p:nvPr/>
      </p:nvGrpSpPr>
      <p:grpSpPr>
        <a:xfrm>
          <a:off x="0" y="0"/>
          <a:ext cx="0" cy="0"/>
          <a:chOff x="0" y="0"/>
          <a:chExt cx="0" cy="0"/>
        </a:xfrm>
      </p:grpSpPr>
      <p:grpSp>
        <p:nvGrpSpPr>
          <p:cNvPr id="9445" name="Google Shape;9445;p57"/>
          <p:cNvGrpSpPr/>
          <p:nvPr/>
        </p:nvGrpSpPr>
        <p:grpSpPr>
          <a:xfrm>
            <a:off x="729238" y="1179665"/>
            <a:ext cx="1636117" cy="1526144"/>
            <a:chOff x="729238" y="1179665"/>
            <a:chExt cx="1636117" cy="1526144"/>
          </a:xfrm>
        </p:grpSpPr>
        <p:grpSp>
          <p:nvGrpSpPr>
            <p:cNvPr id="9446" name="Google Shape;9446;p57"/>
            <p:cNvGrpSpPr/>
            <p:nvPr/>
          </p:nvGrpSpPr>
          <p:grpSpPr>
            <a:xfrm>
              <a:off x="729238" y="1179665"/>
              <a:ext cx="80700" cy="1526144"/>
              <a:chOff x="729238" y="1179665"/>
              <a:chExt cx="80700" cy="1526144"/>
            </a:xfrm>
          </p:grpSpPr>
          <p:sp>
            <p:nvSpPr>
              <p:cNvPr id="9447" name="Google Shape;9447;p57"/>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8" name="Google Shape;9448;p57"/>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9" name="Google Shape;9449;p57"/>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0" name="Google Shape;9450;p57"/>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1" name="Google Shape;9451;p57"/>
              <p:cNvSpPr/>
              <p:nvPr/>
            </p:nvSpPr>
            <p:spPr>
              <a:xfrm>
                <a:off x="729238"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2" name="Google Shape;9452;p57"/>
              <p:cNvSpPr/>
              <p:nvPr/>
            </p:nvSpPr>
            <p:spPr>
              <a:xfrm>
                <a:off x="729238"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3" name="Google Shape;9453;p57"/>
              <p:cNvSpPr/>
              <p:nvPr/>
            </p:nvSpPr>
            <p:spPr>
              <a:xfrm>
                <a:off x="72923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4" name="Google Shape;9454;p57"/>
              <p:cNvSpPr/>
              <p:nvPr/>
            </p:nvSpPr>
            <p:spPr>
              <a:xfrm>
                <a:off x="72923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5" name="Google Shape;9455;p57"/>
              <p:cNvSpPr/>
              <p:nvPr/>
            </p:nvSpPr>
            <p:spPr>
              <a:xfrm>
                <a:off x="72923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6" name="Google Shape;9456;p57"/>
              <p:cNvSpPr/>
              <p:nvPr/>
            </p:nvSpPr>
            <p:spPr>
              <a:xfrm>
                <a:off x="72923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57" name="Google Shape;9457;p57"/>
            <p:cNvGrpSpPr/>
            <p:nvPr/>
          </p:nvGrpSpPr>
          <p:grpSpPr>
            <a:xfrm>
              <a:off x="903098" y="1179665"/>
              <a:ext cx="80700" cy="1526144"/>
              <a:chOff x="903098" y="1179665"/>
              <a:chExt cx="80700" cy="1526144"/>
            </a:xfrm>
          </p:grpSpPr>
          <p:sp>
            <p:nvSpPr>
              <p:cNvPr id="9458" name="Google Shape;9458;p57"/>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9" name="Google Shape;9459;p57"/>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0" name="Google Shape;9460;p57"/>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1" name="Google Shape;9461;p57"/>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2" name="Google Shape;9462;p57"/>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3" name="Google Shape;9463;p57"/>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4" name="Google Shape;9464;p57"/>
              <p:cNvSpPr/>
              <p:nvPr/>
            </p:nvSpPr>
            <p:spPr>
              <a:xfrm>
                <a:off x="903098"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5" name="Google Shape;9465;p57"/>
              <p:cNvSpPr/>
              <p:nvPr/>
            </p:nvSpPr>
            <p:spPr>
              <a:xfrm>
                <a:off x="90309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6" name="Google Shape;9466;p57"/>
              <p:cNvSpPr/>
              <p:nvPr/>
            </p:nvSpPr>
            <p:spPr>
              <a:xfrm>
                <a:off x="90309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7" name="Google Shape;9467;p57"/>
              <p:cNvSpPr/>
              <p:nvPr/>
            </p:nvSpPr>
            <p:spPr>
              <a:xfrm>
                <a:off x="90309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68" name="Google Shape;9468;p57"/>
            <p:cNvGrpSpPr/>
            <p:nvPr/>
          </p:nvGrpSpPr>
          <p:grpSpPr>
            <a:xfrm>
              <a:off x="1076958" y="1179665"/>
              <a:ext cx="80700" cy="1526144"/>
              <a:chOff x="1076958" y="1179665"/>
              <a:chExt cx="80700" cy="1526144"/>
            </a:xfrm>
          </p:grpSpPr>
          <p:sp>
            <p:nvSpPr>
              <p:cNvPr id="9469" name="Google Shape;9469;p57"/>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0" name="Google Shape;9470;p57"/>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1" name="Google Shape;9471;p57"/>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2" name="Google Shape;9472;p57"/>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3" name="Google Shape;9473;p57"/>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4" name="Google Shape;9474;p57"/>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5" name="Google Shape;9475;p57"/>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6" name="Google Shape;9476;p57"/>
              <p:cNvSpPr/>
              <p:nvPr/>
            </p:nvSpPr>
            <p:spPr>
              <a:xfrm>
                <a:off x="1076958"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7" name="Google Shape;9477;p57"/>
              <p:cNvSpPr/>
              <p:nvPr/>
            </p:nvSpPr>
            <p:spPr>
              <a:xfrm>
                <a:off x="1076958"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8" name="Google Shape;9478;p57"/>
              <p:cNvSpPr/>
              <p:nvPr/>
            </p:nvSpPr>
            <p:spPr>
              <a:xfrm>
                <a:off x="1076958"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79" name="Google Shape;9479;p57"/>
            <p:cNvGrpSpPr/>
            <p:nvPr/>
          </p:nvGrpSpPr>
          <p:grpSpPr>
            <a:xfrm>
              <a:off x="1247707" y="1179665"/>
              <a:ext cx="80700" cy="1526144"/>
              <a:chOff x="1247707" y="1179665"/>
              <a:chExt cx="80700" cy="1526144"/>
            </a:xfrm>
          </p:grpSpPr>
          <p:sp>
            <p:nvSpPr>
              <p:cNvPr id="9480" name="Google Shape;9480;p57"/>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1" name="Google Shape;9481;p57"/>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2" name="Google Shape;9482;p57"/>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3" name="Google Shape;9483;p57"/>
              <p:cNvSpPr/>
              <p:nvPr/>
            </p:nvSpPr>
            <p:spPr>
              <a:xfrm>
                <a:off x="1247707" y="166175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4" name="Google Shape;9484;p57"/>
              <p:cNvSpPr/>
              <p:nvPr/>
            </p:nvSpPr>
            <p:spPr>
              <a:xfrm>
                <a:off x="1247707"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5" name="Google Shape;9485;p57"/>
              <p:cNvSpPr/>
              <p:nvPr/>
            </p:nvSpPr>
            <p:spPr>
              <a:xfrm>
                <a:off x="1247707"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6" name="Google Shape;9486;p57"/>
              <p:cNvSpPr/>
              <p:nvPr/>
            </p:nvSpPr>
            <p:spPr>
              <a:xfrm>
                <a:off x="124770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7" name="Google Shape;9487;p57"/>
              <p:cNvSpPr/>
              <p:nvPr/>
            </p:nvSpPr>
            <p:spPr>
              <a:xfrm>
                <a:off x="124770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8" name="Google Shape;9488;p57"/>
              <p:cNvSpPr/>
              <p:nvPr/>
            </p:nvSpPr>
            <p:spPr>
              <a:xfrm>
                <a:off x="124770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9" name="Google Shape;9489;p57"/>
              <p:cNvSpPr/>
              <p:nvPr/>
            </p:nvSpPr>
            <p:spPr>
              <a:xfrm>
                <a:off x="124770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490" name="Google Shape;9490;p57"/>
            <p:cNvGrpSpPr/>
            <p:nvPr/>
          </p:nvGrpSpPr>
          <p:grpSpPr>
            <a:xfrm>
              <a:off x="1421567" y="1179665"/>
              <a:ext cx="80700" cy="1526144"/>
              <a:chOff x="1421567" y="1179665"/>
              <a:chExt cx="80700" cy="1526144"/>
            </a:xfrm>
          </p:grpSpPr>
          <p:sp>
            <p:nvSpPr>
              <p:cNvPr id="9491" name="Google Shape;9491;p57"/>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2" name="Google Shape;9492;p57"/>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3" name="Google Shape;9493;p57"/>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4" name="Google Shape;9494;p57"/>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5" name="Google Shape;9495;p57"/>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6" name="Google Shape;9496;p57"/>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7" name="Google Shape;9497;p57"/>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8" name="Google Shape;9498;p57"/>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9" name="Google Shape;9499;p57"/>
              <p:cNvSpPr/>
              <p:nvPr/>
            </p:nvSpPr>
            <p:spPr>
              <a:xfrm>
                <a:off x="142156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0" name="Google Shape;9500;p57"/>
              <p:cNvSpPr/>
              <p:nvPr/>
            </p:nvSpPr>
            <p:spPr>
              <a:xfrm>
                <a:off x="142156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01" name="Google Shape;9501;p57"/>
            <p:cNvGrpSpPr/>
            <p:nvPr/>
          </p:nvGrpSpPr>
          <p:grpSpPr>
            <a:xfrm>
              <a:off x="1592327" y="1179665"/>
              <a:ext cx="80700" cy="1526144"/>
              <a:chOff x="1592327" y="1179665"/>
              <a:chExt cx="80700" cy="1526144"/>
            </a:xfrm>
          </p:grpSpPr>
          <p:sp>
            <p:nvSpPr>
              <p:cNvPr id="9502" name="Google Shape;9502;p57"/>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3" name="Google Shape;9503;p57"/>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4" name="Google Shape;9504;p57"/>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5" name="Google Shape;9505;p57"/>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6" name="Google Shape;9506;p57"/>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7" name="Google Shape;9507;p57"/>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8" name="Google Shape;9508;p57"/>
              <p:cNvSpPr/>
              <p:nvPr/>
            </p:nvSpPr>
            <p:spPr>
              <a:xfrm>
                <a:off x="1592327"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9" name="Google Shape;9509;p57"/>
              <p:cNvSpPr/>
              <p:nvPr/>
            </p:nvSpPr>
            <p:spPr>
              <a:xfrm>
                <a:off x="1592327"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0" name="Google Shape;9510;p57"/>
              <p:cNvSpPr/>
              <p:nvPr/>
            </p:nvSpPr>
            <p:spPr>
              <a:xfrm>
                <a:off x="1592327"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1" name="Google Shape;9511;p57"/>
              <p:cNvSpPr/>
              <p:nvPr/>
            </p:nvSpPr>
            <p:spPr>
              <a:xfrm>
                <a:off x="159232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2" name="Google Shape;9512;p57"/>
            <p:cNvGrpSpPr/>
            <p:nvPr/>
          </p:nvGrpSpPr>
          <p:grpSpPr>
            <a:xfrm>
              <a:off x="1766187" y="1179665"/>
              <a:ext cx="80700" cy="1526144"/>
              <a:chOff x="1766187" y="1179665"/>
              <a:chExt cx="80700" cy="1526144"/>
            </a:xfrm>
          </p:grpSpPr>
          <p:sp>
            <p:nvSpPr>
              <p:cNvPr id="9513" name="Google Shape;9513;p57"/>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4" name="Google Shape;9514;p57"/>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5" name="Google Shape;9515;p57"/>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6" name="Google Shape;9516;p57"/>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7" name="Google Shape;9517;p57"/>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8" name="Google Shape;9518;p57"/>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9" name="Google Shape;9519;p57"/>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0" name="Google Shape;9520;p57"/>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1" name="Google Shape;9521;p57"/>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2" name="Google Shape;9522;p57"/>
              <p:cNvSpPr/>
              <p:nvPr/>
            </p:nvSpPr>
            <p:spPr>
              <a:xfrm>
                <a:off x="1766187"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23" name="Google Shape;9523;p57"/>
            <p:cNvGrpSpPr/>
            <p:nvPr/>
          </p:nvGrpSpPr>
          <p:grpSpPr>
            <a:xfrm>
              <a:off x="1936935" y="1179665"/>
              <a:ext cx="80700" cy="1526144"/>
              <a:chOff x="1936935" y="1179665"/>
              <a:chExt cx="80700" cy="1526144"/>
            </a:xfrm>
          </p:grpSpPr>
          <p:sp>
            <p:nvSpPr>
              <p:cNvPr id="9524" name="Google Shape;9524;p57"/>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5" name="Google Shape;9525;p57"/>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6" name="Google Shape;9526;p57"/>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7" name="Google Shape;9527;p57"/>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8" name="Google Shape;9528;p57"/>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9" name="Google Shape;9529;p57"/>
              <p:cNvSpPr/>
              <p:nvPr/>
            </p:nvSpPr>
            <p:spPr>
              <a:xfrm>
                <a:off x="193693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0" name="Google Shape;9530;p57"/>
              <p:cNvSpPr/>
              <p:nvPr/>
            </p:nvSpPr>
            <p:spPr>
              <a:xfrm>
                <a:off x="193693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1" name="Google Shape;9531;p57"/>
              <p:cNvSpPr/>
              <p:nvPr/>
            </p:nvSpPr>
            <p:spPr>
              <a:xfrm>
                <a:off x="193693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2" name="Google Shape;9532;p57"/>
              <p:cNvSpPr/>
              <p:nvPr/>
            </p:nvSpPr>
            <p:spPr>
              <a:xfrm>
                <a:off x="193693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3" name="Google Shape;9533;p57"/>
              <p:cNvSpPr/>
              <p:nvPr/>
            </p:nvSpPr>
            <p:spPr>
              <a:xfrm>
                <a:off x="193693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34" name="Google Shape;9534;p57"/>
            <p:cNvGrpSpPr/>
            <p:nvPr/>
          </p:nvGrpSpPr>
          <p:grpSpPr>
            <a:xfrm>
              <a:off x="2110795" y="1179665"/>
              <a:ext cx="80700" cy="1526144"/>
              <a:chOff x="2110795" y="1179665"/>
              <a:chExt cx="80700" cy="1526144"/>
            </a:xfrm>
          </p:grpSpPr>
          <p:sp>
            <p:nvSpPr>
              <p:cNvPr id="9535" name="Google Shape;9535;p57"/>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6" name="Google Shape;9536;p57"/>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7" name="Google Shape;9537;p57"/>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8" name="Google Shape;9538;p57"/>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9" name="Google Shape;9539;p57"/>
              <p:cNvSpPr/>
              <p:nvPr/>
            </p:nvSpPr>
            <p:spPr>
              <a:xfrm>
                <a:off x="2110795" y="1821630"/>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0" name="Google Shape;9540;p57"/>
              <p:cNvSpPr/>
              <p:nvPr/>
            </p:nvSpPr>
            <p:spPr>
              <a:xfrm>
                <a:off x="2110795" y="1982326"/>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1" name="Google Shape;9541;p57"/>
              <p:cNvSpPr/>
              <p:nvPr/>
            </p:nvSpPr>
            <p:spPr>
              <a:xfrm>
                <a:off x="211079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2" name="Google Shape;9542;p57"/>
              <p:cNvSpPr/>
              <p:nvPr/>
            </p:nvSpPr>
            <p:spPr>
              <a:xfrm>
                <a:off x="211079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3" name="Google Shape;9543;p57"/>
              <p:cNvSpPr/>
              <p:nvPr/>
            </p:nvSpPr>
            <p:spPr>
              <a:xfrm>
                <a:off x="211079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4" name="Google Shape;9544;p57"/>
              <p:cNvSpPr/>
              <p:nvPr/>
            </p:nvSpPr>
            <p:spPr>
              <a:xfrm>
                <a:off x="211079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45" name="Google Shape;9545;p57"/>
            <p:cNvGrpSpPr/>
            <p:nvPr/>
          </p:nvGrpSpPr>
          <p:grpSpPr>
            <a:xfrm>
              <a:off x="2284655" y="1179665"/>
              <a:ext cx="80700" cy="1526144"/>
              <a:chOff x="2284655" y="1179665"/>
              <a:chExt cx="80700" cy="1526144"/>
            </a:xfrm>
          </p:grpSpPr>
          <p:sp>
            <p:nvSpPr>
              <p:cNvPr id="9546" name="Google Shape;9546;p57"/>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7" name="Google Shape;9547;p57"/>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8" name="Google Shape;9548;p57"/>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9" name="Google Shape;9549;p57"/>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0" name="Google Shape;9550;p57"/>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1" name="Google Shape;9551;p57"/>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2" name="Google Shape;9552;p57"/>
              <p:cNvSpPr/>
              <p:nvPr/>
            </p:nvSpPr>
            <p:spPr>
              <a:xfrm>
                <a:off x="2284655" y="2143022"/>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3" name="Google Shape;9553;p57"/>
              <p:cNvSpPr/>
              <p:nvPr/>
            </p:nvSpPr>
            <p:spPr>
              <a:xfrm>
                <a:off x="2284655" y="2303717"/>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4" name="Google Shape;9554;p57"/>
              <p:cNvSpPr/>
              <p:nvPr/>
            </p:nvSpPr>
            <p:spPr>
              <a:xfrm>
                <a:off x="2284655" y="2464413"/>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5" name="Google Shape;9555;p57"/>
              <p:cNvSpPr/>
              <p:nvPr/>
            </p:nvSpPr>
            <p:spPr>
              <a:xfrm>
                <a:off x="2284655" y="2625109"/>
                <a:ext cx="80700" cy="80700"/>
              </a:xfrm>
              <a:prstGeom prst="rect">
                <a:avLst/>
              </a:pr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56" name="Google Shape;9556;p57"/>
          <p:cNvGrpSpPr/>
          <p:nvPr/>
        </p:nvGrpSpPr>
        <p:grpSpPr>
          <a:xfrm>
            <a:off x="2623904" y="1198803"/>
            <a:ext cx="1364248" cy="1102133"/>
            <a:chOff x="2623904" y="1198803"/>
            <a:chExt cx="1364248" cy="1102133"/>
          </a:xfrm>
        </p:grpSpPr>
        <p:grpSp>
          <p:nvGrpSpPr>
            <p:cNvPr id="9557" name="Google Shape;9557;p57"/>
            <p:cNvGrpSpPr/>
            <p:nvPr/>
          </p:nvGrpSpPr>
          <p:grpSpPr>
            <a:xfrm>
              <a:off x="2623907" y="1198803"/>
              <a:ext cx="1364245" cy="273000"/>
              <a:chOff x="2623907" y="1198803"/>
              <a:chExt cx="1364245" cy="273000"/>
            </a:xfrm>
          </p:grpSpPr>
          <p:sp>
            <p:nvSpPr>
              <p:cNvPr id="9558" name="Google Shape;9558;p57"/>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9" name="Google Shape;9559;p57"/>
              <p:cNvSpPr/>
              <p:nvPr/>
            </p:nvSpPr>
            <p:spPr>
              <a:xfrm>
                <a:off x="2623907"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0" name="Google Shape;9560;p57"/>
              <p:cNvSpPr/>
              <p:nvPr/>
            </p:nvSpPr>
            <p:spPr>
              <a:xfrm>
                <a:off x="2896718"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1" name="Google Shape;9561;p57"/>
              <p:cNvSpPr/>
              <p:nvPr/>
            </p:nvSpPr>
            <p:spPr>
              <a:xfrm>
                <a:off x="3169529"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2" name="Google Shape;9562;p57"/>
              <p:cNvSpPr/>
              <p:nvPr/>
            </p:nvSpPr>
            <p:spPr>
              <a:xfrm>
                <a:off x="3442341" y="1198803"/>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3" name="Google Shape;9563;p57"/>
            <p:cNvGrpSpPr/>
            <p:nvPr/>
          </p:nvGrpSpPr>
          <p:grpSpPr>
            <a:xfrm>
              <a:off x="2623904" y="1476964"/>
              <a:ext cx="1364245" cy="273000"/>
              <a:chOff x="2623904" y="1476964"/>
              <a:chExt cx="1364245" cy="273000"/>
            </a:xfrm>
          </p:grpSpPr>
          <p:sp>
            <p:nvSpPr>
              <p:cNvPr id="9564" name="Google Shape;9564;p57"/>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5" name="Google Shape;9565;p57"/>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6" name="Google Shape;9566;p57"/>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7" name="Google Shape;9567;p57"/>
              <p:cNvSpPr/>
              <p:nvPr/>
            </p:nvSpPr>
            <p:spPr>
              <a:xfrm>
                <a:off x="2623904"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8" name="Google Shape;9568;p57"/>
              <p:cNvSpPr/>
              <p:nvPr/>
            </p:nvSpPr>
            <p:spPr>
              <a:xfrm>
                <a:off x="2896716" y="1476964"/>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69" name="Google Shape;9569;p57"/>
            <p:cNvGrpSpPr/>
            <p:nvPr/>
          </p:nvGrpSpPr>
          <p:grpSpPr>
            <a:xfrm>
              <a:off x="2623907" y="1749775"/>
              <a:ext cx="1364245" cy="273000"/>
              <a:chOff x="2623907" y="1749775"/>
              <a:chExt cx="1364245" cy="273000"/>
            </a:xfrm>
          </p:grpSpPr>
          <p:sp>
            <p:nvSpPr>
              <p:cNvPr id="9570" name="Google Shape;9570;p57"/>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1" name="Google Shape;9571;p57"/>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2" name="Google Shape;9572;p57"/>
              <p:cNvSpPr/>
              <p:nvPr/>
            </p:nvSpPr>
            <p:spPr>
              <a:xfrm>
                <a:off x="2623907"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3" name="Google Shape;9573;p57"/>
              <p:cNvSpPr/>
              <p:nvPr/>
            </p:nvSpPr>
            <p:spPr>
              <a:xfrm>
                <a:off x="2896718"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4" name="Google Shape;9574;p57"/>
              <p:cNvSpPr/>
              <p:nvPr/>
            </p:nvSpPr>
            <p:spPr>
              <a:xfrm>
                <a:off x="3169529" y="1749775"/>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75" name="Google Shape;9575;p57"/>
            <p:cNvGrpSpPr/>
            <p:nvPr/>
          </p:nvGrpSpPr>
          <p:grpSpPr>
            <a:xfrm>
              <a:off x="2623904" y="2027936"/>
              <a:ext cx="1364245" cy="273000"/>
              <a:chOff x="2623904" y="2027936"/>
              <a:chExt cx="1364245" cy="273000"/>
            </a:xfrm>
          </p:grpSpPr>
          <p:sp>
            <p:nvSpPr>
              <p:cNvPr id="9576" name="Google Shape;9576;p57"/>
              <p:cNvSpPr/>
              <p:nvPr/>
            </p:nvSpPr>
            <p:spPr>
              <a:xfrm>
                <a:off x="2623904"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7" name="Google Shape;9577;p57"/>
              <p:cNvSpPr/>
              <p:nvPr/>
            </p:nvSpPr>
            <p:spPr>
              <a:xfrm>
                <a:off x="2896716"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8" name="Google Shape;9578;p57"/>
              <p:cNvSpPr/>
              <p:nvPr/>
            </p:nvSpPr>
            <p:spPr>
              <a:xfrm>
                <a:off x="3169527"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9" name="Google Shape;9579;p57"/>
              <p:cNvSpPr/>
              <p:nvPr/>
            </p:nvSpPr>
            <p:spPr>
              <a:xfrm>
                <a:off x="3442338"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0" name="Google Shape;9580;p57"/>
              <p:cNvSpPr/>
              <p:nvPr/>
            </p:nvSpPr>
            <p:spPr>
              <a:xfrm>
                <a:off x="3715149" y="2027936"/>
                <a:ext cx="273000" cy="273000"/>
              </a:xfrm>
              <a:prstGeom prst="diamond">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581" name="Google Shape;9581;p57"/>
          <p:cNvGrpSpPr/>
          <p:nvPr/>
        </p:nvGrpSpPr>
        <p:grpSpPr>
          <a:xfrm>
            <a:off x="2613365" y="2657986"/>
            <a:ext cx="1387541" cy="159124"/>
            <a:chOff x="3200660" y="2180272"/>
            <a:chExt cx="2563824" cy="378237"/>
          </a:xfrm>
        </p:grpSpPr>
        <p:sp>
          <p:nvSpPr>
            <p:cNvPr id="9582" name="Google Shape;9582;p57"/>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3" name="Google Shape;9583;p57"/>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4" name="Google Shape;9584;p57"/>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5" name="Google Shape;9585;p57"/>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6" name="Google Shape;9586;p57"/>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7" name="Google Shape;9587;p57"/>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8" name="Google Shape;9588;p57"/>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9" name="Google Shape;9589;p57"/>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0" name="Google Shape;9590;p57"/>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1" name="Google Shape;9591;p57"/>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2" name="Google Shape;9592;p57"/>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3" name="Google Shape;9593;p57"/>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4" name="Google Shape;9594;p57"/>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5" name="Google Shape;9595;p57"/>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6" name="Google Shape;9596;p57"/>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7" name="Google Shape;9597;p57"/>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8" name="Google Shape;9598;p57"/>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9" name="Google Shape;9599;p57"/>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0" name="Google Shape;9600;p57"/>
          <p:cNvGrpSpPr/>
          <p:nvPr/>
        </p:nvGrpSpPr>
        <p:grpSpPr>
          <a:xfrm>
            <a:off x="2609890" y="2935811"/>
            <a:ext cx="1390502" cy="159625"/>
            <a:chOff x="3530150" y="2790075"/>
            <a:chExt cx="1962600" cy="225300"/>
          </a:xfrm>
        </p:grpSpPr>
        <p:sp>
          <p:nvSpPr>
            <p:cNvPr id="9601" name="Google Shape;9601;p57"/>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2" name="Google Shape;9602;p57"/>
            <p:cNvSpPr/>
            <p:nvPr/>
          </p:nvSpPr>
          <p:spPr>
            <a:xfrm>
              <a:off x="3535069" y="2794464"/>
              <a:ext cx="1104900" cy="216900"/>
            </a:xfrm>
            <a:prstGeom prst="rect">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3" name="Google Shape;9603;p57"/>
          <p:cNvGrpSpPr/>
          <p:nvPr/>
        </p:nvGrpSpPr>
        <p:grpSpPr>
          <a:xfrm>
            <a:off x="2610543" y="3214137"/>
            <a:ext cx="1411629" cy="153761"/>
            <a:chOff x="3558802" y="4011427"/>
            <a:chExt cx="1866000" cy="111300"/>
          </a:xfrm>
        </p:grpSpPr>
        <p:sp>
          <p:nvSpPr>
            <p:cNvPr id="9604" name="Google Shape;9604;p57"/>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5" name="Google Shape;9605;p57"/>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06" name="Google Shape;9606;p57"/>
          <p:cNvGrpSpPr/>
          <p:nvPr/>
        </p:nvGrpSpPr>
        <p:grpSpPr>
          <a:xfrm>
            <a:off x="2610235" y="2419536"/>
            <a:ext cx="1383503" cy="119749"/>
            <a:chOff x="3465975" y="2270276"/>
            <a:chExt cx="1986364" cy="171929"/>
          </a:xfrm>
        </p:grpSpPr>
        <p:sp>
          <p:nvSpPr>
            <p:cNvPr id="9607" name="Google Shape;9607;p57"/>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8" name="Google Shape;9608;p57"/>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9" name="Google Shape;9609;p57"/>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0" name="Google Shape;9610;p57"/>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1" name="Google Shape;9611;p57"/>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2" name="Google Shape;9612;p57"/>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3" name="Google Shape;9613;p57"/>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4" name="Google Shape;9614;p57"/>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15" name="Google Shape;9615;p57"/>
          <p:cNvGrpSpPr/>
          <p:nvPr/>
        </p:nvGrpSpPr>
        <p:grpSpPr>
          <a:xfrm>
            <a:off x="2621243" y="3783187"/>
            <a:ext cx="1369531" cy="195460"/>
            <a:chOff x="723300" y="4253549"/>
            <a:chExt cx="2276482" cy="324900"/>
          </a:xfrm>
        </p:grpSpPr>
        <p:sp>
          <p:nvSpPr>
            <p:cNvPr id="9616" name="Google Shape;9616;p57"/>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7" name="Google Shape;9617;p57"/>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8" name="Google Shape;9618;p57"/>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9" name="Google Shape;9619;p57"/>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0" name="Google Shape;9620;p57"/>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1" name="Google Shape;9621;p57"/>
          <p:cNvGrpSpPr/>
          <p:nvPr/>
        </p:nvGrpSpPr>
        <p:grpSpPr>
          <a:xfrm>
            <a:off x="2610803" y="3484367"/>
            <a:ext cx="1389066" cy="180119"/>
            <a:chOff x="705948" y="3788465"/>
            <a:chExt cx="2308953" cy="299400"/>
          </a:xfrm>
        </p:grpSpPr>
        <p:sp>
          <p:nvSpPr>
            <p:cNvPr id="9622" name="Google Shape;9622;p57"/>
            <p:cNvSpPr/>
            <p:nvPr/>
          </p:nvSpPr>
          <p:spPr>
            <a:xfrm>
              <a:off x="705948"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3" name="Google Shape;9623;p57"/>
            <p:cNvSpPr/>
            <p:nvPr/>
          </p:nvSpPr>
          <p:spPr>
            <a:xfrm>
              <a:off x="1209923"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4" name="Google Shape;9624;p57"/>
            <p:cNvSpPr/>
            <p:nvPr/>
          </p:nvSpPr>
          <p:spPr>
            <a:xfrm>
              <a:off x="1713905" y="3788465"/>
              <a:ext cx="335400" cy="299400"/>
            </a:xfrm>
            <a:prstGeom prst="heart">
              <a:avLst/>
            </a:pr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5" name="Google Shape;9625;p57"/>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6" name="Google Shape;9626;p57"/>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27" name="Google Shape;9627;p57"/>
          <p:cNvGrpSpPr/>
          <p:nvPr/>
        </p:nvGrpSpPr>
        <p:grpSpPr>
          <a:xfrm>
            <a:off x="2658741" y="4097347"/>
            <a:ext cx="1304609" cy="294074"/>
            <a:chOff x="2658741" y="4097347"/>
            <a:chExt cx="1304609" cy="294074"/>
          </a:xfrm>
        </p:grpSpPr>
        <p:grpSp>
          <p:nvGrpSpPr>
            <p:cNvPr id="9628" name="Google Shape;9628;p57"/>
            <p:cNvGrpSpPr/>
            <p:nvPr/>
          </p:nvGrpSpPr>
          <p:grpSpPr>
            <a:xfrm>
              <a:off x="2658741" y="4097347"/>
              <a:ext cx="118572" cy="294074"/>
              <a:chOff x="3343310" y="4475555"/>
              <a:chExt cx="127717" cy="316753"/>
            </a:xfrm>
          </p:grpSpPr>
          <p:sp>
            <p:nvSpPr>
              <p:cNvPr id="9629" name="Google Shape;9629;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0" name="Google Shape;9630;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1" name="Google Shape;9631;p57"/>
            <p:cNvGrpSpPr/>
            <p:nvPr/>
          </p:nvGrpSpPr>
          <p:grpSpPr>
            <a:xfrm>
              <a:off x="3815519" y="4098388"/>
              <a:ext cx="147831" cy="291991"/>
              <a:chOff x="3527539" y="4476677"/>
              <a:chExt cx="159232" cy="314510"/>
            </a:xfrm>
          </p:grpSpPr>
          <p:sp>
            <p:nvSpPr>
              <p:cNvPr id="9632" name="Google Shape;9632;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3" name="Google Shape;9633;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4" name="Google Shape;9634;p57"/>
            <p:cNvGrpSpPr/>
            <p:nvPr/>
          </p:nvGrpSpPr>
          <p:grpSpPr>
            <a:xfrm>
              <a:off x="3511696" y="4098388"/>
              <a:ext cx="147831" cy="291991"/>
              <a:chOff x="3527539" y="4476677"/>
              <a:chExt cx="159232" cy="314510"/>
            </a:xfrm>
          </p:grpSpPr>
          <p:sp>
            <p:nvSpPr>
              <p:cNvPr id="9635" name="Google Shape;9635;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6" name="Google Shape;9636;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37" name="Google Shape;9637;p57"/>
            <p:cNvGrpSpPr/>
            <p:nvPr/>
          </p:nvGrpSpPr>
          <p:grpSpPr>
            <a:xfrm>
              <a:off x="3207874" y="4098388"/>
              <a:ext cx="147831" cy="291991"/>
              <a:chOff x="3527539" y="4476677"/>
              <a:chExt cx="159232" cy="314510"/>
            </a:xfrm>
          </p:grpSpPr>
          <p:sp>
            <p:nvSpPr>
              <p:cNvPr id="9638" name="Google Shape;9638;p57"/>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9" name="Google Shape;9639;p57"/>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40" name="Google Shape;9640;p57"/>
            <p:cNvGrpSpPr/>
            <p:nvPr/>
          </p:nvGrpSpPr>
          <p:grpSpPr>
            <a:xfrm>
              <a:off x="2933305" y="4097347"/>
              <a:ext cx="118572" cy="294074"/>
              <a:chOff x="3343310" y="4475555"/>
              <a:chExt cx="127717" cy="316753"/>
            </a:xfrm>
          </p:grpSpPr>
          <p:sp>
            <p:nvSpPr>
              <p:cNvPr id="9641" name="Google Shape;9641;p57"/>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2" name="Google Shape;9642;p57"/>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643" name="Google Shape;9643;p57"/>
          <p:cNvGrpSpPr/>
          <p:nvPr/>
        </p:nvGrpSpPr>
        <p:grpSpPr>
          <a:xfrm>
            <a:off x="4277571" y="2080469"/>
            <a:ext cx="1433821" cy="191501"/>
            <a:chOff x="4273350" y="2080469"/>
            <a:chExt cx="1433821" cy="191501"/>
          </a:xfrm>
        </p:grpSpPr>
        <p:grpSp>
          <p:nvGrpSpPr>
            <p:cNvPr id="9644" name="Google Shape;9644;p57"/>
            <p:cNvGrpSpPr/>
            <p:nvPr/>
          </p:nvGrpSpPr>
          <p:grpSpPr>
            <a:xfrm>
              <a:off x="4273350" y="2080469"/>
              <a:ext cx="1433821" cy="0"/>
              <a:chOff x="5224975" y="2962250"/>
              <a:chExt cx="1544400" cy="0"/>
            </a:xfrm>
          </p:grpSpPr>
          <p:cxnSp>
            <p:nvCxnSpPr>
              <p:cNvPr id="9645" name="Google Shape;9645;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6" name="Google Shape;9646;p57"/>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647" name="Google Shape;9647;p57"/>
            <p:cNvGrpSpPr/>
            <p:nvPr/>
          </p:nvGrpSpPr>
          <p:grpSpPr>
            <a:xfrm>
              <a:off x="4273350" y="2271969"/>
              <a:ext cx="1433821" cy="0"/>
              <a:chOff x="5224975" y="2962250"/>
              <a:chExt cx="1544400" cy="0"/>
            </a:xfrm>
          </p:grpSpPr>
          <p:cxnSp>
            <p:nvCxnSpPr>
              <p:cNvPr id="9648" name="Google Shape;9648;p57"/>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649" name="Google Shape;9649;p57"/>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650" name="Google Shape;9650;p57"/>
          <p:cNvGrpSpPr/>
          <p:nvPr/>
        </p:nvGrpSpPr>
        <p:grpSpPr>
          <a:xfrm>
            <a:off x="4279126" y="1183036"/>
            <a:ext cx="1430711" cy="743389"/>
            <a:chOff x="5159450" y="1919950"/>
            <a:chExt cx="1541050" cy="862500"/>
          </a:xfrm>
        </p:grpSpPr>
        <p:sp>
          <p:nvSpPr>
            <p:cNvPr id="9651" name="Google Shape;9651;p57"/>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652" name="Google Shape;9652;p57"/>
            <p:cNvGrpSpPr/>
            <p:nvPr/>
          </p:nvGrpSpPr>
          <p:grpSpPr>
            <a:xfrm>
              <a:off x="5159450" y="1919950"/>
              <a:ext cx="1541050" cy="862500"/>
              <a:chOff x="5159450" y="1919950"/>
              <a:chExt cx="1541050" cy="862500"/>
            </a:xfrm>
          </p:grpSpPr>
          <p:cxnSp>
            <p:nvCxnSpPr>
              <p:cNvPr id="9653" name="Google Shape;9653;p57"/>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654" name="Google Shape;9654;p57"/>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655" name="Google Shape;9655;p57"/>
          <p:cNvGrpSpPr/>
          <p:nvPr/>
        </p:nvGrpSpPr>
        <p:grpSpPr>
          <a:xfrm>
            <a:off x="4269239" y="2406364"/>
            <a:ext cx="1450484" cy="1052087"/>
            <a:chOff x="5230575" y="1554475"/>
            <a:chExt cx="2137150" cy="1550150"/>
          </a:xfrm>
        </p:grpSpPr>
        <p:sp>
          <p:nvSpPr>
            <p:cNvPr id="9656" name="Google Shape;9656;p57"/>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7" name="Google Shape;9657;p57"/>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8" name="Google Shape;9658;p57"/>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9" name="Google Shape;9659;p57"/>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0" name="Google Shape;9660;p57"/>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1" name="Google Shape;9661;p57"/>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2" name="Google Shape;9662;p57"/>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3" name="Google Shape;9663;p57"/>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4" name="Google Shape;9664;p57"/>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5" name="Google Shape;9665;p57"/>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6" name="Google Shape;9666;p57"/>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7" name="Google Shape;9667;p57"/>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8" name="Google Shape;9668;p57"/>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69" name="Google Shape;9669;p57"/>
          <p:cNvGrpSpPr/>
          <p:nvPr/>
        </p:nvGrpSpPr>
        <p:grpSpPr>
          <a:xfrm rot="10800000">
            <a:off x="4285790" y="3498553"/>
            <a:ext cx="1417383" cy="887946"/>
            <a:chOff x="5645403" y="2920021"/>
            <a:chExt cx="2650800" cy="2180614"/>
          </a:xfrm>
        </p:grpSpPr>
        <p:sp>
          <p:nvSpPr>
            <p:cNvPr id="9670" name="Google Shape;9670;p57"/>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1" name="Google Shape;9671;p57"/>
            <p:cNvCxnSpPr>
              <a:stCxn id="9670"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672" name="Google Shape;9672;p57"/>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3" name="Google Shape;9673;p57"/>
            <p:cNvCxnSpPr>
              <a:endCxn id="9672" idx="3"/>
            </p:cNvCxnSpPr>
            <p:nvPr/>
          </p:nvCxnSpPr>
          <p:spPr>
            <a:xfrm rot="10800000">
              <a:off x="8059040" y="3735533"/>
              <a:ext cx="135300" cy="0"/>
            </a:xfrm>
            <a:prstGeom prst="straightConnector1">
              <a:avLst/>
            </a:prstGeom>
            <a:noFill/>
            <a:ln w="9525" cap="flat" cmpd="sng">
              <a:solidFill>
                <a:srgbClr val="5F7D95"/>
              </a:solidFill>
              <a:prstDash val="solid"/>
              <a:round/>
              <a:headEnd type="none" w="med" len="med"/>
              <a:tailEnd type="none" w="med" len="med"/>
            </a:ln>
          </p:spPr>
        </p:cxnSp>
        <p:sp>
          <p:nvSpPr>
            <p:cNvPr id="9674" name="Google Shape;9674;p57"/>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5" name="Google Shape;9675;p57"/>
            <p:cNvCxnSpPr>
              <a:stCxn id="9674" idx="1"/>
            </p:cNvCxnSpPr>
            <p:nvPr/>
          </p:nvCxnSpPr>
          <p:spPr>
            <a:xfrm rot="10800000">
              <a:off x="6175222"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676" name="Google Shape;9676;p57"/>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677" name="Google Shape;9677;p57"/>
            <p:cNvCxnSpPr>
              <a:endCxn id="9676"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678" name="Google Shape;9678;p57"/>
          <p:cNvGrpSpPr/>
          <p:nvPr/>
        </p:nvGrpSpPr>
        <p:grpSpPr>
          <a:xfrm>
            <a:off x="7386150" y="2401908"/>
            <a:ext cx="1071743" cy="1021579"/>
            <a:chOff x="7189833" y="2022667"/>
            <a:chExt cx="1251159" cy="1192597"/>
          </a:xfrm>
        </p:grpSpPr>
        <p:sp>
          <p:nvSpPr>
            <p:cNvPr id="9679" name="Google Shape;9679;p57"/>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0" name="Google Shape;9680;p57"/>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1" name="Google Shape;9681;p57"/>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2" name="Google Shape;9682;p57"/>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83" name="Google Shape;9683;p57"/>
          <p:cNvGrpSpPr/>
          <p:nvPr/>
        </p:nvGrpSpPr>
        <p:grpSpPr>
          <a:xfrm>
            <a:off x="727421" y="2828315"/>
            <a:ext cx="1695374" cy="1560837"/>
            <a:chOff x="727421" y="2828315"/>
            <a:chExt cx="1695374" cy="1560837"/>
          </a:xfrm>
        </p:grpSpPr>
        <p:grpSp>
          <p:nvGrpSpPr>
            <p:cNvPr id="9684" name="Google Shape;9684;p57"/>
            <p:cNvGrpSpPr/>
            <p:nvPr/>
          </p:nvGrpSpPr>
          <p:grpSpPr>
            <a:xfrm>
              <a:off x="819108" y="2882501"/>
              <a:ext cx="103104" cy="1426186"/>
              <a:chOff x="4674013" y="3100904"/>
              <a:chExt cx="122758" cy="1698043"/>
            </a:xfrm>
          </p:grpSpPr>
          <p:sp>
            <p:nvSpPr>
              <p:cNvPr id="9685" name="Google Shape;9685;p57"/>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6" name="Google Shape;9686;p57"/>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7" name="Google Shape;9687;p57"/>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8" name="Google Shape;9688;p57"/>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9" name="Google Shape;9689;p57"/>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0" name="Google Shape;9690;p57"/>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1" name="Google Shape;9691;p57"/>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692" name="Google Shape;9692;p57"/>
            <p:cNvGrpSpPr/>
            <p:nvPr/>
          </p:nvGrpSpPr>
          <p:grpSpPr>
            <a:xfrm>
              <a:off x="1062475" y="2882501"/>
              <a:ext cx="103104" cy="1426186"/>
              <a:chOff x="4940438" y="3100904"/>
              <a:chExt cx="122758" cy="1698043"/>
            </a:xfrm>
          </p:grpSpPr>
          <p:sp>
            <p:nvSpPr>
              <p:cNvPr id="9693" name="Google Shape;9693;p57"/>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4" name="Google Shape;9694;p57"/>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5" name="Google Shape;9695;p57"/>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6" name="Google Shape;9696;p57"/>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7" name="Google Shape;9697;p57"/>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8" name="Google Shape;9698;p57"/>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9" name="Google Shape;9699;p57"/>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0" name="Google Shape;9700;p57"/>
            <p:cNvGrpSpPr/>
            <p:nvPr/>
          </p:nvGrpSpPr>
          <p:grpSpPr>
            <a:xfrm>
              <a:off x="1299324" y="2882501"/>
              <a:ext cx="103104" cy="1426186"/>
              <a:chOff x="5206863" y="3100904"/>
              <a:chExt cx="122758" cy="1698043"/>
            </a:xfrm>
          </p:grpSpPr>
          <p:sp>
            <p:nvSpPr>
              <p:cNvPr id="9701" name="Google Shape;9701;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2" name="Google Shape;9702;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3" name="Google Shape;9703;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4" name="Google Shape;9704;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5" name="Google Shape;9705;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6" name="Google Shape;9706;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7" name="Google Shape;9707;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08" name="Google Shape;9708;p57"/>
            <p:cNvGrpSpPr/>
            <p:nvPr/>
          </p:nvGrpSpPr>
          <p:grpSpPr>
            <a:xfrm>
              <a:off x="1786057" y="2882501"/>
              <a:ext cx="103104" cy="1426186"/>
              <a:chOff x="6006138" y="3143629"/>
              <a:chExt cx="122758" cy="1698043"/>
            </a:xfrm>
          </p:grpSpPr>
          <p:sp>
            <p:nvSpPr>
              <p:cNvPr id="9709" name="Google Shape;9709;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0" name="Google Shape;9710;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1" name="Google Shape;9711;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2" name="Google Shape;9712;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3" name="Google Shape;9713;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4" name="Google Shape;9714;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5" name="Google Shape;9715;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16" name="Google Shape;9716;p57"/>
            <p:cNvGrpSpPr/>
            <p:nvPr/>
          </p:nvGrpSpPr>
          <p:grpSpPr>
            <a:xfrm>
              <a:off x="2029422" y="2882501"/>
              <a:ext cx="103104" cy="1426186"/>
              <a:chOff x="6805413" y="3100904"/>
              <a:chExt cx="122758" cy="1698043"/>
            </a:xfrm>
          </p:grpSpPr>
          <p:sp>
            <p:nvSpPr>
              <p:cNvPr id="9717" name="Google Shape;9717;p57"/>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8" name="Google Shape;9718;p57"/>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9" name="Google Shape;9719;p57"/>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0" name="Google Shape;9720;p57"/>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1" name="Google Shape;9721;p57"/>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2" name="Google Shape;9722;p57"/>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3" name="Google Shape;9723;p57"/>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24" name="Google Shape;9724;p57"/>
            <p:cNvGrpSpPr/>
            <p:nvPr/>
          </p:nvGrpSpPr>
          <p:grpSpPr>
            <a:xfrm>
              <a:off x="727421" y="2828315"/>
              <a:ext cx="1695374" cy="1560837"/>
              <a:chOff x="734799" y="2782450"/>
              <a:chExt cx="1571100" cy="1577400"/>
            </a:xfrm>
          </p:grpSpPr>
          <p:cxnSp>
            <p:nvCxnSpPr>
              <p:cNvPr id="9725" name="Google Shape;9725;p57"/>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726" name="Google Shape;9726;p57"/>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727" name="Google Shape;9727;p57"/>
            <p:cNvGrpSpPr/>
            <p:nvPr/>
          </p:nvGrpSpPr>
          <p:grpSpPr>
            <a:xfrm>
              <a:off x="2272795" y="2882501"/>
              <a:ext cx="103104" cy="1426186"/>
              <a:chOff x="5206863" y="3100904"/>
              <a:chExt cx="122758" cy="1698043"/>
            </a:xfrm>
          </p:grpSpPr>
          <p:sp>
            <p:nvSpPr>
              <p:cNvPr id="9728" name="Google Shape;9728;p57"/>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9" name="Google Shape;9729;p57"/>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0" name="Google Shape;9730;p57"/>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1" name="Google Shape;9731;p57"/>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2" name="Google Shape;9732;p57"/>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3" name="Google Shape;9733;p57"/>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4" name="Google Shape;9734;p57"/>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35" name="Google Shape;9735;p57"/>
            <p:cNvGrpSpPr/>
            <p:nvPr/>
          </p:nvGrpSpPr>
          <p:grpSpPr>
            <a:xfrm>
              <a:off x="1542694" y="2882501"/>
              <a:ext cx="103104" cy="1426186"/>
              <a:chOff x="6006138" y="3143629"/>
              <a:chExt cx="122758" cy="1698043"/>
            </a:xfrm>
          </p:grpSpPr>
          <p:sp>
            <p:nvSpPr>
              <p:cNvPr id="9736" name="Google Shape;9736;p57"/>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7" name="Google Shape;9737;p57"/>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8" name="Google Shape;9738;p57"/>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9" name="Google Shape;9739;p57"/>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0" name="Google Shape;9740;p57"/>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1" name="Google Shape;9741;p57"/>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2" name="Google Shape;9742;p57"/>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743" name="Google Shape;9743;p57"/>
          <p:cNvGrpSpPr/>
          <p:nvPr/>
        </p:nvGrpSpPr>
        <p:grpSpPr>
          <a:xfrm>
            <a:off x="5936000" y="2405887"/>
            <a:ext cx="1248543" cy="1025319"/>
            <a:chOff x="5183758" y="1210600"/>
            <a:chExt cx="3605380" cy="2960783"/>
          </a:xfrm>
        </p:grpSpPr>
        <p:sp>
          <p:nvSpPr>
            <p:cNvPr id="9744" name="Google Shape;9744;p57"/>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5" name="Google Shape;9745;p57"/>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6" name="Google Shape;9746;p57"/>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7" name="Google Shape;9747;p57"/>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48" name="Google Shape;9748;p57"/>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749" name="Google Shape;9749;p57"/>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750" name="Google Shape;9750;p57"/>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751" name="Google Shape;9751;p57"/>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752" name="Google Shape;9752;p57"/>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53" name="Google Shape;9753;p57"/>
          <p:cNvGrpSpPr/>
          <p:nvPr/>
        </p:nvGrpSpPr>
        <p:grpSpPr>
          <a:xfrm>
            <a:off x="5793062" y="3544204"/>
            <a:ext cx="2664831" cy="843440"/>
            <a:chOff x="5916567" y="1099697"/>
            <a:chExt cx="2556683" cy="809211"/>
          </a:xfrm>
        </p:grpSpPr>
        <p:sp>
          <p:nvSpPr>
            <p:cNvPr id="9754" name="Google Shape;9754;p57"/>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5" name="Google Shape;9755;p57"/>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6" name="Google Shape;9756;p57"/>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7" name="Google Shape;9757;p57"/>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8" name="Google Shape;9758;p57"/>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9" name="Google Shape;9759;p57"/>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0" name="Google Shape;9760;p57"/>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1" name="Google Shape;9761;p57"/>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2" name="Google Shape;9762;p57"/>
          <p:cNvGrpSpPr/>
          <p:nvPr/>
        </p:nvGrpSpPr>
        <p:grpSpPr>
          <a:xfrm>
            <a:off x="5900602" y="1193063"/>
            <a:ext cx="1299851" cy="1023338"/>
            <a:chOff x="5900602" y="1193063"/>
            <a:chExt cx="1299851" cy="1023338"/>
          </a:xfrm>
        </p:grpSpPr>
        <p:grpSp>
          <p:nvGrpSpPr>
            <p:cNvPr id="9763" name="Google Shape;9763;p57"/>
            <p:cNvGrpSpPr/>
            <p:nvPr/>
          </p:nvGrpSpPr>
          <p:grpSpPr>
            <a:xfrm>
              <a:off x="6743564" y="1193063"/>
              <a:ext cx="456889" cy="700379"/>
              <a:chOff x="6743564" y="1193063"/>
              <a:chExt cx="456889" cy="700379"/>
            </a:xfrm>
          </p:grpSpPr>
          <p:grpSp>
            <p:nvGrpSpPr>
              <p:cNvPr id="9764" name="Google Shape;9764;p57"/>
              <p:cNvGrpSpPr/>
              <p:nvPr/>
            </p:nvGrpSpPr>
            <p:grpSpPr>
              <a:xfrm>
                <a:off x="6743564" y="1690731"/>
                <a:ext cx="214402" cy="202710"/>
                <a:chOff x="6743564" y="1690731"/>
                <a:chExt cx="214402" cy="202710"/>
              </a:xfrm>
            </p:grpSpPr>
            <p:sp>
              <p:nvSpPr>
                <p:cNvPr id="9765" name="Google Shape;9765;p57"/>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6" name="Google Shape;9766;p57"/>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67" name="Google Shape;9767;p57"/>
              <p:cNvGrpSpPr/>
              <p:nvPr/>
            </p:nvGrpSpPr>
            <p:grpSpPr>
              <a:xfrm>
                <a:off x="6915505" y="1193063"/>
                <a:ext cx="284947" cy="589637"/>
                <a:chOff x="6915505" y="1193063"/>
                <a:chExt cx="284947" cy="589637"/>
              </a:xfrm>
            </p:grpSpPr>
            <p:sp>
              <p:nvSpPr>
                <p:cNvPr id="9768" name="Google Shape;9768;p57"/>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69" name="Google Shape;9769;p57"/>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770" name="Google Shape;9770;p57"/>
            <p:cNvGrpSpPr/>
            <p:nvPr/>
          </p:nvGrpSpPr>
          <p:grpSpPr>
            <a:xfrm>
              <a:off x="6520337" y="1193063"/>
              <a:ext cx="341815" cy="801589"/>
              <a:chOff x="6520337" y="1193063"/>
              <a:chExt cx="341815" cy="801589"/>
            </a:xfrm>
          </p:grpSpPr>
          <p:grpSp>
            <p:nvGrpSpPr>
              <p:cNvPr id="9771" name="Google Shape;9771;p57"/>
              <p:cNvGrpSpPr/>
              <p:nvPr/>
            </p:nvGrpSpPr>
            <p:grpSpPr>
              <a:xfrm>
                <a:off x="6520337" y="1589527"/>
                <a:ext cx="213950" cy="405125"/>
                <a:chOff x="6520337" y="1589527"/>
                <a:chExt cx="213950" cy="405125"/>
              </a:xfrm>
            </p:grpSpPr>
            <p:sp>
              <p:nvSpPr>
                <p:cNvPr id="9772" name="Google Shape;9772;p57"/>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3" name="Google Shape;9773;p57"/>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74" name="Google Shape;9774;p57"/>
              <p:cNvGrpSpPr/>
              <p:nvPr/>
            </p:nvGrpSpPr>
            <p:grpSpPr>
              <a:xfrm>
                <a:off x="6577204" y="1193063"/>
                <a:ext cx="284947" cy="453562"/>
                <a:chOff x="6577204" y="1193063"/>
                <a:chExt cx="284947" cy="453562"/>
              </a:xfrm>
            </p:grpSpPr>
            <p:sp>
              <p:nvSpPr>
                <p:cNvPr id="9775" name="Google Shape;9775;p57"/>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76" name="Google Shape;9776;p57"/>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777" name="Google Shape;9777;p57"/>
            <p:cNvGrpSpPr/>
            <p:nvPr/>
          </p:nvGrpSpPr>
          <p:grpSpPr>
            <a:xfrm>
              <a:off x="6238903" y="1193063"/>
              <a:ext cx="300475" cy="901782"/>
              <a:chOff x="6238903" y="1193063"/>
              <a:chExt cx="300475" cy="901782"/>
            </a:xfrm>
          </p:grpSpPr>
          <p:grpSp>
            <p:nvGrpSpPr>
              <p:cNvPr id="9778" name="Google Shape;9778;p57"/>
              <p:cNvGrpSpPr/>
              <p:nvPr/>
            </p:nvGrpSpPr>
            <p:grpSpPr>
              <a:xfrm>
                <a:off x="6290865" y="1489315"/>
                <a:ext cx="248514" cy="605530"/>
                <a:chOff x="6290865" y="1489315"/>
                <a:chExt cx="248514" cy="605530"/>
              </a:xfrm>
            </p:grpSpPr>
            <p:sp>
              <p:nvSpPr>
                <p:cNvPr id="9779" name="Google Shape;9779;p57"/>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0" name="Google Shape;9780;p57"/>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1" name="Google Shape;9781;p57"/>
              <p:cNvGrpSpPr/>
              <p:nvPr/>
            </p:nvGrpSpPr>
            <p:grpSpPr>
              <a:xfrm>
                <a:off x="6238903" y="1193063"/>
                <a:ext cx="284947" cy="327512"/>
                <a:chOff x="6238903" y="1193063"/>
                <a:chExt cx="284947" cy="327512"/>
              </a:xfrm>
            </p:grpSpPr>
            <p:sp>
              <p:nvSpPr>
                <p:cNvPr id="9782" name="Google Shape;9782;p57"/>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83" name="Google Shape;9783;p57"/>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784" name="Google Shape;9784;p57"/>
            <p:cNvGrpSpPr/>
            <p:nvPr/>
          </p:nvGrpSpPr>
          <p:grpSpPr>
            <a:xfrm>
              <a:off x="5900602" y="1193063"/>
              <a:ext cx="444345" cy="1023338"/>
              <a:chOff x="5900602" y="1193063"/>
              <a:chExt cx="444345" cy="1023338"/>
            </a:xfrm>
          </p:grpSpPr>
          <p:grpSp>
            <p:nvGrpSpPr>
              <p:cNvPr id="9785" name="Google Shape;9785;p57"/>
              <p:cNvGrpSpPr/>
              <p:nvPr/>
            </p:nvGrpSpPr>
            <p:grpSpPr>
              <a:xfrm>
                <a:off x="6046501" y="1367785"/>
                <a:ext cx="298446" cy="848616"/>
                <a:chOff x="6046501" y="1367785"/>
                <a:chExt cx="298446" cy="848616"/>
              </a:xfrm>
            </p:grpSpPr>
            <p:sp>
              <p:nvSpPr>
                <p:cNvPr id="9786" name="Google Shape;9786;p57"/>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7" name="Google Shape;9787;p57"/>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8" name="Google Shape;9788;p57"/>
              <p:cNvGrpSpPr/>
              <p:nvPr/>
            </p:nvGrpSpPr>
            <p:grpSpPr>
              <a:xfrm>
                <a:off x="5900602" y="1193063"/>
                <a:ext cx="284947" cy="182312"/>
                <a:chOff x="5900602" y="1193063"/>
                <a:chExt cx="284947" cy="182312"/>
              </a:xfrm>
            </p:grpSpPr>
            <p:sp>
              <p:nvSpPr>
                <p:cNvPr id="9789" name="Google Shape;9789;p57"/>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0" name="Google Shape;9790;p57"/>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791" name="Google Shape;9791;p57"/>
          <p:cNvGrpSpPr/>
          <p:nvPr/>
        </p:nvGrpSpPr>
        <p:grpSpPr>
          <a:xfrm>
            <a:off x="7238484" y="1193208"/>
            <a:ext cx="1219413" cy="1051365"/>
            <a:chOff x="7287122" y="1165658"/>
            <a:chExt cx="1219413" cy="1051365"/>
          </a:xfrm>
        </p:grpSpPr>
        <p:grpSp>
          <p:nvGrpSpPr>
            <p:cNvPr id="9792" name="Google Shape;9792;p57"/>
            <p:cNvGrpSpPr/>
            <p:nvPr/>
          </p:nvGrpSpPr>
          <p:grpSpPr>
            <a:xfrm>
              <a:off x="7287122" y="1969723"/>
              <a:ext cx="1219413" cy="247300"/>
              <a:chOff x="7287122" y="1969723"/>
              <a:chExt cx="1219413" cy="247300"/>
            </a:xfrm>
          </p:grpSpPr>
          <p:sp>
            <p:nvSpPr>
              <p:cNvPr id="9793" name="Google Shape;9793;p57"/>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4" name="Google Shape;9794;p57"/>
              <p:cNvGrpSpPr/>
              <p:nvPr/>
            </p:nvGrpSpPr>
            <p:grpSpPr>
              <a:xfrm>
                <a:off x="7287122" y="2063892"/>
                <a:ext cx="1151753" cy="73428"/>
                <a:chOff x="7287122" y="2063892"/>
                <a:chExt cx="1151753" cy="73428"/>
              </a:xfrm>
            </p:grpSpPr>
            <p:sp>
              <p:nvSpPr>
                <p:cNvPr id="9795" name="Google Shape;9795;p57"/>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796" name="Google Shape;9796;p57"/>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797" name="Google Shape;9797;p57"/>
            <p:cNvGrpSpPr/>
            <p:nvPr/>
          </p:nvGrpSpPr>
          <p:grpSpPr>
            <a:xfrm>
              <a:off x="7287122" y="1712201"/>
              <a:ext cx="1219403" cy="246767"/>
              <a:chOff x="7287122" y="1712201"/>
              <a:chExt cx="1219403" cy="246767"/>
            </a:xfrm>
          </p:grpSpPr>
          <p:sp>
            <p:nvSpPr>
              <p:cNvPr id="9798" name="Google Shape;9798;p57"/>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799" name="Google Shape;9799;p57"/>
              <p:cNvGrpSpPr/>
              <p:nvPr/>
            </p:nvGrpSpPr>
            <p:grpSpPr>
              <a:xfrm>
                <a:off x="7287122" y="1842861"/>
                <a:ext cx="1005303" cy="73419"/>
                <a:chOff x="7287122" y="1842861"/>
                <a:chExt cx="1005303" cy="73419"/>
              </a:xfrm>
            </p:grpSpPr>
            <p:sp>
              <p:nvSpPr>
                <p:cNvPr id="9800" name="Google Shape;9800;p57"/>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1" name="Google Shape;9801;p57"/>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802" name="Google Shape;9802;p57"/>
            <p:cNvGrpSpPr/>
            <p:nvPr/>
          </p:nvGrpSpPr>
          <p:grpSpPr>
            <a:xfrm>
              <a:off x="7287122" y="1447520"/>
              <a:ext cx="1219403" cy="286667"/>
              <a:chOff x="7287122" y="1447520"/>
              <a:chExt cx="1219403" cy="286667"/>
            </a:xfrm>
          </p:grpSpPr>
          <p:sp>
            <p:nvSpPr>
              <p:cNvPr id="9803" name="Google Shape;9803;p57"/>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4" name="Google Shape;9804;p57"/>
              <p:cNvGrpSpPr/>
              <p:nvPr/>
            </p:nvGrpSpPr>
            <p:grpSpPr>
              <a:xfrm>
                <a:off x="7287122" y="1581977"/>
                <a:ext cx="852803" cy="73428"/>
                <a:chOff x="7287122" y="1581977"/>
                <a:chExt cx="852803" cy="73428"/>
              </a:xfrm>
            </p:grpSpPr>
            <p:sp>
              <p:nvSpPr>
                <p:cNvPr id="9805" name="Google Shape;9805;p57"/>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06" name="Google Shape;9806;p57"/>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807" name="Google Shape;9807;p57"/>
            <p:cNvGrpSpPr/>
            <p:nvPr/>
          </p:nvGrpSpPr>
          <p:grpSpPr>
            <a:xfrm>
              <a:off x="7287122" y="1165658"/>
              <a:ext cx="1219403" cy="344253"/>
              <a:chOff x="7287122" y="1165658"/>
              <a:chExt cx="1219403" cy="344253"/>
            </a:xfrm>
          </p:grpSpPr>
          <p:sp>
            <p:nvSpPr>
              <p:cNvPr id="9808" name="Google Shape;9808;p57"/>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09" name="Google Shape;9809;p57"/>
              <p:cNvGrpSpPr/>
              <p:nvPr/>
            </p:nvGrpSpPr>
            <p:grpSpPr>
              <a:xfrm>
                <a:off x="7287122" y="1341025"/>
                <a:ext cx="695703" cy="73419"/>
                <a:chOff x="7287122" y="1341025"/>
                <a:chExt cx="695703" cy="73419"/>
              </a:xfrm>
            </p:grpSpPr>
            <p:sp>
              <p:nvSpPr>
                <p:cNvPr id="9810" name="Google Shape;9810;p57"/>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811" name="Google Shape;9811;p57"/>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9815"/>
        <p:cNvGrpSpPr/>
        <p:nvPr/>
      </p:nvGrpSpPr>
      <p:grpSpPr>
        <a:xfrm>
          <a:off x="0" y="0"/>
          <a:ext cx="0" cy="0"/>
          <a:chOff x="0" y="0"/>
          <a:chExt cx="0" cy="0"/>
        </a:xfrm>
      </p:grpSpPr>
      <p:sp>
        <p:nvSpPr>
          <p:cNvPr id="9816" name="Google Shape;9816;p58"/>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817" name="Google Shape;9817;p58"/>
          <p:cNvSpPr txBox="1">
            <a:spLocks noGrp="1"/>
          </p:cNvSpPr>
          <p:nvPr>
            <p:ph type="body" idx="4294967295"/>
          </p:nvPr>
        </p:nvSpPr>
        <p:spPr>
          <a:xfrm>
            <a:off x="828875" y="1610275"/>
            <a:ext cx="7525800" cy="482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without losing quality.</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lvl="0" indent="0" algn="ctr" rtl="0">
              <a:spcBef>
                <a:spcPts val="0"/>
              </a:spcBef>
              <a:spcAft>
                <a:spcPts val="0"/>
              </a:spcAft>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818" name="Google Shape;9818;p58"/>
          <p:cNvGrpSpPr/>
          <p:nvPr/>
        </p:nvGrpSpPr>
        <p:grpSpPr>
          <a:xfrm>
            <a:off x="866243" y="2291587"/>
            <a:ext cx="415546" cy="355053"/>
            <a:chOff x="866243" y="2291587"/>
            <a:chExt cx="415546" cy="355053"/>
          </a:xfrm>
        </p:grpSpPr>
        <p:sp>
          <p:nvSpPr>
            <p:cNvPr id="9819" name="Google Shape;9819;p58"/>
            <p:cNvSpPr/>
            <p:nvPr/>
          </p:nvSpPr>
          <p:spPr>
            <a:xfrm>
              <a:off x="1053756" y="2523748"/>
              <a:ext cx="103998" cy="81706"/>
            </a:xfrm>
            <a:custGeom>
              <a:avLst/>
              <a:gdLst/>
              <a:ahLst/>
              <a:cxnLst/>
              <a:rect l="l" t="t" r="r" b="b"/>
              <a:pathLst>
                <a:path w="3275" h="2573" extrusionOk="0">
                  <a:moveTo>
                    <a:pt x="2358" y="393"/>
                  </a:moveTo>
                  <a:cubicBezTo>
                    <a:pt x="2418" y="393"/>
                    <a:pt x="2465" y="429"/>
                    <a:pt x="2489" y="488"/>
                  </a:cubicBezTo>
                  <a:lnTo>
                    <a:pt x="2823" y="1262"/>
                  </a:lnTo>
                  <a:cubicBezTo>
                    <a:pt x="2846" y="1322"/>
                    <a:pt x="2823" y="1405"/>
                    <a:pt x="2739" y="1441"/>
                  </a:cubicBezTo>
                  <a:lnTo>
                    <a:pt x="989" y="2179"/>
                  </a:lnTo>
                  <a:cubicBezTo>
                    <a:pt x="977" y="2179"/>
                    <a:pt x="953" y="2203"/>
                    <a:pt x="929" y="2203"/>
                  </a:cubicBezTo>
                  <a:cubicBezTo>
                    <a:pt x="870" y="2203"/>
                    <a:pt x="822" y="2167"/>
                    <a:pt x="787" y="2108"/>
                  </a:cubicBezTo>
                  <a:lnTo>
                    <a:pt x="465" y="1334"/>
                  </a:lnTo>
                  <a:cubicBezTo>
                    <a:pt x="441" y="1262"/>
                    <a:pt x="465" y="1191"/>
                    <a:pt x="537" y="1155"/>
                  </a:cubicBezTo>
                  <a:lnTo>
                    <a:pt x="2299" y="417"/>
                  </a:lnTo>
                  <a:cubicBezTo>
                    <a:pt x="2311" y="417"/>
                    <a:pt x="2322" y="393"/>
                    <a:pt x="2358" y="393"/>
                  </a:cubicBezTo>
                  <a:close/>
                  <a:moveTo>
                    <a:pt x="2358" y="0"/>
                  </a:moveTo>
                  <a:cubicBezTo>
                    <a:pt x="2287" y="0"/>
                    <a:pt x="2227" y="12"/>
                    <a:pt x="2144" y="36"/>
                  </a:cubicBezTo>
                  <a:lnTo>
                    <a:pt x="394" y="786"/>
                  </a:lnTo>
                  <a:cubicBezTo>
                    <a:pt x="120" y="905"/>
                    <a:pt x="1" y="1203"/>
                    <a:pt x="108" y="1465"/>
                  </a:cubicBezTo>
                  <a:lnTo>
                    <a:pt x="429" y="2239"/>
                  </a:lnTo>
                  <a:cubicBezTo>
                    <a:pt x="525" y="2441"/>
                    <a:pt x="703" y="2572"/>
                    <a:pt x="929" y="2572"/>
                  </a:cubicBezTo>
                  <a:cubicBezTo>
                    <a:pt x="1001" y="2572"/>
                    <a:pt x="1060" y="2560"/>
                    <a:pt x="1132" y="2524"/>
                  </a:cubicBezTo>
                  <a:lnTo>
                    <a:pt x="2894" y="1786"/>
                  </a:lnTo>
                  <a:cubicBezTo>
                    <a:pt x="3156" y="1679"/>
                    <a:pt x="3275" y="1370"/>
                    <a:pt x="3180" y="1096"/>
                  </a:cubicBezTo>
                  <a:lnTo>
                    <a:pt x="2846" y="322"/>
                  </a:lnTo>
                  <a:cubicBezTo>
                    <a:pt x="2763" y="131"/>
                    <a:pt x="2584"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0" name="Google Shape;9820;p58"/>
            <p:cNvSpPr/>
            <p:nvPr/>
          </p:nvSpPr>
          <p:spPr>
            <a:xfrm>
              <a:off x="1076461" y="2409176"/>
              <a:ext cx="79419" cy="60525"/>
            </a:xfrm>
            <a:custGeom>
              <a:avLst/>
              <a:gdLst/>
              <a:ahLst/>
              <a:cxnLst/>
              <a:rect l="l" t="t" r="r" b="b"/>
              <a:pathLst>
                <a:path w="2501" h="1906" extrusionOk="0">
                  <a:moveTo>
                    <a:pt x="1250" y="370"/>
                  </a:moveTo>
                  <a:cubicBezTo>
                    <a:pt x="1715" y="370"/>
                    <a:pt x="2119" y="620"/>
                    <a:pt x="2119" y="941"/>
                  </a:cubicBezTo>
                  <a:cubicBezTo>
                    <a:pt x="2119" y="1251"/>
                    <a:pt x="1715" y="1501"/>
                    <a:pt x="1250" y="1501"/>
                  </a:cubicBezTo>
                  <a:cubicBezTo>
                    <a:pt x="798" y="1501"/>
                    <a:pt x="393" y="1251"/>
                    <a:pt x="393" y="941"/>
                  </a:cubicBezTo>
                  <a:cubicBezTo>
                    <a:pt x="393" y="620"/>
                    <a:pt x="786" y="370"/>
                    <a:pt x="1250" y="370"/>
                  </a:cubicBezTo>
                  <a:close/>
                  <a:moveTo>
                    <a:pt x="1250" y="1"/>
                  </a:moveTo>
                  <a:cubicBezTo>
                    <a:pt x="929" y="1"/>
                    <a:pt x="631" y="96"/>
                    <a:pt x="393" y="251"/>
                  </a:cubicBezTo>
                  <a:cubicBezTo>
                    <a:pt x="143" y="429"/>
                    <a:pt x="0" y="691"/>
                    <a:pt x="0" y="953"/>
                  </a:cubicBezTo>
                  <a:cubicBezTo>
                    <a:pt x="0" y="1227"/>
                    <a:pt x="143" y="1465"/>
                    <a:pt x="393" y="1656"/>
                  </a:cubicBezTo>
                  <a:cubicBezTo>
                    <a:pt x="631" y="1822"/>
                    <a:pt x="929" y="1906"/>
                    <a:pt x="1250" y="1906"/>
                  </a:cubicBezTo>
                  <a:cubicBezTo>
                    <a:pt x="1584" y="1906"/>
                    <a:pt x="1881" y="1810"/>
                    <a:pt x="2119" y="1656"/>
                  </a:cubicBezTo>
                  <a:cubicBezTo>
                    <a:pt x="2369" y="1477"/>
                    <a:pt x="2500" y="1227"/>
                    <a:pt x="2500" y="953"/>
                  </a:cubicBezTo>
                  <a:cubicBezTo>
                    <a:pt x="2500" y="691"/>
                    <a:pt x="2358" y="429"/>
                    <a:pt x="2119" y="251"/>
                  </a:cubicBezTo>
                  <a:cubicBezTo>
                    <a:pt x="1881" y="96"/>
                    <a:pt x="1584" y="1"/>
                    <a:pt x="1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1" name="Google Shape;9821;p58"/>
            <p:cNvSpPr/>
            <p:nvPr/>
          </p:nvSpPr>
          <p:spPr>
            <a:xfrm>
              <a:off x="985324" y="2448488"/>
              <a:ext cx="86628" cy="94185"/>
            </a:xfrm>
            <a:custGeom>
              <a:avLst/>
              <a:gdLst/>
              <a:ahLst/>
              <a:cxnLst/>
              <a:rect l="l" t="t" r="r" b="b"/>
              <a:pathLst>
                <a:path w="2728" h="2966" extrusionOk="0">
                  <a:moveTo>
                    <a:pt x="977" y="370"/>
                  </a:moveTo>
                  <a:lnTo>
                    <a:pt x="1537" y="430"/>
                  </a:lnTo>
                  <a:cubicBezTo>
                    <a:pt x="1608" y="442"/>
                    <a:pt x="1680" y="489"/>
                    <a:pt x="1715" y="561"/>
                  </a:cubicBezTo>
                  <a:lnTo>
                    <a:pt x="2287" y="1858"/>
                  </a:lnTo>
                  <a:cubicBezTo>
                    <a:pt x="2322" y="1918"/>
                    <a:pt x="2322" y="1977"/>
                    <a:pt x="2311" y="2037"/>
                  </a:cubicBezTo>
                  <a:cubicBezTo>
                    <a:pt x="2299" y="2096"/>
                    <a:pt x="2251" y="2144"/>
                    <a:pt x="2191" y="2156"/>
                  </a:cubicBezTo>
                  <a:lnTo>
                    <a:pt x="1310" y="2549"/>
                  </a:lnTo>
                  <a:cubicBezTo>
                    <a:pt x="1287" y="2561"/>
                    <a:pt x="1251" y="2561"/>
                    <a:pt x="1227" y="2561"/>
                  </a:cubicBezTo>
                  <a:cubicBezTo>
                    <a:pt x="1132" y="2561"/>
                    <a:pt x="1060" y="2513"/>
                    <a:pt x="1013" y="2430"/>
                  </a:cubicBezTo>
                  <a:lnTo>
                    <a:pt x="429" y="1132"/>
                  </a:lnTo>
                  <a:cubicBezTo>
                    <a:pt x="406" y="1061"/>
                    <a:pt x="406" y="977"/>
                    <a:pt x="465" y="906"/>
                  </a:cubicBezTo>
                  <a:lnTo>
                    <a:pt x="787" y="465"/>
                  </a:lnTo>
                  <a:cubicBezTo>
                    <a:pt x="834" y="406"/>
                    <a:pt x="906" y="370"/>
                    <a:pt x="977" y="370"/>
                  </a:cubicBezTo>
                  <a:close/>
                  <a:moveTo>
                    <a:pt x="965" y="1"/>
                  </a:moveTo>
                  <a:cubicBezTo>
                    <a:pt x="775" y="1"/>
                    <a:pt x="596" y="84"/>
                    <a:pt x="477" y="251"/>
                  </a:cubicBezTo>
                  <a:lnTo>
                    <a:pt x="156" y="703"/>
                  </a:lnTo>
                  <a:cubicBezTo>
                    <a:pt x="13" y="882"/>
                    <a:pt x="1" y="1096"/>
                    <a:pt x="84" y="1311"/>
                  </a:cubicBezTo>
                  <a:lnTo>
                    <a:pt x="667" y="2608"/>
                  </a:lnTo>
                  <a:cubicBezTo>
                    <a:pt x="775" y="2823"/>
                    <a:pt x="977" y="2966"/>
                    <a:pt x="1215" y="2966"/>
                  </a:cubicBezTo>
                  <a:cubicBezTo>
                    <a:pt x="1310" y="2966"/>
                    <a:pt x="1382" y="2942"/>
                    <a:pt x="1453" y="2906"/>
                  </a:cubicBezTo>
                  <a:lnTo>
                    <a:pt x="2334" y="2513"/>
                  </a:lnTo>
                  <a:cubicBezTo>
                    <a:pt x="2489" y="2454"/>
                    <a:pt x="2608" y="2335"/>
                    <a:pt x="2644" y="2168"/>
                  </a:cubicBezTo>
                  <a:cubicBezTo>
                    <a:pt x="2727" y="2025"/>
                    <a:pt x="2727" y="1858"/>
                    <a:pt x="2656" y="1715"/>
                  </a:cubicBezTo>
                  <a:lnTo>
                    <a:pt x="2072" y="418"/>
                  </a:lnTo>
                  <a:cubicBezTo>
                    <a:pt x="1977" y="227"/>
                    <a:pt x="1787" y="84"/>
                    <a:pt x="1572" y="61"/>
                  </a:cubicBezTo>
                  <a:cubicBezTo>
                    <a:pt x="1370" y="49"/>
                    <a:pt x="1156"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2" name="Google Shape;9822;p58"/>
            <p:cNvSpPr/>
            <p:nvPr/>
          </p:nvSpPr>
          <p:spPr>
            <a:xfrm>
              <a:off x="1014062" y="2472336"/>
              <a:ext cx="15147" cy="15147"/>
            </a:xfrm>
            <a:custGeom>
              <a:avLst/>
              <a:gdLst/>
              <a:ahLst/>
              <a:cxnLst/>
              <a:rect l="l" t="t" r="r" b="b"/>
              <a:pathLst>
                <a:path w="477" h="477" extrusionOk="0">
                  <a:moveTo>
                    <a:pt x="239" y="0"/>
                  </a:moveTo>
                  <a:cubicBezTo>
                    <a:pt x="108" y="0"/>
                    <a:pt x="1" y="107"/>
                    <a:pt x="1" y="238"/>
                  </a:cubicBezTo>
                  <a:cubicBezTo>
                    <a:pt x="1" y="381"/>
                    <a:pt x="108" y="476"/>
                    <a:pt x="239" y="476"/>
                  </a:cubicBezTo>
                  <a:cubicBezTo>
                    <a:pt x="370" y="476"/>
                    <a:pt x="477" y="381"/>
                    <a:pt x="477" y="238"/>
                  </a:cubicBezTo>
                  <a:cubicBezTo>
                    <a:pt x="477" y="107"/>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3" name="Google Shape;9823;p58"/>
            <p:cNvSpPr/>
            <p:nvPr/>
          </p:nvSpPr>
          <p:spPr>
            <a:xfrm>
              <a:off x="866243" y="2291587"/>
              <a:ext cx="415546" cy="355053"/>
            </a:xfrm>
            <a:custGeom>
              <a:avLst/>
              <a:gdLst/>
              <a:ahLst/>
              <a:cxnLst/>
              <a:rect l="l" t="t" r="r" b="b"/>
              <a:pathLst>
                <a:path w="13086" h="11181" extrusionOk="0">
                  <a:moveTo>
                    <a:pt x="7620" y="1430"/>
                  </a:moveTo>
                  <a:lnTo>
                    <a:pt x="7620" y="1989"/>
                  </a:lnTo>
                  <a:lnTo>
                    <a:pt x="5453" y="1989"/>
                  </a:lnTo>
                  <a:lnTo>
                    <a:pt x="5453" y="1430"/>
                  </a:lnTo>
                  <a:close/>
                  <a:moveTo>
                    <a:pt x="7608" y="406"/>
                  </a:moveTo>
                  <a:cubicBezTo>
                    <a:pt x="8168" y="406"/>
                    <a:pt x="8632" y="858"/>
                    <a:pt x="8632" y="1430"/>
                  </a:cubicBezTo>
                  <a:lnTo>
                    <a:pt x="8632" y="1989"/>
                  </a:lnTo>
                  <a:lnTo>
                    <a:pt x="7989" y="1989"/>
                  </a:lnTo>
                  <a:lnTo>
                    <a:pt x="7989" y="1430"/>
                  </a:lnTo>
                  <a:cubicBezTo>
                    <a:pt x="7989" y="1215"/>
                    <a:pt x="7811" y="1037"/>
                    <a:pt x="7608" y="1037"/>
                  </a:cubicBezTo>
                  <a:lnTo>
                    <a:pt x="5453" y="1037"/>
                  </a:lnTo>
                  <a:cubicBezTo>
                    <a:pt x="5239" y="1037"/>
                    <a:pt x="5060" y="1215"/>
                    <a:pt x="5060" y="1430"/>
                  </a:cubicBezTo>
                  <a:lnTo>
                    <a:pt x="5060" y="1989"/>
                  </a:lnTo>
                  <a:lnTo>
                    <a:pt x="4417" y="1989"/>
                  </a:lnTo>
                  <a:lnTo>
                    <a:pt x="4417" y="1430"/>
                  </a:lnTo>
                  <a:cubicBezTo>
                    <a:pt x="4417" y="858"/>
                    <a:pt x="4882" y="406"/>
                    <a:pt x="5453" y="406"/>
                  </a:cubicBezTo>
                  <a:close/>
                  <a:moveTo>
                    <a:pt x="2929" y="2096"/>
                  </a:moveTo>
                  <a:cubicBezTo>
                    <a:pt x="3013" y="2096"/>
                    <a:pt x="3072" y="2156"/>
                    <a:pt x="3072" y="2227"/>
                  </a:cubicBezTo>
                  <a:lnTo>
                    <a:pt x="3072" y="3299"/>
                  </a:lnTo>
                  <a:cubicBezTo>
                    <a:pt x="3072" y="3382"/>
                    <a:pt x="3132" y="3454"/>
                    <a:pt x="3203" y="3478"/>
                  </a:cubicBezTo>
                  <a:cubicBezTo>
                    <a:pt x="3224" y="3486"/>
                    <a:pt x="3246" y="3490"/>
                    <a:pt x="3267" y="3490"/>
                  </a:cubicBezTo>
                  <a:cubicBezTo>
                    <a:pt x="3365" y="3490"/>
                    <a:pt x="3453" y="3406"/>
                    <a:pt x="3453" y="3299"/>
                  </a:cubicBezTo>
                  <a:lnTo>
                    <a:pt x="3453" y="2358"/>
                  </a:lnTo>
                  <a:lnTo>
                    <a:pt x="9632" y="2358"/>
                  </a:lnTo>
                  <a:lnTo>
                    <a:pt x="9632" y="10502"/>
                  </a:lnTo>
                  <a:lnTo>
                    <a:pt x="3453" y="10502"/>
                  </a:lnTo>
                  <a:lnTo>
                    <a:pt x="3453" y="4073"/>
                  </a:lnTo>
                  <a:cubicBezTo>
                    <a:pt x="3453" y="3978"/>
                    <a:pt x="3370" y="3882"/>
                    <a:pt x="3263" y="3882"/>
                  </a:cubicBezTo>
                  <a:cubicBezTo>
                    <a:pt x="3155" y="3882"/>
                    <a:pt x="3072" y="3978"/>
                    <a:pt x="3072" y="4073"/>
                  </a:cubicBezTo>
                  <a:lnTo>
                    <a:pt x="3072" y="10657"/>
                  </a:lnTo>
                  <a:cubicBezTo>
                    <a:pt x="3072" y="10728"/>
                    <a:pt x="3013" y="10788"/>
                    <a:pt x="2929" y="10788"/>
                  </a:cubicBezTo>
                  <a:lnTo>
                    <a:pt x="2310" y="10788"/>
                  </a:lnTo>
                  <a:cubicBezTo>
                    <a:pt x="2239" y="10788"/>
                    <a:pt x="2179" y="10728"/>
                    <a:pt x="2179" y="10657"/>
                  </a:cubicBezTo>
                  <a:lnTo>
                    <a:pt x="2179" y="2227"/>
                  </a:lnTo>
                  <a:cubicBezTo>
                    <a:pt x="2179" y="2156"/>
                    <a:pt x="2239" y="2096"/>
                    <a:pt x="2310" y="2096"/>
                  </a:cubicBezTo>
                  <a:close/>
                  <a:moveTo>
                    <a:pt x="10775" y="2096"/>
                  </a:moveTo>
                  <a:cubicBezTo>
                    <a:pt x="10847" y="2096"/>
                    <a:pt x="10906" y="2156"/>
                    <a:pt x="10906" y="2227"/>
                  </a:cubicBezTo>
                  <a:lnTo>
                    <a:pt x="10906" y="10657"/>
                  </a:lnTo>
                  <a:cubicBezTo>
                    <a:pt x="10906" y="10728"/>
                    <a:pt x="10847" y="10788"/>
                    <a:pt x="10775" y="10788"/>
                  </a:cubicBezTo>
                  <a:lnTo>
                    <a:pt x="10156" y="10788"/>
                  </a:lnTo>
                  <a:cubicBezTo>
                    <a:pt x="10073" y="10788"/>
                    <a:pt x="10013" y="10728"/>
                    <a:pt x="10013" y="10657"/>
                  </a:cubicBezTo>
                  <a:lnTo>
                    <a:pt x="10013" y="2227"/>
                  </a:lnTo>
                  <a:cubicBezTo>
                    <a:pt x="10013" y="2156"/>
                    <a:pt x="10073" y="2096"/>
                    <a:pt x="10156" y="2096"/>
                  </a:cubicBezTo>
                  <a:close/>
                  <a:moveTo>
                    <a:pt x="5465" y="1"/>
                  </a:moveTo>
                  <a:cubicBezTo>
                    <a:pt x="4691" y="1"/>
                    <a:pt x="4048" y="644"/>
                    <a:pt x="4048" y="1418"/>
                  </a:cubicBezTo>
                  <a:lnTo>
                    <a:pt x="4048" y="1977"/>
                  </a:lnTo>
                  <a:lnTo>
                    <a:pt x="3394" y="1977"/>
                  </a:lnTo>
                  <a:cubicBezTo>
                    <a:pt x="3310" y="1811"/>
                    <a:pt x="3132" y="1692"/>
                    <a:pt x="2929" y="1692"/>
                  </a:cubicBezTo>
                  <a:lnTo>
                    <a:pt x="2310" y="1692"/>
                  </a:lnTo>
                  <a:cubicBezTo>
                    <a:pt x="2096" y="1692"/>
                    <a:pt x="1941" y="1811"/>
                    <a:pt x="1846" y="1977"/>
                  </a:cubicBezTo>
                  <a:lnTo>
                    <a:pt x="1310" y="1977"/>
                  </a:lnTo>
                  <a:cubicBezTo>
                    <a:pt x="596" y="1977"/>
                    <a:pt x="0" y="2561"/>
                    <a:pt x="0" y="3287"/>
                  </a:cubicBezTo>
                  <a:lnTo>
                    <a:pt x="0" y="7990"/>
                  </a:lnTo>
                  <a:cubicBezTo>
                    <a:pt x="0" y="8097"/>
                    <a:pt x="96" y="8180"/>
                    <a:pt x="191" y="8180"/>
                  </a:cubicBezTo>
                  <a:cubicBezTo>
                    <a:pt x="298" y="8180"/>
                    <a:pt x="393" y="8097"/>
                    <a:pt x="393" y="7990"/>
                  </a:cubicBezTo>
                  <a:lnTo>
                    <a:pt x="393" y="3287"/>
                  </a:lnTo>
                  <a:cubicBezTo>
                    <a:pt x="393" y="2787"/>
                    <a:pt x="810" y="2370"/>
                    <a:pt x="1310" y="2370"/>
                  </a:cubicBezTo>
                  <a:lnTo>
                    <a:pt x="1786" y="2370"/>
                  </a:lnTo>
                  <a:lnTo>
                    <a:pt x="1786" y="10502"/>
                  </a:lnTo>
                  <a:lnTo>
                    <a:pt x="1310" y="10502"/>
                  </a:lnTo>
                  <a:cubicBezTo>
                    <a:pt x="810" y="10502"/>
                    <a:pt x="393" y="10085"/>
                    <a:pt x="393" y="9585"/>
                  </a:cubicBezTo>
                  <a:lnTo>
                    <a:pt x="393" y="8764"/>
                  </a:lnTo>
                  <a:cubicBezTo>
                    <a:pt x="393" y="8657"/>
                    <a:pt x="298" y="8573"/>
                    <a:pt x="191" y="8573"/>
                  </a:cubicBezTo>
                  <a:cubicBezTo>
                    <a:pt x="96" y="8573"/>
                    <a:pt x="0" y="8657"/>
                    <a:pt x="0" y="8764"/>
                  </a:cubicBezTo>
                  <a:lnTo>
                    <a:pt x="0" y="9585"/>
                  </a:lnTo>
                  <a:cubicBezTo>
                    <a:pt x="0" y="10300"/>
                    <a:pt x="584" y="10895"/>
                    <a:pt x="1310" y="10895"/>
                  </a:cubicBezTo>
                  <a:lnTo>
                    <a:pt x="1846" y="10895"/>
                  </a:lnTo>
                  <a:cubicBezTo>
                    <a:pt x="1941" y="11062"/>
                    <a:pt x="2120" y="11181"/>
                    <a:pt x="2310" y="11181"/>
                  </a:cubicBezTo>
                  <a:lnTo>
                    <a:pt x="2929" y="11181"/>
                  </a:lnTo>
                  <a:cubicBezTo>
                    <a:pt x="3144" y="11181"/>
                    <a:pt x="3310" y="11062"/>
                    <a:pt x="3394" y="10895"/>
                  </a:cubicBezTo>
                  <a:lnTo>
                    <a:pt x="9692" y="10895"/>
                  </a:lnTo>
                  <a:cubicBezTo>
                    <a:pt x="9775" y="11062"/>
                    <a:pt x="9954" y="11181"/>
                    <a:pt x="10156" y="11181"/>
                  </a:cubicBezTo>
                  <a:lnTo>
                    <a:pt x="10775" y="11181"/>
                  </a:lnTo>
                  <a:cubicBezTo>
                    <a:pt x="10978" y="11181"/>
                    <a:pt x="11145" y="11062"/>
                    <a:pt x="11240" y="10895"/>
                  </a:cubicBezTo>
                  <a:lnTo>
                    <a:pt x="11776" y="10895"/>
                  </a:lnTo>
                  <a:cubicBezTo>
                    <a:pt x="12490" y="10895"/>
                    <a:pt x="13085" y="10312"/>
                    <a:pt x="13085" y="9585"/>
                  </a:cubicBezTo>
                  <a:lnTo>
                    <a:pt x="13085" y="4894"/>
                  </a:lnTo>
                  <a:cubicBezTo>
                    <a:pt x="13085" y="4787"/>
                    <a:pt x="12990" y="4704"/>
                    <a:pt x="12883" y="4704"/>
                  </a:cubicBezTo>
                  <a:cubicBezTo>
                    <a:pt x="12788" y="4704"/>
                    <a:pt x="12692" y="4787"/>
                    <a:pt x="12692" y="4894"/>
                  </a:cubicBezTo>
                  <a:lnTo>
                    <a:pt x="12692" y="9585"/>
                  </a:lnTo>
                  <a:cubicBezTo>
                    <a:pt x="12692" y="10085"/>
                    <a:pt x="12276" y="10502"/>
                    <a:pt x="11776" y="10502"/>
                  </a:cubicBezTo>
                  <a:lnTo>
                    <a:pt x="11299" y="10502"/>
                  </a:lnTo>
                  <a:lnTo>
                    <a:pt x="11299" y="2370"/>
                  </a:lnTo>
                  <a:lnTo>
                    <a:pt x="11776" y="2370"/>
                  </a:lnTo>
                  <a:cubicBezTo>
                    <a:pt x="12276" y="2370"/>
                    <a:pt x="12692" y="2787"/>
                    <a:pt x="12692" y="3287"/>
                  </a:cubicBezTo>
                  <a:lnTo>
                    <a:pt x="12692" y="4120"/>
                  </a:lnTo>
                  <a:cubicBezTo>
                    <a:pt x="12692" y="4240"/>
                    <a:pt x="12788" y="4311"/>
                    <a:pt x="12895" y="4311"/>
                  </a:cubicBezTo>
                  <a:cubicBezTo>
                    <a:pt x="12990" y="4311"/>
                    <a:pt x="13085" y="4228"/>
                    <a:pt x="13085" y="4120"/>
                  </a:cubicBezTo>
                  <a:lnTo>
                    <a:pt x="13085" y="3287"/>
                  </a:lnTo>
                  <a:cubicBezTo>
                    <a:pt x="13085" y="2573"/>
                    <a:pt x="12502" y="1977"/>
                    <a:pt x="11776" y="1977"/>
                  </a:cubicBezTo>
                  <a:lnTo>
                    <a:pt x="11240" y="1977"/>
                  </a:lnTo>
                  <a:cubicBezTo>
                    <a:pt x="11145" y="1811"/>
                    <a:pt x="10966" y="1692"/>
                    <a:pt x="10775" y="1692"/>
                  </a:cubicBezTo>
                  <a:lnTo>
                    <a:pt x="10156" y="1692"/>
                  </a:lnTo>
                  <a:cubicBezTo>
                    <a:pt x="9942" y="1692"/>
                    <a:pt x="9775" y="1811"/>
                    <a:pt x="9692" y="1977"/>
                  </a:cubicBezTo>
                  <a:lnTo>
                    <a:pt x="9037" y="1977"/>
                  </a:lnTo>
                  <a:lnTo>
                    <a:pt x="9037" y="1418"/>
                  </a:lnTo>
                  <a:cubicBezTo>
                    <a:pt x="9037" y="644"/>
                    <a:pt x="8394" y="1"/>
                    <a:pt x="7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24" name="Google Shape;9824;p58"/>
          <p:cNvSpPr/>
          <p:nvPr/>
        </p:nvSpPr>
        <p:spPr>
          <a:xfrm>
            <a:off x="1411794" y="2287808"/>
            <a:ext cx="360356" cy="358831"/>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25" name="Google Shape;9825;p58"/>
          <p:cNvGrpSpPr/>
          <p:nvPr/>
        </p:nvGrpSpPr>
        <p:grpSpPr>
          <a:xfrm>
            <a:off x="1958520" y="2302574"/>
            <a:ext cx="359213" cy="327807"/>
            <a:chOff x="1958520" y="2302574"/>
            <a:chExt cx="359213" cy="327807"/>
          </a:xfrm>
        </p:grpSpPr>
        <p:sp>
          <p:nvSpPr>
            <p:cNvPr id="9826" name="Google Shape;9826;p58"/>
            <p:cNvSpPr/>
            <p:nvPr/>
          </p:nvSpPr>
          <p:spPr>
            <a:xfrm>
              <a:off x="1958520" y="2302574"/>
              <a:ext cx="359213" cy="327807"/>
            </a:xfrm>
            <a:custGeom>
              <a:avLst/>
              <a:gdLst/>
              <a:ahLst/>
              <a:cxnLst/>
              <a:rect l="l" t="t" r="r" b="b"/>
              <a:pathLst>
                <a:path w="11312" h="10323" extrusionOk="0">
                  <a:moveTo>
                    <a:pt x="7168" y="8132"/>
                  </a:moveTo>
                  <a:lnTo>
                    <a:pt x="7501" y="9204"/>
                  </a:lnTo>
                  <a:lnTo>
                    <a:pt x="3799" y="9204"/>
                  </a:lnTo>
                  <a:lnTo>
                    <a:pt x="4120" y="8132"/>
                  </a:lnTo>
                  <a:close/>
                  <a:moveTo>
                    <a:pt x="8466" y="9537"/>
                  </a:moveTo>
                  <a:cubicBezTo>
                    <a:pt x="8597" y="9537"/>
                    <a:pt x="8704" y="9656"/>
                    <a:pt x="8704" y="9775"/>
                  </a:cubicBezTo>
                  <a:cubicBezTo>
                    <a:pt x="8704" y="9906"/>
                    <a:pt x="8597" y="10013"/>
                    <a:pt x="8466" y="10013"/>
                  </a:cubicBezTo>
                  <a:lnTo>
                    <a:pt x="2810" y="10013"/>
                  </a:lnTo>
                  <a:cubicBezTo>
                    <a:pt x="2679" y="10013"/>
                    <a:pt x="2572" y="9906"/>
                    <a:pt x="2572" y="9775"/>
                  </a:cubicBezTo>
                  <a:cubicBezTo>
                    <a:pt x="2572" y="9644"/>
                    <a:pt x="2679" y="9537"/>
                    <a:pt x="2810" y="9537"/>
                  </a:cubicBezTo>
                  <a:close/>
                  <a:moveTo>
                    <a:pt x="1072" y="0"/>
                  </a:moveTo>
                  <a:cubicBezTo>
                    <a:pt x="477" y="0"/>
                    <a:pt x="0" y="476"/>
                    <a:pt x="0" y="1072"/>
                  </a:cubicBezTo>
                  <a:lnTo>
                    <a:pt x="0" y="7049"/>
                  </a:lnTo>
                  <a:cubicBezTo>
                    <a:pt x="0" y="7644"/>
                    <a:pt x="477" y="8120"/>
                    <a:pt x="1072" y="8120"/>
                  </a:cubicBezTo>
                  <a:lnTo>
                    <a:pt x="3763" y="8120"/>
                  </a:lnTo>
                  <a:lnTo>
                    <a:pt x="3441" y="9192"/>
                  </a:lnTo>
                  <a:lnTo>
                    <a:pt x="2822" y="9192"/>
                  </a:lnTo>
                  <a:cubicBezTo>
                    <a:pt x="2513" y="9192"/>
                    <a:pt x="2263" y="9442"/>
                    <a:pt x="2263" y="9751"/>
                  </a:cubicBezTo>
                  <a:cubicBezTo>
                    <a:pt x="2263" y="10073"/>
                    <a:pt x="2513" y="10323"/>
                    <a:pt x="2822" y="10323"/>
                  </a:cubicBezTo>
                  <a:lnTo>
                    <a:pt x="8478" y="10323"/>
                  </a:lnTo>
                  <a:cubicBezTo>
                    <a:pt x="8799" y="10323"/>
                    <a:pt x="9049" y="10073"/>
                    <a:pt x="9049" y="9751"/>
                  </a:cubicBezTo>
                  <a:cubicBezTo>
                    <a:pt x="9049" y="9442"/>
                    <a:pt x="8799" y="9192"/>
                    <a:pt x="8478" y="9192"/>
                  </a:cubicBezTo>
                  <a:lnTo>
                    <a:pt x="7870" y="9192"/>
                  </a:lnTo>
                  <a:lnTo>
                    <a:pt x="7549" y="8120"/>
                  </a:lnTo>
                  <a:lnTo>
                    <a:pt x="10240" y="8120"/>
                  </a:lnTo>
                  <a:cubicBezTo>
                    <a:pt x="10835" y="8120"/>
                    <a:pt x="11311" y="7644"/>
                    <a:pt x="11311" y="7049"/>
                  </a:cubicBezTo>
                  <a:lnTo>
                    <a:pt x="11311" y="1072"/>
                  </a:lnTo>
                  <a:cubicBezTo>
                    <a:pt x="11299" y="488"/>
                    <a:pt x="10823" y="0"/>
                    <a:pt x="10228" y="0"/>
                  </a:cubicBezTo>
                  <a:lnTo>
                    <a:pt x="2786" y="0"/>
                  </a:lnTo>
                  <a:cubicBezTo>
                    <a:pt x="2691" y="0"/>
                    <a:pt x="2620" y="72"/>
                    <a:pt x="2620" y="155"/>
                  </a:cubicBezTo>
                  <a:cubicBezTo>
                    <a:pt x="2620" y="250"/>
                    <a:pt x="2691" y="322"/>
                    <a:pt x="2786" y="322"/>
                  </a:cubicBezTo>
                  <a:lnTo>
                    <a:pt x="10228" y="322"/>
                  </a:lnTo>
                  <a:cubicBezTo>
                    <a:pt x="10621" y="322"/>
                    <a:pt x="10966" y="655"/>
                    <a:pt x="10966" y="1072"/>
                  </a:cubicBezTo>
                  <a:lnTo>
                    <a:pt x="10966" y="7049"/>
                  </a:lnTo>
                  <a:cubicBezTo>
                    <a:pt x="10966" y="7453"/>
                    <a:pt x="10645" y="7799"/>
                    <a:pt x="10228" y="7799"/>
                  </a:cubicBezTo>
                  <a:lnTo>
                    <a:pt x="1072" y="7799"/>
                  </a:lnTo>
                  <a:cubicBezTo>
                    <a:pt x="667" y="7799"/>
                    <a:pt x="322" y="7465"/>
                    <a:pt x="322" y="7049"/>
                  </a:cubicBezTo>
                  <a:lnTo>
                    <a:pt x="322" y="1072"/>
                  </a:lnTo>
                  <a:cubicBezTo>
                    <a:pt x="322" y="667"/>
                    <a:pt x="655" y="322"/>
                    <a:pt x="1072" y="322"/>
                  </a:cubicBezTo>
                  <a:lnTo>
                    <a:pt x="2108" y="322"/>
                  </a:lnTo>
                  <a:cubicBezTo>
                    <a:pt x="2203" y="322"/>
                    <a:pt x="2275" y="250"/>
                    <a:pt x="2275" y="155"/>
                  </a:cubicBezTo>
                  <a:cubicBezTo>
                    <a:pt x="2275" y="72"/>
                    <a:pt x="2203" y="0"/>
                    <a:pt x="21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7" name="Google Shape;9827;p58"/>
            <p:cNvSpPr/>
            <p:nvPr/>
          </p:nvSpPr>
          <p:spPr>
            <a:xfrm>
              <a:off x="1986877" y="2331313"/>
              <a:ext cx="302117" cy="184909"/>
            </a:xfrm>
            <a:custGeom>
              <a:avLst/>
              <a:gdLst/>
              <a:ahLst/>
              <a:cxnLst/>
              <a:rect l="l" t="t" r="r" b="b"/>
              <a:pathLst>
                <a:path w="9514" h="5823" extrusionOk="0">
                  <a:moveTo>
                    <a:pt x="179" y="0"/>
                  </a:moveTo>
                  <a:cubicBezTo>
                    <a:pt x="72" y="0"/>
                    <a:pt x="0" y="71"/>
                    <a:pt x="0" y="179"/>
                  </a:cubicBezTo>
                  <a:lnTo>
                    <a:pt x="0" y="5656"/>
                  </a:lnTo>
                  <a:cubicBezTo>
                    <a:pt x="0" y="5739"/>
                    <a:pt x="72" y="5822"/>
                    <a:pt x="167" y="5822"/>
                  </a:cubicBezTo>
                  <a:lnTo>
                    <a:pt x="9347" y="5822"/>
                  </a:lnTo>
                  <a:cubicBezTo>
                    <a:pt x="9430" y="5822"/>
                    <a:pt x="9513" y="5739"/>
                    <a:pt x="9513" y="5656"/>
                  </a:cubicBezTo>
                  <a:lnTo>
                    <a:pt x="9513" y="5072"/>
                  </a:lnTo>
                  <a:cubicBezTo>
                    <a:pt x="9513" y="4989"/>
                    <a:pt x="9430" y="4905"/>
                    <a:pt x="9347" y="4905"/>
                  </a:cubicBezTo>
                  <a:cubicBezTo>
                    <a:pt x="9252" y="4905"/>
                    <a:pt x="9180" y="4989"/>
                    <a:pt x="9180" y="5072"/>
                  </a:cubicBezTo>
                  <a:lnTo>
                    <a:pt x="9180" y="5489"/>
                  </a:lnTo>
                  <a:lnTo>
                    <a:pt x="346" y="5489"/>
                  </a:lnTo>
                  <a:lnTo>
                    <a:pt x="346" y="345"/>
                  </a:lnTo>
                  <a:lnTo>
                    <a:pt x="9180" y="345"/>
                  </a:lnTo>
                  <a:lnTo>
                    <a:pt x="9180" y="4405"/>
                  </a:lnTo>
                  <a:cubicBezTo>
                    <a:pt x="9168" y="4489"/>
                    <a:pt x="9240" y="4572"/>
                    <a:pt x="9347" y="4572"/>
                  </a:cubicBezTo>
                  <a:cubicBezTo>
                    <a:pt x="9430" y="4572"/>
                    <a:pt x="9513" y="4489"/>
                    <a:pt x="9513" y="4405"/>
                  </a:cubicBezTo>
                  <a:lnTo>
                    <a:pt x="9513" y="179"/>
                  </a:lnTo>
                  <a:cubicBezTo>
                    <a:pt x="9513" y="71"/>
                    <a:pt x="9430" y="0"/>
                    <a:pt x="93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8" name="Google Shape;9828;p58"/>
            <p:cNvSpPr/>
            <p:nvPr/>
          </p:nvSpPr>
          <p:spPr>
            <a:xfrm>
              <a:off x="2131521" y="2526701"/>
              <a:ext cx="11908" cy="10638"/>
            </a:xfrm>
            <a:custGeom>
              <a:avLst/>
              <a:gdLst/>
              <a:ahLst/>
              <a:cxnLst/>
              <a:rect l="l" t="t" r="r" b="b"/>
              <a:pathLst>
                <a:path w="375" h="335" extrusionOk="0">
                  <a:moveTo>
                    <a:pt x="176" y="0"/>
                  </a:moveTo>
                  <a:cubicBezTo>
                    <a:pt x="167" y="0"/>
                    <a:pt x="158" y="1"/>
                    <a:pt x="148" y="3"/>
                  </a:cubicBezTo>
                  <a:cubicBezTo>
                    <a:pt x="77" y="26"/>
                    <a:pt x="17" y="86"/>
                    <a:pt x="17" y="157"/>
                  </a:cubicBezTo>
                  <a:cubicBezTo>
                    <a:pt x="1" y="258"/>
                    <a:pt x="95" y="334"/>
                    <a:pt x="186" y="334"/>
                  </a:cubicBezTo>
                  <a:cubicBezTo>
                    <a:pt x="225" y="334"/>
                    <a:pt x="263" y="320"/>
                    <a:pt x="291" y="288"/>
                  </a:cubicBezTo>
                  <a:cubicBezTo>
                    <a:pt x="375" y="229"/>
                    <a:pt x="375" y="145"/>
                    <a:pt x="327" y="86"/>
                  </a:cubicBezTo>
                  <a:cubicBezTo>
                    <a:pt x="296" y="34"/>
                    <a:pt x="23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29" name="Google Shape;9829;p58"/>
          <p:cNvGrpSpPr/>
          <p:nvPr/>
        </p:nvGrpSpPr>
        <p:grpSpPr>
          <a:xfrm>
            <a:off x="2579882" y="2287427"/>
            <a:ext cx="207582" cy="359594"/>
            <a:chOff x="2656082" y="2287427"/>
            <a:chExt cx="207582" cy="359594"/>
          </a:xfrm>
        </p:grpSpPr>
        <p:sp>
          <p:nvSpPr>
            <p:cNvPr id="9830" name="Google Shape;9830;p58"/>
            <p:cNvSpPr/>
            <p:nvPr/>
          </p:nvSpPr>
          <p:spPr>
            <a:xfrm>
              <a:off x="2656082" y="2287427"/>
              <a:ext cx="207582" cy="359594"/>
            </a:xfrm>
            <a:custGeom>
              <a:avLst/>
              <a:gdLst/>
              <a:ahLst/>
              <a:cxnLst/>
              <a:rect l="l" t="t" r="r" b="b"/>
              <a:pathLst>
                <a:path w="6537" h="11324" extrusionOk="0">
                  <a:moveTo>
                    <a:pt x="5704" y="334"/>
                  </a:moveTo>
                  <a:cubicBezTo>
                    <a:pt x="5965" y="334"/>
                    <a:pt x="6192" y="561"/>
                    <a:pt x="6192" y="834"/>
                  </a:cubicBezTo>
                  <a:lnTo>
                    <a:pt x="6192" y="1323"/>
                  </a:lnTo>
                  <a:lnTo>
                    <a:pt x="346" y="1323"/>
                  </a:lnTo>
                  <a:lnTo>
                    <a:pt x="346" y="834"/>
                  </a:lnTo>
                  <a:cubicBezTo>
                    <a:pt x="346" y="561"/>
                    <a:pt x="560" y="334"/>
                    <a:pt x="834" y="334"/>
                  </a:cubicBezTo>
                  <a:close/>
                  <a:moveTo>
                    <a:pt x="6192" y="1644"/>
                  </a:moveTo>
                  <a:lnTo>
                    <a:pt x="6192" y="8990"/>
                  </a:lnTo>
                  <a:lnTo>
                    <a:pt x="1501" y="8990"/>
                  </a:lnTo>
                  <a:cubicBezTo>
                    <a:pt x="1405" y="8990"/>
                    <a:pt x="1334" y="9062"/>
                    <a:pt x="1334" y="9145"/>
                  </a:cubicBezTo>
                  <a:cubicBezTo>
                    <a:pt x="1334" y="9240"/>
                    <a:pt x="1405" y="9312"/>
                    <a:pt x="1501" y="9312"/>
                  </a:cubicBezTo>
                  <a:lnTo>
                    <a:pt x="6192" y="9312"/>
                  </a:lnTo>
                  <a:lnTo>
                    <a:pt x="6192" y="10478"/>
                  </a:lnTo>
                  <a:cubicBezTo>
                    <a:pt x="6192" y="10740"/>
                    <a:pt x="5965" y="10967"/>
                    <a:pt x="5704" y="10967"/>
                  </a:cubicBezTo>
                  <a:lnTo>
                    <a:pt x="834" y="10967"/>
                  </a:lnTo>
                  <a:cubicBezTo>
                    <a:pt x="560" y="10967"/>
                    <a:pt x="346" y="10740"/>
                    <a:pt x="346" y="10478"/>
                  </a:cubicBezTo>
                  <a:lnTo>
                    <a:pt x="346" y="9312"/>
                  </a:lnTo>
                  <a:lnTo>
                    <a:pt x="834" y="9312"/>
                  </a:lnTo>
                  <a:cubicBezTo>
                    <a:pt x="917" y="9312"/>
                    <a:pt x="1001" y="9240"/>
                    <a:pt x="1001" y="9145"/>
                  </a:cubicBezTo>
                  <a:cubicBezTo>
                    <a:pt x="1001" y="9062"/>
                    <a:pt x="917" y="8990"/>
                    <a:pt x="834" y="8990"/>
                  </a:cubicBezTo>
                  <a:lnTo>
                    <a:pt x="346" y="8990"/>
                  </a:lnTo>
                  <a:lnTo>
                    <a:pt x="346" y="1644"/>
                  </a:lnTo>
                  <a:close/>
                  <a:moveTo>
                    <a:pt x="834" y="1"/>
                  </a:moveTo>
                  <a:cubicBezTo>
                    <a:pt x="370" y="1"/>
                    <a:pt x="0" y="370"/>
                    <a:pt x="0" y="834"/>
                  </a:cubicBezTo>
                  <a:lnTo>
                    <a:pt x="0" y="10490"/>
                  </a:lnTo>
                  <a:cubicBezTo>
                    <a:pt x="0" y="10955"/>
                    <a:pt x="370" y="11324"/>
                    <a:pt x="834" y="11324"/>
                  </a:cubicBezTo>
                  <a:lnTo>
                    <a:pt x="5704" y="11324"/>
                  </a:lnTo>
                  <a:cubicBezTo>
                    <a:pt x="6156" y="11324"/>
                    <a:pt x="6537" y="10955"/>
                    <a:pt x="6537" y="10490"/>
                  </a:cubicBezTo>
                  <a:lnTo>
                    <a:pt x="6537" y="834"/>
                  </a:lnTo>
                  <a:cubicBezTo>
                    <a:pt x="6513" y="370"/>
                    <a:pt x="6144" y="1"/>
                    <a:pt x="57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1" name="Google Shape;9831;p58"/>
            <p:cNvSpPr/>
            <p:nvPr/>
          </p:nvSpPr>
          <p:spPr>
            <a:xfrm>
              <a:off x="2754395" y="2308608"/>
              <a:ext cx="31787" cy="10257"/>
            </a:xfrm>
            <a:custGeom>
              <a:avLst/>
              <a:gdLst/>
              <a:ahLst/>
              <a:cxnLst/>
              <a:rect l="l" t="t" r="r" b="b"/>
              <a:pathLst>
                <a:path w="1001" h="323" extrusionOk="0">
                  <a:moveTo>
                    <a:pt x="167" y="1"/>
                  </a:moveTo>
                  <a:cubicBezTo>
                    <a:pt x="72" y="1"/>
                    <a:pt x="0" y="72"/>
                    <a:pt x="0" y="167"/>
                  </a:cubicBezTo>
                  <a:cubicBezTo>
                    <a:pt x="0" y="251"/>
                    <a:pt x="72" y="322"/>
                    <a:pt x="167" y="322"/>
                  </a:cubicBezTo>
                  <a:lnTo>
                    <a:pt x="834" y="322"/>
                  </a:lnTo>
                  <a:cubicBezTo>
                    <a:pt x="917" y="322"/>
                    <a:pt x="1000" y="251"/>
                    <a:pt x="1000" y="167"/>
                  </a:cubicBezTo>
                  <a:cubicBezTo>
                    <a:pt x="1000" y="72"/>
                    <a:pt x="917"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2" name="Google Shape;9832;p58"/>
            <p:cNvSpPr/>
            <p:nvPr/>
          </p:nvSpPr>
          <p:spPr>
            <a:xfrm>
              <a:off x="2743789" y="2594053"/>
              <a:ext cx="31406" cy="31056"/>
            </a:xfrm>
            <a:custGeom>
              <a:avLst/>
              <a:gdLst/>
              <a:ahLst/>
              <a:cxnLst/>
              <a:rect l="l" t="t" r="r" b="b"/>
              <a:pathLst>
                <a:path w="989" h="978" extrusionOk="0">
                  <a:moveTo>
                    <a:pt x="501" y="322"/>
                  </a:moveTo>
                  <a:cubicBezTo>
                    <a:pt x="584" y="322"/>
                    <a:pt x="656" y="406"/>
                    <a:pt x="656" y="489"/>
                  </a:cubicBezTo>
                  <a:cubicBezTo>
                    <a:pt x="656" y="584"/>
                    <a:pt x="584" y="656"/>
                    <a:pt x="501" y="656"/>
                  </a:cubicBezTo>
                  <a:cubicBezTo>
                    <a:pt x="406" y="656"/>
                    <a:pt x="334" y="584"/>
                    <a:pt x="334" y="489"/>
                  </a:cubicBezTo>
                  <a:cubicBezTo>
                    <a:pt x="334" y="406"/>
                    <a:pt x="406" y="322"/>
                    <a:pt x="501" y="322"/>
                  </a:cubicBezTo>
                  <a:close/>
                  <a:moveTo>
                    <a:pt x="501" y="1"/>
                  </a:moveTo>
                  <a:cubicBezTo>
                    <a:pt x="227" y="1"/>
                    <a:pt x="1" y="227"/>
                    <a:pt x="1" y="489"/>
                  </a:cubicBezTo>
                  <a:cubicBezTo>
                    <a:pt x="1" y="763"/>
                    <a:pt x="227" y="977"/>
                    <a:pt x="501" y="977"/>
                  </a:cubicBezTo>
                  <a:cubicBezTo>
                    <a:pt x="763" y="977"/>
                    <a:pt x="989" y="763"/>
                    <a:pt x="989" y="489"/>
                  </a:cubicBezTo>
                  <a:cubicBezTo>
                    <a:pt x="989" y="227"/>
                    <a:pt x="775"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3" name="Google Shape;9833;p58"/>
            <p:cNvSpPr/>
            <p:nvPr/>
          </p:nvSpPr>
          <p:spPr>
            <a:xfrm>
              <a:off x="2733596" y="2308608"/>
              <a:ext cx="10225" cy="10257"/>
            </a:xfrm>
            <a:custGeom>
              <a:avLst/>
              <a:gdLst/>
              <a:ahLst/>
              <a:cxnLst/>
              <a:rect l="l" t="t" r="r" b="b"/>
              <a:pathLst>
                <a:path w="322" h="323" extrusionOk="0">
                  <a:moveTo>
                    <a:pt x="155" y="1"/>
                  </a:moveTo>
                  <a:cubicBezTo>
                    <a:pt x="72" y="1"/>
                    <a:pt x="0" y="72"/>
                    <a:pt x="0" y="167"/>
                  </a:cubicBezTo>
                  <a:cubicBezTo>
                    <a:pt x="0" y="251"/>
                    <a:pt x="72" y="322"/>
                    <a:pt x="155" y="322"/>
                  </a:cubicBezTo>
                  <a:cubicBezTo>
                    <a:pt x="250" y="322"/>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4" name="Google Shape;9834;p58"/>
          <p:cNvGrpSpPr/>
          <p:nvPr/>
        </p:nvGrpSpPr>
        <p:grpSpPr>
          <a:xfrm>
            <a:off x="3049653" y="2321468"/>
            <a:ext cx="362991" cy="290018"/>
            <a:chOff x="3049653" y="2321468"/>
            <a:chExt cx="362991" cy="290018"/>
          </a:xfrm>
        </p:grpSpPr>
        <p:sp>
          <p:nvSpPr>
            <p:cNvPr id="9835" name="Google Shape;9835;p58"/>
            <p:cNvSpPr/>
            <p:nvPr/>
          </p:nvSpPr>
          <p:spPr>
            <a:xfrm>
              <a:off x="3280290" y="2429690"/>
              <a:ext cx="29913" cy="73957"/>
            </a:xfrm>
            <a:custGeom>
              <a:avLst/>
              <a:gdLst/>
              <a:ahLst/>
              <a:cxnLst/>
              <a:rect l="l" t="t" r="r" b="b"/>
              <a:pathLst>
                <a:path w="942" h="2329" extrusionOk="0">
                  <a:moveTo>
                    <a:pt x="200" y="1"/>
                  </a:moveTo>
                  <a:cubicBezTo>
                    <a:pt x="158" y="1"/>
                    <a:pt x="114" y="16"/>
                    <a:pt x="72" y="45"/>
                  </a:cubicBezTo>
                  <a:cubicBezTo>
                    <a:pt x="13" y="93"/>
                    <a:pt x="13" y="200"/>
                    <a:pt x="72" y="283"/>
                  </a:cubicBezTo>
                  <a:cubicBezTo>
                    <a:pt x="572" y="772"/>
                    <a:pt x="572" y="1569"/>
                    <a:pt x="72" y="2046"/>
                  </a:cubicBezTo>
                  <a:cubicBezTo>
                    <a:pt x="1" y="2129"/>
                    <a:pt x="1" y="2224"/>
                    <a:pt x="72" y="2284"/>
                  </a:cubicBezTo>
                  <a:cubicBezTo>
                    <a:pt x="102" y="2313"/>
                    <a:pt x="144" y="2328"/>
                    <a:pt x="187" y="2328"/>
                  </a:cubicBezTo>
                  <a:cubicBezTo>
                    <a:pt x="230" y="2328"/>
                    <a:pt x="275" y="2313"/>
                    <a:pt x="310" y="2284"/>
                  </a:cubicBezTo>
                  <a:cubicBezTo>
                    <a:pt x="941" y="1665"/>
                    <a:pt x="941" y="664"/>
                    <a:pt x="310" y="45"/>
                  </a:cubicBezTo>
                  <a:cubicBezTo>
                    <a:pt x="280" y="16"/>
                    <a:pt x="242"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6" name="Google Shape;9836;p58"/>
            <p:cNvSpPr/>
            <p:nvPr/>
          </p:nvSpPr>
          <p:spPr>
            <a:xfrm>
              <a:off x="3317729" y="2392250"/>
              <a:ext cx="49570" cy="148836"/>
            </a:xfrm>
            <a:custGeom>
              <a:avLst/>
              <a:gdLst/>
              <a:ahLst/>
              <a:cxnLst/>
              <a:rect l="l" t="t" r="r" b="b"/>
              <a:pathLst>
                <a:path w="1561" h="4687" extrusionOk="0">
                  <a:moveTo>
                    <a:pt x="183" y="1"/>
                  </a:moveTo>
                  <a:cubicBezTo>
                    <a:pt x="140" y="1"/>
                    <a:pt x="96" y="16"/>
                    <a:pt x="60" y="46"/>
                  </a:cubicBezTo>
                  <a:cubicBezTo>
                    <a:pt x="0" y="105"/>
                    <a:pt x="0" y="212"/>
                    <a:pt x="60" y="284"/>
                  </a:cubicBezTo>
                  <a:cubicBezTo>
                    <a:pt x="1191" y="1415"/>
                    <a:pt x="1191" y="3272"/>
                    <a:pt x="60" y="4403"/>
                  </a:cubicBezTo>
                  <a:cubicBezTo>
                    <a:pt x="0" y="4475"/>
                    <a:pt x="0" y="4582"/>
                    <a:pt x="60" y="4641"/>
                  </a:cubicBezTo>
                  <a:cubicBezTo>
                    <a:pt x="90" y="4671"/>
                    <a:pt x="131" y="4686"/>
                    <a:pt x="175" y="4686"/>
                  </a:cubicBezTo>
                  <a:cubicBezTo>
                    <a:pt x="218" y="4686"/>
                    <a:pt x="262" y="4671"/>
                    <a:pt x="298" y="4641"/>
                  </a:cubicBezTo>
                  <a:cubicBezTo>
                    <a:pt x="1560" y="3379"/>
                    <a:pt x="1560" y="1308"/>
                    <a:pt x="298" y="46"/>
                  </a:cubicBezTo>
                  <a:cubicBezTo>
                    <a:pt x="268" y="16"/>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7" name="Google Shape;9837;p58"/>
            <p:cNvSpPr/>
            <p:nvPr/>
          </p:nvSpPr>
          <p:spPr>
            <a:xfrm>
              <a:off x="3354406" y="2355954"/>
              <a:ext cx="58239" cy="222317"/>
            </a:xfrm>
            <a:custGeom>
              <a:avLst/>
              <a:gdLst/>
              <a:ahLst/>
              <a:cxnLst/>
              <a:rect l="l" t="t" r="r" b="b"/>
              <a:pathLst>
                <a:path w="1834" h="7001" extrusionOk="0">
                  <a:moveTo>
                    <a:pt x="174" y="1"/>
                  </a:moveTo>
                  <a:cubicBezTo>
                    <a:pt x="131" y="1"/>
                    <a:pt x="90" y="16"/>
                    <a:pt x="60" y="46"/>
                  </a:cubicBezTo>
                  <a:cubicBezTo>
                    <a:pt x="0" y="105"/>
                    <a:pt x="0" y="200"/>
                    <a:pt x="60" y="284"/>
                  </a:cubicBezTo>
                  <a:cubicBezTo>
                    <a:pt x="1834" y="2046"/>
                    <a:pt x="1834" y="4939"/>
                    <a:pt x="60" y="6713"/>
                  </a:cubicBezTo>
                  <a:cubicBezTo>
                    <a:pt x="0" y="6773"/>
                    <a:pt x="0" y="6868"/>
                    <a:pt x="60" y="6951"/>
                  </a:cubicBezTo>
                  <a:cubicBezTo>
                    <a:pt x="88" y="6985"/>
                    <a:pt x="128" y="7000"/>
                    <a:pt x="169" y="7000"/>
                  </a:cubicBezTo>
                  <a:cubicBezTo>
                    <a:pt x="214" y="7000"/>
                    <a:pt x="261" y="6982"/>
                    <a:pt x="298" y="6951"/>
                  </a:cubicBezTo>
                  <a:cubicBezTo>
                    <a:pt x="1227" y="6023"/>
                    <a:pt x="1727" y="4808"/>
                    <a:pt x="1727" y="3498"/>
                  </a:cubicBezTo>
                  <a:cubicBezTo>
                    <a:pt x="1727" y="2189"/>
                    <a:pt x="1227" y="962"/>
                    <a:pt x="298" y="46"/>
                  </a:cubicBezTo>
                  <a:cubicBezTo>
                    <a:pt x="262" y="16"/>
                    <a:pt x="218" y="1"/>
                    <a:pt x="1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8" name="Google Shape;9838;p58"/>
            <p:cNvSpPr/>
            <p:nvPr/>
          </p:nvSpPr>
          <p:spPr>
            <a:xfrm>
              <a:off x="3049653" y="2321468"/>
              <a:ext cx="210250" cy="290018"/>
            </a:xfrm>
            <a:custGeom>
              <a:avLst/>
              <a:gdLst/>
              <a:ahLst/>
              <a:cxnLst/>
              <a:rect l="l" t="t" r="r" b="b"/>
              <a:pathLst>
                <a:path w="6621" h="9133" extrusionOk="0">
                  <a:moveTo>
                    <a:pt x="5216" y="1072"/>
                  </a:moveTo>
                  <a:lnTo>
                    <a:pt x="5216" y="8097"/>
                  </a:lnTo>
                  <a:cubicBezTo>
                    <a:pt x="4156" y="7751"/>
                    <a:pt x="3287" y="7037"/>
                    <a:pt x="2739" y="6061"/>
                  </a:cubicBezTo>
                  <a:lnTo>
                    <a:pt x="2739" y="3084"/>
                  </a:lnTo>
                  <a:cubicBezTo>
                    <a:pt x="3275" y="2120"/>
                    <a:pt x="4156" y="1405"/>
                    <a:pt x="5216" y="1072"/>
                  </a:cubicBezTo>
                  <a:close/>
                  <a:moveTo>
                    <a:pt x="5716" y="0"/>
                  </a:moveTo>
                  <a:cubicBezTo>
                    <a:pt x="5430" y="0"/>
                    <a:pt x="5216" y="215"/>
                    <a:pt x="5216" y="501"/>
                  </a:cubicBezTo>
                  <a:lnTo>
                    <a:pt x="5216" y="691"/>
                  </a:lnTo>
                  <a:cubicBezTo>
                    <a:pt x="4049" y="1048"/>
                    <a:pt x="3096" y="1810"/>
                    <a:pt x="2489" y="2858"/>
                  </a:cubicBezTo>
                  <a:lnTo>
                    <a:pt x="1227" y="2858"/>
                  </a:lnTo>
                  <a:cubicBezTo>
                    <a:pt x="549" y="2858"/>
                    <a:pt x="13" y="3394"/>
                    <a:pt x="13" y="4061"/>
                  </a:cubicBezTo>
                  <a:lnTo>
                    <a:pt x="13" y="5037"/>
                  </a:lnTo>
                  <a:cubicBezTo>
                    <a:pt x="1" y="5692"/>
                    <a:pt x="489" y="6227"/>
                    <a:pt x="1120" y="6275"/>
                  </a:cubicBezTo>
                  <a:cubicBezTo>
                    <a:pt x="1203" y="6275"/>
                    <a:pt x="1287" y="6216"/>
                    <a:pt x="1299" y="6132"/>
                  </a:cubicBezTo>
                  <a:cubicBezTo>
                    <a:pt x="1299" y="6037"/>
                    <a:pt x="1239" y="5966"/>
                    <a:pt x="1144" y="5954"/>
                  </a:cubicBezTo>
                  <a:cubicBezTo>
                    <a:pt x="703" y="5918"/>
                    <a:pt x="346" y="5537"/>
                    <a:pt x="346" y="5073"/>
                  </a:cubicBezTo>
                  <a:lnTo>
                    <a:pt x="346" y="4084"/>
                  </a:lnTo>
                  <a:cubicBezTo>
                    <a:pt x="346" y="3608"/>
                    <a:pt x="727" y="3215"/>
                    <a:pt x="1227" y="3215"/>
                  </a:cubicBezTo>
                  <a:lnTo>
                    <a:pt x="2418" y="3215"/>
                  </a:lnTo>
                  <a:lnTo>
                    <a:pt x="2418" y="5954"/>
                  </a:lnTo>
                  <a:lnTo>
                    <a:pt x="1918" y="5954"/>
                  </a:lnTo>
                  <a:cubicBezTo>
                    <a:pt x="1834" y="5954"/>
                    <a:pt x="1763" y="6025"/>
                    <a:pt x="1763" y="6108"/>
                  </a:cubicBezTo>
                  <a:cubicBezTo>
                    <a:pt x="1763" y="6204"/>
                    <a:pt x="1834" y="6275"/>
                    <a:pt x="1918" y="6275"/>
                  </a:cubicBezTo>
                  <a:lnTo>
                    <a:pt x="2489" y="6275"/>
                  </a:lnTo>
                  <a:cubicBezTo>
                    <a:pt x="3096" y="7323"/>
                    <a:pt x="4049" y="8097"/>
                    <a:pt x="5216" y="8430"/>
                  </a:cubicBezTo>
                  <a:lnTo>
                    <a:pt x="5216" y="8633"/>
                  </a:lnTo>
                  <a:cubicBezTo>
                    <a:pt x="5216" y="8906"/>
                    <a:pt x="5430" y="9133"/>
                    <a:pt x="5716" y="9133"/>
                  </a:cubicBezTo>
                  <a:lnTo>
                    <a:pt x="6121" y="9133"/>
                  </a:lnTo>
                  <a:cubicBezTo>
                    <a:pt x="6406" y="9133"/>
                    <a:pt x="6621" y="8906"/>
                    <a:pt x="6621" y="8633"/>
                  </a:cubicBezTo>
                  <a:lnTo>
                    <a:pt x="6621" y="4953"/>
                  </a:lnTo>
                  <a:cubicBezTo>
                    <a:pt x="6621" y="4858"/>
                    <a:pt x="6549" y="4787"/>
                    <a:pt x="6466" y="4787"/>
                  </a:cubicBezTo>
                  <a:cubicBezTo>
                    <a:pt x="6371" y="4787"/>
                    <a:pt x="6299" y="4858"/>
                    <a:pt x="6299" y="4953"/>
                  </a:cubicBezTo>
                  <a:lnTo>
                    <a:pt x="6299" y="8633"/>
                  </a:lnTo>
                  <a:cubicBezTo>
                    <a:pt x="6299" y="8728"/>
                    <a:pt x="6228" y="8811"/>
                    <a:pt x="6121" y="8811"/>
                  </a:cubicBezTo>
                  <a:lnTo>
                    <a:pt x="5716" y="8811"/>
                  </a:lnTo>
                  <a:cubicBezTo>
                    <a:pt x="5609" y="8811"/>
                    <a:pt x="5537" y="8728"/>
                    <a:pt x="5537" y="8633"/>
                  </a:cubicBezTo>
                  <a:lnTo>
                    <a:pt x="5537" y="501"/>
                  </a:lnTo>
                  <a:cubicBezTo>
                    <a:pt x="5537" y="393"/>
                    <a:pt x="5609" y="322"/>
                    <a:pt x="5716" y="322"/>
                  </a:cubicBezTo>
                  <a:lnTo>
                    <a:pt x="6121" y="322"/>
                  </a:lnTo>
                  <a:cubicBezTo>
                    <a:pt x="6228" y="322"/>
                    <a:pt x="6299" y="393"/>
                    <a:pt x="6299" y="501"/>
                  </a:cubicBezTo>
                  <a:lnTo>
                    <a:pt x="6299" y="4180"/>
                  </a:lnTo>
                  <a:cubicBezTo>
                    <a:pt x="6299" y="4263"/>
                    <a:pt x="6371" y="4346"/>
                    <a:pt x="6466" y="4346"/>
                  </a:cubicBezTo>
                  <a:cubicBezTo>
                    <a:pt x="6549" y="4346"/>
                    <a:pt x="6621" y="4263"/>
                    <a:pt x="6621" y="4180"/>
                  </a:cubicBezTo>
                  <a:lnTo>
                    <a:pt x="6621" y="501"/>
                  </a:lnTo>
                  <a:cubicBezTo>
                    <a:pt x="6621" y="215"/>
                    <a:pt x="6406" y="0"/>
                    <a:pt x="6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39" name="Google Shape;9839;p58"/>
          <p:cNvGrpSpPr/>
          <p:nvPr/>
        </p:nvGrpSpPr>
        <p:grpSpPr>
          <a:xfrm>
            <a:off x="3564243" y="2289904"/>
            <a:ext cx="422342" cy="355243"/>
            <a:chOff x="3564243" y="2289904"/>
            <a:chExt cx="422342" cy="355243"/>
          </a:xfrm>
        </p:grpSpPr>
        <p:sp>
          <p:nvSpPr>
            <p:cNvPr id="9840" name="Google Shape;9840;p58"/>
            <p:cNvSpPr/>
            <p:nvPr/>
          </p:nvSpPr>
          <p:spPr>
            <a:xfrm>
              <a:off x="3564243" y="2291587"/>
              <a:ext cx="66177" cy="351655"/>
            </a:xfrm>
            <a:custGeom>
              <a:avLst/>
              <a:gdLst/>
              <a:ahLst/>
              <a:cxnLst/>
              <a:rect l="l" t="t" r="r" b="b"/>
              <a:pathLst>
                <a:path w="2084" h="11074" extrusionOk="0">
                  <a:moveTo>
                    <a:pt x="1703" y="1918"/>
                  </a:moveTo>
                  <a:lnTo>
                    <a:pt x="1703" y="2727"/>
                  </a:lnTo>
                  <a:cubicBezTo>
                    <a:pt x="1703" y="2823"/>
                    <a:pt x="1667" y="2930"/>
                    <a:pt x="1608" y="2966"/>
                  </a:cubicBezTo>
                  <a:cubicBezTo>
                    <a:pt x="1453" y="3085"/>
                    <a:pt x="1298" y="3287"/>
                    <a:pt x="1239" y="3501"/>
                  </a:cubicBezTo>
                  <a:lnTo>
                    <a:pt x="834" y="3501"/>
                  </a:lnTo>
                  <a:cubicBezTo>
                    <a:pt x="798" y="3299"/>
                    <a:pt x="667" y="3085"/>
                    <a:pt x="524" y="2989"/>
                  </a:cubicBezTo>
                  <a:cubicBezTo>
                    <a:pt x="453" y="2942"/>
                    <a:pt x="393" y="2823"/>
                    <a:pt x="393" y="2727"/>
                  </a:cubicBezTo>
                  <a:lnTo>
                    <a:pt x="393" y="1918"/>
                  </a:lnTo>
                  <a:close/>
                  <a:moveTo>
                    <a:pt x="1227" y="3882"/>
                  </a:moveTo>
                  <a:lnTo>
                    <a:pt x="1227" y="5144"/>
                  </a:lnTo>
                  <a:cubicBezTo>
                    <a:pt x="1227" y="6359"/>
                    <a:pt x="1239" y="7549"/>
                    <a:pt x="1369" y="8752"/>
                  </a:cubicBezTo>
                  <a:cubicBezTo>
                    <a:pt x="1453" y="9478"/>
                    <a:pt x="1489" y="10085"/>
                    <a:pt x="1489" y="10205"/>
                  </a:cubicBezTo>
                  <a:cubicBezTo>
                    <a:pt x="1477" y="10478"/>
                    <a:pt x="1298" y="10681"/>
                    <a:pt x="1048" y="10681"/>
                  </a:cubicBezTo>
                  <a:cubicBezTo>
                    <a:pt x="798" y="10681"/>
                    <a:pt x="619" y="10490"/>
                    <a:pt x="619" y="10228"/>
                  </a:cubicBezTo>
                  <a:cubicBezTo>
                    <a:pt x="619" y="10097"/>
                    <a:pt x="655" y="9490"/>
                    <a:pt x="738" y="8764"/>
                  </a:cubicBezTo>
                  <a:cubicBezTo>
                    <a:pt x="869" y="7561"/>
                    <a:pt x="881" y="6371"/>
                    <a:pt x="881" y="5168"/>
                  </a:cubicBezTo>
                  <a:lnTo>
                    <a:pt x="881" y="3882"/>
                  </a:lnTo>
                  <a:close/>
                  <a:moveTo>
                    <a:pt x="203" y="1"/>
                  </a:moveTo>
                  <a:cubicBezTo>
                    <a:pt x="96" y="1"/>
                    <a:pt x="0" y="84"/>
                    <a:pt x="0" y="191"/>
                  </a:cubicBezTo>
                  <a:lnTo>
                    <a:pt x="0" y="2727"/>
                  </a:lnTo>
                  <a:cubicBezTo>
                    <a:pt x="0" y="2966"/>
                    <a:pt x="143" y="3216"/>
                    <a:pt x="334" y="3335"/>
                  </a:cubicBezTo>
                  <a:cubicBezTo>
                    <a:pt x="393" y="3358"/>
                    <a:pt x="477" y="3573"/>
                    <a:pt x="477" y="3692"/>
                  </a:cubicBezTo>
                  <a:lnTo>
                    <a:pt x="477" y="5144"/>
                  </a:lnTo>
                  <a:cubicBezTo>
                    <a:pt x="477" y="6359"/>
                    <a:pt x="465" y="7526"/>
                    <a:pt x="346" y="8716"/>
                  </a:cubicBezTo>
                  <a:cubicBezTo>
                    <a:pt x="274" y="9454"/>
                    <a:pt x="226" y="10074"/>
                    <a:pt x="226" y="10228"/>
                  </a:cubicBezTo>
                  <a:cubicBezTo>
                    <a:pt x="226" y="10705"/>
                    <a:pt x="584" y="11074"/>
                    <a:pt x="1048" y="11074"/>
                  </a:cubicBezTo>
                  <a:cubicBezTo>
                    <a:pt x="1512" y="11074"/>
                    <a:pt x="1870" y="10705"/>
                    <a:pt x="1870" y="10228"/>
                  </a:cubicBezTo>
                  <a:cubicBezTo>
                    <a:pt x="1870" y="10074"/>
                    <a:pt x="1822" y="9454"/>
                    <a:pt x="1750" y="8716"/>
                  </a:cubicBezTo>
                  <a:cubicBezTo>
                    <a:pt x="1608" y="7526"/>
                    <a:pt x="1608" y="6359"/>
                    <a:pt x="1608" y="5144"/>
                  </a:cubicBezTo>
                  <a:lnTo>
                    <a:pt x="1608" y="3692"/>
                  </a:lnTo>
                  <a:cubicBezTo>
                    <a:pt x="1608" y="3561"/>
                    <a:pt x="1715" y="3358"/>
                    <a:pt x="1834" y="3275"/>
                  </a:cubicBezTo>
                  <a:cubicBezTo>
                    <a:pt x="2024" y="3144"/>
                    <a:pt x="2084" y="2906"/>
                    <a:pt x="2084" y="2704"/>
                  </a:cubicBezTo>
                  <a:lnTo>
                    <a:pt x="2084" y="251"/>
                  </a:lnTo>
                  <a:cubicBezTo>
                    <a:pt x="2084" y="168"/>
                    <a:pt x="2001" y="72"/>
                    <a:pt x="1893" y="72"/>
                  </a:cubicBezTo>
                  <a:cubicBezTo>
                    <a:pt x="1786" y="72"/>
                    <a:pt x="1703" y="168"/>
                    <a:pt x="1703" y="263"/>
                  </a:cubicBezTo>
                  <a:lnTo>
                    <a:pt x="1703" y="1537"/>
                  </a:lnTo>
                  <a:lnTo>
                    <a:pt x="1239" y="1537"/>
                  </a:lnTo>
                  <a:lnTo>
                    <a:pt x="1239" y="191"/>
                  </a:lnTo>
                  <a:cubicBezTo>
                    <a:pt x="1239" y="84"/>
                    <a:pt x="1155" y="1"/>
                    <a:pt x="1048" y="1"/>
                  </a:cubicBezTo>
                  <a:cubicBezTo>
                    <a:pt x="941" y="1"/>
                    <a:pt x="858" y="84"/>
                    <a:pt x="858" y="191"/>
                  </a:cubicBezTo>
                  <a:lnTo>
                    <a:pt x="858" y="1537"/>
                  </a:lnTo>
                  <a:lnTo>
                    <a:pt x="393" y="1537"/>
                  </a:lnTo>
                  <a:lnTo>
                    <a:pt x="393" y="191"/>
                  </a:lnTo>
                  <a:cubicBezTo>
                    <a:pt x="393" y="84"/>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1" name="Google Shape;9841;p58"/>
            <p:cNvSpPr/>
            <p:nvPr/>
          </p:nvSpPr>
          <p:spPr>
            <a:xfrm>
              <a:off x="3636835" y="2373674"/>
              <a:ext cx="236702" cy="236289"/>
            </a:xfrm>
            <a:custGeom>
              <a:avLst/>
              <a:gdLst/>
              <a:ahLst/>
              <a:cxnLst/>
              <a:rect l="l" t="t" r="r" b="b"/>
              <a:pathLst>
                <a:path w="7454" h="7441" extrusionOk="0">
                  <a:moveTo>
                    <a:pt x="1175" y="0"/>
                  </a:moveTo>
                  <a:cubicBezTo>
                    <a:pt x="1121" y="0"/>
                    <a:pt x="1069" y="25"/>
                    <a:pt x="1036" y="71"/>
                  </a:cubicBezTo>
                  <a:cubicBezTo>
                    <a:pt x="369" y="881"/>
                    <a:pt x="0" y="1905"/>
                    <a:pt x="0" y="2952"/>
                  </a:cubicBezTo>
                  <a:cubicBezTo>
                    <a:pt x="0" y="5429"/>
                    <a:pt x="2024" y="7441"/>
                    <a:pt x="4489" y="7441"/>
                  </a:cubicBezTo>
                  <a:cubicBezTo>
                    <a:pt x="5537" y="7441"/>
                    <a:pt x="6561" y="7072"/>
                    <a:pt x="7358" y="6405"/>
                  </a:cubicBezTo>
                  <a:cubicBezTo>
                    <a:pt x="7454" y="6322"/>
                    <a:pt x="7454" y="6203"/>
                    <a:pt x="7394" y="6131"/>
                  </a:cubicBezTo>
                  <a:cubicBezTo>
                    <a:pt x="7352" y="6083"/>
                    <a:pt x="7286" y="6058"/>
                    <a:pt x="7224" y="6058"/>
                  </a:cubicBezTo>
                  <a:cubicBezTo>
                    <a:pt x="7180" y="6058"/>
                    <a:pt x="7138" y="6071"/>
                    <a:pt x="7108" y="6096"/>
                  </a:cubicBezTo>
                  <a:cubicBezTo>
                    <a:pt x="6382" y="6703"/>
                    <a:pt x="5441" y="7048"/>
                    <a:pt x="4489" y="7048"/>
                  </a:cubicBezTo>
                  <a:cubicBezTo>
                    <a:pt x="2227" y="7048"/>
                    <a:pt x="381" y="5203"/>
                    <a:pt x="381" y="2928"/>
                  </a:cubicBezTo>
                  <a:cubicBezTo>
                    <a:pt x="381" y="1988"/>
                    <a:pt x="727" y="1047"/>
                    <a:pt x="1334" y="309"/>
                  </a:cubicBezTo>
                  <a:cubicBezTo>
                    <a:pt x="1405" y="226"/>
                    <a:pt x="1393" y="107"/>
                    <a:pt x="1298" y="47"/>
                  </a:cubicBezTo>
                  <a:cubicBezTo>
                    <a:pt x="1261" y="16"/>
                    <a:pt x="1217" y="0"/>
                    <a:pt x="1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2" name="Google Shape;9842;p58"/>
            <p:cNvSpPr/>
            <p:nvPr/>
          </p:nvSpPr>
          <p:spPr>
            <a:xfrm>
              <a:off x="3685230" y="2324104"/>
              <a:ext cx="237083" cy="235971"/>
            </a:xfrm>
            <a:custGeom>
              <a:avLst/>
              <a:gdLst/>
              <a:ahLst/>
              <a:cxnLst/>
              <a:rect l="l" t="t" r="r" b="b"/>
              <a:pathLst>
                <a:path w="7466" h="7431" extrusionOk="0">
                  <a:moveTo>
                    <a:pt x="2953" y="1"/>
                  </a:moveTo>
                  <a:cubicBezTo>
                    <a:pt x="1905" y="1"/>
                    <a:pt x="893" y="358"/>
                    <a:pt x="96" y="1025"/>
                  </a:cubicBezTo>
                  <a:cubicBezTo>
                    <a:pt x="0" y="1108"/>
                    <a:pt x="0" y="1227"/>
                    <a:pt x="60" y="1299"/>
                  </a:cubicBezTo>
                  <a:cubicBezTo>
                    <a:pt x="99" y="1344"/>
                    <a:pt x="151" y="1364"/>
                    <a:pt x="205" y="1364"/>
                  </a:cubicBezTo>
                  <a:cubicBezTo>
                    <a:pt x="250" y="1364"/>
                    <a:pt x="295" y="1350"/>
                    <a:pt x="334" y="1322"/>
                  </a:cubicBezTo>
                  <a:cubicBezTo>
                    <a:pt x="1060" y="715"/>
                    <a:pt x="2001" y="394"/>
                    <a:pt x="2953" y="394"/>
                  </a:cubicBezTo>
                  <a:cubicBezTo>
                    <a:pt x="5215" y="394"/>
                    <a:pt x="7061" y="2227"/>
                    <a:pt x="7061" y="4501"/>
                  </a:cubicBezTo>
                  <a:cubicBezTo>
                    <a:pt x="7061" y="5454"/>
                    <a:pt x="6727" y="6371"/>
                    <a:pt x="6120" y="7121"/>
                  </a:cubicBezTo>
                  <a:cubicBezTo>
                    <a:pt x="6049" y="7204"/>
                    <a:pt x="6061" y="7323"/>
                    <a:pt x="6156" y="7383"/>
                  </a:cubicBezTo>
                  <a:cubicBezTo>
                    <a:pt x="6180" y="7418"/>
                    <a:pt x="6227" y="7430"/>
                    <a:pt x="6275" y="7430"/>
                  </a:cubicBezTo>
                  <a:cubicBezTo>
                    <a:pt x="6322" y="7430"/>
                    <a:pt x="6382" y="7395"/>
                    <a:pt x="6418" y="7359"/>
                  </a:cubicBezTo>
                  <a:cubicBezTo>
                    <a:pt x="7084" y="6549"/>
                    <a:pt x="7442" y="5537"/>
                    <a:pt x="7442" y="4501"/>
                  </a:cubicBezTo>
                  <a:cubicBezTo>
                    <a:pt x="7465" y="2013"/>
                    <a:pt x="5441"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3" name="Google Shape;9843;p58"/>
            <p:cNvSpPr/>
            <p:nvPr/>
          </p:nvSpPr>
          <p:spPr>
            <a:xfrm>
              <a:off x="3663668" y="2351699"/>
              <a:ext cx="230668" cy="230668"/>
            </a:xfrm>
            <a:custGeom>
              <a:avLst/>
              <a:gdLst/>
              <a:ahLst/>
              <a:cxnLst/>
              <a:rect l="l" t="t" r="r" b="b"/>
              <a:pathLst>
                <a:path w="7264" h="7264" extrusionOk="0">
                  <a:moveTo>
                    <a:pt x="3632" y="382"/>
                  </a:moveTo>
                  <a:cubicBezTo>
                    <a:pt x="5418" y="382"/>
                    <a:pt x="6871" y="1846"/>
                    <a:pt x="6871" y="3632"/>
                  </a:cubicBezTo>
                  <a:cubicBezTo>
                    <a:pt x="6871" y="5418"/>
                    <a:pt x="5418" y="6871"/>
                    <a:pt x="3632" y="6871"/>
                  </a:cubicBezTo>
                  <a:cubicBezTo>
                    <a:pt x="1846" y="6871"/>
                    <a:pt x="382" y="5418"/>
                    <a:pt x="382" y="3632"/>
                  </a:cubicBezTo>
                  <a:cubicBezTo>
                    <a:pt x="382" y="1846"/>
                    <a:pt x="1846" y="382"/>
                    <a:pt x="3632" y="382"/>
                  </a:cubicBezTo>
                  <a:close/>
                  <a:moveTo>
                    <a:pt x="3632" y="1"/>
                  </a:moveTo>
                  <a:cubicBezTo>
                    <a:pt x="1632" y="1"/>
                    <a:pt x="1" y="1632"/>
                    <a:pt x="1" y="3632"/>
                  </a:cubicBezTo>
                  <a:cubicBezTo>
                    <a:pt x="1" y="5633"/>
                    <a:pt x="1632" y="7264"/>
                    <a:pt x="3632" y="7264"/>
                  </a:cubicBezTo>
                  <a:cubicBezTo>
                    <a:pt x="5644" y="7264"/>
                    <a:pt x="7263" y="5621"/>
                    <a:pt x="7263" y="3632"/>
                  </a:cubicBezTo>
                  <a:cubicBezTo>
                    <a:pt x="7263" y="1620"/>
                    <a:pt x="5620"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4" name="Google Shape;9844;p58"/>
            <p:cNvSpPr/>
            <p:nvPr/>
          </p:nvSpPr>
          <p:spPr>
            <a:xfrm>
              <a:off x="3933998" y="2289904"/>
              <a:ext cx="52586" cy="355243"/>
            </a:xfrm>
            <a:custGeom>
              <a:avLst/>
              <a:gdLst/>
              <a:ahLst/>
              <a:cxnLst/>
              <a:rect l="l" t="t" r="r" b="b"/>
              <a:pathLst>
                <a:path w="1656" h="11187" extrusionOk="0">
                  <a:moveTo>
                    <a:pt x="1251" y="554"/>
                  </a:moveTo>
                  <a:lnTo>
                    <a:pt x="1251" y="5555"/>
                  </a:lnTo>
                  <a:lnTo>
                    <a:pt x="715" y="5578"/>
                  </a:lnTo>
                  <a:lnTo>
                    <a:pt x="703" y="5578"/>
                  </a:lnTo>
                  <a:cubicBezTo>
                    <a:pt x="693" y="5580"/>
                    <a:pt x="683" y="5580"/>
                    <a:pt x="673" y="5580"/>
                  </a:cubicBezTo>
                  <a:cubicBezTo>
                    <a:pt x="583" y="5580"/>
                    <a:pt x="481" y="5536"/>
                    <a:pt x="417" y="5483"/>
                  </a:cubicBezTo>
                  <a:cubicBezTo>
                    <a:pt x="382" y="5436"/>
                    <a:pt x="370" y="5412"/>
                    <a:pt x="370" y="5412"/>
                  </a:cubicBezTo>
                  <a:lnTo>
                    <a:pt x="370" y="2411"/>
                  </a:lnTo>
                  <a:cubicBezTo>
                    <a:pt x="370" y="1697"/>
                    <a:pt x="703" y="1006"/>
                    <a:pt x="1251" y="554"/>
                  </a:cubicBezTo>
                  <a:close/>
                  <a:moveTo>
                    <a:pt x="1263" y="5959"/>
                  </a:moveTo>
                  <a:cubicBezTo>
                    <a:pt x="1263" y="9448"/>
                    <a:pt x="1275" y="10258"/>
                    <a:pt x="1275" y="10281"/>
                  </a:cubicBezTo>
                  <a:cubicBezTo>
                    <a:pt x="1263" y="10496"/>
                    <a:pt x="1203" y="10769"/>
                    <a:pt x="941" y="10769"/>
                  </a:cubicBezTo>
                  <a:cubicBezTo>
                    <a:pt x="858" y="10769"/>
                    <a:pt x="620" y="10769"/>
                    <a:pt x="620" y="10258"/>
                  </a:cubicBezTo>
                  <a:cubicBezTo>
                    <a:pt x="620" y="10115"/>
                    <a:pt x="667" y="9710"/>
                    <a:pt x="727" y="9246"/>
                  </a:cubicBezTo>
                  <a:cubicBezTo>
                    <a:pt x="822" y="8472"/>
                    <a:pt x="941" y="7400"/>
                    <a:pt x="941" y="6686"/>
                  </a:cubicBezTo>
                  <a:lnTo>
                    <a:pt x="941" y="5959"/>
                  </a:lnTo>
                  <a:close/>
                  <a:moveTo>
                    <a:pt x="1453" y="0"/>
                  </a:moveTo>
                  <a:cubicBezTo>
                    <a:pt x="1420" y="0"/>
                    <a:pt x="1388" y="6"/>
                    <a:pt x="1358" y="18"/>
                  </a:cubicBezTo>
                  <a:cubicBezTo>
                    <a:pt x="524" y="530"/>
                    <a:pt x="1" y="1447"/>
                    <a:pt x="1" y="2435"/>
                  </a:cubicBezTo>
                  <a:lnTo>
                    <a:pt x="1" y="5424"/>
                  </a:lnTo>
                  <a:cubicBezTo>
                    <a:pt x="1" y="5555"/>
                    <a:pt x="60" y="5674"/>
                    <a:pt x="179" y="5781"/>
                  </a:cubicBezTo>
                  <a:cubicBezTo>
                    <a:pt x="286" y="5876"/>
                    <a:pt x="417" y="5936"/>
                    <a:pt x="548" y="5959"/>
                  </a:cubicBezTo>
                  <a:lnTo>
                    <a:pt x="548" y="6709"/>
                  </a:lnTo>
                  <a:cubicBezTo>
                    <a:pt x="548" y="7400"/>
                    <a:pt x="429" y="8460"/>
                    <a:pt x="346" y="9222"/>
                  </a:cubicBezTo>
                  <a:cubicBezTo>
                    <a:pt x="286" y="9710"/>
                    <a:pt x="239" y="10091"/>
                    <a:pt x="239" y="10281"/>
                  </a:cubicBezTo>
                  <a:cubicBezTo>
                    <a:pt x="239" y="11115"/>
                    <a:pt x="774" y="11186"/>
                    <a:pt x="941" y="11186"/>
                  </a:cubicBezTo>
                  <a:cubicBezTo>
                    <a:pt x="1275" y="11186"/>
                    <a:pt x="1656" y="10948"/>
                    <a:pt x="1656" y="10281"/>
                  </a:cubicBezTo>
                  <a:lnTo>
                    <a:pt x="1656" y="185"/>
                  </a:lnTo>
                  <a:cubicBezTo>
                    <a:pt x="1656" y="113"/>
                    <a:pt x="1608" y="54"/>
                    <a:pt x="1548" y="18"/>
                  </a:cubicBezTo>
                  <a:cubicBezTo>
                    <a:pt x="1519" y="6"/>
                    <a:pt x="1486"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45" name="Google Shape;9845;p58"/>
          <p:cNvSpPr/>
          <p:nvPr/>
        </p:nvSpPr>
        <p:spPr>
          <a:xfrm>
            <a:off x="4143835" y="2288189"/>
            <a:ext cx="357688" cy="357339"/>
          </a:xfrm>
          <a:custGeom>
            <a:avLst/>
            <a:gdLst/>
            <a:ahLst/>
            <a:cxnLst/>
            <a:rect l="l" t="t" r="r" b="b"/>
            <a:pathLst>
              <a:path w="11264" h="11253" extrusionOk="0">
                <a:moveTo>
                  <a:pt x="9847" y="548"/>
                </a:moveTo>
                <a:lnTo>
                  <a:pt x="9847" y="1203"/>
                </a:lnTo>
                <a:cubicBezTo>
                  <a:pt x="9847" y="1299"/>
                  <a:pt x="9930" y="1370"/>
                  <a:pt x="10014" y="1370"/>
                </a:cubicBezTo>
                <a:lnTo>
                  <a:pt x="10669" y="1370"/>
                </a:lnTo>
                <a:lnTo>
                  <a:pt x="9252" y="2811"/>
                </a:lnTo>
                <a:lnTo>
                  <a:pt x="8656" y="2811"/>
                </a:lnTo>
                <a:lnTo>
                  <a:pt x="9609" y="1858"/>
                </a:lnTo>
                <a:cubicBezTo>
                  <a:pt x="9668" y="1799"/>
                  <a:pt x="9668" y="1703"/>
                  <a:pt x="9609" y="1620"/>
                </a:cubicBezTo>
                <a:cubicBezTo>
                  <a:pt x="9579" y="1590"/>
                  <a:pt x="9537" y="1575"/>
                  <a:pt x="9494" y="1575"/>
                </a:cubicBezTo>
                <a:cubicBezTo>
                  <a:pt x="9451" y="1575"/>
                  <a:pt x="9406" y="1590"/>
                  <a:pt x="9371" y="1620"/>
                </a:cubicBezTo>
                <a:lnTo>
                  <a:pt x="8418" y="2572"/>
                </a:lnTo>
                <a:lnTo>
                  <a:pt x="8418" y="1977"/>
                </a:lnTo>
                <a:lnTo>
                  <a:pt x="9847" y="548"/>
                </a:lnTo>
                <a:close/>
                <a:moveTo>
                  <a:pt x="4549" y="2442"/>
                </a:moveTo>
                <a:cubicBezTo>
                  <a:pt x="5668" y="2442"/>
                  <a:pt x="6680" y="2870"/>
                  <a:pt x="7430" y="3573"/>
                </a:cubicBezTo>
                <a:lnTo>
                  <a:pt x="4430" y="6561"/>
                </a:lnTo>
                <a:cubicBezTo>
                  <a:pt x="4370" y="6621"/>
                  <a:pt x="4370" y="6728"/>
                  <a:pt x="4430" y="6799"/>
                </a:cubicBezTo>
                <a:cubicBezTo>
                  <a:pt x="4465" y="6835"/>
                  <a:pt x="4513" y="6847"/>
                  <a:pt x="4549" y="6847"/>
                </a:cubicBezTo>
                <a:cubicBezTo>
                  <a:pt x="4596" y="6847"/>
                  <a:pt x="4644" y="6835"/>
                  <a:pt x="4668" y="6799"/>
                </a:cubicBezTo>
                <a:lnTo>
                  <a:pt x="5418" y="6061"/>
                </a:lnTo>
                <a:cubicBezTo>
                  <a:pt x="5549" y="6240"/>
                  <a:pt x="5620" y="6466"/>
                  <a:pt x="5620" y="6680"/>
                </a:cubicBezTo>
                <a:cubicBezTo>
                  <a:pt x="5620" y="7275"/>
                  <a:pt x="5144" y="7752"/>
                  <a:pt x="4549" y="7752"/>
                </a:cubicBezTo>
                <a:cubicBezTo>
                  <a:pt x="3953" y="7752"/>
                  <a:pt x="3477" y="7275"/>
                  <a:pt x="3477" y="6680"/>
                </a:cubicBezTo>
                <a:cubicBezTo>
                  <a:pt x="3477" y="6085"/>
                  <a:pt x="3953" y="5609"/>
                  <a:pt x="4549" y="5609"/>
                </a:cubicBezTo>
                <a:cubicBezTo>
                  <a:pt x="4608" y="5609"/>
                  <a:pt x="4680" y="5609"/>
                  <a:pt x="4739" y="5632"/>
                </a:cubicBezTo>
                <a:cubicBezTo>
                  <a:pt x="4747" y="5633"/>
                  <a:pt x="4755" y="5634"/>
                  <a:pt x="4763" y="5634"/>
                </a:cubicBezTo>
                <a:cubicBezTo>
                  <a:pt x="4848" y="5634"/>
                  <a:pt x="4920" y="5577"/>
                  <a:pt x="4942" y="5490"/>
                </a:cubicBezTo>
                <a:cubicBezTo>
                  <a:pt x="4954" y="5406"/>
                  <a:pt x="4894" y="5311"/>
                  <a:pt x="4799" y="5299"/>
                </a:cubicBezTo>
                <a:cubicBezTo>
                  <a:pt x="4715" y="5287"/>
                  <a:pt x="4620" y="5275"/>
                  <a:pt x="4549" y="5275"/>
                </a:cubicBezTo>
                <a:cubicBezTo>
                  <a:pt x="3775" y="5275"/>
                  <a:pt x="3156" y="5894"/>
                  <a:pt x="3156" y="6668"/>
                </a:cubicBezTo>
                <a:cubicBezTo>
                  <a:pt x="3156" y="7442"/>
                  <a:pt x="3775" y="8073"/>
                  <a:pt x="4549" y="8073"/>
                </a:cubicBezTo>
                <a:cubicBezTo>
                  <a:pt x="5323" y="8073"/>
                  <a:pt x="5954" y="7442"/>
                  <a:pt x="5954" y="6668"/>
                </a:cubicBezTo>
                <a:cubicBezTo>
                  <a:pt x="5954" y="6359"/>
                  <a:pt x="5847" y="6049"/>
                  <a:pt x="5656" y="5811"/>
                </a:cubicBezTo>
                <a:lnTo>
                  <a:pt x="6168" y="5287"/>
                </a:lnTo>
                <a:cubicBezTo>
                  <a:pt x="6501" y="5668"/>
                  <a:pt x="6680" y="6168"/>
                  <a:pt x="6680" y="6668"/>
                </a:cubicBezTo>
                <a:cubicBezTo>
                  <a:pt x="6680" y="7847"/>
                  <a:pt x="5727" y="8799"/>
                  <a:pt x="4549" y="8799"/>
                </a:cubicBezTo>
                <a:cubicBezTo>
                  <a:pt x="3370" y="8799"/>
                  <a:pt x="2418" y="7847"/>
                  <a:pt x="2418" y="6668"/>
                </a:cubicBezTo>
                <a:cubicBezTo>
                  <a:pt x="2418" y="5490"/>
                  <a:pt x="3370" y="4537"/>
                  <a:pt x="4549" y="4537"/>
                </a:cubicBezTo>
                <a:cubicBezTo>
                  <a:pt x="4906" y="4537"/>
                  <a:pt x="5251" y="4632"/>
                  <a:pt x="5561" y="4799"/>
                </a:cubicBezTo>
                <a:cubicBezTo>
                  <a:pt x="5583" y="4810"/>
                  <a:pt x="5608" y="4815"/>
                  <a:pt x="5635" y="4815"/>
                </a:cubicBezTo>
                <a:cubicBezTo>
                  <a:pt x="5693" y="4815"/>
                  <a:pt x="5754" y="4789"/>
                  <a:pt x="5787" y="4739"/>
                </a:cubicBezTo>
                <a:cubicBezTo>
                  <a:pt x="5835" y="4656"/>
                  <a:pt x="5799" y="4561"/>
                  <a:pt x="5727" y="4513"/>
                </a:cubicBezTo>
                <a:cubicBezTo>
                  <a:pt x="5370" y="4323"/>
                  <a:pt x="4965" y="4216"/>
                  <a:pt x="4561" y="4216"/>
                </a:cubicBezTo>
                <a:cubicBezTo>
                  <a:pt x="3215" y="4216"/>
                  <a:pt x="2108" y="5311"/>
                  <a:pt x="2108" y="6668"/>
                </a:cubicBezTo>
                <a:cubicBezTo>
                  <a:pt x="2108" y="8026"/>
                  <a:pt x="3215" y="9121"/>
                  <a:pt x="4561" y="9121"/>
                </a:cubicBezTo>
                <a:cubicBezTo>
                  <a:pt x="5918" y="9121"/>
                  <a:pt x="7025" y="8026"/>
                  <a:pt x="7025" y="6668"/>
                </a:cubicBezTo>
                <a:cubicBezTo>
                  <a:pt x="7025" y="6073"/>
                  <a:pt x="6811" y="5490"/>
                  <a:pt x="6406" y="5049"/>
                </a:cubicBezTo>
                <a:lnTo>
                  <a:pt x="6930" y="4525"/>
                </a:lnTo>
                <a:cubicBezTo>
                  <a:pt x="7466" y="5109"/>
                  <a:pt x="7752" y="5871"/>
                  <a:pt x="7752" y="6656"/>
                </a:cubicBezTo>
                <a:cubicBezTo>
                  <a:pt x="7752" y="8407"/>
                  <a:pt x="6323" y="9835"/>
                  <a:pt x="4561" y="9835"/>
                </a:cubicBezTo>
                <a:cubicBezTo>
                  <a:pt x="2810" y="9835"/>
                  <a:pt x="1382" y="8407"/>
                  <a:pt x="1382" y="6656"/>
                </a:cubicBezTo>
                <a:cubicBezTo>
                  <a:pt x="1382" y="4894"/>
                  <a:pt x="2810" y="3465"/>
                  <a:pt x="4561" y="3465"/>
                </a:cubicBezTo>
                <a:cubicBezTo>
                  <a:pt x="5180" y="3465"/>
                  <a:pt x="5775" y="3644"/>
                  <a:pt x="6275" y="3977"/>
                </a:cubicBezTo>
                <a:cubicBezTo>
                  <a:pt x="6300" y="3994"/>
                  <a:pt x="6330" y="4002"/>
                  <a:pt x="6360" y="4002"/>
                </a:cubicBezTo>
                <a:cubicBezTo>
                  <a:pt x="6415" y="4002"/>
                  <a:pt x="6471" y="3976"/>
                  <a:pt x="6501" y="3930"/>
                </a:cubicBezTo>
                <a:cubicBezTo>
                  <a:pt x="6549" y="3858"/>
                  <a:pt x="6525" y="3751"/>
                  <a:pt x="6454" y="3704"/>
                </a:cubicBezTo>
                <a:cubicBezTo>
                  <a:pt x="5894" y="3346"/>
                  <a:pt x="5239" y="3156"/>
                  <a:pt x="4561" y="3156"/>
                </a:cubicBezTo>
                <a:cubicBezTo>
                  <a:pt x="2632" y="3156"/>
                  <a:pt x="1048" y="4739"/>
                  <a:pt x="1048" y="6668"/>
                </a:cubicBezTo>
                <a:cubicBezTo>
                  <a:pt x="1048" y="8609"/>
                  <a:pt x="2632" y="10181"/>
                  <a:pt x="4561" y="10181"/>
                </a:cubicBezTo>
                <a:cubicBezTo>
                  <a:pt x="6501" y="10181"/>
                  <a:pt x="8073" y="8609"/>
                  <a:pt x="8073" y="6668"/>
                </a:cubicBezTo>
                <a:cubicBezTo>
                  <a:pt x="8073" y="5787"/>
                  <a:pt x="7752" y="4954"/>
                  <a:pt x="7156" y="4299"/>
                </a:cubicBezTo>
                <a:lnTo>
                  <a:pt x="7680" y="3787"/>
                </a:lnTo>
                <a:cubicBezTo>
                  <a:pt x="8383" y="4561"/>
                  <a:pt x="8799" y="5573"/>
                  <a:pt x="8799" y="6680"/>
                </a:cubicBezTo>
                <a:cubicBezTo>
                  <a:pt x="8799" y="9026"/>
                  <a:pt x="6894" y="10931"/>
                  <a:pt x="4549" y="10931"/>
                </a:cubicBezTo>
                <a:cubicBezTo>
                  <a:pt x="2215" y="10931"/>
                  <a:pt x="310" y="9026"/>
                  <a:pt x="310" y="6680"/>
                </a:cubicBezTo>
                <a:cubicBezTo>
                  <a:pt x="310" y="4347"/>
                  <a:pt x="2215" y="2442"/>
                  <a:pt x="4549" y="2442"/>
                </a:cubicBezTo>
                <a:close/>
                <a:moveTo>
                  <a:pt x="10023" y="1"/>
                </a:moveTo>
                <a:cubicBezTo>
                  <a:pt x="9981" y="1"/>
                  <a:pt x="9938" y="17"/>
                  <a:pt x="9907" y="48"/>
                </a:cubicBezTo>
                <a:lnTo>
                  <a:pt x="8156" y="1799"/>
                </a:lnTo>
                <a:cubicBezTo>
                  <a:pt x="8121" y="1834"/>
                  <a:pt x="8109" y="1882"/>
                  <a:pt x="8109" y="1918"/>
                </a:cubicBezTo>
                <a:lnTo>
                  <a:pt x="8109" y="2906"/>
                </a:lnTo>
                <a:lnTo>
                  <a:pt x="7680" y="3334"/>
                </a:lnTo>
                <a:cubicBezTo>
                  <a:pt x="6859" y="2572"/>
                  <a:pt x="5775" y="2120"/>
                  <a:pt x="4573" y="2120"/>
                </a:cubicBezTo>
                <a:cubicBezTo>
                  <a:pt x="2048" y="2120"/>
                  <a:pt x="1" y="4168"/>
                  <a:pt x="1" y="6680"/>
                </a:cubicBezTo>
                <a:cubicBezTo>
                  <a:pt x="1" y="9204"/>
                  <a:pt x="2048" y="11252"/>
                  <a:pt x="4573" y="11252"/>
                </a:cubicBezTo>
                <a:cubicBezTo>
                  <a:pt x="7085" y="11252"/>
                  <a:pt x="9133" y="9204"/>
                  <a:pt x="9133" y="6680"/>
                </a:cubicBezTo>
                <a:cubicBezTo>
                  <a:pt x="9133" y="5478"/>
                  <a:pt x="8680" y="4394"/>
                  <a:pt x="7918" y="3573"/>
                </a:cubicBezTo>
                <a:lnTo>
                  <a:pt x="8347" y="3144"/>
                </a:lnTo>
                <a:lnTo>
                  <a:pt x="9335" y="3144"/>
                </a:lnTo>
                <a:cubicBezTo>
                  <a:pt x="9371" y="3144"/>
                  <a:pt x="9418" y="3132"/>
                  <a:pt x="9454" y="3096"/>
                </a:cubicBezTo>
                <a:lnTo>
                  <a:pt x="11204" y="1346"/>
                </a:lnTo>
                <a:cubicBezTo>
                  <a:pt x="11252" y="1287"/>
                  <a:pt x="11264" y="1227"/>
                  <a:pt x="11240" y="1168"/>
                </a:cubicBezTo>
                <a:cubicBezTo>
                  <a:pt x="11204" y="1108"/>
                  <a:pt x="11145" y="1060"/>
                  <a:pt x="11085" y="1060"/>
                </a:cubicBezTo>
                <a:lnTo>
                  <a:pt x="10192" y="1060"/>
                </a:lnTo>
                <a:lnTo>
                  <a:pt x="10192" y="167"/>
                </a:lnTo>
                <a:cubicBezTo>
                  <a:pt x="10192" y="108"/>
                  <a:pt x="10145" y="36"/>
                  <a:pt x="10085" y="13"/>
                </a:cubicBezTo>
                <a:cubicBezTo>
                  <a:pt x="10065" y="5"/>
                  <a:pt x="10044" y="1"/>
                  <a:pt x="10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46" name="Google Shape;9846;p58"/>
          <p:cNvGrpSpPr/>
          <p:nvPr/>
        </p:nvGrpSpPr>
        <p:grpSpPr>
          <a:xfrm>
            <a:off x="4687894" y="2289713"/>
            <a:ext cx="359594" cy="353909"/>
            <a:chOff x="4687894" y="2289713"/>
            <a:chExt cx="359594" cy="353909"/>
          </a:xfrm>
        </p:grpSpPr>
        <p:sp>
          <p:nvSpPr>
            <p:cNvPr id="9847" name="Google Shape;9847;p58"/>
            <p:cNvSpPr/>
            <p:nvPr/>
          </p:nvSpPr>
          <p:spPr>
            <a:xfrm>
              <a:off x="4955207" y="2477227"/>
              <a:ext cx="34041" cy="22356"/>
            </a:xfrm>
            <a:custGeom>
              <a:avLst/>
              <a:gdLst/>
              <a:ahLst/>
              <a:cxnLst/>
              <a:rect l="l" t="t" r="r" b="b"/>
              <a:pathLst>
                <a:path w="1072" h="704" extrusionOk="0">
                  <a:moveTo>
                    <a:pt x="167" y="1"/>
                  </a:moveTo>
                  <a:cubicBezTo>
                    <a:pt x="72" y="1"/>
                    <a:pt x="0" y="72"/>
                    <a:pt x="0" y="168"/>
                  </a:cubicBezTo>
                  <a:cubicBezTo>
                    <a:pt x="0" y="465"/>
                    <a:pt x="238" y="703"/>
                    <a:pt x="536" y="703"/>
                  </a:cubicBezTo>
                  <a:cubicBezTo>
                    <a:pt x="834" y="703"/>
                    <a:pt x="1072" y="465"/>
                    <a:pt x="1072" y="168"/>
                  </a:cubicBezTo>
                  <a:cubicBezTo>
                    <a:pt x="1072" y="72"/>
                    <a:pt x="1000" y="1"/>
                    <a:pt x="905" y="1"/>
                  </a:cubicBezTo>
                  <a:cubicBezTo>
                    <a:pt x="822" y="1"/>
                    <a:pt x="750" y="72"/>
                    <a:pt x="750" y="168"/>
                  </a:cubicBezTo>
                  <a:cubicBezTo>
                    <a:pt x="750" y="287"/>
                    <a:pt x="655" y="370"/>
                    <a:pt x="536" y="370"/>
                  </a:cubicBezTo>
                  <a:cubicBezTo>
                    <a:pt x="417" y="370"/>
                    <a:pt x="334" y="287"/>
                    <a:pt x="334" y="168"/>
                  </a:cubicBez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8" name="Google Shape;9848;p58"/>
            <p:cNvSpPr/>
            <p:nvPr/>
          </p:nvSpPr>
          <p:spPr>
            <a:xfrm>
              <a:off x="4687894" y="2289713"/>
              <a:ext cx="359594" cy="353909"/>
            </a:xfrm>
            <a:custGeom>
              <a:avLst/>
              <a:gdLst/>
              <a:ahLst/>
              <a:cxnLst/>
              <a:rect l="l" t="t" r="r" b="b"/>
              <a:pathLst>
                <a:path w="11324" h="11145" extrusionOk="0">
                  <a:moveTo>
                    <a:pt x="9180" y="3036"/>
                  </a:moveTo>
                  <a:cubicBezTo>
                    <a:pt x="9204" y="3036"/>
                    <a:pt x="9228" y="3036"/>
                    <a:pt x="9240" y="3048"/>
                  </a:cubicBezTo>
                  <a:cubicBezTo>
                    <a:pt x="9299" y="3108"/>
                    <a:pt x="9371" y="3417"/>
                    <a:pt x="9299" y="3977"/>
                  </a:cubicBezTo>
                  <a:cubicBezTo>
                    <a:pt x="9240" y="4513"/>
                    <a:pt x="9061" y="4989"/>
                    <a:pt x="8895" y="5072"/>
                  </a:cubicBezTo>
                  <a:cubicBezTo>
                    <a:pt x="8813" y="5119"/>
                    <a:pt x="8682" y="5149"/>
                    <a:pt x="8533" y="5149"/>
                  </a:cubicBezTo>
                  <a:cubicBezTo>
                    <a:pt x="8336" y="5149"/>
                    <a:pt x="8108" y="5096"/>
                    <a:pt x="7918" y="4953"/>
                  </a:cubicBezTo>
                  <a:cubicBezTo>
                    <a:pt x="7573" y="4703"/>
                    <a:pt x="7466" y="4263"/>
                    <a:pt x="7585" y="3667"/>
                  </a:cubicBezTo>
                  <a:cubicBezTo>
                    <a:pt x="7597" y="3608"/>
                    <a:pt x="7644" y="3572"/>
                    <a:pt x="7704" y="3537"/>
                  </a:cubicBezTo>
                  <a:cubicBezTo>
                    <a:pt x="8526" y="3167"/>
                    <a:pt x="9002" y="3036"/>
                    <a:pt x="9180" y="3036"/>
                  </a:cubicBezTo>
                  <a:close/>
                  <a:moveTo>
                    <a:pt x="620" y="5608"/>
                  </a:moveTo>
                  <a:cubicBezTo>
                    <a:pt x="691" y="5620"/>
                    <a:pt x="798" y="5703"/>
                    <a:pt x="858" y="5846"/>
                  </a:cubicBezTo>
                  <a:cubicBezTo>
                    <a:pt x="870" y="5882"/>
                    <a:pt x="894" y="5942"/>
                    <a:pt x="894" y="6001"/>
                  </a:cubicBezTo>
                  <a:cubicBezTo>
                    <a:pt x="667" y="5953"/>
                    <a:pt x="501" y="5882"/>
                    <a:pt x="453" y="5799"/>
                  </a:cubicBezTo>
                  <a:cubicBezTo>
                    <a:pt x="441" y="5775"/>
                    <a:pt x="489" y="5703"/>
                    <a:pt x="501" y="5668"/>
                  </a:cubicBezTo>
                  <a:cubicBezTo>
                    <a:pt x="548" y="5608"/>
                    <a:pt x="572" y="5608"/>
                    <a:pt x="608" y="5608"/>
                  </a:cubicBezTo>
                  <a:close/>
                  <a:moveTo>
                    <a:pt x="5073" y="0"/>
                  </a:moveTo>
                  <a:cubicBezTo>
                    <a:pt x="4477" y="0"/>
                    <a:pt x="3906" y="238"/>
                    <a:pt x="3477" y="655"/>
                  </a:cubicBezTo>
                  <a:cubicBezTo>
                    <a:pt x="3049" y="1084"/>
                    <a:pt x="2822" y="1632"/>
                    <a:pt x="2822" y="2239"/>
                  </a:cubicBezTo>
                  <a:cubicBezTo>
                    <a:pt x="2822" y="2834"/>
                    <a:pt x="3061" y="3406"/>
                    <a:pt x="3477" y="3834"/>
                  </a:cubicBezTo>
                  <a:cubicBezTo>
                    <a:pt x="3596" y="3953"/>
                    <a:pt x="3727" y="4060"/>
                    <a:pt x="3882" y="4144"/>
                  </a:cubicBezTo>
                  <a:cubicBezTo>
                    <a:pt x="3775" y="4179"/>
                    <a:pt x="3668" y="4203"/>
                    <a:pt x="3584" y="4239"/>
                  </a:cubicBezTo>
                  <a:cubicBezTo>
                    <a:pt x="3489" y="4263"/>
                    <a:pt x="3453" y="4358"/>
                    <a:pt x="3477" y="4441"/>
                  </a:cubicBezTo>
                  <a:cubicBezTo>
                    <a:pt x="3505" y="4515"/>
                    <a:pt x="3561" y="4560"/>
                    <a:pt x="3629" y="4560"/>
                  </a:cubicBezTo>
                  <a:cubicBezTo>
                    <a:pt x="3649" y="4560"/>
                    <a:pt x="3670" y="4557"/>
                    <a:pt x="3692" y="4549"/>
                  </a:cubicBezTo>
                  <a:cubicBezTo>
                    <a:pt x="4138" y="4400"/>
                    <a:pt x="4608" y="4325"/>
                    <a:pt x="5079" y="4325"/>
                  </a:cubicBezTo>
                  <a:cubicBezTo>
                    <a:pt x="5549" y="4325"/>
                    <a:pt x="6019" y="4400"/>
                    <a:pt x="6466" y="4549"/>
                  </a:cubicBezTo>
                  <a:cubicBezTo>
                    <a:pt x="6490" y="4549"/>
                    <a:pt x="6501" y="4560"/>
                    <a:pt x="6525" y="4560"/>
                  </a:cubicBezTo>
                  <a:cubicBezTo>
                    <a:pt x="6609" y="4560"/>
                    <a:pt x="6668" y="4525"/>
                    <a:pt x="6680" y="4441"/>
                  </a:cubicBezTo>
                  <a:cubicBezTo>
                    <a:pt x="6704" y="4358"/>
                    <a:pt x="6668" y="4263"/>
                    <a:pt x="6573" y="4239"/>
                  </a:cubicBezTo>
                  <a:cubicBezTo>
                    <a:pt x="6466" y="4203"/>
                    <a:pt x="6370" y="4179"/>
                    <a:pt x="6275" y="4144"/>
                  </a:cubicBezTo>
                  <a:cubicBezTo>
                    <a:pt x="6406" y="4060"/>
                    <a:pt x="6549" y="3953"/>
                    <a:pt x="6680" y="3834"/>
                  </a:cubicBezTo>
                  <a:cubicBezTo>
                    <a:pt x="6787" y="3727"/>
                    <a:pt x="6882" y="3608"/>
                    <a:pt x="6966" y="3477"/>
                  </a:cubicBezTo>
                  <a:cubicBezTo>
                    <a:pt x="7002" y="3489"/>
                    <a:pt x="7049" y="3489"/>
                    <a:pt x="7097" y="3513"/>
                  </a:cubicBezTo>
                  <a:lnTo>
                    <a:pt x="7275" y="3548"/>
                  </a:lnTo>
                  <a:lnTo>
                    <a:pt x="7275" y="3572"/>
                  </a:lnTo>
                  <a:cubicBezTo>
                    <a:pt x="7204" y="3953"/>
                    <a:pt x="7204" y="4287"/>
                    <a:pt x="7287" y="4560"/>
                  </a:cubicBezTo>
                  <a:cubicBezTo>
                    <a:pt x="7359" y="4822"/>
                    <a:pt x="7513" y="5025"/>
                    <a:pt x="7716" y="5180"/>
                  </a:cubicBezTo>
                  <a:cubicBezTo>
                    <a:pt x="7954" y="5358"/>
                    <a:pt x="8252" y="5430"/>
                    <a:pt x="8526" y="5430"/>
                  </a:cubicBezTo>
                  <a:cubicBezTo>
                    <a:pt x="8728" y="5430"/>
                    <a:pt x="8907" y="5382"/>
                    <a:pt x="9049" y="5311"/>
                  </a:cubicBezTo>
                  <a:cubicBezTo>
                    <a:pt x="9192" y="5215"/>
                    <a:pt x="9323" y="5037"/>
                    <a:pt x="9430" y="4763"/>
                  </a:cubicBezTo>
                  <a:cubicBezTo>
                    <a:pt x="9478" y="4822"/>
                    <a:pt x="9526" y="4882"/>
                    <a:pt x="9561" y="4930"/>
                  </a:cubicBezTo>
                  <a:cubicBezTo>
                    <a:pt x="9740" y="5168"/>
                    <a:pt x="9859" y="5418"/>
                    <a:pt x="9954" y="5692"/>
                  </a:cubicBezTo>
                  <a:cubicBezTo>
                    <a:pt x="10002" y="5858"/>
                    <a:pt x="10133" y="5977"/>
                    <a:pt x="10300" y="6037"/>
                  </a:cubicBezTo>
                  <a:lnTo>
                    <a:pt x="10752" y="6192"/>
                  </a:lnTo>
                  <a:cubicBezTo>
                    <a:pt x="10871" y="6239"/>
                    <a:pt x="10966" y="6334"/>
                    <a:pt x="10966" y="6465"/>
                  </a:cubicBezTo>
                  <a:lnTo>
                    <a:pt x="10966" y="7239"/>
                  </a:lnTo>
                  <a:cubicBezTo>
                    <a:pt x="10966" y="7382"/>
                    <a:pt x="10895" y="7477"/>
                    <a:pt x="10752" y="7525"/>
                  </a:cubicBezTo>
                  <a:lnTo>
                    <a:pt x="10014" y="7763"/>
                  </a:lnTo>
                  <a:cubicBezTo>
                    <a:pt x="9895" y="7811"/>
                    <a:pt x="9788" y="7882"/>
                    <a:pt x="9728" y="8001"/>
                  </a:cubicBezTo>
                  <a:cubicBezTo>
                    <a:pt x="9430" y="8513"/>
                    <a:pt x="8966" y="8930"/>
                    <a:pt x="8359" y="9252"/>
                  </a:cubicBezTo>
                  <a:cubicBezTo>
                    <a:pt x="8287" y="9287"/>
                    <a:pt x="8240" y="9359"/>
                    <a:pt x="8228" y="9430"/>
                  </a:cubicBezTo>
                  <a:lnTo>
                    <a:pt x="7990" y="10692"/>
                  </a:lnTo>
                  <a:cubicBezTo>
                    <a:pt x="7990" y="10728"/>
                    <a:pt x="7954" y="10752"/>
                    <a:pt x="7918" y="10752"/>
                  </a:cubicBezTo>
                  <a:lnTo>
                    <a:pt x="7144" y="10752"/>
                  </a:lnTo>
                  <a:cubicBezTo>
                    <a:pt x="7109" y="10752"/>
                    <a:pt x="7085" y="10728"/>
                    <a:pt x="7061" y="10692"/>
                  </a:cubicBezTo>
                  <a:lnTo>
                    <a:pt x="6930" y="10002"/>
                  </a:lnTo>
                  <a:cubicBezTo>
                    <a:pt x="6897" y="9868"/>
                    <a:pt x="6800" y="9786"/>
                    <a:pt x="6661" y="9786"/>
                  </a:cubicBezTo>
                  <a:cubicBezTo>
                    <a:pt x="6652" y="9786"/>
                    <a:pt x="6642" y="9787"/>
                    <a:pt x="6632" y="9787"/>
                  </a:cubicBezTo>
                  <a:cubicBezTo>
                    <a:pt x="6299" y="9835"/>
                    <a:pt x="5954" y="9859"/>
                    <a:pt x="5608" y="9859"/>
                  </a:cubicBezTo>
                  <a:cubicBezTo>
                    <a:pt x="5358" y="9859"/>
                    <a:pt x="5097" y="9847"/>
                    <a:pt x="4846" y="9823"/>
                  </a:cubicBezTo>
                  <a:cubicBezTo>
                    <a:pt x="4833" y="9821"/>
                    <a:pt x="4819" y="9819"/>
                    <a:pt x="4806" y="9819"/>
                  </a:cubicBezTo>
                  <a:cubicBezTo>
                    <a:pt x="4692" y="9819"/>
                    <a:pt x="4593" y="9908"/>
                    <a:pt x="4561" y="10025"/>
                  </a:cubicBezTo>
                  <a:lnTo>
                    <a:pt x="4442" y="10692"/>
                  </a:lnTo>
                  <a:cubicBezTo>
                    <a:pt x="4442" y="10728"/>
                    <a:pt x="4418" y="10752"/>
                    <a:pt x="4370" y="10752"/>
                  </a:cubicBezTo>
                  <a:lnTo>
                    <a:pt x="3596" y="10752"/>
                  </a:lnTo>
                  <a:cubicBezTo>
                    <a:pt x="3573" y="10752"/>
                    <a:pt x="3537" y="10728"/>
                    <a:pt x="3525" y="10692"/>
                  </a:cubicBezTo>
                  <a:lnTo>
                    <a:pt x="3299" y="9502"/>
                  </a:lnTo>
                  <a:cubicBezTo>
                    <a:pt x="3287" y="9430"/>
                    <a:pt x="3239" y="9359"/>
                    <a:pt x="3168" y="9323"/>
                  </a:cubicBezTo>
                  <a:cubicBezTo>
                    <a:pt x="2108" y="8763"/>
                    <a:pt x="1560" y="7823"/>
                    <a:pt x="1560" y="6620"/>
                  </a:cubicBezTo>
                  <a:cubicBezTo>
                    <a:pt x="1560" y="6013"/>
                    <a:pt x="1691" y="5477"/>
                    <a:pt x="1965" y="5013"/>
                  </a:cubicBezTo>
                  <a:cubicBezTo>
                    <a:pt x="2215" y="4584"/>
                    <a:pt x="2572" y="4239"/>
                    <a:pt x="3037" y="3965"/>
                  </a:cubicBezTo>
                  <a:cubicBezTo>
                    <a:pt x="3108" y="3929"/>
                    <a:pt x="3132" y="3822"/>
                    <a:pt x="3096" y="3751"/>
                  </a:cubicBezTo>
                  <a:cubicBezTo>
                    <a:pt x="3065" y="3696"/>
                    <a:pt x="3008" y="3667"/>
                    <a:pt x="2952" y="3667"/>
                  </a:cubicBezTo>
                  <a:cubicBezTo>
                    <a:pt x="2923" y="3667"/>
                    <a:pt x="2895" y="3675"/>
                    <a:pt x="2870" y="3691"/>
                  </a:cubicBezTo>
                  <a:cubicBezTo>
                    <a:pt x="1977" y="4203"/>
                    <a:pt x="1429" y="5013"/>
                    <a:pt x="1275" y="6025"/>
                  </a:cubicBezTo>
                  <a:lnTo>
                    <a:pt x="1227" y="6025"/>
                  </a:lnTo>
                  <a:cubicBezTo>
                    <a:pt x="1227" y="5918"/>
                    <a:pt x="1215" y="5799"/>
                    <a:pt x="1167" y="5692"/>
                  </a:cubicBezTo>
                  <a:cubicBezTo>
                    <a:pt x="1084" y="5453"/>
                    <a:pt x="870" y="5299"/>
                    <a:pt x="667" y="5263"/>
                  </a:cubicBezTo>
                  <a:cubicBezTo>
                    <a:pt x="654" y="5262"/>
                    <a:pt x="640" y="5261"/>
                    <a:pt x="626" y="5261"/>
                  </a:cubicBezTo>
                  <a:cubicBezTo>
                    <a:pt x="474" y="5261"/>
                    <a:pt x="326" y="5323"/>
                    <a:pt x="239" y="5465"/>
                  </a:cubicBezTo>
                  <a:cubicBezTo>
                    <a:pt x="72" y="5668"/>
                    <a:pt x="96" y="5834"/>
                    <a:pt x="144" y="5942"/>
                  </a:cubicBezTo>
                  <a:cubicBezTo>
                    <a:pt x="239" y="6096"/>
                    <a:pt x="441" y="6239"/>
                    <a:pt x="798" y="6311"/>
                  </a:cubicBezTo>
                  <a:cubicBezTo>
                    <a:pt x="786" y="6323"/>
                    <a:pt x="786" y="6334"/>
                    <a:pt x="775" y="6358"/>
                  </a:cubicBezTo>
                  <a:cubicBezTo>
                    <a:pt x="560" y="6620"/>
                    <a:pt x="310" y="6680"/>
                    <a:pt x="155" y="6680"/>
                  </a:cubicBezTo>
                  <a:cubicBezTo>
                    <a:pt x="72" y="6680"/>
                    <a:pt x="1" y="6751"/>
                    <a:pt x="1" y="6858"/>
                  </a:cubicBezTo>
                  <a:cubicBezTo>
                    <a:pt x="1" y="6954"/>
                    <a:pt x="72" y="7025"/>
                    <a:pt x="155" y="7037"/>
                  </a:cubicBezTo>
                  <a:lnTo>
                    <a:pt x="191" y="7037"/>
                  </a:lnTo>
                  <a:cubicBezTo>
                    <a:pt x="394" y="7037"/>
                    <a:pt x="715" y="6966"/>
                    <a:pt x="1025" y="6573"/>
                  </a:cubicBezTo>
                  <a:cubicBezTo>
                    <a:pt x="1072" y="6513"/>
                    <a:pt x="1108" y="6442"/>
                    <a:pt x="1144" y="6382"/>
                  </a:cubicBezTo>
                  <a:cubicBezTo>
                    <a:pt x="1167" y="6382"/>
                    <a:pt x="1203" y="6382"/>
                    <a:pt x="1227" y="6394"/>
                  </a:cubicBezTo>
                  <a:cubicBezTo>
                    <a:pt x="1227" y="6489"/>
                    <a:pt x="1215" y="6573"/>
                    <a:pt x="1215" y="6668"/>
                  </a:cubicBezTo>
                  <a:cubicBezTo>
                    <a:pt x="1215" y="7347"/>
                    <a:pt x="1382" y="7954"/>
                    <a:pt x="1703" y="8478"/>
                  </a:cubicBezTo>
                  <a:cubicBezTo>
                    <a:pt x="2001" y="8954"/>
                    <a:pt x="2441" y="9359"/>
                    <a:pt x="2977" y="9644"/>
                  </a:cubicBezTo>
                  <a:lnTo>
                    <a:pt x="3192" y="10799"/>
                  </a:lnTo>
                  <a:cubicBezTo>
                    <a:pt x="3227" y="11002"/>
                    <a:pt x="3406" y="11133"/>
                    <a:pt x="3596" y="11133"/>
                  </a:cubicBezTo>
                  <a:lnTo>
                    <a:pt x="4370" y="11133"/>
                  </a:lnTo>
                  <a:cubicBezTo>
                    <a:pt x="4561" y="11133"/>
                    <a:pt x="4727" y="11002"/>
                    <a:pt x="4775" y="10799"/>
                  </a:cubicBezTo>
                  <a:lnTo>
                    <a:pt x="4894" y="10204"/>
                  </a:lnTo>
                  <a:cubicBezTo>
                    <a:pt x="5132" y="10240"/>
                    <a:pt x="5370" y="10252"/>
                    <a:pt x="5620" y="10252"/>
                  </a:cubicBezTo>
                  <a:cubicBezTo>
                    <a:pt x="5966" y="10252"/>
                    <a:pt x="6311" y="10228"/>
                    <a:pt x="6632" y="10180"/>
                  </a:cubicBezTo>
                  <a:lnTo>
                    <a:pt x="6751" y="10823"/>
                  </a:lnTo>
                  <a:cubicBezTo>
                    <a:pt x="6787" y="11014"/>
                    <a:pt x="6966" y="11145"/>
                    <a:pt x="7156" y="11145"/>
                  </a:cubicBezTo>
                  <a:lnTo>
                    <a:pt x="7930" y="11145"/>
                  </a:lnTo>
                  <a:cubicBezTo>
                    <a:pt x="8121" y="11145"/>
                    <a:pt x="8287" y="11014"/>
                    <a:pt x="8335" y="10823"/>
                  </a:cubicBezTo>
                  <a:lnTo>
                    <a:pt x="8573" y="9585"/>
                  </a:lnTo>
                  <a:cubicBezTo>
                    <a:pt x="9228" y="9240"/>
                    <a:pt x="9716" y="8775"/>
                    <a:pt x="10038" y="8228"/>
                  </a:cubicBezTo>
                  <a:cubicBezTo>
                    <a:pt x="10073" y="8180"/>
                    <a:pt x="10097" y="8156"/>
                    <a:pt x="10145" y="8132"/>
                  </a:cubicBezTo>
                  <a:lnTo>
                    <a:pt x="10895" y="7894"/>
                  </a:lnTo>
                  <a:cubicBezTo>
                    <a:pt x="11145" y="7811"/>
                    <a:pt x="11323" y="7573"/>
                    <a:pt x="11323" y="7299"/>
                  </a:cubicBezTo>
                  <a:lnTo>
                    <a:pt x="11323" y="6525"/>
                  </a:lnTo>
                  <a:cubicBezTo>
                    <a:pt x="11312" y="6251"/>
                    <a:pt x="11133" y="6013"/>
                    <a:pt x="10871" y="5918"/>
                  </a:cubicBezTo>
                  <a:lnTo>
                    <a:pt x="10419" y="5775"/>
                  </a:lnTo>
                  <a:cubicBezTo>
                    <a:pt x="10359" y="5763"/>
                    <a:pt x="10311" y="5715"/>
                    <a:pt x="10300" y="5644"/>
                  </a:cubicBezTo>
                  <a:cubicBezTo>
                    <a:pt x="10192" y="5322"/>
                    <a:pt x="10061" y="5049"/>
                    <a:pt x="9859" y="4775"/>
                  </a:cubicBezTo>
                  <a:cubicBezTo>
                    <a:pt x="9776" y="4656"/>
                    <a:pt x="9680" y="4537"/>
                    <a:pt x="9561" y="4429"/>
                  </a:cubicBezTo>
                  <a:cubicBezTo>
                    <a:pt x="9645" y="4132"/>
                    <a:pt x="9669" y="3798"/>
                    <a:pt x="9669" y="3501"/>
                  </a:cubicBezTo>
                  <a:cubicBezTo>
                    <a:pt x="9669" y="3084"/>
                    <a:pt x="9585" y="2822"/>
                    <a:pt x="9418" y="2739"/>
                  </a:cubicBezTo>
                  <a:cubicBezTo>
                    <a:pt x="9384" y="2722"/>
                    <a:pt x="9329" y="2693"/>
                    <a:pt x="9204" y="2693"/>
                  </a:cubicBezTo>
                  <a:cubicBezTo>
                    <a:pt x="8980" y="2693"/>
                    <a:pt x="8533" y="2787"/>
                    <a:pt x="7585" y="3215"/>
                  </a:cubicBezTo>
                  <a:cubicBezTo>
                    <a:pt x="7561" y="3227"/>
                    <a:pt x="7513" y="3239"/>
                    <a:pt x="7478" y="3275"/>
                  </a:cubicBezTo>
                  <a:cubicBezTo>
                    <a:pt x="7383" y="3239"/>
                    <a:pt x="7287" y="3227"/>
                    <a:pt x="7180" y="3191"/>
                  </a:cubicBezTo>
                  <a:cubicBezTo>
                    <a:pt x="7168" y="3191"/>
                    <a:pt x="7156" y="3191"/>
                    <a:pt x="7144" y="3179"/>
                  </a:cubicBezTo>
                  <a:cubicBezTo>
                    <a:pt x="7263" y="2929"/>
                    <a:pt x="7335" y="2644"/>
                    <a:pt x="7347" y="2346"/>
                  </a:cubicBezTo>
                  <a:cubicBezTo>
                    <a:pt x="7347" y="2263"/>
                    <a:pt x="7287" y="2179"/>
                    <a:pt x="7180" y="2167"/>
                  </a:cubicBezTo>
                  <a:cubicBezTo>
                    <a:pt x="7097" y="2167"/>
                    <a:pt x="7025" y="2227"/>
                    <a:pt x="7002" y="2334"/>
                  </a:cubicBezTo>
                  <a:cubicBezTo>
                    <a:pt x="6990" y="2810"/>
                    <a:pt x="6787" y="3251"/>
                    <a:pt x="6442" y="3596"/>
                  </a:cubicBezTo>
                  <a:cubicBezTo>
                    <a:pt x="6228" y="3810"/>
                    <a:pt x="5989" y="3953"/>
                    <a:pt x="5739" y="4048"/>
                  </a:cubicBezTo>
                  <a:cubicBezTo>
                    <a:pt x="5525" y="4019"/>
                    <a:pt x="5302" y="4004"/>
                    <a:pt x="5079" y="4004"/>
                  </a:cubicBezTo>
                  <a:cubicBezTo>
                    <a:pt x="4855" y="4004"/>
                    <a:pt x="4632" y="4019"/>
                    <a:pt x="4418" y="4048"/>
                  </a:cubicBezTo>
                  <a:cubicBezTo>
                    <a:pt x="4168" y="3953"/>
                    <a:pt x="3930" y="3810"/>
                    <a:pt x="3715" y="3596"/>
                  </a:cubicBezTo>
                  <a:cubicBezTo>
                    <a:pt x="3358" y="3239"/>
                    <a:pt x="3156" y="2751"/>
                    <a:pt x="3156" y="2239"/>
                  </a:cubicBezTo>
                  <a:cubicBezTo>
                    <a:pt x="3156" y="1739"/>
                    <a:pt x="3346" y="1251"/>
                    <a:pt x="3715" y="893"/>
                  </a:cubicBezTo>
                  <a:cubicBezTo>
                    <a:pt x="4073" y="536"/>
                    <a:pt x="4561" y="322"/>
                    <a:pt x="5073" y="322"/>
                  </a:cubicBezTo>
                  <a:cubicBezTo>
                    <a:pt x="5573" y="322"/>
                    <a:pt x="6073" y="512"/>
                    <a:pt x="6430" y="893"/>
                  </a:cubicBezTo>
                  <a:cubicBezTo>
                    <a:pt x="6573" y="1036"/>
                    <a:pt x="6692" y="1203"/>
                    <a:pt x="6787" y="1381"/>
                  </a:cubicBezTo>
                  <a:cubicBezTo>
                    <a:pt x="6813" y="1433"/>
                    <a:pt x="6870" y="1472"/>
                    <a:pt x="6930" y="1472"/>
                  </a:cubicBezTo>
                  <a:cubicBezTo>
                    <a:pt x="6954" y="1472"/>
                    <a:pt x="6978" y="1466"/>
                    <a:pt x="7002" y="1453"/>
                  </a:cubicBezTo>
                  <a:cubicBezTo>
                    <a:pt x="7085" y="1405"/>
                    <a:pt x="7121" y="1322"/>
                    <a:pt x="7085" y="1227"/>
                  </a:cubicBezTo>
                  <a:cubicBezTo>
                    <a:pt x="6978" y="1024"/>
                    <a:pt x="6823" y="834"/>
                    <a:pt x="6668" y="655"/>
                  </a:cubicBezTo>
                  <a:cubicBezTo>
                    <a:pt x="6228" y="215"/>
                    <a:pt x="5680" y="0"/>
                    <a:pt x="5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9" name="Google Shape;9849;p58"/>
            <p:cNvSpPr/>
            <p:nvPr/>
          </p:nvSpPr>
          <p:spPr>
            <a:xfrm>
              <a:off x="4829299" y="2324485"/>
              <a:ext cx="42393" cy="75291"/>
            </a:xfrm>
            <a:custGeom>
              <a:avLst/>
              <a:gdLst/>
              <a:ahLst/>
              <a:cxnLst/>
              <a:rect l="l" t="t" r="r" b="b"/>
              <a:pathLst>
                <a:path w="1335" h="2371" extrusionOk="0">
                  <a:moveTo>
                    <a:pt x="644" y="417"/>
                  </a:moveTo>
                  <a:lnTo>
                    <a:pt x="644" y="941"/>
                  </a:lnTo>
                  <a:cubicBezTo>
                    <a:pt x="501" y="882"/>
                    <a:pt x="370" y="822"/>
                    <a:pt x="370" y="656"/>
                  </a:cubicBezTo>
                  <a:cubicBezTo>
                    <a:pt x="370" y="513"/>
                    <a:pt x="489" y="441"/>
                    <a:pt x="644" y="417"/>
                  </a:cubicBezTo>
                  <a:close/>
                  <a:moveTo>
                    <a:pt x="786" y="1322"/>
                  </a:moveTo>
                  <a:cubicBezTo>
                    <a:pt x="929" y="1382"/>
                    <a:pt x="1036" y="1477"/>
                    <a:pt x="1036" y="1656"/>
                  </a:cubicBezTo>
                  <a:cubicBezTo>
                    <a:pt x="1036" y="1810"/>
                    <a:pt x="929" y="1906"/>
                    <a:pt x="786" y="1941"/>
                  </a:cubicBezTo>
                  <a:lnTo>
                    <a:pt x="786" y="1322"/>
                  </a:lnTo>
                  <a:close/>
                  <a:moveTo>
                    <a:pt x="703" y="1"/>
                  </a:moveTo>
                  <a:cubicBezTo>
                    <a:pt x="655" y="1"/>
                    <a:pt x="620" y="36"/>
                    <a:pt x="620" y="60"/>
                  </a:cubicBezTo>
                  <a:lnTo>
                    <a:pt x="620" y="156"/>
                  </a:lnTo>
                  <a:cubicBezTo>
                    <a:pt x="334" y="179"/>
                    <a:pt x="60" y="334"/>
                    <a:pt x="60" y="691"/>
                  </a:cubicBezTo>
                  <a:cubicBezTo>
                    <a:pt x="60" y="1060"/>
                    <a:pt x="346" y="1168"/>
                    <a:pt x="620" y="1251"/>
                  </a:cubicBezTo>
                  <a:lnTo>
                    <a:pt x="620" y="1941"/>
                  </a:lnTo>
                  <a:cubicBezTo>
                    <a:pt x="322" y="1906"/>
                    <a:pt x="239" y="1715"/>
                    <a:pt x="143" y="1715"/>
                  </a:cubicBezTo>
                  <a:cubicBezTo>
                    <a:pt x="60" y="1715"/>
                    <a:pt x="1" y="1810"/>
                    <a:pt x="1" y="1882"/>
                  </a:cubicBezTo>
                  <a:cubicBezTo>
                    <a:pt x="1" y="2025"/>
                    <a:pt x="239" y="2227"/>
                    <a:pt x="620" y="2227"/>
                  </a:cubicBezTo>
                  <a:lnTo>
                    <a:pt x="620" y="2311"/>
                  </a:lnTo>
                  <a:cubicBezTo>
                    <a:pt x="620" y="2346"/>
                    <a:pt x="644" y="2370"/>
                    <a:pt x="703" y="2370"/>
                  </a:cubicBezTo>
                  <a:cubicBezTo>
                    <a:pt x="751" y="2370"/>
                    <a:pt x="798" y="2346"/>
                    <a:pt x="798" y="2311"/>
                  </a:cubicBezTo>
                  <a:lnTo>
                    <a:pt x="798" y="2203"/>
                  </a:lnTo>
                  <a:cubicBezTo>
                    <a:pt x="1108" y="2168"/>
                    <a:pt x="1310" y="1965"/>
                    <a:pt x="1310" y="1608"/>
                  </a:cubicBezTo>
                  <a:cubicBezTo>
                    <a:pt x="1334" y="1227"/>
                    <a:pt x="1048" y="1096"/>
                    <a:pt x="798" y="1001"/>
                  </a:cubicBezTo>
                  <a:lnTo>
                    <a:pt x="798" y="406"/>
                  </a:lnTo>
                  <a:cubicBezTo>
                    <a:pt x="1001" y="417"/>
                    <a:pt x="1084" y="513"/>
                    <a:pt x="1144" y="513"/>
                  </a:cubicBezTo>
                  <a:cubicBezTo>
                    <a:pt x="1227" y="513"/>
                    <a:pt x="1275" y="406"/>
                    <a:pt x="1275" y="346"/>
                  </a:cubicBezTo>
                  <a:cubicBezTo>
                    <a:pt x="1275" y="203"/>
                    <a:pt x="989" y="144"/>
                    <a:pt x="798" y="144"/>
                  </a:cubicBezTo>
                  <a:lnTo>
                    <a:pt x="798" y="60"/>
                  </a:lnTo>
                  <a:cubicBezTo>
                    <a:pt x="798" y="36"/>
                    <a:pt x="751" y="1"/>
                    <a:pt x="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50" name="Google Shape;9850;p58"/>
          <p:cNvSpPr/>
          <p:nvPr/>
        </p:nvSpPr>
        <p:spPr>
          <a:xfrm>
            <a:off x="5234620" y="2287078"/>
            <a:ext cx="358832" cy="359562"/>
          </a:xfrm>
          <a:custGeom>
            <a:avLst/>
            <a:gdLst/>
            <a:ahLst/>
            <a:cxnLst/>
            <a:rect l="l" t="t" r="r" b="b"/>
            <a:pathLst>
              <a:path w="11300" h="11323" extrusionOk="0">
                <a:moveTo>
                  <a:pt x="5620" y="333"/>
                </a:moveTo>
                <a:cubicBezTo>
                  <a:pt x="5715" y="333"/>
                  <a:pt x="5787" y="405"/>
                  <a:pt x="5787" y="500"/>
                </a:cubicBezTo>
                <a:lnTo>
                  <a:pt x="5787" y="560"/>
                </a:lnTo>
                <a:lnTo>
                  <a:pt x="5453" y="560"/>
                </a:lnTo>
                <a:lnTo>
                  <a:pt x="5453" y="500"/>
                </a:lnTo>
                <a:cubicBezTo>
                  <a:pt x="5453" y="405"/>
                  <a:pt x="5536" y="333"/>
                  <a:pt x="5620" y="333"/>
                </a:cubicBezTo>
                <a:close/>
                <a:moveTo>
                  <a:pt x="5465" y="917"/>
                </a:moveTo>
                <a:lnTo>
                  <a:pt x="5465" y="5822"/>
                </a:lnTo>
                <a:cubicBezTo>
                  <a:pt x="5120" y="5560"/>
                  <a:pt x="4703" y="5405"/>
                  <a:pt x="4251" y="5405"/>
                </a:cubicBezTo>
                <a:cubicBezTo>
                  <a:pt x="3810" y="5405"/>
                  <a:pt x="3393" y="5560"/>
                  <a:pt x="3060" y="5810"/>
                </a:cubicBezTo>
                <a:cubicBezTo>
                  <a:pt x="3108" y="4536"/>
                  <a:pt x="3370" y="3322"/>
                  <a:pt x="3834" y="2417"/>
                </a:cubicBezTo>
                <a:cubicBezTo>
                  <a:pt x="4286" y="1524"/>
                  <a:pt x="4846" y="1000"/>
                  <a:pt x="5465" y="917"/>
                </a:cubicBezTo>
                <a:close/>
                <a:moveTo>
                  <a:pt x="5822" y="917"/>
                </a:moveTo>
                <a:cubicBezTo>
                  <a:pt x="6441" y="1000"/>
                  <a:pt x="7037" y="1584"/>
                  <a:pt x="7501" y="2524"/>
                </a:cubicBezTo>
                <a:cubicBezTo>
                  <a:pt x="7526" y="2582"/>
                  <a:pt x="7579" y="2617"/>
                  <a:pt x="7642" y="2617"/>
                </a:cubicBezTo>
                <a:cubicBezTo>
                  <a:pt x="7669" y="2617"/>
                  <a:pt x="7698" y="2610"/>
                  <a:pt x="7727" y="2596"/>
                </a:cubicBezTo>
                <a:cubicBezTo>
                  <a:pt x="7811" y="2548"/>
                  <a:pt x="7834" y="2465"/>
                  <a:pt x="7799" y="2369"/>
                </a:cubicBezTo>
                <a:cubicBezTo>
                  <a:pt x="7525" y="1810"/>
                  <a:pt x="7215" y="1381"/>
                  <a:pt x="6858" y="1060"/>
                </a:cubicBezTo>
                <a:lnTo>
                  <a:pt x="6810" y="1024"/>
                </a:lnTo>
                <a:lnTo>
                  <a:pt x="6810" y="1024"/>
                </a:lnTo>
                <a:cubicBezTo>
                  <a:pt x="7799" y="1238"/>
                  <a:pt x="8692" y="1715"/>
                  <a:pt x="9406" y="2453"/>
                </a:cubicBezTo>
                <a:cubicBezTo>
                  <a:pt x="10311" y="3358"/>
                  <a:pt x="10847" y="4536"/>
                  <a:pt x="10954" y="5798"/>
                </a:cubicBezTo>
                <a:cubicBezTo>
                  <a:pt x="10597" y="5560"/>
                  <a:pt x="10180" y="5405"/>
                  <a:pt x="9751" y="5405"/>
                </a:cubicBezTo>
                <a:cubicBezTo>
                  <a:pt x="9299" y="5405"/>
                  <a:pt x="8870" y="5560"/>
                  <a:pt x="8537" y="5822"/>
                </a:cubicBezTo>
                <a:cubicBezTo>
                  <a:pt x="8513" y="4834"/>
                  <a:pt x="8346" y="3893"/>
                  <a:pt x="8061" y="3060"/>
                </a:cubicBezTo>
                <a:cubicBezTo>
                  <a:pt x="8042" y="2984"/>
                  <a:pt x="7977" y="2946"/>
                  <a:pt x="7909" y="2946"/>
                </a:cubicBezTo>
                <a:cubicBezTo>
                  <a:pt x="7892" y="2946"/>
                  <a:pt x="7875" y="2948"/>
                  <a:pt x="7858" y="2953"/>
                </a:cubicBezTo>
                <a:cubicBezTo>
                  <a:pt x="7763" y="2988"/>
                  <a:pt x="7727" y="3072"/>
                  <a:pt x="7751" y="3167"/>
                </a:cubicBezTo>
                <a:cubicBezTo>
                  <a:pt x="8025" y="3953"/>
                  <a:pt x="8180" y="4858"/>
                  <a:pt x="8215" y="5810"/>
                </a:cubicBezTo>
                <a:cubicBezTo>
                  <a:pt x="7882" y="5560"/>
                  <a:pt x="7453" y="5405"/>
                  <a:pt x="7025" y="5405"/>
                </a:cubicBezTo>
                <a:cubicBezTo>
                  <a:pt x="6572" y="5405"/>
                  <a:pt x="6156" y="5560"/>
                  <a:pt x="5822" y="5822"/>
                </a:cubicBezTo>
                <a:lnTo>
                  <a:pt x="5822" y="917"/>
                </a:lnTo>
                <a:close/>
                <a:moveTo>
                  <a:pt x="5596" y="8299"/>
                </a:moveTo>
                <a:cubicBezTo>
                  <a:pt x="5679" y="8299"/>
                  <a:pt x="5751" y="8370"/>
                  <a:pt x="5751" y="8453"/>
                </a:cubicBezTo>
                <a:lnTo>
                  <a:pt x="5751" y="9894"/>
                </a:lnTo>
                <a:lnTo>
                  <a:pt x="5787" y="9894"/>
                </a:lnTo>
                <a:cubicBezTo>
                  <a:pt x="5787" y="10489"/>
                  <a:pt x="5310" y="10978"/>
                  <a:pt x="4727" y="10978"/>
                </a:cubicBezTo>
                <a:cubicBezTo>
                  <a:pt x="4286" y="10978"/>
                  <a:pt x="3882" y="10704"/>
                  <a:pt x="3715" y="10287"/>
                </a:cubicBezTo>
                <a:cubicBezTo>
                  <a:pt x="3703" y="10239"/>
                  <a:pt x="3703" y="10192"/>
                  <a:pt x="3739" y="10144"/>
                </a:cubicBezTo>
                <a:cubicBezTo>
                  <a:pt x="3762" y="10097"/>
                  <a:pt x="3822" y="10073"/>
                  <a:pt x="3870" y="10073"/>
                </a:cubicBezTo>
                <a:cubicBezTo>
                  <a:pt x="3941" y="10073"/>
                  <a:pt x="4001" y="10108"/>
                  <a:pt x="4012" y="10168"/>
                </a:cubicBezTo>
                <a:cubicBezTo>
                  <a:pt x="4120" y="10454"/>
                  <a:pt x="4393" y="10632"/>
                  <a:pt x="4691" y="10644"/>
                </a:cubicBezTo>
                <a:cubicBezTo>
                  <a:pt x="4882" y="10644"/>
                  <a:pt x="5072" y="10573"/>
                  <a:pt x="5203" y="10442"/>
                </a:cubicBezTo>
                <a:cubicBezTo>
                  <a:pt x="5358" y="10287"/>
                  <a:pt x="5429" y="10097"/>
                  <a:pt x="5429" y="9906"/>
                </a:cubicBezTo>
                <a:lnTo>
                  <a:pt x="5429" y="8453"/>
                </a:lnTo>
                <a:cubicBezTo>
                  <a:pt x="5429" y="8370"/>
                  <a:pt x="5501" y="8299"/>
                  <a:pt x="5596" y="8299"/>
                </a:cubicBezTo>
                <a:close/>
                <a:moveTo>
                  <a:pt x="5644" y="0"/>
                </a:moveTo>
                <a:cubicBezTo>
                  <a:pt x="5370" y="0"/>
                  <a:pt x="5144" y="226"/>
                  <a:pt x="5144" y="500"/>
                </a:cubicBezTo>
                <a:lnTo>
                  <a:pt x="5144" y="583"/>
                </a:lnTo>
                <a:cubicBezTo>
                  <a:pt x="4215" y="667"/>
                  <a:pt x="3322" y="976"/>
                  <a:pt x="2524" y="1500"/>
                </a:cubicBezTo>
                <a:cubicBezTo>
                  <a:pt x="1631" y="2096"/>
                  <a:pt x="917" y="2929"/>
                  <a:pt x="476" y="3905"/>
                </a:cubicBezTo>
                <a:cubicBezTo>
                  <a:pt x="429" y="4001"/>
                  <a:pt x="476" y="4084"/>
                  <a:pt x="560" y="4131"/>
                </a:cubicBezTo>
                <a:cubicBezTo>
                  <a:pt x="585" y="4144"/>
                  <a:pt x="610" y="4150"/>
                  <a:pt x="633" y="4150"/>
                </a:cubicBezTo>
                <a:cubicBezTo>
                  <a:pt x="697" y="4150"/>
                  <a:pt x="751" y="4106"/>
                  <a:pt x="786" y="4036"/>
                </a:cubicBezTo>
                <a:cubicBezTo>
                  <a:pt x="1203" y="3119"/>
                  <a:pt x="1869" y="2346"/>
                  <a:pt x="2727" y="1774"/>
                </a:cubicBezTo>
                <a:cubicBezTo>
                  <a:pt x="3262" y="1417"/>
                  <a:pt x="3858" y="1167"/>
                  <a:pt x="4477" y="1036"/>
                </a:cubicBezTo>
                <a:lnTo>
                  <a:pt x="4477" y="1036"/>
                </a:lnTo>
                <a:cubicBezTo>
                  <a:pt x="4132" y="1310"/>
                  <a:pt x="3822" y="1738"/>
                  <a:pt x="3560" y="2274"/>
                </a:cubicBezTo>
                <a:cubicBezTo>
                  <a:pt x="3072" y="3239"/>
                  <a:pt x="2774" y="4489"/>
                  <a:pt x="2739" y="5822"/>
                </a:cubicBezTo>
                <a:cubicBezTo>
                  <a:pt x="2393" y="5560"/>
                  <a:pt x="1977" y="5405"/>
                  <a:pt x="1536" y="5405"/>
                </a:cubicBezTo>
                <a:cubicBezTo>
                  <a:pt x="1095" y="5405"/>
                  <a:pt x="667" y="5560"/>
                  <a:pt x="345" y="5810"/>
                </a:cubicBezTo>
                <a:cubicBezTo>
                  <a:pt x="369" y="5405"/>
                  <a:pt x="441" y="5024"/>
                  <a:pt x="560" y="4643"/>
                </a:cubicBezTo>
                <a:cubicBezTo>
                  <a:pt x="595" y="4560"/>
                  <a:pt x="548" y="4465"/>
                  <a:pt x="464" y="4441"/>
                </a:cubicBezTo>
                <a:cubicBezTo>
                  <a:pt x="445" y="4436"/>
                  <a:pt x="427" y="4434"/>
                  <a:pt x="409" y="4434"/>
                </a:cubicBezTo>
                <a:cubicBezTo>
                  <a:pt x="338" y="4434"/>
                  <a:pt x="279" y="4472"/>
                  <a:pt x="250" y="4548"/>
                </a:cubicBezTo>
                <a:cubicBezTo>
                  <a:pt x="83" y="5084"/>
                  <a:pt x="0" y="5644"/>
                  <a:pt x="0" y="6227"/>
                </a:cubicBezTo>
                <a:cubicBezTo>
                  <a:pt x="0" y="6287"/>
                  <a:pt x="24" y="6334"/>
                  <a:pt x="72" y="6358"/>
                </a:cubicBezTo>
                <a:cubicBezTo>
                  <a:pt x="107" y="6385"/>
                  <a:pt x="150" y="6398"/>
                  <a:pt x="184" y="6398"/>
                </a:cubicBezTo>
                <a:cubicBezTo>
                  <a:pt x="195" y="6398"/>
                  <a:pt x="205" y="6397"/>
                  <a:pt x="214" y="6394"/>
                </a:cubicBezTo>
                <a:cubicBezTo>
                  <a:pt x="250" y="6370"/>
                  <a:pt x="286" y="6358"/>
                  <a:pt x="298" y="6334"/>
                </a:cubicBezTo>
                <a:cubicBezTo>
                  <a:pt x="583" y="5977"/>
                  <a:pt x="1048" y="5751"/>
                  <a:pt x="1524" y="5751"/>
                </a:cubicBezTo>
                <a:cubicBezTo>
                  <a:pt x="2024" y="5751"/>
                  <a:pt x="2477" y="5977"/>
                  <a:pt x="2762" y="6334"/>
                </a:cubicBezTo>
                <a:cubicBezTo>
                  <a:pt x="2798" y="6370"/>
                  <a:pt x="2834" y="6394"/>
                  <a:pt x="2893" y="6394"/>
                </a:cubicBezTo>
                <a:cubicBezTo>
                  <a:pt x="2941" y="6394"/>
                  <a:pt x="3000" y="6358"/>
                  <a:pt x="3036" y="6334"/>
                </a:cubicBezTo>
                <a:cubicBezTo>
                  <a:pt x="3322" y="5977"/>
                  <a:pt x="3786" y="5751"/>
                  <a:pt x="4263" y="5751"/>
                </a:cubicBezTo>
                <a:cubicBezTo>
                  <a:pt x="4727" y="5751"/>
                  <a:pt x="5179" y="5941"/>
                  <a:pt x="5477" y="6287"/>
                </a:cubicBezTo>
                <a:lnTo>
                  <a:pt x="5477" y="7965"/>
                </a:lnTo>
                <a:cubicBezTo>
                  <a:pt x="5275" y="8049"/>
                  <a:pt x="5132" y="8227"/>
                  <a:pt x="5132" y="8442"/>
                </a:cubicBezTo>
                <a:lnTo>
                  <a:pt x="5132" y="9894"/>
                </a:lnTo>
                <a:cubicBezTo>
                  <a:pt x="5132" y="10013"/>
                  <a:pt x="5084" y="10108"/>
                  <a:pt x="5013" y="10192"/>
                </a:cubicBezTo>
                <a:cubicBezTo>
                  <a:pt x="4941" y="10263"/>
                  <a:pt x="4834" y="10311"/>
                  <a:pt x="4727" y="10311"/>
                </a:cubicBezTo>
                <a:cubicBezTo>
                  <a:pt x="4560" y="10311"/>
                  <a:pt x="4417" y="10204"/>
                  <a:pt x="4358" y="10049"/>
                </a:cubicBezTo>
                <a:cubicBezTo>
                  <a:pt x="4286" y="9858"/>
                  <a:pt x="4108" y="9739"/>
                  <a:pt x="3893" y="9739"/>
                </a:cubicBezTo>
                <a:cubicBezTo>
                  <a:pt x="3739" y="9739"/>
                  <a:pt x="3572" y="9835"/>
                  <a:pt x="3477" y="9966"/>
                </a:cubicBezTo>
                <a:cubicBezTo>
                  <a:pt x="3393" y="10097"/>
                  <a:pt x="3358" y="10275"/>
                  <a:pt x="3441" y="10430"/>
                </a:cubicBezTo>
                <a:cubicBezTo>
                  <a:pt x="3643" y="10966"/>
                  <a:pt x="4179" y="11323"/>
                  <a:pt x="4751" y="11323"/>
                </a:cubicBezTo>
                <a:lnTo>
                  <a:pt x="4763" y="11323"/>
                </a:lnTo>
                <a:cubicBezTo>
                  <a:pt x="5513" y="11299"/>
                  <a:pt x="6144" y="10668"/>
                  <a:pt x="6144" y="9894"/>
                </a:cubicBezTo>
                <a:lnTo>
                  <a:pt x="6144" y="8442"/>
                </a:lnTo>
                <a:cubicBezTo>
                  <a:pt x="6144" y="8227"/>
                  <a:pt x="6013" y="8049"/>
                  <a:pt x="5798" y="7965"/>
                </a:cubicBezTo>
                <a:lnTo>
                  <a:pt x="5798" y="6287"/>
                </a:lnTo>
                <a:cubicBezTo>
                  <a:pt x="6084" y="5941"/>
                  <a:pt x="6537" y="5751"/>
                  <a:pt x="7001" y="5751"/>
                </a:cubicBezTo>
                <a:cubicBezTo>
                  <a:pt x="7501" y="5751"/>
                  <a:pt x="7953" y="5977"/>
                  <a:pt x="8239" y="6334"/>
                </a:cubicBezTo>
                <a:cubicBezTo>
                  <a:pt x="8275" y="6370"/>
                  <a:pt x="8311" y="6394"/>
                  <a:pt x="8370" y="6394"/>
                </a:cubicBezTo>
                <a:cubicBezTo>
                  <a:pt x="8418" y="6394"/>
                  <a:pt x="8477" y="6358"/>
                  <a:pt x="8513" y="6334"/>
                </a:cubicBezTo>
                <a:cubicBezTo>
                  <a:pt x="8799" y="5977"/>
                  <a:pt x="9263" y="5751"/>
                  <a:pt x="9739" y="5751"/>
                </a:cubicBezTo>
                <a:cubicBezTo>
                  <a:pt x="10239" y="5751"/>
                  <a:pt x="10704" y="5977"/>
                  <a:pt x="10978" y="6334"/>
                </a:cubicBezTo>
                <a:cubicBezTo>
                  <a:pt x="11013" y="6370"/>
                  <a:pt x="11049" y="6394"/>
                  <a:pt x="11109" y="6394"/>
                </a:cubicBezTo>
                <a:cubicBezTo>
                  <a:pt x="11132" y="6394"/>
                  <a:pt x="11144" y="6394"/>
                  <a:pt x="11180" y="6370"/>
                </a:cubicBezTo>
                <a:cubicBezTo>
                  <a:pt x="11251" y="6346"/>
                  <a:pt x="11299" y="6287"/>
                  <a:pt x="11299" y="6215"/>
                </a:cubicBezTo>
                <a:cubicBezTo>
                  <a:pt x="11275" y="4715"/>
                  <a:pt x="10704" y="3298"/>
                  <a:pt x="9620" y="2226"/>
                </a:cubicBezTo>
                <a:cubicBezTo>
                  <a:pt x="8668" y="1274"/>
                  <a:pt x="7453" y="702"/>
                  <a:pt x="6132" y="583"/>
                </a:cubicBezTo>
                <a:lnTo>
                  <a:pt x="6132" y="500"/>
                </a:lnTo>
                <a:cubicBezTo>
                  <a:pt x="6132" y="226"/>
                  <a:pt x="5906" y="0"/>
                  <a:pt x="5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851" name="Google Shape;9851;p58"/>
          <p:cNvGrpSpPr/>
          <p:nvPr/>
        </p:nvGrpSpPr>
        <p:grpSpPr>
          <a:xfrm>
            <a:off x="6372624" y="2308227"/>
            <a:ext cx="263567" cy="317614"/>
            <a:chOff x="6421399" y="2308227"/>
            <a:chExt cx="263567" cy="317614"/>
          </a:xfrm>
        </p:grpSpPr>
        <p:sp>
          <p:nvSpPr>
            <p:cNvPr id="9852" name="Google Shape;9852;p58"/>
            <p:cNvSpPr/>
            <p:nvPr/>
          </p:nvSpPr>
          <p:spPr>
            <a:xfrm>
              <a:off x="6421399" y="2308227"/>
              <a:ext cx="263567" cy="317614"/>
            </a:xfrm>
            <a:custGeom>
              <a:avLst/>
              <a:gdLst/>
              <a:ahLst/>
              <a:cxnLst/>
              <a:rect l="l" t="t" r="r" b="b"/>
              <a:pathLst>
                <a:path w="8300" h="10002" extrusionOk="0">
                  <a:moveTo>
                    <a:pt x="4192" y="298"/>
                  </a:moveTo>
                  <a:cubicBezTo>
                    <a:pt x="4501" y="298"/>
                    <a:pt x="4775" y="513"/>
                    <a:pt x="4835" y="810"/>
                  </a:cubicBezTo>
                  <a:lnTo>
                    <a:pt x="3430" y="810"/>
                  </a:lnTo>
                  <a:cubicBezTo>
                    <a:pt x="3513" y="513"/>
                    <a:pt x="3775" y="298"/>
                    <a:pt x="4085" y="298"/>
                  </a:cubicBezTo>
                  <a:close/>
                  <a:moveTo>
                    <a:pt x="5918" y="1108"/>
                  </a:moveTo>
                  <a:cubicBezTo>
                    <a:pt x="6275" y="1108"/>
                    <a:pt x="6585" y="1275"/>
                    <a:pt x="6799" y="1560"/>
                  </a:cubicBezTo>
                  <a:lnTo>
                    <a:pt x="1465" y="1560"/>
                  </a:lnTo>
                  <a:cubicBezTo>
                    <a:pt x="1680" y="1275"/>
                    <a:pt x="1989" y="1108"/>
                    <a:pt x="2346" y="1108"/>
                  </a:cubicBezTo>
                  <a:close/>
                  <a:moveTo>
                    <a:pt x="4085" y="1"/>
                  </a:moveTo>
                  <a:cubicBezTo>
                    <a:pt x="3608" y="1"/>
                    <a:pt x="3215" y="346"/>
                    <a:pt x="3156" y="810"/>
                  </a:cubicBezTo>
                  <a:lnTo>
                    <a:pt x="2346" y="810"/>
                  </a:lnTo>
                  <a:cubicBezTo>
                    <a:pt x="1822" y="810"/>
                    <a:pt x="1370" y="1096"/>
                    <a:pt x="1132" y="1560"/>
                  </a:cubicBezTo>
                  <a:lnTo>
                    <a:pt x="596" y="1560"/>
                  </a:lnTo>
                  <a:cubicBezTo>
                    <a:pt x="263" y="1560"/>
                    <a:pt x="1" y="1822"/>
                    <a:pt x="1" y="2156"/>
                  </a:cubicBezTo>
                  <a:cubicBezTo>
                    <a:pt x="1" y="2477"/>
                    <a:pt x="263" y="2751"/>
                    <a:pt x="596" y="2751"/>
                  </a:cubicBezTo>
                  <a:lnTo>
                    <a:pt x="1013" y="2751"/>
                  </a:lnTo>
                  <a:lnTo>
                    <a:pt x="1370" y="9359"/>
                  </a:lnTo>
                  <a:cubicBezTo>
                    <a:pt x="1382" y="9716"/>
                    <a:pt x="1680" y="10002"/>
                    <a:pt x="2037" y="10002"/>
                  </a:cubicBezTo>
                  <a:lnTo>
                    <a:pt x="4466" y="10002"/>
                  </a:lnTo>
                  <a:cubicBezTo>
                    <a:pt x="4537" y="10002"/>
                    <a:pt x="4609" y="9942"/>
                    <a:pt x="4609" y="9847"/>
                  </a:cubicBezTo>
                  <a:cubicBezTo>
                    <a:pt x="4609" y="9752"/>
                    <a:pt x="4549" y="9704"/>
                    <a:pt x="4466" y="9704"/>
                  </a:cubicBezTo>
                  <a:lnTo>
                    <a:pt x="2037" y="9704"/>
                  </a:lnTo>
                  <a:cubicBezTo>
                    <a:pt x="1822" y="9704"/>
                    <a:pt x="1668" y="9538"/>
                    <a:pt x="1644" y="9347"/>
                  </a:cubicBezTo>
                  <a:lnTo>
                    <a:pt x="1287" y="2751"/>
                  </a:lnTo>
                  <a:lnTo>
                    <a:pt x="2084" y="2751"/>
                  </a:lnTo>
                  <a:cubicBezTo>
                    <a:pt x="2156" y="2751"/>
                    <a:pt x="2227" y="2692"/>
                    <a:pt x="2227" y="2596"/>
                  </a:cubicBezTo>
                  <a:cubicBezTo>
                    <a:pt x="2227" y="2525"/>
                    <a:pt x="2168" y="2453"/>
                    <a:pt x="2084" y="2453"/>
                  </a:cubicBezTo>
                  <a:lnTo>
                    <a:pt x="596" y="2453"/>
                  </a:lnTo>
                  <a:cubicBezTo>
                    <a:pt x="429" y="2453"/>
                    <a:pt x="298" y="2322"/>
                    <a:pt x="298" y="2156"/>
                  </a:cubicBezTo>
                  <a:cubicBezTo>
                    <a:pt x="298" y="1989"/>
                    <a:pt x="429" y="1858"/>
                    <a:pt x="596" y="1858"/>
                  </a:cubicBezTo>
                  <a:lnTo>
                    <a:pt x="7704" y="1858"/>
                  </a:lnTo>
                  <a:cubicBezTo>
                    <a:pt x="7871" y="1858"/>
                    <a:pt x="8002" y="1989"/>
                    <a:pt x="8002" y="2156"/>
                  </a:cubicBezTo>
                  <a:cubicBezTo>
                    <a:pt x="8002" y="2322"/>
                    <a:pt x="7871" y="2453"/>
                    <a:pt x="7704" y="2453"/>
                  </a:cubicBezTo>
                  <a:lnTo>
                    <a:pt x="2763" y="2453"/>
                  </a:lnTo>
                  <a:cubicBezTo>
                    <a:pt x="2692" y="2453"/>
                    <a:pt x="2620" y="2513"/>
                    <a:pt x="2620" y="2596"/>
                  </a:cubicBezTo>
                  <a:cubicBezTo>
                    <a:pt x="2620" y="2680"/>
                    <a:pt x="2680" y="2751"/>
                    <a:pt x="2763" y="2751"/>
                  </a:cubicBezTo>
                  <a:lnTo>
                    <a:pt x="7002" y="2751"/>
                  </a:lnTo>
                  <a:lnTo>
                    <a:pt x="6633" y="9347"/>
                  </a:lnTo>
                  <a:cubicBezTo>
                    <a:pt x="6621" y="9550"/>
                    <a:pt x="6454" y="9704"/>
                    <a:pt x="6252" y="9704"/>
                  </a:cubicBezTo>
                  <a:lnTo>
                    <a:pt x="5156" y="9704"/>
                  </a:lnTo>
                  <a:cubicBezTo>
                    <a:pt x="5085" y="9704"/>
                    <a:pt x="5013" y="9752"/>
                    <a:pt x="5013" y="9847"/>
                  </a:cubicBezTo>
                  <a:cubicBezTo>
                    <a:pt x="5013" y="9942"/>
                    <a:pt x="5073" y="10002"/>
                    <a:pt x="5156" y="10002"/>
                  </a:cubicBezTo>
                  <a:lnTo>
                    <a:pt x="6252" y="10002"/>
                  </a:lnTo>
                  <a:cubicBezTo>
                    <a:pt x="6609" y="10002"/>
                    <a:pt x="6906" y="9716"/>
                    <a:pt x="6918" y="9359"/>
                  </a:cubicBezTo>
                  <a:lnTo>
                    <a:pt x="7287" y="2751"/>
                  </a:lnTo>
                  <a:lnTo>
                    <a:pt x="7704" y="2751"/>
                  </a:lnTo>
                  <a:cubicBezTo>
                    <a:pt x="8038" y="2751"/>
                    <a:pt x="8299" y="2477"/>
                    <a:pt x="8299" y="2156"/>
                  </a:cubicBezTo>
                  <a:cubicBezTo>
                    <a:pt x="8288" y="1822"/>
                    <a:pt x="8014" y="1560"/>
                    <a:pt x="7692" y="1560"/>
                  </a:cubicBezTo>
                  <a:lnTo>
                    <a:pt x="7145" y="1560"/>
                  </a:lnTo>
                  <a:cubicBezTo>
                    <a:pt x="6906" y="1108"/>
                    <a:pt x="6442" y="810"/>
                    <a:pt x="5918" y="810"/>
                  </a:cubicBezTo>
                  <a:lnTo>
                    <a:pt x="5132" y="810"/>
                  </a:lnTo>
                  <a:cubicBezTo>
                    <a:pt x="5073" y="346"/>
                    <a:pt x="4668" y="1"/>
                    <a:pt x="4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3" name="Google Shape;9853;p58"/>
            <p:cNvSpPr/>
            <p:nvPr/>
          </p:nvSpPr>
          <p:spPr>
            <a:xfrm>
              <a:off x="6539750" y="2414860"/>
              <a:ext cx="26484" cy="162236"/>
            </a:xfrm>
            <a:custGeom>
              <a:avLst/>
              <a:gdLst/>
              <a:ahLst/>
              <a:cxnLst/>
              <a:rect l="l" t="t" r="r" b="b"/>
              <a:pathLst>
                <a:path w="834" h="5109" extrusionOk="0">
                  <a:moveTo>
                    <a:pt x="405" y="286"/>
                  </a:moveTo>
                  <a:cubicBezTo>
                    <a:pt x="477" y="298"/>
                    <a:pt x="536" y="346"/>
                    <a:pt x="536" y="417"/>
                  </a:cubicBezTo>
                  <a:lnTo>
                    <a:pt x="536" y="4691"/>
                  </a:lnTo>
                  <a:cubicBezTo>
                    <a:pt x="536" y="4763"/>
                    <a:pt x="477" y="4822"/>
                    <a:pt x="405" y="4822"/>
                  </a:cubicBezTo>
                  <a:cubicBezTo>
                    <a:pt x="334" y="4822"/>
                    <a:pt x="274" y="4763"/>
                    <a:pt x="274" y="4691"/>
                  </a:cubicBezTo>
                  <a:lnTo>
                    <a:pt x="274" y="417"/>
                  </a:lnTo>
                  <a:cubicBezTo>
                    <a:pt x="274" y="346"/>
                    <a:pt x="334" y="286"/>
                    <a:pt x="405" y="286"/>
                  </a:cubicBezTo>
                  <a:close/>
                  <a:moveTo>
                    <a:pt x="417" y="0"/>
                  </a:moveTo>
                  <a:cubicBezTo>
                    <a:pt x="179" y="0"/>
                    <a:pt x="0" y="191"/>
                    <a:pt x="0" y="417"/>
                  </a:cubicBezTo>
                  <a:lnTo>
                    <a:pt x="0" y="4691"/>
                  </a:lnTo>
                  <a:cubicBezTo>
                    <a:pt x="0" y="4930"/>
                    <a:pt x="203" y="5108"/>
                    <a:pt x="417" y="5108"/>
                  </a:cubicBezTo>
                  <a:cubicBezTo>
                    <a:pt x="655" y="5108"/>
                    <a:pt x="834" y="4918"/>
                    <a:pt x="834" y="4691"/>
                  </a:cubicBezTo>
                  <a:lnTo>
                    <a:pt x="834" y="417"/>
                  </a:lnTo>
                  <a:cubicBezTo>
                    <a:pt x="834" y="191"/>
                    <a:pt x="64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4" name="Google Shape;9854;p58"/>
            <p:cNvSpPr/>
            <p:nvPr/>
          </p:nvSpPr>
          <p:spPr>
            <a:xfrm>
              <a:off x="6590018" y="2414479"/>
              <a:ext cx="30294" cy="162967"/>
            </a:xfrm>
            <a:custGeom>
              <a:avLst/>
              <a:gdLst/>
              <a:ahLst/>
              <a:cxnLst/>
              <a:rect l="l" t="t" r="r" b="b"/>
              <a:pathLst>
                <a:path w="954" h="5132" extrusionOk="0">
                  <a:moveTo>
                    <a:pt x="537" y="0"/>
                  </a:moveTo>
                  <a:cubicBezTo>
                    <a:pt x="311" y="0"/>
                    <a:pt x="120" y="179"/>
                    <a:pt x="120" y="417"/>
                  </a:cubicBezTo>
                  <a:lnTo>
                    <a:pt x="1" y="4691"/>
                  </a:lnTo>
                  <a:cubicBezTo>
                    <a:pt x="1" y="4811"/>
                    <a:pt x="49" y="4906"/>
                    <a:pt x="120" y="5001"/>
                  </a:cubicBezTo>
                  <a:cubicBezTo>
                    <a:pt x="191" y="5084"/>
                    <a:pt x="311" y="5132"/>
                    <a:pt x="418" y="5132"/>
                  </a:cubicBezTo>
                  <a:cubicBezTo>
                    <a:pt x="644" y="5132"/>
                    <a:pt x="834" y="4953"/>
                    <a:pt x="834" y="4715"/>
                  </a:cubicBezTo>
                  <a:lnTo>
                    <a:pt x="846" y="4025"/>
                  </a:lnTo>
                  <a:cubicBezTo>
                    <a:pt x="846" y="3953"/>
                    <a:pt x="787" y="3882"/>
                    <a:pt x="703" y="3882"/>
                  </a:cubicBezTo>
                  <a:cubicBezTo>
                    <a:pt x="620" y="3882"/>
                    <a:pt x="549" y="3941"/>
                    <a:pt x="549" y="4025"/>
                  </a:cubicBezTo>
                  <a:lnTo>
                    <a:pt x="537" y="4715"/>
                  </a:lnTo>
                  <a:cubicBezTo>
                    <a:pt x="537" y="4787"/>
                    <a:pt x="477" y="4834"/>
                    <a:pt x="406" y="4834"/>
                  </a:cubicBezTo>
                  <a:cubicBezTo>
                    <a:pt x="370" y="4834"/>
                    <a:pt x="322" y="4822"/>
                    <a:pt x="311" y="4787"/>
                  </a:cubicBezTo>
                  <a:cubicBezTo>
                    <a:pt x="287" y="4763"/>
                    <a:pt x="263" y="4727"/>
                    <a:pt x="287" y="4703"/>
                  </a:cubicBezTo>
                  <a:lnTo>
                    <a:pt x="406" y="429"/>
                  </a:lnTo>
                  <a:cubicBezTo>
                    <a:pt x="406" y="358"/>
                    <a:pt x="465" y="310"/>
                    <a:pt x="537" y="310"/>
                  </a:cubicBezTo>
                  <a:cubicBezTo>
                    <a:pt x="561" y="310"/>
                    <a:pt x="608" y="322"/>
                    <a:pt x="620" y="358"/>
                  </a:cubicBezTo>
                  <a:cubicBezTo>
                    <a:pt x="656" y="381"/>
                    <a:pt x="668" y="417"/>
                    <a:pt x="656" y="441"/>
                  </a:cubicBezTo>
                  <a:lnTo>
                    <a:pt x="561" y="3358"/>
                  </a:lnTo>
                  <a:cubicBezTo>
                    <a:pt x="561" y="3441"/>
                    <a:pt x="644" y="3513"/>
                    <a:pt x="715" y="3513"/>
                  </a:cubicBezTo>
                  <a:cubicBezTo>
                    <a:pt x="787" y="3513"/>
                    <a:pt x="858" y="3453"/>
                    <a:pt x="858" y="3358"/>
                  </a:cubicBezTo>
                  <a:lnTo>
                    <a:pt x="953" y="441"/>
                  </a:lnTo>
                  <a:cubicBezTo>
                    <a:pt x="953" y="322"/>
                    <a:pt x="906" y="227"/>
                    <a:pt x="834" y="131"/>
                  </a:cubicBezTo>
                  <a:cubicBezTo>
                    <a:pt x="763" y="36"/>
                    <a:pt x="644" y="0"/>
                    <a:pt x="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5" name="Google Shape;9855;p58"/>
            <p:cNvSpPr/>
            <p:nvPr/>
          </p:nvSpPr>
          <p:spPr>
            <a:xfrm>
              <a:off x="6486052" y="2414860"/>
              <a:ext cx="30294" cy="162967"/>
            </a:xfrm>
            <a:custGeom>
              <a:avLst/>
              <a:gdLst/>
              <a:ahLst/>
              <a:cxnLst/>
              <a:rect l="l" t="t" r="r" b="b"/>
              <a:pathLst>
                <a:path w="954" h="5132" extrusionOk="0">
                  <a:moveTo>
                    <a:pt x="406" y="298"/>
                  </a:moveTo>
                  <a:cubicBezTo>
                    <a:pt x="477" y="298"/>
                    <a:pt x="537" y="358"/>
                    <a:pt x="537" y="417"/>
                  </a:cubicBezTo>
                  <a:lnTo>
                    <a:pt x="656" y="4691"/>
                  </a:lnTo>
                  <a:cubicBezTo>
                    <a:pt x="668" y="4715"/>
                    <a:pt x="656" y="4763"/>
                    <a:pt x="620" y="4775"/>
                  </a:cubicBezTo>
                  <a:cubicBezTo>
                    <a:pt x="596" y="4810"/>
                    <a:pt x="560" y="4822"/>
                    <a:pt x="537" y="4822"/>
                  </a:cubicBezTo>
                  <a:cubicBezTo>
                    <a:pt x="465" y="4822"/>
                    <a:pt x="406" y="4763"/>
                    <a:pt x="406" y="4703"/>
                  </a:cubicBezTo>
                  <a:lnTo>
                    <a:pt x="287" y="429"/>
                  </a:lnTo>
                  <a:cubicBezTo>
                    <a:pt x="287" y="405"/>
                    <a:pt x="298" y="358"/>
                    <a:pt x="310" y="346"/>
                  </a:cubicBezTo>
                  <a:cubicBezTo>
                    <a:pt x="346" y="310"/>
                    <a:pt x="370" y="298"/>
                    <a:pt x="406" y="298"/>
                  </a:cubicBezTo>
                  <a:close/>
                  <a:moveTo>
                    <a:pt x="417" y="0"/>
                  </a:moveTo>
                  <a:cubicBezTo>
                    <a:pt x="298" y="0"/>
                    <a:pt x="191" y="48"/>
                    <a:pt x="120" y="131"/>
                  </a:cubicBezTo>
                  <a:cubicBezTo>
                    <a:pt x="48" y="227"/>
                    <a:pt x="1" y="334"/>
                    <a:pt x="1" y="453"/>
                  </a:cubicBezTo>
                  <a:lnTo>
                    <a:pt x="120" y="4715"/>
                  </a:lnTo>
                  <a:cubicBezTo>
                    <a:pt x="120" y="4941"/>
                    <a:pt x="310" y="5132"/>
                    <a:pt x="537" y="5132"/>
                  </a:cubicBezTo>
                  <a:cubicBezTo>
                    <a:pt x="656" y="5132"/>
                    <a:pt x="763" y="5096"/>
                    <a:pt x="834" y="5001"/>
                  </a:cubicBezTo>
                  <a:cubicBezTo>
                    <a:pt x="906" y="4918"/>
                    <a:pt x="953" y="4810"/>
                    <a:pt x="953" y="4691"/>
                  </a:cubicBezTo>
                  <a:lnTo>
                    <a:pt x="834" y="417"/>
                  </a:lnTo>
                  <a:cubicBezTo>
                    <a:pt x="834" y="179"/>
                    <a:pt x="64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6" name="Google Shape;9856;p58"/>
          <p:cNvGrpSpPr/>
          <p:nvPr/>
        </p:nvGrpSpPr>
        <p:grpSpPr>
          <a:xfrm>
            <a:off x="6870193" y="2295620"/>
            <a:ext cx="360356" cy="343462"/>
            <a:chOff x="6870193" y="2295620"/>
            <a:chExt cx="360356" cy="343462"/>
          </a:xfrm>
        </p:grpSpPr>
        <p:sp>
          <p:nvSpPr>
            <p:cNvPr id="9857" name="Google Shape;9857;p58"/>
            <p:cNvSpPr/>
            <p:nvPr/>
          </p:nvSpPr>
          <p:spPr>
            <a:xfrm>
              <a:off x="6870193" y="2295620"/>
              <a:ext cx="360356" cy="343462"/>
            </a:xfrm>
            <a:custGeom>
              <a:avLst/>
              <a:gdLst/>
              <a:ahLst/>
              <a:cxnLst/>
              <a:rect l="l" t="t" r="r" b="b"/>
              <a:pathLst>
                <a:path w="11348" h="10816" extrusionOk="0">
                  <a:moveTo>
                    <a:pt x="6027" y="0"/>
                  </a:moveTo>
                  <a:cubicBezTo>
                    <a:pt x="5700" y="0"/>
                    <a:pt x="5448" y="70"/>
                    <a:pt x="5430" y="76"/>
                  </a:cubicBezTo>
                  <a:cubicBezTo>
                    <a:pt x="5358" y="112"/>
                    <a:pt x="5299" y="172"/>
                    <a:pt x="5299" y="255"/>
                  </a:cubicBezTo>
                  <a:lnTo>
                    <a:pt x="5299" y="2731"/>
                  </a:lnTo>
                  <a:lnTo>
                    <a:pt x="3501" y="5017"/>
                  </a:lnTo>
                  <a:cubicBezTo>
                    <a:pt x="3441" y="4767"/>
                    <a:pt x="3215" y="4577"/>
                    <a:pt x="2929" y="4577"/>
                  </a:cubicBezTo>
                  <a:lnTo>
                    <a:pt x="584" y="4577"/>
                  </a:lnTo>
                  <a:cubicBezTo>
                    <a:pt x="274" y="4577"/>
                    <a:pt x="1" y="4827"/>
                    <a:pt x="1" y="5160"/>
                  </a:cubicBezTo>
                  <a:lnTo>
                    <a:pt x="1" y="5732"/>
                  </a:lnTo>
                  <a:cubicBezTo>
                    <a:pt x="1" y="5839"/>
                    <a:pt x="96" y="5910"/>
                    <a:pt x="179" y="5910"/>
                  </a:cubicBezTo>
                  <a:cubicBezTo>
                    <a:pt x="274" y="5910"/>
                    <a:pt x="358" y="5827"/>
                    <a:pt x="358" y="5732"/>
                  </a:cubicBezTo>
                  <a:lnTo>
                    <a:pt x="358" y="5160"/>
                  </a:lnTo>
                  <a:cubicBezTo>
                    <a:pt x="358" y="5041"/>
                    <a:pt x="453" y="4946"/>
                    <a:pt x="572" y="4946"/>
                  </a:cubicBezTo>
                  <a:lnTo>
                    <a:pt x="2918" y="4946"/>
                  </a:lnTo>
                  <a:cubicBezTo>
                    <a:pt x="3037" y="4946"/>
                    <a:pt x="3132" y="5041"/>
                    <a:pt x="3132" y="5160"/>
                  </a:cubicBezTo>
                  <a:lnTo>
                    <a:pt x="3132" y="10232"/>
                  </a:lnTo>
                  <a:cubicBezTo>
                    <a:pt x="3132" y="10351"/>
                    <a:pt x="3037" y="10435"/>
                    <a:pt x="2918" y="10435"/>
                  </a:cubicBezTo>
                  <a:lnTo>
                    <a:pt x="572" y="10435"/>
                  </a:lnTo>
                  <a:cubicBezTo>
                    <a:pt x="453" y="10435"/>
                    <a:pt x="358" y="10351"/>
                    <a:pt x="358" y="10232"/>
                  </a:cubicBezTo>
                  <a:lnTo>
                    <a:pt x="358" y="6506"/>
                  </a:lnTo>
                  <a:cubicBezTo>
                    <a:pt x="358" y="6410"/>
                    <a:pt x="274" y="6327"/>
                    <a:pt x="179" y="6327"/>
                  </a:cubicBezTo>
                  <a:cubicBezTo>
                    <a:pt x="72" y="6327"/>
                    <a:pt x="1" y="6422"/>
                    <a:pt x="1" y="6506"/>
                  </a:cubicBezTo>
                  <a:lnTo>
                    <a:pt x="1" y="10232"/>
                  </a:lnTo>
                  <a:cubicBezTo>
                    <a:pt x="1" y="10542"/>
                    <a:pt x="251" y="10816"/>
                    <a:pt x="584" y="10816"/>
                  </a:cubicBezTo>
                  <a:lnTo>
                    <a:pt x="2929" y="10816"/>
                  </a:lnTo>
                  <a:cubicBezTo>
                    <a:pt x="3251" y="10816"/>
                    <a:pt x="3513" y="10554"/>
                    <a:pt x="3513" y="10232"/>
                  </a:cubicBezTo>
                  <a:lnTo>
                    <a:pt x="3513" y="9744"/>
                  </a:lnTo>
                  <a:lnTo>
                    <a:pt x="4418" y="10185"/>
                  </a:lnTo>
                  <a:cubicBezTo>
                    <a:pt x="4453" y="10197"/>
                    <a:pt x="4477" y="10197"/>
                    <a:pt x="4513" y="10197"/>
                  </a:cubicBezTo>
                  <a:lnTo>
                    <a:pt x="8025" y="10197"/>
                  </a:lnTo>
                  <a:cubicBezTo>
                    <a:pt x="8132" y="10197"/>
                    <a:pt x="8204" y="10113"/>
                    <a:pt x="8204" y="10018"/>
                  </a:cubicBezTo>
                  <a:cubicBezTo>
                    <a:pt x="8204" y="9923"/>
                    <a:pt x="8109" y="9839"/>
                    <a:pt x="8025" y="9839"/>
                  </a:cubicBezTo>
                  <a:lnTo>
                    <a:pt x="4561" y="9839"/>
                  </a:lnTo>
                  <a:lnTo>
                    <a:pt x="3525" y="9327"/>
                  </a:lnTo>
                  <a:lnTo>
                    <a:pt x="3525" y="5589"/>
                  </a:lnTo>
                  <a:lnTo>
                    <a:pt x="5644" y="2910"/>
                  </a:lnTo>
                  <a:cubicBezTo>
                    <a:pt x="5668" y="2874"/>
                    <a:pt x="5692" y="2839"/>
                    <a:pt x="5692" y="2791"/>
                  </a:cubicBezTo>
                  <a:lnTo>
                    <a:pt x="5692" y="398"/>
                  </a:lnTo>
                  <a:cubicBezTo>
                    <a:pt x="5787" y="379"/>
                    <a:pt x="5924" y="358"/>
                    <a:pt x="6080" y="358"/>
                  </a:cubicBezTo>
                  <a:cubicBezTo>
                    <a:pt x="6313" y="358"/>
                    <a:pt x="6587" y="405"/>
                    <a:pt x="6823" y="576"/>
                  </a:cubicBezTo>
                  <a:cubicBezTo>
                    <a:pt x="7132" y="791"/>
                    <a:pt x="7275" y="1207"/>
                    <a:pt x="7275" y="1803"/>
                  </a:cubicBezTo>
                  <a:lnTo>
                    <a:pt x="7275" y="3755"/>
                  </a:lnTo>
                  <a:cubicBezTo>
                    <a:pt x="7275" y="3862"/>
                    <a:pt x="7370" y="3934"/>
                    <a:pt x="7454" y="3934"/>
                  </a:cubicBezTo>
                  <a:lnTo>
                    <a:pt x="10395" y="3934"/>
                  </a:lnTo>
                  <a:cubicBezTo>
                    <a:pt x="10716" y="3934"/>
                    <a:pt x="10990" y="4208"/>
                    <a:pt x="10990" y="4529"/>
                  </a:cubicBezTo>
                  <a:cubicBezTo>
                    <a:pt x="10990" y="4863"/>
                    <a:pt x="10716" y="5125"/>
                    <a:pt x="10395" y="5125"/>
                  </a:cubicBezTo>
                  <a:lnTo>
                    <a:pt x="8823" y="5125"/>
                  </a:lnTo>
                  <a:cubicBezTo>
                    <a:pt x="8728" y="5125"/>
                    <a:pt x="8644" y="5220"/>
                    <a:pt x="8644" y="5303"/>
                  </a:cubicBezTo>
                  <a:cubicBezTo>
                    <a:pt x="8644" y="5410"/>
                    <a:pt x="8740" y="5482"/>
                    <a:pt x="8823" y="5482"/>
                  </a:cubicBezTo>
                  <a:lnTo>
                    <a:pt x="10228" y="5482"/>
                  </a:lnTo>
                  <a:cubicBezTo>
                    <a:pt x="10538" y="5494"/>
                    <a:pt x="10788" y="5767"/>
                    <a:pt x="10788" y="6077"/>
                  </a:cubicBezTo>
                  <a:cubicBezTo>
                    <a:pt x="10788" y="6399"/>
                    <a:pt x="10526" y="6672"/>
                    <a:pt x="10192" y="6672"/>
                  </a:cubicBezTo>
                  <a:lnTo>
                    <a:pt x="8823" y="6672"/>
                  </a:lnTo>
                  <a:cubicBezTo>
                    <a:pt x="8728" y="6672"/>
                    <a:pt x="8644" y="6768"/>
                    <a:pt x="8644" y="6851"/>
                  </a:cubicBezTo>
                  <a:cubicBezTo>
                    <a:pt x="8644" y="6958"/>
                    <a:pt x="8740" y="7030"/>
                    <a:pt x="8823" y="7030"/>
                  </a:cubicBezTo>
                  <a:lnTo>
                    <a:pt x="10073" y="7030"/>
                  </a:lnTo>
                  <a:cubicBezTo>
                    <a:pt x="10371" y="7053"/>
                    <a:pt x="10597" y="7327"/>
                    <a:pt x="10597" y="7625"/>
                  </a:cubicBezTo>
                  <a:cubicBezTo>
                    <a:pt x="10597" y="7946"/>
                    <a:pt x="10335" y="8220"/>
                    <a:pt x="10002" y="8220"/>
                  </a:cubicBezTo>
                  <a:lnTo>
                    <a:pt x="8823" y="8220"/>
                  </a:lnTo>
                  <a:cubicBezTo>
                    <a:pt x="8728" y="8220"/>
                    <a:pt x="8644" y="8315"/>
                    <a:pt x="8644" y="8399"/>
                  </a:cubicBezTo>
                  <a:cubicBezTo>
                    <a:pt x="8644" y="8506"/>
                    <a:pt x="8740" y="8577"/>
                    <a:pt x="8823" y="8577"/>
                  </a:cubicBezTo>
                  <a:lnTo>
                    <a:pt x="9883" y="8577"/>
                  </a:lnTo>
                  <a:cubicBezTo>
                    <a:pt x="9895" y="8577"/>
                    <a:pt x="9918" y="8589"/>
                    <a:pt x="9918" y="8589"/>
                  </a:cubicBezTo>
                  <a:cubicBezTo>
                    <a:pt x="10192" y="8649"/>
                    <a:pt x="10407" y="8887"/>
                    <a:pt x="10407" y="9185"/>
                  </a:cubicBezTo>
                  <a:cubicBezTo>
                    <a:pt x="10407" y="9518"/>
                    <a:pt x="10133" y="9780"/>
                    <a:pt x="9811" y="9780"/>
                  </a:cubicBezTo>
                  <a:lnTo>
                    <a:pt x="8823" y="9780"/>
                  </a:lnTo>
                  <a:cubicBezTo>
                    <a:pt x="8728" y="9780"/>
                    <a:pt x="8644" y="9875"/>
                    <a:pt x="8644" y="9958"/>
                  </a:cubicBezTo>
                  <a:cubicBezTo>
                    <a:pt x="8644" y="10066"/>
                    <a:pt x="8740" y="10137"/>
                    <a:pt x="8823" y="10137"/>
                  </a:cubicBezTo>
                  <a:lnTo>
                    <a:pt x="9811" y="10137"/>
                  </a:lnTo>
                  <a:cubicBezTo>
                    <a:pt x="10347" y="10137"/>
                    <a:pt x="10776" y="9708"/>
                    <a:pt x="10776" y="9173"/>
                  </a:cubicBezTo>
                  <a:cubicBezTo>
                    <a:pt x="10776" y="8887"/>
                    <a:pt x="10657" y="8637"/>
                    <a:pt x="10466" y="8458"/>
                  </a:cubicBezTo>
                  <a:cubicBezTo>
                    <a:pt x="10764" y="8292"/>
                    <a:pt x="10966" y="7982"/>
                    <a:pt x="10966" y="7613"/>
                  </a:cubicBezTo>
                  <a:cubicBezTo>
                    <a:pt x="10966" y="7327"/>
                    <a:pt x="10847" y="7077"/>
                    <a:pt x="10657" y="6899"/>
                  </a:cubicBezTo>
                  <a:cubicBezTo>
                    <a:pt x="10954" y="6803"/>
                    <a:pt x="11145" y="6482"/>
                    <a:pt x="11145" y="6113"/>
                  </a:cubicBezTo>
                  <a:cubicBezTo>
                    <a:pt x="11145" y="5827"/>
                    <a:pt x="11026" y="5577"/>
                    <a:pt x="10835" y="5398"/>
                  </a:cubicBezTo>
                  <a:cubicBezTo>
                    <a:pt x="11133" y="5232"/>
                    <a:pt x="11347" y="4922"/>
                    <a:pt x="11347" y="4541"/>
                  </a:cubicBezTo>
                  <a:cubicBezTo>
                    <a:pt x="11347" y="4005"/>
                    <a:pt x="10907" y="3577"/>
                    <a:pt x="10371" y="3577"/>
                  </a:cubicBezTo>
                  <a:lnTo>
                    <a:pt x="7621" y="3577"/>
                  </a:lnTo>
                  <a:lnTo>
                    <a:pt x="7621" y="1827"/>
                  </a:lnTo>
                  <a:cubicBezTo>
                    <a:pt x="7621" y="1112"/>
                    <a:pt x="7418" y="588"/>
                    <a:pt x="7013" y="291"/>
                  </a:cubicBezTo>
                  <a:cubicBezTo>
                    <a:pt x="6703" y="61"/>
                    <a:pt x="6332" y="0"/>
                    <a:pt x="60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8" name="Google Shape;9858;p58"/>
            <p:cNvSpPr/>
            <p:nvPr/>
          </p:nvSpPr>
          <p:spPr>
            <a:xfrm>
              <a:off x="6920842" y="2577064"/>
              <a:ext cx="36709" cy="36677"/>
            </a:xfrm>
            <a:custGeom>
              <a:avLst/>
              <a:gdLst/>
              <a:ahLst/>
              <a:cxnLst/>
              <a:rect l="l" t="t" r="r" b="b"/>
              <a:pathLst>
                <a:path w="1156" h="1155" extrusionOk="0">
                  <a:moveTo>
                    <a:pt x="584" y="369"/>
                  </a:moveTo>
                  <a:cubicBezTo>
                    <a:pt x="703" y="369"/>
                    <a:pt x="787" y="464"/>
                    <a:pt x="787" y="584"/>
                  </a:cubicBezTo>
                  <a:cubicBezTo>
                    <a:pt x="787" y="703"/>
                    <a:pt x="703" y="786"/>
                    <a:pt x="584" y="786"/>
                  </a:cubicBezTo>
                  <a:cubicBezTo>
                    <a:pt x="465" y="786"/>
                    <a:pt x="370" y="703"/>
                    <a:pt x="370" y="584"/>
                  </a:cubicBezTo>
                  <a:cubicBezTo>
                    <a:pt x="370" y="464"/>
                    <a:pt x="453" y="369"/>
                    <a:pt x="584" y="369"/>
                  </a:cubicBezTo>
                  <a:close/>
                  <a:moveTo>
                    <a:pt x="584" y="0"/>
                  </a:moveTo>
                  <a:cubicBezTo>
                    <a:pt x="263" y="0"/>
                    <a:pt x="1" y="250"/>
                    <a:pt x="1" y="584"/>
                  </a:cubicBezTo>
                  <a:cubicBezTo>
                    <a:pt x="1" y="905"/>
                    <a:pt x="251" y="1155"/>
                    <a:pt x="584" y="1155"/>
                  </a:cubicBezTo>
                  <a:cubicBezTo>
                    <a:pt x="906" y="1155"/>
                    <a:pt x="1156" y="905"/>
                    <a:pt x="1156" y="584"/>
                  </a:cubicBezTo>
                  <a:cubicBezTo>
                    <a:pt x="1156" y="250"/>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59" name="Google Shape;9859;p58"/>
          <p:cNvGrpSpPr/>
          <p:nvPr/>
        </p:nvGrpSpPr>
        <p:grpSpPr>
          <a:xfrm>
            <a:off x="7441465" y="2302860"/>
            <a:ext cx="342192" cy="327140"/>
            <a:chOff x="7441465" y="2302860"/>
            <a:chExt cx="342192" cy="327140"/>
          </a:xfrm>
        </p:grpSpPr>
        <p:sp>
          <p:nvSpPr>
            <p:cNvPr id="9860" name="Google Shape;9860;p58"/>
            <p:cNvSpPr/>
            <p:nvPr/>
          </p:nvSpPr>
          <p:spPr>
            <a:xfrm>
              <a:off x="7441465" y="2337727"/>
              <a:ext cx="299862" cy="292273"/>
            </a:xfrm>
            <a:custGeom>
              <a:avLst/>
              <a:gdLst/>
              <a:ahLst/>
              <a:cxnLst/>
              <a:rect l="l" t="t" r="r" b="b"/>
              <a:pathLst>
                <a:path w="9443" h="9204" extrusionOk="0">
                  <a:moveTo>
                    <a:pt x="8169" y="0"/>
                  </a:moveTo>
                  <a:cubicBezTo>
                    <a:pt x="7835" y="0"/>
                    <a:pt x="7514" y="131"/>
                    <a:pt x="7276" y="370"/>
                  </a:cubicBezTo>
                  <a:lnTo>
                    <a:pt x="6406" y="1251"/>
                  </a:lnTo>
                  <a:cubicBezTo>
                    <a:pt x="6347" y="1310"/>
                    <a:pt x="6347" y="1417"/>
                    <a:pt x="6406" y="1489"/>
                  </a:cubicBezTo>
                  <a:cubicBezTo>
                    <a:pt x="6436" y="1518"/>
                    <a:pt x="6475" y="1533"/>
                    <a:pt x="6517" y="1533"/>
                  </a:cubicBezTo>
                  <a:cubicBezTo>
                    <a:pt x="6558" y="1533"/>
                    <a:pt x="6603" y="1518"/>
                    <a:pt x="6645" y="1489"/>
                  </a:cubicBezTo>
                  <a:lnTo>
                    <a:pt x="7514" y="608"/>
                  </a:lnTo>
                  <a:cubicBezTo>
                    <a:pt x="7692" y="429"/>
                    <a:pt x="7930" y="346"/>
                    <a:pt x="8169" y="346"/>
                  </a:cubicBezTo>
                  <a:cubicBezTo>
                    <a:pt x="8430" y="346"/>
                    <a:pt x="8645" y="453"/>
                    <a:pt x="8823" y="608"/>
                  </a:cubicBezTo>
                  <a:cubicBezTo>
                    <a:pt x="9014" y="786"/>
                    <a:pt x="9097" y="1024"/>
                    <a:pt x="9097" y="1263"/>
                  </a:cubicBezTo>
                  <a:cubicBezTo>
                    <a:pt x="9097" y="1501"/>
                    <a:pt x="8990" y="1739"/>
                    <a:pt x="8823" y="1917"/>
                  </a:cubicBezTo>
                  <a:lnTo>
                    <a:pt x="7621" y="3132"/>
                  </a:lnTo>
                  <a:cubicBezTo>
                    <a:pt x="7502" y="2834"/>
                    <a:pt x="7323" y="2560"/>
                    <a:pt x="7109" y="2334"/>
                  </a:cubicBezTo>
                  <a:cubicBezTo>
                    <a:pt x="6639" y="1870"/>
                    <a:pt x="6022" y="1638"/>
                    <a:pt x="5408" y="1638"/>
                  </a:cubicBezTo>
                  <a:cubicBezTo>
                    <a:pt x="4793" y="1638"/>
                    <a:pt x="4180" y="1870"/>
                    <a:pt x="3716" y="2334"/>
                  </a:cubicBezTo>
                  <a:lnTo>
                    <a:pt x="941" y="5108"/>
                  </a:lnTo>
                  <a:cubicBezTo>
                    <a:pt x="1" y="6049"/>
                    <a:pt x="1" y="7561"/>
                    <a:pt x="941" y="8502"/>
                  </a:cubicBezTo>
                  <a:cubicBezTo>
                    <a:pt x="1406" y="8966"/>
                    <a:pt x="2025" y="9204"/>
                    <a:pt x="2644" y="9204"/>
                  </a:cubicBezTo>
                  <a:cubicBezTo>
                    <a:pt x="3251" y="9204"/>
                    <a:pt x="3870" y="8966"/>
                    <a:pt x="4335" y="8502"/>
                  </a:cubicBezTo>
                  <a:lnTo>
                    <a:pt x="5811" y="7025"/>
                  </a:lnTo>
                  <a:cubicBezTo>
                    <a:pt x="5871" y="6966"/>
                    <a:pt x="5871" y="6858"/>
                    <a:pt x="5811" y="6787"/>
                  </a:cubicBezTo>
                  <a:cubicBezTo>
                    <a:pt x="5783" y="6778"/>
                    <a:pt x="5750" y="6772"/>
                    <a:pt x="5716" y="6772"/>
                  </a:cubicBezTo>
                  <a:cubicBezTo>
                    <a:pt x="5662" y="6772"/>
                    <a:pt x="5605" y="6786"/>
                    <a:pt x="5561" y="6823"/>
                  </a:cubicBezTo>
                  <a:lnTo>
                    <a:pt x="4085" y="8299"/>
                  </a:lnTo>
                  <a:cubicBezTo>
                    <a:pt x="3692" y="8680"/>
                    <a:pt x="3180" y="8906"/>
                    <a:pt x="2620" y="8906"/>
                  </a:cubicBezTo>
                  <a:cubicBezTo>
                    <a:pt x="2073" y="8906"/>
                    <a:pt x="1549" y="8692"/>
                    <a:pt x="1168" y="8299"/>
                  </a:cubicBezTo>
                  <a:cubicBezTo>
                    <a:pt x="358" y="7489"/>
                    <a:pt x="358" y="6180"/>
                    <a:pt x="1168" y="5358"/>
                  </a:cubicBezTo>
                  <a:lnTo>
                    <a:pt x="3930" y="2596"/>
                  </a:lnTo>
                  <a:cubicBezTo>
                    <a:pt x="4323" y="2203"/>
                    <a:pt x="4847" y="1977"/>
                    <a:pt x="5394" y="1977"/>
                  </a:cubicBezTo>
                  <a:cubicBezTo>
                    <a:pt x="5942" y="1977"/>
                    <a:pt x="6466" y="2191"/>
                    <a:pt x="6847" y="2596"/>
                  </a:cubicBezTo>
                  <a:cubicBezTo>
                    <a:pt x="7073" y="2822"/>
                    <a:pt x="7252" y="3096"/>
                    <a:pt x="7359" y="3394"/>
                  </a:cubicBezTo>
                  <a:lnTo>
                    <a:pt x="6049" y="4703"/>
                  </a:lnTo>
                  <a:cubicBezTo>
                    <a:pt x="5871" y="4882"/>
                    <a:pt x="5633" y="4977"/>
                    <a:pt x="5394" y="4977"/>
                  </a:cubicBezTo>
                  <a:cubicBezTo>
                    <a:pt x="5156" y="4977"/>
                    <a:pt x="4918" y="4870"/>
                    <a:pt x="4740" y="4703"/>
                  </a:cubicBezTo>
                  <a:cubicBezTo>
                    <a:pt x="4644" y="4620"/>
                    <a:pt x="4573" y="4513"/>
                    <a:pt x="4525" y="4394"/>
                  </a:cubicBezTo>
                  <a:cubicBezTo>
                    <a:pt x="4507" y="4321"/>
                    <a:pt x="4440" y="4290"/>
                    <a:pt x="4378" y="4290"/>
                  </a:cubicBezTo>
                  <a:cubicBezTo>
                    <a:pt x="4359" y="4290"/>
                    <a:pt x="4340" y="4293"/>
                    <a:pt x="4323" y="4299"/>
                  </a:cubicBezTo>
                  <a:cubicBezTo>
                    <a:pt x="4239" y="4334"/>
                    <a:pt x="4204" y="4441"/>
                    <a:pt x="4228" y="4513"/>
                  </a:cubicBezTo>
                  <a:cubicBezTo>
                    <a:pt x="4287" y="4680"/>
                    <a:pt x="4394" y="4811"/>
                    <a:pt x="4513" y="4930"/>
                  </a:cubicBezTo>
                  <a:cubicBezTo>
                    <a:pt x="4751" y="5168"/>
                    <a:pt x="5061" y="5299"/>
                    <a:pt x="5406" y="5299"/>
                  </a:cubicBezTo>
                  <a:cubicBezTo>
                    <a:pt x="5752" y="5299"/>
                    <a:pt x="6061" y="5168"/>
                    <a:pt x="6299" y="4930"/>
                  </a:cubicBezTo>
                  <a:lnTo>
                    <a:pt x="9062" y="2155"/>
                  </a:lnTo>
                  <a:cubicBezTo>
                    <a:pt x="9300" y="1917"/>
                    <a:pt x="9443" y="1608"/>
                    <a:pt x="9443" y="1263"/>
                  </a:cubicBezTo>
                  <a:cubicBezTo>
                    <a:pt x="9443" y="929"/>
                    <a:pt x="9300" y="608"/>
                    <a:pt x="9062" y="370"/>
                  </a:cubicBezTo>
                  <a:cubicBezTo>
                    <a:pt x="8823" y="131"/>
                    <a:pt x="8514" y="0"/>
                    <a:pt x="8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1" name="Google Shape;9861;p58"/>
            <p:cNvSpPr/>
            <p:nvPr/>
          </p:nvSpPr>
          <p:spPr>
            <a:xfrm>
              <a:off x="7484588" y="2302860"/>
              <a:ext cx="299069" cy="293130"/>
            </a:xfrm>
            <a:custGeom>
              <a:avLst/>
              <a:gdLst/>
              <a:ahLst/>
              <a:cxnLst/>
              <a:rect l="l" t="t" r="r" b="b"/>
              <a:pathLst>
                <a:path w="9418" h="9231" extrusionOk="0">
                  <a:moveTo>
                    <a:pt x="6805" y="0"/>
                  </a:moveTo>
                  <a:cubicBezTo>
                    <a:pt x="6191" y="0"/>
                    <a:pt x="5578" y="235"/>
                    <a:pt x="5108" y="706"/>
                  </a:cubicBezTo>
                  <a:lnTo>
                    <a:pt x="3632" y="2170"/>
                  </a:lnTo>
                  <a:cubicBezTo>
                    <a:pt x="3572" y="2230"/>
                    <a:pt x="3572" y="2337"/>
                    <a:pt x="3632" y="2408"/>
                  </a:cubicBezTo>
                  <a:cubicBezTo>
                    <a:pt x="3661" y="2438"/>
                    <a:pt x="3703" y="2453"/>
                    <a:pt x="3746" y="2453"/>
                  </a:cubicBezTo>
                  <a:cubicBezTo>
                    <a:pt x="3789" y="2453"/>
                    <a:pt x="3834" y="2438"/>
                    <a:pt x="3870" y="2408"/>
                  </a:cubicBezTo>
                  <a:lnTo>
                    <a:pt x="5346" y="944"/>
                  </a:lnTo>
                  <a:cubicBezTo>
                    <a:pt x="5745" y="539"/>
                    <a:pt x="6272" y="336"/>
                    <a:pt x="6802" y="336"/>
                  </a:cubicBezTo>
                  <a:cubicBezTo>
                    <a:pt x="7331" y="336"/>
                    <a:pt x="7864" y="539"/>
                    <a:pt x="8275" y="944"/>
                  </a:cubicBezTo>
                  <a:cubicBezTo>
                    <a:pt x="9085" y="1741"/>
                    <a:pt x="9085" y="3051"/>
                    <a:pt x="8275" y="3873"/>
                  </a:cubicBezTo>
                  <a:lnTo>
                    <a:pt x="5513" y="6635"/>
                  </a:lnTo>
                  <a:cubicBezTo>
                    <a:pt x="5120" y="7028"/>
                    <a:pt x="4596" y="7254"/>
                    <a:pt x="4048" y="7254"/>
                  </a:cubicBezTo>
                  <a:cubicBezTo>
                    <a:pt x="3501" y="7254"/>
                    <a:pt x="2977" y="7040"/>
                    <a:pt x="2596" y="6635"/>
                  </a:cubicBezTo>
                  <a:cubicBezTo>
                    <a:pt x="2370" y="6421"/>
                    <a:pt x="2191" y="6135"/>
                    <a:pt x="2084" y="5837"/>
                  </a:cubicBezTo>
                  <a:lnTo>
                    <a:pt x="3393" y="4527"/>
                  </a:lnTo>
                  <a:cubicBezTo>
                    <a:pt x="3572" y="4349"/>
                    <a:pt x="3810" y="4254"/>
                    <a:pt x="4048" y="4254"/>
                  </a:cubicBezTo>
                  <a:cubicBezTo>
                    <a:pt x="4286" y="4254"/>
                    <a:pt x="4525" y="4361"/>
                    <a:pt x="4703" y="4527"/>
                  </a:cubicBezTo>
                  <a:cubicBezTo>
                    <a:pt x="4798" y="4611"/>
                    <a:pt x="4870" y="4718"/>
                    <a:pt x="4917" y="4837"/>
                  </a:cubicBezTo>
                  <a:cubicBezTo>
                    <a:pt x="4936" y="4910"/>
                    <a:pt x="5002" y="4941"/>
                    <a:pt x="5065" y="4941"/>
                  </a:cubicBezTo>
                  <a:cubicBezTo>
                    <a:pt x="5084" y="4941"/>
                    <a:pt x="5103" y="4938"/>
                    <a:pt x="5120" y="4932"/>
                  </a:cubicBezTo>
                  <a:cubicBezTo>
                    <a:pt x="5215" y="4897"/>
                    <a:pt x="5239" y="4789"/>
                    <a:pt x="5215" y="4718"/>
                  </a:cubicBezTo>
                  <a:cubicBezTo>
                    <a:pt x="5156" y="4551"/>
                    <a:pt x="5048" y="4420"/>
                    <a:pt x="4929" y="4301"/>
                  </a:cubicBezTo>
                  <a:cubicBezTo>
                    <a:pt x="4691" y="4063"/>
                    <a:pt x="4382" y="3932"/>
                    <a:pt x="4036" y="3932"/>
                  </a:cubicBezTo>
                  <a:cubicBezTo>
                    <a:pt x="3691" y="3932"/>
                    <a:pt x="3382" y="4063"/>
                    <a:pt x="3143" y="4301"/>
                  </a:cubicBezTo>
                  <a:lnTo>
                    <a:pt x="1786" y="5659"/>
                  </a:lnTo>
                  <a:cubicBezTo>
                    <a:pt x="1762" y="5670"/>
                    <a:pt x="1738" y="5682"/>
                    <a:pt x="1727" y="5718"/>
                  </a:cubicBezTo>
                  <a:lnTo>
                    <a:pt x="369" y="7075"/>
                  </a:lnTo>
                  <a:cubicBezTo>
                    <a:pt x="131" y="7314"/>
                    <a:pt x="0" y="7623"/>
                    <a:pt x="0" y="7968"/>
                  </a:cubicBezTo>
                  <a:cubicBezTo>
                    <a:pt x="0" y="8302"/>
                    <a:pt x="131" y="8623"/>
                    <a:pt x="369" y="8861"/>
                  </a:cubicBezTo>
                  <a:cubicBezTo>
                    <a:pt x="607" y="9099"/>
                    <a:pt x="929" y="9230"/>
                    <a:pt x="1262" y="9230"/>
                  </a:cubicBezTo>
                  <a:cubicBezTo>
                    <a:pt x="1608" y="9230"/>
                    <a:pt x="1917" y="9099"/>
                    <a:pt x="2155" y="8861"/>
                  </a:cubicBezTo>
                  <a:lnTo>
                    <a:pt x="3036" y="7980"/>
                  </a:lnTo>
                  <a:cubicBezTo>
                    <a:pt x="3096" y="7921"/>
                    <a:pt x="3096" y="7814"/>
                    <a:pt x="3036" y="7742"/>
                  </a:cubicBezTo>
                  <a:cubicBezTo>
                    <a:pt x="3006" y="7712"/>
                    <a:pt x="2965" y="7697"/>
                    <a:pt x="2922" y="7697"/>
                  </a:cubicBezTo>
                  <a:cubicBezTo>
                    <a:pt x="2879" y="7697"/>
                    <a:pt x="2834" y="7712"/>
                    <a:pt x="2798" y="7742"/>
                  </a:cubicBezTo>
                  <a:lnTo>
                    <a:pt x="1917" y="8623"/>
                  </a:lnTo>
                  <a:cubicBezTo>
                    <a:pt x="1738" y="8802"/>
                    <a:pt x="1500" y="8885"/>
                    <a:pt x="1262" y="8885"/>
                  </a:cubicBezTo>
                  <a:cubicBezTo>
                    <a:pt x="1012" y="8885"/>
                    <a:pt x="786" y="8778"/>
                    <a:pt x="607" y="8623"/>
                  </a:cubicBezTo>
                  <a:cubicBezTo>
                    <a:pt x="429" y="8445"/>
                    <a:pt x="345" y="8206"/>
                    <a:pt x="345" y="7968"/>
                  </a:cubicBezTo>
                  <a:cubicBezTo>
                    <a:pt x="345" y="7706"/>
                    <a:pt x="453" y="7492"/>
                    <a:pt x="607" y="7314"/>
                  </a:cubicBezTo>
                  <a:lnTo>
                    <a:pt x="1822" y="6099"/>
                  </a:lnTo>
                  <a:cubicBezTo>
                    <a:pt x="1941" y="6397"/>
                    <a:pt x="2119" y="6671"/>
                    <a:pt x="2334" y="6897"/>
                  </a:cubicBezTo>
                  <a:cubicBezTo>
                    <a:pt x="2786" y="7337"/>
                    <a:pt x="3393" y="7587"/>
                    <a:pt x="4036" y="7587"/>
                  </a:cubicBezTo>
                  <a:cubicBezTo>
                    <a:pt x="4679" y="7587"/>
                    <a:pt x="5287" y="7337"/>
                    <a:pt x="5727" y="6897"/>
                  </a:cubicBezTo>
                  <a:lnTo>
                    <a:pt x="8501" y="4123"/>
                  </a:lnTo>
                  <a:cubicBezTo>
                    <a:pt x="9418" y="3158"/>
                    <a:pt x="9418" y="1634"/>
                    <a:pt x="8501" y="706"/>
                  </a:cubicBezTo>
                  <a:cubicBezTo>
                    <a:pt x="8031" y="235"/>
                    <a:pt x="7418" y="0"/>
                    <a:pt x="68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2" name="Google Shape;9862;p58"/>
          <p:cNvGrpSpPr/>
          <p:nvPr/>
        </p:nvGrpSpPr>
        <p:grpSpPr>
          <a:xfrm>
            <a:off x="7989683" y="2350207"/>
            <a:ext cx="332761" cy="234066"/>
            <a:chOff x="7989683" y="2350207"/>
            <a:chExt cx="332761" cy="234066"/>
          </a:xfrm>
        </p:grpSpPr>
        <p:sp>
          <p:nvSpPr>
            <p:cNvPr id="9863" name="Google Shape;9863;p58"/>
            <p:cNvSpPr/>
            <p:nvPr/>
          </p:nvSpPr>
          <p:spPr>
            <a:xfrm>
              <a:off x="8258902" y="2396188"/>
              <a:ext cx="29119" cy="22101"/>
            </a:xfrm>
            <a:custGeom>
              <a:avLst/>
              <a:gdLst/>
              <a:ahLst/>
              <a:cxnLst/>
              <a:rect l="l" t="t" r="r" b="b"/>
              <a:pathLst>
                <a:path w="917" h="696" extrusionOk="0">
                  <a:moveTo>
                    <a:pt x="165" y="0"/>
                  </a:moveTo>
                  <a:cubicBezTo>
                    <a:pt x="114" y="0"/>
                    <a:pt x="64" y="22"/>
                    <a:pt x="36" y="64"/>
                  </a:cubicBezTo>
                  <a:cubicBezTo>
                    <a:pt x="0" y="148"/>
                    <a:pt x="12" y="243"/>
                    <a:pt x="84" y="291"/>
                  </a:cubicBezTo>
                  <a:cubicBezTo>
                    <a:pt x="262" y="410"/>
                    <a:pt x="441" y="529"/>
                    <a:pt x="631" y="660"/>
                  </a:cubicBezTo>
                  <a:cubicBezTo>
                    <a:pt x="667" y="684"/>
                    <a:pt x="691" y="695"/>
                    <a:pt x="726" y="695"/>
                  </a:cubicBezTo>
                  <a:cubicBezTo>
                    <a:pt x="762" y="695"/>
                    <a:pt x="834" y="660"/>
                    <a:pt x="857" y="624"/>
                  </a:cubicBezTo>
                  <a:cubicBezTo>
                    <a:pt x="917" y="565"/>
                    <a:pt x="893" y="457"/>
                    <a:pt x="810" y="398"/>
                  </a:cubicBezTo>
                  <a:cubicBezTo>
                    <a:pt x="619" y="267"/>
                    <a:pt x="441" y="148"/>
                    <a:pt x="262" y="29"/>
                  </a:cubicBezTo>
                  <a:cubicBezTo>
                    <a:pt x="234" y="10"/>
                    <a:pt x="199"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4" name="Google Shape;9864;p58"/>
            <p:cNvSpPr/>
            <p:nvPr/>
          </p:nvSpPr>
          <p:spPr>
            <a:xfrm>
              <a:off x="8051320" y="2350207"/>
              <a:ext cx="194753" cy="49919"/>
            </a:xfrm>
            <a:custGeom>
              <a:avLst/>
              <a:gdLst/>
              <a:ahLst/>
              <a:cxnLst/>
              <a:rect l="l" t="t" r="r" b="b"/>
              <a:pathLst>
                <a:path w="6133" h="1572" extrusionOk="0">
                  <a:moveTo>
                    <a:pt x="3299" y="0"/>
                  </a:moveTo>
                  <a:cubicBezTo>
                    <a:pt x="2501" y="0"/>
                    <a:pt x="1441" y="417"/>
                    <a:pt x="108" y="1274"/>
                  </a:cubicBezTo>
                  <a:cubicBezTo>
                    <a:pt x="24" y="1322"/>
                    <a:pt x="1" y="1429"/>
                    <a:pt x="60" y="1501"/>
                  </a:cubicBezTo>
                  <a:cubicBezTo>
                    <a:pt x="84" y="1548"/>
                    <a:pt x="144" y="1572"/>
                    <a:pt x="191" y="1572"/>
                  </a:cubicBezTo>
                  <a:cubicBezTo>
                    <a:pt x="227" y="1572"/>
                    <a:pt x="251" y="1560"/>
                    <a:pt x="286" y="1548"/>
                  </a:cubicBezTo>
                  <a:cubicBezTo>
                    <a:pt x="1572" y="727"/>
                    <a:pt x="2560" y="322"/>
                    <a:pt x="3299" y="322"/>
                  </a:cubicBezTo>
                  <a:cubicBezTo>
                    <a:pt x="3954" y="322"/>
                    <a:pt x="4787" y="643"/>
                    <a:pt x="5859" y="1262"/>
                  </a:cubicBezTo>
                  <a:cubicBezTo>
                    <a:pt x="5885" y="1277"/>
                    <a:pt x="5912" y="1284"/>
                    <a:pt x="5939" y="1284"/>
                  </a:cubicBezTo>
                  <a:cubicBezTo>
                    <a:pt x="5997" y="1284"/>
                    <a:pt x="6052" y="1252"/>
                    <a:pt x="6085" y="1203"/>
                  </a:cubicBezTo>
                  <a:cubicBezTo>
                    <a:pt x="6132" y="1131"/>
                    <a:pt x="6097" y="1024"/>
                    <a:pt x="6025" y="977"/>
                  </a:cubicBezTo>
                  <a:cubicBezTo>
                    <a:pt x="4906" y="322"/>
                    <a:pt x="4013"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5" name="Google Shape;9865;p58"/>
            <p:cNvSpPr/>
            <p:nvPr/>
          </p:nvSpPr>
          <p:spPr>
            <a:xfrm>
              <a:off x="7989683" y="2378183"/>
              <a:ext cx="332761" cy="206090"/>
            </a:xfrm>
            <a:custGeom>
              <a:avLst/>
              <a:gdLst/>
              <a:ahLst/>
              <a:cxnLst/>
              <a:rect l="l" t="t" r="r" b="b"/>
              <a:pathLst>
                <a:path w="10479" h="6490" extrusionOk="0">
                  <a:moveTo>
                    <a:pt x="5240" y="334"/>
                  </a:moveTo>
                  <a:cubicBezTo>
                    <a:pt x="6597" y="334"/>
                    <a:pt x="9276" y="2453"/>
                    <a:pt x="10086" y="3096"/>
                  </a:cubicBezTo>
                  <a:cubicBezTo>
                    <a:pt x="10121" y="3132"/>
                    <a:pt x="10157" y="3179"/>
                    <a:pt x="10157" y="3239"/>
                  </a:cubicBezTo>
                  <a:cubicBezTo>
                    <a:pt x="10157" y="3298"/>
                    <a:pt x="10121" y="3346"/>
                    <a:pt x="10086" y="3394"/>
                  </a:cubicBezTo>
                  <a:cubicBezTo>
                    <a:pt x="9288" y="4025"/>
                    <a:pt x="6597" y="6144"/>
                    <a:pt x="5240" y="6144"/>
                  </a:cubicBezTo>
                  <a:cubicBezTo>
                    <a:pt x="3894" y="6144"/>
                    <a:pt x="1215" y="4025"/>
                    <a:pt x="406" y="3394"/>
                  </a:cubicBezTo>
                  <a:cubicBezTo>
                    <a:pt x="358" y="3346"/>
                    <a:pt x="334" y="3298"/>
                    <a:pt x="334" y="3239"/>
                  </a:cubicBezTo>
                  <a:cubicBezTo>
                    <a:pt x="334" y="3179"/>
                    <a:pt x="358" y="3120"/>
                    <a:pt x="406" y="3096"/>
                  </a:cubicBezTo>
                  <a:cubicBezTo>
                    <a:pt x="1192" y="2453"/>
                    <a:pt x="3894" y="334"/>
                    <a:pt x="5240" y="334"/>
                  </a:cubicBezTo>
                  <a:close/>
                  <a:moveTo>
                    <a:pt x="5240" y="0"/>
                  </a:moveTo>
                  <a:cubicBezTo>
                    <a:pt x="3811" y="0"/>
                    <a:pt x="1239" y="1977"/>
                    <a:pt x="191" y="2822"/>
                  </a:cubicBezTo>
                  <a:cubicBezTo>
                    <a:pt x="84" y="2929"/>
                    <a:pt x="1" y="3072"/>
                    <a:pt x="1" y="3239"/>
                  </a:cubicBezTo>
                  <a:cubicBezTo>
                    <a:pt x="1" y="3406"/>
                    <a:pt x="84" y="3548"/>
                    <a:pt x="191" y="3656"/>
                  </a:cubicBezTo>
                  <a:cubicBezTo>
                    <a:pt x="1239" y="4501"/>
                    <a:pt x="3811" y="6489"/>
                    <a:pt x="5240" y="6489"/>
                  </a:cubicBezTo>
                  <a:cubicBezTo>
                    <a:pt x="6657" y="6489"/>
                    <a:pt x="9252" y="4501"/>
                    <a:pt x="10288" y="3656"/>
                  </a:cubicBezTo>
                  <a:cubicBezTo>
                    <a:pt x="10407" y="3548"/>
                    <a:pt x="10478" y="3406"/>
                    <a:pt x="10478" y="3239"/>
                  </a:cubicBezTo>
                  <a:cubicBezTo>
                    <a:pt x="10478" y="3072"/>
                    <a:pt x="10407" y="2929"/>
                    <a:pt x="10288" y="2822"/>
                  </a:cubicBezTo>
                  <a:cubicBezTo>
                    <a:pt x="9252" y="1977"/>
                    <a:pt x="6668" y="0"/>
                    <a:pt x="52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6" name="Google Shape;9866;p58"/>
            <p:cNvSpPr/>
            <p:nvPr/>
          </p:nvSpPr>
          <p:spPr>
            <a:xfrm>
              <a:off x="8081201" y="2405746"/>
              <a:ext cx="151598" cy="149884"/>
            </a:xfrm>
            <a:custGeom>
              <a:avLst/>
              <a:gdLst/>
              <a:ahLst/>
              <a:cxnLst/>
              <a:rect l="l" t="t" r="r" b="b"/>
              <a:pathLst>
                <a:path w="4774" h="4720" extrusionOk="0">
                  <a:moveTo>
                    <a:pt x="2351" y="1"/>
                  </a:moveTo>
                  <a:cubicBezTo>
                    <a:pt x="2329" y="1"/>
                    <a:pt x="2308" y="1"/>
                    <a:pt x="2286" y="2"/>
                  </a:cubicBezTo>
                  <a:cubicBezTo>
                    <a:pt x="1048" y="49"/>
                    <a:pt x="36" y="1049"/>
                    <a:pt x="12" y="2288"/>
                  </a:cubicBezTo>
                  <a:cubicBezTo>
                    <a:pt x="0" y="2907"/>
                    <a:pt x="203" y="3478"/>
                    <a:pt x="572" y="3907"/>
                  </a:cubicBezTo>
                  <a:cubicBezTo>
                    <a:pt x="602" y="3943"/>
                    <a:pt x="646" y="3960"/>
                    <a:pt x="691" y="3960"/>
                  </a:cubicBezTo>
                  <a:cubicBezTo>
                    <a:pt x="735" y="3960"/>
                    <a:pt x="780" y="3943"/>
                    <a:pt x="810" y="3907"/>
                  </a:cubicBezTo>
                  <a:cubicBezTo>
                    <a:pt x="869" y="3847"/>
                    <a:pt x="869" y="3740"/>
                    <a:pt x="810" y="3681"/>
                  </a:cubicBezTo>
                  <a:cubicBezTo>
                    <a:pt x="488" y="3312"/>
                    <a:pt x="310" y="2800"/>
                    <a:pt x="322" y="2264"/>
                  </a:cubicBezTo>
                  <a:cubicBezTo>
                    <a:pt x="369" y="1228"/>
                    <a:pt x="1215" y="383"/>
                    <a:pt x="2262" y="335"/>
                  </a:cubicBezTo>
                  <a:cubicBezTo>
                    <a:pt x="2297" y="333"/>
                    <a:pt x="2332" y="332"/>
                    <a:pt x="2366" y="332"/>
                  </a:cubicBezTo>
                  <a:cubicBezTo>
                    <a:pt x="3487" y="332"/>
                    <a:pt x="4416" y="1263"/>
                    <a:pt x="4382" y="2407"/>
                  </a:cubicBezTo>
                  <a:cubicBezTo>
                    <a:pt x="4370" y="3478"/>
                    <a:pt x="3489" y="4347"/>
                    <a:pt x="2417" y="4395"/>
                  </a:cubicBezTo>
                  <a:cubicBezTo>
                    <a:pt x="2394" y="4396"/>
                    <a:pt x="2371" y="4396"/>
                    <a:pt x="2348" y="4396"/>
                  </a:cubicBezTo>
                  <a:cubicBezTo>
                    <a:pt x="2003" y="4396"/>
                    <a:pt x="1671" y="4313"/>
                    <a:pt x="1381" y="4157"/>
                  </a:cubicBezTo>
                  <a:cubicBezTo>
                    <a:pt x="1355" y="4141"/>
                    <a:pt x="1323" y="4132"/>
                    <a:pt x="1290" y="4132"/>
                  </a:cubicBezTo>
                  <a:cubicBezTo>
                    <a:pt x="1248" y="4132"/>
                    <a:pt x="1206" y="4147"/>
                    <a:pt x="1179" y="4181"/>
                  </a:cubicBezTo>
                  <a:cubicBezTo>
                    <a:pt x="1108" y="4264"/>
                    <a:pt x="1119" y="4395"/>
                    <a:pt x="1227" y="4443"/>
                  </a:cubicBezTo>
                  <a:cubicBezTo>
                    <a:pt x="1540" y="4615"/>
                    <a:pt x="1902" y="4720"/>
                    <a:pt x="2287" y="4720"/>
                  </a:cubicBezTo>
                  <a:cubicBezTo>
                    <a:pt x="2326" y="4720"/>
                    <a:pt x="2366" y="4719"/>
                    <a:pt x="2405" y="4716"/>
                  </a:cubicBezTo>
                  <a:cubicBezTo>
                    <a:pt x="3655" y="4693"/>
                    <a:pt x="4679" y="3681"/>
                    <a:pt x="4715" y="2442"/>
                  </a:cubicBezTo>
                  <a:cubicBezTo>
                    <a:pt x="4774" y="1095"/>
                    <a:pt x="3690" y="1"/>
                    <a:pt x="2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7" name="Google Shape;9867;p58"/>
            <p:cNvSpPr/>
            <p:nvPr/>
          </p:nvSpPr>
          <p:spPr>
            <a:xfrm>
              <a:off x="8115973" y="2440550"/>
              <a:ext cx="80562" cy="80213"/>
            </a:xfrm>
            <a:custGeom>
              <a:avLst/>
              <a:gdLst/>
              <a:ahLst/>
              <a:cxnLst/>
              <a:rect l="l" t="t" r="r" b="b"/>
              <a:pathLst>
                <a:path w="2537" h="2526" extrusionOk="0">
                  <a:moveTo>
                    <a:pt x="1263" y="1"/>
                  </a:moveTo>
                  <a:cubicBezTo>
                    <a:pt x="572" y="1"/>
                    <a:pt x="1" y="561"/>
                    <a:pt x="1" y="1263"/>
                  </a:cubicBezTo>
                  <a:cubicBezTo>
                    <a:pt x="1" y="1965"/>
                    <a:pt x="572" y="2525"/>
                    <a:pt x="1263" y="2525"/>
                  </a:cubicBezTo>
                  <a:cubicBezTo>
                    <a:pt x="1965" y="2525"/>
                    <a:pt x="2537" y="1965"/>
                    <a:pt x="2537" y="1263"/>
                  </a:cubicBezTo>
                  <a:cubicBezTo>
                    <a:pt x="2537" y="1168"/>
                    <a:pt x="2453" y="1096"/>
                    <a:pt x="2370" y="1096"/>
                  </a:cubicBezTo>
                  <a:cubicBezTo>
                    <a:pt x="2275" y="1096"/>
                    <a:pt x="2203" y="1168"/>
                    <a:pt x="2203" y="1263"/>
                  </a:cubicBezTo>
                  <a:cubicBezTo>
                    <a:pt x="2203" y="1787"/>
                    <a:pt x="1787" y="2204"/>
                    <a:pt x="1263" y="2204"/>
                  </a:cubicBezTo>
                  <a:cubicBezTo>
                    <a:pt x="751" y="2204"/>
                    <a:pt x="334" y="1787"/>
                    <a:pt x="334" y="1263"/>
                  </a:cubicBezTo>
                  <a:cubicBezTo>
                    <a:pt x="334" y="739"/>
                    <a:pt x="751" y="322"/>
                    <a:pt x="1263" y="322"/>
                  </a:cubicBezTo>
                  <a:cubicBezTo>
                    <a:pt x="1358" y="322"/>
                    <a:pt x="1429" y="251"/>
                    <a:pt x="1429" y="156"/>
                  </a:cubicBezTo>
                  <a:cubicBezTo>
                    <a:pt x="1429" y="72"/>
                    <a:pt x="1358"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8" name="Google Shape;9868;p58"/>
            <p:cNvSpPr/>
            <p:nvPr/>
          </p:nvSpPr>
          <p:spPr>
            <a:xfrm>
              <a:off x="8164749" y="2447377"/>
              <a:ext cx="24610" cy="24610"/>
            </a:xfrm>
            <a:custGeom>
              <a:avLst/>
              <a:gdLst/>
              <a:ahLst/>
              <a:cxnLst/>
              <a:rect l="l" t="t" r="r" b="b"/>
              <a:pathLst>
                <a:path w="775" h="775" extrusionOk="0">
                  <a:moveTo>
                    <a:pt x="382" y="0"/>
                  </a:moveTo>
                  <a:cubicBezTo>
                    <a:pt x="179" y="0"/>
                    <a:pt x="1" y="179"/>
                    <a:pt x="1" y="393"/>
                  </a:cubicBezTo>
                  <a:cubicBezTo>
                    <a:pt x="1" y="596"/>
                    <a:pt x="179" y="774"/>
                    <a:pt x="382" y="774"/>
                  </a:cubicBezTo>
                  <a:cubicBezTo>
                    <a:pt x="596" y="774"/>
                    <a:pt x="774" y="596"/>
                    <a:pt x="774" y="393"/>
                  </a:cubicBezTo>
                  <a:cubicBezTo>
                    <a:pt x="774" y="179"/>
                    <a:pt x="608" y="0"/>
                    <a:pt x="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69" name="Google Shape;9869;p58"/>
          <p:cNvGrpSpPr/>
          <p:nvPr/>
        </p:nvGrpSpPr>
        <p:grpSpPr>
          <a:xfrm>
            <a:off x="5823294" y="2309751"/>
            <a:ext cx="315327" cy="314978"/>
            <a:chOff x="5823294" y="2309751"/>
            <a:chExt cx="315327" cy="314978"/>
          </a:xfrm>
        </p:grpSpPr>
        <p:sp>
          <p:nvSpPr>
            <p:cNvPr id="9870" name="Google Shape;9870;p58"/>
            <p:cNvSpPr/>
            <p:nvPr/>
          </p:nvSpPr>
          <p:spPr>
            <a:xfrm>
              <a:off x="5823294" y="2309751"/>
              <a:ext cx="315327" cy="314978"/>
            </a:xfrm>
            <a:custGeom>
              <a:avLst/>
              <a:gdLst/>
              <a:ahLst/>
              <a:cxnLst/>
              <a:rect l="l" t="t" r="r" b="b"/>
              <a:pathLst>
                <a:path w="9930" h="9919" extrusionOk="0">
                  <a:moveTo>
                    <a:pt x="4953" y="0"/>
                  </a:moveTo>
                  <a:cubicBezTo>
                    <a:pt x="3632" y="0"/>
                    <a:pt x="2381" y="524"/>
                    <a:pt x="1465" y="1465"/>
                  </a:cubicBezTo>
                  <a:cubicBezTo>
                    <a:pt x="524" y="2405"/>
                    <a:pt x="0" y="3656"/>
                    <a:pt x="0" y="4965"/>
                  </a:cubicBezTo>
                  <a:cubicBezTo>
                    <a:pt x="0" y="6275"/>
                    <a:pt x="524" y="7537"/>
                    <a:pt x="1465" y="8466"/>
                  </a:cubicBezTo>
                  <a:cubicBezTo>
                    <a:pt x="2393" y="9394"/>
                    <a:pt x="3643" y="9918"/>
                    <a:pt x="4953" y="9918"/>
                  </a:cubicBezTo>
                  <a:cubicBezTo>
                    <a:pt x="6263" y="9918"/>
                    <a:pt x="7537" y="9394"/>
                    <a:pt x="8454" y="8466"/>
                  </a:cubicBezTo>
                  <a:cubicBezTo>
                    <a:pt x="9394" y="7525"/>
                    <a:pt x="9918" y="6275"/>
                    <a:pt x="9918" y="4965"/>
                  </a:cubicBezTo>
                  <a:cubicBezTo>
                    <a:pt x="9930" y="4858"/>
                    <a:pt x="9930" y="4775"/>
                    <a:pt x="9930" y="4680"/>
                  </a:cubicBezTo>
                  <a:cubicBezTo>
                    <a:pt x="9930" y="4613"/>
                    <a:pt x="9869" y="4547"/>
                    <a:pt x="9803" y="4547"/>
                  </a:cubicBezTo>
                  <a:cubicBezTo>
                    <a:pt x="9798" y="4547"/>
                    <a:pt x="9792" y="4548"/>
                    <a:pt x="9787" y="4549"/>
                  </a:cubicBezTo>
                  <a:cubicBezTo>
                    <a:pt x="9704" y="4549"/>
                    <a:pt x="9632" y="4620"/>
                    <a:pt x="9644" y="4691"/>
                  </a:cubicBezTo>
                  <a:lnTo>
                    <a:pt x="9644" y="4953"/>
                  </a:lnTo>
                  <a:cubicBezTo>
                    <a:pt x="9644" y="6204"/>
                    <a:pt x="9156" y="7358"/>
                    <a:pt x="8275" y="8251"/>
                  </a:cubicBezTo>
                  <a:cubicBezTo>
                    <a:pt x="7394" y="9144"/>
                    <a:pt x="6227" y="9621"/>
                    <a:pt x="4977" y="9621"/>
                  </a:cubicBezTo>
                  <a:cubicBezTo>
                    <a:pt x="3727" y="9621"/>
                    <a:pt x="2560" y="9132"/>
                    <a:pt x="1667" y="8251"/>
                  </a:cubicBezTo>
                  <a:cubicBezTo>
                    <a:pt x="774" y="7370"/>
                    <a:pt x="298" y="6204"/>
                    <a:pt x="298" y="4953"/>
                  </a:cubicBezTo>
                  <a:cubicBezTo>
                    <a:pt x="298" y="3703"/>
                    <a:pt x="786" y="2536"/>
                    <a:pt x="1667" y="1643"/>
                  </a:cubicBezTo>
                  <a:cubicBezTo>
                    <a:pt x="2548" y="750"/>
                    <a:pt x="3727" y="274"/>
                    <a:pt x="4977" y="274"/>
                  </a:cubicBezTo>
                  <a:cubicBezTo>
                    <a:pt x="6072" y="274"/>
                    <a:pt x="7144" y="667"/>
                    <a:pt x="7977" y="1382"/>
                  </a:cubicBezTo>
                  <a:cubicBezTo>
                    <a:pt x="8811" y="2072"/>
                    <a:pt x="9382" y="3048"/>
                    <a:pt x="9561" y="4120"/>
                  </a:cubicBezTo>
                  <a:cubicBezTo>
                    <a:pt x="9572" y="4185"/>
                    <a:pt x="9632" y="4241"/>
                    <a:pt x="9697" y="4241"/>
                  </a:cubicBezTo>
                  <a:cubicBezTo>
                    <a:pt x="9703" y="4241"/>
                    <a:pt x="9709" y="4240"/>
                    <a:pt x="9716" y="4239"/>
                  </a:cubicBezTo>
                  <a:cubicBezTo>
                    <a:pt x="9799" y="4215"/>
                    <a:pt x="9858" y="4144"/>
                    <a:pt x="9835" y="4072"/>
                  </a:cubicBezTo>
                  <a:cubicBezTo>
                    <a:pt x="9632" y="2941"/>
                    <a:pt x="9037" y="1917"/>
                    <a:pt x="8156" y="1167"/>
                  </a:cubicBezTo>
                  <a:cubicBezTo>
                    <a:pt x="7263" y="405"/>
                    <a:pt x="6132" y="0"/>
                    <a:pt x="4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1" name="Google Shape;9871;p58"/>
            <p:cNvSpPr/>
            <p:nvPr/>
          </p:nvSpPr>
          <p:spPr>
            <a:xfrm>
              <a:off x="5846348" y="2332805"/>
              <a:ext cx="268457" cy="268489"/>
            </a:xfrm>
            <a:custGeom>
              <a:avLst/>
              <a:gdLst/>
              <a:ahLst/>
              <a:cxnLst/>
              <a:rect l="l" t="t" r="r" b="b"/>
              <a:pathLst>
                <a:path w="8454" h="8455" extrusionOk="0">
                  <a:moveTo>
                    <a:pt x="4227" y="1"/>
                  </a:moveTo>
                  <a:cubicBezTo>
                    <a:pt x="3632" y="1"/>
                    <a:pt x="3060" y="120"/>
                    <a:pt x="2501" y="370"/>
                  </a:cubicBezTo>
                  <a:cubicBezTo>
                    <a:pt x="1989" y="608"/>
                    <a:pt x="1512" y="929"/>
                    <a:pt x="1120" y="1358"/>
                  </a:cubicBezTo>
                  <a:cubicBezTo>
                    <a:pt x="1060" y="1418"/>
                    <a:pt x="1072" y="1513"/>
                    <a:pt x="1131" y="1572"/>
                  </a:cubicBezTo>
                  <a:cubicBezTo>
                    <a:pt x="1158" y="1599"/>
                    <a:pt x="1192" y="1611"/>
                    <a:pt x="1227" y="1611"/>
                  </a:cubicBezTo>
                  <a:cubicBezTo>
                    <a:pt x="1270" y="1611"/>
                    <a:pt x="1313" y="1593"/>
                    <a:pt x="1346" y="1560"/>
                  </a:cubicBezTo>
                  <a:cubicBezTo>
                    <a:pt x="1715" y="1156"/>
                    <a:pt x="2155" y="846"/>
                    <a:pt x="2644" y="632"/>
                  </a:cubicBezTo>
                  <a:cubicBezTo>
                    <a:pt x="3144" y="405"/>
                    <a:pt x="3679" y="286"/>
                    <a:pt x="4251" y="286"/>
                  </a:cubicBezTo>
                  <a:cubicBezTo>
                    <a:pt x="6418" y="286"/>
                    <a:pt x="8192" y="2060"/>
                    <a:pt x="8192" y="4239"/>
                  </a:cubicBezTo>
                  <a:cubicBezTo>
                    <a:pt x="8192" y="6406"/>
                    <a:pt x="6418" y="8180"/>
                    <a:pt x="4251" y="8180"/>
                  </a:cubicBezTo>
                  <a:cubicBezTo>
                    <a:pt x="2072" y="8180"/>
                    <a:pt x="298" y="6406"/>
                    <a:pt x="298" y="4239"/>
                  </a:cubicBezTo>
                  <a:cubicBezTo>
                    <a:pt x="298" y="3465"/>
                    <a:pt x="524" y="2703"/>
                    <a:pt x="965" y="2060"/>
                  </a:cubicBezTo>
                  <a:cubicBezTo>
                    <a:pt x="1001" y="1989"/>
                    <a:pt x="989" y="1882"/>
                    <a:pt x="917" y="1846"/>
                  </a:cubicBezTo>
                  <a:cubicBezTo>
                    <a:pt x="893" y="1827"/>
                    <a:pt x="862" y="1818"/>
                    <a:pt x="830" y="1818"/>
                  </a:cubicBezTo>
                  <a:cubicBezTo>
                    <a:pt x="781" y="1818"/>
                    <a:pt x="731" y="1839"/>
                    <a:pt x="703" y="1882"/>
                  </a:cubicBezTo>
                  <a:cubicBezTo>
                    <a:pt x="250" y="2584"/>
                    <a:pt x="0" y="3394"/>
                    <a:pt x="0" y="4227"/>
                  </a:cubicBezTo>
                  <a:cubicBezTo>
                    <a:pt x="0" y="5358"/>
                    <a:pt x="453" y="6406"/>
                    <a:pt x="1239" y="7216"/>
                  </a:cubicBezTo>
                  <a:cubicBezTo>
                    <a:pt x="2048" y="8014"/>
                    <a:pt x="3096" y="8454"/>
                    <a:pt x="4227" y="8454"/>
                  </a:cubicBezTo>
                  <a:cubicBezTo>
                    <a:pt x="5358" y="8454"/>
                    <a:pt x="6418" y="8002"/>
                    <a:pt x="7227" y="7216"/>
                  </a:cubicBezTo>
                  <a:cubicBezTo>
                    <a:pt x="8025" y="6430"/>
                    <a:pt x="8454" y="5358"/>
                    <a:pt x="8454" y="4227"/>
                  </a:cubicBezTo>
                  <a:cubicBezTo>
                    <a:pt x="8454" y="3096"/>
                    <a:pt x="8013" y="2037"/>
                    <a:pt x="7227" y="1227"/>
                  </a:cubicBezTo>
                  <a:cubicBezTo>
                    <a:pt x="6418" y="429"/>
                    <a:pt x="5358" y="1"/>
                    <a:pt x="4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2" name="Google Shape;9872;p58"/>
            <p:cNvSpPr/>
            <p:nvPr/>
          </p:nvSpPr>
          <p:spPr>
            <a:xfrm>
              <a:off x="5869402" y="2462111"/>
              <a:ext cx="15909" cy="9495"/>
            </a:xfrm>
            <a:custGeom>
              <a:avLst/>
              <a:gdLst/>
              <a:ahLst/>
              <a:cxnLst/>
              <a:rect l="l" t="t" r="r" b="b"/>
              <a:pathLst>
                <a:path w="501" h="299" extrusionOk="0">
                  <a:moveTo>
                    <a:pt x="144" y="1"/>
                  </a:moveTo>
                  <a:cubicBezTo>
                    <a:pt x="72" y="1"/>
                    <a:pt x="1" y="72"/>
                    <a:pt x="1" y="155"/>
                  </a:cubicBezTo>
                  <a:cubicBezTo>
                    <a:pt x="1" y="227"/>
                    <a:pt x="60" y="298"/>
                    <a:pt x="144" y="298"/>
                  </a:cubicBezTo>
                  <a:lnTo>
                    <a:pt x="358" y="298"/>
                  </a:lnTo>
                  <a:cubicBezTo>
                    <a:pt x="429" y="298"/>
                    <a:pt x="501" y="239"/>
                    <a:pt x="501" y="155"/>
                  </a:cubicBezTo>
                  <a:cubicBezTo>
                    <a:pt x="501" y="60"/>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3" name="Google Shape;9873;p58"/>
            <p:cNvSpPr/>
            <p:nvPr/>
          </p:nvSpPr>
          <p:spPr>
            <a:xfrm>
              <a:off x="5976416" y="2354748"/>
              <a:ext cx="116858" cy="116858"/>
            </a:xfrm>
            <a:custGeom>
              <a:avLst/>
              <a:gdLst/>
              <a:ahLst/>
              <a:cxnLst/>
              <a:rect l="l" t="t" r="r" b="b"/>
              <a:pathLst>
                <a:path w="3680" h="3680" extrusionOk="0">
                  <a:moveTo>
                    <a:pt x="155" y="0"/>
                  </a:moveTo>
                  <a:cubicBezTo>
                    <a:pt x="60" y="0"/>
                    <a:pt x="0" y="60"/>
                    <a:pt x="0" y="155"/>
                  </a:cubicBezTo>
                  <a:lnTo>
                    <a:pt x="0" y="3536"/>
                  </a:lnTo>
                  <a:cubicBezTo>
                    <a:pt x="0" y="3608"/>
                    <a:pt x="60" y="3679"/>
                    <a:pt x="155" y="3679"/>
                  </a:cubicBezTo>
                  <a:lnTo>
                    <a:pt x="3536" y="3679"/>
                  </a:lnTo>
                  <a:cubicBezTo>
                    <a:pt x="3608" y="3679"/>
                    <a:pt x="3679" y="3620"/>
                    <a:pt x="3679" y="3536"/>
                  </a:cubicBezTo>
                  <a:cubicBezTo>
                    <a:pt x="3679" y="3441"/>
                    <a:pt x="3620" y="3382"/>
                    <a:pt x="3536" y="3382"/>
                  </a:cubicBezTo>
                  <a:lnTo>
                    <a:pt x="298" y="3382"/>
                  </a:lnTo>
                  <a:lnTo>
                    <a:pt x="298" y="155"/>
                  </a:lnTo>
                  <a:cubicBezTo>
                    <a:pt x="298" y="84"/>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4" name="Google Shape;9874;p58"/>
            <p:cNvSpPr/>
            <p:nvPr/>
          </p:nvSpPr>
          <p:spPr>
            <a:xfrm>
              <a:off x="5976416" y="2562679"/>
              <a:ext cx="9463" cy="16290"/>
            </a:xfrm>
            <a:custGeom>
              <a:avLst/>
              <a:gdLst/>
              <a:ahLst/>
              <a:cxnLst/>
              <a:rect l="l" t="t" r="r" b="b"/>
              <a:pathLst>
                <a:path w="298" h="513" extrusionOk="0">
                  <a:moveTo>
                    <a:pt x="155" y="1"/>
                  </a:moveTo>
                  <a:cubicBezTo>
                    <a:pt x="60" y="1"/>
                    <a:pt x="0" y="60"/>
                    <a:pt x="0" y="155"/>
                  </a:cubicBezTo>
                  <a:lnTo>
                    <a:pt x="0" y="358"/>
                  </a:lnTo>
                  <a:cubicBezTo>
                    <a:pt x="0" y="441"/>
                    <a:pt x="60" y="513"/>
                    <a:pt x="155" y="513"/>
                  </a:cubicBezTo>
                  <a:cubicBezTo>
                    <a:pt x="238" y="513"/>
                    <a:pt x="298" y="453"/>
                    <a:pt x="298" y="358"/>
                  </a:cubicBezTo>
                  <a:lnTo>
                    <a:pt x="298" y="155"/>
                  </a:lnTo>
                  <a:cubicBezTo>
                    <a:pt x="298" y="84"/>
                    <a:pt x="23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5" name="Google Shape;9875;p58"/>
            <p:cNvSpPr/>
            <p:nvPr/>
          </p:nvSpPr>
          <p:spPr>
            <a:xfrm>
              <a:off x="5900395" y="2386217"/>
              <a:ext cx="15179" cy="13909"/>
            </a:xfrm>
            <a:custGeom>
              <a:avLst/>
              <a:gdLst/>
              <a:ahLst/>
              <a:cxnLst/>
              <a:rect l="l" t="t" r="r" b="b"/>
              <a:pathLst>
                <a:path w="478" h="438" extrusionOk="0">
                  <a:moveTo>
                    <a:pt x="168" y="0"/>
                  </a:moveTo>
                  <a:cubicBezTo>
                    <a:pt x="129" y="0"/>
                    <a:pt x="90" y="15"/>
                    <a:pt x="61" y="45"/>
                  </a:cubicBezTo>
                  <a:cubicBezTo>
                    <a:pt x="1" y="105"/>
                    <a:pt x="1" y="188"/>
                    <a:pt x="61" y="247"/>
                  </a:cubicBezTo>
                  <a:lnTo>
                    <a:pt x="215" y="402"/>
                  </a:lnTo>
                  <a:cubicBezTo>
                    <a:pt x="239" y="426"/>
                    <a:pt x="275" y="438"/>
                    <a:pt x="311" y="438"/>
                  </a:cubicBezTo>
                  <a:cubicBezTo>
                    <a:pt x="358" y="438"/>
                    <a:pt x="394" y="426"/>
                    <a:pt x="418" y="402"/>
                  </a:cubicBezTo>
                  <a:cubicBezTo>
                    <a:pt x="477" y="343"/>
                    <a:pt x="477" y="247"/>
                    <a:pt x="418" y="188"/>
                  </a:cubicBezTo>
                  <a:lnTo>
                    <a:pt x="275" y="45"/>
                  </a:lnTo>
                  <a:cubicBezTo>
                    <a:pt x="245" y="15"/>
                    <a:pt x="206"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6" name="Google Shape;9876;p58"/>
            <p:cNvSpPr/>
            <p:nvPr/>
          </p:nvSpPr>
          <p:spPr>
            <a:xfrm>
              <a:off x="6047484" y="2533655"/>
              <a:ext cx="15147" cy="13940"/>
            </a:xfrm>
            <a:custGeom>
              <a:avLst/>
              <a:gdLst/>
              <a:ahLst/>
              <a:cxnLst/>
              <a:rect l="l" t="t" r="r" b="b"/>
              <a:pathLst>
                <a:path w="477" h="439" extrusionOk="0">
                  <a:moveTo>
                    <a:pt x="161" y="1"/>
                  </a:moveTo>
                  <a:cubicBezTo>
                    <a:pt x="126" y="1"/>
                    <a:pt x="90" y="16"/>
                    <a:pt x="60" y="46"/>
                  </a:cubicBezTo>
                  <a:cubicBezTo>
                    <a:pt x="1" y="93"/>
                    <a:pt x="1" y="188"/>
                    <a:pt x="60" y="248"/>
                  </a:cubicBezTo>
                  <a:lnTo>
                    <a:pt x="203" y="391"/>
                  </a:lnTo>
                  <a:cubicBezTo>
                    <a:pt x="239" y="427"/>
                    <a:pt x="262" y="438"/>
                    <a:pt x="310" y="438"/>
                  </a:cubicBezTo>
                  <a:cubicBezTo>
                    <a:pt x="358" y="438"/>
                    <a:pt x="382" y="427"/>
                    <a:pt x="417" y="391"/>
                  </a:cubicBezTo>
                  <a:cubicBezTo>
                    <a:pt x="477" y="343"/>
                    <a:pt x="477" y="248"/>
                    <a:pt x="417" y="188"/>
                  </a:cubicBezTo>
                  <a:lnTo>
                    <a:pt x="262" y="46"/>
                  </a:lnTo>
                  <a:cubicBezTo>
                    <a:pt x="233" y="16"/>
                    <a:pt x="197"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7" name="Google Shape;9877;p58"/>
            <p:cNvSpPr/>
            <p:nvPr/>
          </p:nvSpPr>
          <p:spPr>
            <a:xfrm>
              <a:off x="6047484" y="2386217"/>
              <a:ext cx="15147" cy="13909"/>
            </a:xfrm>
            <a:custGeom>
              <a:avLst/>
              <a:gdLst/>
              <a:ahLst/>
              <a:cxnLst/>
              <a:rect l="l" t="t" r="r" b="b"/>
              <a:pathLst>
                <a:path w="477" h="438" extrusionOk="0">
                  <a:moveTo>
                    <a:pt x="310" y="0"/>
                  </a:moveTo>
                  <a:cubicBezTo>
                    <a:pt x="271" y="0"/>
                    <a:pt x="233" y="15"/>
                    <a:pt x="203" y="45"/>
                  </a:cubicBezTo>
                  <a:lnTo>
                    <a:pt x="60" y="188"/>
                  </a:lnTo>
                  <a:cubicBezTo>
                    <a:pt x="1" y="247"/>
                    <a:pt x="1" y="343"/>
                    <a:pt x="60" y="402"/>
                  </a:cubicBezTo>
                  <a:cubicBezTo>
                    <a:pt x="84" y="426"/>
                    <a:pt x="120" y="438"/>
                    <a:pt x="167" y="438"/>
                  </a:cubicBezTo>
                  <a:cubicBezTo>
                    <a:pt x="203" y="438"/>
                    <a:pt x="239" y="426"/>
                    <a:pt x="262" y="402"/>
                  </a:cubicBezTo>
                  <a:lnTo>
                    <a:pt x="417" y="247"/>
                  </a:lnTo>
                  <a:cubicBezTo>
                    <a:pt x="477" y="188"/>
                    <a:pt x="477" y="105"/>
                    <a:pt x="417" y="45"/>
                  </a:cubicBezTo>
                  <a:cubicBezTo>
                    <a:pt x="387" y="15"/>
                    <a:pt x="349"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8" name="Google Shape;9878;p58"/>
            <p:cNvSpPr/>
            <p:nvPr/>
          </p:nvSpPr>
          <p:spPr>
            <a:xfrm>
              <a:off x="5900395" y="2533655"/>
              <a:ext cx="15179" cy="13940"/>
            </a:xfrm>
            <a:custGeom>
              <a:avLst/>
              <a:gdLst/>
              <a:ahLst/>
              <a:cxnLst/>
              <a:rect l="l" t="t" r="r" b="b"/>
              <a:pathLst>
                <a:path w="478" h="439" extrusionOk="0">
                  <a:moveTo>
                    <a:pt x="316" y="1"/>
                  </a:moveTo>
                  <a:cubicBezTo>
                    <a:pt x="281" y="1"/>
                    <a:pt x="245" y="16"/>
                    <a:pt x="215" y="46"/>
                  </a:cubicBezTo>
                  <a:lnTo>
                    <a:pt x="61" y="188"/>
                  </a:lnTo>
                  <a:cubicBezTo>
                    <a:pt x="1" y="248"/>
                    <a:pt x="1" y="343"/>
                    <a:pt x="61" y="403"/>
                  </a:cubicBezTo>
                  <a:cubicBezTo>
                    <a:pt x="96" y="427"/>
                    <a:pt x="120" y="438"/>
                    <a:pt x="168" y="438"/>
                  </a:cubicBezTo>
                  <a:cubicBezTo>
                    <a:pt x="215" y="438"/>
                    <a:pt x="239" y="427"/>
                    <a:pt x="275" y="403"/>
                  </a:cubicBezTo>
                  <a:lnTo>
                    <a:pt x="418" y="248"/>
                  </a:lnTo>
                  <a:cubicBezTo>
                    <a:pt x="477" y="188"/>
                    <a:pt x="477" y="105"/>
                    <a:pt x="418" y="46"/>
                  </a:cubicBezTo>
                  <a:cubicBezTo>
                    <a:pt x="388" y="16"/>
                    <a:pt x="352" y="1"/>
                    <a:pt x="3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9" name="Google Shape;9879;p58"/>
            <p:cNvSpPr/>
            <p:nvPr/>
          </p:nvSpPr>
          <p:spPr>
            <a:xfrm>
              <a:off x="5877341" y="2420639"/>
              <a:ext cx="16671" cy="11654"/>
            </a:xfrm>
            <a:custGeom>
              <a:avLst/>
              <a:gdLst/>
              <a:ahLst/>
              <a:cxnLst/>
              <a:rect l="l" t="t" r="r" b="b"/>
              <a:pathLst>
                <a:path w="525" h="367" extrusionOk="0">
                  <a:moveTo>
                    <a:pt x="167" y="0"/>
                  </a:moveTo>
                  <a:cubicBezTo>
                    <a:pt x="106" y="0"/>
                    <a:pt x="52" y="29"/>
                    <a:pt x="25" y="92"/>
                  </a:cubicBezTo>
                  <a:cubicBezTo>
                    <a:pt x="1" y="164"/>
                    <a:pt x="25" y="247"/>
                    <a:pt x="108" y="283"/>
                  </a:cubicBezTo>
                  <a:lnTo>
                    <a:pt x="298" y="354"/>
                  </a:lnTo>
                  <a:cubicBezTo>
                    <a:pt x="310" y="366"/>
                    <a:pt x="346" y="366"/>
                    <a:pt x="358" y="366"/>
                  </a:cubicBezTo>
                  <a:cubicBezTo>
                    <a:pt x="417" y="366"/>
                    <a:pt x="465" y="342"/>
                    <a:pt x="489" y="283"/>
                  </a:cubicBezTo>
                  <a:cubicBezTo>
                    <a:pt x="525" y="187"/>
                    <a:pt x="489" y="116"/>
                    <a:pt x="417" y="92"/>
                  </a:cubicBezTo>
                  <a:lnTo>
                    <a:pt x="227" y="9"/>
                  </a:lnTo>
                  <a:cubicBezTo>
                    <a:pt x="207" y="3"/>
                    <a:pt x="18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0" name="Google Shape;9880;p58"/>
            <p:cNvSpPr/>
            <p:nvPr/>
          </p:nvSpPr>
          <p:spPr>
            <a:xfrm>
              <a:off x="6068665" y="2501519"/>
              <a:ext cx="16671" cy="11654"/>
            </a:xfrm>
            <a:custGeom>
              <a:avLst/>
              <a:gdLst/>
              <a:ahLst/>
              <a:cxnLst/>
              <a:rect l="l" t="t" r="r" b="b"/>
              <a:pathLst>
                <a:path w="525" h="367" extrusionOk="0">
                  <a:moveTo>
                    <a:pt x="170" y="1"/>
                  </a:moveTo>
                  <a:cubicBezTo>
                    <a:pt x="112" y="1"/>
                    <a:pt x="54" y="28"/>
                    <a:pt x="36" y="81"/>
                  </a:cubicBezTo>
                  <a:cubicBezTo>
                    <a:pt x="0" y="165"/>
                    <a:pt x="36" y="248"/>
                    <a:pt x="107" y="284"/>
                  </a:cubicBezTo>
                  <a:lnTo>
                    <a:pt x="298" y="355"/>
                  </a:lnTo>
                  <a:cubicBezTo>
                    <a:pt x="310" y="367"/>
                    <a:pt x="346" y="367"/>
                    <a:pt x="357" y="367"/>
                  </a:cubicBezTo>
                  <a:cubicBezTo>
                    <a:pt x="417" y="367"/>
                    <a:pt x="465" y="343"/>
                    <a:pt x="488" y="284"/>
                  </a:cubicBezTo>
                  <a:cubicBezTo>
                    <a:pt x="524" y="200"/>
                    <a:pt x="488" y="117"/>
                    <a:pt x="417" y="81"/>
                  </a:cubicBezTo>
                  <a:lnTo>
                    <a:pt x="226" y="10"/>
                  </a:lnTo>
                  <a:cubicBezTo>
                    <a:pt x="209" y="4"/>
                    <a:pt x="189"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1" name="Google Shape;9881;p58"/>
            <p:cNvSpPr/>
            <p:nvPr/>
          </p:nvSpPr>
          <p:spPr>
            <a:xfrm>
              <a:off x="6015729" y="2363353"/>
              <a:ext cx="12893" cy="15623"/>
            </a:xfrm>
            <a:custGeom>
              <a:avLst/>
              <a:gdLst/>
              <a:ahLst/>
              <a:cxnLst/>
              <a:rect l="l" t="t" r="r" b="b"/>
              <a:pathLst>
                <a:path w="406" h="492" extrusionOk="0">
                  <a:moveTo>
                    <a:pt x="237" y="1"/>
                  </a:moveTo>
                  <a:cubicBezTo>
                    <a:pt x="181" y="1"/>
                    <a:pt x="125" y="34"/>
                    <a:pt x="108" y="86"/>
                  </a:cubicBezTo>
                  <a:lnTo>
                    <a:pt x="36" y="277"/>
                  </a:lnTo>
                  <a:cubicBezTo>
                    <a:pt x="0" y="360"/>
                    <a:pt x="36" y="444"/>
                    <a:pt x="108" y="479"/>
                  </a:cubicBezTo>
                  <a:cubicBezTo>
                    <a:pt x="119" y="479"/>
                    <a:pt x="131" y="491"/>
                    <a:pt x="167" y="491"/>
                  </a:cubicBezTo>
                  <a:cubicBezTo>
                    <a:pt x="227" y="491"/>
                    <a:pt x="274" y="467"/>
                    <a:pt x="298" y="396"/>
                  </a:cubicBezTo>
                  <a:lnTo>
                    <a:pt x="369" y="205"/>
                  </a:lnTo>
                  <a:cubicBezTo>
                    <a:pt x="405" y="134"/>
                    <a:pt x="369" y="39"/>
                    <a:pt x="298" y="15"/>
                  </a:cubicBezTo>
                  <a:cubicBezTo>
                    <a:pt x="279" y="5"/>
                    <a:pt x="258"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2" name="Google Shape;9882;p58"/>
            <p:cNvSpPr/>
            <p:nvPr/>
          </p:nvSpPr>
          <p:spPr>
            <a:xfrm>
              <a:off x="5934055" y="2554836"/>
              <a:ext cx="13274" cy="15433"/>
            </a:xfrm>
            <a:custGeom>
              <a:avLst/>
              <a:gdLst/>
              <a:ahLst/>
              <a:cxnLst/>
              <a:rect l="l" t="t" r="r" b="b"/>
              <a:pathLst>
                <a:path w="418" h="486" extrusionOk="0">
                  <a:moveTo>
                    <a:pt x="255" y="1"/>
                  </a:moveTo>
                  <a:cubicBezTo>
                    <a:pt x="197" y="1"/>
                    <a:pt x="138" y="30"/>
                    <a:pt x="120" y="93"/>
                  </a:cubicBezTo>
                  <a:lnTo>
                    <a:pt x="48" y="283"/>
                  </a:lnTo>
                  <a:cubicBezTo>
                    <a:pt x="1" y="355"/>
                    <a:pt x="48" y="450"/>
                    <a:pt x="120" y="474"/>
                  </a:cubicBezTo>
                  <a:cubicBezTo>
                    <a:pt x="132" y="486"/>
                    <a:pt x="167" y="486"/>
                    <a:pt x="179" y="486"/>
                  </a:cubicBezTo>
                  <a:cubicBezTo>
                    <a:pt x="239" y="486"/>
                    <a:pt x="286" y="462"/>
                    <a:pt x="310" y="402"/>
                  </a:cubicBezTo>
                  <a:lnTo>
                    <a:pt x="382" y="212"/>
                  </a:lnTo>
                  <a:cubicBezTo>
                    <a:pt x="417" y="129"/>
                    <a:pt x="382" y="45"/>
                    <a:pt x="310" y="10"/>
                  </a:cubicBezTo>
                  <a:cubicBezTo>
                    <a:pt x="293" y="4"/>
                    <a:pt x="274" y="1"/>
                    <a:pt x="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3" name="Google Shape;9883;p58"/>
            <p:cNvSpPr/>
            <p:nvPr/>
          </p:nvSpPr>
          <p:spPr>
            <a:xfrm>
              <a:off x="5935960" y="2362401"/>
              <a:ext cx="12861" cy="15814"/>
            </a:xfrm>
            <a:custGeom>
              <a:avLst/>
              <a:gdLst/>
              <a:ahLst/>
              <a:cxnLst/>
              <a:rect l="l" t="t" r="r" b="b"/>
              <a:pathLst>
                <a:path w="405" h="498" extrusionOk="0">
                  <a:moveTo>
                    <a:pt x="161" y="1"/>
                  </a:moveTo>
                  <a:cubicBezTo>
                    <a:pt x="143" y="1"/>
                    <a:pt x="125" y="3"/>
                    <a:pt x="107" y="9"/>
                  </a:cubicBezTo>
                  <a:cubicBezTo>
                    <a:pt x="24" y="45"/>
                    <a:pt x="0" y="128"/>
                    <a:pt x="24" y="212"/>
                  </a:cubicBezTo>
                  <a:lnTo>
                    <a:pt x="107" y="402"/>
                  </a:lnTo>
                  <a:cubicBezTo>
                    <a:pt x="131" y="462"/>
                    <a:pt x="191" y="497"/>
                    <a:pt x="238" y="497"/>
                  </a:cubicBezTo>
                  <a:cubicBezTo>
                    <a:pt x="250" y="497"/>
                    <a:pt x="262" y="497"/>
                    <a:pt x="298" y="474"/>
                  </a:cubicBezTo>
                  <a:cubicBezTo>
                    <a:pt x="369" y="450"/>
                    <a:pt x="405" y="355"/>
                    <a:pt x="369" y="283"/>
                  </a:cubicBezTo>
                  <a:lnTo>
                    <a:pt x="298" y="93"/>
                  </a:lnTo>
                  <a:cubicBezTo>
                    <a:pt x="271" y="29"/>
                    <a:pt x="216" y="1"/>
                    <a:pt x="1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4" name="Google Shape;9884;p58"/>
            <p:cNvSpPr/>
            <p:nvPr/>
          </p:nvSpPr>
          <p:spPr>
            <a:xfrm>
              <a:off x="6013824" y="2555820"/>
              <a:ext cx="12893" cy="15592"/>
            </a:xfrm>
            <a:custGeom>
              <a:avLst/>
              <a:gdLst/>
              <a:ahLst/>
              <a:cxnLst/>
              <a:rect l="l" t="t" r="r" b="b"/>
              <a:pathLst>
                <a:path w="406" h="491" extrusionOk="0">
                  <a:moveTo>
                    <a:pt x="167" y="0"/>
                  </a:moveTo>
                  <a:cubicBezTo>
                    <a:pt x="147" y="0"/>
                    <a:pt x="127" y="5"/>
                    <a:pt x="108" y="14"/>
                  </a:cubicBezTo>
                  <a:cubicBezTo>
                    <a:pt x="37" y="38"/>
                    <a:pt x="1" y="133"/>
                    <a:pt x="37" y="205"/>
                  </a:cubicBezTo>
                  <a:lnTo>
                    <a:pt x="108" y="395"/>
                  </a:lnTo>
                  <a:cubicBezTo>
                    <a:pt x="132" y="455"/>
                    <a:pt x="179" y="491"/>
                    <a:pt x="239" y="491"/>
                  </a:cubicBezTo>
                  <a:cubicBezTo>
                    <a:pt x="251" y="491"/>
                    <a:pt x="275" y="491"/>
                    <a:pt x="299" y="479"/>
                  </a:cubicBezTo>
                  <a:cubicBezTo>
                    <a:pt x="370" y="443"/>
                    <a:pt x="406" y="360"/>
                    <a:pt x="370" y="276"/>
                  </a:cubicBezTo>
                  <a:lnTo>
                    <a:pt x="299" y="86"/>
                  </a:lnTo>
                  <a:cubicBezTo>
                    <a:pt x="272" y="33"/>
                    <a:pt x="22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5" name="Google Shape;9885;p58"/>
            <p:cNvSpPr/>
            <p:nvPr/>
          </p:nvSpPr>
          <p:spPr>
            <a:xfrm>
              <a:off x="6069776" y="2422132"/>
              <a:ext cx="16290" cy="11654"/>
            </a:xfrm>
            <a:custGeom>
              <a:avLst/>
              <a:gdLst/>
              <a:ahLst/>
              <a:cxnLst/>
              <a:rect l="l" t="t" r="r" b="b"/>
              <a:pathLst>
                <a:path w="513" h="367" extrusionOk="0">
                  <a:moveTo>
                    <a:pt x="354" y="1"/>
                  </a:moveTo>
                  <a:cubicBezTo>
                    <a:pt x="335" y="1"/>
                    <a:pt x="316" y="3"/>
                    <a:pt x="299" y="9"/>
                  </a:cubicBezTo>
                  <a:lnTo>
                    <a:pt x="96" y="81"/>
                  </a:lnTo>
                  <a:cubicBezTo>
                    <a:pt x="25" y="117"/>
                    <a:pt x="1" y="200"/>
                    <a:pt x="25" y="283"/>
                  </a:cubicBezTo>
                  <a:cubicBezTo>
                    <a:pt x="37" y="343"/>
                    <a:pt x="96" y="367"/>
                    <a:pt x="156" y="367"/>
                  </a:cubicBezTo>
                  <a:cubicBezTo>
                    <a:pt x="180" y="367"/>
                    <a:pt x="191" y="367"/>
                    <a:pt x="215" y="355"/>
                  </a:cubicBezTo>
                  <a:lnTo>
                    <a:pt x="418" y="283"/>
                  </a:lnTo>
                  <a:cubicBezTo>
                    <a:pt x="489" y="248"/>
                    <a:pt x="513" y="164"/>
                    <a:pt x="489" y="81"/>
                  </a:cubicBezTo>
                  <a:cubicBezTo>
                    <a:pt x="462" y="27"/>
                    <a:pt x="409" y="1"/>
                    <a:pt x="3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6" name="Google Shape;9886;p58"/>
            <p:cNvSpPr/>
            <p:nvPr/>
          </p:nvSpPr>
          <p:spPr>
            <a:xfrm>
              <a:off x="5876960" y="2500027"/>
              <a:ext cx="16290" cy="11654"/>
            </a:xfrm>
            <a:custGeom>
              <a:avLst/>
              <a:gdLst/>
              <a:ahLst/>
              <a:cxnLst/>
              <a:rect l="l" t="t" r="r" b="b"/>
              <a:pathLst>
                <a:path w="513" h="367" extrusionOk="0">
                  <a:moveTo>
                    <a:pt x="352" y="0"/>
                  </a:moveTo>
                  <a:cubicBezTo>
                    <a:pt x="334" y="0"/>
                    <a:pt x="316" y="3"/>
                    <a:pt x="298" y="9"/>
                  </a:cubicBezTo>
                  <a:lnTo>
                    <a:pt x="96" y="92"/>
                  </a:lnTo>
                  <a:cubicBezTo>
                    <a:pt x="25" y="116"/>
                    <a:pt x="1" y="212"/>
                    <a:pt x="25" y="283"/>
                  </a:cubicBezTo>
                  <a:cubicBezTo>
                    <a:pt x="60" y="343"/>
                    <a:pt x="96" y="366"/>
                    <a:pt x="156" y="366"/>
                  </a:cubicBezTo>
                  <a:cubicBezTo>
                    <a:pt x="179" y="366"/>
                    <a:pt x="191" y="366"/>
                    <a:pt x="215" y="354"/>
                  </a:cubicBezTo>
                  <a:lnTo>
                    <a:pt x="418" y="283"/>
                  </a:lnTo>
                  <a:cubicBezTo>
                    <a:pt x="489" y="247"/>
                    <a:pt x="513" y="164"/>
                    <a:pt x="489" y="92"/>
                  </a:cubicBezTo>
                  <a:cubicBezTo>
                    <a:pt x="462" y="29"/>
                    <a:pt x="40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87" name="Google Shape;9887;p58"/>
          <p:cNvGrpSpPr/>
          <p:nvPr/>
        </p:nvGrpSpPr>
        <p:grpSpPr>
          <a:xfrm>
            <a:off x="2497275" y="2744159"/>
            <a:ext cx="370930" cy="370549"/>
            <a:chOff x="2497275" y="2744159"/>
            <a:chExt cx="370930" cy="370549"/>
          </a:xfrm>
        </p:grpSpPr>
        <p:sp>
          <p:nvSpPr>
            <p:cNvPr id="9888" name="Google Shape;9888;p58"/>
            <p:cNvSpPr/>
            <p:nvPr/>
          </p:nvSpPr>
          <p:spPr>
            <a:xfrm>
              <a:off x="2497275" y="2744159"/>
              <a:ext cx="284366" cy="284747"/>
            </a:xfrm>
            <a:custGeom>
              <a:avLst/>
              <a:gdLst/>
              <a:ahLst/>
              <a:cxnLst/>
              <a:rect l="l" t="t" r="r" b="b"/>
              <a:pathLst>
                <a:path w="8955" h="8967" extrusionOk="0">
                  <a:moveTo>
                    <a:pt x="4204" y="1"/>
                  </a:moveTo>
                  <a:cubicBezTo>
                    <a:pt x="3942" y="1"/>
                    <a:pt x="3704" y="203"/>
                    <a:pt x="3644" y="465"/>
                  </a:cubicBezTo>
                  <a:lnTo>
                    <a:pt x="3466" y="1334"/>
                  </a:lnTo>
                  <a:cubicBezTo>
                    <a:pt x="3287" y="1394"/>
                    <a:pt x="3108" y="1465"/>
                    <a:pt x="2942" y="1537"/>
                  </a:cubicBezTo>
                  <a:lnTo>
                    <a:pt x="2215" y="1048"/>
                  </a:lnTo>
                  <a:cubicBezTo>
                    <a:pt x="2120" y="983"/>
                    <a:pt x="2009" y="952"/>
                    <a:pt x="1899" y="952"/>
                  </a:cubicBezTo>
                  <a:cubicBezTo>
                    <a:pt x="1749" y="952"/>
                    <a:pt x="1599" y="1010"/>
                    <a:pt x="1489" y="1120"/>
                  </a:cubicBezTo>
                  <a:lnTo>
                    <a:pt x="1108" y="1489"/>
                  </a:lnTo>
                  <a:cubicBezTo>
                    <a:pt x="918" y="1691"/>
                    <a:pt x="894" y="1989"/>
                    <a:pt x="1037" y="2227"/>
                  </a:cubicBezTo>
                  <a:lnTo>
                    <a:pt x="1525" y="2953"/>
                  </a:lnTo>
                  <a:cubicBezTo>
                    <a:pt x="1441" y="3120"/>
                    <a:pt x="1370" y="3287"/>
                    <a:pt x="1322" y="3465"/>
                  </a:cubicBezTo>
                  <a:lnTo>
                    <a:pt x="453" y="3644"/>
                  </a:lnTo>
                  <a:cubicBezTo>
                    <a:pt x="191" y="3703"/>
                    <a:pt x="1" y="3930"/>
                    <a:pt x="1" y="4215"/>
                  </a:cubicBezTo>
                  <a:lnTo>
                    <a:pt x="1" y="4751"/>
                  </a:lnTo>
                  <a:cubicBezTo>
                    <a:pt x="1" y="5025"/>
                    <a:pt x="191" y="5251"/>
                    <a:pt x="453" y="5323"/>
                  </a:cubicBezTo>
                  <a:lnTo>
                    <a:pt x="1322" y="5501"/>
                  </a:lnTo>
                  <a:cubicBezTo>
                    <a:pt x="1382" y="5668"/>
                    <a:pt x="1453" y="5847"/>
                    <a:pt x="1525" y="6013"/>
                  </a:cubicBezTo>
                  <a:lnTo>
                    <a:pt x="1037" y="6740"/>
                  </a:lnTo>
                  <a:cubicBezTo>
                    <a:pt x="894" y="6966"/>
                    <a:pt x="918" y="7287"/>
                    <a:pt x="1108" y="7478"/>
                  </a:cubicBezTo>
                  <a:lnTo>
                    <a:pt x="1489" y="7847"/>
                  </a:lnTo>
                  <a:cubicBezTo>
                    <a:pt x="1599" y="7957"/>
                    <a:pt x="1745" y="8015"/>
                    <a:pt x="1894" y="8015"/>
                  </a:cubicBezTo>
                  <a:cubicBezTo>
                    <a:pt x="2003" y="8015"/>
                    <a:pt x="2115" y="7984"/>
                    <a:pt x="2215" y="7918"/>
                  </a:cubicBezTo>
                  <a:lnTo>
                    <a:pt x="2942" y="7430"/>
                  </a:lnTo>
                  <a:cubicBezTo>
                    <a:pt x="3108" y="7513"/>
                    <a:pt x="3287" y="7597"/>
                    <a:pt x="3466" y="7633"/>
                  </a:cubicBezTo>
                  <a:lnTo>
                    <a:pt x="3644" y="8502"/>
                  </a:lnTo>
                  <a:cubicBezTo>
                    <a:pt x="3704" y="8764"/>
                    <a:pt x="3930" y="8966"/>
                    <a:pt x="4204" y="8966"/>
                  </a:cubicBezTo>
                  <a:lnTo>
                    <a:pt x="4740" y="8966"/>
                  </a:lnTo>
                  <a:cubicBezTo>
                    <a:pt x="5013" y="8966"/>
                    <a:pt x="5251" y="8764"/>
                    <a:pt x="5311" y="8502"/>
                  </a:cubicBezTo>
                  <a:lnTo>
                    <a:pt x="5490" y="7633"/>
                  </a:lnTo>
                  <a:cubicBezTo>
                    <a:pt x="5621" y="7597"/>
                    <a:pt x="5775" y="7537"/>
                    <a:pt x="5906" y="7478"/>
                  </a:cubicBezTo>
                  <a:cubicBezTo>
                    <a:pt x="6002" y="7442"/>
                    <a:pt x="6037" y="7323"/>
                    <a:pt x="6002" y="7240"/>
                  </a:cubicBezTo>
                  <a:cubicBezTo>
                    <a:pt x="5966" y="7169"/>
                    <a:pt x="5898" y="7131"/>
                    <a:pt x="5831" y="7131"/>
                  </a:cubicBezTo>
                  <a:cubicBezTo>
                    <a:pt x="5808" y="7131"/>
                    <a:pt x="5785" y="7135"/>
                    <a:pt x="5763" y="7144"/>
                  </a:cubicBezTo>
                  <a:cubicBezTo>
                    <a:pt x="5609" y="7228"/>
                    <a:pt x="5466" y="7287"/>
                    <a:pt x="5299" y="7323"/>
                  </a:cubicBezTo>
                  <a:cubicBezTo>
                    <a:pt x="5240" y="7347"/>
                    <a:pt x="5180" y="7406"/>
                    <a:pt x="5168" y="7454"/>
                  </a:cubicBezTo>
                  <a:lnTo>
                    <a:pt x="4966" y="8430"/>
                  </a:lnTo>
                  <a:cubicBezTo>
                    <a:pt x="4954" y="8514"/>
                    <a:pt x="4870" y="8597"/>
                    <a:pt x="4763" y="8597"/>
                  </a:cubicBezTo>
                  <a:lnTo>
                    <a:pt x="4228" y="8597"/>
                  </a:lnTo>
                  <a:cubicBezTo>
                    <a:pt x="4120" y="8597"/>
                    <a:pt x="4049" y="8514"/>
                    <a:pt x="4013" y="8430"/>
                  </a:cubicBezTo>
                  <a:lnTo>
                    <a:pt x="3823" y="7454"/>
                  </a:lnTo>
                  <a:cubicBezTo>
                    <a:pt x="3811" y="7383"/>
                    <a:pt x="3763" y="7335"/>
                    <a:pt x="3692" y="7323"/>
                  </a:cubicBezTo>
                  <a:cubicBezTo>
                    <a:pt x="3466" y="7263"/>
                    <a:pt x="3239" y="7180"/>
                    <a:pt x="3049" y="7061"/>
                  </a:cubicBezTo>
                  <a:cubicBezTo>
                    <a:pt x="3019" y="7043"/>
                    <a:pt x="2986" y="7034"/>
                    <a:pt x="2954" y="7034"/>
                  </a:cubicBezTo>
                  <a:cubicBezTo>
                    <a:pt x="2921" y="7034"/>
                    <a:pt x="2888" y="7043"/>
                    <a:pt x="2858" y="7061"/>
                  </a:cubicBezTo>
                  <a:lnTo>
                    <a:pt x="2037" y="7609"/>
                  </a:lnTo>
                  <a:cubicBezTo>
                    <a:pt x="2006" y="7634"/>
                    <a:pt x="1966" y="7647"/>
                    <a:pt x="1926" y="7647"/>
                  </a:cubicBezTo>
                  <a:cubicBezTo>
                    <a:pt x="1874" y="7647"/>
                    <a:pt x="1821" y="7625"/>
                    <a:pt x="1787" y="7585"/>
                  </a:cubicBezTo>
                  <a:lnTo>
                    <a:pt x="1418" y="7204"/>
                  </a:lnTo>
                  <a:cubicBezTo>
                    <a:pt x="1334" y="7132"/>
                    <a:pt x="1334" y="7025"/>
                    <a:pt x="1382" y="6954"/>
                  </a:cubicBezTo>
                  <a:lnTo>
                    <a:pt x="1930" y="6132"/>
                  </a:lnTo>
                  <a:cubicBezTo>
                    <a:pt x="1977" y="6073"/>
                    <a:pt x="1977" y="6001"/>
                    <a:pt x="1930" y="5942"/>
                  </a:cubicBezTo>
                  <a:cubicBezTo>
                    <a:pt x="1811" y="5739"/>
                    <a:pt x="1727" y="5525"/>
                    <a:pt x="1668" y="5299"/>
                  </a:cubicBezTo>
                  <a:cubicBezTo>
                    <a:pt x="1656" y="5239"/>
                    <a:pt x="1596" y="5180"/>
                    <a:pt x="1537" y="5168"/>
                  </a:cubicBezTo>
                  <a:lnTo>
                    <a:pt x="560" y="4977"/>
                  </a:lnTo>
                  <a:cubicBezTo>
                    <a:pt x="477" y="4954"/>
                    <a:pt x="406" y="4870"/>
                    <a:pt x="406" y="4763"/>
                  </a:cubicBezTo>
                  <a:lnTo>
                    <a:pt x="406" y="4227"/>
                  </a:lnTo>
                  <a:cubicBezTo>
                    <a:pt x="406" y="4132"/>
                    <a:pt x="477" y="4049"/>
                    <a:pt x="560" y="4025"/>
                  </a:cubicBezTo>
                  <a:lnTo>
                    <a:pt x="1537" y="3834"/>
                  </a:lnTo>
                  <a:cubicBezTo>
                    <a:pt x="1608" y="3811"/>
                    <a:pt x="1656" y="3775"/>
                    <a:pt x="1668" y="3692"/>
                  </a:cubicBezTo>
                  <a:cubicBezTo>
                    <a:pt x="1727" y="3477"/>
                    <a:pt x="1811" y="3251"/>
                    <a:pt x="1930" y="3061"/>
                  </a:cubicBezTo>
                  <a:cubicBezTo>
                    <a:pt x="1965" y="3001"/>
                    <a:pt x="1965" y="2918"/>
                    <a:pt x="1930" y="2858"/>
                  </a:cubicBezTo>
                  <a:lnTo>
                    <a:pt x="1382" y="2049"/>
                  </a:lnTo>
                  <a:cubicBezTo>
                    <a:pt x="1322" y="1965"/>
                    <a:pt x="1334" y="1846"/>
                    <a:pt x="1418" y="1787"/>
                  </a:cubicBezTo>
                  <a:lnTo>
                    <a:pt x="1787" y="1417"/>
                  </a:lnTo>
                  <a:cubicBezTo>
                    <a:pt x="1826" y="1378"/>
                    <a:pt x="1876" y="1360"/>
                    <a:pt x="1925" y="1360"/>
                  </a:cubicBezTo>
                  <a:cubicBezTo>
                    <a:pt x="1965" y="1360"/>
                    <a:pt x="2005" y="1372"/>
                    <a:pt x="2037" y="1394"/>
                  </a:cubicBezTo>
                  <a:lnTo>
                    <a:pt x="2858" y="1941"/>
                  </a:lnTo>
                  <a:cubicBezTo>
                    <a:pt x="2888" y="1965"/>
                    <a:pt x="2921" y="1977"/>
                    <a:pt x="2954" y="1977"/>
                  </a:cubicBezTo>
                  <a:cubicBezTo>
                    <a:pt x="2986" y="1977"/>
                    <a:pt x="3019" y="1965"/>
                    <a:pt x="3049" y="1941"/>
                  </a:cubicBezTo>
                  <a:cubicBezTo>
                    <a:pt x="3263" y="1822"/>
                    <a:pt x="3466" y="1727"/>
                    <a:pt x="3692" y="1668"/>
                  </a:cubicBezTo>
                  <a:cubicBezTo>
                    <a:pt x="3751" y="1656"/>
                    <a:pt x="3811" y="1596"/>
                    <a:pt x="3823" y="1537"/>
                  </a:cubicBezTo>
                  <a:lnTo>
                    <a:pt x="4013" y="572"/>
                  </a:lnTo>
                  <a:cubicBezTo>
                    <a:pt x="4037" y="477"/>
                    <a:pt x="4120" y="405"/>
                    <a:pt x="4228" y="405"/>
                  </a:cubicBezTo>
                  <a:lnTo>
                    <a:pt x="4763" y="405"/>
                  </a:lnTo>
                  <a:cubicBezTo>
                    <a:pt x="4870" y="405"/>
                    <a:pt x="4942" y="477"/>
                    <a:pt x="4966" y="572"/>
                  </a:cubicBezTo>
                  <a:lnTo>
                    <a:pt x="5168" y="1537"/>
                  </a:lnTo>
                  <a:cubicBezTo>
                    <a:pt x="5180" y="1608"/>
                    <a:pt x="5216" y="1656"/>
                    <a:pt x="5299" y="1668"/>
                  </a:cubicBezTo>
                  <a:cubicBezTo>
                    <a:pt x="5513" y="1727"/>
                    <a:pt x="5740" y="1822"/>
                    <a:pt x="5930" y="1941"/>
                  </a:cubicBezTo>
                  <a:cubicBezTo>
                    <a:pt x="5960" y="1953"/>
                    <a:pt x="5996" y="1959"/>
                    <a:pt x="6031" y="1959"/>
                  </a:cubicBezTo>
                  <a:cubicBezTo>
                    <a:pt x="6067" y="1959"/>
                    <a:pt x="6103" y="1953"/>
                    <a:pt x="6133" y="1941"/>
                  </a:cubicBezTo>
                  <a:lnTo>
                    <a:pt x="6942" y="1394"/>
                  </a:lnTo>
                  <a:cubicBezTo>
                    <a:pt x="6978" y="1368"/>
                    <a:pt x="7021" y="1356"/>
                    <a:pt x="7063" y="1356"/>
                  </a:cubicBezTo>
                  <a:cubicBezTo>
                    <a:pt x="7117" y="1356"/>
                    <a:pt x="7170" y="1377"/>
                    <a:pt x="7204" y="1417"/>
                  </a:cubicBezTo>
                  <a:lnTo>
                    <a:pt x="7573" y="1787"/>
                  </a:lnTo>
                  <a:cubicBezTo>
                    <a:pt x="7645" y="1870"/>
                    <a:pt x="7645" y="1965"/>
                    <a:pt x="7597" y="2049"/>
                  </a:cubicBezTo>
                  <a:lnTo>
                    <a:pt x="7049" y="2858"/>
                  </a:lnTo>
                  <a:cubicBezTo>
                    <a:pt x="7002" y="2918"/>
                    <a:pt x="7002" y="2989"/>
                    <a:pt x="7049" y="3061"/>
                  </a:cubicBezTo>
                  <a:cubicBezTo>
                    <a:pt x="7168" y="3263"/>
                    <a:pt x="7264" y="3477"/>
                    <a:pt x="7323" y="3692"/>
                  </a:cubicBezTo>
                  <a:cubicBezTo>
                    <a:pt x="7335" y="3751"/>
                    <a:pt x="7395" y="3811"/>
                    <a:pt x="7454" y="3834"/>
                  </a:cubicBezTo>
                  <a:lnTo>
                    <a:pt x="8419" y="4025"/>
                  </a:lnTo>
                  <a:cubicBezTo>
                    <a:pt x="8514" y="4037"/>
                    <a:pt x="8585" y="4132"/>
                    <a:pt x="8585" y="4227"/>
                  </a:cubicBezTo>
                  <a:lnTo>
                    <a:pt x="8585" y="4763"/>
                  </a:lnTo>
                  <a:cubicBezTo>
                    <a:pt x="8585" y="4870"/>
                    <a:pt x="8514" y="4942"/>
                    <a:pt x="8419" y="4977"/>
                  </a:cubicBezTo>
                  <a:lnTo>
                    <a:pt x="7454" y="5168"/>
                  </a:lnTo>
                  <a:cubicBezTo>
                    <a:pt x="7383" y="5180"/>
                    <a:pt x="7335" y="5227"/>
                    <a:pt x="7323" y="5299"/>
                  </a:cubicBezTo>
                  <a:cubicBezTo>
                    <a:pt x="7276" y="5466"/>
                    <a:pt x="7216" y="5632"/>
                    <a:pt x="7145" y="5775"/>
                  </a:cubicBezTo>
                  <a:cubicBezTo>
                    <a:pt x="7097" y="5870"/>
                    <a:pt x="7145" y="5966"/>
                    <a:pt x="7228" y="6013"/>
                  </a:cubicBezTo>
                  <a:cubicBezTo>
                    <a:pt x="7254" y="6026"/>
                    <a:pt x="7280" y="6032"/>
                    <a:pt x="7305" y="6032"/>
                  </a:cubicBezTo>
                  <a:cubicBezTo>
                    <a:pt x="7372" y="6032"/>
                    <a:pt x="7431" y="5991"/>
                    <a:pt x="7466" y="5930"/>
                  </a:cubicBezTo>
                  <a:cubicBezTo>
                    <a:pt x="7526" y="5799"/>
                    <a:pt x="7585" y="5644"/>
                    <a:pt x="7633" y="5501"/>
                  </a:cubicBezTo>
                  <a:lnTo>
                    <a:pt x="8490" y="5323"/>
                  </a:lnTo>
                  <a:cubicBezTo>
                    <a:pt x="8764" y="5263"/>
                    <a:pt x="8954" y="5037"/>
                    <a:pt x="8954" y="4751"/>
                  </a:cubicBezTo>
                  <a:lnTo>
                    <a:pt x="8954" y="4215"/>
                  </a:lnTo>
                  <a:cubicBezTo>
                    <a:pt x="8954" y="3942"/>
                    <a:pt x="8764" y="3715"/>
                    <a:pt x="8490" y="3644"/>
                  </a:cubicBezTo>
                  <a:lnTo>
                    <a:pt x="7633" y="3465"/>
                  </a:lnTo>
                  <a:cubicBezTo>
                    <a:pt x="7573" y="3287"/>
                    <a:pt x="7502" y="3120"/>
                    <a:pt x="7418" y="2953"/>
                  </a:cubicBezTo>
                  <a:lnTo>
                    <a:pt x="7918" y="2227"/>
                  </a:lnTo>
                  <a:cubicBezTo>
                    <a:pt x="8061" y="2001"/>
                    <a:pt x="8038" y="1679"/>
                    <a:pt x="7835" y="1489"/>
                  </a:cubicBezTo>
                  <a:lnTo>
                    <a:pt x="7466" y="1120"/>
                  </a:lnTo>
                  <a:cubicBezTo>
                    <a:pt x="7356" y="1010"/>
                    <a:pt x="7211" y="952"/>
                    <a:pt x="7061" y="952"/>
                  </a:cubicBezTo>
                  <a:cubicBezTo>
                    <a:pt x="6952" y="952"/>
                    <a:pt x="6840" y="983"/>
                    <a:pt x="6740" y="1048"/>
                  </a:cubicBezTo>
                  <a:lnTo>
                    <a:pt x="6013" y="1537"/>
                  </a:lnTo>
                  <a:cubicBezTo>
                    <a:pt x="5847" y="1453"/>
                    <a:pt x="5668" y="1370"/>
                    <a:pt x="5490" y="1334"/>
                  </a:cubicBezTo>
                  <a:lnTo>
                    <a:pt x="5311" y="465"/>
                  </a:lnTo>
                  <a:cubicBezTo>
                    <a:pt x="5251" y="203"/>
                    <a:pt x="5025" y="1"/>
                    <a:pt x="4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9" name="Google Shape;9889;p58"/>
            <p:cNvSpPr/>
            <p:nvPr/>
          </p:nvSpPr>
          <p:spPr>
            <a:xfrm>
              <a:off x="2592191" y="2821673"/>
              <a:ext cx="113461" cy="98345"/>
            </a:xfrm>
            <a:custGeom>
              <a:avLst/>
              <a:gdLst/>
              <a:ahLst/>
              <a:cxnLst/>
              <a:rect l="l" t="t" r="r" b="b"/>
              <a:pathLst>
                <a:path w="3573" h="3097" extrusionOk="0">
                  <a:moveTo>
                    <a:pt x="1524" y="0"/>
                  </a:moveTo>
                  <a:cubicBezTo>
                    <a:pt x="989" y="0"/>
                    <a:pt x="465" y="215"/>
                    <a:pt x="72" y="584"/>
                  </a:cubicBezTo>
                  <a:cubicBezTo>
                    <a:pt x="0" y="655"/>
                    <a:pt x="0" y="774"/>
                    <a:pt x="72" y="834"/>
                  </a:cubicBezTo>
                  <a:cubicBezTo>
                    <a:pt x="113" y="876"/>
                    <a:pt x="164" y="896"/>
                    <a:pt x="212" y="896"/>
                  </a:cubicBezTo>
                  <a:cubicBezTo>
                    <a:pt x="259" y="896"/>
                    <a:pt x="304" y="876"/>
                    <a:pt x="334" y="834"/>
                  </a:cubicBezTo>
                  <a:cubicBezTo>
                    <a:pt x="643" y="524"/>
                    <a:pt x="1072" y="358"/>
                    <a:pt x="1500" y="358"/>
                  </a:cubicBezTo>
                  <a:cubicBezTo>
                    <a:pt x="2441" y="358"/>
                    <a:pt x="3203" y="1120"/>
                    <a:pt x="3203" y="2060"/>
                  </a:cubicBezTo>
                  <a:cubicBezTo>
                    <a:pt x="3203" y="2322"/>
                    <a:pt x="3144" y="2596"/>
                    <a:pt x="3024" y="2834"/>
                  </a:cubicBezTo>
                  <a:cubicBezTo>
                    <a:pt x="2965" y="2941"/>
                    <a:pt x="3013" y="3037"/>
                    <a:pt x="3096" y="3084"/>
                  </a:cubicBezTo>
                  <a:cubicBezTo>
                    <a:pt x="3132" y="3096"/>
                    <a:pt x="3155" y="3096"/>
                    <a:pt x="3191" y="3096"/>
                  </a:cubicBezTo>
                  <a:cubicBezTo>
                    <a:pt x="3251" y="3096"/>
                    <a:pt x="3322" y="3072"/>
                    <a:pt x="3346" y="3001"/>
                  </a:cubicBezTo>
                  <a:cubicBezTo>
                    <a:pt x="3501" y="2715"/>
                    <a:pt x="3572" y="2382"/>
                    <a:pt x="3572" y="2060"/>
                  </a:cubicBezTo>
                  <a:cubicBezTo>
                    <a:pt x="3572" y="929"/>
                    <a:pt x="2655"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0" name="Google Shape;9890;p58"/>
            <p:cNvSpPr/>
            <p:nvPr/>
          </p:nvSpPr>
          <p:spPr>
            <a:xfrm>
              <a:off x="2574408" y="2862129"/>
              <a:ext cx="106665" cy="90756"/>
            </a:xfrm>
            <a:custGeom>
              <a:avLst/>
              <a:gdLst/>
              <a:ahLst/>
              <a:cxnLst/>
              <a:rect l="l" t="t" r="r" b="b"/>
              <a:pathLst>
                <a:path w="3359" h="2858" extrusionOk="0">
                  <a:moveTo>
                    <a:pt x="294" y="1"/>
                  </a:moveTo>
                  <a:cubicBezTo>
                    <a:pt x="218" y="1"/>
                    <a:pt x="145" y="48"/>
                    <a:pt x="108" y="131"/>
                  </a:cubicBezTo>
                  <a:cubicBezTo>
                    <a:pt x="36" y="334"/>
                    <a:pt x="1" y="572"/>
                    <a:pt x="1" y="798"/>
                  </a:cubicBezTo>
                  <a:cubicBezTo>
                    <a:pt x="1" y="1929"/>
                    <a:pt x="917" y="2858"/>
                    <a:pt x="2049" y="2858"/>
                  </a:cubicBezTo>
                  <a:cubicBezTo>
                    <a:pt x="2477" y="2858"/>
                    <a:pt x="2894" y="2715"/>
                    <a:pt x="3251" y="2465"/>
                  </a:cubicBezTo>
                  <a:cubicBezTo>
                    <a:pt x="3346" y="2405"/>
                    <a:pt x="3358" y="2286"/>
                    <a:pt x="3299" y="2215"/>
                  </a:cubicBezTo>
                  <a:cubicBezTo>
                    <a:pt x="3263" y="2158"/>
                    <a:pt x="3206" y="2131"/>
                    <a:pt x="3151" y="2131"/>
                  </a:cubicBezTo>
                  <a:cubicBezTo>
                    <a:pt x="3114" y="2131"/>
                    <a:pt x="3077" y="2143"/>
                    <a:pt x="3049" y="2167"/>
                  </a:cubicBezTo>
                  <a:cubicBezTo>
                    <a:pt x="2763" y="2382"/>
                    <a:pt x="2406" y="2501"/>
                    <a:pt x="2049" y="2501"/>
                  </a:cubicBezTo>
                  <a:cubicBezTo>
                    <a:pt x="1108" y="2501"/>
                    <a:pt x="346" y="1739"/>
                    <a:pt x="346" y="798"/>
                  </a:cubicBezTo>
                  <a:cubicBezTo>
                    <a:pt x="346" y="608"/>
                    <a:pt x="382" y="429"/>
                    <a:pt x="441" y="250"/>
                  </a:cubicBezTo>
                  <a:cubicBezTo>
                    <a:pt x="501" y="143"/>
                    <a:pt x="441" y="36"/>
                    <a:pt x="358" y="12"/>
                  </a:cubicBezTo>
                  <a:cubicBezTo>
                    <a:pt x="337" y="4"/>
                    <a:pt x="315" y="1"/>
                    <a:pt x="2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1" name="Google Shape;9891;p58"/>
            <p:cNvSpPr/>
            <p:nvPr/>
          </p:nvSpPr>
          <p:spPr>
            <a:xfrm>
              <a:off x="2676881" y="2923385"/>
              <a:ext cx="191324" cy="191324"/>
            </a:xfrm>
            <a:custGeom>
              <a:avLst/>
              <a:gdLst/>
              <a:ahLst/>
              <a:cxnLst/>
              <a:rect l="l" t="t" r="r" b="b"/>
              <a:pathLst>
                <a:path w="6025" h="6025" extrusionOk="0">
                  <a:moveTo>
                    <a:pt x="2810" y="0"/>
                  </a:moveTo>
                  <a:cubicBezTo>
                    <a:pt x="2608" y="0"/>
                    <a:pt x="2429" y="155"/>
                    <a:pt x="2382" y="357"/>
                  </a:cubicBezTo>
                  <a:lnTo>
                    <a:pt x="2274" y="893"/>
                  </a:lnTo>
                  <a:cubicBezTo>
                    <a:pt x="2191" y="929"/>
                    <a:pt x="2084" y="965"/>
                    <a:pt x="1989" y="1012"/>
                  </a:cubicBezTo>
                  <a:lnTo>
                    <a:pt x="1548" y="715"/>
                  </a:lnTo>
                  <a:cubicBezTo>
                    <a:pt x="1475" y="666"/>
                    <a:pt x="1393" y="643"/>
                    <a:pt x="1313" y="643"/>
                  </a:cubicBezTo>
                  <a:cubicBezTo>
                    <a:pt x="1198" y="643"/>
                    <a:pt x="1085" y="690"/>
                    <a:pt x="1000" y="774"/>
                  </a:cubicBezTo>
                  <a:lnTo>
                    <a:pt x="738" y="1024"/>
                  </a:lnTo>
                  <a:cubicBezTo>
                    <a:pt x="596" y="1179"/>
                    <a:pt x="572" y="1417"/>
                    <a:pt x="679" y="1584"/>
                  </a:cubicBezTo>
                  <a:lnTo>
                    <a:pt x="977" y="2024"/>
                  </a:lnTo>
                  <a:cubicBezTo>
                    <a:pt x="917" y="2143"/>
                    <a:pt x="858" y="2274"/>
                    <a:pt x="834" y="2417"/>
                  </a:cubicBezTo>
                  <a:cubicBezTo>
                    <a:pt x="798" y="2512"/>
                    <a:pt x="858" y="2608"/>
                    <a:pt x="965" y="2631"/>
                  </a:cubicBezTo>
                  <a:cubicBezTo>
                    <a:pt x="986" y="2639"/>
                    <a:pt x="1006" y="2642"/>
                    <a:pt x="1025" y="2642"/>
                  </a:cubicBezTo>
                  <a:cubicBezTo>
                    <a:pt x="1103" y="2642"/>
                    <a:pt x="1162" y="2587"/>
                    <a:pt x="1191" y="2501"/>
                  </a:cubicBezTo>
                  <a:cubicBezTo>
                    <a:pt x="1227" y="2358"/>
                    <a:pt x="1298" y="2215"/>
                    <a:pt x="1346" y="2096"/>
                  </a:cubicBezTo>
                  <a:cubicBezTo>
                    <a:pt x="1381" y="2036"/>
                    <a:pt x="1381" y="1965"/>
                    <a:pt x="1346" y="1905"/>
                  </a:cubicBezTo>
                  <a:lnTo>
                    <a:pt x="1000" y="1369"/>
                  </a:lnTo>
                  <a:cubicBezTo>
                    <a:pt x="977" y="1346"/>
                    <a:pt x="977" y="1310"/>
                    <a:pt x="1012" y="1286"/>
                  </a:cubicBezTo>
                  <a:lnTo>
                    <a:pt x="1262" y="1024"/>
                  </a:lnTo>
                  <a:cubicBezTo>
                    <a:pt x="1283" y="1010"/>
                    <a:pt x="1300" y="1004"/>
                    <a:pt x="1318" y="1004"/>
                  </a:cubicBezTo>
                  <a:cubicBezTo>
                    <a:pt x="1330" y="1004"/>
                    <a:pt x="1343" y="1007"/>
                    <a:pt x="1358" y="1012"/>
                  </a:cubicBezTo>
                  <a:lnTo>
                    <a:pt x="1893" y="1369"/>
                  </a:lnTo>
                  <a:cubicBezTo>
                    <a:pt x="1923" y="1393"/>
                    <a:pt x="1956" y="1405"/>
                    <a:pt x="1989" y="1405"/>
                  </a:cubicBezTo>
                  <a:cubicBezTo>
                    <a:pt x="2021" y="1405"/>
                    <a:pt x="2054" y="1393"/>
                    <a:pt x="2084" y="1369"/>
                  </a:cubicBezTo>
                  <a:cubicBezTo>
                    <a:pt x="2215" y="1298"/>
                    <a:pt x="2346" y="1238"/>
                    <a:pt x="2489" y="1203"/>
                  </a:cubicBezTo>
                  <a:cubicBezTo>
                    <a:pt x="2548" y="1191"/>
                    <a:pt x="2608" y="1131"/>
                    <a:pt x="2620" y="1072"/>
                  </a:cubicBezTo>
                  <a:lnTo>
                    <a:pt x="2751" y="429"/>
                  </a:lnTo>
                  <a:cubicBezTo>
                    <a:pt x="2751" y="405"/>
                    <a:pt x="2786" y="369"/>
                    <a:pt x="2822" y="369"/>
                  </a:cubicBezTo>
                  <a:lnTo>
                    <a:pt x="3167" y="369"/>
                  </a:lnTo>
                  <a:cubicBezTo>
                    <a:pt x="3203" y="369"/>
                    <a:pt x="3227" y="405"/>
                    <a:pt x="3239" y="429"/>
                  </a:cubicBezTo>
                  <a:lnTo>
                    <a:pt x="3382" y="1072"/>
                  </a:lnTo>
                  <a:cubicBezTo>
                    <a:pt x="3394" y="1143"/>
                    <a:pt x="3429" y="1191"/>
                    <a:pt x="3513" y="1203"/>
                  </a:cubicBezTo>
                  <a:cubicBezTo>
                    <a:pt x="3656" y="1250"/>
                    <a:pt x="3786" y="1310"/>
                    <a:pt x="3917" y="1369"/>
                  </a:cubicBezTo>
                  <a:cubicBezTo>
                    <a:pt x="3947" y="1387"/>
                    <a:pt x="3980" y="1396"/>
                    <a:pt x="4013" y="1396"/>
                  </a:cubicBezTo>
                  <a:cubicBezTo>
                    <a:pt x="4045" y="1396"/>
                    <a:pt x="4078" y="1387"/>
                    <a:pt x="4108" y="1369"/>
                  </a:cubicBezTo>
                  <a:lnTo>
                    <a:pt x="4644" y="1012"/>
                  </a:lnTo>
                  <a:cubicBezTo>
                    <a:pt x="4654" y="1007"/>
                    <a:pt x="4665" y="1004"/>
                    <a:pt x="4678" y="1004"/>
                  </a:cubicBezTo>
                  <a:cubicBezTo>
                    <a:pt x="4695" y="1004"/>
                    <a:pt x="4713" y="1010"/>
                    <a:pt x="4727" y="1024"/>
                  </a:cubicBezTo>
                  <a:lnTo>
                    <a:pt x="4989" y="1286"/>
                  </a:lnTo>
                  <a:cubicBezTo>
                    <a:pt x="5013" y="1310"/>
                    <a:pt x="5013" y="1346"/>
                    <a:pt x="5001" y="1369"/>
                  </a:cubicBezTo>
                  <a:lnTo>
                    <a:pt x="4644" y="1905"/>
                  </a:lnTo>
                  <a:cubicBezTo>
                    <a:pt x="4596" y="1965"/>
                    <a:pt x="4596" y="2036"/>
                    <a:pt x="4644" y="2096"/>
                  </a:cubicBezTo>
                  <a:cubicBezTo>
                    <a:pt x="4715" y="2239"/>
                    <a:pt x="4775" y="2370"/>
                    <a:pt x="4810" y="2501"/>
                  </a:cubicBezTo>
                  <a:cubicBezTo>
                    <a:pt x="4822" y="2560"/>
                    <a:pt x="4882" y="2620"/>
                    <a:pt x="4941" y="2631"/>
                  </a:cubicBezTo>
                  <a:lnTo>
                    <a:pt x="5584" y="2774"/>
                  </a:lnTo>
                  <a:cubicBezTo>
                    <a:pt x="5608" y="2774"/>
                    <a:pt x="5644" y="2798"/>
                    <a:pt x="5644" y="2846"/>
                  </a:cubicBezTo>
                  <a:lnTo>
                    <a:pt x="5644" y="3191"/>
                  </a:lnTo>
                  <a:cubicBezTo>
                    <a:pt x="5644" y="3215"/>
                    <a:pt x="5608" y="3251"/>
                    <a:pt x="5584" y="3263"/>
                  </a:cubicBezTo>
                  <a:lnTo>
                    <a:pt x="4941" y="3393"/>
                  </a:lnTo>
                  <a:cubicBezTo>
                    <a:pt x="4870" y="3405"/>
                    <a:pt x="4822" y="3453"/>
                    <a:pt x="4810" y="3524"/>
                  </a:cubicBezTo>
                  <a:cubicBezTo>
                    <a:pt x="4763" y="3679"/>
                    <a:pt x="4703" y="3810"/>
                    <a:pt x="4644" y="3929"/>
                  </a:cubicBezTo>
                  <a:cubicBezTo>
                    <a:pt x="4608" y="3989"/>
                    <a:pt x="4608" y="4060"/>
                    <a:pt x="4644" y="4120"/>
                  </a:cubicBezTo>
                  <a:lnTo>
                    <a:pt x="5001" y="4656"/>
                  </a:lnTo>
                  <a:cubicBezTo>
                    <a:pt x="5013" y="4691"/>
                    <a:pt x="5013" y="4715"/>
                    <a:pt x="4989" y="4751"/>
                  </a:cubicBezTo>
                  <a:lnTo>
                    <a:pt x="4727" y="5001"/>
                  </a:lnTo>
                  <a:cubicBezTo>
                    <a:pt x="4714" y="5020"/>
                    <a:pt x="4697" y="5029"/>
                    <a:pt x="4681" y="5029"/>
                  </a:cubicBezTo>
                  <a:cubicBezTo>
                    <a:pt x="4668" y="5029"/>
                    <a:pt x="4654" y="5023"/>
                    <a:pt x="4644" y="5013"/>
                  </a:cubicBezTo>
                  <a:lnTo>
                    <a:pt x="4108" y="4656"/>
                  </a:lnTo>
                  <a:cubicBezTo>
                    <a:pt x="4078" y="4638"/>
                    <a:pt x="4045" y="4629"/>
                    <a:pt x="4013" y="4629"/>
                  </a:cubicBezTo>
                  <a:cubicBezTo>
                    <a:pt x="3980" y="4629"/>
                    <a:pt x="3947" y="4638"/>
                    <a:pt x="3917" y="4656"/>
                  </a:cubicBezTo>
                  <a:cubicBezTo>
                    <a:pt x="3775" y="4739"/>
                    <a:pt x="3644" y="4798"/>
                    <a:pt x="3513" y="4822"/>
                  </a:cubicBezTo>
                  <a:cubicBezTo>
                    <a:pt x="3453" y="4834"/>
                    <a:pt x="3394" y="4894"/>
                    <a:pt x="3382" y="4953"/>
                  </a:cubicBezTo>
                  <a:lnTo>
                    <a:pt x="3239" y="5596"/>
                  </a:lnTo>
                  <a:cubicBezTo>
                    <a:pt x="3239" y="5632"/>
                    <a:pt x="3215" y="5656"/>
                    <a:pt x="3167" y="5656"/>
                  </a:cubicBezTo>
                  <a:lnTo>
                    <a:pt x="2822" y="5656"/>
                  </a:lnTo>
                  <a:cubicBezTo>
                    <a:pt x="2798" y="5656"/>
                    <a:pt x="2763" y="5632"/>
                    <a:pt x="2751" y="5596"/>
                  </a:cubicBezTo>
                  <a:lnTo>
                    <a:pt x="2620" y="4953"/>
                  </a:lnTo>
                  <a:cubicBezTo>
                    <a:pt x="2608" y="4882"/>
                    <a:pt x="2560" y="4834"/>
                    <a:pt x="2489" y="4822"/>
                  </a:cubicBezTo>
                  <a:cubicBezTo>
                    <a:pt x="2334" y="4775"/>
                    <a:pt x="2203" y="4715"/>
                    <a:pt x="2084" y="4656"/>
                  </a:cubicBezTo>
                  <a:cubicBezTo>
                    <a:pt x="2054" y="4644"/>
                    <a:pt x="2021" y="4638"/>
                    <a:pt x="1989" y="4638"/>
                  </a:cubicBezTo>
                  <a:cubicBezTo>
                    <a:pt x="1956" y="4638"/>
                    <a:pt x="1923" y="4644"/>
                    <a:pt x="1893" y="4656"/>
                  </a:cubicBezTo>
                  <a:lnTo>
                    <a:pt x="1358" y="5013"/>
                  </a:lnTo>
                  <a:cubicBezTo>
                    <a:pt x="1342" y="5023"/>
                    <a:pt x="1328" y="5029"/>
                    <a:pt x="1314" y="5029"/>
                  </a:cubicBezTo>
                  <a:cubicBezTo>
                    <a:pt x="1298" y="5029"/>
                    <a:pt x="1282" y="5020"/>
                    <a:pt x="1262" y="5001"/>
                  </a:cubicBezTo>
                  <a:lnTo>
                    <a:pt x="1012" y="4751"/>
                  </a:lnTo>
                  <a:cubicBezTo>
                    <a:pt x="977" y="4715"/>
                    <a:pt x="977" y="4691"/>
                    <a:pt x="1000" y="4656"/>
                  </a:cubicBezTo>
                  <a:lnTo>
                    <a:pt x="1346" y="4120"/>
                  </a:lnTo>
                  <a:cubicBezTo>
                    <a:pt x="1393" y="4060"/>
                    <a:pt x="1393" y="3989"/>
                    <a:pt x="1346" y="3929"/>
                  </a:cubicBezTo>
                  <a:cubicBezTo>
                    <a:pt x="1274" y="3798"/>
                    <a:pt x="1215" y="3667"/>
                    <a:pt x="1191" y="3524"/>
                  </a:cubicBezTo>
                  <a:cubicBezTo>
                    <a:pt x="1167" y="3465"/>
                    <a:pt x="1108" y="3405"/>
                    <a:pt x="1048" y="3393"/>
                  </a:cubicBezTo>
                  <a:lnTo>
                    <a:pt x="417" y="3263"/>
                  </a:lnTo>
                  <a:cubicBezTo>
                    <a:pt x="381" y="3263"/>
                    <a:pt x="357" y="3227"/>
                    <a:pt x="357" y="3191"/>
                  </a:cubicBezTo>
                  <a:lnTo>
                    <a:pt x="357" y="2846"/>
                  </a:lnTo>
                  <a:cubicBezTo>
                    <a:pt x="357" y="2810"/>
                    <a:pt x="381" y="2786"/>
                    <a:pt x="417" y="2774"/>
                  </a:cubicBezTo>
                  <a:lnTo>
                    <a:pt x="453" y="2751"/>
                  </a:lnTo>
                  <a:cubicBezTo>
                    <a:pt x="560" y="2739"/>
                    <a:pt x="619" y="2631"/>
                    <a:pt x="608" y="2548"/>
                  </a:cubicBezTo>
                  <a:cubicBezTo>
                    <a:pt x="597" y="2450"/>
                    <a:pt x="506" y="2392"/>
                    <a:pt x="427" y="2392"/>
                  </a:cubicBezTo>
                  <a:cubicBezTo>
                    <a:pt x="419" y="2392"/>
                    <a:pt x="412" y="2392"/>
                    <a:pt x="405" y="2393"/>
                  </a:cubicBezTo>
                  <a:lnTo>
                    <a:pt x="357" y="2417"/>
                  </a:lnTo>
                  <a:cubicBezTo>
                    <a:pt x="143" y="2453"/>
                    <a:pt x="0" y="2631"/>
                    <a:pt x="0" y="2846"/>
                  </a:cubicBezTo>
                  <a:lnTo>
                    <a:pt x="0" y="3191"/>
                  </a:lnTo>
                  <a:cubicBezTo>
                    <a:pt x="0" y="3393"/>
                    <a:pt x="143" y="3572"/>
                    <a:pt x="357" y="3620"/>
                  </a:cubicBezTo>
                  <a:lnTo>
                    <a:pt x="893" y="3727"/>
                  </a:lnTo>
                  <a:cubicBezTo>
                    <a:pt x="917" y="3810"/>
                    <a:pt x="965" y="3917"/>
                    <a:pt x="1012" y="4001"/>
                  </a:cubicBezTo>
                  <a:lnTo>
                    <a:pt x="715" y="4453"/>
                  </a:lnTo>
                  <a:cubicBezTo>
                    <a:pt x="596" y="4632"/>
                    <a:pt x="619" y="4858"/>
                    <a:pt x="774" y="5001"/>
                  </a:cubicBezTo>
                  <a:lnTo>
                    <a:pt x="1024" y="5251"/>
                  </a:lnTo>
                  <a:cubicBezTo>
                    <a:pt x="1112" y="5339"/>
                    <a:pt x="1227" y="5381"/>
                    <a:pt x="1338" y="5381"/>
                  </a:cubicBezTo>
                  <a:cubicBezTo>
                    <a:pt x="1423" y="5381"/>
                    <a:pt x="1505" y="5357"/>
                    <a:pt x="1572" y="5310"/>
                  </a:cubicBezTo>
                  <a:lnTo>
                    <a:pt x="2024" y="5013"/>
                  </a:lnTo>
                  <a:cubicBezTo>
                    <a:pt x="2108" y="5060"/>
                    <a:pt x="2203" y="5108"/>
                    <a:pt x="2310" y="5132"/>
                  </a:cubicBezTo>
                  <a:lnTo>
                    <a:pt x="2405" y="5668"/>
                  </a:lnTo>
                  <a:cubicBezTo>
                    <a:pt x="2453" y="5882"/>
                    <a:pt x="2632" y="6025"/>
                    <a:pt x="2846" y="6025"/>
                  </a:cubicBezTo>
                  <a:lnTo>
                    <a:pt x="3179" y="6025"/>
                  </a:lnTo>
                  <a:cubicBezTo>
                    <a:pt x="3394" y="6025"/>
                    <a:pt x="3572" y="5882"/>
                    <a:pt x="3620" y="5668"/>
                  </a:cubicBezTo>
                  <a:lnTo>
                    <a:pt x="3715" y="5132"/>
                  </a:lnTo>
                  <a:cubicBezTo>
                    <a:pt x="3810" y="5108"/>
                    <a:pt x="3917" y="5060"/>
                    <a:pt x="4001" y="5013"/>
                  </a:cubicBezTo>
                  <a:lnTo>
                    <a:pt x="4453" y="5310"/>
                  </a:lnTo>
                  <a:cubicBezTo>
                    <a:pt x="4529" y="5361"/>
                    <a:pt x="4611" y="5386"/>
                    <a:pt x="4692" y="5386"/>
                  </a:cubicBezTo>
                  <a:cubicBezTo>
                    <a:pt x="4803" y="5386"/>
                    <a:pt x="4912" y="5340"/>
                    <a:pt x="5001" y="5251"/>
                  </a:cubicBezTo>
                  <a:lnTo>
                    <a:pt x="5251" y="5001"/>
                  </a:lnTo>
                  <a:cubicBezTo>
                    <a:pt x="5406" y="4858"/>
                    <a:pt x="5418" y="4620"/>
                    <a:pt x="5310" y="4453"/>
                  </a:cubicBezTo>
                  <a:lnTo>
                    <a:pt x="5013" y="4001"/>
                  </a:lnTo>
                  <a:cubicBezTo>
                    <a:pt x="5060" y="3917"/>
                    <a:pt x="5108" y="3822"/>
                    <a:pt x="5132" y="3727"/>
                  </a:cubicBezTo>
                  <a:lnTo>
                    <a:pt x="5668" y="3620"/>
                  </a:lnTo>
                  <a:cubicBezTo>
                    <a:pt x="5882" y="3572"/>
                    <a:pt x="6025" y="3393"/>
                    <a:pt x="6025" y="3191"/>
                  </a:cubicBezTo>
                  <a:lnTo>
                    <a:pt x="6025" y="2846"/>
                  </a:lnTo>
                  <a:cubicBezTo>
                    <a:pt x="6001" y="2631"/>
                    <a:pt x="5846" y="2453"/>
                    <a:pt x="5644" y="2417"/>
                  </a:cubicBezTo>
                  <a:lnTo>
                    <a:pt x="5108" y="2310"/>
                  </a:lnTo>
                  <a:cubicBezTo>
                    <a:pt x="5072" y="2215"/>
                    <a:pt x="5025" y="2120"/>
                    <a:pt x="4989" y="2024"/>
                  </a:cubicBezTo>
                  <a:lnTo>
                    <a:pt x="5287" y="1584"/>
                  </a:lnTo>
                  <a:cubicBezTo>
                    <a:pt x="5406" y="1405"/>
                    <a:pt x="5370" y="1179"/>
                    <a:pt x="5227" y="1024"/>
                  </a:cubicBezTo>
                  <a:lnTo>
                    <a:pt x="4965" y="774"/>
                  </a:lnTo>
                  <a:cubicBezTo>
                    <a:pt x="4882" y="691"/>
                    <a:pt x="4766" y="648"/>
                    <a:pt x="4651" y="648"/>
                  </a:cubicBezTo>
                  <a:cubicBezTo>
                    <a:pt x="4569" y="648"/>
                    <a:pt x="4487" y="670"/>
                    <a:pt x="4418" y="715"/>
                  </a:cubicBezTo>
                  <a:lnTo>
                    <a:pt x="3977" y="1012"/>
                  </a:lnTo>
                  <a:cubicBezTo>
                    <a:pt x="3882" y="965"/>
                    <a:pt x="3786" y="929"/>
                    <a:pt x="3691" y="893"/>
                  </a:cubicBezTo>
                  <a:lnTo>
                    <a:pt x="3584" y="357"/>
                  </a:lnTo>
                  <a:cubicBezTo>
                    <a:pt x="3536" y="155"/>
                    <a:pt x="3358" y="0"/>
                    <a:pt x="3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2" name="Google Shape;9892;p58"/>
            <p:cNvSpPr/>
            <p:nvPr/>
          </p:nvSpPr>
          <p:spPr>
            <a:xfrm>
              <a:off x="2738867" y="2986895"/>
              <a:ext cx="65066" cy="65066"/>
            </a:xfrm>
            <a:custGeom>
              <a:avLst/>
              <a:gdLst/>
              <a:ahLst/>
              <a:cxnLst/>
              <a:rect l="l" t="t" r="r" b="b"/>
              <a:pathLst>
                <a:path w="2049" h="2049" extrusionOk="0">
                  <a:moveTo>
                    <a:pt x="1025" y="0"/>
                  </a:moveTo>
                  <a:cubicBezTo>
                    <a:pt x="453" y="0"/>
                    <a:pt x="1" y="453"/>
                    <a:pt x="1" y="1024"/>
                  </a:cubicBezTo>
                  <a:cubicBezTo>
                    <a:pt x="1" y="1584"/>
                    <a:pt x="453" y="2048"/>
                    <a:pt x="1025" y="2048"/>
                  </a:cubicBezTo>
                  <a:cubicBezTo>
                    <a:pt x="1251" y="2048"/>
                    <a:pt x="1465" y="1977"/>
                    <a:pt x="1644" y="1846"/>
                  </a:cubicBezTo>
                  <a:cubicBezTo>
                    <a:pt x="1727" y="1786"/>
                    <a:pt x="1739" y="1667"/>
                    <a:pt x="1680" y="1584"/>
                  </a:cubicBezTo>
                  <a:cubicBezTo>
                    <a:pt x="1646" y="1543"/>
                    <a:pt x="1593" y="1522"/>
                    <a:pt x="1540" y="1522"/>
                  </a:cubicBezTo>
                  <a:cubicBezTo>
                    <a:pt x="1500" y="1522"/>
                    <a:pt x="1461" y="1534"/>
                    <a:pt x="1430" y="1560"/>
                  </a:cubicBezTo>
                  <a:cubicBezTo>
                    <a:pt x="1311" y="1644"/>
                    <a:pt x="1168" y="1691"/>
                    <a:pt x="1025" y="1691"/>
                  </a:cubicBezTo>
                  <a:cubicBezTo>
                    <a:pt x="668" y="1691"/>
                    <a:pt x="370" y="1393"/>
                    <a:pt x="370" y="1036"/>
                  </a:cubicBezTo>
                  <a:cubicBezTo>
                    <a:pt x="382" y="655"/>
                    <a:pt x="680" y="370"/>
                    <a:pt x="1037" y="370"/>
                  </a:cubicBezTo>
                  <a:cubicBezTo>
                    <a:pt x="1394" y="370"/>
                    <a:pt x="1692" y="667"/>
                    <a:pt x="1692" y="1024"/>
                  </a:cubicBezTo>
                  <a:cubicBezTo>
                    <a:pt x="1692" y="1132"/>
                    <a:pt x="1775" y="1203"/>
                    <a:pt x="1870" y="1203"/>
                  </a:cubicBezTo>
                  <a:cubicBezTo>
                    <a:pt x="1965" y="1203"/>
                    <a:pt x="2049" y="1108"/>
                    <a:pt x="2049" y="1024"/>
                  </a:cubicBezTo>
                  <a:cubicBezTo>
                    <a:pt x="2049" y="453"/>
                    <a:pt x="1584"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3" name="Google Shape;9893;p58"/>
            <p:cNvSpPr/>
            <p:nvPr/>
          </p:nvSpPr>
          <p:spPr>
            <a:xfrm>
              <a:off x="2604670" y="2851904"/>
              <a:ext cx="70718" cy="71131"/>
            </a:xfrm>
            <a:custGeom>
              <a:avLst/>
              <a:gdLst/>
              <a:ahLst/>
              <a:cxnLst/>
              <a:rect l="l" t="t" r="r" b="b"/>
              <a:pathLst>
                <a:path w="2227" h="2240" extrusionOk="0">
                  <a:moveTo>
                    <a:pt x="1107" y="382"/>
                  </a:moveTo>
                  <a:cubicBezTo>
                    <a:pt x="1512" y="382"/>
                    <a:pt x="1858" y="715"/>
                    <a:pt x="1858" y="1120"/>
                  </a:cubicBezTo>
                  <a:cubicBezTo>
                    <a:pt x="1858" y="1525"/>
                    <a:pt x="1512" y="1870"/>
                    <a:pt x="1107" y="1870"/>
                  </a:cubicBezTo>
                  <a:cubicBezTo>
                    <a:pt x="691" y="1870"/>
                    <a:pt x="369" y="1525"/>
                    <a:pt x="369" y="1120"/>
                  </a:cubicBezTo>
                  <a:cubicBezTo>
                    <a:pt x="369" y="703"/>
                    <a:pt x="703" y="382"/>
                    <a:pt x="1107" y="382"/>
                  </a:cubicBezTo>
                  <a:close/>
                  <a:moveTo>
                    <a:pt x="1107" y="1"/>
                  </a:moveTo>
                  <a:cubicBezTo>
                    <a:pt x="500" y="1"/>
                    <a:pt x="0" y="513"/>
                    <a:pt x="0" y="1120"/>
                  </a:cubicBezTo>
                  <a:cubicBezTo>
                    <a:pt x="0" y="1727"/>
                    <a:pt x="500" y="2239"/>
                    <a:pt x="1107" y="2239"/>
                  </a:cubicBezTo>
                  <a:cubicBezTo>
                    <a:pt x="1727" y="2239"/>
                    <a:pt x="2227" y="1727"/>
                    <a:pt x="2227" y="1120"/>
                  </a:cubicBezTo>
                  <a:cubicBezTo>
                    <a:pt x="2227" y="513"/>
                    <a:pt x="1727"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94" name="Google Shape;9894;p58"/>
          <p:cNvGrpSpPr/>
          <p:nvPr/>
        </p:nvGrpSpPr>
        <p:grpSpPr>
          <a:xfrm>
            <a:off x="860940" y="2746477"/>
            <a:ext cx="371883" cy="365691"/>
            <a:chOff x="860940" y="2746477"/>
            <a:chExt cx="371883" cy="365691"/>
          </a:xfrm>
        </p:grpSpPr>
        <p:sp>
          <p:nvSpPr>
            <p:cNvPr id="9895" name="Google Shape;9895;p58"/>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6" name="Google Shape;9896;p58"/>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7" name="Google Shape;9897;p58"/>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8" name="Google Shape;9898;p58"/>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9" name="Google Shape;9899;p58"/>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0" name="Google Shape;9900;p58"/>
          <p:cNvGrpSpPr/>
          <p:nvPr/>
        </p:nvGrpSpPr>
        <p:grpSpPr>
          <a:xfrm>
            <a:off x="1493849" y="2775533"/>
            <a:ext cx="283985" cy="341080"/>
            <a:chOff x="1493849" y="2775533"/>
            <a:chExt cx="283985" cy="341080"/>
          </a:xfrm>
        </p:grpSpPr>
        <p:sp>
          <p:nvSpPr>
            <p:cNvPr id="9901" name="Google Shape;9901;p58"/>
            <p:cNvSpPr/>
            <p:nvPr/>
          </p:nvSpPr>
          <p:spPr>
            <a:xfrm>
              <a:off x="1493849" y="2775533"/>
              <a:ext cx="283985" cy="341080"/>
            </a:xfrm>
            <a:custGeom>
              <a:avLst/>
              <a:gdLst/>
              <a:ahLst/>
              <a:cxnLst/>
              <a:rect l="l" t="t" r="r" b="b"/>
              <a:pathLst>
                <a:path w="8943" h="10741" extrusionOk="0">
                  <a:moveTo>
                    <a:pt x="8430" y="1013"/>
                  </a:moveTo>
                  <a:cubicBezTo>
                    <a:pt x="8466" y="1013"/>
                    <a:pt x="8514" y="1025"/>
                    <a:pt x="8549" y="1061"/>
                  </a:cubicBezTo>
                  <a:cubicBezTo>
                    <a:pt x="8573" y="1084"/>
                    <a:pt x="8585" y="1132"/>
                    <a:pt x="8585" y="1180"/>
                  </a:cubicBezTo>
                  <a:lnTo>
                    <a:pt x="8585" y="1846"/>
                  </a:lnTo>
                  <a:cubicBezTo>
                    <a:pt x="8585" y="2454"/>
                    <a:pt x="8454" y="2906"/>
                    <a:pt x="8192" y="3204"/>
                  </a:cubicBezTo>
                  <a:cubicBezTo>
                    <a:pt x="7954" y="3466"/>
                    <a:pt x="7633" y="3585"/>
                    <a:pt x="7323" y="3716"/>
                  </a:cubicBezTo>
                  <a:cubicBezTo>
                    <a:pt x="7180" y="3775"/>
                    <a:pt x="7025" y="3835"/>
                    <a:pt x="6894" y="3918"/>
                  </a:cubicBezTo>
                  <a:cubicBezTo>
                    <a:pt x="7037" y="3466"/>
                    <a:pt x="7121" y="2989"/>
                    <a:pt x="7121" y="2501"/>
                  </a:cubicBezTo>
                  <a:lnTo>
                    <a:pt x="7121" y="1811"/>
                  </a:lnTo>
                  <a:cubicBezTo>
                    <a:pt x="7335" y="1811"/>
                    <a:pt x="7549" y="1715"/>
                    <a:pt x="7680" y="1513"/>
                  </a:cubicBezTo>
                  <a:lnTo>
                    <a:pt x="7799" y="1334"/>
                  </a:lnTo>
                  <a:cubicBezTo>
                    <a:pt x="7954" y="1132"/>
                    <a:pt x="8168" y="1013"/>
                    <a:pt x="8430" y="1013"/>
                  </a:cubicBezTo>
                  <a:close/>
                  <a:moveTo>
                    <a:pt x="453" y="1025"/>
                  </a:moveTo>
                  <a:cubicBezTo>
                    <a:pt x="703" y="1025"/>
                    <a:pt x="929" y="1144"/>
                    <a:pt x="1072" y="1358"/>
                  </a:cubicBezTo>
                  <a:lnTo>
                    <a:pt x="1191" y="1537"/>
                  </a:lnTo>
                  <a:cubicBezTo>
                    <a:pt x="1322" y="1703"/>
                    <a:pt x="1537" y="1834"/>
                    <a:pt x="1763" y="1834"/>
                  </a:cubicBezTo>
                  <a:lnTo>
                    <a:pt x="1763" y="2513"/>
                  </a:lnTo>
                  <a:cubicBezTo>
                    <a:pt x="1763" y="2989"/>
                    <a:pt x="1834" y="3466"/>
                    <a:pt x="1977" y="3930"/>
                  </a:cubicBezTo>
                  <a:cubicBezTo>
                    <a:pt x="1846" y="3835"/>
                    <a:pt x="1703" y="3775"/>
                    <a:pt x="1548" y="3716"/>
                  </a:cubicBezTo>
                  <a:cubicBezTo>
                    <a:pt x="1239" y="3597"/>
                    <a:pt x="929" y="3466"/>
                    <a:pt x="691" y="3204"/>
                  </a:cubicBezTo>
                  <a:cubicBezTo>
                    <a:pt x="417" y="2906"/>
                    <a:pt x="286" y="2454"/>
                    <a:pt x="286" y="1846"/>
                  </a:cubicBezTo>
                  <a:lnTo>
                    <a:pt x="286" y="1191"/>
                  </a:lnTo>
                  <a:cubicBezTo>
                    <a:pt x="286" y="1144"/>
                    <a:pt x="298" y="1096"/>
                    <a:pt x="334" y="1072"/>
                  </a:cubicBezTo>
                  <a:cubicBezTo>
                    <a:pt x="358" y="1037"/>
                    <a:pt x="405" y="1025"/>
                    <a:pt x="453" y="1025"/>
                  </a:cubicBezTo>
                  <a:close/>
                  <a:moveTo>
                    <a:pt x="7097" y="299"/>
                  </a:moveTo>
                  <a:lnTo>
                    <a:pt x="7097" y="668"/>
                  </a:lnTo>
                  <a:lnTo>
                    <a:pt x="5739" y="668"/>
                  </a:lnTo>
                  <a:cubicBezTo>
                    <a:pt x="5656" y="668"/>
                    <a:pt x="5585" y="739"/>
                    <a:pt x="5585" y="834"/>
                  </a:cubicBezTo>
                  <a:cubicBezTo>
                    <a:pt x="5585" y="918"/>
                    <a:pt x="5656" y="1001"/>
                    <a:pt x="5739" y="1001"/>
                  </a:cubicBezTo>
                  <a:lnTo>
                    <a:pt x="6775" y="1001"/>
                  </a:lnTo>
                  <a:lnTo>
                    <a:pt x="6775" y="2513"/>
                  </a:lnTo>
                  <a:cubicBezTo>
                    <a:pt x="6787" y="3882"/>
                    <a:pt x="6132" y="5192"/>
                    <a:pt x="5013" y="6014"/>
                  </a:cubicBezTo>
                  <a:lnTo>
                    <a:pt x="4894" y="6097"/>
                  </a:lnTo>
                  <a:cubicBezTo>
                    <a:pt x="4870" y="6097"/>
                    <a:pt x="4835" y="6085"/>
                    <a:pt x="4811" y="6085"/>
                  </a:cubicBezTo>
                  <a:lnTo>
                    <a:pt x="4037" y="6085"/>
                  </a:lnTo>
                  <a:cubicBezTo>
                    <a:pt x="4001" y="6085"/>
                    <a:pt x="3977" y="6085"/>
                    <a:pt x="3942" y="6097"/>
                  </a:cubicBezTo>
                  <a:lnTo>
                    <a:pt x="3823" y="6014"/>
                  </a:lnTo>
                  <a:cubicBezTo>
                    <a:pt x="2727" y="5192"/>
                    <a:pt x="2060" y="3882"/>
                    <a:pt x="2060" y="2513"/>
                  </a:cubicBezTo>
                  <a:lnTo>
                    <a:pt x="2060" y="1001"/>
                  </a:lnTo>
                  <a:lnTo>
                    <a:pt x="5013" y="1001"/>
                  </a:lnTo>
                  <a:cubicBezTo>
                    <a:pt x="5108" y="1001"/>
                    <a:pt x="5180" y="918"/>
                    <a:pt x="5180" y="834"/>
                  </a:cubicBezTo>
                  <a:cubicBezTo>
                    <a:pt x="5180" y="739"/>
                    <a:pt x="5108" y="668"/>
                    <a:pt x="5013" y="668"/>
                  </a:cubicBezTo>
                  <a:lnTo>
                    <a:pt x="1727" y="668"/>
                  </a:lnTo>
                  <a:lnTo>
                    <a:pt x="1727" y="299"/>
                  </a:lnTo>
                  <a:close/>
                  <a:moveTo>
                    <a:pt x="4823" y="6395"/>
                  </a:moveTo>
                  <a:cubicBezTo>
                    <a:pt x="4882" y="6395"/>
                    <a:pt x="4930" y="6442"/>
                    <a:pt x="4930" y="6502"/>
                  </a:cubicBezTo>
                  <a:lnTo>
                    <a:pt x="4930" y="6621"/>
                  </a:lnTo>
                  <a:cubicBezTo>
                    <a:pt x="4930" y="6680"/>
                    <a:pt x="4882" y="6728"/>
                    <a:pt x="4823" y="6728"/>
                  </a:cubicBezTo>
                  <a:lnTo>
                    <a:pt x="4049" y="6728"/>
                  </a:lnTo>
                  <a:cubicBezTo>
                    <a:pt x="3989" y="6728"/>
                    <a:pt x="3942" y="6680"/>
                    <a:pt x="3942" y="6621"/>
                  </a:cubicBezTo>
                  <a:lnTo>
                    <a:pt x="3942" y="6502"/>
                  </a:lnTo>
                  <a:cubicBezTo>
                    <a:pt x="3942" y="6442"/>
                    <a:pt x="3989" y="6395"/>
                    <a:pt x="4049" y="6395"/>
                  </a:cubicBezTo>
                  <a:close/>
                  <a:moveTo>
                    <a:pt x="4620" y="7037"/>
                  </a:moveTo>
                  <a:lnTo>
                    <a:pt x="4620" y="8573"/>
                  </a:lnTo>
                  <a:lnTo>
                    <a:pt x="4239" y="8573"/>
                  </a:lnTo>
                  <a:lnTo>
                    <a:pt x="4239" y="7037"/>
                  </a:lnTo>
                  <a:close/>
                  <a:moveTo>
                    <a:pt x="5418" y="8883"/>
                  </a:moveTo>
                  <a:cubicBezTo>
                    <a:pt x="5525" y="8883"/>
                    <a:pt x="5608" y="8978"/>
                    <a:pt x="5608" y="9073"/>
                  </a:cubicBezTo>
                  <a:lnTo>
                    <a:pt x="5608" y="9252"/>
                  </a:lnTo>
                  <a:lnTo>
                    <a:pt x="4215" y="9252"/>
                  </a:lnTo>
                  <a:cubicBezTo>
                    <a:pt x="4120" y="9252"/>
                    <a:pt x="4049" y="9335"/>
                    <a:pt x="4049" y="9419"/>
                  </a:cubicBezTo>
                  <a:cubicBezTo>
                    <a:pt x="4049" y="9514"/>
                    <a:pt x="4120" y="9585"/>
                    <a:pt x="4215" y="9585"/>
                  </a:cubicBezTo>
                  <a:lnTo>
                    <a:pt x="6370" y="9585"/>
                  </a:lnTo>
                  <a:cubicBezTo>
                    <a:pt x="6382" y="9585"/>
                    <a:pt x="6406" y="9597"/>
                    <a:pt x="6418" y="9609"/>
                  </a:cubicBezTo>
                  <a:lnTo>
                    <a:pt x="6561" y="10371"/>
                  </a:lnTo>
                  <a:cubicBezTo>
                    <a:pt x="6561" y="10383"/>
                    <a:pt x="6561" y="10407"/>
                    <a:pt x="6549" y="10407"/>
                  </a:cubicBezTo>
                  <a:cubicBezTo>
                    <a:pt x="6549" y="10407"/>
                    <a:pt x="6537" y="10419"/>
                    <a:pt x="6525" y="10419"/>
                  </a:cubicBezTo>
                  <a:lnTo>
                    <a:pt x="2370" y="10419"/>
                  </a:lnTo>
                  <a:cubicBezTo>
                    <a:pt x="2358" y="10419"/>
                    <a:pt x="2334" y="10407"/>
                    <a:pt x="2334" y="10407"/>
                  </a:cubicBezTo>
                  <a:cubicBezTo>
                    <a:pt x="2334" y="10407"/>
                    <a:pt x="2322" y="10383"/>
                    <a:pt x="2322" y="10371"/>
                  </a:cubicBezTo>
                  <a:lnTo>
                    <a:pt x="2477" y="9609"/>
                  </a:lnTo>
                  <a:cubicBezTo>
                    <a:pt x="2477" y="9597"/>
                    <a:pt x="2489" y="9585"/>
                    <a:pt x="2513" y="9585"/>
                  </a:cubicBezTo>
                  <a:lnTo>
                    <a:pt x="3489" y="9585"/>
                  </a:lnTo>
                  <a:cubicBezTo>
                    <a:pt x="3573" y="9585"/>
                    <a:pt x="3644" y="9514"/>
                    <a:pt x="3644" y="9419"/>
                  </a:cubicBezTo>
                  <a:cubicBezTo>
                    <a:pt x="3644" y="9335"/>
                    <a:pt x="3573" y="9252"/>
                    <a:pt x="3489" y="9252"/>
                  </a:cubicBezTo>
                  <a:lnTo>
                    <a:pt x="3263" y="9252"/>
                  </a:lnTo>
                  <a:lnTo>
                    <a:pt x="3263" y="9073"/>
                  </a:lnTo>
                  <a:cubicBezTo>
                    <a:pt x="3263" y="8978"/>
                    <a:pt x="3346" y="8883"/>
                    <a:pt x="3453" y="8883"/>
                  </a:cubicBezTo>
                  <a:close/>
                  <a:moveTo>
                    <a:pt x="1739" y="1"/>
                  </a:moveTo>
                  <a:cubicBezTo>
                    <a:pt x="1572" y="1"/>
                    <a:pt x="1441" y="132"/>
                    <a:pt x="1441" y="299"/>
                  </a:cubicBezTo>
                  <a:lnTo>
                    <a:pt x="1441" y="703"/>
                  </a:lnTo>
                  <a:cubicBezTo>
                    <a:pt x="1441" y="858"/>
                    <a:pt x="1572" y="1001"/>
                    <a:pt x="1739" y="1001"/>
                  </a:cubicBezTo>
                  <a:lnTo>
                    <a:pt x="1775" y="1001"/>
                  </a:lnTo>
                  <a:lnTo>
                    <a:pt x="1775" y="1513"/>
                  </a:lnTo>
                  <a:cubicBezTo>
                    <a:pt x="1656" y="1513"/>
                    <a:pt x="1537" y="1453"/>
                    <a:pt x="1477" y="1358"/>
                  </a:cubicBezTo>
                  <a:lnTo>
                    <a:pt x="1358" y="1180"/>
                  </a:lnTo>
                  <a:cubicBezTo>
                    <a:pt x="1156" y="882"/>
                    <a:pt x="822" y="715"/>
                    <a:pt x="477" y="715"/>
                  </a:cubicBezTo>
                  <a:cubicBezTo>
                    <a:pt x="346" y="715"/>
                    <a:pt x="227" y="763"/>
                    <a:pt x="132" y="846"/>
                  </a:cubicBezTo>
                  <a:cubicBezTo>
                    <a:pt x="48" y="941"/>
                    <a:pt x="1" y="1049"/>
                    <a:pt x="1" y="1191"/>
                  </a:cubicBezTo>
                  <a:lnTo>
                    <a:pt x="1" y="1846"/>
                  </a:lnTo>
                  <a:cubicBezTo>
                    <a:pt x="1" y="3418"/>
                    <a:pt x="798" y="3751"/>
                    <a:pt x="1465" y="4013"/>
                  </a:cubicBezTo>
                  <a:cubicBezTo>
                    <a:pt x="1810" y="4168"/>
                    <a:pt x="2144" y="4299"/>
                    <a:pt x="2299" y="4609"/>
                  </a:cubicBezTo>
                  <a:cubicBezTo>
                    <a:pt x="2334" y="4704"/>
                    <a:pt x="2322" y="4775"/>
                    <a:pt x="2263" y="4847"/>
                  </a:cubicBezTo>
                  <a:cubicBezTo>
                    <a:pt x="2212" y="4914"/>
                    <a:pt x="2120" y="4946"/>
                    <a:pt x="2041" y="4946"/>
                  </a:cubicBezTo>
                  <a:cubicBezTo>
                    <a:pt x="2008" y="4946"/>
                    <a:pt x="1978" y="4940"/>
                    <a:pt x="1953" y="4930"/>
                  </a:cubicBezTo>
                  <a:cubicBezTo>
                    <a:pt x="1834" y="4882"/>
                    <a:pt x="1822" y="4728"/>
                    <a:pt x="1834" y="4632"/>
                  </a:cubicBezTo>
                  <a:cubicBezTo>
                    <a:pt x="1834" y="4537"/>
                    <a:pt x="1775" y="4466"/>
                    <a:pt x="1679" y="4466"/>
                  </a:cubicBezTo>
                  <a:cubicBezTo>
                    <a:pt x="1596" y="4466"/>
                    <a:pt x="1513" y="4525"/>
                    <a:pt x="1513" y="4609"/>
                  </a:cubicBezTo>
                  <a:cubicBezTo>
                    <a:pt x="1513" y="4740"/>
                    <a:pt x="1537" y="5085"/>
                    <a:pt x="1834" y="5228"/>
                  </a:cubicBezTo>
                  <a:cubicBezTo>
                    <a:pt x="1906" y="5252"/>
                    <a:pt x="1965" y="5263"/>
                    <a:pt x="2037" y="5263"/>
                  </a:cubicBezTo>
                  <a:cubicBezTo>
                    <a:pt x="2203" y="5263"/>
                    <a:pt x="2382" y="5192"/>
                    <a:pt x="2489" y="5073"/>
                  </a:cubicBezTo>
                  <a:cubicBezTo>
                    <a:pt x="2501" y="5061"/>
                    <a:pt x="2513" y="5049"/>
                    <a:pt x="2513" y="5025"/>
                  </a:cubicBezTo>
                  <a:cubicBezTo>
                    <a:pt x="2811" y="5502"/>
                    <a:pt x="3215" y="5942"/>
                    <a:pt x="3680" y="6275"/>
                  </a:cubicBezTo>
                  <a:lnTo>
                    <a:pt x="3703" y="6299"/>
                  </a:lnTo>
                  <a:cubicBezTo>
                    <a:pt x="3656" y="6347"/>
                    <a:pt x="3644" y="6430"/>
                    <a:pt x="3644" y="6514"/>
                  </a:cubicBezTo>
                  <a:lnTo>
                    <a:pt x="3644" y="6633"/>
                  </a:lnTo>
                  <a:cubicBezTo>
                    <a:pt x="3644" y="6835"/>
                    <a:pt x="3775" y="6990"/>
                    <a:pt x="3965" y="7037"/>
                  </a:cubicBezTo>
                  <a:lnTo>
                    <a:pt x="3965" y="8585"/>
                  </a:lnTo>
                  <a:lnTo>
                    <a:pt x="3489" y="8585"/>
                  </a:lnTo>
                  <a:cubicBezTo>
                    <a:pt x="3203" y="8585"/>
                    <a:pt x="2977" y="8811"/>
                    <a:pt x="2977" y="9085"/>
                  </a:cubicBezTo>
                  <a:lnTo>
                    <a:pt x="2977" y="9264"/>
                  </a:lnTo>
                  <a:lnTo>
                    <a:pt x="2549" y="9264"/>
                  </a:lnTo>
                  <a:cubicBezTo>
                    <a:pt x="2382" y="9264"/>
                    <a:pt x="2239" y="9383"/>
                    <a:pt x="2203" y="9550"/>
                  </a:cubicBezTo>
                  <a:lnTo>
                    <a:pt x="2060" y="10312"/>
                  </a:lnTo>
                  <a:cubicBezTo>
                    <a:pt x="2037" y="10419"/>
                    <a:pt x="2060" y="10514"/>
                    <a:pt x="2132" y="10609"/>
                  </a:cubicBezTo>
                  <a:cubicBezTo>
                    <a:pt x="2203" y="10693"/>
                    <a:pt x="2299" y="10740"/>
                    <a:pt x="2394" y="10740"/>
                  </a:cubicBezTo>
                  <a:lnTo>
                    <a:pt x="6549" y="10740"/>
                  </a:lnTo>
                  <a:cubicBezTo>
                    <a:pt x="6656" y="10740"/>
                    <a:pt x="6763" y="10693"/>
                    <a:pt x="6823" y="10609"/>
                  </a:cubicBezTo>
                  <a:cubicBezTo>
                    <a:pt x="6894" y="10514"/>
                    <a:pt x="6906" y="10419"/>
                    <a:pt x="6894" y="10312"/>
                  </a:cubicBezTo>
                  <a:lnTo>
                    <a:pt x="6740" y="9550"/>
                  </a:lnTo>
                  <a:cubicBezTo>
                    <a:pt x="6716" y="9383"/>
                    <a:pt x="6561" y="9264"/>
                    <a:pt x="6406" y="9264"/>
                  </a:cubicBezTo>
                  <a:lnTo>
                    <a:pt x="5966" y="9264"/>
                  </a:lnTo>
                  <a:lnTo>
                    <a:pt x="5966" y="9085"/>
                  </a:lnTo>
                  <a:cubicBezTo>
                    <a:pt x="5966" y="8811"/>
                    <a:pt x="5751" y="8585"/>
                    <a:pt x="5466" y="8585"/>
                  </a:cubicBezTo>
                  <a:lnTo>
                    <a:pt x="4989" y="8585"/>
                  </a:lnTo>
                  <a:lnTo>
                    <a:pt x="4989" y="7037"/>
                  </a:lnTo>
                  <a:cubicBezTo>
                    <a:pt x="5168" y="6990"/>
                    <a:pt x="5299" y="6835"/>
                    <a:pt x="5299" y="6633"/>
                  </a:cubicBezTo>
                  <a:lnTo>
                    <a:pt x="5299" y="6502"/>
                  </a:lnTo>
                  <a:cubicBezTo>
                    <a:pt x="5299" y="6430"/>
                    <a:pt x="5275" y="6359"/>
                    <a:pt x="5239" y="6275"/>
                  </a:cubicBezTo>
                  <a:lnTo>
                    <a:pt x="5275" y="6264"/>
                  </a:lnTo>
                  <a:cubicBezTo>
                    <a:pt x="5728" y="5918"/>
                    <a:pt x="6132" y="5490"/>
                    <a:pt x="6430" y="5013"/>
                  </a:cubicBezTo>
                  <a:cubicBezTo>
                    <a:pt x="6442" y="5025"/>
                    <a:pt x="6466" y="5049"/>
                    <a:pt x="6466" y="5061"/>
                  </a:cubicBezTo>
                  <a:cubicBezTo>
                    <a:pt x="6585" y="5180"/>
                    <a:pt x="6740" y="5252"/>
                    <a:pt x="6906" y="5252"/>
                  </a:cubicBezTo>
                  <a:cubicBezTo>
                    <a:pt x="6978" y="5252"/>
                    <a:pt x="7061" y="5240"/>
                    <a:pt x="7121" y="5204"/>
                  </a:cubicBezTo>
                  <a:cubicBezTo>
                    <a:pt x="7418" y="5073"/>
                    <a:pt x="7442" y="4751"/>
                    <a:pt x="7430" y="4597"/>
                  </a:cubicBezTo>
                  <a:cubicBezTo>
                    <a:pt x="7430" y="4513"/>
                    <a:pt x="7359" y="4454"/>
                    <a:pt x="7263" y="4454"/>
                  </a:cubicBezTo>
                  <a:cubicBezTo>
                    <a:pt x="7180" y="4454"/>
                    <a:pt x="7121" y="4525"/>
                    <a:pt x="7121" y="4609"/>
                  </a:cubicBezTo>
                  <a:cubicBezTo>
                    <a:pt x="7121" y="4716"/>
                    <a:pt x="7097" y="4871"/>
                    <a:pt x="7002" y="4906"/>
                  </a:cubicBezTo>
                  <a:cubicBezTo>
                    <a:pt x="6975" y="4920"/>
                    <a:pt x="6945" y="4925"/>
                    <a:pt x="6913" y="4925"/>
                  </a:cubicBezTo>
                  <a:cubicBezTo>
                    <a:pt x="6831" y="4925"/>
                    <a:pt x="6740" y="4886"/>
                    <a:pt x="6680" y="4835"/>
                  </a:cubicBezTo>
                  <a:cubicBezTo>
                    <a:pt x="6621" y="4775"/>
                    <a:pt x="6609" y="4692"/>
                    <a:pt x="6656" y="4597"/>
                  </a:cubicBezTo>
                  <a:cubicBezTo>
                    <a:pt x="6799" y="4287"/>
                    <a:pt x="7121" y="4156"/>
                    <a:pt x="7490" y="4001"/>
                  </a:cubicBezTo>
                  <a:cubicBezTo>
                    <a:pt x="8145" y="3739"/>
                    <a:pt x="8942" y="3406"/>
                    <a:pt x="8942" y="1834"/>
                  </a:cubicBezTo>
                  <a:lnTo>
                    <a:pt x="8942" y="1180"/>
                  </a:lnTo>
                  <a:cubicBezTo>
                    <a:pt x="8907" y="1061"/>
                    <a:pt x="8847" y="941"/>
                    <a:pt x="8752" y="846"/>
                  </a:cubicBezTo>
                  <a:cubicBezTo>
                    <a:pt x="8668" y="763"/>
                    <a:pt x="8549" y="715"/>
                    <a:pt x="8406" y="715"/>
                  </a:cubicBezTo>
                  <a:cubicBezTo>
                    <a:pt x="8049" y="715"/>
                    <a:pt x="7728" y="894"/>
                    <a:pt x="7537" y="1180"/>
                  </a:cubicBezTo>
                  <a:lnTo>
                    <a:pt x="7418" y="1358"/>
                  </a:lnTo>
                  <a:cubicBezTo>
                    <a:pt x="7335" y="1453"/>
                    <a:pt x="7240" y="1513"/>
                    <a:pt x="7121" y="1513"/>
                  </a:cubicBezTo>
                  <a:lnTo>
                    <a:pt x="7121" y="1001"/>
                  </a:lnTo>
                  <a:lnTo>
                    <a:pt x="7144" y="1001"/>
                  </a:lnTo>
                  <a:cubicBezTo>
                    <a:pt x="7311" y="1001"/>
                    <a:pt x="7442" y="858"/>
                    <a:pt x="7442" y="703"/>
                  </a:cubicBezTo>
                  <a:lnTo>
                    <a:pt x="7442" y="299"/>
                  </a:lnTo>
                  <a:cubicBezTo>
                    <a:pt x="7442" y="132"/>
                    <a:pt x="7311" y="1"/>
                    <a:pt x="7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2" name="Google Shape;9902;p58"/>
            <p:cNvSpPr/>
            <p:nvPr/>
          </p:nvSpPr>
          <p:spPr>
            <a:xfrm>
              <a:off x="1590638" y="2834153"/>
              <a:ext cx="88501" cy="84754"/>
            </a:xfrm>
            <a:custGeom>
              <a:avLst/>
              <a:gdLst/>
              <a:ahLst/>
              <a:cxnLst/>
              <a:rect l="l" t="t" r="r" b="b"/>
              <a:pathLst>
                <a:path w="2787" h="2669" extrusionOk="0">
                  <a:moveTo>
                    <a:pt x="1358" y="488"/>
                  </a:moveTo>
                  <a:lnTo>
                    <a:pt x="1596" y="977"/>
                  </a:lnTo>
                  <a:cubicBezTo>
                    <a:pt x="1632" y="1036"/>
                    <a:pt x="1668" y="1072"/>
                    <a:pt x="1751" y="1084"/>
                  </a:cubicBezTo>
                  <a:lnTo>
                    <a:pt x="2299" y="1155"/>
                  </a:lnTo>
                  <a:lnTo>
                    <a:pt x="1929" y="1548"/>
                  </a:lnTo>
                  <a:cubicBezTo>
                    <a:pt x="1882" y="1596"/>
                    <a:pt x="1870" y="1655"/>
                    <a:pt x="1870" y="1715"/>
                  </a:cubicBezTo>
                  <a:lnTo>
                    <a:pt x="1953" y="2263"/>
                  </a:lnTo>
                  <a:lnTo>
                    <a:pt x="1465" y="2012"/>
                  </a:lnTo>
                  <a:cubicBezTo>
                    <a:pt x="1429" y="1989"/>
                    <a:pt x="1406" y="1989"/>
                    <a:pt x="1370" y="1989"/>
                  </a:cubicBezTo>
                  <a:cubicBezTo>
                    <a:pt x="1346" y="1989"/>
                    <a:pt x="1310" y="1989"/>
                    <a:pt x="1287" y="2012"/>
                  </a:cubicBezTo>
                  <a:lnTo>
                    <a:pt x="798" y="2263"/>
                  </a:lnTo>
                  <a:lnTo>
                    <a:pt x="882" y="1715"/>
                  </a:lnTo>
                  <a:cubicBezTo>
                    <a:pt x="894" y="1655"/>
                    <a:pt x="870" y="1596"/>
                    <a:pt x="822" y="1548"/>
                  </a:cubicBezTo>
                  <a:lnTo>
                    <a:pt x="417" y="1155"/>
                  </a:lnTo>
                  <a:lnTo>
                    <a:pt x="977" y="1084"/>
                  </a:lnTo>
                  <a:cubicBezTo>
                    <a:pt x="1036" y="1072"/>
                    <a:pt x="1096" y="1036"/>
                    <a:pt x="1120" y="977"/>
                  </a:cubicBezTo>
                  <a:lnTo>
                    <a:pt x="1358" y="488"/>
                  </a:lnTo>
                  <a:close/>
                  <a:moveTo>
                    <a:pt x="1406" y="0"/>
                  </a:moveTo>
                  <a:cubicBezTo>
                    <a:pt x="1334" y="0"/>
                    <a:pt x="1275" y="48"/>
                    <a:pt x="1239" y="107"/>
                  </a:cubicBezTo>
                  <a:lnTo>
                    <a:pt x="917" y="774"/>
                  </a:lnTo>
                  <a:lnTo>
                    <a:pt x="179" y="881"/>
                  </a:lnTo>
                  <a:cubicBezTo>
                    <a:pt x="108" y="893"/>
                    <a:pt x="48" y="941"/>
                    <a:pt x="36" y="1012"/>
                  </a:cubicBezTo>
                  <a:cubicBezTo>
                    <a:pt x="1" y="1084"/>
                    <a:pt x="36" y="1155"/>
                    <a:pt x="84" y="1203"/>
                  </a:cubicBezTo>
                  <a:lnTo>
                    <a:pt x="620" y="1727"/>
                  </a:lnTo>
                  <a:lnTo>
                    <a:pt x="501" y="2453"/>
                  </a:lnTo>
                  <a:cubicBezTo>
                    <a:pt x="477" y="2524"/>
                    <a:pt x="513" y="2608"/>
                    <a:pt x="572" y="2632"/>
                  </a:cubicBezTo>
                  <a:cubicBezTo>
                    <a:pt x="604" y="2657"/>
                    <a:pt x="639" y="2669"/>
                    <a:pt x="674" y="2669"/>
                  </a:cubicBezTo>
                  <a:cubicBezTo>
                    <a:pt x="705" y="2669"/>
                    <a:pt x="735" y="2660"/>
                    <a:pt x="763" y="2644"/>
                  </a:cubicBezTo>
                  <a:lnTo>
                    <a:pt x="1417" y="2310"/>
                  </a:lnTo>
                  <a:lnTo>
                    <a:pt x="2072" y="2644"/>
                  </a:lnTo>
                  <a:cubicBezTo>
                    <a:pt x="2108" y="2667"/>
                    <a:pt x="2132" y="2667"/>
                    <a:pt x="2168" y="2667"/>
                  </a:cubicBezTo>
                  <a:cubicBezTo>
                    <a:pt x="2203" y="2667"/>
                    <a:pt x="2239" y="2644"/>
                    <a:pt x="2263" y="2632"/>
                  </a:cubicBezTo>
                  <a:cubicBezTo>
                    <a:pt x="2322" y="2584"/>
                    <a:pt x="2358" y="2513"/>
                    <a:pt x="2346" y="2453"/>
                  </a:cubicBezTo>
                  <a:lnTo>
                    <a:pt x="2227" y="1727"/>
                  </a:lnTo>
                  <a:lnTo>
                    <a:pt x="2763" y="1203"/>
                  </a:lnTo>
                  <a:cubicBezTo>
                    <a:pt x="2775" y="1155"/>
                    <a:pt x="2787" y="1084"/>
                    <a:pt x="2775" y="1012"/>
                  </a:cubicBezTo>
                  <a:cubicBezTo>
                    <a:pt x="2739" y="941"/>
                    <a:pt x="2703" y="893"/>
                    <a:pt x="2620" y="881"/>
                  </a:cubicBezTo>
                  <a:lnTo>
                    <a:pt x="1894" y="774"/>
                  </a:lnTo>
                  <a:lnTo>
                    <a:pt x="1572" y="107"/>
                  </a:lnTo>
                  <a:cubicBezTo>
                    <a:pt x="1537" y="48"/>
                    <a:pt x="1465" y="0"/>
                    <a:pt x="1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3" name="Google Shape;9903;p58"/>
          <p:cNvGrpSpPr/>
          <p:nvPr/>
        </p:nvGrpSpPr>
        <p:grpSpPr>
          <a:xfrm>
            <a:off x="1952836" y="2774422"/>
            <a:ext cx="372835" cy="342573"/>
            <a:chOff x="1952836" y="2774422"/>
            <a:chExt cx="372835" cy="342573"/>
          </a:xfrm>
        </p:grpSpPr>
        <p:sp>
          <p:nvSpPr>
            <p:cNvPr id="9904" name="Google Shape;9904;p58"/>
            <p:cNvSpPr/>
            <p:nvPr/>
          </p:nvSpPr>
          <p:spPr>
            <a:xfrm>
              <a:off x="2076490"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6" y="941"/>
                    <a:pt x="345" y="811"/>
                    <a:pt x="345" y="644"/>
                  </a:cubicBezTo>
                  <a:cubicBezTo>
                    <a:pt x="345" y="477"/>
                    <a:pt x="476" y="346"/>
                    <a:pt x="643" y="346"/>
                  </a:cubicBezTo>
                  <a:close/>
                  <a:moveTo>
                    <a:pt x="643" y="1"/>
                  </a:moveTo>
                  <a:cubicBezTo>
                    <a:pt x="286" y="1"/>
                    <a:pt x="0" y="287"/>
                    <a:pt x="0" y="644"/>
                  </a:cubicBezTo>
                  <a:cubicBezTo>
                    <a:pt x="0" y="1001"/>
                    <a:pt x="286" y="1287"/>
                    <a:pt x="643" y="1287"/>
                  </a:cubicBezTo>
                  <a:cubicBezTo>
                    <a:pt x="1000" y="1287"/>
                    <a:pt x="1286" y="1001"/>
                    <a:pt x="1286" y="644"/>
                  </a:cubicBezTo>
                  <a:cubicBezTo>
                    <a:pt x="1286" y="287"/>
                    <a:pt x="1000"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5" name="Google Shape;9905;p58"/>
            <p:cNvSpPr/>
            <p:nvPr/>
          </p:nvSpPr>
          <p:spPr>
            <a:xfrm>
              <a:off x="2208432" y="3057581"/>
              <a:ext cx="40869" cy="40869"/>
            </a:xfrm>
            <a:custGeom>
              <a:avLst/>
              <a:gdLst/>
              <a:ahLst/>
              <a:cxnLst/>
              <a:rect l="l" t="t" r="r" b="b"/>
              <a:pathLst>
                <a:path w="1287" h="1287" extrusionOk="0">
                  <a:moveTo>
                    <a:pt x="643" y="346"/>
                  </a:moveTo>
                  <a:cubicBezTo>
                    <a:pt x="810" y="346"/>
                    <a:pt x="941" y="477"/>
                    <a:pt x="941" y="644"/>
                  </a:cubicBezTo>
                  <a:cubicBezTo>
                    <a:pt x="941" y="811"/>
                    <a:pt x="810" y="941"/>
                    <a:pt x="643" y="941"/>
                  </a:cubicBezTo>
                  <a:cubicBezTo>
                    <a:pt x="477" y="941"/>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86" y="1001"/>
                    <a:pt x="1286" y="644"/>
                  </a:cubicBezTo>
                  <a:cubicBezTo>
                    <a:pt x="1286"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6" name="Google Shape;9906;p58"/>
            <p:cNvSpPr/>
            <p:nvPr/>
          </p:nvSpPr>
          <p:spPr>
            <a:xfrm>
              <a:off x="1952836" y="2774422"/>
              <a:ext cx="372835" cy="342573"/>
            </a:xfrm>
            <a:custGeom>
              <a:avLst/>
              <a:gdLst/>
              <a:ahLst/>
              <a:cxnLst/>
              <a:rect l="l" t="t" r="r" b="b"/>
              <a:pathLst>
                <a:path w="11741" h="10788" extrusionOk="0">
                  <a:moveTo>
                    <a:pt x="5382" y="1988"/>
                  </a:moveTo>
                  <a:lnTo>
                    <a:pt x="5382" y="3001"/>
                  </a:lnTo>
                  <a:lnTo>
                    <a:pt x="4359" y="3001"/>
                  </a:lnTo>
                  <a:lnTo>
                    <a:pt x="4359" y="1988"/>
                  </a:lnTo>
                  <a:close/>
                  <a:moveTo>
                    <a:pt x="6752" y="1988"/>
                  </a:moveTo>
                  <a:lnTo>
                    <a:pt x="6752" y="3001"/>
                  </a:lnTo>
                  <a:lnTo>
                    <a:pt x="5728" y="3001"/>
                  </a:lnTo>
                  <a:lnTo>
                    <a:pt x="5728" y="1988"/>
                  </a:lnTo>
                  <a:close/>
                  <a:moveTo>
                    <a:pt x="8121" y="1988"/>
                  </a:moveTo>
                  <a:lnTo>
                    <a:pt x="8121" y="3001"/>
                  </a:lnTo>
                  <a:lnTo>
                    <a:pt x="7097" y="3001"/>
                  </a:lnTo>
                  <a:lnTo>
                    <a:pt x="7097" y="1988"/>
                  </a:lnTo>
                  <a:close/>
                  <a:moveTo>
                    <a:pt x="9490" y="1988"/>
                  </a:moveTo>
                  <a:lnTo>
                    <a:pt x="9490" y="3001"/>
                  </a:lnTo>
                  <a:lnTo>
                    <a:pt x="8466" y="3001"/>
                  </a:lnTo>
                  <a:lnTo>
                    <a:pt x="8466" y="1988"/>
                  </a:lnTo>
                  <a:close/>
                  <a:moveTo>
                    <a:pt x="10324" y="1988"/>
                  </a:moveTo>
                  <a:lnTo>
                    <a:pt x="10085" y="3001"/>
                  </a:lnTo>
                  <a:lnTo>
                    <a:pt x="9847" y="3001"/>
                  </a:lnTo>
                  <a:lnTo>
                    <a:pt x="9847" y="1988"/>
                  </a:lnTo>
                  <a:close/>
                  <a:moveTo>
                    <a:pt x="4001" y="2000"/>
                  </a:moveTo>
                  <a:lnTo>
                    <a:pt x="4001" y="3012"/>
                  </a:lnTo>
                  <a:lnTo>
                    <a:pt x="3311" y="3012"/>
                  </a:lnTo>
                  <a:lnTo>
                    <a:pt x="2965" y="2000"/>
                  </a:lnTo>
                  <a:close/>
                  <a:moveTo>
                    <a:pt x="10014" y="3334"/>
                  </a:moveTo>
                  <a:lnTo>
                    <a:pt x="9847" y="4048"/>
                  </a:lnTo>
                  <a:lnTo>
                    <a:pt x="9847" y="3334"/>
                  </a:lnTo>
                  <a:close/>
                  <a:moveTo>
                    <a:pt x="4013" y="3334"/>
                  </a:moveTo>
                  <a:lnTo>
                    <a:pt x="4013" y="4370"/>
                  </a:lnTo>
                  <a:lnTo>
                    <a:pt x="3823" y="4370"/>
                  </a:lnTo>
                  <a:lnTo>
                    <a:pt x="3454" y="3334"/>
                  </a:lnTo>
                  <a:close/>
                  <a:moveTo>
                    <a:pt x="5371" y="3334"/>
                  </a:moveTo>
                  <a:lnTo>
                    <a:pt x="5371" y="4370"/>
                  </a:lnTo>
                  <a:lnTo>
                    <a:pt x="4347" y="4370"/>
                  </a:lnTo>
                  <a:lnTo>
                    <a:pt x="4347" y="3334"/>
                  </a:lnTo>
                  <a:close/>
                  <a:moveTo>
                    <a:pt x="6752" y="3334"/>
                  </a:moveTo>
                  <a:lnTo>
                    <a:pt x="6752" y="4370"/>
                  </a:lnTo>
                  <a:lnTo>
                    <a:pt x="5728" y="4370"/>
                  </a:lnTo>
                  <a:lnTo>
                    <a:pt x="5728" y="3334"/>
                  </a:lnTo>
                  <a:close/>
                  <a:moveTo>
                    <a:pt x="8121" y="3358"/>
                  </a:moveTo>
                  <a:lnTo>
                    <a:pt x="8121" y="4382"/>
                  </a:lnTo>
                  <a:lnTo>
                    <a:pt x="7097" y="4382"/>
                  </a:lnTo>
                  <a:lnTo>
                    <a:pt x="7097" y="3358"/>
                  </a:lnTo>
                  <a:close/>
                  <a:moveTo>
                    <a:pt x="9514" y="3358"/>
                  </a:moveTo>
                  <a:lnTo>
                    <a:pt x="9514" y="4382"/>
                  </a:lnTo>
                  <a:lnTo>
                    <a:pt x="8478" y="4382"/>
                  </a:lnTo>
                  <a:lnTo>
                    <a:pt x="8478" y="3358"/>
                  </a:lnTo>
                  <a:close/>
                  <a:moveTo>
                    <a:pt x="4001" y="4727"/>
                  </a:moveTo>
                  <a:lnTo>
                    <a:pt x="4001" y="4941"/>
                  </a:lnTo>
                  <a:lnTo>
                    <a:pt x="3930" y="4727"/>
                  </a:lnTo>
                  <a:close/>
                  <a:moveTo>
                    <a:pt x="5371" y="4715"/>
                  </a:moveTo>
                  <a:lnTo>
                    <a:pt x="5371" y="5525"/>
                  </a:lnTo>
                  <a:cubicBezTo>
                    <a:pt x="5297" y="5521"/>
                    <a:pt x="5230" y="5520"/>
                    <a:pt x="5167" y="5520"/>
                  </a:cubicBezTo>
                  <a:cubicBezTo>
                    <a:pt x="5049" y="5520"/>
                    <a:pt x="4947" y="5524"/>
                    <a:pt x="4854" y="5524"/>
                  </a:cubicBezTo>
                  <a:cubicBezTo>
                    <a:pt x="4666" y="5524"/>
                    <a:pt x="4516" y="5507"/>
                    <a:pt x="4347" y="5406"/>
                  </a:cubicBezTo>
                  <a:lnTo>
                    <a:pt x="4347" y="4715"/>
                  </a:lnTo>
                  <a:close/>
                  <a:moveTo>
                    <a:pt x="6752" y="4727"/>
                  </a:moveTo>
                  <a:lnTo>
                    <a:pt x="6752" y="5525"/>
                  </a:lnTo>
                  <a:lnTo>
                    <a:pt x="5728" y="5525"/>
                  </a:lnTo>
                  <a:lnTo>
                    <a:pt x="5728" y="4727"/>
                  </a:lnTo>
                  <a:close/>
                  <a:moveTo>
                    <a:pt x="8121" y="4727"/>
                  </a:moveTo>
                  <a:lnTo>
                    <a:pt x="8121" y="5525"/>
                  </a:lnTo>
                  <a:lnTo>
                    <a:pt x="7097" y="5525"/>
                  </a:lnTo>
                  <a:lnTo>
                    <a:pt x="7097" y="4727"/>
                  </a:lnTo>
                  <a:close/>
                  <a:moveTo>
                    <a:pt x="9490" y="4727"/>
                  </a:moveTo>
                  <a:lnTo>
                    <a:pt x="9490" y="5525"/>
                  </a:lnTo>
                  <a:lnTo>
                    <a:pt x="8466" y="5525"/>
                  </a:lnTo>
                  <a:lnTo>
                    <a:pt x="8466" y="4727"/>
                  </a:lnTo>
                  <a:close/>
                  <a:moveTo>
                    <a:pt x="4537" y="8680"/>
                  </a:moveTo>
                  <a:cubicBezTo>
                    <a:pt x="5025" y="8680"/>
                    <a:pt x="5418" y="9085"/>
                    <a:pt x="5418" y="9561"/>
                  </a:cubicBezTo>
                  <a:cubicBezTo>
                    <a:pt x="5418" y="10037"/>
                    <a:pt x="5025" y="10442"/>
                    <a:pt x="4537" y="10442"/>
                  </a:cubicBezTo>
                  <a:cubicBezTo>
                    <a:pt x="4049" y="10442"/>
                    <a:pt x="3656" y="10049"/>
                    <a:pt x="3656" y="9561"/>
                  </a:cubicBezTo>
                  <a:cubicBezTo>
                    <a:pt x="3656" y="9085"/>
                    <a:pt x="4049" y="8680"/>
                    <a:pt x="4537" y="8680"/>
                  </a:cubicBezTo>
                  <a:close/>
                  <a:moveTo>
                    <a:pt x="8692" y="8680"/>
                  </a:moveTo>
                  <a:cubicBezTo>
                    <a:pt x="9181" y="8680"/>
                    <a:pt x="9573" y="9085"/>
                    <a:pt x="9573" y="9561"/>
                  </a:cubicBezTo>
                  <a:cubicBezTo>
                    <a:pt x="9573" y="10037"/>
                    <a:pt x="9181" y="10442"/>
                    <a:pt x="8692" y="10442"/>
                  </a:cubicBezTo>
                  <a:cubicBezTo>
                    <a:pt x="8204" y="10442"/>
                    <a:pt x="7811" y="10049"/>
                    <a:pt x="7811" y="9561"/>
                  </a:cubicBezTo>
                  <a:cubicBezTo>
                    <a:pt x="7811" y="9085"/>
                    <a:pt x="8204" y="8680"/>
                    <a:pt x="8692" y="8680"/>
                  </a:cubicBezTo>
                  <a:close/>
                  <a:moveTo>
                    <a:pt x="620" y="0"/>
                  </a:moveTo>
                  <a:cubicBezTo>
                    <a:pt x="287" y="0"/>
                    <a:pt x="1" y="286"/>
                    <a:pt x="1" y="631"/>
                  </a:cubicBezTo>
                  <a:cubicBezTo>
                    <a:pt x="1" y="976"/>
                    <a:pt x="287" y="1250"/>
                    <a:pt x="620" y="1250"/>
                  </a:cubicBezTo>
                  <a:lnTo>
                    <a:pt x="1394" y="1250"/>
                  </a:lnTo>
                  <a:lnTo>
                    <a:pt x="2346" y="3965"/>
                  </a:lnTo>
                  <a:cubicBezTo>
                    <a:pt x="2374" y="4029"/>
                    <a:pt x="2444" y="4072"/>
                    <a:pt x="2513" y="4072"/>
                  </a:cubicBezTo>
                  <a:cubicBezTo>
                    <a:pt x="2533" y="4072"/>
                    <a:pt x="2553" y="4068"/>
                    <a:pt x="2573" y="4060"/>
                  </a:cubicBezTo>
                  <a:cubicBezTo>
                    <a:pt x="2668" y="4036"/>
                    <a:pt x="2704" y="3929"/>
                    <a:pt x="2680" y="3846"/>
                  </a:cubicBezTo>
                  <a:cubicBezTo>
                    <a:pt x="1739" y="1191"/>
                    <a:pt x="1692" y="1072"/>
                    <a:pt x="1692" y="1072"/>
                  </a:cubicBezTo>
                  <a:cubicBezTo>
                    <a:pt x="1656" y="965"/>
                    <a:pt x="1561" y="905"/>
                    <a:pt x="1441" y="905"/>
                  </a:cubicBezTo>
                  <a:lnTo>
                    <a:pt x="620" y="905"/>
                  </a:lnTo>
                  <a:cubicBezTo>
                    <a:pt x="465" y="905"/>
                    <a:pt x="346" y="774"/>
                    <a:pt x="346" y="631"/>
                  </a:cubicBezTo>
                  <a:cubicBezTo>
                    <a:pt x="346" y="464"/>
                    <a:pt x="477" y="345"/>
                    <a:pt x="620" y="345"/>
                  </a:cubicBezTo>
                  <a:lnTo>
                    <a:pt x="1441" y="345"/>
                  </a:lnTo>
                  <a:cubicBezTo>
                    <a:pt x="1787" y="345"/>
                    <a:pt x="2084" y="536"/>
                    <a:pt x="2215" y="845"/>
                  </a:cubicBezTo>
                  <a:cubicBezTo>
                    <a:pt x="2418" y="1429"/>
                    <a:pt x="3585" y="4703"/>
                    <a:pt x="3751" y="5191"/>
                  </a:cubicBezTo>
                  <a:cubicBezTo>
                    <a:pt x="3870" y="5548"/>
                    <a:pt x="4287" y="5882"/>
                    <a:pt x="4775" y="5882"/>
                  </a:cubicBezTo>
                  <a:lnTo>
                    <a:pt x="10978" y="5882"/>
                  </a:lnTo>
                  <a:cubicBezTo>
                    <a:pt x="11145" y="5882"/>
                    <a:pt x="11264" y="6013"/>
                    <a:pt x="11264" y="6168"/>
                  </a:cubicBezTo>
                  <a:cubicBezTo>
                    <a:pt x="11264" y="6322"/>
                    <a:pt x="11133" y="6441"/>
                    <a:pt x="10978" y="6441"/>
                  </a:cubicBezTo>
                  <a:lnTo>
                    <a:pt x="4775" y="6441"/>
                  </a:lnTo>
                  <a:cubicBezTo>
                    <a:pt x="4108" y="6441"/>
                    <a:pt x="3489" y="6049"/>
                    <a:pt x="3227" y="5417"/>
                  </a:cubicBezTo>
                  <a:lnTo>
                    <a:pt x="2882" y="4453"/>
                  </a:lnTo>
                  <a:cubicBezTo>
                    <a:pt x="2863" y="4377"/>
                    <a:pt x="2791" y="4339"/>
                    <a:pt x="2720" y="4339"/>
                  </a:cubicBezTo>
                  <a:cubicBezTo>
                    <a:pt x="2702" y="4339"/>
                    <a:pt x="2684" y="4341"/>
                    <a:pt x="2668" y="4346"/>
                  </a:cubicBezTo>
                  <a:cubicBezTo>
                    <a:pt x="2573" y="4382"/>
                    <a:pt x="2525" y="4477"/>
                    <a:pt x="2561" y="4572"/>
                  </a:cubicBezTo>
                  <a:cubicBezTo>
                    <a:pt x="2846" y="5275"/>
                    <a:pt x="2846" y="5596"/>
                    <a:pt x="3180" y="6013"/>
                  </a:cubicBezTo>
                  <a:lnTo>
                    <a:pt x="2799" y="6560"/>
                  </a:lnTo>
                  <a:cubicBezTo>
                    <a:pt x="2215" y="7394"/>
                    <a:pt x="2715" y="8549"/>
                    <a:pt x="3716" y="8680"/>
                  </a:cubicBezTo>
                  <a:cubicBezTo>
                    <a:pt x="2918" y="9418"/>
                    <a:pt x="3442" y="10787"/>
                    <a:pt x="4549" y="10787"/>
                  </a:cubicBezTo>
                  <a:cubicBezTo>
                    <a:pt x="5656" y="10787"/>
                    <a:pt x="6168" y="9454"/>
                    <a:pt x="5394" y="8692"/>
                  </a:cubicBezTo>
                  <a:lnTo>
                    <a:pt x="7871" y="8692"/>
                  </a:lnTo>
                  <a:cubicBezTo>
                    <a:pt x="7085" y="9454"/>
                    <a:pt x="7621" y="10787"/>
                    <a:pt x="8716" y="10787"/>
                  </a:cubicBezTo>
                  <a:cubicBezTo>
                    <a:pt x="9823" y="10787"/>
                    <a:pt x="10335" y="9454"/>
                    <a:pt x="9562" y="8692"/>
                  </a:cubicBezTo>
                  <a:lnTo>
                    <a:pt x="9788" y="8692"/>
                  </a:lnTo>
                  <a:cubicBezTo>
                    <a:pt x="10133" y="8692"/>
                    <a:pt x="10419" y="8406"/>
                    <a:pt x="10419" y="8073"/>
                  </a:cubicBezTo>
                  <a:cubicBezTo>
                    <a:pt x="10419" y="7727"/>
                    <a:pt x="10133" y="7442"/>
                    <a:pt x="9788" y="7442"/>
                  </a:cubicBezTo>
                  <a:lnTo>
                    <a:pt x="8228" y="7442"/>
                  </a:lnTo>
                  <a:cubicBezTo>
                    <a:pt x="8133" y="7442"/>
                    <a:pt x="8061" y="7513"/>
                    <a:pt x="8061" y="7608"/>
                  </a:cubicBezTo>
                  <a:cubicBezTo>
                    <a:pt x="8061" y="7692"/>
                    <a:pt x="8133" y="7775"/>
                    <a:pt x="8228" y="7775"/>
                  </a:cubicBezTo>
                  <a:lnTo>
                    <a:pt x="9788" y="7775"/>
                  </a:lnTo>
                  <a:cubicBezTo>
                    <a:pt x="9954" y="7775"/>
                    <a:pt x="10074" y="7906"/>
                    <a:pt x="10074" y="8049"/>
                  </a:cubicBezTo>
                  <a:cubicBezTo>
                    <a:pt x="10074" y="8215"/>
                    <a:pt x="9943" y="8335"/>
                    <a:pt x="9788" y="8335"/>
                  </a:cubicBezTo>
                  <a:lnTo>
                    <a:pt x="3930" y="8335"/>
                  </a:lnTo>
                  <a:cubicBezTo>
                    <a:pt x="3108" y="8335"/>
                    <a:pt x="2620" y="7418"/>
                    <a:pt x="3096" y="6739"/>
                  </a:cubicBezTo>
                  <a:lnTo>
                    <a:pt x="3442" y="6251"/>
                  </a:lnTo>
                  <a:cubicBezTo>
                    <a:pt x="3573" y="6382"/>
                    <a:pt x="3739" y="6489"/>
                    <a:pt x="3906" y="6560"/>
                  </a:cubicBezTo>
                  <a:lnTo>
                    <a:pt x="3573" y="7072"/>
                  </a:lnTo>
                  <a:cubicBezTo>
                    <a:pt x="3358" y="7370"/>
                    <a:pt x="3573" y="7775"/>
                    <a:pt x="3942" y="7775"/>
                  </a:cubicBezTo>
                  <a:lnTo>
                    <a:pt x="7609" y="7775"/>
                  </a:lnTo>
                  <a:cubicBezTo>
                    <a:pt x="7692" y="7775"/>
                    <a:pt x="7764" y="7692"/>
                    <a:pt x="7764" y="7608"/>
                  </a:cubicBezTo>
                  <a:cubicBezTo>
                    <a:pt x="7764" y="7513"/>
                    <a:pt x="7692" y="7442"/>
                    <a:pt x="7609" y="7442"/>
                  </a:cubicBezTo>
                  <a:lnTo>
                    <a:pt x="3942" y="7442"/>
                  </a:lnTo>
                  <a:cubicBezTo>
                    <a:pt x="3847" y="7442"/>
                    <a:pt x="3811" y="7334"/>
                    <a:pt x="3847" y="7263"/>
                  </a:cubicBezTo>
                  <a:lnTo>
                    <a:pt x="4251" y="6703"/>
                  </a:lnTo>
                  <a:cubicBezTo>
                    <a:pt x="4465" y="6762"/>
                    <a:pt x="4535" y="6775"/>
                    <a:pt x="5134" y="6775"/>
                  </a:cubicBezTo>
                  <a:cubicBezTo>
                    <a:pt x="5630" y="6775"/>
                    <a:pt x="6490" y="6766"/>
                    <a:pt x="8097" y="6766"/>
                  </a:cubicBezTo>
                  <a:cubicBezTo>
                    <a:pt x="8881" y="6766"/>
                    <a:pt x="9842" y="6768"/>
                    <a:pt x="11026" y="6775"/>
                  </a:cubicBezTo>
                  <a:cubicBezTo>
                    <a:pt x="11371" y="6775"/>
                    <a:pt x="11645" y="6489"/>
                    <a:pt x="11645" y="6144"/>
                  </a:cubicBezTo>
                  <a:cubicBezTo>
                    <a:pt x="11598" y="5810"/>
                    <a:pt x="11312" y="5525"/>
                    <a:pt x="10966" y="5525"/>
                  </a:cubicBezTo>
                  <a:lnTo>
                    <a:pt x="10788" y="5525"/>
                  </a:lnTo>
                  <a:lnTo>
                    <a:pt x="11598" y="2048"/>
                  </a:lnTo>
                  <a:cubicBezTo>
                    <a:pt x="11740" y="1393"/>
                    <a:pt x="11252" y="762"/>
                    <a:pt x="10562" y="762"/>
                  </a:cubicBezTo>
                  <a:lnTo>
                    <a:pt x="7252" y="762"/>
                  </a:lnTo>
                  <a:cubicBezTo>
                    <a:pt x="7156" y="762"/>
                    <a:pt x="7085" y="834"/>
                    <a:pt x="7085" y="929"/>
                  </a:cubicBezTo>
                  <a:cubicBezTo>
                    <a:pt x="7085" y="1012"/>
                    <a:pt x="7156" y="1096"/>
                    <a:pt x="7252" y="1096"/>
                  </a:cubicBezTo>
                  <a:lnTo>
                    <a:pt x="10562" y="1096"/>
                  </a:lnTo>
                  <a:cubicBezTo>
                    <a:pt x="11026" y="1096"/>
                    <a:pt x="11359" y="1524"/>
                    <a:pt x="11252" y="1953"/>
                  </a:cubicBezTo>
                  <a:lnTo>
                    <a:pt x="10431" y="5525"/>
                  </a:lnTo>
                  <a:lnTo>
                    <a:pt x="9847" y="5525"/>
                  </a:lnTo>
                  <a:cubicBezTo>
                    <a:pt x="9943" y="5144"/>
                    <a:pt x="10585" y="2369"/>
                    <a:pt x="10705" y="1869"/>
                  </a:cubicBezTo>
                  <a:cubicBezTo>
                    <a:pt x="10728" y="1762"/>
                    <a:pt x="10645" y="1655"/>
                    <a:pt x="10538" y="1655"/>
                  </a:cubicBezTo>
                  <a:lnTo>
                    <a:pt x="2858" y="1655"/>
                  </a:lnTo>
                  <a:lnTo>
                    <a:pt x="2668" y="1096"/>
                  </a:lnTo>
                  <a:lnTo>
                    <a:pt x="6621" y="1096"/>
                  </a:lnTo>
                  <a:cubicBezTo>
                    <a:pt x="6716" y="1096"/>
                    <a:pt x="6787" y="1012"/>
                    <a:pt x="6787" y="929"/>
                  </a:cubicBezTo>
                  <a:cubicBezTo>
                    <a:pt x="6787" y="834"/>
                    <a:pt x="6716" y="762"/>
                    <a:pt x="6621" y="762"/>
                  </a:cubicBezTo>
                  <a:lnTo>
                    <a:pt x="2549" y="762"/>
                  </a:lnTo>
                  <a:cubicBezTo>
                    <a:pt x="2394" y="334"/>
                    <a:pt x="1965"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07" name="Google Shape;9907;p58"/>
          <p:cNvGrpSpPr/>
          <p:nvPr/>
        </p:nvGrpSpPr>
        <p:grpSpPr>
          <a:xfrm>
            <a:off x="3079916" y="2744477"/>
            <a:ext cx="332729" cy="372518"/>
            <a:chOff x="3079916" y="2744477"/>
            <a:chExt cx="332729" cy="372518"/>
          </a:xfrm>
        </p:grpSpPr>
        <p:sp>
          <p:nvSpPr>
            <p:cNvPr id="9908" name="Google Shape;9908;p58"/>
            <p:cNvSpPr/>
            <p:nvPr/>
          </p:nvSpPr>
          <p:spPr>
            <a:xfrm>
              <a:off x="3079916" y="2840504"/>
              <a:ext cx="313454" cy="276491"/>
            </a:xfrm>
            <a:custGeom>
              <a:avLst/>
              <a:gdLst/>
              <a:ahLst/>
              <a:cxnLst/>
              <a:rect l="l" t="t" r="r" b="b"/>
              <a:pathLst>
                <a:path w="9871" h="8707" extrusionOk="0">
                  <a:moveTo>
                    <a:pt x="2993" y="1"/>
                  </a:moveTo>
                  <a:cubicBezTo>
                    <a:pt x="2768" y="1"/>
                    <a:pt x="2560" y="25"/>
                    <a:pt x="2370" y="74"/>
                  </a:cubicBezTo>
                  <a:cubicBezTo>
                    <a:pt x="1739" y="241"/>
                    <a:pt x="1179" y="646"/>
                    <a:pt x="750" y="1205"/>
                  </a:cubicBezTo>
                  <a:cubicBezTo>
                    <a:pt x="250" y="1860"/>
                    <a:pt x="0" y="2694"/>
                    <a:pt x="0" y="3622"/>
                  </a:cubicBezTo>
                  <a:cubicBezTo>
                    <a:pt x="0" y="4575"/>
                    <a:pt x="429" y="5825"/>
                    <a:pt x="1120" y="6896"/>
                  </a:cubicBezTo>
                  <a:cubicBezTo>
                    <a:pt x="1882" y="8039"/>
                    <a:pt x="2751" y="8706"/>
                    <a:pt x="3525" y="8706"/>
                  </a:cubicBezTo>
                  <a:cubicBezTo>
                    <a:pt x="3846" y="8706"/>
                    <a:pt x="4156" y="8670"/>
                    <a:pt x="4441" y="8575"/>
                  </a:cubicBezTo>
                  <a:cubicBezTo>
                    <a:pt x="4596" y="8534"/>
                    <a:pt x="4760" y="8513"/>
                    <a:pt x="4924" y="8513"/>
                  </a:cubicBezTo>
                  <a:cubicBezTo>
                    <a:pt x="5087" y="8513"/>
                    <a:pt x="5251" y="8534"/>
                    <a:pt x="5406" y="8575"/>
                  </a:cubicBezTo>
                  <a:cubicBezTo>
                    <a:pt x="5703" y="8670"/>
                    <a:pt x="6013" y="8706"/>
                    <a:pt x="6311" y="8706"/>
                  </a:cubicBezTo>
                  <a:cubicBezTo>
                    <a:pt x="7085" y="8706"/>
                    <a:pt x="7978" y="8051"/>
                    <a:pt x="8728" y="6896"/>
                  </a:cubicBezTo>
                  <a:cubicBezTo>
                    <a:pt x="9418" y="5837"/>
                    <a:pt x="9835" y="4587"/>
                    <a:pt x="9835" y="3622"/>
                  </a:cubicBezTo>
                  <a:cubicBezTo>
                    <a:pt x="9871" y="2920"/>
                    <a:pt x="9716" y="2301"/>
                    <a:pt x="9454" y="1753"/>
                  </a:cubicBezTo>
                  <a:cubicBezTo>
                    <a:pt x="9420" y="1677"/>
                    <a:pt x="9351" y="1637"/>
                    <a:pt x="9275" y="1637"/>
                  </a:cubicBezTo>
                  <a:cubicBezTo>
                    <a:pt x="9244" y="1637"/>
                    <a:pt x="9211" y="1644"/>
                    <a:pt x="9180" y="1658"/>
                  </a:cubicBezTo>
                  <a:cubicBezTo>
                    <a:pt x="9085" y="1705"/>
                    <a:pt x="9049" y="1824"/>
                    <a:pt x="9097" y="1932"/>
                  </a:cubicBezTo>
                  <a:cubicBezTo>
                    <a:pt x="9347" y="2420"/>
                    <a:pt x="9466" y="3003"/>
                    <a:pt x="9466" y="3622"/>
                  </a:cubicBezTo>
                  <a:cubicBezTo>
                    <a:pt x="9466" y="4503"/>
                    <a:pt x="9061" y="5682"/>
                    <a:pt x="8406" y="6670"/>
                  </a:cubicBezTo>
                  <a:cubicBezTo>
                    <a:pt x="7739" y="7694"/>
                    <a:pt x="6966" y="8313"/>
                    <a:pt x="6323" y="8313"/>
                  </a:cubicBezTo>
                  <a:cubicBezTo>
                    <a:pt x="6061" y="8313"/>
                    <a:pt x="5775" y="8266"/>
                    <a:pt x="5525" y="8194"/>
                  </a:cubicBezTo>
                  <a:cubicBezTo>
                    <a:pt x="5328" y="8135"/>
                    <a:pt x="5126" y="8105"/>
                    <a:pt x="4925" y="8105"/>
                  </a:cubicBezTo>
                  <a:cubicBezTo>
                    <a:pt x="4724" y="8105"/>
                    <a:pt x="4525" y="8135"/>
                    <a:pt x="4334" y="8194"/>
                  </a:cubicBezTo>
                  <a:cubicBezTo>
                    <a:pt x="4084" y="8266"/>
                    <a:pt x="3798" y="8313"/>
                    <a:pt x="3525" y="8313"/>
                  </a:cubicBezTo>
                  <a:cubicBezTo>
                    <a:pt x="2894" y="8313"/>
                    <a:pt x="2120" y="7694"/>
                    <a:pt x="1441" y="6670"/>
                  </a:cubicBezTo>
                  <a:cubicBezTo>
                    <a:pt x="786" y="5682"/>
                    <a:pt x="393" y="4503"/>
                    <a:pt x="393" y="3622"/>
                  </a:cubicBezTo>
                  <a:cubicBezTo>
                    <a:pt x="393" y="2789"/>
                    <a:pt x="631" y="2039"/>
                    <a:pt x="1060" y="1443"/>
                  </a:cubicBezTo>
                  <a:cubicBezTo>
                    <a:pt x="1429" y="955"/>
                    <a:pt x="1941" y="598"/>
                    <a:pt x="2453" y="467"/>
                  </a:cubicBezTo>
                  <a:cubicBezTo>
                    <a:pt x="2608" y="425"/>
                    <a:pt x="2783" y="405"/>
                    <a:pt x="2975" y="405"/>
                  </a:cubicBezTo>
                  <a:cubicBezTo>
                    <a:pt x="3270" y="405"/>
                    <a:pt x="3605" y="452"/>
                    <a:pt x="3965" y="539"/>
                  </a:cubicBezTo>
                  <a:cubicBezTo>
                    <a:pt x="4025" y="550"/>
                    <a:pt x="4096" y="574"/>
                    <a:pt x="4156" y="586"/>
                  </a:cubicBezTo>
                  <a:cubicBezTo>
                    <a:pt x="4165" y="587"/>
                    <a:pt x="4174" y="588"/>
                    <a:pt x="4183" y="588"/>
                  </a:cubicBezTo>
                  <a:cubicBezTo>
                    <a:pt x="4278" y="588"/>
                    <a:pt x="4361" y="529"/>
                    <a:pt x="4394" y="431"/>
                  </a:cubicBezTo>
                  <a:cubicBezTo>
                    <a:pt x="4406" y="336"/>
                    <a:pt x="4346" y="229"/>
                    <a:pt x="4239" y="193"/>
                  </a:cubicBezTo>
                  <a:lnTo>
                    <a:pt x="4060" y="158"/>
                  </a:lnTo>
                  <a:cubicBezTo>
                    <a:pt x="3674" y="52"/>
                    <a:pt x="3316" y="1"/>
                    <a:pt x="29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9" name="Google Shape;9909;p58"/>
            <p:cNvSpPr/>
            <p:nvPr/>
          </p:nvSpPr>
          <p:spPr>
            <a:xfrm>
              <a:off x="3244375" y="2840250"/>
              <a:ext cx="124416" cy="45727"/>
            </a:xfrm>
            <a:custGeom>
              <a:avLst/>
              <a:gdLst/>
              <a:ahLst/>
              <a:cxnLst/>
              <a:rect l="l" t="t" r="r" b="b"/>
              <a:pathLst>
                <a:path w="3918" h="1440" extrusionOk="0">
                  <a:moveTo>
                    <a:pt x="1721" y="0"/>
                  </a:moveTo>
                  <a:cubicBezTo>
                    <a:pt x="1391" y="0"/>
                    <a:pt x="1027" y="53"/>
                    <a:pt x="632" y="154"/>
                  </a:cubicBezTo>
                  <a:cubicBezTo>
                    <a:pt x="477" y="189"/>
                    <a:pt x="334" y="213"/>
                    <a:pt x="191" y="237"/>
                  </a:cubicBezTo>
                  <a:cubicBezTo>
                    <a:pt x="96" y="249"/>
                    <a:pt x="1" y="356"/>
                    <a:pt x="12" y="463"/>
                  </a:cubicBezTo>
                  <a:cubicBezTo>
                    <a:pt x="35" y="563"/>
                    <a:pt x="120" y="643"/>
                    <a:pt x="218" y="643"/>
                  </a:cubicBezTo>
                  <a:cubicBezTo>
                    <a:pt x="225" y="643"/>
                    <a:pt x="232" y="643"/>
                    <a:pt x="239" y="642"/>
                  </a:cubicBezTo>
                  <a:cubicBezTo>
                    <a:pt x="405" y="630"/>
                    <a:pt x="572" y="582"/>
                    <a:pt x="727" y="547"/>
                  </a:cubicBezTo>
                  <a:cubicBezTo>
                    <a:pt x="1080" y="460"/>
                    <a:pt x="1412" y="413"/>
                    <a:pt x="1708" y="413"/>
                  </a:cubicBezTo>
                  <a:cubicBezTo>
                    <a:pt x="1901" y="413"/>
                    <a:pt x="2079" y="433"/>
                    <a:pt x="2239" y="475"/>
                  </a:cubicBezTo>
                  <a:cubicBezTo>
                    <a:pt x="2727" y="606"/>
                    <a:pt x="3203" y="928"/>
                    <a:pt x="3561" y="1368"/>
                  </a:cubicBezTo>
                  <a:cubicBezTo>
                    <a:pt x="3608" y="1416"/>
                    <a:pt x="3668" y="1439"/>
                    <a:pt x="3703" y="1439"/>
                  </a:cubicBezTo>
                  <a:cubicBezTo>
                    <a:pt x="3751" y="1439"/>
                    <a:pt x="3799" y="1428"/>
                    <a:pt x="3822" y="1404"/>
                  </a:cubicBezTo>
                  <a:cubicBezTo>
                    <a:pt x="3918" y="1309"/>
                    <a:pt x="3918" y="1189"/>
                    <a:pt x="3858" y="1106"/>
                  </a:cubicBezTo>
                  <a:cubicBezTo>
                    <a:pt x="3441" y="594"/>
                    <a:pt x="2894" y="225"/>
                    <a:pt x="2322" y="70"/>
                  </a:cubicBezTo>
                  <a:cubicBezTo>
                    <a:pt x="2138" y="23"/>
                    <a:pt x="1937" y="0"/>
                    <a:pt x="17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0" name="Google Shape;9910;p58"/>
            <p:cNvSpPr/>
            <p:nvPr/>
          </p:nvSpPr>
          <p:spPr>
            <a:xfrm>
              <a:off x="3198267" y="2744477"/>
              <a:ext cx="214378" cy="145279"/>
            </a:xfrm>
            <a:custGeom>
              <a:avLst/>
              <a:gdLst/>
              <a:ahLst/>
              <a:cxnLst/>
              <a:rect l="l" t="t" r="r" b="b"/>
              <a:pathLst>
                <a:path w="6751" h="4575" extrusionOk="0">
                  <a:moveTo>
                    <a:pt x="4113" y="1"/>
                  </a:moveTo>
                  <a:cubicBezTo>
                    <a:pt x="3977" y="1"/>
                    <a:pt x="3841" y="10"/>
                    <a:pt x="3703" y="26"/>
                  </a:cubicBezTo>
                  <a:cubicBezTo>
                    <a:pt x="3060" y="74"/>
                    <a:pt x="2500" y="407"/>
                    <a:pt x="2060" y="1026"/>
                  </a:cubicBezTo>
                  <a:cubicBezTo>
                    <a:pt x="1786" y="1407"/>
                    <a:pt x="1643" y="1777"/>
                    <a:pt x="1607" y="1884"/>
                  </a:cubicBezTo>
                  <a:lnTo>
                    <a:pt x="1083" y="2693"/>
                  </a:lnTo>
                  <a:cubicBezTo>
                    <a:pt x="929" y="2241"/>
                    <a:pt x="786" y="1955"/>
                    <a:pt x="774" y="1943"/>
                  </a:cubicBezTo>
                  <a:cubicBezTo>
                    <a:pt x="742" y="1871"/>
                    <a:pt x="666" y="1837"/>
                    <a:pt x="595" y="1837"/>
                  </a:cubicBezTo>
                  <a:cubicBezTo>
                    <a:pt x="560" y="1837"/>
                    <a:pt x="527" y="1844"/>
                    <a:pt x="500" y="1860"/>
                  </a:cubicBezTo>
                  <a:cubicBezTo>
                    <a:pt x="393" y="1896"/>
                    <a:pt x="369" y="2039"/>
                    <a:pt x="417" y="2122"/>
                  </a:cubicBezTo>
                  <a:cubicBezTo>
                    <a:pt x="417" y="2134"/>
                    <a:pt x="869" y="3015"/>
                    <a:pt x="964" y="4158"/>
                  </a:cubicBezTo>
                  <a:cubicBezTo>
                    <a:pt x="810" y="4146"/>
                    <a:pt x="667" y="4098"/>
                    <a:pt x="560" y="4063"/>
                  </a:cubicBezTo>
                  <a:cubicBezTo>
                    <a:pt x="429" y="4003"/>
                    <a:pt x="381" y="3944"/>
                    <a:pt x="381" y="3920"/>
                  </a:cubicBezTo>
                  <a:cubicBezTo>
                    <a:pt x="381" y="3824"/>
                    <a:pt x="286" y="3729"/>
                    <a:pt x="191" y="3729"/>
                  </a:cubicBezTo>
                  <a:cubicBezTo>
                    <a:pt x="83" y="3729"/>
                    <a:pt x="0" y="3824"/>
                    <a:pt x="0" y="3920"/>
                  </a:cubicBezTo>
                  <a:cubicBezTo>
                    <a:pt x="0" y="4039"/>
                    <a:pt x="60" y="4265"/>
                    <a:pt x="393" y="4432"/>
                  </a:cubicBezTo>
                  <a:cubicBezTo>
                    <a:pt x="607" y="4515"/>
                    <a:pt x="893" y="4575"/>
                    <a:pt x="1191" y="4575"/>
                  </a:cubicBezTo>
                  <a:cubicBezTo>
                    <a:pt x="1488" y="4575"/>
                    <a:pt x="1750" y="4515"/>
                    <a:pt x="1976" y="4432"/>
                  </a:cubicBezTo>
                  <a:cubicBezTo>
                    <a:pt x="2334" y="4265"/>
                    <a:pt x="2381" y="4039"/>
                    <a:pt x="2381" y="3920"/>
                  </a:cubicBezTo>
                  <a:cubicBezTo>
                    <a:pt x="2381" y="3824"/>
                    <a:pt x="2286" y="3729"/>
                    <a:pt x="2179" y="3729"/>
                  </a:cubicBezTo>
                  <a:cubicBezTo>
                    <a:pt x="2084" y="3729"/>
                    <a:pt x="1988" y="3824"/>
                    <a:pt x="1988" y="3920"/>
                  </a:cubicBezTo>
                  <a:cubicBezTo>
                    <a:pt x="1988" y="3944"/>
                    <a:pt x="1941" y="4003"/>
                    <a:pt x="1810" y="4063"/>
                  </a:cubicBezTo>
                  <a:cubicBezTo>
                    <a:pt x="1691" y="4122"/>
                    <a:pt x="1548" y="4146"/>
                    <a:pt x="1381" y="4158"/>
                  </a:cubicBezTo>
                  <a:cubicBezTo>
                    <a:pt x="1345" y="3801"/>
                    <a:pt x="1286" y="3479"/>
                    <a:pt x="1226" y="3193"/>
                  </a:cubicBezTo>
                  <a:lnTo>
                    <a:pt x="1917" y="2158"/>
                  </a:lnTo>
                  <a:cubicBezTo>
                    <a:pt x="1941" y="2158"/>
                    <a:pt x="1976" y="2169"/>
                    <a:pt x="2048" y="2181"/>
                  </a:cubicBezTo>
                  <a:cubicBezTo>
                    <a:pt x="2167" y="2229"/>
                    <a:pt x="2334" y="2312"/>
                    <a:pt x="2512" y="2420"/>
                  </a:cubicBezTo>
                  <a:cubicBezTo>
                    <a:pt x="2977" y="2693"/>
                    <a:pt x="3584" y="3027"/>
                    <a:pt x="4251" y="3027"/>
                  </a:cubicBezTo>
                  <a:cubicBezTo>
                    <a:pt x="4477" y="3027"/>
                    <a:pt x="4715" y="2991"/>
                    <a:pt x="4953" y="2896"/>
                  </a:cubicBezTo>
                  <a:cubicBezTo>
                    <a:pt x="6441" y="2312"/>
                    <a:pt x="6739" y="431"/>
                    <a:pt x="6739" y="348"/>
                  </a:cubicBezTo>
                  <a:cubicBezTo>
                    <a:pt x="6751" y="312"/>
                    <a:pt x="6727" y="229"/>
                    <a:pt x="6644" y="193"/>
                  </a:cubicBezTo>
                  <a:cubicBezTo>
                    <a:pt x="6614" y="169"/>
                    <a:pt x="6578" y="157"/>
                    <a:pt x="6541" y="157"/>
                  </a:cubicBezTo>
                  <a:cubicBezTo>
                    <a:pt x="6504" y="157"/>
                    <a:pt x="6465" y="169"/>
                    <a:pt x="6429" y="193"/>
                  </a:cubicBezTo>
                  <a:cubicBezTo>
                    <a:pt x="6298" y="275"/>
                    <a:pt x="6157" y="307"/>
                    <a:pt x="5995" y="307"/>
                  </a:cubicBezTo>
                  <a:cubicBezTo>
                    <a:pt x="5805" y="307"/>
                    <a:pt x="5586" y="263"/>
                    <a:pt x="5322" y="205"/>
                  </a:cubicBezTo>
                  <a:cubicBezTo>
                    <a:pt x="5274" y="193"/>
                    <a:pt x="5239" y="193"/>
                    <a:pt x="5191" y="169"/>
                  </a:cubicBezTo>
                  <a:cubicBezTo>
                    <a:pt x="5177" y="166"/>
                    <a:pt x="5163" y="165"/>
                    <a:pt x="5149" y="165"/>
                  </a:cubicBezTo>
                  <a:cubicBezTo>
                    <a:pt x="5057" y="165"/>
                    <a:pt x="4974" y="231"/>
                    <a:pt x="4953" y="324"/>
                  </a:cubicBezTo>
                  <a:cubicBezTo>
                    <a:pt x="4917" y="431"/>
                    <a:pt x="5001" y="526"/>
                    <a:pt x="5096" y="562"/>
                  </a:cubicBezTo>
                  <a:cubicBezTo>
                    <a:pt x="5144" y="574"/>
                    <a:pt x="5191" y="574"/>
                    <a:pt x="5239" y="586"/>
                  </a:cubicBezTo>
                  <a:cubicBezTo>
                    <a:pt x="5513" y="648"/>
                    <a:pt x="5761" y="703"/>
                    <a:pt x="6002" y="703"/>
                  </a:cubicBezTo>
                  <a:cubicBezTo>
                    <a:pt x="6085" y="703"/>
                    <a:pt x="6168" y="697"/>
                    <a:pt x="6251" y="681"/>
                  </a:cubicBezTo>
                  <a:lnTo>
                    <a:pt x="6251" y="681"/>
                  </a:lnTo>
                  <a:cubicBezTo>
                    <a:pt x="6096" y="1217"/>
                    <a:pt x="5691" y="2217"/>
                    <a:pt x="4786" y="2550"/>
                  </a:cubicBezTo>
                  <a:cubicBezTo>
                    <a:pt x="4600" y="2622"/>
                    <a:pt x="4417" y="2652"/>
                    <a:pt x="4237" y="2652"/>
                  </a:cubicBezTo>
                  <a:cubicBezTo>
                    <a:pt x="3671" y="2652"/>
                    <a:pt x="3146" y="2351"/>
                    <a:pt x="2703" y="2098"/>
                  </a:cubicBezTo>
                  <a:cubicBezTo>
                    <a:pt x="2465" y="1955"/>
                    <a:pt x="2262" y="1836"/>
                    <a:pt x="2084" y="1777"/>
                  </a:cubicBezTo>
                  <a:cubicBezTo>
                    <a:pt x="2286" y="1336"/>
                    <a:pt x="2810" y="503"/>
                    <a:pt x="3727" y="431"/>
                  </a:cubicBezTo>
                  <a:cubicBezTo>
                    <a:pt x="3850" y="420"/>
                    <a:pt x="3970" y="415"/>
                    <a:pt x="4092" y="415"/>
                  </a:cubicBezTo>
                  <a:cubicBezTo>
                    <a:pt x="4241" y="415"/>
                    <a:pt x="4391" y="423"/>
                    <a:pt x="4548" y="443"/>
                  </a:cubicBezTo>
                  <a:cubicBezTo>
                    <a:pt x="4556" y="444"/>
                    <a:pt x="4564" y="444"/>
                    <a:pt x="4571" y="444"/>
                  </a:cubicBezTo>
                  <a:cubicBezTo>
                    <a:pt x="4670" y="444"/>
                    <a:pt x="4763" y="375"/>
                    <a:pt x="4774" y="264"/>
                  </a:cubicBezTo>
                  <a:cubicBezTo>
                    <a:pt x="4786" y="157"/>
                    <a:pt x="4715" y="50"/>
                    <a:pt x="4596" y="38"/>
                  </a:cubicBezTo>
                  <a:cubicBezTo>
                    <a:pt x="4430" y="13"/>
                    <a:pt x="4271" y="1"/>
                    <a:pt x="41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1" name="Google Shape;9911;p58"/>
          <p:cNvGrpSpPr/>
          <p:nvPr/>
        </p:nvGrpSpPr>
        <p:grpSpPr>
          <a:xfrm>
            <a:off x="3620576" y="2745525"/>
            <a:ext cx="336889" cy="355592"/>
            <a:chOff x="3620576" y="2745525"/>
            <a:chExt cx="336889" cy="355592"/>
          </a:xfrm>
        </p:grpSpPr>
        <p:sp>
          <p:nvSpPr>
            <p:cNvPr id="9912" name="Google Shape;9912;p58"/>
            <p:cNvSpPr/>
            <p:nvPr/>
          </p:nvSpPr>
          <p:spPr>
            <a:xfrm>
              <a:off x="3620576" y="2745525"/>
              <a:ext cx="336889" cy="355592"/>
            </a:xfrm>
            <a:custGeom>
              <a:avLst/>
              <a:gdLst/>
              <a:ahLst/>
              <a:cxnLst/>
              <a:rect l="l" t="t" r="r" b="b"/>
              <a:pathLst>
                <a:path w="10609" h="11198" extrusionOk="0">
                  <a:moveTo>
                    <a:pt x="9856" y="0"/>
                  </a:moveTo>
                  <a:cubicBezTo>
                    <a:pt x="9825" y="0"/>
                    <a:pt x="9794" y="2"/>
                    <a:pt x="9763" y="5"/>
                  </a:cubicBezTo>
                  <a:lnTo>
                    <a:pt x="3310" y="1148"/>
                  </a:lnTo>
                  <a:cubicBezTo>
                    <a:pt x="2965" y="1208"/>
                    <a:pt x="2691" y="1505"/>
                    <a:pt x="2691" y="1863"/>
                  </a:cubicBezTo>
                  <a:lnTo>
                    <a:pt x="2691" y="7161"/>
                  </a:lnTo>
                  <a:cubicBezTo>
                    <a:pt x="2512" y="7101"/>
                    <a:pt x="2324" y="7075"/>
                    <a:pt x="2134" y="7075"/>
                  </a:cubicBezTo>
                  <a:cubicBezTo>
                    <a:pt x="2098" y="7075"/>
                    <a:pt x="2061" y="7076"/>
                    <a:pt x="2024" y="7078"/>
                  </a:cubicBezTo>
                  <a:cubicBezTo>
                    <a:pt x="1489" y="7089"/>
                    <a:pt x="1000" y="7304"/>
                    <a:pt x="608" y="7685"/>
                  </a:cubicBezTo>
                  <a:cubicBezTo>
                    <a:pt x="238" y="8078"/>
                    <a:pt x="12" y="8566"/>
                    <a:pt x="12" y="9102"/>
                  </a:cubicBezTo>
                  <a:cubicBezTo>
                    <a:pt x="0" y="9661"/>
                    <a:pt x="227" y="10185"/>
                    <a:pt x="608" y="10590"/>
                  </a:cubicBezTo>
                  <a:cubicBezTo>
                    <a:pt x="1000" y="10971"/>
                    <a:pt x="1524" y="11197"/>
                    <a:pt x="2072" y="11197"/>
                  </a:cubicBezTo>
                  <a:lnTo>
                    <a:pt x="2096" y="11197"/>
                  </a:lnTo>
                  <a:cubicBezTo>
                    <a:pt x="3215" y="11185"/>
                    <a:pt x="4120" y="10245"/>
                    <a:pt x="4120" y="9114"/>
                  </a:cubicBezTo>
                  <a:lnTo>
                    <a:pt x="4120" y="4934"/>
                  </a:lnTo>
                  <a:cubicBezTo>
                    <a:pt x="4120" y="4827"/>
                    <a:pt x="4037" y="4744"/>
                    <a:pt x="3929" y="4744"/>
                  </a:cubicBezTo>
                  <a:cubicBezTo>
                    <a:pt x="3822" y="4744"/>
                    <a:pt x="3739" y="4827"/>
                    <a:pt x="3739" y="4934"/>
                  </a:cubicBezTo>
                  <a:lnTo>
                    <a:pt x="3739" y="9114"/>
                  </a:lnTo>
                  <a:cubicBezTo>
                    <a:pt x="3739" y="10042"/>
                    <a:pt x="3013" y="10780"/>
                    <a:pt x="2096" y="10792"/>
                  </a:cubicBezTo>
                  <a:lnTo>
                    <a:pt x="2072" y="10792"/>
                  </a:lnTo>
                  <a:cubicBezTo>
                    <a:pt x="1620" y="10792"/>
                    <a:pt x="1203" y="10614"/>
                    <a:pt x="893" y="10304"/>
                  </a:cubicBezTo>
                  <a:cubicBezTo>
                    <a:pt x="572" y="9983"/>
                    <a:pt x="405" y="9566"/>
                    <a:pt x="405" y="9102"/>
                  </a:cubicBezTo>
                  <a:cubicBezTo>
                    <a:pt x="417" y="8221"/>
                    <a:pt x="1143" y="7494"/>
                    <a:pt x="2024" y="7482"/>
                  </a:cubicBezTo>
                  <a:cubicBezTo>
                    <a:pt x="2298" y="7482"/>
                    <a:pt x="2560" y="7518"/>
                    <a:pt x="2798" y="7637"/>
                  </a:cubicBezTo>
                  <a:cubicBezTo>
                    <a:pt x="2826" y="7654"/>
                    <a:pt x="2856" y="7663"/>
                    <a:pt x="2886" y="7663"/>
                  </a:cubicBezTo>
                  <a:cubicBezTo>
                    <a:pt x="2922" y="7663"/>
                    <a:pt x="2957" y="7651"/>
                    <a:pt x="2989" y="7625"/>
                  </a:cubicBezTo>
                  <a:cubicBezTo>
                    <a:pt x="3048" y="7601"/>
                    <a:pt x="3084" y="7518"/>
                    <a:pt x="3084" y="7459"/>
                  </a:cubicBezTo>
                  <a:lnTo>
                    <a:pt x="3084" y="1863"/>
                  </a:lnTo>
                  <a:cubicBezTo>
                    <a:pt x="3084" y="1708"/>
                    <a:pt x="3203" y="1565"/>
                    <a:pt x="3346" y="1541"/>
                  </a:cubicBezTo>
                  <a:lnTo>
                    <a:pt x="9811" y="398"/>
                  </a:lnTo>
                  <a:cubicBezTo>
                    <a:pt x="9834" y="393"/>
                    <a:pt x="9856" y="391"/>
                    <a:pt x="9877" y="391"/>
                  </a:cubicBezTo>
                  <a:cubicBezTo>
                    <a:pt x="9953" y="391"/>
                    <a:pt x="10017" y="423"/>
                    <a:pt x="10073" y="470"/>
                  </a:cubicBezTo>
                  <a:cubicBezTo>
                    <a:pt x="10156" y="529"/>
                    <a:pt x="10192" y="612"/>
                    <a:pt x="10192" y="720"/>
                  </a:cubicBezTo>
                  <a:lnTo>
                    <a:pt x="10192" y="2910"/>
                  </a:lnTo>
                  <a:cubicBezTo>
                    <a:pt x="10192" y="3018"/>
                    <a:pt x="10287" y="3101"/>
                    <a:pt x="10394" y="3101"/>
                  </a:cubicBezTo>
                  <a:cubicBezTo>
                    <a:pt x="10490" y="3101"/>
                    <a:pt x="10585" y="3018"/>
                    <a:pt x="10585" y="2910"/>
                  </a:cubicBezTo>
                  <a:lnTo>
                    <a:pt x="10585" y="720"/>
                  </a:lnTo>
                  <a:cubicBezTo>
                    <a:pt x="10609" y="529"/>
                    <a:pt x="10525" y="315"/>
                    <a:pt x="10359" y="172"/>
                  </a:cubicBezTo>
                  <a:cubicBezTo>
                    <a:pt x="10216" y="60"/>
                    <a:pt x="10039" y="0"/>
                    <a:pt x="98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3" name="Google Shape;9913;p58"/>
            <p:cNvSpPr/>
            <p:nvPr/>
          </p:nvSpPr>
          <p:spPr>
            <a:xfrm>
              <a:off x="3738896" y="2800747"/>
              <a:ext cx="218570" cy="258771"/>
            </a:xfrm>
            <a:custGeom>
              <a:avLst/>
              <a:gdLst/>
              <a:ahLst/>
              <a:cxnLst/>
              <a:rect l="l" t="t" r="r" b="b"/>
              <a:pathLst>
                <a:path w="6883" h="8149" extrusionOk="0">
                  <a:moveTo>
                    <a:pt x="5651" y="0"/>
                  </a:moveTo>
                  <a:cubicBezTo>
                    <a:pt x="5637" y="0"/>
                    <a:pt x="5623" y="2"/>
                    <a:pt x="5609" y="5"/>
                  </a:cubicBezTo>
                  <a:lnTo>
                    <a:pt x="156" y="981"/>
                  </a:lnTo>
                  <a:cubicBezTo>
                    <a:pt x="72" y="993"/>
                    <a:pt x="1" y="1076"/>
                    <a:pt x="1" y="1171"/>
                  </a:cubicBezTo>
                  <a:lnTo>
                    <a:pt x="1" y="2267"/>
                  </a:lnTo>
                  <a:cubicBezTo>
                    <a:pt x="1" y="2374"/>
                    <a:pt x="84" y="2469"/>
                    <a:pt x="191" y="2469"/>
                  </a:cubicBezTo>
                  <a:cubicBezTo>
                    <a:pt x="287" y="2469"/>
                    <a:pt x="382" y="2374"/>
                    <a:pt x="382" y="2267"/>
                  </a:cubicBezTo>
                  <a:lnTo>
                    <a:pt x="382" y="1338"/>
                  </a:lnTo>
                  <a:lnTo>
                    <a:pt x="5430" y="445"/>
                  </a:lnTo>
                  <a:lnTo>
                    <a:pt x="5430" y="4112"/>
                  </a:lnTo>
                  <a:cubicBezTo>
                    <a:pt x="5241" y="4052"/>
                    <a:pt x="5051" y="4026"/>
                    <a:pt x="4862" y="4026"/>
                  </a:cubicBezTo>
                  <a:cubicBezTo>
                    <a:pt x="4825" y="4026"/>
                    <a:pt x="4788" y="4027"/>
                    <a:pt x="4752" y="4029"/>
                  </a:cubicBezTo>
                  <a:cubicBezTo>
                    <a:pt x="4216" y="4041"/>
                    <a:pt x="3728" y="4243"/>
                    <a:pt x="3347" y="4636"/>
                  </a:cubicBezTo>
                  <a:cubicBezTo>
                    <a:pt x="2966" y="5029"/>
                    <a:pt x="2751" y="5517"/>
                    <a:pt x="2751" y="6053"/>
                  </a:cubicBezTo>
                  <a:cubicBezTo>
                    <a:pt x="2727" y="6613"/>
                    <a:pt x="2954" y="7136"/>
                    <a:pt x="3347" y="7541"/>
                  </a:cubicBezTo>
                  <a:cubicBezTo>
                    <a:pt x="3728" y="7922"/>
                    <a:pt x="4251" y="8148"/>
                    <a:pt x="4799" y="8148"/>
                  </a:cubicBezTo>
                  <a:lnTo>
                    <a:pt x="4835" y="8148"/>
                  </a:lnTo>
                  <a:cubicBezTo>
                    <a:pt x="5942" y="8137"/>
                    <a:pt x="6859" y="7196"/>
                    <a:pt x="6859" y="6065"/>
                  </a:cubicBezTo>
                  <a:lnTo>
                    <a:pt x="6859" y="2148"/>
                  </a:lnTo>
                  <a:cubicBezTo>
                    <a:pt x="6883" y="2017"/>
                    <a:pt x="6799" y="1933"/>
                    <a:pt x="6692" y="1933"/>
                  </a:cubicBezTo>
                  <a:cubicBezTo>
                    <a:pt x="6585" y="1933"/>
                    <a:pt x="6502" y="2017"/>
                    <a:pt x="6502" y="2124"/>
                  </a:cubicBezTo>
                  <a:lnTo>
                    <a:pt x="6502" y="6041"/>
                  </a:lnTo>
                  <a:cubicBezTo>
                    <a:pt x="6502" y="6958"/>
                    <a:pt x="5775" y="7708"/>
                    <a:pt x="4859" y="7720"/>
                  </a:cubicBezTo>
                  <a:lnTo>
                    <a:pt x="4835" y="7720"/>
                  </a:lnTo>
                  <a:cubicBezTo>
                    <a:pt x="4382" y="7720"/>
                    <a:pt x="3966" y="7541"/>
                    <a:pt x="3656" y="7232"/>
                  </a:cubicBezTo>
                  <a:cubicBezTo>
                    <a:pt x="3335" y="6898"/>
                    <a:pt x="3168" y="6482"/>
                    <a:pt x="3168" y="6017"/>
                  </a:cubicBezTo>
                  <a:cubicBezTo>
                    <a:pt x="3180" y="5148"/>
                    <a:pt x="3906" y="4410"/>
                    <a:pt x="4787" y="4398"/>
                  </a:cubicBezTo>
                  <a:cubicBezTo>
                    <a:pt x="5061" y="4398"/>
                    <a:pt x="5323" y="4446"/>
                    <a:pt x="5561" y="4565"/>
                  </a:cubicBezTo>
                  <a:cubicBezTo>
                    <a:pt x="5588" y="4575"/>
                    <a:pt x="5617" y="4581"/>
                    <a:pt x="5646" y="4581"/>
                  </a:cubicBezTo>
                  <a:cubicBezTo>
                    <a:pt x="5683" y="4581"/>
                    <a:pt x="5719" y="4572"/>
                    <a:pt x="5752" y="4553"/>
                  </a:cubicBezTo>
                  <a:cubicBezTo>
                    <a:pt x="5811" y="4517"/>
                    <a:pt x="5847" y="4446"/>
                    <a:pt x="5847" y="4386"/>
                  </a:cubicBezTo>
                  <a:lnTo>
                    <a:pt x="5847" y="207"/>
                  </a:lnTo>
                  <a:cubicBezTo>
                    <a:pt x="5847" y="147"/>
                    <a:pt x="5811" y="88"/>
                    <a:pt x="5775" y="52"/>
                  </a:cubicBezTo>
                  <a:cubicBezTo>
                    <a:pt x="5739" y="16"/>
                    <a:pt x="5696" y="0"/>
                    <a:pt x="56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4" name="Google Shape;9914;p58"/>
          <p:cNvGrpSpPr/>
          <p:nvPr/>
        </p:nvGrpSpPr>
        <p:grpSpPr>
          <a:xfrm>
            <a:off x="4126815" y="2760704"/>
            <a:ext cx="380393" cy="363118"/>
            <a:chOff x="4126815" y="2760704"/>
            <a:chExt cx="380393" cy="363118"/>
          </a:xfrm>
        </p:grpSpPr>
        <p:sp>
          <p:nvSpPr>
            <p:cNvPr id="9915" name="Google Shape;9915;p58"/>
            <p:cNvSpPr/>
            <p:nvPr/>
          </p:nvSpPr>
          <p:spPr>
            <a:xfrm>
              <a:off x="4219825" y="2822435"/>
              <a:ext cx="103267" cy="29056"/>
            </a:xfrm>
            <a:custGeom>
              <a:avLst/>
              <a:gdLst/>
              <a:ahLst/>
              <a:cxnLst/>
              <a:rect l="l" t="t" r="r" b="b"/>
              <a:pathLst>
                <a:path w="3252" h="915" extrusionOk="0">
                  <a:moveTo>
                    <a:pt x="1620" y="0"/>
                  </a:moveTo>
                  <a:cubicBezTo>
                    <a:pt x="1025" y="0"/>
                    <a:pt x="477" y="215"/>
                    <a:pt x="60" y="631"/>
                  </a:cubicBezTo>
                  <a:cubicBezTo>
                    <a:pt x="1" y="691"/>
                    <a:pt x="1" y="810"/>
                    <a:pt x="60" y="869"/>
                  </a:cubicBezTo>
                  <a:cubicBezTo>
                    <a:pt x="90" y="899"/>
                    <a:pt x="132" y="914"/>
                    <a:pt x="175" y="914"/>
                  </a:cubicBezTo>
                  <a:cubicBezTo>
                    <a:pt x="218" y="914"/>
                    <a:pt x="263" y="899"/>
                    <a:pt x="298" y="869"/>
                  </a:cubicBezTo>
                  <a:cubicBezTo>
                    <a:pt x="656" y="512"/>
                    <a:pt x="1120" y="322"/>
                    <a:pt x="1620" y="322"/>
                  </a:cubicBezTo>
                  <a:cubicBezTo>
                    <a:pt x="2132" y="322"/>
                    <a:pt x="2596" y="512"/>
                    <a:pt x="2953" y="869"/>
                  </a:cubicBezTo>
                  <a:cubicBezTo>
                    <a:pt x="2983" y="899"/>
                    <a:pt x="3028" y="914"/>
                    <a:pt x="3073" y="914"/>
                  </a:cubicBezTo>
                  <a:cubicBezTo>
                    <a:pt x="3117" y="914"/>
                    <a:pt x="3162" y="899"/>
                    <a:pt x="3192" y="869"/>
                  </a:cubicBezTo>
                  <a:cubicBezTo>
                    <a:pt x="3251" y="810"/>
                    <a:pt x="3251" y="691"/>
                    <a:pt x="3192" y="631"/>
                  </a:cubicBezTo>
                  <a:cubicBezTo>
                    <a:pt x="2775" y="215"/>
                    <a:pt x="2215"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6" name="Google Shape;9916;p58"/>
            <p:cNvSpPr/>
            <p:nvPr/>
          </p:nvSpPr>
          <p:spPr>
            <a:xfrm>
              <a:off x="4126815" y="2760704"/>
              <a:ext cx="380393" cy="363118"/>
            </a:xfrm>
            <a:custGeom>
              <a:avLst/>
              <a:gdLst/>
              <a:ahLst/>
              <a:cxnLst/>
              <a:rect l="l" t="t" r="r" b="b"/>
              <a:pathLst>
                <a:path w="11979" h="11435" extrusionOk="0">
                  <a:moveTo>
                    <a:pt x="7621" y="6921"/>
                  </a:moveTo>
                  <a:lnTo>
                    <a:pt x="8061" y="7373"/>
                  </a:lnTo>
                  <a:lnTo>
                    <a:pt x="7787" y="7659"/>
                  </a:lnTo>
                  <a:lnTo>
                    <a:pt x="7335" y="7207"/>
                  </a:lnTo>
                  <a:cubicBezTo>
                    <a:pt x="7442" y="7123"/>
                    <a:pt x="7526" y="7016"/>
                    <a:pt x="7621" y="6921"/>
                  </a:cubicBezTo>
                  <a:close/>
                  <a:moveTo>
                    <a:pt x="4552" y="328"/>
                  </a:moveTo>
                  <a:cubicBezTo>
                    <a:pt x="5525" y="328"/>
                    <a:pt x="6496" y="700"/>
                    <a:pt x="7228" y="1444"/>
                  </a:cubicBezTo>
                  <a:cubicBezTo>
                    <a:pt x="8645" y="2861"/>
                    <a:pt x="8704" y="5076"/>
                    <a:pt x="7466" y="6564"/>
                  </a:cubicBezTo>
                  <a:cubicBezTo>
                    <a:pt x="7311" y="6766"/>
                    <a:pt x="7156" y="6909"/>
                    <a:pt x="6978" y="7064"/>
                  </a:cubicBezTo>
                  <a:cubicBezTo>
                    <a:pt x="6279" y="7651"/>
                    <a:pt x="5417" y="7944"/>
                    <a:pt x="4554" y="7944"/>
                  </a:cubicBezTo>
                  <a:cubicBezTo>
                    <a:pt x="3579" y="7944"/>
                    <a:pt x="2603" y="7571"/>
                    <a:pt x="1858" y="6826"/>
                  </a:cubicBezTo>
                  <a:cubicBezTo>
                    <a:pt x="370" y="5338"/>
                    <a:pt x="370" y="2921"/>
                    <a:pt x="1858" y="1444"/>
                  </a:cubicBezTo>
                  <a:cubicBezTo>
                    <a:pt x="2602" y="700"/>
                    <a:pt x="3579" y="328"/>
                    <a:pt x="4552" y="328"/>
                  </a:cubicBezTo>
                  <a:close/>
                  <a:moveTo>
                    <a:pt x="8518" y="7440"/>
                  </a:moveTo>
                  <a:cubicBezTo>
                    <a:pt x="8550" y="7440"/>
                    <a:pt x="8580" y="7453"/>
                    <a:pt x="8597" y="7481"/>
                  </a:cubicBezTo>
                  <a:lnTo>
                    <a:pt x="9061" y="7897"/>
                  </a:lnTo>
                  <a:lnTo>
                    <a:pt x="8276" y="8683"/>
                  </a:lnTo>
                  <a:lnTo>
                    <a:pt x="7883" y="8195"/>
                  </a:lnTo>
                  <a:cubicBezTo>
                    <a:pt x="7847" y="8135"/>
                    <a:pt x="7847" y="8052"/>
                    <a:pt x="7883" y="8016"/>
                  </a:cubicBezTo>
                  <a:lnTo>
                    <a:pt x="8418" y="7481"/>
                  </a:lnTo>
                  <a:cubicBezTo>
                    <a:pt x="8444" y="7456"/>
                    <a:pt x="8482" y="7440"/>
                    <a:pt x="8518" y="7440"/>
                  </a:cubicBezTo>
                  <a:close/>
                  <a:moveTo>
                    <a:pt x="9335" y="8100"/>
                  </a:moveTo>
                  <a:lnTo>
                    <a:pt x="11252" y="9779"/>
                  </a:lnTo>
                  <a:cubicBezTo>
                    <a:pt x="11574" y="10064"/>
                    <a:pt x="11597" y="10576"/>
                    <a:pt x="11276" y="10886"/>
                  </a:cubicBezTo>
                  <a:cubicBezTo>
                    <a:pt x="11128" y="11033"/>
                    <a:pt x="10940" y="11105"/>
                    <a:pt x="10752" y="11105"/>
                  </a:cubicBezTo>
                  <a:cubicBezTo>
                    <a:pt x="10544" y="11105"/>
                    <a:pt x="10336" y="11018"/>
                    <a:pt x="10181" y="10850"/>
                  </a:cubicBezTo>
                  <a:lnTo>
                    <a:pt x="8514" y="8921"/>
                  </a:lnTo>
                  <a:lnTo>
                    <a:pt x="9335" y="8100"/>
                  </a:lnTo>
                  <a:close/>
                  <a:moveTo>
                    <a:pt x="4543" y="1"/>
                  </a:moveTo>
                  <a:cubicBezTo>
                    <a:pt x="3483" y="1"/>
                    <a:pt x="2424" y="402"/>
                    <a:pt x="1620" y="1206"/>
                  </a:cubicBezTo>
                  <a:cubicBezTo>
                    <a:pt x="1" y="2837"/>
                    <a:pt x="1" y="5457"/>
                    <a:pt x="1620" y="7064"/>
                  </a:cubicBezTo>
                  <a:cubicBezTo>
                    <a:pt x="2431" y="7875"/>
                    <a:pt x="3489" y="8272"/>
                    <a:pt x="4543" y="8272"/>
                  </a:cubicBezTo>
                  <a:cubicBezTo>
                    <a:pt x="5440" y="8272"/>
                    <a:pt x="6334" y="7985"/>
                    <a:pt x="7073" y="7421"/>
                  </a:cubicBezTo>
                  <a:lnTo>
                    <a:pt x="7561" y="7909"/>
                  </a:lnTo>
                  <a:cubicBezTo>
                    <a:pt x="7490" y="8076"/>
                    <a:pt x="7502" y="8278"/>
                    <a:pt x="7633" y="8409"/>
                  </a:cubicBezTo>
                  <a:lnTo>
                    <a:pt x="9954" y="11064"/>
                  </a:lnTo>
                  <a:cubicBezTo>
                    <a:pt x="10171" y="11312"/>
                    <a:pt x="10471" y="11434"/>
                    <a:pt x="10771" y="11434"/>
                  </a:cubicBezTo>
                  <a:cubicBezTo>
                    <a:pt x="11049" y="11434"/>
                    <a:pt x="11326" y="11330"/>
                    <a:pt x="11538" y="11124"/>
                  </a:cubicBezTo>
                  <a:cubicBezTo>
                    <a:pt x="11978" y="10671"/>
                    <a:pt x="11955" y="9945"/>
                    <a:pt x="11478" y="9540"/>
                  </a:cubicBezTo>
                  <a:lnTo>
                    <a:pt x="8823" y="7219"/>
                  </a:lnTo>
                  <a:cubicBezTo>
                    <a:pt x="8737" y="7139"/>
                    <a:pt x="8629" y="7104"/>
                    <a:pt x="8522" y="7104"/>
                  </a:cubicBezTo>
                  <a:cubicBezTo>
                    <a:pt x="8453" y="7104"/>
                    <a:pt x="8384" y="7119"/>
                    <a:pt x="8323" y="7147"/>
                  </a:cubicBezTo>
                  <a:lnTo>
                    <a:pt x="7823" y="6659"/>
                  </a:lnTo>
                  <a:cubicBezTo>
                    <a:pt x="9073" y="5052"/>
                    <a:pt x="8978" y="2694"/>
                    <a:pt x="7466" y="1206"/>
                  </a:cubicBezTo>
                  <a:cubicBezTo>
                    <a:pt x="6662" y="402"/>
                    <a:pt x="5603" y="1"/>
                    <a:pt x="45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7" name="Google Shape;9917;p58"/>
            <p:cNvSpPr/>
            <p:nvPr/>
          </p:nvSpPr>
          <p:spPr>
            <a:xfrm>
              <a:off x="4278826" y="2791379"/>
              <a:ext cx="103998" cy="201962"/>
            </a:xfrm>
            <a:custGeom>
              <a:avLst/>
              <a:gdLst/>
              <a:ahLst/>
              <a:cxnLst/>
              <a:rect l="l" t="t" r="r" b="b"/>
              <a:pathLst>
                <a:path w="3275" h="6360" extrusionOk="0">
                  <a:moveTo>
                    <a:pt x="191" y="0"/>
                  </a:moveTo>
                  <a:cubicBezTo>
                    <a:pt x="106" y="0"/>
                    <a:pt x="35" y="59"/>
                    <a:pt x="24" y="157"/>
                  </a:cubicBezTo>
                  <a:cubicBezTo>
                    <a:pt x="0" y="264"/>
                    <a:pt x="60" y="335"/>
                    <a:pt x="167" y="347"/>
                  </a:cubicBezTo>
                  <a:cubicBezTo>
                    <a:pt x="798" y="442"/>
                    <a:pt x="1345" y="716"/>
                    <a:pt x="1786" y="1169"/>
                  </a:cubicBezTo>
                  <a:cubicBezTo>
                    <a:pt x="2905" y="2288"/>
                    <a:pt x="2905" y="4110"/>
                    <a:pt x="1786" y="5229"/>
                  </a:cubicBezTo>
                  <a:cubicBezTo>
                    <a:pt x="1345" y="5645"/>
                    <a:pt x="774" y="5931"/>
                    <a:pt x="167" y="6015"/>
                  </a:cubicBezTo>
                  <a:cubicBezTo>
                    <a:pt x="83" y="6038"/>
                    <a:pt x="24" y="6122"/>
                    <a:pt x="24" y="6217"/>
                  </a:cubicBezTo>
                  <a:cubicBezTo>
                    <a:pt x="36" y="6300"/>
                    <a:pt x="107" y="6360"/>
                    <a:pt x="179" y="6360"/>
                  </a:cubicBezTo>
                  <a:lnTo>
                    <a:pt x="214" y="6360"/>
                  </a:lnTo>
                  <a:cubicBezTo>
                    <a:pt x="917" y="6253"/>
                    <a:pt x="1536" y="5943"/>
                    <a:pt x="2024" y="5455"/>
                  </a:cubicBezTo>
                  <a:cubicBezTo>
                    <a:pt x="3274" y="4205"/>
                    <a:pt x="3274" y="2169"/>
                    <a:pt x="2024" y="919"/>
                  </a:cubicBezTo>
                  <a:cubicBezTo>
                    <a:pt x="1536" y="419"/>
                    <a:pt x="917" y="109"/>
                    <a:pt x="214" y="2"/>
                  </a:cubicBezTo>
                  <a:cubicBezTo>
                    <a:pt x="206" y="1"/>
                    <a:pt x="1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8" name="Google Shape;9918;p58"/>
            <p:cNvSpPr/>
            <p:nvPr/>
          </p:nvSpPr>
          <p:spPr>
            <a:xfrm>
              <a:off x="4159332" y="2791379"/>
              <a:ext cx="105903" cy="201962"/>
            </a:xfrm>
            <a:custGeom>
              <a:avLst/>
              <a:gdLst/>
              <a:ahLst/>
              <a:cxnLst/>
              <a:rect l="l" t="t" r="r" b="b"/>
              <a:pathLst>
                <a:path w="3335" h="6360" extrusionOk="0">
                  <a:moveTo>
                    <a:pt x="3162" y="1"/>
                  </a:moveTo>
                  <a:cubicBezTo>
                    <a:pt x="3156" y="1"/>
                    <a:pt x="3150" y="1"/>
                    <a:pt x="3144" y="2"/>
                  </a:cubicBezTo>
                  <a:cubicBezTo>
                    <a:pt x="2430" y="61"/>
                    <a:pt x="1775" y="383"/>
                    <a:pt x="1251" y="895"/>
                  </a:cubicBezTo>
                  <a:cubicBezTo>
                    <a:pt x="1" y="2145"/>
                    <a:pt x="1" y="4193"/>
                    <a:pt x="1251" y="5443"/>
                  </a:cubicBezTo>
                  <a:cubicBezTo>
                    <a:pt x="1775" y="5955"/>
                    <a:pt x="2430" y="6277"/>
                    <a:pt x="3144" y="6360"/>
                  </a:cubicBezTo>
                  <a:lnTo>
                    <a:pt x="3156" y="6360"/>
                  </a:lnTo>
                  <a:cubicBezTo>
                    <a:pt x="3251" y="6360"/>
                    <a:pt x="3311" y="6300"/>
                    <a:pt x="3323" y="6217"/>
                  </a:cubicBezTo>
                  <a:cubicBezTo>
                    <a:pt x="3334" y="6122"/>
                    <a:pt x="3263" y="6038"/>
                    <a:pt x="3168" y="6038"/>
                  </a:cubicBezTo>
                  <a:cubicBezTo>
                    <a:pt x="2537" y="5955"/>
                    <a:pt x="1941" y="5681"/>
                    <a:pt x="1477" y="5217"/>
                  </a:cubicBezTo>
                  <a:cubicBezTo>
                    <a:pt x="358" y="4098"/>
                    <a:pt x="358" y="2264"/>
                    <a:pt x="1477" y="1157"/>
                  </a:cubicBezTo>
                  <a:cubicBezTo>
                    <a:pt x="1941" y="692"/>
                    <a:pt x="2513" y="407"/>
                    <a:pt x="3168" y="335"/>
                  </a:cubicBezTo>
                  <a:cubicBezTo>
                    <a:pt x="3263" y="311"/>
                    <a:pt x="3334" y="240"/>
                    <a:pt x="3323" y="157"/>
                  </a:cubicBezTo>
                  <a:cubicBezTo>
                    <a:pt x="3312" y="68"/>
                    <a:pt x="3239" y="1"/>
                    <a:pt x="3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9" name="Google Shape;9919;p58"/>
          <p:cNvGrpSpPr/>
          <p:nvPr/>
        </p:nvGrpSpPr>
        <p:grpSpPr>
          <a:xfrm>
            <a:off x="4675986" y="2745684"/>
            <a:ext cx="381346" cy="368644"/>
            <a:chOff x="4675986" y="2745684"/>
            <a:chExt cx="381346" cy="368644"/>
          </a:xfrm>
        </p:grpSpPr>
        <p:sp>
          <p:nvSpPr>
            <p:cNvPr id="9920" name="Google Shape;9920;p58"/>
            <p:cNvSpPr/>
            <p:nvPr/>
          </p:nvSpPr>
          <p:spPr>
            <a:xfrm>
              <a:off x="4828918" y="2895345"/>
              <a:ext cx="69226" cy="69258"/>
            </a:xfrm>
            <a:custGeom>
              <a:avLst/>
              <a:gdLst/>
              <a:ahLst/>
              <a:cxnLst/>
              <a:rect l="l" t="t" r="r" b="b"/>
              <a:pathLst>
                <a:path w="2180" h="2181" extrusionOk="0">
                  <a:moveTo>
                    <a:pt x="1100" y="1"/>
                  </a:moveTo>
                  <a:cubicBezTo>
                    <a:pt x="535" y="1"/>
                    <a:pt x="1" y="443"/>
                    <a:pt x="1" y="1098"/>
                  </a:cubicBezTo>
                  <a:cubicBezTo>
                    <a:pt x="1" y="1705"/>
                    <a:pt x="501" y="2181"/>
                    <a:pt x="1096" y="2181"/>
                  </a:cubicBezTo>
                  <a:cubicBezTo>
                    <a:pt x="1703" y="2181"/>
                    <a:pt x="2180" y="1693"/>
                    <a:pt x="2180" y="1098"/>
                  </a:cubicBezTo>
                  <a:cubicBezTo>
                    <a:pt x="2180" y="1014"/>
                    <a:pt x="2180" y="955"/>
                    <a:pt x="2168" y="895"/>
                  </a:cubicBezTo>
                  <a:cubicBezTo>
                    <a:pt x="2146" y="819"/>
                    <a:pt x="2074" y="763"/>
                    <a:pt x="1989" y="763"/>
                  </a:cubicBezTo>
                  <a:cubicBezTo>
                    <a:pt x="1981" y="763"/>
                    <a:pt x="1973" y="763"/>
                    <a:pt x="1965" y="764"/>
                  </a:cubicBezTo>
                  <a:cubicBezTo>
                    <a:pt x="1882" y="776"/>
                    <a:pt x="1822" y="871"/>
                    <a:pt x="1834" y="955"/>
                  </a:cubicBezTo>
                  <a:cubicBezTo>
                    <a:pt x="1915" y="1442"/>
                    <a:pt x="1524" y="1834"/>
                    <a:pt x="1092" y="1834"/>
                  </a:cubicBezTo>
                  <a:cubicBezTo>
                    <a:pt x="954" y="1834"/>
                    <a:pt x="812" y="1794"/>
                    <a:pt x="679" y="1705"/>
                  </a:cubicBezTo>
                  <a:cubicBezTo>
                    <a:pt x="60" y="1288"/>
                    <a:pt x="358" y="336"/>
                    <a:pt x="1096" y="336"/>
                  </a:cubicBezTo>
                  <a:cubicBezTo>
                    <a:pt x="1251" y="336"/>
                    <a:pt x="1418" y="395"/>
                    <a:pt x="1548" y="502"/>
                  </a:cubicBezTo>
                  <a:cubicBezTo>
                    <a:pt x="1581" y="525"/>
                    <a:pt x="1615" y="536"/>
                    <a:pt x="1649" y="536"/>
                  </a:cubicBezTo>
                  <a:cubicBezTo>
                    <a:pt x="1701" y="536"/>
                    <a:pt x="1750" y="510"/>
                    <a:pt x="1787" y="466"/>
                  </a:cubicBezTo>
                  <a:cubicBezTo>
                    <a:pt x="1846" y="395"/>
                    <a:pt x="1834" y="288"/>
                    <a:pt x="1763" y="228"/>
                  </a:cubicBezTo>
                  <a:cubicBezTo>
                    <a:pt x="1558" y="72"/>
                    <a:pt x="1327"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1" name="Google Shape;9921;p58"/>
            <p:cNvSpPr/>
            <p:nvPr/>
          </p:nvSpPr>
          <p:spPr>
            <a:xfrm>
              <a:off x="4675986" y="2745684"/>
              <a:ext cx="381346" cy="368644"/>
            </a:xfrm>
            <a:custGeom>
              <a:avLst/>
              <a:gdLst/>
              <a:ahLst/>
              <a:cxnLst/>
              <a:rect l="l" t="t" r="r" b="b"/>
              <a:pathLst>
                <a:path w="12009" h="11609" extrusionOk="0">
                  <a:moveTo>
                    <a:pt x="1049" y="2188"/>
                  </a:moveTo>
                  <a:cubicBezTo>
                    <a:pt x="1173" y="2188"/>
                    <a:pt x="1299" y="2229"/>
                    <a:pt x="1411" y="2322"/>
                  </a:cubicBezTo>
                  <a:cubicBezTo>
                    <a:pt x="1650" y="2512"/>
                    <a:pt x="1697" y="2846"/>
                    <a:pt x="1531" y="3096"/>
                  </a:cubicBezTo>
                  <a:cubicBezTo>
                    <a:pt x="1413" y="3272"/>
                    <a:pt x="1231" y="3354"/>
                    <a:pt x="1049" y="3354"/>
                  </a:cubicBezTo>
                  <a:cubicBezTo>
                    <a:pt x="791" y="3354"/>
                    <a:pt x="534" y="3188"/>
                    <a:pt x="471" y="2893"/>
                  </a:cubicBezTo>
                  <a:cubicBezTo>
                    <a:pt x="401" y="2493"/>
                    <a:pt x="714" y="2188"/>
                    <a:pt x="1049" y="2188"/>
                  </a:cubicBezTo>
                  <a:close/>
                  <a:moveTo>
                    <a:pt x="4317" y="3036"/>
                  </a:moveTo>
                  <a:cubicBezTo>
                    <a:pt x="4400" y="3084"/>
                    <a:pt x="5472" y="3703"/>
                    <a:pt x="5567" y="3751"/>
                  </a:cubicBezTo>
                  <a:lnTo>
                    <a:pt x="4317" y="4465"/>
                  </a:lnTo>
                  <a:lnTo>
                    <a:pt x="4317" y="3036"/>
                  </a:lnTo>
                  <a:close/>
                  <a:moveTo>
                    <a:pt x="7496" y="3036"/>
                  </a:moveTo>
                  <a:lnTo>
                    <a:pt x="7496" y="4465"/>
                  </a:lnTo>
                  <a:lnTo>
                    <a:pt x="6245" y="3751"/>
                  </a:lnTo>
                  <a:lnTo>
                    <a:pt x="7496" y="3036"/>
                  </a:lnTo>
                  <a:close/>
                  <a:moveTo>
                    <a:pt x="9246" y="2262"/>
                  </a:moveTo>
                  <a:cubicBezTo>
                    <a:pt x="10115" y="2262"/>
                    <a:pt x="10829" y="2965"/>
                    <a:pt x="10829" y="3858"/>
                  </a:cubicBezTo>
                  <a:cubicBezTo>
                    <a:pt x="10829" y="4429"/>
                    <a:pt x="10520" y="4953"/>
                    <a:pt x="10032" y="5239"/>
                  </a:cubicBezTo>
                  <a:lnTo>
                    <a:pt x="9448" y="5572"/>
                  </a:lnTo>
                  <a:cubicBezTo>
                    <a:pt x="9270" y="5477"/>
                    <a:pt x="8055" y="4775"/>
                    <a:pt x="7841" y="4656"/>
                  </a:cubicBezTo>
                  <a:lnTo>
                    <a:pt x="7841" y="2834"/>
                  </a:lnTo>
                  <a:cubicBezTo>
                    <a:pt x="8305" y="2596"/>
                    <a:pt x="8627" y="2262"/>
                    <a:pt x="9246" y="2262"/>
                  </a:cubicBezTo>
                  <a:close/>
                  <a:moveTo>
                    <a:pt x="2565" y="2283"/>
                  </a:moveTo>
                  <a:cubicBezTo>
                    <a:pt x="2837" y="2283"/>
                    <a:pt x="3111" y="2352"/>
                    <a:pt x="3364" y="2489"/>
                  </a:cubicBezTo>
                  <a:cubicBezTo>
                    <a:pt x="3745" y="2715"/>
                    <a:pt x="3602" y="2620"/>
                    <a:pt x="3971" y="2846"/>
                  </a:cubicBezTo>
                  <a:lnTo>
                    <a:pt x="3971" y="4656"/>
                  </a:lnTo>
                  <a:lnTo>
                    <a:pt x="2352" y="5584"/>
                  </a:lnTo>
                  <a:lnTo>
                    <a:pt x="1769" y="5251"/>
                  </a:lnTo>
                  <a:cubicBezTo>
                    <a:pt x="1400" y="5049"/>
                    <a:pt x="1126" y="4703"/>
                    <a:pt x="1030" y="4287"/>
                  </a:cubicBezTo>
                  <a:cubicBezTo>
                    <a:pt x="971" y="4096"/>
                    <a:pt x="947" y="3882"/>
                    <a:pt x="983" y="3691"/>
                  </a:cubicBezTo>
                  <a:lnTo>
                    <a:pt x="983" y="3691"/>
                  </a:lnTo>
                  <a:cubicBezTo>
                    <a:pt x="1005" y="3693"/>
                    <a:pt x="1027" y="3694"/>
                    <a:pt x="1049" y="3694"/>
                  </a:cubicBezTo>
                  <a:cubicBezTo>
                    <a:pt x="1694" y="3694"/>
                    <a:pt x="2153" y="3028"/>
                    <a:pt x="1900" y="2429"/>
                  </a:cubicBezTo>
                  <a:cubicBezTo>
                    <a:pt x="2111" y="2332"/>
                    <a:pt x="2337" y="2283"/>
                    <a:pt x="2565" y="2283"/>
                  </a:cubicBezTo>
                  <a:close/>
                  <a:moveTo>
                    <a:pt x="7841" y="5060"/>
                  </a:moveTo>
                  <a:cubicBezTo>
                    <a:pt x="8008" y="5156"/>
                    <a:pt x="8960" y="5703"/>
                    <a:pt x="9127" y="5787"/>
                  </a:cubicBezTo>
                  <a:lnTo>
                    <a:pt x="7841" y="6513"/>
                  </a:lnTo>
                  <a:lnTo>
                    <a:pt x="7841" y="5060"/>
                  </a:lnTo>
                  <a:close/>
                  <a:moveTo>
                    <a:pt x="3971" y="5060"/>
                  </a:moveTo>
                  <a:lnTo>
                    <a:pt x="3971" y="6525"/>
                  </a:lnTo>
                  <a:lnTo>
                    <a:pt x="2697" y="5787"/>
                  </a:lnTo>
                  <a:lnTo>
                    <a:pt x="3971" y="5060"/>
                  </a:lnTo>
                  <a:close/>
                  <a:moveTo>
                    <a:pt x="5900" y="3965"/>
                  </a:moveTo>
                  <a:lnTo>
                    <a:pt x="7496" y="4870"/>
                  </a:lnTo>
                  <a:lnTo>
                    <a:pt x="7496" y="6715"/>
                  </a:lnTo>
                  <a:lnTo>
                    <a:pt x="5900" y="7620"/>
                  </a:lnTo>
                  <a:lnTo>
                    <a:pt x="4317" y="6715"/>
                  </a:lnTo>
                  <a:lnTo>
                    <a:pt x="4317" y="4870"/>
                  </a:lnTo>
                  <a:lnTo>
                    <a:pt x="5900" y="3965"/>
                  </a:lnTo>
                  <a:close/>
                  <a:moveTo>
                    <a:pt x="4317" y="7120"/>
                  </a:moveTo>
                  <a:lnTo>
                    <a:pt x="5567" y="7835"/>
                  </a:lnTo>
                  <a:lnTo>
                    <a:pt x="4317" y="8549"/>
                  </a:lnTo>
                  <a:lnTo>
                    <a:pt x="4317" y="7120"/>
                  </a:lnTo>
                  <a:close/>
                  <a:moveTo>
                    <a:pt x="7496" y="7108"/>
                  </a:moveTo>
                  <a:lnTo>
                    <a:pt x="7496" y="8549"/>
                  </a:lnTo>
                  <a:cubicBezTo>
                    <a:pt x="7412" y="8501"/>
                    <a:pt x="6341" y="7870"/>
                    <a:pt x="6245" y="7835"/>
                  </a:cubicBezTo>
                  <a:lnTo>
                    <a:pt x="7496" y="7108"/>
                  </a:lnTo>
                  <a:close/>
                  <a:moveTo>
                    <a:pt x="9484" y="5965"/>
                  </a:moveTo>
                  <a:lnTo>
                    <a:pt x="10055" y="6299"/>
                  </a:lnTo>
                  <a:cubicBezTo>
                    <a:pt x="10436" y="6501"/>
                    <a:pt x="10698" y="6846"/>
                    <a:pt x="10806" y="7263"/>
                  </a:cubicBezTo>
                  <a:cubicBezTo>
                    <a:pt x="10853" y="7442"/>
                    <a:pt x="10865" y="7620"/>
                    <a:pt x="10865" y="7799"/>
                  </a:cubicBezTo>
                  <a:cubicBezTo>
                    <a:pt x="10859" y="7799"/>
                    <a:pt x="10853" y="7799"/>
                    <a:pt x="10847" y="7799"/>
                  </a:cubicBezTo>
                  <a:cubicBezTo>
                    <a:pt x="10143" y="7799"/>
                    <a:pt x="9677" y="8506"/>
                    <a:pt x="9972" y="9120"/>
                  </a:cubicBezTo>
                  <a:cubicBezTo>
                    <a:pt x="9748" y="9235"/>
                    <a:pt x="9502" y="9295"/>
                    <a:pt x="9253" y="9295"/>
                  </a:cubicBezTo>
                  <a:cubicBezTo>
                    <a:pt x="8987" y="9295"/>
                    <a:pt x="8718" y="9226"/>
                    <a:pt x="8472" y="9085"/>
                  </a:cubicBezTo>
                  <a:cubicBezTo>
                    <a:pt x="8079" y="8859"/>
                    <a:pt x="8234" y="8942"/>
                    <a:pt x="7853" y="8728"/>
                  </a:cubicBezTo>
                  <a:lnTo>
                    <a:pt x="7853" y="6894"/>
                  </a:lnTo>
                  <a:lnTo>
                    <a:pt x="9484" y="5965"/>
                  </a:lnTo>
                  <a:close/>
                  <a:moveTo>
                    <a:pt x="10799" y="8158"/>
                  </a:moveTo>
                  <a:cubicBezTo>
                    <a:pt x="10910" y="8158"/>
                    <a:pt x="11021" y="8189"/>
                    <a:pt x="11115" y="8251"/>
                  </a:cubicBezTo>
                  <a:cubicBezTo>
                    <a:pt x="11568" y="8549"/>
                    <a:pt x="11413" y="9216"/>
                    <a:pt x="10913" y="9299"/>
                  </a:cubicBezTo>
                  <a:cubicBezTo>
                    <a:pt x="10869" y="9308"/>
                    <a:pt x="10827" y="9312"/>
                    <a:pt x="10786" y="9312"/>
                  </a:cubicBezTo>
                  <a:cubicBezTo>
                    <a:pt x="10343" y="9312"/>
                    <a:pt x="10056" y="8809"/>
                    <a:pt x="10317" y="8406"/>
                  </a:cubicBezTo>
                  <a:cubicBezTo>
                    <a:pt x="10429" y="8243"/>
                    <a:pt x="10614" y="8158"/>
                    <a:pt x="10799" y="8158"/>
                  </a:cubicBezTo>
                  <a:close/>
                  <a:moveTo>
                    <a:pt x="5900" y="8025"/>
                  </a:moveTo>
                  <a:cubicBezTo>
                    <a:pt x="6103" y="8144"/>
                    <a:pt x="7305" y="8823"/>
                    <a:pt x="7496" y="8930"/>
                  </a:cubicBezTo>
                  <a:lnTo>
                    <a:pt x="7496" y="9644"/>
                  </a:lnTo>
                  <a:cubicBezTo>
                    <a:pt x="7496" y="10525"/>
                    <a:pt x="6781" y="11240"/>
                    <a:pt x="5900" y="11240"/>
                  </a:cubicBezTo>
                  <a:cubicBezTo>
                    <a:pt x="5031" y="11240"/>
                    <a:pt x="4317" y="10525"/>
                    <a:pt x="4317" y="9644"/>
                  </a:cubicBezTo>
                  <a:lnTo>
                    <a:pt x="4317" y="8930"/>
                  </a:lnTo>
                  <a:lnTo>
                    <a:pt x="5900" y="8025"/>
                  </a:lnTo>
                  <a:close/>
                  <a:moveTo>
                    <a:pt x="5900" y="0"/>
                  </a:moveTo>
                  <a:cubicBezTo>
                    <a:pt x="4829" y="0"/>
                    <a:pt x="3971" y="869"/>
                    <a:pt x="3971" y="1941"/>
                  </a:cubicBezTo>
                  <a:lnTo>
                    <a:pt x="3971" y="2441"/>
                  </a:lnTo>
                  <a:cubicBezTo>
                    <a:pt x="3686" y="2274"/>
                    <a:pt x="3793" y="2334"/>
                    <a:pt x="3519" y="2191"/>
                  </a:cubicBezTo>
                  <a:cubicBezTo>
                    <a:pt x="3219" y="2016"/>
                    <a:pt x="2890" y="1933"/>
                    <a:pt x="2564" y="1933"/>
                  </a:cubicBezTo>
                  <a:cubicBezTo>
                    <a:pt x="2268" y="1933"/>
                    <a:pt x="1975" y="2001"/>
                    <a:pt x="1709" y="2131"/>
                  </a:cubicBezTo>
                  <a:cubicBezTo>
                    <a:pt x="1515" y="1930"/>
                    <a:pt x="1277" y="1842"/>
                    <a:pt x="1045" y="1842"/>
                  </a:cubicBezTo>
                  <a:cubicBezTo>
                    <a:pt x="508" y="1842"/>
                    <a:pt x="1" y="2313"/>
                    <a:pt x="126" y="2953"/>
                  </a:cubicBezTo>
                  <a:cubicBezTo>
                    <a:pt x="185" y="3251"/>
                    <a:pt x="388" y="3489"/>
                    <a:pt x="638" y="3608"/>
                  </a:cubicBezTo>
                  <a:cubicBezTo>
                    <a:pt x="530" y="4358"/>
                    <a:pt x="888" y="5156"/>
                    <a:pt x="1590" y="5549"/>
                  </a:cubicBezTo>
                  <a:cubicBezTo>
                    <a:pt x="1828" y="5691"/>
                    <a:pt x="1757" y="5644"/>
                    <a:pt x="1995" y="5787"/>
                  </a:cubicBezTo>
                  <a:lnTo>
                    <a:pt x="1590" y="6025"/>
                  </a:lnTo>
                  <a:cubicBezTo>
                    <a:pt x="995" y="6370"/>
                    <a:pt x="626" y="7025"/>
                    <a:pt x="626" y="7716"/>
                  </a:cubicBezTo>
                  <a:cubicBezTo>
                    <a:pt x="626" y="8704"/>
                    <a:pt x="1400" y="9537"/>
                    <a:pt x="2388" y="9632"/>
                  </a:cubicBezTo>
                  <a:lnTo>
                    <a:pt x="2412" y="9632"/>
                  </a:lnTo>
                  <a:cubicBezTo>
                    <a:pt x="2495" y="9632"/>
                    <a:pt x="2566" y="9573"/>
                    <a:pt x="2566" y="9478"/>
                  </a:cubicBezTo>
                  <a:cubicBezTo>
                    <a:pt x="2590" y="9394"/>
                    <a:pt x="2507" y="9299"/>
                    <a:pt x="2424" y="9299"/>
                  </a:cubicBezTo>
                  <a:cubicBezTo>
                    <a:pt x="1602" y="9228"/>
                    <a:pt x="959" y="8549"/>
                    <a:pt x="959" y="7727"/>
                  </a:cubicBezTo>
                  <a:cubicBezTo>
                    <a:pt x="959" y="7144"/>
                    <a:pt x="1281" y="6620"/>
                    <a:pt x="1769" y="6346"/>
                  </a:cubicBezTo>
                  <a:lnTo>
                    <a:pt x="2352" y="6013"/>
                  </a:lnTo>
                  <a:lnTo>
                    <a:pt x="3971" y="6942"/>
                  </a:lnTo>
                  <a:lnTo>
                    <a:pt x="3971" y="8763"/>
                  </a:lnTo>
                  <a:cubicBezTo>
                    <a:pt x="3436" y="9061"/>
                    <a:pt x="3305" y="9168"/>
                    <a:pt x="3031" y="9263"/>
                  </a:cubicBezTo>
                  <a:cubicBezTo>
                    <a:pt x="2947" y="9287"/>
                    <a:pt x="2900" y="9382"/>
                    <a:pt x="2912" y="9466"/>
                  </a:cubicBezTo>
                  <a:cubicBezTo>
                    <a:pt x="2943" y="9549"/>
                    <a:pt x="3011" y="9587"/>
                    <a:pt x="3091" y="9587"/>
                  </a:cubicBezTo>
                  <a:cubicBezTo>
                    <a:pt x="3103" y="9587"/>
                    <a:pt x="3114" y="9586"/>
                    <a:pt x="3126" y="9585"/>
                  </a:cubicBezTo>
                  <a:cubicBezTo>
                    <a:pt x="3436" y="9501"/>
                    <a:pt x="3578" y="9359"/>
                    <a:pt x="3959" y="9168"/>
                  </a:cubicBezTo>
                  <a:lnTo>
                    <a:pt x="3959" y="9680"/>
                  </a:lnTo>
                  <a:cubicBezTo>
                    <a:pt x="3959" y="10752"/>
                    <a:pt x="4817" y="11609"/>
                    <a:pt x="5888" y="11609"/>
                  </a:cubicBezTo>
                  <a:cubicBezTo>
                    <a:pt x="6960" y="11609"/>
                    <a:pt x="7829" y="10752"/>
                    <a:pt x="7829" y="9680"/>
                  </a:cubicBezTo>
                  <a:lnTo>
                    <a:pt x="7829" y="9168"/>
                  </a:lnTo>
                  <a:cubicBezTo>
                    <a:pt x="8317" y="9454"/>
                    <a:pt x="8627" y="9680"/>
                    <a:pt x="9222" y="9680"/>
                  </a:cubicBezTo>
                  <a:cubicBezTo>
                    <a:pt x="9555" y="9680"/>
                    <a:pt x="9865" y="9597"/>
                    <a:pt x="10151" y="9442"/>
                  </a:cubicBezTo>
                  <a:cubicBezTo>
                    <a:pt x="10315" y="9597"/>
                    <a:pt x="10543" y="9696"/>
                    <a:pt x="10788" y="9696"/>
                  </a:cubicBezTo>
                  <a:cubicBezTo>
                    <a:pt x="10845" y="9696"/>
                    <a:pt x="10902" y="9691"/>
                    <a:pt x="10960" y="9680"/>
                  </a:cubicBezTo>
                  <a:cubicBezTo>
                    <a:pt x="11865" y="9466"/>
                    <a:pt x="12008" y="8263"/>
                    <a:pt x="11175" y="7894"/>
                  </a:cubicBezTo>
                  <a:cubicBezTo>
                    <a:pt x="11246" y="7156"/>
                    <a:pt x="10889" y="6406"/>
                    <a:pt x="10210" y="6013"/>
                  </a:cubicBezTo>
                  <a:cubicBezTo>
                    <a:pt x="9972" y="5882"/>
                    <a:pt x="10044" y="5918"/>
                    <a:pt x="9805" y="5775"/>
                  </a:cubicBezTo>
                  <a:lnTo>
                    <a:pt x="10210" y="5537"/>
                  </a:lnTo>
                  <a:cubicBezTo>
                    <a:pt x="11127" y="5001"/>
                    <a:pt x="11460" y="3810"/>
                    <a:pt x="10925" y="2882"/>
                  </a:cubicBezTo>
                  <a:cubicBezTo>
                    <a:pt x="10579" y="2286"/>
                    <a:pt x="9924" y="1917"/>
                    <a:pt x="9246" y="1917"/>
                  </a:cubicBezTo>
                  <a:cubicBezTo>
                    <a:pt x="8531" y="1917"/>
                    <a:pt x="8139" y="2286"/>
                    <a:pt x="7841" y="2429"/>
                  </a:cubicBezTo>
                  <a:cubicBezTo>
                    <a:pt x="7829" y="2012"/>
                    <a:pt x="7865" y="1810"/>
                    <a:pt x="7793" y="1489"/>
                  </a:cubicBezTo>
                  <a:cubicBezTo>
                    <a:pt x="7783" y="1408"/>
                    <a:pt x="7704" y="1352"/>
                    <a:pt x="7629" y="1352"/>
                  </a:cubicBezTo>
                  <a:cubicBezTo>
                    <a:pt x="7616" y="1352"/>
                    <a:pt x="7603" y="1354"/>
                    <a:pt x="7591" y="1358"/>
                  </a:cubicBezTo>
                  <a:cubicBezTo>
                    <a:pt x="7496" y="1369"/>
                    <a:pt x="7436" y="1477"/>
                    <a:pt x="7448" y="1560"/>
                  </a:cubicBezTo>
                  <a:cubicBezTo>
                    <a:pt x="7507" y="1834"/>
                    <a:pt x="7484" y="1989"/>
                    <a:pt x="7496" y="2620"/>
                  </a:cubicBezTo>
                  <a:lnTo>
                    <a:pt x="5900" y="3525"/>
                  </a:lnTo>
                  <a:lnTo>
                    <a:pt x="4317" y="2620"/>
                  </a:lnTo>
                  <a:lnTo>
                    <a:pt x="4317" y="1941"/>
                  </a:lnTo>
                  <a:cubicBezTo>
                    <a:pt x="4317" y="1060"/>
                    <a:pt x="5031" y="346"/>
                    <a:pt x="5900" y="346"/>
                  </a:cubicBezTo>
                  <a:cubicBezTo>
                    <a:pt x="6424" y="346"/>
                    <a:pt x="6912" y="596"/>
                    <a:pt x="7210" y="1024"/>
                  </a:cubicBezTo>
                  <a:cubicBezTo>
                    <a:pt x="7246" y="1075"/>
                    <a:pt x="7301" y="1100"/>
                    <a:pt x="7354" y="1100"/>
                  </a:cubicBezTo>
                  <a:cubicBezTo>
                    <a:pt x="7388" y="1100"/>
                    <a:pt x="7420" y="1090"/>
                    <a:pt x="7448" y="1072"/>
                  </a:cubicBezTo>
                  <a:cubicBezTo>
                    <a:pt x="7531" y="1012"/>
                    <a:pt x="7543" y="905"/>
                    <a:pt x="7496" y="834"/>
                  </a:cubicBezTo>
                  <a:cubicBezTo>
                    <a:pt x="7138" y="310"/>
                    <a:pt x="6543" y="0"/>
                    <a:pt x="59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22" name="Google Shape;9922;p58"/>
          <p:cNvGrpSpPr/>
          <p:nvPr/>
        </p:nvGrpSpPr>
        <p:grpSpPr>
          <a:xfrm>
            <a:off x="5220616" y="2791061"/>
            <a:ext cx="373185" cy="302466"/>
            <a:chOff x="5220616" y="2791061"/>
            <a:chExt cx="373185" cy="302466"/>
          </a:xfrm>
        </p:grpSpPr>
        <p:sp>
          <p:nvSpPr>
            <p:cNvPr id="9923" name="Google Shape;9923;p58"/>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4" name="Google Shape;9924;p58"/>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5" name="Google Shape;9925;p58"/>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6" name="Google Shape;9926;p58"/>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7" name="Google Shape;9927;p58"/>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8" name="Google Shape;9928;p58"/>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9" name="Google Shape;9929;p58"/>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0" name="Google Shape;9930;p58"/>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1" name="Google Shape;9931;p58"/>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2" name="Google Shape;9932;p58"/>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3" name="Google Shape;9933;p58"/>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4" name="Google Shape;9934;p58"/>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5" name="Google Shape;9935;p58"/>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6" name="Google Shape;9936;p58"/>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7" name="Google Shape;9937;p58"/>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8" name="Google Shape;9938;p58"/>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9" name="Google Shape;9939;p58"/>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0" name="Google Shape;9940;p58"/>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1" name="Google Shape;9941;p58"/>
          <p:cNvGrpSpPr/>
          <p:nvPr/>
        </p:nvGrpSpPr>
        <p:grpSpPr>
          <a:xfrm>
            <a:off x="5788661" y="2772517"/>
            <a:ext cx="284366" cy="344097"/>
            <a:chOff x="5864861" y="2772517"/>
            <a:chExt cx="284366" cy="344097"/>
          </a:xfrm>
        </p:grpSpPr>
        <p:sp>
          <p:nvSpPr>
            <p:cNvPr id="9942" name="Google Shape;9942;p58"/>
            <p:cNvSpPr/>
            <p:nvPr/>
          </p:nvSpPr>
          <p:spPr>
            <a:xfrm>
              <a:off x="6089464" y="3014490"/>
              <a:ext cx="15147" cy="15147"/>
            </a:xfrm>
            <a:custGeom>
              <a:avLst/>
              <a:gdLst/>
              <a:ahLst/>
              <a:cxnLst/>
              <a:rect l="l" t="t" r="r" b="b"/>
              <a:pathLst>
                <a:path w="477" h="477" extrusionOk="0">
                  <a:moveTo>
                    <a:pt x="238" y="1"/>
                  </a:moveTo>
                  <a:cubicBezTo>
                    <a:pt x="107" y="1"/>
                    <a:pt x="0" y="108"/>
                    <a:pt x="0" y="239"/>
                  </a:cubicBezTo>
                  <a:cubicBezTo>
                    <a:pt x="0" y="382"/>
                    <a:pt x="107" y="477"/>
                    <a:pt x="238" y="477"/>
                  </a:cubicBezTo>
                  <a:cubicBezTo>
                    <a:pt x="369" y="477"/>
                    <a:pt x="476" y="382"/>
                    <a:pt x="476" y="239"/>
                  </a:cubicBezTo>
                  <a:cubicBezTo>
                    <a:pt x="476"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3" name="Google Shape;9943;p58"/>
            <p:cNvSpPr/>
            <p:nvPr/>
          </p:nvSpPr>
          <p:spPr>
            <a:xfrm>
              <a:off x="6051644" y="3070823"/>
              <a:ext cx="13274" cy="13274"/>
            </a:xfrm>
            <a:custGeom>
              <a:avLst/>
              <a:gdLst/>
              <a:ahLst/>
              <a:cxnLst/>
              <a:rect l="l" t="t" r="r" b="b"/>
              <a:pathLst>
                <a:path w="418" h="418" extrusionOk="0">
                  <a:moveTo>
                    <a:pt x="203" y="1"/>
                  </a:moveTo>
                  <a:cubicBezTo>
                    <a:pt x="84" y="1"/>
                    <a:pt x="0" y="96"/>
                    <a:pt x="0" y="215"/>
                  </a:cubicBezTo>
                  <a:cubicBezTo>
                    <a:pt x="0" y="322"/>
                    <a:pt x="84" y="417"/>
                    <a:pt x="203" y="417"/>
                  </a:cubicBezTo>
                  <a:cubicBezTo>
                    <a:pt x="334" y="417"/>
                    <a:pt x="417" y="334"/>
                    <a:pt x="417" y="215"/>
                  </a:cubicBezTo>
                  <a:cubicBezTo>
                    <a:pt x="417" y="96"/>
                    <a:pt x="334"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4" name="Google Shape;9944;p58"/>
            <p:cNvSpPr/>
            <p:nvPr/>
          </p:nvSpPr>
          <p:spPr>
            <a:xfrm>
              <a:off x="5943518" y="3005789"/>
              <a:ext cx="13242" cy="12893"/>
            </a:xfrm>
            <a:custGeom>
              <a:avLst/>
              <a:gdLst/>
              <a:ahLst/>
              <a:cxnLst/>
              <a:rect l="l" t="t" r="r" b="b"/>
              <a:pathLst>
                <a:path w="417" h="406" extrusionOk="0">
                  <a:moveTo>
                    <a:pt x="203" y="1"/>
                  </a:moveTo>
                  <a:cubicBezTo>
                    <a:pt x="84" y="1"/>
                    <a:pt x="0" y="84"/>
                    <a:pt x="0" y="203"/>
                  </a:cubicBezTo>
                  <a:cubicBezTo>
                    <a:pt x="0" y="322"/>
                    <a:pt x="84" y="406"/>
                    <a:pt x="203" y="406"/>
                  </a:cubicBezTo>
                  <a:cubicBezTo>
                    <a:pt x="322" y="406"/>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5" name="Google Shape;9945;p58"/>
            <p:cNvSpPr/>
            <p:nvPr/>
          </p:nvSpPr>
          <p:spPr>
            <a:xfrm>
              <a:off x="5965429" y="3070823"/>
              <a:ext cx="13655" cy="13274"/>
            </a:xfrm>
            <a:custGeom>
              <a:avLst/>
              <a:gdLst/>
              <a:ahLst/>
              <a:cxnLst/>
              <a:rect l="l" t="t" r="r" b="b"/>
              <a:pathLst>
                <a:path w="430" h="418" extrusionOk="0">
                  <a:moveTo>
                    <a:pt x="215" y="1"/>
                  </a:moveTo>
                  <a:cubicBezTo>
                    <a:pt x="96" y="1"/>
                    <a:pt x="1" y="96"/>
                    <a:pt x="1" y="215"/>
                  </a:cubicBezTo>
                  <a:cubicBezTo>
                    <a:pt x="1" y="322"/>
                    <a:pt x="96" y="417"/>
                    <a:pt x="215" y="417"/>
                  </a:cubicBezTo>
                  <a:cubicBezTo>
                    <a:pt x="334" y="417"/>
                    <a:pt x="429" y="334"/>
                    <a:pt x="429" y="215"/>
                  </a:cubicBezTo>
                  <a:cubicBezTo>
                    <a:pt x="429" y="96"/>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6" name="Google Shape;9946;p58"/>
            <p:cNvSpPr/>
            <p:nvPr/>
          </p:nvSpPr>
          <p:spPr>
            <a:xfrm>
              <a:off x="6004392" y="3019412"/>
              <a:ext cx="16290" cy="15909"/>
            </a:xfrm>
            <a:custGeom>
              <a:avLst/>
              <a:gdLst/>
              <a:ahLst/>
              <a:cxnLst/>
              <a:rect l="l" t="t" r="r" b="b"/>
              <a:pathLst>
                <a:path w="513" h="501" extrusionOk="0">
                  <a:moveTo>
                    <a:pt x="250" y="0"/>
                  </a:moveTo>
                  <a:cubicBezTo>
                    <a:pt x="119" y="0"/>
                    <a:pt x="0" y="119"/>
                    <a:pt x="0" y="250"/>
                  </a:cubicBezTo>
                  <a:cubicBezTo>
                    <a:pt x="0" y="381"/>
                    <a:pt x="119" y="500"/>
                    <a:pt x="250" y="500"/>
                  </a:cubicBezTo>
                  <a:cubicBezTo>
                    <a:pt x="393" y="500"/>
                    <a:pt x="512" y="381"/>
                    <a:pt x="512" y="250"/>
                  </a:cubicBezTo>
                  <a:cubicBezTo>
                    <a:pt x="512" y="119"/>
                    <a:pt x="405"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7" name="Google Shape;9947;p58"/>
            <p:cNvSpPr/>
            <p:nvPr/>
          </p:nvSpPr>
          <p:spPr>
            <a:xfrm>
              <a:off x="5864861" y="2772517"/>
              <a:ext cx="284366" cy="344097"/>
            </a:xfrm>
            <a:custGeom>
              <a:avLst/>
              <a:gdLst/>
              <a:ahLst/>
              <a:cxnLst/>
              <a:rect l="l" t="t" r="r" b="b"/>
              <a:pathLst>
                <a:path w="8955" h="10836" extrusionOk="0">
                  <a:moveTo>
                    <a:pt x="2983" y="6406"/>
                  </a:moveTo>
                  <a:cubicBezTo>
                    <a:pt x="3566" y="6406"/>
                    <a:pt x="4114" y="6556"/>
                    <a:pt x="4632" y="6871"/>
                  </a:cubicBezTo>
                  <a:cubicBezTo>
                    <a:pt x="5211" y="7197"/>
                    <a:pt x="5769" y="7306"/>
                    <a:pt x="6260" y="7306"/>
                  </a:cubicBezTo>
                  <a:cubicBezTo>
                    <a:pt x="6628" y="7306"/>
                    <a:pt x="6957" y="7245"/>
                    <a:pt x="7228" y="7168"/>
                  </a:cubicBezTo>
                  <a:cubicBezTo>
                    <a:pt x="7645" y="7049"/>
                    <a:pt x="7966" y="6871"/>
                    <a:pt x="8145" y="6751"/>
                  </a:cubicBezTo>
                  <a:lnTo>
                    <a:pt x="8145" y="6751"/>
                  </a:lnTo>
                  <a:cubicBezTo>
                    <a:pt x="8514" y="7954"/>
                    <a:pt x="8204" y="9276"/>
                    <a:pt x="7299" y="10216"/>
                  </a:cubicBezTo>
                  <a:cubicBezTo>
                    <a:pt x="7109" y="10407"/>
                    <a:pt x="6835" y="10526"/>
                    <a:pt x="6561" y="10526"/>
                  </a:cubicBezTo>
                  <a:lnTo>
                    <a:pt x="2906" y="10526"/>
                  </a:lnTo>
                  <a:cubicBezTo>
                    <a:pt x="2644" y="10526"/>
                    <a:pt x="2370" y="10407"/>
                    <a:pt x="2180" y="10228"/>
                  </a:cubicBezTo>
                  <a:cubicBezTo>
                    <a:pt x="1346" y="9383"/>
                    <a:pt x="941" y="8133"/>
                    <a:pt x="1275" y="6823"/>
                  </a:cubicBezTo>
                  <a:cubicBezTo>
                    <a:pt x="1406" y="6751"/>
                    <a:pt x="1775" y="6573"/>
                    <a:pt x="2263" y="6478"/>
                  </a:cubicBezTo>
                  <a:cubicBezTo>
                    <a:pt x="2509" y="6430"/>
                    <a:pt x="2748" y="6406"/>
                    <a:pt x="2983" y="6406"/>
                  </a:cubicBezTo>
                  <a:close/>
                  <a:moveTo>
                    <a:pt x="3239" y="1"/>
                  </a:moveTo>
                  <a:cubicBezTo>
                    <a:pt x="3001" y="1"/>
                    <a:pt x="2823" y="191"/>
                    <a:pt x="2823" y="417"/>
                  </a:cubicBezTo>
                  <a:lnTo>
                    <a:pt x="2823" y="786"/>
                  </a:lnTo>
                  <a:cubicBezTo>
                    <a:pt x="2823" y="1036"/>
                    <a:pt x="3013" y="1203"/>
                    <a:pt x="3239" y="1203"/>
                  </a:cubicBezTo>
                  <a:lnTo>
                    <a:pt x="3454" y="1203"/>
                  </a:lnTo>
                  <a:lnTo>
                    <a:pt x="3454" y="2525"/>
                  </a:lnTo>
                  <a:cubicBezTo>
                    <a:pt x="3454" y="2608"/>
                    <a:pt x="3537" y="2680"/>
                    <a:pt x="3620" y="2680"/>
                  </a:cubicBezTo>
                  <a:cubicBezTo>
                    <a:pt x="3704" y="2680"/>
                    <a:pt x="3787" y="2608"/>
                    <a:pt x="3787" y="2525"/>
                  </a:cubicBezTo>
                  <a:lnTo>
                    <a:pt x="3787" y="1203"/>
                  </a:lnTo>
                  <a:lnTo>
                    <a:pt x="5692" y="1203"/>
                  </a:lnTo>
                  <a:lnTo>
                    <a:pt x="5692" y="3858"/>
                  </a:lnTo>
                  <a:cubicBezTo>
                    <a:pt x="5692" y="4096"/>
                    <a:pt x="5835" y="4311"/>
                    <a:pt x="6049" y="4394"/>
                  </a:cubicBezTo>
                  <a:cubicBezTo>
                    <a:pt x="6978" y="4763"/>
                    <a:pt x="7692" y="5513"/>
                    <a:pt x="8049" y="6418"/>
                  </a:cubicBezTo>
                  <a:cubicBezTo>
                    <a:pt x="7907" y="6525"/>
                    <a:pt x="7573" y="6716"/>
                    <a:pt x="7133" y="6847"/>
                  </a:cubicBezTo>
                  <a:cubicBezTo>
                    <a:pt x="6830" y="6934"/>
                    <a:pt x="6535" y="6978"/>
                    <a:pt x="6245" y="6978"/>
                  </a:cubicBezTo>
                  <a:cubicBezTo>
                    <a:pt x="5748" y="6978"/>
                    <a:pt x="5270" y="6848"/>
                    <a:pt x="4811" y="6585"/>
                  </a:cubicBezTo>
                  <a:cubicBezTo>
                    <a:pt x="4225" y="6246"/>
                    <a:pt x="3592" y="6086"/>
                    <a:pt x="2961" y="6086"/>
                  </a:cubicBezTo>
                  <a:cubicBezTo>
                    <a:pt x="2437" y="6086"/>
                    <a:pt x="1914" y="6196"/>
                    <a:pt x="1418" y="6406"/>
                  </a:cubicBezTo>
                  <a:cubicBezTo>
                    <a:pt x="1775" y="5501"/>
                    <a:pt x="2477" y="4763"/>
                    <a:pt x="3430" y="4394"/>
                  </a:cubicBezTo>
                  <a:cubicBezTo>
                    <a:pt x="3656" y="4311"/>
                    <a:pt x="3787" y="4096"/>
                    <a:pt x="3787" y="3858"/>
                  </a:cubicBezTo>
                  <a:lnTo>
                    <a:pt x="3787" y="3322"/>
                  </a:lnTo>
                  <a:cubicBezTo>
                    <a:pt x="3787" y="3239"/>
                    <a:pt x="3716" y="3156"/>
                    <a:pt x="3620" y="3156"/>
                  </a:cubicBezTo>
                  <a:cubicBezTo>
                    <a:pt x="3537" y="3156"/>
                    <a:pt x="3454" y="3239"/>
                    <a:pt x="3454" y="3322"/>
                  </a:cubicBezTo>
                  <a:lnTo>
                    <a:pt x="3454" y="3858"/>
                  </a:lnTo>
                  <a:cubicBezTo>
                    <a:pt x="3454" y="3965"/>
                    <a:pt x="3394" y="4049"/>
                    <a:pt x="3299" y="4096"/>
                  </a:cubicBezTo>
                  <a:cubicBezTo>
                    <a:pt x="703" y="5120"/>
                    <a:pt x="1" y="8478"/>
                    <a:pt x="1942" y="10442"/>
                  </a:cubicBezTo>
                  <a:cubicBezTo>
                    <a:pt x="2192" y="10692"/>
                    <a:pt x="2537" y="10835"/>
                    <a:pt x="2894" y="10835"/>
                  </a:cubicBezTo>
                  <a:lnTo>
                    <a:pt x="6549" y="10835"/>
                  </a:lnTo>
                  <a:cubicBezTo>
                    <a:pt x="6906" y="10835"/>
                    <a:pt x="7252" y="10692"/>
                    <a:pt x="7502" y="10442"/>
                  </a:cubicBezTo>
                  <a:cubicBezTo>
                    <a:pt x="8907" y="9026"/>
                    <a:pt x="8954" y="6930"/>
                    <a:pt x="7907" y="5466"/>
                  </a:cubicBezTo>
                  <a:cubicBezTo>
                    <a:pt x="7478" y="4858"/>
                    <a:pt x="6871" y="4370"/>
                    <a:pt x="6168" y="4096"/>
                  </a:cubicBezTo>
                  <a:cubicBezTo>
                    <a:pt x="6061" y="4049"/>
                    <a:pt x="6002" y="3965"/>
                    <a:pt x="6002" y="3858"/>
                  </a:cubicBezTo>
                  <a:lnTo>
                    <a:pt x="6002" y="1203"/>
                  </a:lnTo>
                  <a:lnTo>
                    <a:pt x="6228" y="1203"/>
                  </a:lnTo>
                  <a:cubicBezTo>
                    <a:pt x="6466" y="1203"/>
                    <a:pt x="6644" y="1013"/>
                    <a:pt x="6644" y="786"/>
                  </a:cubicBezTo>
                  <a:lnTo>
                    <a:pt x="6644" y="417"/>
                  </a:lnTo>
                  <a:cubicBezTo>
                    <a:pt x="6644" y="179"/>
                    <a:pt x="6454" y="1"/>
                    <a:pt x="6228" y="1"/>
                  </a:cubicBezTo>
                  <a:lnTo>
                    <a:pt x="5394" y="1"/>
                  </a:lnTo>
                  <a:cubicBezTo>
                    <a:pt x="5299" y="1"/>
                    <a:pt x="5228" y="72"/>
                    <a:pt x="5228" y="167"/>
                  </a:cubicBezTo>
                  <a:cubicBezTo>
                    <a:pt x="5228" y="263"/>
                    <a:pt x="5299" y="334"/>
                    <a:pt x="5394" y="334"/>
                  </a:cubicBezTo>
                  <a:lnTo>
                    <a:pt x="6228" y="334"/>
                  </a:lnTo>
                  <a:cubicBezTo>
                    <a:pt x="6287" y="334"/>
                    <a:pt x="6335" y="382"/>
                    <a:pt x="6335" y="441"/>
                  </a:cubicBezTo>
                  <a:lnTo>
                    <a:pt x="6335" y="810"/>
                  </a:lnTo>
                  <a:cubicBezTo>
                    <a:pt x="6335" y="870"/>
                    <a:pt x="6287" y="905"/>
                    <a:pt x="6228" y="905"/>
                  </a:cubicBezTo>
                  <a:lnTo>
                    <a:pt x="3239" y="905"/>
                  </a:lnTo>
                  <a:cubicBezTo>
                    <a:pt x="3168" y="905"/>
                    <a:pt x="3132" y="870"/>
                    <a:pt x="3132" y="810"/>
                  </a:cubicBezTo>
                  <a:lnTo>
                    <a:pt x="3132" y="441"/>
                  </a:lnTo>
                  <a:cubicBezTo>
                    <a:pt x="3132" y="382"/>
                    <a:pt x="3168" y="334"/>
                    <a:pt x="3239" y="334"/>
                  </a:cubicBezTo>
                  <a:lnTo>
                    <a:pt x="4609" y="334"/>
                  </a:lnTo>
                  <a:cubicBezTo>
                    <a:pt x="4692" y="334"/>
                    <a:pt x="4763" y="263"/>
                    <a:pt x="4763" y="167"/>
                  </a:cubicBezTo>
                  <a:cubicBezTo>
                    <a:pt x="4763" y="72"/>
                    <a:pt x="4692" y="1"/>
                    <a:pt x="46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48" name="Google Shape;9948;p58"/>
          <p:cNvSpPr/>
          <p:nvPr/>
        </p:nvSpPr>
        <p:spPr>
          <a:xfrm>
            <a:off x="6340868" y="2770643"/>
            <a:ext cx="343335" cy="343303"/>
          </a:xfrm>
          <a:custGeom>
            <a:avLst/>
            <a:gdLst/>
            <a:ahLst/>
            <a:cxnLst/>
            <a:rect l="l" t="t" r="r" b="b"/>
            <a:pathLst>
              <a:path w="10812" h="10811" extrusionOk="0">
                <a:moveTo>
                  <a:pt x="2769" y="2858"/>
                </a:moveTo>
                <a:cubicBezTo>
                  <a:pt x="2830" y="2858"/>
                  <a:pt x="2892" y="2866"/>
                  <a:pt x="2954" y="2881"/>
                </a:cubicBezTo>
                <a:cubicBezTo>
                  <a:pt x="3251" y="2941"/>
                  <a:pt x="3489" y="3191"/>
                  <a:pt x="3549" y="3489"/>
                </a:cubicBezTo>
                <a:cubicBezTo>
                  <a:pt x="3608" y="3774"/>
                  <a:pt x="3501" y="4036"/>
                  <a:pt x="3275" y="4227"/>
                </a:cubicBezTo>
                <a:cubicBezTo>
                  <a:pt x="3132" y="4346"/>
                  <a:pt x="3037" y="4548"/>
                  <a:pt x="3037" y="4739"/>
                </a:cubicBezTo>
                <a:lnTo>
                  <a:pt x="3037" y="5084"/>
                </a:lnTo>
                <a:cubicBezTo>
                  <a:pt x="3037" y="5346"/>
                  <a:pt x="3263" y="5572"/>
                  <a:pt x="3525" y="5572"/>
                </a:cubicBezTo>
                <a:lnTo>
                  <a:pt x="5228" y="5572"/>
                </a:lnTo>
                <a:lnTo>
                  <a:pt x="5228" y="7263"/>
                </a:lnTo>
                <a:cubicBezTo>
                  <a:pt x="5228" y="7370"/>
                  <a:pt x="5156" y="7441"/>
                  <a:pt x="5049" y="7441"/>
                </a:cubicBezTo>
                <a:lnTo>
                  <a:pt x="4704" y="7441"/>
                </a:lnTo>
                <a:cubicBezTo>
                  <a:pt x="4597" y="7441"/>
                  <a:pt x="4513" y="7406"/>
                  <a:pt x="4442" y="7322"/>
                </a:cubicBezTo>
                <a:cubicBezTo>
                  <a:pt x="4225" y="7076"/>
                  <a:pt x="3925" y="6935"/>
                  <a:pt x="3599" y="6935"/>
                </a:cubicBezTo>
                <a:cubicBezTo>
                  <a:pt x="3532" y="6935"/>
                  <a:pt x="3463" y="6941"/>
                  <a:pt x="3394" y="6953"/>
                </a:cubicBezTo>
                <a:cubicBezTo>
                  <a:pt x="2965" y="7025"/>
                  <a:pt x="2620" y="7370"/>
                  <a:pt x="2537" y="7787"/>
                </a:cubicBezTo>
                <a:cubicBezTo>
                  <a:pt x="2453" y="8120"/>
                  <a:pt x="2549" y="8454"/>
                  <a:pt x="2751" y="8715"/>
                </a:cubicBezTo>
                <a:cubicBezTo>
                  <a:pt x="2965" y="8965"/>
                  <a:pt x="3275" y="9108"/>
                  <a:pt x="3608" y="9108"/>
                </a:cubicBezTo>
                <a:cubicBezTo>
                  <a:pt x="3930" y="9108"/>
                  <a:pt x="4227" y="8965"/>
                  <a:pt x="4442" y="8715"/>
                </a:cubicBezTo>
                <a:cubicBezTo>
                  <a:pt x="4501" y="8632"/>
                  <a:pt x="4585" y="8608"/>
                  <a:pt x="4692" y="8608"/>
                </a:cubicBezTo>
                <a:lnTo>
                  <a:pt x="5037" y="8608"/>
                </a:lnTo>
                <a:cubicBezTo>
                  <a:pt x="5132" y="8608"/>
                  <a:pt x="5216" y="8680"/>
                  <a:pt x="5216" y="8787"/>
                </a:cubicBezTo>
                <a:lnTo>
                  <a:pt x="5216" y="10501"/>
                </a:lnTo>
                <a:lnTo>
                  <a:pt x="846" y="10501"/>
                </a:lnTo>
                <a:cubicBezTo>
                  <a:pt x="572" y="10501"/>
                  <a:pt x="334" y="10263"/>
                  <a:pt x="334" y="9977"/>
                </a:cubicBezTo>
                <a:lnTo>
                  <a:pt x="334" y="5572"/>
                </a:lnTo>
                <a:lnTo>
                  <a:pt x="2025" y="5572"/>
                </a:lnTo>
                <a:cubicBezTo>
                  <a:pt x="2299" y="5572"/>
                  <a:pt x="2513" y="5346"/>
                  <a:pt x="2513" y="5084"/>
                </a:cubicBezTo>
                <a:lnTo>
                  <a:pt x="2513" y="4727"/>
                </a:lnTo>
                <a:cubicBezTo>
                  <a:pt x="2513" y="4513"/>
                  <a:pt x="2430" y="4334"/>
                  <a:pt x="2299" y="4215"/>
                </a:cubicBezTo>
                <a:cubicBezTo>
                  <a:pt x="2120" y="4072"/>
                  <a:pt x="2013" y="3858"/>
                  <a:pt x="2013" y="3620"/>
                </a:cubicBezTo>
                <a:cubicBezTo>
                  <a:pt x="2013" y="3381"/>
                  <a:pt x="2120" y="3179"/>
                  <a:pt x="2299" y="3024"/>
                </a:cubicBezTo>
                <a:cubicBezTo>
                  <a:pt x="2431" y="2919"/>
                  <a:pt x="2596" y="2858"/>
                  <a:pt x="2769" y="2858"/>
                </a:cubicBezTo>
                <a:close/>
                <a:moveTo>
                  <a:pt x="10014" y="298"/>
                </a:moveTo>
                <a:cubicBezTo>
                  <a:pt x="10300" y="298"/>
                  <a:pt x="10538" y="536"/>
                  <a:pt x="10538" y="822"/>
                </a:cubicBezTo>
                <a:lnTo>
                  <a:pt x="10538" y="5239"/>
                </a:lnTo>
                <a:lnTo>
                  <a:pt x="10312" y="5239"/>
                </a:lnTo>
                <a:cubicBezTo>
                  <a:pt x="10228" y="5239"/>
                  <a:pt x="10157" y="5322"/>
                  <a:pt x="10157" y="5406"/>
                </a:cubicBezTo>
                <a:cubicBezTo>
                  <a:pt x="10157" y="5501"/>
                  <a:pt x="10228" y="5572"/>
                  <a:pt x="10312" y="5572"/>
                </a:cubicBezTo>
                <a:lnTo>
                  <a:pt x="10490" y="5572"/>
                </a:lnTo>
                <a:lnTo>
                  <a:pt x="10490" y="9977"/>
                </a:lnTo>
                <a:cubicBezTo>
                  <a:pt x="10490" y="10263"/>
                  <a:pt x="10252" y="10501"/>
                  <a:pt x="9978" y="10501"/>
                </a:cubicBezTo>
                <a:lnTo>
                  <a:pt x="5573" y="10501"/>
                </a:lnTo>
                <a:lnTo>
                  <a:pt x="5573" y="8799"/>
                </a:lnTo>
                <a:cubicBezTo>
                  <a:pt x="5573" y="8537"/>
                  <a:pt x="5347" y="8311"/>
                  <a:pt x="5073" y="8311"/>
                </a:cubicBezTo>
                <a:lnTo>
                  <a:pt x="4739" y="8311"/>
                </a:lnTo>
                <a:cubicBezTo>
                  <a:pt x="4525" y="8311"/>
                  <a:pt x="4347" y="8394"/>
                  <a:pt x="4227" y="8537"/>
                </a:cubicBezTo>
                <a:cubicBezTo>
                  <a:pt x="4085" y="8715"/>
                  <a:pt x="3870" y="8811"/>
                  <a:pt x="3632" y="8811"/>
                </a:cubicBezTo>
                <a:cubicBezTo>
                  <a:pt x="3394" y="8811"/>
                  <a:pt x="3192" y="8715"/>
                  <a:pt x="3037" y="8537"/>
                </a:cubicBezTo>
                <a:cubicBezTo>
                  <a:pt x="2894" y="8358"/>
                  <a:pt x="2834" y="8120"/>
                  <a:pt x="2894" y="7882"/>
                </a:cubicBezTo>
                <a:cubicBezTo>
                  <a:pt x="2954" y="7584"/>
                  <a:pt x="3204" y="7346"/>
                  <a:pt x="3501" y="7287"/>
                </a:cubicBezTo>
                <a:cubicBezTo>
                  <a:pt x="3557" y="7275"/>
                  <a:pt x="3612" y="7269"/>
                  <a:pt x="3665" y="7269"/>
                </a:cubicBezTo>
                <a:cubicBezTo>
                  <a:pt x="3887" y="7269"/>
                  <a:pt x="4086" y="7367"/>
                  <a:pt x="4239" y="7549"/>
                </a:cubicBezTo>
                <a:cubicBezTo>
                  <a:pt x="4358" y="7703"/>
                  <a:pt x="4561" y="7787"/>
                  <a:pt x="4751" y="7787"/>
                </a:cubicBezTo>
                <a:lnTo>
                  <a:pt x="5097" y="7787"/>
                </a:lnTo>
                <a:cubicBezTo>
                  <a:pt x="5359" y="7787"/>
                  <a:pt x="5585" y="7561"/>
                  <a:pt x="5585" y="7299"/>
                </a:cubicBezTo>
                <a:lnTo>
                  <a:pt x="5585" y="5596"/>
                </a:lnTo>
                <a:lnTo>
                  <a:pt x="7275" y="5596"/>
                </a:lnTo>
                <a:cubicBezTo>
                  <a:pt x="7383" y="5596"/>
                  <a:pt x="7454" y="5679"/>
                  <a:pt x="7454" y="5775"/>
                </a:cubicBezTo>
                <a:lnTo>
                  <a:pt x="7454" y="6120"/>
                </a:lnTo>
                <a:cubicBezTo>
                  <a:pt x="7454" y="6227"/>
                  <a:pt x="7418" y="6310"/>
                  <a:pt x="7335" y="6394"/>
                </a:cubicBezTo>
                <a:cubicBezTo>
                  <a:pt x="7037" y="6644"/>
                  <a:pt x="6894" y="7025"/>
                  <a:pt x="6966" y="7430"/>
                </a:cubicBezTo>
                <a:cubicBezTo>
                  <a:pt x="7037" y="7858"/>
                  <a:pt x="7383" y="8203"/>
                  <a:pt x="7799" y="8299"/>
                </a:cubicBezTo>
                <a:cubicBezTo>
                  <a:pt x="7871" y="8311"/>
                  <a:pt x="7954" y="8323"/>
                  <a:pt x="8037" y="8323"/>
                </a:cubicBezTo>
                <a:cubicBezTo>
                  <a:pt x="8288" y="8323"/>
                  <a:pt x="8526" y="8239"/>
                  <a:pt x="8728" y="8084"/>
                </a:cubicBezTo>
                <a:cubicBezTo>
                  <a:pt x="8978" y="7882"/>
                  <a:pt x="9121" y="7561"/>
                  <a:pt x="9121" y="7239"/>
                </a:cubicBezTo>
                <a:cubicBezTo>
                  <a:pt x="9121" y="6906"/>
                  <a:pt x="8978" y="6608"/>
                  <a:pt x="8728" y="6406"/>
                </a:cubicBezTo>
                <a:cubicBezTo>
                  <a:pt x="8645" y="6346"/>
                  <a:pt x="8621" y="6251"/>
                  <a:pt x="8621" y="6132"/>
                </a:cubicBezTo>
                <a:lnTo>
                  <a:pt x="8621" y="5798"/>
                </a:lnTo>
                <a:cubicBezTo>
                  <a:pt x="8621" y="5691"/>
                  <a:pt x="8692" y="5620"/>
                  <a:pt x="8799" y="5620"/>
                </a:cubicBezTo>
                <a:lnTo>
                  <a:pt x="9645" y="5620"/>
                </a:lnTo>
                <a:cubicBezTo>
                  <a:pt x="9740" y="5620"/>
                  <a:pt x="9812" y="5536"/>
                  <a:pt x="9812" y="5453"/>
                </a:cubicBezTo>
                <a:cubicBezTo>
                  <a:pt x="9812" y="5358"/>
                  <a:pt x="9740" y="5286"/>
                  <a:pt x="9645" y="5286"/>
                </a:cubicBezTo>
                <a:lnTo>
                  <a:pt x="8799" y="5286"/>
                </a:lnTo>
                <a:cubicBezTo>
                  <a:pt x="8526" y="5286"/>
                  <a:pt x="8311" y="5513"/>
                  <a:pt x="8311" y="5775"/>
                </a:cubicBezTo>
                <a:lnTo>
                  <a:pt x="8311" y="6120"/>
                </a:lnTo>
                <a:cubicBezTo>
                  <a:pt x="8311" y="6334"/>
                  <a:pt x="8395" y="6513"/>
                  <a:pt x="8526" y="6632"/>
                </a:cubicBezTo>
                <a:cubicBezTo>
                  <a:pt x="8704" y="6775"/>
                  <a:pt x="8811" y="6989"/>
                  <a:pt x="8811" y="7227"/>
                </a:cubicBezTo>
                <a:cubicBezTo>
                  <a:pt x="8811" y="7465"/>
                  <a:pt x="8704" y="7668"/>
                  <a:pt x="8526" y="7822"/>
                </a:cubicBezTo>
                <a:cubicBezTo>
                  <a:pt x="8394" y="7928"/>
                  <a:pt x="8229" y="7988"/>
                  <a:pt x="8056" y="7988"/>
                </a:cubicBezTo>
                <a:cubicBezTo>
                  <a:pt x="7995" y="7988"/>
                  <a:pt x="7933" y="7981"/>
                  <a:pt x="7871" y="7965"/>
                </a:cubicBezTo>
                <a:cubicBezTo>
                  <a:pt x="7573" y="7906"/>
                  <a:pt x="7335" y="7656"/>
                  <a:pt x="7275" y="7358"/>
                </a:cubicBezTo>
                <a:cubicBezTo>
                  <a:pt x="7216" y="7072"/>
                  <a:pt x="7323" y="6810"/>
                  <a:pt x="7549" y="6608"/>
                </a:cubicBezTo>
                <a:cubicBezTo>
                  <a:pt x="7692" y="6489"/>
                  <a:pt x="7787" y="6298"/>
                  <a:pt x="7787" y="6108"/>
                </a:cubicBezTo>
                <a:lnTo>
                  <a:pt x="7787" y="5763"/>
                </a:lnTo>
                <a:cubicBezTo>
                  <a:pt x="7787" y="5501"/>
                  <a:pt x="7561" y="5275"/>
                  <a:pt x="7287" y="5275"/>
                </a:cubicBezTo>
                <a:lnTo>
                  <a:pt x="5597" y="5275"/>
                </a:lnTo>
                <a:lnTo>
                  <a:pt x="5597" y="3572"/>
                </a:lnTo>
                <a:cubicBezTo>
                  <a:pt x="5597" y="3477"/>
                  <a:pt x="5668" y="3393"/>
                  <a:pt x="5775" y="3393"/>
                </a:cubicBezTo>
                <a:lnTo>
                  <a:pt x="6121" y="3393"/>
                </a:lnTo>
                <a:cubicBezTo>
                  <a:pt x="6216" y="3393"/>
                  <a:pt x="6311" y="3441"/>
                  <a:pt x="6383" y="3512"/>
                </a:cubicBezTo>
                <a:cubicBezTo>
                  <a:pt x="6592" y="3762"/>
                  <a:pt x="6901" y="3911"/>
                  <a:pt x="7234" y="3911"/>
                </a:cubicBezTo>
                <a:cubicBezTo>
                  <a:pt x="7299" y="3911"/>
                  <a:pt x="7364" y="3905"/>
                  <a:pt x="7430" y="3893"/>
                </a:cubicBezTo>
                <a:cubicBezTo>
                  <a:pt x="7859" y="3810"/>
                  <a:pt x="8204" y="3477"/>
                  <a:pt x="8288" y="3060"/>
                </a:cubicBezTo>
                <a:cubicBezTo>
                  <a:pt x="8359" y="2727"/>
                  <a:pt x="8276" y="2381"/>
                  <a:pt x="8061" y="2131"/>
                </a:cubicBezTo>
                <a:cubicBezTo>
                  <a:pt x="7859" y="1881"/>
                  <a:pt x="7549" y="1726"/>
                  <a:pt x="7216" y="1726"/>
                </a:cubicBezTo>
                <a:cubicBezTo>
                  <a:pt x="6894" y="1726"/>
                  <a:pt x="6597" y="1881"/>
                  <a:pt x="6383" y="2131"/>
                </a:cubicBezTo>
                <a:cubicBezTo>
                  <a:pt x="6323" y="2203"/>
                  <a:pt x="6240" y="2238"/>
                  <a:pt x="6132" y="2238"/>
                </a:cubicBezTo>
                <a:lnTo>
                  <a:pt x="5787" y="2238"/>
                </a:lnTo>
                <a:cubicBezTo>
                  <a:pt x="5680" y="2238"/>
                  <a:pt x="5609" y="2167"/>
                  <a:pt x="5609" y="2060"/>
                </a:cubicBezTo>
                <a:lnTo>
                  <a:pt x="5609" y="1215"/>
                </a:lnTo>
                <a:cubicBezTo>
                  <a:pt x="5609" y="1119"/>
                  <a:pt x="5537" y="1048"/>
                  <a:pt x="5442" y="1048"/>
                </a:cubicBezTo>
                <a:cubicBezTo>
                  <a:pt x="5359" y="1048"/>
                  <a:pt x="5287" y="1119"/>
                  <a:pt x="5287" y="1215"/>
                </a:cubicBezTo>
                <a:lnTo>
                  <a:pt x="5287" y="2060"/>
                </a:lnTo>
                <a:cubicBezTo>
                  <a:pt x="5287" y="2322"/>
                  <a:pt x="5501" y="2548"/>
                  <a:pt x="5775" y="2548"/>
                </a:cubicBezTo>
                <a:lnTo>
                  <a:pt x="6121" y="2548"/>
                </a:lnTo>
                <a:cubicBezTo>
                  <a:pt x="6323" y="2548"/>
                  <a:pt x="6502" y="2465"/>
                  <a:pt x="6621" y="2322"/>
                </a:cubicBezTo>
                <a:cubicBezTo>
                  <a:pt x="6775" y="2143"/>
                  <a:pt x="6978" y="2048"/>
                  <a:pt x="7216" y="2048"/>
                </a:cubicBezTo>
                <a:cubicBezTo>
                  <a:pt x="7454" y="2048"/>
                  <a:pt x="7668" y="2143"/>
                  <a:pt x="7811" y="2322"/>
                </a:cubicBezTo>
                <a:cubicBezTo>
                  <a:pt x="7966" y="2500"/>
                  <a:pt x="8026" y="2739"/>
                  <a:pt x="7966" y="2977"/>
                </a:cubicBezTo>
                <a:cubicBezTo>
                  <a:pt x="7907" y="3274"/>
                  <a:pt x="7656" y="3512"/>
                  <a:pt x="7359" y="3572"/>
                </a:cubicBezTo>
                <a:cubicBezTo>
                  <a:pt x="7303" y="3584"/>
                  <a:pt x="7248" y="3589"/>
                  <a:pt x="7193" y="3589"/>
                </a:cubicBezTo>
                <a:cubicBezTo>
                  <a:pt x="6969" y="3589"/>
                  <a:pt x="6762" y="3492"/>
                  <a:pt x="6609" y="3310"/>
                </a:cubicBezTo>
                <a:cubicBezTo>
                  <a:pt x="6490" y="3155"/>
                  <a:pt x="6299" y="3072"/>
                  <a:pt x="6097" y="3072"/>
                </a:cubicBezTo>
                <a:lnTo>
                  <a:pt x="5763" y="3072"/>
                </a:lnTo>
                <a:cubicBezTo>
                  <a:pt x="5490" y="3072"/>
                  <a:pt x="5275" y="3298"/>
                  <a:pt x="5275" y="3560"/>
                </a:cubicBezTo>
                <a:lnTo>
                  <a:pt x="5275" y="5263"/>
                </a:lnTo>
                <a:lnTo>
                  <a:pt x="3573" y="5263"/>
                </a:lnTo>
                <a:cubicBezTo>
                  <a:pt x="3465" y="5263"/>
                  <a:pt x="3394" y="5179"/>
                  <a:pt x="3394" y="5084"/>
                </a:cubicBezTo>
                <a:lnTo>
                  <a:pt x="3394" y="4727"/>
                </a:lnTo>
                <a:cubicBezTo>
                  <a:pt x="3394" y="4620"/>
                  <a:pt x="3442" y="4524"/>
                  <a:pt x="3513" y="4453"/>
                </a:cubicBezTo>
                <a:cubicBezTo>
                  <a:pt x="3811" y="4203"/>
                  <a:pt x="3954" y="3810"/>
                  <a:pt x="3882" y="3417"/>
                </a:cubicBezTo>
                <a:cubicBezTo>
                  <a:pt x="3811" y="2977"/>
                  <a:pt x="3465" y="2643"/>
                  <a:pt x="3049" y="2548"/>
                </a:cubicBezTo>
                <a:cubicBezTo>
                  <a:pt x="2973" y="2531"/>
                  <a:pt x="2896" y="2523"/>
                  <a:pt x="2820" y="2523"/>
                </a:cubicBezTo>
                <a:cubicBezTo>
                  <a:pt x="2570" y="2523"/>
                  <a:pt x="2323" y="2610"/>
                  <a:pt x="2132" y="2774"/>
                </a:cubicBezTo>
                <a:cubicBezTo>
                  <a:pt x="1870" y="2977"/>
                  <a:pt x="1727" y="3298"/>
                  <a:pt x="1727" y="3620"/>
                </a:cubicBezTo>
                <a:cubicBezTo>
                  <a:pt x="1727" y="3941"/>
                  <a:pt x="1870" y="4239"/>
                  <a:pt x="2132" y="4453"/>
                </a:cubicBezTo>
                <a:cubicBezTo>
                  <a:pt x="2203" y="4513"/>
                  <a:pt x="2227" y="4608"/>
                  <a:pt x="2227" y="4703"/>
                </a:cubicBezTo>
                <a:lnTo>
                  <a:pt x="2227" y="5048"/>
                </a:lnTo>
                <a:cubicBezTo>
                  <a:pt x="2227" y="5155"/>
                  <a:pt x="2156" y="5227"/>
                  <a:pt x="2049" y="5227"/>
                </a:cubicBezTo>
                <a:lnTo>
                  <a:pt x="358" y="5227"/>
                </a:lnTo>
                <a:lnTo>
                  <a:pt x="358" y="822"/>
                </a:lnTo>
                <a:cubicBezTo>
                  <a:pt x="358" y="536"/>
                  <a:pt x="596" y="298"/>
                  <a:pt x="882" y="298"/>
                </a:cubicBezTo>
                <a:lnTo>
                  <a:pt x="5287" y="298"/>
                </a:lnTo>
                <a:lnTo>
                  <a:pt x="5287" y="476"/>
                </a:lnTo>
                <a:cubicBezTo>
                  <a:pt x="5287" y="572"/>
                  <a:pt x="5359" y="643"/>
                  <a:pt x="5442" y="643"/>
                </a:cubicBezTo>
                <a:cubicBezTo>
                  <a:pt x="5537" y="643"/>
                  <a:pt x="5609" y="572"/>
                  <a:pt x="5609" y="476"/>
                </a:cubicBezTo>
                <a:lnTo>
                  <a:pt x="5609" y="298"/>
                </a:lnTo>
                <a:close/>
                <a:moveTo>
                  <a:pt x="834" y="0"/>
                </a:moveTo>
                <a:cubicBezTo>
                  <a:pt x="370" y="0"/>
                  <a:pt x="1" y="381"/>
                  <a:pt x="1" y="834"/>
                </a:cubicBezTo>
                <a:lnTo>
                  <a:pt x="1" y="9977"/>
                </a:lnTo>
                <a:cubicBezTo>
                  <a:pt x="1" y="10442"/>
                  <a:pt x="370" y="10811"/>
                  <a:pt x="834" y="10811"/>
                </a:cubicBezTo>
                <a:lnTo>
                  <a:pt x="9978" y="10811"/>
                </a:lnTo>
                <a:cubicBezTo>
                  <a:pt x="10431" y="10811"/>
                  <a:pt x="10812" y="10442"/>
                  <a:pt x="10812" y="9977"/>
                </a:cubicBezTo>
                <a:lnTo>
                  <a:pt x="10812" y="834"/>
                </a:lnTo>
                <a:cubicBezTo>
                  <a:pt x="10812" y="381"/>
                  <a:pt x="10431" y="0"/>
                  <a:pt x="9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49" name="Google Shape;9949;p58"/>
          <p:cNvGrpSpPr/>
          <p:nvPr/>
        </p:nvGrpSpPr>
        <p:grpSpPr>
          <a:xfrm>
            <a:off x="6974158" y="2789537"/>
            <a:ext cx="255247" cy="327458"/>
            <a:chOff x="6974158" y="2789537"/>
            <a:chExt cx="255247" cy="327458"/>
          </a:xfrm>
        </p:grpSpPr>
        <p:sp>
          <p:nvSpPr>
            <p:cNvPr id="9950" name="Google Shape;9950;p58"/>
            <p:cNvSpPr/>
            <p:nvPr/>
          </p:nvSpPr>
          <p:spPr>
            <a:xfrm>
              <a:off x="7066407" y="2897282"/>
              <a:ext cx="9876" cy="14798"/>
            </a:xfrm>
            <a:custGeom>
              <a:avLst/>
              <a:gdLst/>
              <a:ahLst/>
              <a:cxnLst/>
              <a:rect l="l" t="t" r="r" b="b"/>
              <a:pathLst>
                <a:path w="311" h="466" extrusionOk="0">
                  <a:moveTo>
                    <a:pt x="144" y="1"/>
                  </a:moveTo>
                  <a:cubicBezTo>
                    <a:pt x="60" y="1"/>
                    <a:pt x="1" y="84"/>
                    <a:pt x="1" y="155"/>
                  </a:cubicBezTo>
                  <a:lnTo>
                    <a:pt x="1" y="322"/>
                  </a:lnTo>
                  <a:cubicBezTo>
                    <a:pt x="1" y="405"/>
                    <a:pt x="72" y="465"/>
                    <a:pt x="144" y="465"/>
                  </a:cubicBezTo>
                  <a:cubicBezTo>
                    <a:pt x="227" y="465"/>
                    <a:pt x="299" y="394"/>
                    <a:pt x="299" y="322"/>
                  </a:cubicBezTo>
                  <a:lnTo>
                    <a:pt x="299" y="155"/>
                  </a:lnTo>
                  <a:cubicBezTo>
                    <a:pt x="310" y="60"/>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1" name="Google Shape;9951;p58"/>
            <p:cNvSpPr/>
            <p:nvPr/>
          </p:nvSpPr>
          <p:spPr>
            <a:xfrm>
              <a:off x="7127662" y="2897282"/>
              <a:ext cx="9495" cy="14798"/>
            </a:xfrm>
            <a:custGeom>
              <a:avLst/>
              <a:gdLst/>
              <a:ahLst/>
              <a:cxnLst/>
              <a:rect l="l" t="t" r="r" b="b"/>
              <a:pathLst>
                <a:path w="299" h="466" extrusionOk="0">
                  <a:moveTo>
                    <a:pt x="155" y="1"/>
                  </a:moveTo>
                  <a:cubicBezTo>
                    <a:pt x="60" y="1"/>
                    <a:pt x="1" y="84"/>
                    <a:pt x="1" y="155"/>
                  </a:cubicBezTo>
                  <a:lnTo>
                    <a:pt x="1" y="322"/>
                  </a:lnTo>
                  <a:cubicBezTo>
                    <a:pt x="1" y="405"/>
                    <a:pt x="84" y="465"/>
                    <a:pt x="155" y="465"/>
                  </a:cubicBezTo>
                  <a:cubicBezTo>
                    <a:pt x="227" y="465"/>
                    <a:pt x="298" y="394"/>
                    <a:pt x="298" y="322"/>
                  </a:cubicBezTo>
                  <a:lnTo>
                    <a:pt x="298" y="155"/>
                  </a:lnTo>
                  <a:cubicBezTo>
                    <a:pt x="298" y="60"/>
                    <a:pt x="239"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2" name="Google Shape;9952;p58"/>
            <p:cNvSpPr/>
            <p:nvPr/>
          </p:nvSpPr>
          <p:spPr>
            <a:xfrm>
              <a:off x="7081935" y="2933292"/>
              <a:ext cx="40837" cy="14703"/>
            </a:xfrm>
            <a:custGeom>
              <a:avLst/>
              <a:gdLst/>
              <a:ahLst/>
              <a:cxnLst/>
              <a:rect l="l" t="t" r="r" b="b"/>
              <a:pathLst>
                <a:path w="1286" h="463" extrusionOk="0">
                  <a:moveTo>
                    <a:pt x="162" y="1"/>
                  </a:moveTo>
                  <a:cubicBezTo>
                    <a:pt x="125" y="1"/>
                    <a:pt x="89" y="16"/>
                    <a:pt x="60" y="45"/>
                  </a:cubicBezTo>
                  <a:cubicBezTo>
                    <a:pt x="0" y="105"/>
                    <a:pt x="0" y="200"/>
                    <a:pt x="60" y="260"/>
                  </a:cubicBezTo>
                  <a:cubicBezTo>
                    <a:pt x="191" y="391"/>
                    <a:pt x="417" y="462"/>
                    <a:pt x="655" y="462"/>
                  </a:cubicBezTo>
                  <a:cubicBezTo>
                    <a:pt x="893" y="462"/>
                    <a:pt x="1119" y="391"/>
                    <a:pt x="1250" y="260"/>
                  </a:cubicBezTo>
                  <a:cubicBezTo>
                    <a:pt x="1286" y="200"/>
                    <a:pt x="1286" y="105"/>
                    <a:pt x="1226" y="45"/>
                  </a:cubicBezTo>
                  <a:cubicBezTo>
                    <a:pt x="1197" y="16"/>
                    <a:pt x="1158" y="1"/>
                    <a:pt x="1119" y="1"/>
                  </a:cubicBezTo>
                  <a:cubicBezTo>
                    <a:pt x="1081" y="1"/>
                    <a:pt x="1042" y="16"/>
                    <a:pt x="1012" y="45"/>
                  </a:cubicBezTo>
                  <a:cubicBezTo>
                    <a:pt x="953" y="105"/>
                    <a:pt x="822" y="164"/>
                    <a:pt x="643" y="164"/>
                  </a:cubicBezTo>
                  <a:cubicBezTo>
                    <a:pt x="464" y="164"/>
                    <a:pt x="310" y="105"/>
                    <a:pt x="274" y="45"/>
                  </a:cubicBezTo>
                  <a:cubicBezTo>
                    <a:pt x="238" y="16"/>
                    <a:pt x="199" y="1"/>
                    <a:pt x="1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3" name="Google Shape;9953;p58"/>
            <p:cNvSpPr/>
            <p:nvPr/>
          </p:nvSpPr>
          <p:spPr>
            <a:xfrm>
              <a:off x="6974158" y="2789537"/>
              <a:ext cx="255247" cy="327458"/>
            </a:xfrm>
            <a:custGeom>
              <a:avLst/>
              <a:gdLst/>
              <a:ahLst/>
              <a:cxnLst/>
              <a:rect l="l" t="t" r="r" b="b"/>
              <a:pathLst>
                <a:path w="8038" h="10312" extrusionOk="0">
                  <a:moveTo>
                    <a:pt x="6228" y="2167"/>
                  </a:moveTo>
                  <a:lnTo>
                    <a:pt x="6132" y="3239"/>
                  </a:lnTo>
                  <a:lnTo>
                    <a:pt x="6121" y="3239"/>
                  </a:lnTo>
                  <a:cubicBezTo>
                    <a:pt x="6025" y="3239"/>
                    <a:pt x="5942" y="3156"/>
                    <a:pt x="5942" y="3060"/>
                  </a:cubicBezTo>
                  <a:lnTo>
                    <a:pt x="5942" y="2227"/>
                  </a:lnTo>
                  <a:cubicBezTo>
                    <a:pt x="6049" y="2227"/>
                    <a:pt x="6132" y="2191"/>
                    <a:pt x="6228" y="2167"/>
                  </a:cubicBezTo>
                  <a:close/>
                  <a:moveTo>
                    <a:pt x="5787" y="322"/>
                  </a:moveTo>
                  <a:cubicBezTo>
                    <a:pt x="6240" y="322"/>
                    <a:pt x="6609" y="691"/>
                    <a:pt x="6609" y="1131"/>
                  </a:cubicBezTo>
                  <a:cubicBezTo>
                    <a:pt x="6609" y="1584"/>
                    <a:pt x="6240" y="1953"/>
                    <a:pt x="5787" y="1953"/>
                  </a:cubicBezTo>
                  <a:cubicBezTo>
                    <a:pt x="5490" y="1953"/>
                    <a:pt x="5228" y="1786"/>
                    <a:pt x="5073" y="1536"/>
                  </a:cubicBezTo>
                  <a:cubicBezTo>
                    <a:pt x="5048" y="1487"/>
                    <a:pt x="4996" y="1455"/>
                    <a:pt x="4942" y="1455"/>
                  </a:cubicBezTo>
                  <a:cubicBezTo>
                    <a:pt x="4918" y="1455"/>
                    <a:pt x="4893" y="1462"/>
                    <a:pt x="4870" y="1477"/>
                  </a:cubicBezTo>
                  <a:cubicBezTo>
                    <a:pt x="4799" y="1524"/>
                    <a:pt x="4763" y="1608"/>
                    <a:pt x="4811" y="1691"/>
                  </a:cubicBezTo>
                  <a:cubicBezTo>
                    <a:pt x="4823" y="1703"/>
                    <a:pt x="4823" y="1715"/>
                    <a:pt x="4835" y="1727"/>
                  </a:cubicBezTo>
                  <a:cubicBezTo>
                    <a:pt x="4775" y="1763"/>
                    <a:pt x="4716" y="1786"/>
                    <a:pt x="4656" y="1786"/>
                  </a:cubicBezTo>
                  <a:cubicBezTo>
                    <a:pt x="4477" y="1786"/>
                    <a:pt x="4335" y="1643"/>
                    <a:pt x="4335" y="1465"/>
                  </a:cubicBezTo>
                  <a:cubicBezTo>
                    <a:pt x="4335" y="1370"/>
                    <a:pt x="4263" y="1310"/>
                    <a:pt x="4180" y="1310"/>
                  </a:cubicBezTo>
                  <a:cubicBezTo>
                    <a:pt x="4108" y="1310"/>
                    <a:pt x="4037" y="1393"/>
                    <a:pt x="4037" y="1465"/>
                  </a:cubicBezTo>
                  <a:cubicBezTo>
                    <a:pt x="4037" y="1810"/>
                    <a:pt x="4323" y="2108"/>
                    <a:pt x="4680" y="2108"/>
                  </a:cubicBezTo>
                  <a:cubicBezTo>
                    <a:pt x="4811" y="2108"/>
                    <a:pt x="4942" y="2060"/>
                    <a:pt x="5061" y="1965"/>
                  </a:cubicBezTo>
                  <a:cubicBezTo>
                    <a:pt x="5228" y="2120"/>
                    <a:pt x="5442" y="2227"/>
                    <a:pt x="5668" y="2251"/>
                  </a:cubicBezTo>
                  <a:lnTo>
                    <a:pt x="5668" y="3072"/>
                  </a:lnTo>
                  <a:cubicBezTo>
                    <a:pt x="5668" y="3334"/>
                    <a:pt x="5882" y="3548"/>
                    <a:pt x="6144" y="3548"/>
                  </a:cubicBezTo>
                  <a:lnTo>
                    <a:pt x="6382" y="3548"/>
                  </a:lnTo>
                  <a:cubicBezTo>
                    <a:pt x="6454" y="3548"/>
                    <a:pt x="6513" y="3572"/>
                    <a:pt x="6573" y="3632"/>
                  </a:cubicBezTo>
                  <a:cubicBezTo>
                    <a:pt x="6621" y="3691"/>
                    <a:pt x="6656" y="3751"/>
                    <a:pt x="6633" y="3834"/>
                  </a:cubicBezTo>
                  <a:cubicBezTo>
                    <a:pt x="6621" y="3953"/>
                    <a:pt x="6502" y="4049"/>
                    <a:pt x="6371" y="4049"/>
                  </a:cubicBezTo>
                  <a:lnTo>
                    <a:pt x="6299" y="4049"/>
                  </a:lnTo>
                  <a:lnTo>
                    <a:pt x="6299" y="4037"/>
                  </a:lnTo>
                  <a:cubicBezTo>
                    <a:pt x="6299" y="3953"/>
                    <a:pt x="6216" y="3894"/>
                    <a:pt x="6144" y="3894"/>
                  </a:cubicBezTo>
                  <a:cubicBezTo>
                    <a:pt x="6061" y="3894"/>
                    <a:pt x="6001" y="3965"/>
                    <a:pt x="6001" y="4037"/>
                  </a:cubicBezTo>
                  <a:cubicBezTo>
                    <a:pt x="6001" y="5108"/>
                    <a:pt x="5120" y="5977"/>
                    <a:pt x="4049" y="5977"/>
                  </a:cubicBezTo>
                  <a:cubicBezTo>
                    <a:pt x="2953" y="5977"/>
                    <a:pt x="2084" y="5096"/>
                    <a:pt x="2084" y="4025"/>
                  </a:cubicBezTo>
                  <a:cubicBezTo>
                    <a:pt x="2084" y="3929"/>
                    <a:pt x="2013" y="3870"/>
                    <a:pt x="1941" y="3870"/>
                  </a:cubicBezTo>
                  <a:cubicBezTo>
                    <a:pt x="1858" y="3870"/>
                    <a:pt x="1787" y="3953"/>
                    <a:pt x="1787" y="4025"/>
                  </a:cubicBezTo>
                  <a:lnTo>
                    <a:pt x="1787" y="4037"/>
                  </a:lnTo>
                  <a:lnTo>
                    <a:pt x="1703" y="4037"/>
                  </a:lnTo>
                  <a:cubicBezTo>
                    <a:pt x="1620" y="4037"/>
                    <a:pt x="1560" y="4013"/>
                    <a:pt x="1501" y="3953"/>
                  </a:cubicBezTo>
                  <a:cubicBezTo>
                    <a:pt x="1465" y="3894"/>
                    <a:pt x="1429" y="3834"/>
                    <a:pt x="1441" y="3751"/>
                  </a:cubicBezTo>
                  <a:cubicBezTo>
                    <a:pt x="1465" y="3632"/>
                    <a:pt x="1584" y="3537"/>
                    <a:pt x="1715" y="3537"/>
                  </a:cubicBezTo>
                  <a:lnTo>
                    <a:pt x="1941" y="3537"/>
                  </a:lnTo>
                  <a:cubicBezTo>
                    <a:pt x="2203" y="3537"/>
                    <a:pt x="2418" y="3322"/>
                    <a:pt x="2418" y="3060"/>
                  </a:cubicBezTo>
                  <a:lnTo>
                    <a:pt x="2418" y="2358"/>
                  </a:lnTo>
                  <a:cubicBezTo>
                    <a:pt x="2418" y="2084"/>
                    <a:pt x="2632" y="1870"/>
                    <a:pt x="2906" y="1870"/>
                  </a:cubicBezTo>
                  <a:lnTo>
                    <a:pt x="3525" y="1870"/>
                  </a:lnTo>
                  <a:cubicBezTo>
                    <a:pt x="3620" y="1870"/>
                    <a:pt x="3680" y="1786"/>
                    <a:pt x="3680" y="1715"/>
                  </a:cubicBezTo>
                  <a:cubicBezTo>
                    <a:pt x="3680" y="1632"/>
                    <a:pt x="3608" y="1572"/>
                    <a:pt x="3525" y="1572"/>
                  </a:cubicBezTo>
                  <a:lnTo>
                    <a:pt x="2906" y="1572"/>
                  </a:lnTo>
                  <a:cubicBezTo>
                    <a:pt x="2477" y="1572"/>
                    <a:pt x="2120" y="1929"/>
                    <a:pt x="2120" y="2358"/>
                  </a:cubicBezTo>
                  <a:lnTo>
                    <a:pt x="2120" y="3060"/>
                  </a:lnTo>
                  <a:cubicBezTo>
                    <a:pt x="2120" y="3144"/>
                    <a:pt x="2037" y="3239"/>
                    <a:pt x="1941" y="3239"/>
                  </a:cubicBezTo>
                  <a:lnTo>
                    <a:pt x="1906" y="3239"/>
                  </a:lnTo>
                  <a:lnTo>
                    <a:pt x="1739" y="1572"/>
                  </a:lnTo>
                  <a:cubicBezTo>
                    <a:pt x="1715" y="1251"/>
                    <a:pt x="1822" y="929"/>
                    <a:pt x="2025" y="691"/>
                  </a:cubicBezTo>
                  <a:cubicBezTo>
                    <a:pt x="2239" y="453"/>
                    <a:pt x="2549" y="322"/>
                    <a:pt x="2870" y="322"/>
                  </a:cubicBezTo>
                  <a:close/>
                  <a:moveTo>
                    <a:pt x="5013" y="6013"/>
                  </a:moveTo>
                  <a:lnTo>
                    <a:pt x="5013" y="6537"/>
                  </a:lnTo>
                  <a:cubicBezTo>
                    <a:pt x="5013" y="6823"/>
                    <a:pt x="5204" y="7073"/>
                    <a:pt x="5478" y="7144"/>
                  </a:cubicBezTo>
                  <a:lnTo>
                    <a:pt x="5740" y="7227"/>
                  </a:lnTo>
                  <a:cubicBezTo>
                    <a:pt x="5668" y="7478"/>
                    <a:pt x="5537" y="7716"/>
                    <a:pt x="5370" y="7906"/>
                  </a:cubicBezTo>
                  <a:cubicBezTo>
                    <a:pt x="5311" y="7966"/>
                    <a:pt x="5323" y="8073"/>
                    <a:pt x="5382" y="8120"/>
                  </a:cubicBezTo>
                  <a:cubicBezTo>
                    <a:pt x="5418" y="8144"/>
                    <a:pt x="5442" y="8156"/>
                    <a:pt x="5490" y="8156"/>
                  </a:cubicBezTo>
                  <a:cubicBezTo>
                    <a:pt x="5537" y="8156"/>
                    <a:pt x="5585" y="8144"/>
                    <a:pt x="5609" y="8120"/>
                  </a:cubicBezTo>
                  <a:cubicBezTo>
                    <a:pt x="5823" y="7882"/>
                    <a:pt x="5966" y="7608"/>
                    <a:pt x="6061" y="7311"/>
                  </a:cubicBezTo>
                  <a:lnTo>
                    <a:pt x="6382" y="7418"/>
                  </a:lnTo>
                  <a:cubicBezTo>
                    <a:pt x="6204" y="7906"/>
                    <a:pt x="5930" y="8335"/>
                    <a:pt x="5525" y="8668"/>
                  </a:cubicBezTo>
                  <a:cubicBezTo>
                    <a:pt x="5085" y="9013"/>
                    <a:pt x="4573" y="9204"/>
                    <a:pt x="4001" y="9204"/>
                  </a:cubicBezTo>
                  <a:cubicBezTo>
                    <a:pt x="3442" y="9204"/>
                    <a:pt x="2918" y="9025"/>
                    <a:pt x="2489" y="8668"/>
                  </a:cubicBezTo>
                  <a:cubicBezTo>
                    <a:pt x="2096" y="8359"/>
                    <a:pt x="1810" y="7918"/>
                    <a:pt x="1668" y="7442"/>
                  </a:cubicBezTo>
                  <a:lnTo>
                    <a:pt x="2001" y="7347"/>
                  </a:lnTo>
                  <a:cubicBezTo>
                    <a:pt x="2108" y="7739"/>
                    <a:pt x="2358" y="8097"/>
                    <a:pt x="2680" y="8370"/>
                  </a:cubicBezTo>
                  <a:cubicBezTo>
                    <a:pt x="3049" y="8668"/>
                    <a:pt x="3513" y="8847"/>
                    <a:pt x="4001" y="8847"/>
                  </a:cubicBezTo>
                  <a:cubicBezTo>
                    <a:pt x="4382" y="8847"/>
                    <a:pt x="4739" y="8751"/>
                    <a:pt x="5049" y="8561"/>
                  </a:cubicBezTo>
                  <a:cubicBezTo>
                    <a:pt x="5120" y="8513"/>
                    <a:pt x="5132" y="8430"/>
                    <a:pt x="5109" y="8359"/>
                  </a:cubicBezTo>
                  <a:cubicBezTo>
                    <a:pt x="5077" y="8304"/>
                    <a:pt x="5031" y="8280"/>
                    <a:pt x="4979" y="8280"/>
                  </a:cubicBezTo>
                  <a:cubicBezTo>
                    <a:pt x="4952" y="8280"/>
                    <a:pt x="4923" y="8287"/>
                    <a:pt x="4894" y="8299"/>
                  </a:cubicBezTo>
                  <a:cubicBezTo>
                    <a:pt x="4632" y="8442"/>
                    <a:pt x="4311" y="8537"/>
                    <a:pt x="4001" y="8537"/>
                  </a:cubicBezTo>
                  <a:cubicBezTo>
                    <a:pt x="3215" y="8537"/>
                    <a:pt x="2513" y="8001"/>
                    <a:pt x="2299" y="7239"/>
                  </a:cubicBezTo>
                  <a:lnTo>
                    <a:pt x="2596" y="7144"/>
                  </a:lnTo>
                  <a:cubicBezTo>
                    <a:pt x="2858" y="7073"/>
                    <a:pt x="3049" y="6823"/>
                    <a:pt x="3049" y="6537"/>
                  </a:cubicBezTo>
                  <a:lnTo>
                    <a:pt x="3049" y="6013"/>
                  </a:lnTo>
                  <a:cubicBezTo>
                    <a:pt x="3346" y="6168"/>
                    <a:pt x="3680" y="6239"/>
                    <a:pt x="4037" y="6239"/>
                  </a:cubicBezTo>
                  <a:cubicBezTo>
                    <a:pt x="4394" y="6239"/>
                    <a:pt x="4716" y="6168"/>
                    <a:pt x="5013" y="6013"/>
                  </a:cubicBezTo>
                  <a:close/>
                  <a:moveTo>
                    <a:pt x="2870" y="0"/>
                  </a:moveTo>
                  <a:cubicBezTo>
                    <a:pt x="2477" y="0"/>
                    <a:pt x="2084" y="179"/>
                    <a:pt x="1799" y="477"/>
                  </a:cubicBezTo>
                  <a:cubicBezTo>
                    <a:pt x="1537" y="774"/>
                    <a:pt x="1406" y="1179"/>
                    <a:pt x="1429" y="1596"/>
                  </a:cubicBezTo>
                  <a:lnTo>
                    <a:pt x="1596" y="3251"/>
                  </a:lnTo>
                  <a:cubicBezTo>
                    <a:pt x="1358" y="3298"/>
                    <a:pt x="1144" y="3489"/>
                    <a:pt x="1132" y="3739"/>
                  </a:cubicBezTo>
                  <a:cubicBezTo>
                    <a:pt x="1120" y="3894"/>
                    <a:pt x="1168" y="4049"/>
                    <a:pt x="1263" y="4168"/>
                  </a:cubicBezTo>
                  <a:cubicBezTo>
                    <a:pt x="1370" y="4287"/>
                    <a:pt x="1525" y="4346"/>
                    <a:pt x="1680" y="4346"/>
                  </a:cubicBezTo>
                  <a:lnTo>
                    <a:pt x="1799" y="4346"/>
                  </a:lnTo>
                  <a:cubicBezTo>
                    <a:pt x="1894" y="4989"/>
                    <a:pt x="2251" y="5525"/>
                    <a:pt x="2739" y="5882"/>
                  </a:cubicBezTo>
                  <a:lnTo>
                    <a:pt x="2739" y="6585"/>
                  </a:lnTo>
                  <a:cubicBezTo>
                    <a:pt x="2739" y="6727"/>
                    <a:pt x="2632" y="6870"/>
                    <a:pt x="2501" y="6894"/>
                  </a:cubicBezTo>
                  <a:lnTo>
                    <a:pt x="810" y="7406"/>
                  </a:lnTo>
                  <a:cubicBezTo>
                    <a:pt x="322" y="7537"/>
                    <a:pt x="1" y="7978"/>
                    <a:pt x="1" y="8478"/>
                  </a:cubicBezTo>
                  <a:lnTo>
                    <a:pt x="1" y="10168"/>
                  </a:lnTo>
                  <a:cubicBezTo>
                    <a:pt x="1" y="10252"/>
                    <a:pt x="72" y="10311"/>
                    <a:pt x="144" y="10311"/>
                  </a:cubicBezTo>
                  <a:cubicBezTo>
                    <a:pt x="227" y="10311"/>
                    <a:pt x="298" y="10240"/>
                    <a:pt x="298" y="10168"/>
                  </a:cubicBezTo>
                  <a:lnTo>
                    <a:pt x="298" y="8466"/>
                  </a:lnTo>
                  <a:cubicBezTo>
                    <a:pt x="298" y="8109"/>
                    <a:pt x="537" y="7787"/>
                    <a:pt x="882" y="7680"/>
                  </a:cubicBezTo>
                  <a:lnTo>
                    <a:pt x="1370" y="7537"/>
                  </a:lnTo>
                  <a:cubicBezTo>
                    <a:pt x="1513" y="8073"/>
                    <a:pt x="1846" y="8549"/>
                    <a:pt x="2275" y="8906"/>
                  </a:cubicBezTo>
                  <a:cubicBezTo>
                    <a:pt x="2751" y="9287"/>
                    <a:pt x="3358" y="9502"/>
                    <a:pt x="3989" y="9502"/>
                  </a:cubicBezTo>
                  <a:cubicBezTo>
                    <a:pt x="4608" y="9502"/>
                    <a:pt x="5204" y="9287"/>
                    <a:pt x="5704" y="8906"/>
                  </a:cubicBezTo>
                  <a:cubicBezTo>
                    <a:pt x="6144" y="8549"/>
                    <a:pt x="6454" y="8073"/>
                    <a:pt x="6621" y="7537"/>
                  </a:cubicBezTo>
                  <a:lnTo>
                    <a:pt x="7144" y="7680"/>
                  </a:lnTo>
                  <a:cubicBezTo>
                    <a:pt x="7490" y="7787"/>
                    <a:pt x="7728" y="8097"/>
                    <a:pt x="7728" y="8466"/>
                  </a:cubicBezTo>
                  <a:lnTo>
                    <a:pt x="7728" y="10168"/>
                  </a:lnTo>
                  <a:cubicBezTo>
                    <a:pt x="7728" y="10252"/>
                    <a:pt x="7799" y="10311"/>
                    <a:pt x="7871" y="10311"/>
                  </a:cubicBezTo>
                  <a:cubicBezTo>
                    <a:pt x="7966" y="10311"/>
                    <a:pt x="8026" y="10240"/>
                    <a:pt x="8026" y="10168"/>
                  </a:cubicBezTo>
                  <a:lnTo>
                    <a:pt x="8026" y="8466"/>
                  </a:lnTo>
                  <a:cubicBezTo>
                    <a:pt x="8037" y="7966"/>
                    <a:pt x="7716" y="7525"/>
                    <a:pt x="7240" y="7382"/>
                  </a:cubicBezTo>
                  <a:lnTo>
                    <a:pt x="5537" y="6882"/>
                  </a:lnTo>
                  <a:cubicBezTo>
                    <a:pt x="5406" y="6835"/>
                    <a:pt x="5299" y="6704"/>
                    <a:pt x="5299" y="6573"/>
                  </a:cubicBezTo>
                  <a:lnTo>
                    <a:pt x="5299" y="5870"/>
                  </a:lnTo>
                  <a:cubicBezTo>
                    <a:pt x="5811" y="5525"/>
                    <a:pt x="6168" y="4977"/>
                    <a:pt x="6240" y="4334"/>
                  </a:cubicBezTo>
                  <a:lnTo>
                    <a:pt x="6323" y="4334"/>
                  </a:lnTo>
                  <a:cubicBezTo>
                    <a:pt x="6621" y="4334"/>
                    <a:pt x="6871" y="4108"/>
                    <a:pt x="6906" y="3846"/>
                  </a:cubicBezTo>
                  <a:cubicBezTo>
                    <a:pt x="6918" y="3691"/>
                    <a:pt x="6871" y="3525"/>
                    <a:pt x="6775" y="3417"/>
                  </a:cubicBezTo>
                  <a:cubicBezTo>
                    <a:pt x="6680" y="3322"/>
                    <a:pt x="6561" y="3251"/>
                    <a:pt x="6442" y="3239"/>
                  </a:cubicBezTo>
                  <a:lnTo>
                    <a:pt x="6549" y="1941"/>
                  </a:lnTo>
                  <a:cubicBezTo>
                    <a:pt x="6775" y="1727"/>
                    <a:pt x="6906" y="1453"/>
                    <a:pt x="6906" y="1120"/>
                  </a:cubicBezTo>
                  <a:cubicBezTo>
                    <a:pt x="6906" y="512"/>
                    <a:pt x="6394" y="0"/>
                    <a:pt x="5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4" name="Google Shape;9954;p58"/>
            <p:cNvSpPr/>
            <p:nvPr/>
          </p:nvSpPr>
          <p:spPr>
            <a:xfrm>
              <a:off x="7061135" y="2881785"/>
              <a:ext cx="20069" cy="9495"/>
            </a:xfrm>
            <a:custGeom>
              <a:avLst/>
              <a:gdLst/>
              <a:ahLst/>
              <a:cxnLst/>
              <a:rect l="l" t="t" r="r" b="b"/>
              <a:pathLst>
                <a:path w="632" h="299" extrusionOk="0">
                  <a:moveTo>
                    <a:pt x="155" y="1"/>
                  </a:moveTo>
                  <a:cubicBezTo>
                    <a:pt x="60" y="1"/>
                    <a:pt x="0" y="72"/>
                    <a:pt x="0" y="155"/>
                  </a:cubicBezTo>
                  <a:cubicBezTo>
                    <a:pt x="0" y="227"/>
                    <a:pt x="72" y="298"/>
                    <a:pt x="155" y="298"/>
                  </a:cubicBezTo>
                  <a:lnTo>
                    <a:pt x="476" y="298"/>
                  </a:lnTo>
                  <a:cubicBezTo>
                    <a:pt x="560" y="298"/>
                    <a:pt x="631" y="227"/>
                    <a:pt x="631" y="155"/>
                  </a:cubicBezTo>
                  <a:cubicBezTo>
                    <a:pt x="631" y="72"/>
                    <a:pt x="572"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5" name="Google Shape;9955;p58"/>
            <p:cNvSpPr/>
            <p:nvPr/>
          </p:nvSpPr>
          <p:spPr>
            <a:xfrm>
              <a:off x="7122740" y="2881785"/>
              <a:ext cx="19688" cy="9495"/>
            </a:xfrm>
            <a:custGeom>
              <a:avLst/>
              <a:gdLst/>
              <a:ahLst/>
              <a:cxnLst/>
              <a:rect l="l" t="t" r="r" b="b"/>
              <a:pathLst>
                <a:path w="620" h="299" extrusionOk="0">
                  <a:moveTo>
                    <a:pt x="144" y="1"/>
                  </a:moveTo>
                  <a:cubicBezTo>
                    <a:pt x="60" y="1"/>
                    <a:pt x="1" y="72"/>
                    <a:pt x="1" y="155"/>
                  </a:cubicBezTo>
                  <a:cubicBezTo>
                    <a:pt x="1" y="227"/>
                    <a:pt x="72" y="298"/>
                    <a:pt x="144" y="298"/>
                  </a:cubicBezTo>
                  <a:lnTo>
                    <a:pt x="477" y="298"/>
                  </a:lnTo>
                  <a:cubicBezTo>
                    <a:pt x="560" y="298"/>
                    <a:pt x="620" y="227"/>
                    <a:pt x="620" y="155"/>
                  </a:cubicBezTo>
                  <a:cubicBezTo>
                    <a:pt x="620"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56" name="Google Shape;9956;p58"/>
          <p:cNvGrpSpPr/>
          <p:nvPr/>
        </p:nvGrpSpPr>
        <p:grpSpPr>
          <a:xfrm>
            <a:off x="7530697" y="2790299"/>
            <a:ext cx="244291" cy="326314"/>
            <a:chOff x="7530697" y="2790299"/>
            <a:chExt cx="244291" cy="326314"/>
          </a:xfrm>
        </p:grpSpPr>
        <p:sp>
          <p:nvSpPr>
            <p:cNvPr id="9957" name="Google Shape;9957;p58"/>
            <p:cNvSpPr/>
            <p:nvPr/>
          </p:nvSpPr>
          <p:spPr>
            <a:xfrm>
              <a:off x="7616911" y="2907507"/>
              <a:ext cx="9463" cy="14385"/>
            </a:xfrm>
            <a:custGeom>
              <a:avLst/>
              <a:gdLst/>
              <a:ahLst/>
              <a:cxnLst/>
              <a:rect l="l" t="t" r="r" b="b"/>
              <a:pathLst>
                <a:path w="298" h="453" extrusionOk="0">
                  <a:moveTo>
                    <a:pt x="155" y="0"/>
                  </a:moveTo>
                  <a:cubicBezTo>
                    <a:pt x="60" y="0"/>
                    <a:pt x="0" y="72"/>
                    <a:pt x="0" y="143"/>
                  </a:cubicBezTo>
                  <a:lnTo>
                    <a:pt x="0" y="310"/>
                  </a:lnTo>
                  <a:cubicBezTo>
                    <a:pt x="0" y="393"/>
                    <a:pt x="72" y="453"/>
                    <a:pt x="155" y="453"/>
                  </a:cubicBezTo>
                  <a:cubicBezTo>
                    <a:pt x="227" y="453"/>
                    <a:pt x="298" y="381"/>
                    <a:pt x="298" y="310"/>
                  </a:cubicBezTo>
                  <a:lnTo>
                    <a:pt x="298" y="143"/>
                  </a:lnTo>
                  <a:cubicBezTo>
                    <a:pt x="298" y="72"/>
                    <a:pt x="23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8" name="Google Shape;9958;p58"/>
            <p:cNvSpPr/>
            <p:nvPr/>
          </p:nvSpPr>
          <p:spPr>
            <a:xfrm>
              <a:off x="7678548" y="2907507"/>
              <a:ext cx="9463" cy="14385"/>
            </a:xfrm>
            <a:custGeom>
              <a:avLst/>
              <a:gdLst/>
              <a:ahLst/>
              <a:cxnLst/>
              <a:rect l="l" t="t" r="r" b="b"/>
              <a:pathLst>
                <a:path w="298" h="453" extrusionOk="0">
                  <a:moveTo>
                    <a:pt x="143" y="0"/>
                  </a:moveTo>
                  <a:cubicBezTo>
                    <a:pt x="60" y="0"/>
                    <a:pt x="0" y="72"/>
                    <a:pt x="0" y="143"/>
                  </a:cubicBezTo>
                  <a:lnTo>
                    <a:pt x="0" y="310"/>
                  </a:lnTo>
                  <a:cubicBezTo>
                    <a:pt x="0" y="393"/>
                    <a:pt x="72" y="453"/>
                    <a:pt x="143" y="453"/>
                  </a:cubicBezTo>
                  <a:cubicBezTo>
                    <a:pt x="214" y="453"/>
                    <a:pt x="298" y="381"/>
                    <a:pt x="298" y="310"/>
                  </a:cubicBezTo>
                  <a:lnTo>
                    <a:pt x="298" y="143"/>
                  </a:lnTo>
                  <a:cubicBezTo>
                    <a:pt x="298"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9" name="Google Shape;9959;p58"/>
            <p:cNvSpPr/>
            <p:nvPr/>
          </p:nvSpPr>
          <p:spPr>
            <a:xfrm>
              <a:off x="7632408" y="2943136"/>
              <a:ext cx="40869" cy="14671"/>
            </a:xfrm>
            <a:custGeom>
              <a:avLst/>
              <a:gdLst/>
              <a:ahLst/>
              <a:cxnLst/>
              <a:rect l="l" t="t" r="r" b="b"/>
              <a:pathLst>
                <a:path w="1287" h="462" extrusionOk="0">
                  <a:moveTo>
                    <a:pt x="167" y="0"/>
                  </a:moveTo>
                  <a:cubicBezTo>
                    <a:pt x="129" y="0"/>
                    <a:pt x="90" y="15"/>
                    <a:pt x="60" y="45"/>
                  </a:cubicBezTo>
                  <a:cubicBezTo>
                    <a:pt x="1" y="104"/>
                    <a:pt x="1" y="200"/>
                    <a:pt x="60" y="259"/>
                  </a:cubicBezTo>
                  <a:cubicBezTo>
                    <a:pt x="203" y="390"/>
                    <a:pt x="417" y="462"/>
                    <a:pt x="655" y="462"/>
                  </a:cubicBezTo>
                  <a:cubicBezTo>
                    <a:pt x="893" y="462"/>
                    <a:pt x="1120" y="390"/>
                    <a:pt x="1251" y="259"/>
                  </a:cubicBezTo>
                  <a:cubicBezTo>
                    <a:pt x="1286" y="212"/>
                    <a:pt x="1286" y="104"/>
                    <a:pt x="1227" y="45"/>
                  </a:cubicBezTo>
                  <a:cubicBezTo>
                    <a:pt x="1197" y="15"/>
                    <a:pt x="1158" y="0"/>
                    <a:pt x="1120" y="0"/>
                  </a:cubicBezTo>
                  <a:cubicBezTo>
                    <a:pt x="1081" y="0"/>
                    <a:pt x="1042" y="15"/>
                    <a:pt x="1013" y="45"/>
                  </a:cubicBezTo>
                  <a:cubicBezTo>
                    <a:pt x="953" y="104"/>
                    <a:pt x="822" y="164"/>
                    <a:pt x="643" y="164"/>
                  </a:cubicBezTo>
                  <a:cubicBezTo>
                    <a:pt x="465" y="164"/>
                    <a:pt x="322" y="104"/>
                    <a:pt x="274" y="45"/>
                  </a:cubicBez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0" name="Google Shape;9960;p58"/>
            <p:cNvSpPr/>
            <p:nvPr/>
          </p:nvSpPr>
          <p:spPr>
            <a:xfrm>
              <a:off x="7530697" y="2790299"/>
              <a:ext cx="244291" cy="326314"/>
            </a:xfrm>
            <a:custGeom>
              <a:avLst/>
              <a:gdLst/>
              <a:ahLst/>
              <a:cxnLst/>
              <a:rect l="l" t="t" r="r" b="b"/>
              <a:pathLst>
                <a:path w="7693" h="10276" extrusionOk="0">
                  <a:moveTo>
                    <a:pt x="3846" y="298"/>
                  </a:moveTo>
                  <a:cubicBezTo>
                    <a:pt x="5275" y="298"/>
                    <a:pt x="6442" y="1453"/>
                    <a:pt x="6442" y="2882"/>
                  </a:cubicBezTo>
                  <a:lnTo>
                    <a:pt x="6442" y="4013"/>
                  </a:lnTo>
                  <a:cubicBezTo>
                    <a:pt x="6442" y="4846"/>
                    <a:pt x="6633" y="5489"/>
                    <a:pt x="6799" y="5870"/>
                  </a:cubicBezTo>
                  <a:cubicBezTo>
                    <a:pt x="6811" y="5918"/>
                    <a:pt x="6811" y="5965"/>
                    <a:pt x="6799" y="6001"/>
                  </a:cubicBezTo>
                  <a:cubicBezTo>
                    <a:pt x="6775" y="6049"/>
                    <a:pt x="6752" y="6084"/>
                    <a:pt x="6704" y="6096"/>
                  </a:cubicBezTo>
                  <a:cubicBezTo>
                    <a:pt x="6359" y="6227"/>
                    <a:pt x="5692" y="6489"/>
                    <a:pt x="4978" y="6632"/>
                  </a:cubicBezTo>
                  <a:lnTo>
                    <a:pt x="4978" y="6132"/>
                  </a:lnTo>
                  <a:cubicBezTo>
                    <a:pt x="5644" y="5739"/>
                    <a:pt x="6109" y="5013"/>
                    <a:pt x="6109" y="4179"/>
                  </a:cubicBezTo>
                  <a:lnTo>
                    <a:pt x="6109" y="3536"/>
                  </a:lnTo>
                  <a:cubicBezTo>
                    <a:pt x="6109" y="3108"/>
                    <a:pt x="5751" y="2751"/>
                    <a:pt x="5323" y="2751"/>
                  </a:cubicBezTo>
                  <a:lnTo>
                    <a:pt x="5073" y="2751"/>
                  </a:lnTo>
                  <a:lnTo>
                    <a:pt x="4311" y="1989"/>
                  </a:lnTo>
                  <a:cubicBezTo>
                    <a:pt x="4282" y="1960"/>
                    <a:pt x="4249" y="1944"/>
                    <a:pt x="4214" y="1944"/>
                  </a:cubicBezTo>
                  <a:cubicBezTo>
                    <a:pt x="4191" y="1944"/>
                    <a:pt x="4168" y="1951"/>
                    <a:pt x="4144" y="1965"/>
                  </a:cubicBezTo>
                  <a:cubicBezTo>
                    <a:pt x="4085" y="1989"/>
                    <a:pt x="4061" y="2036"/>
                    <a:pt x="4061" y="2096"/>
                  </a:cubicBezTo>
                  <a:lnTo>
                    <a:pt x="4061" y="2751"/>
                  </a:lnTo>
                  <a:lnTo>
                    <a:pt x="3239" y="2751"/>
                  </a:lnTo>
                  <a:cubicBezTo>
                    <a:pt x="3144" y="2751"/>
                    <a:pt x="3084" y="2822"/>
                    <a:pt x="3084" y="2893"/>
                  </a:cubicBezTo>
                  <a:cubicBezTo>
                    <a:pt x="3084" y="2965"/>
                    <a:pt x="3168" y="3048"/>
                    <a:pt x="3239" y="3048"/>
                  </a:cubicBezTo>
                  <a:lnTo>
                    <a:pt x="4204" y="3048"/>
                  </a:lnTo>
                  <a:cubicBezTo>
                    <a:pt x="4299" y="3048"/>
                    <a:pt x="4358" y="2965"/>
                    <a:pt x="4358" y="2893"/>
                  </a:cubicBezTo>
                  <a:lnTo>
                    <a:pt x="4358" y="2453"/>
                  </a:lnTo>
                  <a:lnTo>
                    <a:pt x="4906" y="3001"/>
                  </a:lnTo>
                  <a:cubicBezTo>
                    <a:pt x="4930" y="3024"/>
                    <a:pt x="4966" y="3048"/>
                    <a:pt x="5013" y="3048"/>
                  </a:cubicBezTo>
                  <a:lnTo>
                    <a:pt x="5335" y="3048"/>
                  </a:lnTo>
                  <a:cubicBezTo>
                    <a:pt x="5609" y="3048"/>
                    <a:pt x="5823" y="3263"/>
                    <a:pt x="5823" y="3536"/>
                  </a:cubicBezTo>
                  <a:lnTo>
                    <a:pt x="5823" y="4179"/>
                  </a:lnTo>
                  <a:cubicBezTo>
                    <a:pt x="5823" y="5251"/>
                    <a:pt x="4954" y="6132"/>
                    <a:pt x="3882" y="6132"/>
                  </a:cubicBezTo>
                  <a:cubicBezTo>
                    <a:pt x="2811" y="6132"/>
                    <a:pt x="1930" y="5251"/>
                    <a:pt x="1930" y="4179"/>
                  </a:cubicBezTo>
                  <a:lnTo>
                    <a:pt x="1930" y="3536"/>
                  </a:lnTo>
                  <a:cubicBezTo>
                    <a:pt x="1930" y="3263"/>
                    <a:pt x="2156" y="3048"/>
                    <a:pt x="2418" y="3048"/>
                  </a:cubicBezTo>
                  <a:lnTo>
                    <a:pt x="2584" y="3048"/>
                  </a:lnTo>
                  <a:cubicBezTo>
                    <a:pt x="2668" y="3048"/>
                    <a:pt x="2727" y="2965"/>
                    <a:pt x="2727" y="2893"/>
                  </a:cubicBezTo>
                  <a:cubicBezTo>
                    <a:pt x="2727" y="2822"/>
                    <a:pt x="2656" y="2751"/>
                    <a:pt x="2584" y="2751"/>
                  </a:cubicBezTo>
                  <a:lnTo>
                    <a:pt x="2418" y="2751"/>
                  </a:lnTo>
                  <a:cubicBezTo>
                    <a:pt x="1989" y="2751"/>
                    <a:pt x="1632" y="3108"/>
                    <a:pt x="1632" y="3536"/>
                  </a:cubicBezTo>
                  <a:lnTo>
                    <a:pt x="1632" y="4179"/>
                  </a:lnTo>
                  <a:cubicBezTo>
                    <a:pt x="1632" y="5013"/>
                    <a:pt x="2096" y="5739"/>
                    <a:pt x="2763" y="6132"/>
                  </a:cubicBezTo>
                  <a:lnTo>
                    <a:pt x="2763" y="6632"/>
                  </a:lnTo>
                  <a:cubicBezTo>
                    <a:pt x="2001" y="6465"/>
                    <a:pt x="1334" y="6227"/>
                    <a:pt x="989" y="6096"/>
                  </a:cubicBezTo>
                  <a:cubicBezTo>
                    <a:pt x="941" y="6084"/>
                    <a:pt x="918" y="6049"/>
                    <a:pt x="906" y="6001"/>
                  </a:cubicBezTo>
                  <a:cubicBezTo>
                    <a:pt x="882" y="5965"/>
                    <a:pt x="882" y="5918"/>
                    <a:pt x="906" y="5870"/>
                  </a:cubicBezTo>
                  <a:cubicBezTo>
                    <a:pt x="1060" y="5489"/>
                    <a:pt x="1263" y="4846"/>
                    <a:pt x="1263" y="4013"/>
                  </a:cubicBezTo>
                  <a:lnTo>
                    <a:pt x="1263" y="2882"/>
                  </a:lnTo>
                  <a:cubicBezTo>
                    <a:pt x="1263" y="1453"/>
                    <a:pt x="2418" y="298"/>
                    <a:pt x="3846" y="298"/>
                  </a:cubicBezTo>
                  <a:close/>
                  <a:moveTo>
                    <a:pt x="4632" y="6275"/>
                  </a:moveTo>
                  <a:lnTo>
                    <a:pt x="4632" y="6787"/>
                  </a:lnTo>
                  <a:cubicBezTo>
                    <a:pt x="4632" y="7025"/>
                    <a:pt x="4739" y="7239"/>
                    <a:pt x="4918" y="7394"/>
                  </a:cubicBezTo>
                  <a:cubicBezTo>
                    <a:pt x="4894" y="7442"/>
                    <a:pt x="4858" y="7477"/>
                    <a:pt x="4835" y="7513"/>
                  </a:cubicBezTo>
                  <a:cubicBezTo>
                    <a:pt x="4787" y="7573"/>
                    <a:pt x="4787" y="7680"/>
                    <a:pt x="4858" y="7715"/>
                  </a:cubicBezTo>
                  <a:cubicBezTo>
                    <a:pt x="4894" y="7739"/>
                    <a:pt x="4918" y="7751"/>
                    <a:pt x="4954" y="7751"/>
                  </a:cubicBezTo>
                  <a:cubicBezTo>
                    <a:pt x="4989" y="7751"/>
                    <a:pt x="5037" y="7739"/>
                    <a:pt x="5073" y="7692"/>
                  </a:cubicBezTo>
                  <a:cubicBezTo>
                    <a:pt x="5109" y="7632"/>
                    <a:pt x="5156" y="7584"/>
                    <a:pt x="5192" y="7525"/>
                  </a:cubicBezTo>
                  <a:lnTo>
                    <a:pt x="5525" y="7644"/>
                  </a:lnTo>
                  <a:cubicBezTo>
                    <a:pt x="4918" y="8573"/>
                    <a:pt x="4299" y="8894"/>
                    <a:pt x="3882" y="9001"/>
                  </a:cubicBezTo>
                  <a:cubicBezTo>
                    <a:pt x="3864" y="9007"/>
                    <a:pt x="3849" y="9010"/>
                    <a:pt x="3835" y="9010"/>
                  </a:cubicBezTo>
                  <a:cubicBezTo>
                    <a:pt x="3820" y="9010"/>
                    <a:pt x="3805" y="9007"/>
                    <a:pt x="3787" y="9001"/>
                  </a:cubicBezTo>
                  <a:cubicBezTo>
                    <a:pt x="3370" y="8882"/>
                    <a:pt x="2751" y="8549"/>
                    <a:pt x="2120" y="7644"/>
                  </a:cubicBezTo>
                  <a:lnTo>
                    <a:pt x="2465" y="7525"/>
                  </a:lnTo>
                  <a:cubicBezTo>
                    <a:pt x="2763" y="7942"/>
                    <a:pt x="3204" y="8442"/>
                    <a:pt x="3787" y="8644"/>
                  </a:cubicBezTo>
                  <a:cubicBezTo>
                    <a:pt x="3799" y="8644"/>
                    <a:pt x="3823" y="8656"/>
                    <a:pt x="3835" y="8656"/>
                  </a:cubicBezTo>
                  <a:cubicBezTo>
                    <a:pt x="3846" y="8656"/>
                    <a:pt x="3858" y="8656"/>
                    <a:pt x="3882" y="8644"/>
                  </a:cubicBezTo>
                  <a:cubicBezTo>
                    <a:pt x="4144" y="8549"/>
                    <a:pt x="4418" y="8382"/>
                    <a:pt x="4668" y="8132"/>
                  </a:cubicBezTo>
                  <a:cubicBezTo>
                    <a:pt x="4728" y="8073"/>
                    <a:pt x="4728" y="7989"/>
                    <a:pt x="4668" y="7930"/>
                  </a:cubicBezTo>
                  <a:cubicBezTo>
                    <a:pt x="4638" y="7900"/>
                    <a:pt x="4600" y="7885"/>
                    <a:pt x="4561" y="7885"/>
                  </a:cubicBezTo>
                  <a:cubicBezTo>
                    <a:pt x="4522" y="7885"/>
                    <a:pt x="4483" y="7900"/>
                    <a:pt x="4454" y="7930"/>
                  </a:cubicBezTo>
                  <a:cubicBezTo>
                    <a:pt x="4251" y="8120"/>
                    <a:pt x="4025" y="8275"/>
                    <a:pt x="3823" y="8346"/>
                  </a:cubicBezTo>
                  <a:cubicBezTo>
                    <a:pt x="3358" y="8168"/>
                    <a:pt x="2965" y="7751"/>
                    <a:pt x="2715" y="7394"/>
                  </a:cubicBezTo>
                  <a:cubicBezTo>
                    <a:pt x="2894" y="7239"/>
                    <a:pt x="3001" y="7025"/>
                    <a:pt x="3001" y="6787"/>
                  </a:cubicBezTo>
                  <a:lnTo>
                    <a:pt x="3001" y="6275"/>
                  </a:lnTo>
                  <a:cubicBezTo>
                    <a:pt x="3251" y="6382"/>
                    <a:pt x="3525" y="6430"/>
                    <a:pt x="3823" y="6430"/>
                  </a:cubicBezTo>
                  <a:cubicBezTo>
                    <a:pt x="4120" y="6430"/>
                    <a:pt x="4382" y="6370"/>
                    <a:pt x="4632" y="6275"/>
                  </a:cubicBezTo>
                  <a:close/>
                  <a:moveTo>
                    <a:pt x="3846" y="0"/>
                  </a:moveTo>
                  <a:cubicBezTo>
                    <a:pt x="2251" y="0"/>
                    <a:pt x="953" y="1286"/>
                    <a:pt x="953" y="2882"/>
                  </a:cubicBezTo>
                  <a:lnTo>
                    <a:pt x="953" y="4013"/>
                  </a:lnTo>
                  <a:cubicBezTo>
                    <a:pt x="953" y="4846"/>
                    <a:pt x="751" y="5453"/>
                    <a:pt x="632" y="5775"/>
                  </a:cubicBezTo>
                  <a:cubicBezTo>
                    <a:pt x="584" y="5894"/>
                    <a:pt x="584" y="6013"/>
                    <a:pt x="632" y="6132"/>
                  </a:cubicBezTo>
                  <a:cubicBezTo>
                    <a:pt x="679" y="6251"/>
                    <a:pt x="775" y="6334"/>
                    <a:pt x="894" y="6382"/>
                  </a:cubicBezTo>
                  <a:cubicBezTo>
                    <a:pt x="1251" y="6525"/>
                    <a:pt x="1965" y="6787"/>
                    <a:pt x="2715" y="6930"/>
                  </a:cubicBezTo>
                  <a:cubicBezTo>
                    <a:pt x="2668" y="7084"/>
                    <a:pt x="2549" y="7180"/>
                    <a:pt x="2418" y="7239"/>
                  </a:cubicBezTo>
                  <a:lnTo>
                    <a:pt x="751" y="7823"/>
                  </a:lnTo>
                  <a:cubicBezTo>
                    <a:pt x="298" y="7989"/>
                    <a:pt x="1" y="8406"/>
                    <a:pt x="1" y="8882"/>
                  </a:cubicBezTo>
                  <a:lnTo>
                    <a:pt x="1" y="10132"/>
                  </a:lnTo>
                  <a:cubicBezTo>
                    <a:pt x="1" y="10216"/>
                    <a:pt x="84" y="10275"/>
                    <a:pt x="156" y="10275"/>
                  </a:cubicBezTo>
                  <a:cubicBezTo>
                    <a:pt x="227" y="10275"/>
                    <a:pt x="298" y="10204"/>
                    <a:pt x="298" y="10132"/>
                  </a:cubicBezTo>
                  <a:lnTo>
                    <a:pt x="298" y="8882"/>
                  </a:lnTo>
                  <a:cubicBezTo>
                    <a:pt x="298" y="8775"/>
                    <a:pt x="322" y="8692"/>
                    <a:pt x="358" y="8597"/>
                  </a:cubicBezTo>
                  <a:lnTo>
                    <a:pt x="1120" y="9251"/>
                  </a:lnTo>
                  <a:cubicBezTo>
                    <a:pt x="1227" y="9347"/>
                    <a:pt x="1299" y="9478"/>
                    <a:pt x="1299" y="9620"/>
                  </a:cubicBezTo>
                  <a:lnTo>
                    <a:pt x="1299" y="10132"/>
                  </a:lnTo>
                  <a:cubicBezTo>
                    <a:pt x="1299" y="10216"/>
                    <a:pt x="1370" y="10275"/>
                    <a:pt x="1453" y="10275"/>
                  </a:cubicBezTo>
                  <a:cubicBezTo>
                    <a:pt x="1525" y="10275"/>
                    <a:pt x="1596" y="10204"/>
                    <a:pt x="1596" y="10132"/>
                  </a:cubicBezTo>
                  <a:lnTo>
                    <a:pt x="1596" y="9609"/>
                  </a:lnTo>
                  <a:cubicBezTo>
                    <a:pt x="1596" y="9370"/>
                    <a:pt x="1489" y="9168"/>
                    <a:pt x="1310" y="9001"/>
                  </a:cubicBezTo>
                  <a:lnTo>
                    <a:pt x="513" y="8311"/>
                  </a:lnTo>
                  <a:cubicBezTo>
                    <a:pt x="596" y="8216"/>
                    <a:pt x="715" y="8132"/>
                    <a:pt x="834" y="8085"/>
                  </a:cubicBezTo>
                  <a:lnTo>
                    <a:pt x="1846" y="7739"/>
                  </a:lnTo>
                  <a:cubicBezTo>
                    <a:pt x="2537" y="8775"/>
                    <a:pt x="3251" y="9144"/>
                    <a:pt x="3727" y="9275"/>
                  </a:cubicBezTo>
                  <a:cubicBezTo>
                    <a:pt x="3775" y="9299"/>
                    <a:pt x="3799" y="9299"/>
                    <a:pt x="3846" y="9299"/>
                  </a:cubicBezTo>
                  <a:cubicBezTo>
                    <a:pt x="3894" y="9299"/>
                    <a:pt x="3930" y="9299"/>
                    <a:pt x="3966" y="9275"/>
                  </a:cubicBezTo>
                  <a:cubicBezTo>
                    <a:pt x="4442" y="9144"/>
                    <a:pt x="5156" y="8775"/>
                    <a:pt x="5835" y="7739"/>
                  </a:cubicBezTo>
                  <a:lnTo>
                    <a:pt x="6847" y="8085"/>
                  </a:lnTo>
                  <a:cubicBezTo>
                    <a:pt x="6990" y="8132"/>
                    <a:pt x="7085" y="8216"/>
                    <a:pt x="7180" y="8311"/>
                  </a:cubicBezTo>
                  <a:lnTo>
                    <a:pt x="6371" y="9001"/>
                  </a:lnTo>
                  <a:cubicBezTo>
                    <a:pt x="6192" y="9144"/>
                    <a:pt x="6097" y="9370"/>
                    <a:pt x="6097" y="9609"/>
                  </a:cubicBezTo>
                  <a:lnTo>
                    <a:pt x="6097" y="10120"/>
                  </a:lnTo>
                  <a:cubicBezTo>
                    <a:pt x="6097" y="10204"/>
                    <a:pt x="6168" y="10263"/>
                    <a:pt x="6240" y="10263"/>
                  </a:cubicBezTo>
                  <a:cubicBezTo>
                    <a:pt x="6311" y="10263"/>
                    <a:pt x="6394" y="10192"/>
                    <a:pt x="6394" y="10120"/>
                  </a:cubicBezTo>
                  <a:lnTo>
                    <a:pt x="6394" y="9609"/>
                  </a:lnTo>
                  <a:cubicBezTo>
                    <a:pt x="6394" y="9466"/>
                    <a:pt x="6454" y="9323"/>
                    <a:pt x="6573" y="9239"/>
                  </a:cubicBezTo>
                  <a:lnTo>
                    <a:pt x="7323" y="8585"/>
                  </a:lnTo>
                  <a:cubicBezTo>
                    <a:pt x="7359" y="8668"/>
                    <a:pt x="7383" y="8775"/>
                    <a:pt x="7383" y="8870"/>
                  </a:cubicBezTo>
                  <a:lnTo>
                    <a:pt x="7383" y="10120"/>
                  </a:lnTo>
                  <a:cubicBezTo>
                    <a:pt x="7383" y="10204"/>
                    <a:pt x="7466" y="10263"/>
                    <a:pt x="7537" y="10263"/>
                  </a:cubicBezTo>
                  <a:cubicBezTo>
                    <a:pt x="7609" y="10263"/>
                    <a:pt x="7680" y="10192"/>
                    <a:pt x="7680" y="10120"/>
                  </a:cubicBezTo>
                  <a:lnTo>
                    <a:pt x="7680" y="8870"/>
                  </a:lnTo>
                  <a:cubicBezTo>
                    <a:pt x="7692" y="8406"/>
                    <a:pt x="7395" y="7977"/>
                    <a:pt x="6942" y="7823"/>
                  </a:cubicBezTo>
                  <a:lnTo>
                    <a:pt x="5275" y="7239"/>
                  </a:lnTo>
                  <a:cubicBezTo>
                    <a:pt x="5132" y="7203"/>
                    <a:pt x="5025" y="7084"/>
                    <a:pt x="4978" y="6930"/>
                  </a:cubicBezTo>
                  <a:cubicBezTo>
                    <a:pt x="5740" y="6787"/>
                    <a:pt x="6442" y="6513"/>
                    <a:pt x="6799" y="6382"/>
                  </a:cubicBezTo>
                  <a:cubicBezTo>
                    <a:pt x="6918" y="6334"/>
                    <a:pt x="7002" y="6251"/>
                    <a:pt x="7061" y="6132"/>
                  </a:cubicBezTo>
                  <a:cubicBezTo>
                    <a:pt x="7109" y="6013"/>
                    <a:pt x="7109" y="5894"/>
                    <a:pt x="7061" y="5775"/>
                  </a:cubicBezTo>
                  <a:cubicBezTo>
                    <a:pt x="6942" y="5477"/>
                    <a:pt x="6740" y="4846"/>
                    <a:pt x="6740" y="4013"/>
                  </a:cubicBezTo>
                  <a:lnTo>
                    <a:pt x="6740" y="2882"/>
                  </a:lnTo>
                  <a:cubicBezTo>
                    <a:pt x="6740" y="1286"/>
                    <a:pt x="5442" y="0"/>
                    <a:pt x="3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1" name="Google Shape;9961;p58"/>
            <p:cNvSpPr/>
            <p:nvPr/>
          </p:nvSpPr>
          <p:spPr>
            <a:xfrm>
              <a:off x="7611608" y="2891630"/>
              <a:ext cx="20069" cy="9463"/>
            </a:xfrm>
            <a:custGeom>
              <a:avLst/>
              <a:gdLst/>
              <a:ahLst/>
              <a:cxnLst/>
              <a:rect l="l" t="t" r="r" b="b"/>
              <a:pathLst>
                <a:path w="632" h="298" extrusionOk="0">
                  <a:moveTo>
                    <a:pt x="155" y="0"/>
                  </a:moveTo>
                  <a:cubicBezTo>
                    <a:pt x="60" y="0"/>
                    <a:pt x="1" y="83"/>
                    <a:pt x="1" y="155"/>
                  </a:cubicBezTo>
                  <a:cubicBezTo>
                    <a:pt x="1" y="226"/>
                    <a:pt x="84" y="298"/>
                    <a:pt x="155" y="298"/>
                  </a:cubicBezTo>
                  <a:lnTo>
                    <a:pt x="477" y="298"/>
                  </a:lnTo>
                  <a:cubicBezTo>
                    <a:pt x="572" y="298"/>
                    <a:pt x="632" y="226"/>
                    <a:pt x="632" y="155"/>
                  </a:cubicBezTo>
                  <a:cubicBezTo>
                    <a:pt x="632" y="83"/>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2" name="Google Shape;9962;p58"/>
            <p:cNvSpPr/>
            <p:nvPr/>
          </p:nvSpPr>
          <p:spPr>
            <a:xfrm>
              <a:off x="7673245" y="2891630"/>
              <a:ext cx="19688" cy="9463"/>
            </a:xfrm>
            <a:custGeom>
              <a:avLst/>
              <a:gdLst/>
              <a:ahLst/>
              <a:cxnLst/>
              <a:rect l="l" t="t" r="r" b="b"/>
              <a:pathLst>
                <a:path w="620" h="298" extrusionOk="0">
                  <a:moveTo>
                    <a:pt x="143" y="0"/>
                  </a:moveTo>
                  <a:cubicBezTo>
                    <a:pt x="60" y="0"/>
                    <a:pt x="0" y="83"/>
                    <a:pt x="0" y="155"/>
                  </a:cubicBezTo>
                  <a:cubicBezTo>
                    <a:pt x="0" y="226"/>
                    <a:pt x="72" y="298"/>
                    <a:pt x="143" y="298"/>
                  </a:cubicBezTo>
                  <a:lnTo>
                    <a:pt x="477" y="298"/>
                  </a:lnTo>
                  <a:cubicBezTo>
                    <a:pt x="560" y="298"/>
                    <a:pt x="620" y="226"/>
                    <a:pt x="620" y="155"/>
                  </a:cubicBezTo>
                  <a:cubicBezTo>
                    <a:pt x="620" y="83"/>
                    <a:pt x="54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63" name="Google Shape;9963;p58"/>
          <p:cNvGrpSpPr/>
          <p:nvPr/>
        </p:nvGrpSpPr>
        <p:grpSpPr>
          <a:xfrm>
            <a:off x="7988191" y="2832248"/>
            <a:ext cx="332348" cy="283985"/>
            <a:chOff x="7988191" y="2832248"/>
            <a:chExt cx="332348" cy="283985"/>
          </a:xfrm>
        </p:grpSpPr>
        <p:sp>
          <p:nvSpPr>
            <p:cNvPr id="9964" name="Google Shape;9964;p58"/>
            <p:cNvSpPr/>
            <p:nvPr/>
          </p:nvSpPr>
          <p:spPr>
            <a:xfrm>
              <a:off x="8046398" y="2894646"/>
              <a:ext cx="40869" cy="45759"/>
            </a:xfrm>
            <a:custGeom>
              <a:avLst/>
              <a:gdLst/>
              <a:ahLst/>
              <a:cxnLst/>
              <a:rect l="l" t="t" r="r" b="b"/>
              <a:pathLst>
                <a:path w="1287" h="1441" extrusionOk="0">
                  <a:moveTo>
                    <a:pt x="644" y="0"/>
                  </a:moveTo>
                  <a:cubicBezTo>
                    <a:pt x="287" y="0"/>
                    <a:pt x="1" y="286"/>
                    <a:pt x="1" y="643"/>
                  </a:cubicBezTo>
                  <a:lnTo>
                    <a:pt x="1" y="798"/>
                  </a:lnTo>
                  <a:cubicBezTo>
                    <a:pt x="1" y="1155"/>
                    <a:pt x="287" y="1441"/>
                    <a:pt x="644" y="1441"/>
                  </a:cubicBezTo>
                  <a:cubicBezTo>
                    <a:pt x="1001" y="1441"/>
                    <a:pt x="1287" y="1155"/>
                    <a:pt x="1287" y="798"/>
                  </a:cubicBezTo>
                  <a:lnTo>
                    <a:pt x="1287" y="643"/>
                  </a:lnTo>
                  <a:cubicBezTo>
                    <a:pt x="1287" y="548"/>
                    <a:pt x="1215" y="488"/>
                    <a:pt x="1132" y="488"/>
                  </a:cubicBezTo>
                  <a:cubicBezTo>
                    <a:pt x="1049" y="488"/>
                    <a:pt x="989" y="560"/>
                    <a:pt x="989" y="643"/>
                  </a:cubicBezTo>
                  <a:lnTo>
                    <a:pt x="989" y="798"/>
                  </a:lnTo>
                  <a:cubicBezTo>
                    <a:pt x="989" y="977"/>
                    <a:pt x="834" y="1143"/>
                    <a:pt x="644" y="1143"/>
                  </a:cubicBezTo>
                  <a:cubicBezTo>
                    <a:pt x="453" y="1143"/>
                    <a:pt x="299" y="1000"/>
                    <a:pt x="299" y="798"/>
                  </a:cubicBezTo>
                  <a:lnTo>
                    <a:pt x="299" y="643"/>
                  </a:lnTo>
                  <a:cubicBezTo>
                    <a:pt x="299" y="465"/>
                    <a:pt x="453" y="298"/>
                    <a:pt x="644" y="298"/>
                  </a:cubicBezTo>
                  <a:cubicBezTo>
                    <a:pt x="739" y="298"/>
                    <a:pt x="799" y="227"/>
                    <a:pt x="799" y="143"/>
                  </a:cubicBezTo>
                  <a:cubicBezTo>
                    <a:pt x="799" y="60"/>
                    <a:pt x="715"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5" name="Google Shape;9965;p58"/>
            <p:cNvSpPr/>
            <p:nvPr/>
          </p:nvSpPr>
          <p:spPr>
            <a:xfrm>
              <a:off x="7988191" y="2832248"/>
              <a:ext cx="332348" cy="283985"/>
            </a:xfrm>
            <a:custGeom>
              <a:avLst/>
              <a:gdLst/>
              <a:ahLst/>
              <a:cxnLst/>
              <a:rect l="l" t="t" r="r" b="b"/>
              <a:pathLst>
                <a:path w="10466" h="8943" extrusionOk="0">
                  <a:moveTo>
                    <a:pt x="929" y="2942"/>
                  </a:moveTo>
                  <a:lnTo>
                    <a:pt x="929" y="2942"/>
                  </a:lnTo>
                  <a:cubicBezTo>
                    <a:pt x="905" y="3037"/>
                    <a:pt x="881" y="3144"/>
                    <a:pt x="869" y="3227"/>
                  </a:cubicBezTo>
                  <a:cubicBezTo>
                    <a:pt x="858" y="3299"/>
                    <a:pt x="858" y="3358"/>
                    <a:pt x="858" y="3418"/>
                  </a:cubicBezTo>
                  <a:lnTo>
                    <a:pt x="488" y="3120"/>
                  </a:lnTo>
                  <a:lnTo>
                    <a:pt x="929" y="2942"/>
                  </a:lnTo>
                  <a:close/>
                  <a:moveTo>
                    <a:pt x="4156" y="310"/>
                  </a:moveTo>
                  <a:lnTo>
                    <a:pt x="3894" y="668"/>
                  </a:lnTo>
                  <a:cubicBezTo>
                    <a:pt x="3858" y="715"/>
                    <a:pt x="3846" y="763"/>
                    <a:pt x="3858" y="822"/>
                  </a:cubicBezTo>
                  <a:cubicBezTo>
                    <a:pt x="3882" y="882"/>
                    <a:pt x="3917" y="906"/>
                    <a:pt x="3965" y="918"/>
                  </a:cubicBezTo>
                  <a:cubicBezTo>
                    <a:pt x="4608" y="1072"/>
                    <a:pt x="5168" y="1489"/>
                    <a:pt x="5549" y="2084"/>
                  </a:cubicBezTo>
                  <a:cubicBezTo>
                    <a:pt x="5965" y="2751"/>
                    <a:pt x="6418" y="3287"/>
                    <a:pt x="6894" y="3656"/>
                  </a:cubicBezTo>
                  <a:cubicBezTo>
                    <a:pt x="7287" y="3977"/>
                    <a:pt x="7692" y="4168"/>
                    <a:pt x="8085" y="4275"/>
                  </a:cubicBezTo>
                  <a:cubicBezTo>
                    <a:pt x="8288" y="4321"/>
                    <a:pt x="8455" y="4339"/>
                    <a:pt x="8603" y="4339"/>
                  </a:cubicBezTo>
                  <a:cubicBezTo>
                    <a:pt x="8646" y="4339"/>
                    <a:pt x="8687" y="4337"/>
                    <a:pt x="8728" y="4335"/>
                  </a:cubicBezTo>
                  <a:lnTo>
                    <a:pt x="8728" y="4335"/>
                  </a:lnTo>
                  <a:cubicBezTo>
                    <a:pt x="8168" y="4847"/>
                    <a:pt x="7585" y="5204"/>
                    <a:pt x="7037" y="5406"/>
                  </a:cubicBezTo>
                  <a:cubicBezTo>
                    <a:pt x="6732" y="5508"/>
                    <a:pt x="6437" y="5559"/>
                    <a:pt x="6158" y="5559"/>
                  </a:cubicBezTo>
                  <a:cubicBezTo>
                    <a:pt x="5914" y="5559"/>
                    <a:pt x="5682" y="5520"/>
                    <a:pt x="5465" y="5442"/>
                  </a:cubicBezTo>
                  <a:cubicBezTo>
                    <a:pt x="5203" y="5359"/>
                    <a:pt x="4965" y="5204"/>
                    <a:pt x="4775" y="5001"/>
                  </a:cubicBezTo>
                  <a:lnTo>
                    <a:pt x="4775" y="5001"/>
                  </a:lnTo>
                  <a:cubicBezTo>
                    <a:pt x="5001" y="5120"/>
                    <a:pt x="5275" y="5204"/>
                    <a:pt x="5596" y="5228"/>
                  </a:cubicBezTo>
                  <a:cubicBezTo>
                    <a:pt x="5680" y="5228"/>
                    <a:pt x="5751" y="5240"/>
                    <a:pt x="5822" y="5240"/>
                  </a:cubicBezTo>
                  <a:cubicBezTo>
                    <a:pt x="6096" y="5240"/>
                    <a:pt x="6382" y="5204"/>
                    <a:pt x="6644" y="5132"/>
                  </a:cubicBezTo>
                  <a:cubicBezTo>
                    <a:pt x="6715" y="5120"/>
                    <a:pt x="6775" y="5025"/>
                    <a:pt x="6751" y="4954"/>
                  </a:cubicBezTo>
                  <a:cubicBezTo>
                    <a:pt x="6741" y="4893"/>
                    <a:pt x="6671" y="4841"/>
                    <a:pt x="6607" y="4841"/>
                  </a:cubicBezTo>
                  <a:cubicBezTo>
                    <a:pt x="6595" y="4841"/>
                    <a:pt x="6583" y="4843"/>
                    <a:pt x="6573" y="4847"/>
                  </a:cubicBezTo>
                  <a:cubicBezTo>
                    <a:pt x="6317" y="4912"/>
                    <a:pt x="6067" y="4943"/>
                    <a:pt x="5831" y="4943"/>
                  </a:cubicBezTo>
                  <a:cubicBezTo>
                    <a:pt x="5418" y="4943"/>
                    <a:pt x="5052" y="4846"/>
                    <a:pt x="4787" y="4656"/>
                  </a:cubicBezTo>
                  <a:cubicBezTo>
                    <a:pt x="4477" y="4430"/>
                    <a:pt x="4310" y="4097"/>
                    <a:pt x="4263" y="3632"/>
                  </a:cubicBezTo>
                  <a:cubicBezTo>
                    <a:pt x="4310" y="3156"/>
                    <a:pt x="4572" y="2751"/>
                    <a:pt x="5025" y="2501"/>
                  </a:cubicBezTo>
                  <a:cubicBezTo>
                    <a:pt x="5096" y="2453"/>
                    <a:pt x="5120" y="2370"/>
                    <a:pt x="5084" y="2287"/>
                  </a:cubicBezTo>
                  <a:cubicBezTo>
                    <a:pt x="5051" y="2237"/>
                    <a:pt x="4996" y="2211"/>
                    <a:pt x="4941" y="2211"/>
                  </a:cubicBezTo>
                  <a:cubicBezTo>
                    <a:pt x="4916" y="2211"/>
                    <a:pt x="4892" y="2216"/>
                    <a:pt x="4870" y="2227"/>
                  </a:cubicBezTo>
                  <a:cubicBezTo>
                    <a:pt x="4227" y="2584"/>
                    <a:pt x="3906" y="3227"/>
                    <a:pt x="3965" y="3942"/>
                  </a:cubicBezTo>
                  <a:cubicBezTo>
                    <a:pt x="4037" y="4751"/>
                    <a:pt x="4596" y="5442"/>
                    <a:pt x="5382" y="5728"/>
                  </a:cubicBezTo>
                  <a:cubicBezTo>
                    <a:pt x="5631" y="5816"/>
                    <a:pt x="5895" y="5861"/>
                    <a:pt x="6170" y="5861"/>
                  </a:cubicBezTo>
                  <a:cubicBezTo>
                    <a:pt x="6487" y="5861"/>
                    <a:pt x="6818" y="5801"/>
                    <a:pt x="7156" y="5680"/>
                  </a:cubicBezTo>
                  <a:cubicBezTo>
                    <a:pt x="7596" y="5537"/>
                    <a:pt x="8061" y="5263"/>
                    <a:pt x="8525" y="4906"/>
                  </a:cubicBezTo>
                  <a:lnTo>
                    <a:pt x="8549" y="4906"/>
                  </a:lnTo>
                  <a:cubicBezTo>
                    <a:pt x="8694" y="4930"/>
                    <a:pt x="8833" y="4940"/>
                    <a:pt x="8965" y="4940"/>
                  </a:cubicBezTo>
                  <a:cubicBezTo>
                    <a:pt x="9431" y="4940"/>
                    <a:pt x="9813" y="4812"/>
                    <a:pt x="10073" y="4692"/>
                  </a:cubicBezTo>
                  <a:lnTo>
                    <a:pt x="10073" y="4692"/>
                  </a:lnTo>
                  <a:cubicBezTo>
                    <a:pt x="9430" y="6454"/>
                    <a:pt x="7608" y="7668"/>
                    <a:pt x="5572" y="7668"/>
                  </a:cubicBezTo>
                  <a:cubicBezTo>
                    <a:pt x="4179" y="7668"/>
                    <a:pt x="2894" y="7145"/>
                    <a:pt x="2072" y="6216"/>
                  </a:cubicBezTo>
                  <a:cubicBezTo>
                    <a:pt x="1358" y="5430"/>
                    <a:pt x="1060" y="4406"/>
                    <a:pt x="1179" y="3275"/>
                  </a:cubicBezTo>
                  <a:cubicBezTo>
                    <a:pt x="1286" y="2584"/>
                    <a:pt x="1524" y="2013"/>
                    <a:pt x="1881" y="1537"/>
                  </a:cubicBezTo>
                  <a:cubicBezTo>
                    <a:pt x="2167" y="1156"/>
                    <a:pt x="2536" y="858"/>
                    <a:pt x="2989" y="656"/>
                  </a:cubicBezTo>
                  <a:cubicBezTo>
                    <a:pt x="3429" y="441"/>
                    <a:pt x="3882" y="358"/>
                    <a:pt x="4156" y="310"/>
                  </a:cubicBezTo>
                  <a:close/>
                  <a:moveTo>
                    <a:pt x="5644" y="7954"/>
                  </a:moveTo>
                  <a:lnTo>
                    <a:pt x="5322" y="8645"/>
                  </a:lnTo>
                  <a:lnTo>
                    <a:pt x="5013" y="8645"/>
                  </a:lnTo>
                  <a:lnTo>
                    <a:pt x="5346" y="7954"/>
                  </a:lnTo>
                  <a:close/>
                  <a:moveTo>
                    <a:pt x="4422" y="1"/>
                  </a:moveTo>
                  <a:cubicBezTo>
                    <a:pt x="4268" y="1"/>
                    <a:pt x="3580" y="20"/>
                    <a:pt x="2834" y="382"/>
                  </a:cubicBezTo>
                  <a:cubicBezTo>
                    <a:pt x="2346" y="620"/>
                    <a:pt x="1929" y="941"/>
                    <a:pt x="1608" y="1358"/>
                  </a:cubicBezTo>
                  <a:cubicBezTo>
                    <a:pt x="1334" y="1703"/>
                    <a:pt x="1119" y="2108"/>
                    <a:pt x="989" y="2584"/>
                  </a:cubicBezTo>
                  <a:lnTo>
                    <a:pt x="96" y="2965"/>
                  </a:lnTo>
                  <a:cubicBezTo>
                    <a:pt x="48" y="2977"/>
                    <a:pt x="0" y="3025"/>
                    <a:pt x="0" y="3085"/>
                  </a:cubicBezTo>
                  <a:cubicBezTo>
                    <a:pt x="0" y="3144"/>
                    <a:pt x="24" y="3180"/>
                    <a:pt x="60" y="3215"/>
                  </a:cubicBezTo>
                  <a:lnTo>
                    <a:pt x="810" y="3811"/>
                  </a:lnTo>
                  <a:cubicBezTo>
                    <a:pt x="822" y="4811"/>
                    <a:pt x="1155" y="5704"/>
                    <a:pt x="1810" y="6430"/>
                  </a:cubicBezTo>
                  <a:cubicBezTo>
                    <a:pt x="2584" y="7287"/>
                    <a:pt x="3715" y="7823"/>
                    <a:pt x="4977" y="7942"/>
                  </a:cubicBezTo>
                  <a:lnTo>
                    <a:pt x="4620" y="8645"/>
                  </a:lnTo>
                  <a:lnTo>
                    <a:pt x="3739" y="8645"/>
                  </a:lnTo>
                  <a:cubicBezTo>
                    <a:pt x="3656" y="8645"/>
                    <a:pt x="3596" y="8716"/>
                    <a:pt x="3596" y="8799"/>
                  </a:cubicBezTo>
                  <a:cubicBezTo>
                    <a:pt x="3596" y="8871"/>
                    <a:pt x="3667" y="8942"/>
                    <a:pt x="3739" y="8942"/>
                  </a:cubicBezTo>
                  <a:lnTo>
                    <a:pt x="6013" y="8942"/>
                  </a:lnTo>
                  <a:cubicBezTo>
                    <a:pt x="6108" y="8942"/>
                    <a:pt x="6168" y="8871"/>
                    <a:pt x="6168" y="8799"/>
                  </a:cubicBezTo>
                  <a:cubicBezTo>
                    <a:pt x="6168" y="8716"/>
                    <a:pt x="6096" y="8645"/>
                    <a:pt x="6013" y="8645"/>
                  </a:cubicBezTo>
                  <a:lnTo>
                    <a:pt x="5620" y="8645"/>
                  </a:lnTo>
                  <a:lnTo>
                    <a:pt x="5953" y="7954"/>
                  </a:lnTo>
                  <a:cubicBezTo>
                    <a:pt x="6942" y="7883"/>
                    <a:pt x="7882" y="7537"/>
                    <a:pt x="8656" y="6966"/>
                  </a:cubicBezTo>
                  <a:cubicBezTo>
                    <a:pt x="9525" y="6323"/>
                    <a:pt x="10156" y="5418"/>
                    <a:pt x="10406" y="4430"/>
                  </a:cubicBezTo>
                  <a:cubicBezTo>
                    <a:pt x="10466" y="4370"/>
                    <a:pt x="10442" y="4299"/>
                    <a:pt x="10383" y="4275"/>
                  </a:cubicBezTo>
                  <a:cubicBezTo>
                    <a:pt x="10355" y="4259"/>
                    <a:pt x="10327" y="4250"/>
                    <a:pt x="10300" y="4250"/>
                  </a:cubicBezTo>
                  <a:cubicBezTo>
                    <a:pt x="10268" y="4250"/>
                    <a:pt x="10236" y="4262"/>
                    <a:pt x="10204" y="4287"/>
                  </a:cubicBezTo>
                  <a:cubicBezTo>
                    <a:pt x="10204" y="4287"/>
                    <a:pt x="9700" y="4670"/>
                    <a:pt x="8935" y="4670"/>
                  </a:cubicBezTo>
                  <a:cubicBezTo>
                    <a:pt x="8902" y="4670"/>
                    <a:pt x="8868" y="4670"/>
                    <a:pt x="8835" y="4668"/>
                  </a:cubicBezTo>
                  <a:cubicBezTo>
                    <a:pt x="8990" y="4525"/>
                    <a:pt x="9156" y="4370"/>
                    <a:pt x="9323" y="4192"/>
                  </a:cubicBezTo>
                  <a:cubicBezTo>
                    <a:pt x="9371" y="4132"/>
                    <a:pt x="9382" y="4061"/>
                    <a:pt x="9335" y="4001"/>
                  </a:cubicBezTo>
                  <a:cubicBezTo>
                    <a:pt x="9302" y="3961"/>
                    <a:pt x="9259" y="3942"/>
                    <a:pt x="9211" y="3942"/>
                  </a:cubicBezTo>
                  <a:cubicBezTo>
                    <a:pt x="9190" y="3942"/>
                    <a:pt x="9167" y="3946"/>
                    <a:pt x="9144" y="3954"/>
                  </a:cubicBezTo>
                  <a:cubicBezTo>
                    <a:pt x="9144" y="3954"/>
                    <a:pt x="8950" y="4045"/>
                    <a:pt x="8613" y="4045"/>
                  </a:cubicBezTo>
                  <a:cubicBezTo>
                    <a:pt x="8479" y="4045"/>
                    <a:pt x="8321" y="4030"/>
                    <a:pt x="8144" y="3989"/>
                  </a:cubicBezTo>
                  <a:cubicBezTo>
                    <a:pt x="7108" y="3739"/>
                    <a:pt x="6287" y="2739"/>
                    <a:pt x="5775" y="1930"/>
                  </a:cubicBezTo>
                  <a:cubicBezTo>
                    <a:pt x="5406" y="1334"/>
                    <a:pt x="4870" y="906"/>
                    <a:pt x="4227" y="703"/>
                  </a:cubicBezTo>
                  <a:lnTo>
                    <a:pt x="4572" y="251"/>
                  </a:lnTo>
                  <a:cubicBezTo>
                    <a:pt x="4608" y="203"/>
                    <a:pt x="4620" y="144"/>
                    <a:pt x="4584" y="84"/>
                  </a:cubicBezTo>
                  <a:cubicBezTo>
                    <a:pt x="4560" y="48"/>
                    <a:pt x="4513" y="1"/>
                    <a:pt x="4453" y="1"/>
                  </a:cubicBezTo>
                  <a:cubicBezTo>
                    <a:pt x="4451" y="1"/>
                    <a:pt x="4440" y="1"/>
                    <a:pt x="44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6" name="Google Shape;9966;p58"/>
            <p:cNvSpPr/>
            <p:nvPr/>
          </p:nvSpPr>
          <p:spPr>
            <a:xfrm>
              <a:off x="8212381" y="2974320"/>
              <a:ext cx="18577" cy="14861"/>
            </a:xfrm>
            <a:custGeom>
              <a:avLst/>
              <a:gdLst/>
              <a:ahLst/>
              <a:cxnLst/>
              <a:rect l="l" t="t" r="r" b="b"/>
              <a:pathLst>
                <a:path w="585" h="468" extrusionOk="0">
                  <a:moveTo>
                    <a:pt x="406" y="0"/>
                  </a:moveTo>
                  <a:cubicBezTo>
                    <a:pt x="371" y="0"/>
                    <a:pt x="337" y="12"/>
                    <a:pt x="310" y="39"/>
                  </a:cubicBezTo>
                  <a:cubicBezTo>
                    <a:pt x="275" y="75"/>
                    <a:pt x="191" y="123"/>
                    <a:pt x="108" y="170"/>
                  </a:cubicBezTo>
                  <a:cubicBezTo>
                    <a:pt x="25" y="206"/>
                    <a:pt x="1" y="301"/>
                    <a:pt x="48" y="373"/>
                  </a:cubicBezTo>
                  <a:cubicBezTo>
                    <a:pt x="72" y="432"/>
                    <a:pt x="120" y="468"/>
                    <a:pt x="179" y="468"/>
                  </a:cubicBezTo>
                  <a:cubicBezTo>
                    <a:pt x="215" y="468"/>
                    <a:pt x="227" y="468"/>
                    <a:pt x="251" y="444"/>
                  </a:cubicBezTo>
                  <a:cubicBezTo>
                    <a:pt x="370" y="385"/>
                    <a:pt x="465" y="325"/>
                    <a:pt x="536" y="265"/>
                  </a:cubicBezTo>
                  <a:cubicBezTo>
                    <a:pt x="572" y="218"/>
                    <a:pt x="584" y="111"/>
                    <a:pt x="525" y="51"/>
                  </a:cubicBezTo>
                  <a:cubicBezTo>
                    <a:pt x="492" y="18"/>
                    <a:pt x="44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67" name="Google Shape;9967;p58"/>
          <p:cNvSpPr/>
          <p:nvPr/>
        </p:nvSpPr>
        <p:spPr>
          <a:xfrm>
            <a:off x="2498418" y="3245126"/>
            <a:ext cx="365627" cy="292273"/>
          </a:xfrm>
          <a:custGeom>
            <a:avLst/>
            <a:gdLst/>
            <a:ahLst/>
            <a:cxnLst/>
            <a:rect l="l" t="t" r="r" b="b"/>
            <a:pathLst>
              <a:path w="11514" h="9204" extrusionOk="0">
                <a:moveTo>
                  <a:pt x="3727" y="0"/>
                </a:moveTo>
                <a:cubicBezTo>
                  <a:pt x="3156" y="0"/>
                  <a:pt x="2668" y="346"/>
                  <a:pt x="2477" y="870"/>
                </a:cubicBezTo>
                <a:lnTo>
                  <a:pt x="2382" y="870"/>
                </a:lnTo>
                <a:cubicBezTo>
                  <a:pt x="2144" y="870"/>
                  <a:pt x="1906" y="965"/>
                  <a:pt x="1751" y="1143"/>
                </a:cubicBezTo>
                <a:cubicBezTo>
                  <a:pt x="1703" y="1143"/>
                  <a:pt x="1656" y="1131"/>
                  <a:pt x="1608" y="1131"/>
                </a:cubicBezTo>
                <a:cubicBezTo>
                  <a:pt x="1036" y="1131"/>
                  <a:pt x="560" y="1608"/>
                  <a:pt x="560" y="2191"/>
                </a:cubicBezTo>
                <a:cubicBezTo>
                  <a:pt x="560" y="2775"/>
                  <a:pt x="1036" y="3251"/>
                  <a:pt x="1608" y="3251"/>
                </a:cubicBezTo>
                <a:lnTo>
                  <a:pt x="3001" y="3251"/>
                </a:lnTo>
                <a:cubicBezTo>
                  <a:pt x="3096" y="3251"/>
                  <a:pt x="3191" y="3156"/>
                  <a:pt x="3191" y="3048"/>
                </a:cubicBezTo>
                <a:cubicBezTo>
                  <a:pt x="3191" y="2953"/>
                  <a:pt x="3096" y="2858"/>
                  <a:pt x="3001" y="2858"/>
                </a:cubicBezTo>
                <a:lnTo>
                  <a:pt x="1608" y="2858"/>
                </a:lnTo>
                <a:cubicBezTo>
                  <a:pt x="1239" y="2858"/>
                  <a:pt x="941" y="2560"/>
                  <a:pt x="941" y="2191"/>
                </a:cubicBezTo>
                <a:cubicBezTo>
                  <a:pt x="941" y="1822"/>
                  <a:pt x="1239" y="1524"/>
                  <a:pt x="1608" y="1524"/>
                </a:cubicBezTo>
                <a:cubicBezTo>
                  <a:pt x="1667" y="1524"/>
                  <a:pt x="1727" y="1524"/>
                  <a:pt x="1775" y="1536"/>
                </a:cubicBezTo>
                <a:cubicBezTo>
                  <a:pt x="1788" y="1538"/>
                  <a:pt x="1802" y="1539"/>
                  <a:pt x="1816" y="1539"/>
                </a:cubicBezTo>
                <a:cubicBezTo>
                  <a:pt x="1885" y="1539"/>
                  <a:pt x="1949" y="1514"/>
                  <a:pt x="1989" y="1465"/>
                </a:cubicBezTo>
                <a:cubicBezTo>
                  <a:pt x="2072" y="1322"/>
                  <a:pt x="2227" y="1251"/>
                  <a:pt x="2394" y="1251"/>
                </a:cubicBezTo>
                <a:cubicBezTo>
                  <a:pt x="2453" y="1251"/>
                  <a:pt x="2489" y="1262"/>
                  <a:pt x="2548" y="1286"/>
                </a:cubicBezTo>
                <a:cubicBezTo>
                  <a:pt x="2566" y="1291"/>
                  <a:pt x="2585" y="1293"/>
                  <a:pt x="2604" y="1293"/>
                </a:cubicBezTo>
                <a:cubicBezTo>
                  <a:pt x="2638" y="1293"/>
                  <a:pt x="2673" y="1285"/>
                  <a:pt x="2703" y="1262"/>
                </a:cubicBezTo>
                <a:cubicBezTo>
                  <a:pt x="2751" y="1239"/>
                  <a:pt x="2775" y="1191"/>
                  <a:pt x="2787" y="1143"/>
                </a:cubicBezTo>
                <a:cubicBezTo>
                  <a:pt x="2894" y="715"/>
                  <a:pt x="3263" y="405"/>
                  <a:pt x="3715" y="405"/>
                </a:cubicBezTo>
                <a:cubicBezTo>
                  <a:pt x="4239" y="405"/>
                  <a:pt x="4668" y="834"/>
                  <a:pt x="4668" y="1358"/>
                </a:cubicBezTo>
                <a:lnTo>
                  <a:pt x="4668" y="1382"/>
                </a:lnTo>
                <a:lnTo>
                  <a:pt x="4668" y="1405"/>
                </a:lnTo>
                <a:cubicBezTo>
                  <a:pt x="4668" y="1465"/>
                  <a:pt x="4692" y="1524"/>
                  <a:pt x="4739" y="1560"/>
                </a:cubicBezTo>
                <a:cubicBezTo>
                  <a:pt x="4771" y="1592"/>
                  <a:pt x="4813" y="1602"/>
                  <a:pt x="4856" y="1602"/>
                </a:cubicBezTo>
                <a:cubicBezTo>
                  <a:pt x="4877" y="1602"/>
                  <a:pt x="4898" y="1600"/>
                  <a:pt x="4918" y="1596"/>
                </a:cubicBezTo>
                <a:cubicBezTo>
                  <a:pt x="4977" y="1584"/>
                  <a:pt x="5049" y="1560"/>
                  <a:pt x="5108" y="1560"/>
                </a:cubicBezTo>
                <a:cubicBezTo>
                  <a:pt x="5311" y="1560"/>
                  <a:pt x="5489" y="1655"/>
                  <a:pt x="5620" y="1786"/>
                </a:cubicBezTo>
                <a:cubicBezTo>
                  <a:pt x="5620" y="1786"/>
                  <a:pt x="5608" y="1786"/>
                  <a:pt x="5608" y="1798"/>
                </a:cubicBezTo>
                <a:cubicBezTo>
                  <a:pt x="5585" y="1798"/>
                  <a:pt x="5573" y="1822"/>
                  <a:pt x="5573" y="1822"/>
                </a:cubicBezTo>
                <a:cubicBezTo>
                  <a:pt x="5561" y="1834"/>
                  <a:pt x="5525" y="1834"/>
                  <a:pt x="5513" y="1846"/>
                </a:cubicBezTo>
                <a:cubicBezTo>
                  <a:pt x="5477" y="1858"/>
                  <a:pt x="5466" y="1858"/>
                  <a:pt x="5454" y="1882"/>
                </a:cubicBezTo>
                <a:cubicBezTo>
                  <a:pt x="5442" y="1882"/>
                  <a:pt x="5442" y="1882"/>
                  <a:pt x="5430" y="1893"/>
                </a:cubicBezTo>
                <a:cubicBezTo>
                  <a:pt x="5239" y="1989"/>
                  <a:pt x="5085" y="2084"/>
                  <a:pt x="4930" y="2203"/>
                </a:cubicBezTo>
                <a:cubicBezTo>
                  <a:pt x="4727" y="2370"/>
                  <a:pt x="4549" y="2584"/>
                  <a:pt x="4394" y="2786"/>
                </a:cubicBezTo>
                <a:cubicBezTo>
                  <a:pt x="4394" y="2798"/>
                  <a:pt x="4382" y="2798"/>
                  <a:pt x="4382" y="2822"/>
                </a:cubicBezTo>
                <a:cubicBezTo>
                  <a:pt x="4370" y="2834"/>
                  <a:pt x="4346" y="2858"/>
                  <a:pt x="4346" y="2882"/>
                </a:cubicBezTo>
                <a:cubicBezTo>
                  <a:pt x="4346" y="2882"/>
                  <a:pt x="4346" y="2894"/>
                  <a:pt x="4334" y="2894"/>
                </a:cubicBezTo>
                <a:lnTo>
                  <a:pt x="3584" y="2894"/>
                </a:lnTo>
                <a:cubicBezTo>
                  <a:pt x="3477" y="2894"/>
                  <a:pt x="3382" y="2977"/>
                  <a:pt x="3382" y="3084"/>
                </a:cubicBezTo>
                <a:cubicBezTo>
                  <a:pt x="3382" y="3191"/>
                  <a:pt x="3477" y="3275"/>
                  <a:pt x="3584" y="3275"/>
                </a:cubicBezTo>
                <a:lnTo>
                  <a:pt x="4096" y="3275"/>
                </a:lnTo>
                <a:cubicBezTo>
                  <a:pt x="4072" y="3334"/>
                  <a:pt x="4061" y="3406"/>
                  <a:pt x="4025" y="3465"/>
                </a:cubicBezTo>
                <a:cubicBezTo>
                  <a:pt x="3918" y="3453"/>
                  <a:pt x="3822" y="3441"/>
                  <a:pt x="3691" y="3441"/>
                </a:cubicBezTo>
                <a:cubicBezTo>
                  <a:pt x="3203" y="3441"/>
                  <a:pt x="2727" y="3668"/>
                  <a:pt x="2418" y="4049"/>
                </a:cubicBezTo>
                <a:cubicBezTo>
                  <a:pt x="2298" y="4025"/>
                  <a:pt x="2167" y="4025"/>
                  <a:pt x="2025" y="4025"/>
                </a:cubicBezTo>
                <a:cubicBezTo>
                  <a:pt x="917" y="4025"/>
                  <a:pt x="1" y="4930"/>
                  <a:pt x="1" y="6049"/>
                </a:cubicBezTo>
                <a:cubicBezTo>
                  <a:pt x="1" y="7156"/>
                  <a:pt x="917" y="8073"/>
                  <a:pt x="2025" y="8073"/>
                </a:cubicBezTo>
                <a:lnTo>
                  <a:pt x="3858" y="8073"/>
                </a:lnTo>
                <a:cubicBezTo>
                  <a:pt x="3953" y="8704"/>
                  <a:pt x="4501" y="9204"/>
                  <a:pt x="5168" y="9204"/>
                </a:cubicBezTo>
                <a:lnTo>
                  <a:pt x="8549" y="9204"/>
                </a:lnTo>
                <a:cubicBezTo>
                  <a:pt x="8656" y="9204"/>
                  <a:pt x="8740" y="9109"/>
                  <a:pt x="8740" y="9002"/>
                </a:cubicBezTo>
                <a:cubicBezTo>
                  <a:pt x="8740" y="8906"/>
                  <a:pt x="8656" y="8811"/>
                  <a:pt x="8549" y="8811"/>
                </a:cubicBezTo>
                <a:lnTo>
                  <a:pt x="5168" y="8811"/>
                </a:lnTo>
                <a:cubicBezTo>
                  <a:pt x="4644" y="8811"/>
                  <a:pt x="4227" y="8394"/>
                  <a:pt x="4227" y="7882"/>
                </a:cubicBezTo>
                <a:lnTo>
                  <a:pt x="4227" y="7859"/>
                </a:lnTo>
                <a:lnTo>
                  <a:pt x="4227" y="7835"/>
                </a:lnTo>
                <a:lnTo>
                  <a:pt x="4227" y="7811"/>
                </a:lnTo>
                <a:lnTo>
                  <a:pt x="4227" y="7775"/>
                </a:lnTo>
                <a:cubicBezTo>
                  <a:pt x="4287" y="7311"/>
                  <a:pt x="4680" y="6942"/>
                  <a:pt x="5168" y="6942"/>
                </a:cubicBezTo>
                <a:cubicBezTo>
                  <a:pt x="5263" y="6942"/>
                  <a:pt x="5358" y="6954"/>
                  <a:pt x="5454" y="6977"/>
                </a:cubicBezTo>
                <a:cubicBezTo>
                  <a:pt x="5471" y="6984"/>
                  <a:pt x="5488" y="6987"/>
                  <a:pt x="5506" y="6987"/>
                </a:cubicBezTo>
                <a:cubicBezTo>
                  <a:pt x="5548" y="6987"/>
                  <a:pt x="5590" y="6970"/>
                  <a:pt x="5632" y="6954"/>
                </a:cubicBezTo>
                <a:cubicBezTo>
                  <a:pt x="5680" y="6906"/>
                  <a:pt x="5704" y="6846"/>
                  <a:pt x="5704" y="6787"/>
                </a:cubicBezTo>
                <a:lnTo>
                  <a:pt x="5704" y="6775"/>
                </a:lnTo>
                <a:lnTo>
                  <a:pt x="5704" y="6739"/>
                </a:lnTo>
                <a:cubicBezTo>
                  <a:pt x="5704" y="6013"/>
                  <a:pt x="6299" y="5418"/>
                  <a:pt x="7025" y="5418"/>
                </a:cubicBezTo>
                <a:cubicBezTo>
                  <a:pt x="7644" y="5418"/>
                  <a:pt x="8192" y="5846"/>
                  <a:pt x="8323" y="6442"/>
                </a:cubicBezTo>
                <a:cubicBezTo>
                  <a:pt x="8335" y="6501"/>
                  <a:pt x="8371" y="6549"/>
                  <a:pt x="8418" y="6561"/>
                </a:cubicBezTo>
                <a:cubicBezTo>
                  <a:pt x="8441" y="6583"/>
                  <a:pt x="8473" y="6592"/>
                  <a:pt x="8506" y="6592"/>
                </a:cubicBezTo>
                <a:cubicBezTo>
                  <a:pt x="8525" y="6592"/>
                  <a:pt x="8544" y="6589"/>
                  <a:pt x="8561" y="6585"/>
                </a:cubicBezTo>
                <a:cubicBezTo>
                  <a:pt x="8633" y="6549"/>
                  <a:pt x="8716" y="6549"/>
                  <a:pt x="8787" y="6549"/>
                </a:cubicBezTo>
                <a:cubicBezTo>
                  <a:pt x="9025" y="6549"/>
                  <a:pt x="9252" y="6668"/>
                  <a:pt x="9383" y="6858"/>
                </a:cubicBezTo>
                <a:cubicBezTo>
                  <a:pt x="9422" y="6907"/>
                  <a:pt x="9485" y="6948"/>
                  <a:pt x="9546" y="6948"/>
                </a:cubicBezTo>
                <a:cubicBezTo>
                  <a:pt x="9559" y="6948"/>
                  <a:pt x="9572" y="6946"/>
                  <a:pt x="9585" y="6942"/>
                </a:cubicBezTo>
                <a:cubicBezTo>
                  <a:pt x="9668" y="6918"/>
                  <a:pt x="9752" y="6906"/>
                  <a:pt x="9823" y="6906"/>
                </a:cubicBezTo>
                <a:lnTo>
                  <a:pt x="9978" y="6906"/>
                </a:lnTo>
                <a:cubicBezTo>
                  <a:pt x="10216" y="6954"/>
                  <a:pt x="10442" y="7085"/>
                  <a:pt x="10573" y="7275"/>
                </a:cubicBezTo>
                <a:cubicBezTo>
                  <a:pt x="10692" y="7442"/>
                  <a:pt x="10764" y="7632"/>
                  <a:pt x="10764" y="7847"/>
                </a:cubicBezTo>
                <a:cubicBezTo>
                  <a:pt x="10764" y="8370"/>
                  <a:pt x="10335" y="8799"/>
                  <a:pt x="9811" y="8799"/>
                </a:cubicBezTo>
                <a:lnTo>
                  <a:pt x="9156" y="8799"/>
                </a:lnTo>
                <a:cubicBezTo>
                  <a:pt x="9049" y="8799"/>
                  <a:pt x="8966" y="8882"/>
                  <a:pt x="8966" y="8990"/>
                </a:cubicBezTo>
                <a:cubicBezTo>
                  <a:pt x="8966" y="9097"/>
                  <a:pt x="9061" y="9180"/>
                  <a:pt x="9156" y="9180"/>
                </a:cubicBezTo>
                <a:lnTo>
                  <a:pt x="9811" y="9180"/>
                </a:lnTo>
                <a:cubicBezTo>
                  <a:pt x="10561" y="9180"/>
                  <a:pt x="11157" y="8585"/>
                  <a:pt x="11157" y="7847"/>
                </a:cubicBezTo>
                <a:cubicBezTo>
                  <a:pt x="11157" y="7632"/>
                  <a:pt x="11109" y="7454"/>
                  <a:pt x="11038" y="7275"/>
                </a:cubicBezTo>
                <a:cubicBezTo>
                  <a:pt x="11347" y="6882"/>
                  <a:pt x="11514" y="6454"/>
                  <a:pt x="11514" y="6001"/>
                </a:cubicBezTo>
                <a:cubicBezTo>
                  <a:pt x="11514" y="4906"/>
                  <a:pt x="10621" y="4013"/>
                  <a:pt x="9514" y="4013"/>
                </a:cubicBezTo>
                <a:cubicBezTo>
                  <a:pt x="9395" y="4013"/>
                  <a:pt x="9276" y="4025"/>
                  <a:pt x="9156" y="4037"/>
                </a:cubicBezTo>
                <a:cubicBezTo>
                  <a:pt x="9133" y="3668"/>
                  <a:pt x="9037" y="3310"/>
                  <a:pt x="8859" y="2977"/>
                </a:cubicBezTo>
                <a:cubicBezTo>
                  <a:pt x="8834" y="2919"/>
                  <a:pt x="8770" y="2879"/>
                  <a:pt x="8697" y="2879"/>
                </a:cubicBezTo>
                <a:cubicBezTo>
                  <a:pt x="8664" y="2879"/>
                  <a:pt x="8630" y="2887"/>
                  <a:pt x="8597" y="2906"/>
                </a:cubicBezTo>
                <a:cubicBezTo>
                  <a:pt x="8502" y="2953"/>
                  <a:pt x="8466" y="3072"/>
                  <a:pt x="8525" y="3179"/>
                </a:cubicBezTo>
                <a:cubicBezTo>
                  <a:pt x="8680" y="3489"/>
                  <a:pt x="8775" y="3858"/>
                  <a:pt x="8775" y="4215"/>
                </a:cubicBezTo>
                <a:lnTo>
                  <a:pt x="8775" y="4275"/>
                </a:lnTo>
                <a:lnTo>
                  <a:pt x="8775" y="4287"/>
                </a:lnTo>
                <a:cubicBezTo>
                  <a:pt x="8775" y="4346"/>
                  <a:pt x="8799" y="4406"/>
                  <a:pt x="8847" y="4453"/>
                </a:cubicBezTo>
                <a:cubicBezTo>
                  <a:pt x="8879" y="4485"/>
                  <a:pt x="8921" y="4496"/>
                  <a:pt x="8963" y="4496"/>
                </a:cubicBezTo>
                <a:cubicBezTo>
                  <a:pt x="8984" y="4496"/>
                  <a:pt x="9006" y="4493"/>
                  <a:pt x="9025" y="4489"/>
                </a:cubicBezTo>
                <a:cubicBezTo>
                  <a:pt x="9180" y="4441"/>
                  <a:pt x="9335" y="4406"/>
                  <a:pt x="9502" y="4406"/>
                </a:cubicBezTo>
                <a:cubicBezTo>
                  <a:pt x="10395" y="4406"/>
                  <a:pt x="11109" y="5144"/>
                  <a:pt x="11109" y="6013"/>
                </a:cubicBezTo>
                <a:cubicBezTo>
                  <a:pt x="11109" y="6346"/>
                  <a:pt x="11026" y="6644"/>
                  <a:pt x="10847" y="6906"/>
                </a:cubicBezTo>
                <a:lnTo>
                  <a:pt x="10823" y="6894"/>
                </a:lnTo>
                <a:lnTo>
                  <a:pt x="10800" y="6858"/>
                </a:lnTo>
                <a:lnTo>
                  <a:pt x="10788" y="6846"/>
                </a:lnTo>
                <a:lnTo>
                  <a:pt x="10752" y="6823"/>
                </a:lnTo>
                <a:cubicBezTo>
                  <a:pt x="10514" y="6608"/>
                  <a:pt x="10204" y="6489"/>
                  <a:pt x="9871" y="6489"/>
                </a:cubicBezTo>
                <a:cubicBezTo>
                  <a:pt x="9799" y="6489"/>
                  <a:pt x="9740" y="6489"/>
                  <a:pt x="9668" y="6501"/>
                </a:cubicBezTo>
                <a:cubicBezTo>
                  <a:pt x="9454" y="6263"/>
                  <a:pt x="9156" y="6132"/>
                  <a:pt x="8835" y="6132"/>
                </a:cubicBezTo>
                <a:cubicBezTo>
                  <a:pt x="8787" y="6132"/>
                  <a:pt x="8728" y="6132"/>
                  <a:pt x="8680" y="6144"/>
                </a:cubicBezTo>
                <a:cubicBezTo>
                  <a:pt x="8585" y="5846"/>
                  <a:pt x="8383" y="5584"/>
                  <a:pt x="8144" y="5370"/>
                </a:cubicBezTo>
                <a:cubicBezTo>
                  <a:pt x="7847" y="5120"/>
                  <a:pt x="7466" y="4989"/>
                  <a:pt x="7073" y="4989"/>
                </a:cubicBezTo>
                <a:cubicBezTo>
                  <a:pt x="6204" y="4989"/>
                  <a:pt x="5466" y="5656"/>
                  <a:pt x="5382" y="6525"/>
                </a:cubicBezTo>
                <a:cubicBezTo>
                  <a:pt x="5335" y="6525"/>
                  <a:pt x="5275" y="6501"/>
                  <a:pt x="5227" y="6501"/>
                </a:cubicBezTo>
                <a:lnTo>
                  <a:pt x="4977" y="6501"/>
                </a:lnTo>
                <a:cubicBezTo>
                  <a:pt x="4965" y="6501"/>
                  <a:pt x="4942" y="6501"/>
                  <a:pt x="4930" y="6525"/>
                </a:cubicBezTo>
                <a:lnTo>
                  <a:pt x="4918" y="6525"/>
                </a:lnTo>
                <a:cubicBezTo>
                  <a:pt x="4906" y="6525"/>
                  <a:pt x="4882" y="6525"/>
                  <a:pt x="4870" y="6537"/>
                </a:cubicBezTo>
                <a:lnTo>
                  <a:pt x="4858" y="6537"/>
                </a:lnTo>
                <a:cubicBezTo>
                  <a:pt x="4846" y="6537"/>
                  <a:pt x="4823" y="6549"/>
                  <a:pt x="4811" y="6549"/>
                </a:cubicBezTo>
                <a:cubicBezTo>
                  <a:pt x="4406" y="6680"/>
                  <a:pt x="4084" y="7013"/>
                  <a:pt x="3965" y="7430"/>
                </a:cubicBezTo>
                <a:cubicBezTo>
                  <a:pt x="3965" y="7442"/>
                  <a:pt x="3953" y="7454"/>
                  <a:pt x="3953" y="7489"/>
                </a:cubicBezTo>
                <a:cubicBezTo>
                  <a:pt x="3930" y="7537"/>
                  <a:pt x="3930" y="7561"/>
                  <a:pt x="3918" y="7608"/>
                </a:cubicBezTo>
                <a:lnTo>
                  <a:pt x="2084" y="7608"/>
                </a:lnTo>
                <a:cubicBezTo>
                  <a:pt x="1191" y="7608"/>
                  <a:pt x="453" y="6882"/>
                  <a:pt x="453" y="5965"/>
                </a:cubicBezTo>
                <a:cubicBezTo>
                  <a:pt x="453" y="5072"/>
                  <a:pt x="1179" y="4334"/>
                  <a:pt x="2084" y="4334"/>
                </a:cubicBezTo>
                <a:cubicBezTo>
                  <a:pt x="2227" y="4334"/>
                  <a:pt x="2370" y="4346"/>
                  <a:pt x="2501" y="4394"/>
                </a:cubicBezTo>
                <a:cubicBezTo>
                  <a:pt x="2515" y="4396"/>
                  <a:pt x="2529" y="4397"/>
                  <a:pt x="2542" y="4397"/>
                </a:cubicBezTo>
                <a:cubicBezTo>
                  <a:pt x="2611" y="4397"/>
                  <a:pt x="2675" y="4372"/>
                  <a:pt x="2715" y="4322"/>
                </a:cubicBezTo>
                <a:cubicBezTo>
                  <a:pt x="2953" y="3977"/>
                  <a:pt x="3334" y="3763"/>
                  <a:pt x="3751" y="3763"/>
                </a:cubicBezTo>
                <a:cubicBezTo>
                  <a:pt x="3894" y="3763"/>
                  <a:pt x="4025" y="3787"/>
                  <a:pt x="4156" y="3822"/>
                </a:cubicBezTo>
                <a:cubicBezTo>
                  <a:pt x="4177" y="3833"/>
                  <a:pt x="4201" y="3839"/>
                  <a:pt x="4225" y="3839"/>
                </a:cubicBezTo>
                <a:cubicBezTo>
                  <a:pt x="4255" y="3839"/>
                  <a:pt x="4284" y="3830"/>
                  <a:pt x="4311" y="3810"/>
                </a:cubicBezTo>
                <a:cubicBezTo>
                  <a:pt x="4346" y="3787"/>
                  <a:pt x="4382" y="3739"/>
                  <a:pt x="4394" y="3691"/>
                </a:cubicBezTo>
                <a:cubicBezTo>
                  <a:pt x="4442" y="3501"/>
                  <a:pt x="4513" y="3322"/>
                  <a:pt x="4608" y="3144"/>
                </a:cubicBezTo>
                <a:cubicBezTo>
                  <a:pt x="4608" y="3144"/>
                  <a:pt x="4620" y="3132"/>
                  <a:pt x="4620" y="3108"/>
                </a:cubicBezTo>
                <a:cubicBezTo>
                  <a:pt x="4906" y="2596"/>
                  <a:pt x="5394" y="2191"/>
                  <a:pt x="5977" y="2024"/>
                </a:cubicBezTo>
                <a:lnTo>
                  <a:pt x="5989" y="2024"/>
                </a:lnTo>
                <a:cubicBezTo>
                  <a:pt x="6180" y="1977"/>
                  <a:pt x="6370" y="1953"/>
                  <a:pt x="6573" y="1953"/>
                </a:cubicBezTo>
                <a:cubicBezTo>
                  <a:pt x="7192" y="1953"/>
                  <a:pt x="7775" y="2203"/>
                  <a:pt x="8204" y="2667"/>
                </a:cubicBezTo>
                <a:cubicBezTo>
                  <a:pt x="8243" y="2706"/>
                  <a:pt x="8295" y="2727"/>
                  <a:pt x="8349" y="2727"/>
                </a:cubicBezTo>
                <a:cubicBezTo>
                  <a:pt x="8394" y="2727"/>
                  <a:pt x="8440" y="2712"/>
                  <a:pt x="8478" y="2679"/>
                </a:cubicBezTo>
                <a:cubicBezTo>
                  <a:pt x="8549" y="2608"/>
                  <a:pt x="8561" y="2489"/>
                  <a:pt x="8490" y="2417"/>
                </a:cubicBezTo>
                <a:cubicBezTo>
                  <a:pt x="8002" y="1893"/>
                  <a:pt x="7299" y="1584"/>
                  <a:pt x="6573" y="1584"/>
                </a:cubicBezTo>
                <a:cubicBezTo>
                  <a:pt x="6370" y="1584"/>
                  <a:pt x="6192" y="1596"/>
                  <a:pt x="6013" y="1643"/>
                </a:cubicBezTo>
                <a:cubicBezTo>
                  <a:pt x="5823" y="1322"/>
                  <a:pt x="5501" y="1143"/>
                  <a:pt x="5120" y="1143"/>
                </a:cubicBezTo>
                <a:lnTo>
                  <a:pt x="5049" y="1143"/>
                </a:lnTo>
                <a:cubicBezTo>
                  <a:pt x="4965" y="489"/>
                  <a:pt x="4394"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68" name="Google Shape;9968;p58"/>
          <p:cNvGrpSpPr/>
          <p:nvPr/>
        </p:nvGrpSpPr>
        <p:grpSpPr>
          <a:xfrm>
            <a:off x="3588440" y="3258368"/>
            <a:ext cx="364484" cy="262423"/>
            <a:chOff x="3588440" y="3258368"/>
            <a:chExt cx="364484" cy="262423"/>
          </a:xfrm>
        </p:grpSpPr>
        <p:sp>
          <p:nvSpPr>
            <p:cNvPr id="9969" name="Google Shape;9969;p58"/>
            <p:cNvSpPr/>
            <p:nvPr/>
          </p:nvSpPr>
          <p:spPr>
            <a:xfrm>
              <a:off x="3588440" y="3258368"/>
              <a:ext cx="364484" cy="262423"/>
            </a:xfrm>
            <a:custGeom>
              <a:avLst/>
              <a:gdLst/>
              <a:ahLst/>
              <a:cxnLst/>
              <a:rect l="l" t="t" r="r" b="b"/>
              <a:pathLst>
                <a:path w="11478" h="8264" extrusionOk="0">
                  <a:moveTo>
                    <a:pt x="1965" y="345"/>
                  </a:moveTo>
                  <a:cubicBezTo>
                    <a:pt x="2024" y="345"/>
                    <a:pt x="2072" y="393"/>
                    <a:pt x="2072" y="453"/>
                  </a:cubicBezTo>
                  <a:lnTo>
                    <a:pt x="2072" y="810"/>
                  </a:lnTo>
                  <a:lnTo>
                    <a:pt x="1346" y="810"/>
                  </a:lnTo>
                  <a:lnTo>
                    <a:pt x="1346" y="453"/>
                  </a:lnTo>
                  <a:cubicBezTo>
                    <a:pt x="1346" y="393"/>
                    <a:pt x="1381" y="345"/>
                    <a:pt x="1441" y="345"/>
                  </a:cubicBezTo>
                  <a:close/>
                  <a:moveTo>
                    <a:pt x="10311" y="1191"/>
                  </a:moveTo>
                  <a:cubicBezTo>
                    <a:pt x="10371" y="1191"/>
                    <a:pt x="10418" y="1238"/>
                    <a:pt x="10418" y="1298"/>
                  </a:cubicBezTo>
                  <a:lnTo>
                    <a:pt x="10418" y="1631"/>
                  </a:lnTo>
                  <a:lnTo>
                    <a:pt x="9037" y="1631"/>
                  </a:lnTo>
                  <a:lnTo>
                    <a:pt x="9037" y="1298"/>
                  </a:lnTo>
                  <a:cubicBezTo>
                    <a:pt x="9037" y="1238"/>
                    <a:pt x="9085" y="1191"/>
                    <a:pt x="9144" y="1191"/>
                  </a:cubicBezTo>
                  <a:close/>
                  <a:moveTo>
                    <a:pt x="1453" y="0"/>
                  </a:moveTo>
                  <a:cubicBezTo>
                    <a:pt x="1215" y="0"/>
                    <a:pt x="1012" y="203"/>
                    <a:pt x="1012" y="453"/>
                  </a:cubicBezTo>
                  <a:lnTo>
                    <a:pt x="1012" y="810"/>
                  </a:lnTo>
                  <a:lnTo>
                    <a:pt x="858" y="810"/>
                  </a:lnTo>
                  <a:cubicBezTo>
                    <a:pt x="667" y="810"/>
                    <a:pt x="477" y="881"/>
                    <a:pt x="322" y="1000"/>
                  </a:cubicBezTo>
                  <a:cubicBezTo>
                    <a:pt x="250" y="1060"/>
                    <a:pt x="238" y="1167"/>
                    <a:pt x="298" y="1238"/>
                  </a:cubicBezTo>
                  <a:cubicBezTo>
                    <a:pt x="334" y="1282"/>
                    <a:pt x="388" y="1308"/>
                    <a:pt x="441" y="1308"/>
                  </a:cubicBezTo>
                  <a:cubicBezTo>
                    <a:pt x="475" y="1308"/>
                    <a:pt x="508" y="1297"/>
                    <a:pt x="536" y="1274"/>
                  </a:cubicBezTo>
                  <a:cubicBezTo>
                    <a:pt x="663" y="1170"/>
                    <a:pt x="790" y="1154"/>
                    <a:pt x="914" y="1154"/>
                  </a:cubicBezTo>
                  <a:cubicBezTo>
                    <a:pt x="966" y="1154"/>
                    <a:pt x="1018" y="1157"/>
                    <a:pt x="1070" y="1157"/>
                  </a:cubicBezTo>
                  <a:cubicBezTo>
                    <a:pt x="1090" y="1157"/>
                    <a:pt x="1111" y="1156"/>
                    <a:pt x="1131" y="1155"/>
                  </a:cubicBezTo>
                  <a:lnTo>
                    <a:pt x="2560" y="1155"/>
                  </a:lnTo>
                  <a:cubicBezTo>
                    <a:pt x="2846" y="1155"/>
                    <a:pt x="3060" y="1369"/>
                    <a:pt x="3060" y="1655"/>
                  </a:cubicBezTo>
                  <a:lnTo>
                    <a:pt x="3060" y="2310"/>
                  </a:lnTo>
                  <a:cubicBezTo>
                    <a:pt x="3060" y="2405"/>
                    <a:pt x="3144" y="2477"/>
                    <a:pt x="3227" y="2477"/>
                  </a:cubicBezTo>
                  <a:cubicBezTo>
                    <a:pt x="3322" y="2477"/>
                    <a:pt x="3394" y="2405"/>
                    <a:pt x="3394" y="2310"/>
                  </a:cubicBezTo>
                  <a:lnTo>
                    <a:pt x="3394" y="1965"/>
                  </a:lnTo>
                  <a:lnTo>
                    <a:pt x="10656" y="1965"/>
                  </a:lnTo>
                  <a:cubicBezTo>
                    <a:pt x="10918" y="1988"/>
                    <a:pt x="11133" y="2203"/>
                    <a:pt x="11133" y="2477"/>
                  </a:cubicBezTo>
                  <a:lnTo>
                    <a:pt x="11133" y="2679"/>
                  </a:lnTo>
                  <a:lnTo>
                    <a:pt x="10835" y="2679"/>
                  </a:lnTo>
                  <a:cubicBezTo>
                    <a:pt x="10740" y="2679"/>
                    <a:pt x="10668" y="2762"/>
                    <a:pt x="10668" y="2846"/>
                  </a:cubicBezTo>
                  <a:cubicBezTo>
                    <a:pt x="10668" y="2941"/>
                    <a:pt x="10740" y="3012"/>
                    <a:pt x="10835" y="3012"/>
                  </a:cubicBezTo>
                  <a:lnTo>
                    <a:pt x="11133" y="3012"/>
                  </a:lnTo>
                  <a:lnTo>
                    <a:pt x="11133" y="7072"/>
                  </a:lnTo>
                  <a:lnTo>
                    <a:pt x="10347" y="7072"/>
                  </a:lnTo>
                  <a:cubicBezTo>
                    <a:pt x="10085" y="7072"/>
                    <a:pt x="9882" y="6870"/>
                    <a:pt x="9882" y="6608"/>
                  </a:cubicBezTo>
                  <a:lnTo>
                    <a:pt x="9882" y="3489"/>
                  </a:lnTo>
                  <a:cubicBezTo>
                    <a:pt x="9882" y="3274"/>
                    <a:pt x="10013" y="3096"/>
                    <a:pt x="10216" y="3036"/>
                  </a:cubicBezTo>
                  <a:cubicBezTo>
                    <a:pt x="10299" y="3012"/>
                    <a:pt x="10347" y="2917"/>
                    <a:pt x="10323" y="2834"/>
                  </a:cubicBezTo>
                  <a:cubicBezTo>
                    <a:pt x="10302" y="2750"/>
                    <a:pt x="10235" y="2713"/>
                    <a:pt x="10155" y="2713"/>
                  </a:cubicBezTo>
                  <a:cubicBezTo>
                    <a:pt x="10144" y="2713"/>
                    <a:pt x="10132" y="2713"/>
                    <a:pt x="10121" y="2715"/>
                  </a:cubicBezTo>
                  <a:cubicBezTo>
                    <a:pt x="9787" y="2822"/>
                    <a:pt x="9561" y="3131"/>
                    <a:pt x="9561" y="3489"/>
                  </a:cubicBezTo>
                  <a:lnTo>
                    <a:pt x="9561" y="6608"/>
                  </a:lnTo>
                  <a:cubicBezTo>
                    <a:pt x="9561" y="7061"/>
                    <a:pt x="9918" y="7418"/>
                    <a:pt x="10359" y="7418"/>
                  </a:cubicBezTo>
                  <a:lnTo>
                    <a:pt x="11145" y="7418"/>
                  </a:lnTo>
                  <a:cubicBezTo>
                    <a:pt x="11145" y="7703"/>
                    <a:pt x="10918" y="7918"/>
                    <a:pt x="10644" y="7918"/>
                  </a:cubicBezTo>
                  <a:lnTo>
                    <a:pt x="3239" y="7918"/>
                  </a:lnTo>
                  <a:cubicBezTo>
                    <a:pt x="3322" y="7823"/>
                    <a:pt x="3382" y="7715"/>
                    <a:pt x="3394" y="7584"/>
                  </a:cubicBezTo>
                  <a:cubicBezTo>
                    <a:pt x="3405" y="7489"/>
                    <a:pt x="3346" y="7406"/>
                    <a:pt x="3263" y="7370"/>
                  </a:cubicBezTo>
                  <a:cubicBezTo>
                    <a:pt x="3254" y="7369"/>
                    <a:pt x="3246" y="7369"/>
                    <a:pt x="3238" y="7369"/>
                  </a:cubicBezTo>
                  <a:cubicBezTo>
                    <a:pt x="3153" y="7369"/>
                    <a:pt x="3081" y="7425"/>
                    <a:pt x="3048" y="7501"/>
                  </a:cubicBezTo>
                  <a:cubicBezTo>
                    <a:pt x="3013" y="7739"/>
                    <a:pt x="2798" y="7906"/>
                    <a:pt x="2548" y="7906"/>
                  </a:cubicBezTo>
                  <a:lnTo>
                    <a:pt x="762" y="7906"/>
                  </a:lnTo>
                  <a:cubicBezTo>
                    <a:pt x="500" y="7882"/>
                    <a:pt x="322" y="7656"/>
                    <a:pt x="322" y="7406"/>
                  </a:cubicBezTo>
                  <a:lnTo>
                    <a:pt x="322" y="2619"/>
                  </a:lnTo>
                  <a:lnTo>
                    <a:pt x="322" y="1727"/>
                  </a:lnTo>
                  <a:cubicBezTo>
                    <a:pt x="322" y="1643"/>
                    <a:pt x="250" y="1572"/>
                    <a:pt x="167" y="1572"/>
                  </a:cubicBezTo>
                  <a:cubicBezTo>
                    <a:pt x="72" y="1572"/>
                    <a:pt x="0" y="1643"/>
                    <a:pt x="0" y="1727"/>
                  </a:cubicBezTo>
                  <a:lnTo>
                    <a:pt x="0" y="7418"/>
                  </a:lnTo>
                  <a:cubicBezTo>
                    <a:pt x="0" y="7834"/>
                    <a:pt x="310" y="8192"/>
                    <a:pt x="703" y="8251"/>
                  </a:cubicBezTo>
                  <a:cubicBezTo>
                    <a:pt x="715" y="8251"/>
                    <a:pt x="738" y="8251"/>
                    <a:pt x="762" y="8263"/>
                  </a:cubicBezTo>
                  <a:lnTo>
                    <a:pt x="10633" y="8263"/>
                  </a:lnTo>
                  <a:cubicBezTo>
                    <a:pt x="11109" y="8263"/>
                    <a:pt x="11478" y="7882"/>
                    <a:pt x="11478" y="7418"/>
                  </a:cubicBezTo>
                  <a:lnTo>
                    <a:pt x="11478" y="2477"/>
                  </a:lnTo>
                  <a:cubicBezTo>
                    <a:pt x="11478" y="2060"/>
                    <a:pt x="11168" y="1703"/>
                    <a:pt x="10764" y="1643"/>
                  </a:cubicBezTo>
                  <a:lnTo>
                    <a:pt x="10764" y="1298"/>
                  </a:lnTo>
                  <a:cubicBezTo>
                    <a:pt x="10764" y="1060"/>
                    <a:pt x="10573" y="857"/>
                    <a:pt x="10311" y="857"/>
                  </a:cubicBezTo>
                  <a:lnTo>
                    <a:pt x="9144" y="857"/>
                  </a:lnTo>
                  <a:cubicBezTo>
                    <a:pt x="8906" y="857"/>
                    <a:pt x="8692" y="1048"/>
                    <a:pt x="8692" y="1298"/>
                  </a:cubicBezTo>
                  <a:lnTo>
                    <a:pt x="8692" y="1631"/>
                  </a:lnTo>
                  <a:lnTo>
                    <a:pt x="8216" y="1631"/>
                  </a:lnTo>
                  <a:lnTo>
                    <a:pt x="7858" y="857"/>
                  </a:lnTo>
                  <a:cubicBezTo>
                    <a:pt x="7727" y="584"/>
                    <a:pt x="7454" y="405"/>
                    <a:pt x="7156" y="405"/>
                  </a:cubicBezTo>
                  <a:lnTo>
                    <a:pt x="5775" y="405"/>
                  </a:lnTo>
                  <a:cubicBezTo>
                    <a:pt x="5525" y="405"/>
                    <a:pt x="5287" y="524"/>
                    <a:pt x="5132" y="738"/>
                  </a:cubicBezTo>
                  <a:cubicBezTo>
                    <a:pt x="5072" y="810"/>
                    <a:pt x="5108" y="917"/>
                    <a:pt x="5179" y="976"/>
                  </a:cubicBezTo>
                  <a:cubicBezTo>
                    <a:pt x="5205" y="997"/>
                    <a:pt x="5234" y="1006"/>
                    <a:pt x="5264" y="1006"/>
                  </a:cubicBezTo>
                  <a:cubicBezTo>
                    <a:pt x="5320" y="1006"/>
                    <a:pt x="5379" y="975"/>
                    <a:pt x="5418" y="929"/>
                  </a:cubicBezTo>
                  <a:cubicBezTo>
                    <a:pt x="5489" y="810"/>
                    <a:pt x="5632" y="750"/>
                    <a:pt x="5775" y="750"/>
                  </a:cubicBezTo>
                  <a:lnTo>
                    <a:pt x="7156" y="750"/>
                  </a:lnTo>
                  <a:cubicBezTo>
                    <a:pt x="7323" y="750"/>
                    <a:pt x="7489" y="857"/>
                    <a:pt x="7561" y="1000"/>
                  </a:cubicBezTo>
                  <a:lnTo>
                    <a:pt x="7858" y="1631"/>
                  </a:lnTo>
                  <a:lnTo>
                    <a:pt x="5096" y="1631"/>
                  </a:lnTo>
                  <a:lnTo>
                    <a:pt x="5156" y="1512"/>
                  </a:lnTo>
                  <a:cubicBezTo>
                    <a:pt x="5191" y="1417"/>
                    <a:pt x="5156" y="1310"/>
                    <a:pt x="5060" y="1286"/>
                  </a:cubicBezTo>
                  <a:cubicBezTo>
                    <a:pt x="5034" y="1273"/>
                    <a:pt x="5008" y="1267"/>
                    <a:pt x="4984" y="1267"/>
                  </a:cubicBezTo>
                  <a:cubicBezTo>
                    <a:pt x="4918" y="1267"/>
                    <a:pt x="4860" y="1309"/>
                    <a:pt x="4834" y="1369"/>
                  </a:cubicBezTo>
                  <a:lnTo>
                    <a:pt x="4715" y="1631"/>
                  </a:lnTo>
                  <a:lnTo>
                    <a:pt x="3417" y="1631"/>
                  </a:lnTo>
                  <a:cubicBezTo>
                    <a:pt x="3405" y="1179"/>
                    <a:pt x="3036" y="810"/>
                    <a:pt x="2572" y="810"/>
                  </a:cubicBezTo>
                  <a:lnTo>
                    <a:pt x="2429" y="810"/>
                  </a:lnTo>
                  <a:lnTo>
                    <a:pt x="2429" y="453"/>
                  </a:lnTo>
                  <a:cubicBezTo>
                    <a:pt x="2429" y="214"/>
                    <a:pt x="2227" y="0"/>
                    <a:pt x="1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0" name="Google Shape;9970;p58"/>
            <p:cNvSpPr/>
            <p:nvPr/>
          </p:nvSpPr>
          <p:spPr>
            <a:xfrm>
              <a:off x="3685992" y="3347949"/>
              <a:ext cx="10606" cy="133498"/>
            </a:xfrm>
            <a:custGeom>
              <a:avLst/>
              <a:gdLst/>
              <a:ahLst/>
              <a:cxnLst/>
              <a:rect l="l" t="t" r="r" b="b"/>
              <a:pathLst>
                <a:path w="334" h="4204" extrusionOk="0">
                  <a:moveTo>
                    <a:pt x="155" y="1"/>
                  </a:moveTo>
                  <a:cubicBezTo>
                    <a:pt x="72" y="1"/>
                    <a:pt x="0" y="72"/>
                    <a:pt x="0" y="156"/>
                  </a:cubicBezTo>
                  <a:lnTo>
                    <a:pt x="0" y="4049"/>
                  </a:lnTo>
                  <a:cubicBezTo>
                    <a:pt x="0" y="4132"/>
                    <a:pt x="72" y="4204"/>
                    <a:pt x="155" y="4204"/>
                  </a:cubicBezTo>
                  <a:cubicBezTo>
                    <a:pt x="250" y="4204"/>
                    <a:pt x="322" y="4132"/>
                    <a:pt x="322" y="4049"/>
                  </a:cubicBezTo>
                  <a:lnTo>
                    <a:pt x="322" y="156"/>
                  </a:lnTo>
                  <a:cubicBezTo>
                    <a:pt x="333"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1" name="Google Shape;9971;p58"/>
            <p:cNvSpPr/>
            <p:nvPr/>
          </p:nvSpPr>
          <p:spPr>
            <a:xfrm>
              <a:off x="3862549" y="3329785"/>
              <a:ext cx="40107" cy="30675"/>
            </a:xfrm>
            <a:custGeom>
              <a:avLst/>
              <a:gdLst/>
              <a:ahLst/>
              <a:cxnLst/>
              <a:rect l="l" t="t" r="r" b="b"/>
              <a:pathLst>
                <a:path w="1263" h="966" extrusionOk="0">
                  <a:moveTo>
                    <a:pt x="760" y="0"/>
                  </a:moveTo>
                  <a:cubicBezTo>
                    <a:pt x="704" y="0"/>
                    <a:pt x="646" y="27"/>
                    <a:pt x="608" y="73"/>
                  </a:cubicBezTo>
                  <a:cubicBezTo>
                    <a:pt x="548" y="144"/>
                    <a:pt x="584" y="251"/>
                    <a:pt x="655" y="311"/>
                  </a:cubicBezTo>
                  <a:cubicBezTo>
                    <a:pt x="786" y="406"/>
                    <a:pt x="715" y="621"/>
                    <a:pt x="548" y="621"/>
                  </a:cubicBezTo>
                  <a:cubicBezTo>
                    <a:pt x="441" y="621"/>
                    <a:pt x="357" y="537"/>
                    <a:pt x="381" y="418"/>
                  </a:cubicBezTo>
                  <a:cubicBezTo>
                    <a:pt x="405" y="323"/>
                    <a:pt x="346" y="240"/>
                    <a:pt x="250" y="228"/>
                  </a:cubicBezTo>
                  <a:cubicBezTo>
                    <a:pt x="243" y="227"/>
                    <a:pt x="236" y="226"/>
                    <a:pt x="229" y="226"/>
                  </a:cubicBezTo>
                  <a:cubicBezTo>
                    <a:pt x="151" y="226"/>
                    <a:pt x="71" y="282"/>
                    <a:pt x="60" y="359"/>
                  </a:cubicBezTo>
                  <a:cubicBezTo>
                    <a:pt x="0" y="692"/>
                    <a:pt x="238" y="966"/>
                    <a:pt x="560" y="966"/>
                  </a:cubicBezTo>
                  <a:cubicBezTo>
                    <a:pt x="1060" y="954"/>
                    <a:pt x="1262" y="323"/>
                    <a:pt x="846" y="25"/>
                  </a:cubicBezTo>
                  <a:cubicBezTo>
                    <a:pt x="820" y="8"/>
                    <a:pt x="791"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2" name="Google Shape;9972;p58"/>
            <p:cNvSpPr/>
            <p:nvPr/>
          </p:nvSpPr>
          <p:spPr>
            <a:xfrm>
              <a:off x="3703743" y="3323942"/>
              <a:ext cx="183417" cy="182083"/>
            </a:xfrm>
            <a:custGeom>
              <a:avLst/>
              <a:gdLst/>
              <a:ahLst/>
              <a:cxnLst/>
              <a:rect l="l" t="t" r="r" b="b"/>
              <a:pathLst>
                <a:path w="5776" h="5734" extrusionOk="0">
                  <a:moveTo>
                    <a:pt x="2879" y="1"/>
                  </a:moveTo>
                  <a:cubicBezTo>
                    <a:pt x="2275" y="1"/>
                    <a:pt x="1659" y="191"/>
                    <a:pt x="1120" y="614"/>
                  </a:cubicBezTo>
                  <a:cubicBezTo>
                    <a:pt x="1048" y="674"/>
                    <a:pt x="1025" y="781"/>
                    <a:pt x="1084" y="852"/>
                  </a:cubicBezTo>
                  <a:cubicBezTo>
                    <a:pt x="1119" y="901"/>
                    <a:pt x="1170" y="925"/>
                    <a:pt x="1220" y="925"/>
                  </a:cubicBezTo>
                  <a:cubicBezTo>
                    <a:pt x="1257" y="925"/>
                    <a:pt x="1292" y="913"/>
                    <a:pt x="1322" y="888"/>
                  </a:cubicBezTo>
                  <a:cubicBezTo>
                    <a:pt x="1801" y="509"/>
                    <a:pt x="2346" y="339"/>
                    <a:pt x="2879" y="339"/>
                  </a:cubicBezTo>
                  <a:cubicBezTo>
                    <a:pt x="4191" y="339"/>
                    <a:pt x="5430" y="1370"/>
                    <a:pt x="5430" y="2876"/>
                  </a:cubicBezTo>
                  <a:cubicBezTo>
                    <a:pt x="5430" y="3472"/>
                    <a:pt x="5228" y="4055"/>
                    <a:pt x="4835" y="4507"/>
                  </a:cubicBezTo>
                  <a:cubicBezTo>
                    <a:pt x="4346" y="5079"/>
                    <a:pt x="3644" y="5412"/>
                    <a:pt x="2894" y="5412"/>
                  </a:cubicBezTo>
                  <a:cubicBezTo>
                    <a:pt x="1489" y="5412"/>
                    <a:pt x="346" y="4269"/>
                    <a:pt x="346" y="2864"/>
                  </a:cubicBezTo>
                  <a:cubicBezTo>
                    <a:pt x="346" y="2305"/>
                    <a:pt x="525" y="1769"/>
                    <a:pt x="870" y="1316"/>
                  </a:cubicBezTo>
                  <a:cubicBezTo>
                    <a:pt x="929" y="1245"/>
                    <a:pt x="906" y="1138"/>
                    <a:pt x="834" y="1078"/>
                  </a:cubicBezTo>
                  <a:cubicBezTo>
                    <a:pt x="804" y="1054"/>
                    <a:pt x="768" y="1041"/>
                    <a:pt x="732" y="1041"/>
                  </a:cubicBezTo>
                  <a:cubicBezTo>
                    <a:pt x="682" y="1041"/>
                    <a:pt x="631" y="1065"/>
                    <a:pt x="596" y="1114"/>
                  </a:cubicBezTo>
                  <a:cubicBezTo>
                    <a:pt x="203" y="1614"/>
                    <a:pt x="1" y="2221"/>
                    <a:pt x="1" y="2852"/>
                  </a:cubicBezTo>
                  <a:cubicBezTo>
                    <a:pt x="1" y="4448"/>
                    <a:pt x="1298" y="5734"/>
                    <a:pt x="2882" y="5734"/>
                  </a:cubicBezTo>
                  <a:cubicBezTo>
                    <a:pt x="3751" y="5734"/>
                    <a:pt x="4549" y="5365"/>
                    <a:pt x="5108" y="4698"/>
                  </a:cubicBezTo>
                  <a:cubicBezTo>
                    <a:pt x="5537" y="4174"/>
                    <a:pt x="5775" y="3519"/>
                    <a:pt x="5775" y="2852"/>
                  </a:cubicBezTo>
                  <a:cubicBezTo>
                    <a:pt x="5775" y="1158"/>
                    <a:pt x="4365" y="1"/>
                    <a:pt x="28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3" name="Google Shape;9973;p58"/>
            <p:cNvSpPr/>
            <p:nvPr/>
          </p:nvSpPr>
          <p:spPr>
            <a:xfrm>
              <a:off x="3733624" y="3358174"/>
              <a:ext cx="138039" cy="114667"/>
            </a:xfrm>
            <a:custGeom>
              <a:avLst/>
              <a:gdLst/>
              <a:ahLst/>
              <a:cxnLst/>
              <a:rect l="l" t="t" r="r" b="b"/>
              <a:pathLst>
                <a:path w="4347" h="3611" extrusionOk="0">
                  <a:moveTo>
                    <a:pt x="1965" y="0"/>
                  </a:moveTo>
                  <a:cubicBezTo>
                    <a:pt x="846" y="0"/>
                    <a:pt x="0" y="1000"/>
                    <a:pt x="179" y="2096"/>
                  </a:cubicBezTo>
                  <a:cubicBezTo>
                    <a:pt x="190" y="2183"/>
                    <a:pt x="270" y="2240"/>
                    <a:pt x="348" y="2240"/>
                  </a:cubicBezTo>
                  <a:cubicBezTo>
                    <a:pt x="355" y="2240"/>
                    <a:pt x="362" y="2240"/>
                    <a:pt x="369" y="2239"/>
                  </a:cubicBezTo>
                  <a:cubicBezTo>
                    <a:pt x="465" y="2215"/>
                    <a:pt x="524" y="2132"/>
                    <a:pt x="500" y="2036"/>
                  </a:cubicBezTo>
                  <a:cubicBezTo>
                    <a:pt x="347" y="1083"/>
                    <a:pt x="1112" y="331"/>
                    <a:pt x="1952" y="331"/>
                  </a:cubicBezTo>
                  <a:cubicBezTo>
                    <a:pt x="2288" y="331"/>
                    <a:pt x="2635" y="451"/>
                    <a:pt x="2941" y="727"/>
                  </a:cubicBezTo>
                  <a:cubicBezTo>
                    <a:pt x="3525" y="1262"/>
                    <a:pt x="3572" y="2191"/>
                    <a:pt x="3013" y="2798"/>
                  </a:cubicBezTo>
                  <a:cubicBezTo>
                    <a:pt x="2727" y="3116"/>
                    <a:pt x="2334" y="3271"/>
                    <a:pt x="1942" y="3271"/>
                  </a:cubicBezTo>
                  <a:cubicBezTo>
                    <a:pt x="1468" y="3271"/>
                    <a:pt x="995" y="3045"/>
                    <a:pt x="715" y="2608"/>
                  </a:cubicBezTo>
                  <a:cubicBezTo>
                    <a:pt x="684" y="2561"/>
                    <a:pt x="623" y="2530"/>
                    <a:pt x="564" y="2530"/>
                  </a:cubicBezTo>
                  <a:cubicBezTo>
                    <a:pt x="533" y="2530"/>
                    <a:pt x="502" y="2539"/>
                    <a:pt x="477" y="2560"/>
                  </a:cubicBezTo>
                  <a:cubicBezTo>
                    <a:pt x="393" y="2608"/>
                    <a:pt x="369" y="2727"/>
                    <a:pt x="429" y="2798"/>
                  </a:cubicBezTo>
                  <a:cubicBezTo>
                    <a:pt x="780" y="3337"/>
                    <a:pt x="1353" y="3611"/>
                    <a:pt x="1934" y="3611"/>
                  </a:cubicBezTo>
                  <a:cubicBezTo>
                    <a:pt x="2418" y="3611"/>
                    <a:pt x="2906" y="3421"/>
                    <a:pt x="3274" y="3036"/>
                  </a:cubicBezTo>
                  <a:cubicBezTo>
                    <a:pt x="4346" y="1882"/>
                    <a:pt x="3525"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4" name="Google Shape;9974;p58"/>
            <p:cNvSpPr/>
            <p:nvPr/>
          </p:nvSpPr>
          <p:spPr>
            <a:xfrm>
              <a:off x="3777478" y="3386087"/>
              <a:ext cx="51062" cy="43282"/>
            </a:xfrm>
            <a:custGeom>
              <a:avLst/>
              <a:gdLst/>
              <a:ahLst/>
              <a:cxnLst/>
              <a:rect l="l" t="t" r="r" b="b"/>
              <a:pathLst>
                <a:path w="1608" h="1363" extrusionOk="0">
                  <a:moveTo>
                    <a:pt x="772" y="1"/>
                  </a:moveTo>
                  <a:cubicBezTo>
                    <a:pt x="765" y="1"/>
                    <a:pt x="758" y="1"/>
                    <a:pt x="750" y="2"/>
                  </a:cubicBezTo>
                  <a:cubicBezTo>
                    <a:pt x="215" y="110"/>
                    <a:pt x="0" y="776"/>
                    <a:pt x="393" y="1157"/>
                  </a:cubicBezTo>
                  <a:cubicBezTo>
                    <a:pt x="524" y="1294"/>
                    <a:pt x="697" y="1363"/>
                    <a:pt x="871" y="1363"/>
                  </a:cubicBezTo>
                  <a:cubicBezTo>
                    <a:pt x="1045" y="1363"/>
                    <a:pt x="1221" y="1294"/>
                    <a:pt x="1358" y="1157"/>
                  </a:cubicBezTo>
                  <a:cubicBezTo>
                    <a:pt x="1560" y="919"/>
                    <a:pt x="1608" y="610"/>
                    <a:pt x="1489" y="360"/>
                  </a:cubicBezTo>
                  <a:cubicBezTo>
                    <a:pt x="1457" y="296"/>
                    <a:pt x="1404" y="264"/>
                    <a:pt x="1348" y="264"/>
                  </a:cubicBezTo>
                  <a:cubicBezTo>
                    <a:pt x="1319" y="264"/>
                    <a:pt x="1290" y="272"/>
                    <a:pt x="1262" y="288"/>
                  </a:cubicBezTo>
                  <a:cubicBezTo>
                    <a:pt x="1179" y="324"/>
                    <a:pt x="1143" y="431"/>
                    <a:pt x="1191" y="502"/>
                  </a:cubicBezTo>
                  <a:cubicBezTo>
                    <a:pt x="1251" y="633"/>
                    <a:pt x="1239" y="788"/>
                    <a:pt x="1120" y="907"/>
                  </a:cubicBezTo>
                  <a:cubicBezTo>
                    <a:pt x="1054" y="973"/>
                    <a:pt x="965" y="1006"/>
                    <a:pt x="875" y="1006"/>
                  </a:cubicBezTo>
                  <a:cubicBezTo>
                    <a:pt x="786" y="1006"/>
                    <a:pt x="697" y="973"/>
                    <a:pt x="631" y="907"/>
                  </a:cubicBezTo>
                  <a:cubicBezTo>
                    <a:pt x="429" y="717"/>
                    <a:pt x="536" y="372"/>
                    <a:pt x="810" y="324"/>
                  </a:cubicBezTo>
                  <a:cubicBezTo>
                    <a:pt x="893" y="312"/>
                    <a:pt x="953" y="229"/>
                    <a:pt x="941" y="133"/>
                  </a:cubicBezTo>
                  <a:cubicBezTo>
                    <a:pt x="930" y="57"/>
                    <a:pt x="850" y="1"/>
                    <a:pt x="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975" name="Google Shape;9975;p58"/>
          <p:cNvSpPr/>
          <p:nvPr/>
        </p:nvSpPr>
        <p:spPr>
          <a:xfrm>
            <a:off x="5263326" y="3229852"/>
            <a:ext cx="323298" cy="320789"/>
          </a:xfrm>
          <a:custGeom>
            <a:avLst/>
            <a:gdLst/>
            <a:ahLst/>
            <a:cxnLst/>
            <a:rect l="l" t="t" r="r" b="b"/>
            <a:pathLst>
              <a:path w="10181" h="10102" extrusionOk="0">
                <a:moveTo>
                  <a:pt x="2632" y="410"/>
                </a:moveTo>
                <a:lnTo>
                  <a:pt x="4085" y="2863"/>
                </a:lnTo>
                <a:lnTo>
                  <a:pt x="3311" y="3327"/>
                </a:lnTo>
                <a:lnTo>
                  <a:pt x="1858" y="874"/>
                </a:lnTo>
                <a:lnTo>
                  <a:pt x="2632" y="410"/>
                </a:lnTo>
                <a:close/>
                <a:moveTo>
                  <a:pt x="2715" y="0"/>
                </a:moveTo>
                <a:cubicBezTo>
                  <a:pt x="2684" y="0"/>
                  <a:pt x="2655" y="12"/>
                  <a:pt x="2620" y="29"/>
                </a:cubicBezTo>
                <a:lnTo>
                  <a:pt x="1537" y="660"/>
                </a:lnTo>
                <a:cubicBezTo>
                  <a:pt x="1442" y="708"/>
                  <a:pt x="1418" y="827"/>
                  <a:pt x="1477" y="922"/>
                </a:cubicBezTo>
                <a:lnTo>
                  <a:pt x="1573" y="1101"/>
                </a:lnTo>
                <a:lnTo>
                  <a:pt x="1132" y="1339"/>
                </a:lnTo>
                <a:cubicBezTo>
                  <a:pt x="668" y="1577"/>
                  <a:pt x="322" y="1993"/>
                  <a:pt x="168" y="2482"/>
                </a:cubicBezTo>
                <a:cubicBezTo>
                  <a:pt x="1" y="2982"/>
                  <a:pt x="49" y="3506"/>
                  <a:pt x="263" y="3982"/>
                </a:cubicBezTo>
                <a:cubicBezTo>
                  <a:pt x="489" y="4446"/>
                  <a:pt x="1180" y="5220"/>
                  <a:pt x="1692" y="5803"/>
                </a:cubicBezTo>
                <a:cubicBezTo>
                  <a:pt x="1727" y="5839"/>
                  <a:pt x="1787" y="5863"/>
                  <a:pt x="1835" y="5863"/>
                </a:cubicBezTo>
                <a:cubicBezTo>
                  <a:pt x="1870" y="5863"/>
                  <a:pt x="1918" y="5839"/>
                  <a:pt x="1954" y="5815"/>
                </a:cubicBezTo>
                <a:cubicBezTo>
                  <a:pt x="2025" y="5744"/>
                  <a:pt x="2025" y="5637"/>
                  <a:pt x="1965" y="5565"/>
                </a:cubicBezTo>
                <a:cubicBezTo>
                  <a:pt x="1251" y="4768"/>
                  <a:pt x="763" y="4149"/>
                  <a:pt x="596" y="3815"/>
                </a:cubicBezTo>
                <a:cubicBezTo>
                  <a:pt x="203" y="3029"/>
                  <a:pt x="525" y="2065"/>
                  <a:pt x="1299" y="1648"/>
                </a:cubicBezTo>
                <a:lnTo>
                  <a:pt x="1751" y="1410"/>
                </a:lnTo>
                <a:lnTo>
                  <a:pt x="2763" y="3125"/>
                </a:lnTo>
                <a:cubicBezTo>
                  <a:pt x="2668" y="3160"/>
                  <a:pt x="2573" y="3220"/>
                  <a:pt x="2501" y="3303"/>
                </a:cubicBezTo>
                <a:cubicBezTo>
                  <a:pt x="2096" y="3660"/>
                  <a:pt x="2037" y="4232"/>
                  <a:pt x="2346" y="4672"/>
                </a:cubicBezTo>
                <a:cubicBezTo>
                  <a:pt x="2513" y="4887"/>
                  <a:pt x="5299" y="7685"/>
                  <a:pt x="5525" y="7839"/>
                </a:cubicBezTo>
                <a:cubicBezTo>
                  <a:pt x="5704" y="7970"/>
                  <a:pt x="5906" y="8030"/>
                  <a:pt x="6133" y="8030"/>
                </a:cubicBezTo>
                <a:cubicBezTo>
                  <a:pt x="6418" y="8030"/>
                  <a:pt x="6692" y="7911"/>
                  <a:pt x="6907" y="7673"/>
                </a:cubicBezTo>
                <a:cubicBezTo>
                  <a:pt x="6978" y="7601"/>
                  <a:pt x="7038" y="7494"/>
                  <a:pt x="7085" y="7387"/>
                </a:cubicBezTo>
                <a:lnTo>
                  <a:pt x="8800" y="8399"/>
                </a:lnTo>
                <a:lnTo>
                  <a:pt x="8562" y="8863"/>
                </a:lnTo>
                <a:cubicBezTo>
                  <a:pt x="8267" y="9418"/>
                  <a:pt x="7695" y="9741"/>
                  <a:pt x="7107" y="9741"/>
                </a:cubicBezTo>
                <a:cubicBezTo>
                  <a:pt x="6862" y="9741"/>
                  <a:pt x="6614" y="9685"/>
                  <a:pt x="6383" y="9566"/>
                </a:cubicBezTo>
                <a:cubicBezTo>
                  <a:pt x="5764" y="9256"/>
                  <a:pt x="4097" y="7768"/>
                  <a:pt x="2513" y="6113"/>
                </a:cubicBezTo>
                <a:cubicBezTo>
                  <a:pt x="2477" y="6077"/>
                  <a:pt x="2433" y="6059"/>
                  <a:pt x="2388" y="6059"/>
                </a:cubicBezTo>
                <a:cubicBezTo>
                  <a:pt x="2344" y="6059"/>
                  <a:pt x="2299" y="6077"/>
                  <a:pt x="2263" y="6113"/>
                </a:cubicBezTo>
                <a:cubicBezTo>
                  <a:pt x="2192" y="6184"/>
                  <a:pt x="2192" y="6292"/>
                  <a:pt x="2263" y="6363"/>
                </a:cubicBezTo>
                <a:cubicBezTo>
                  <a:pt x="3656" y="7839"/>
                  <a:pt x="5466" y="9518"/>
                  <a:pt x="6240" y="9887"/>
                </a:cubicBezTo>
                <a:cubicBezTo>
                  <a:pt x="6514" y="10030"/>
                  <a:pt x="6811" y="10102"/>
                  <a:pt x="7109" y="10102"/>
                </a:cubicBezTo>
                <a:cubicBezTo>
                  <a:pt x="7323" y="10102"/>
                  <a:pt x="7526" y="10066"/>
                  <a:pt x="7740" y="9994"/>
                </a:cubicBezTo>
                <a:cubicBezTo>
                  <a:pt x="8240" y="9828"/>
                  <a:pt x="8645" y="9494"/>
                  <a:pt x="8883" y="9030"/>
                </a:cubicBezTo>
                <a:lnTo>
                  <a:pt x="9121" y="8578"/>
                </a:lnTo>
                <a:lnTo>
                  <a:pt x="9300" y="8685"/>
                </a:lnTo>
                <a:cubicBezTo>
                  <a:pt x="9335" y="8697"/>
                  <a:pt x="9359" y="8721"/>
                  <a:pt x="9395" y="8721"/>
                </a:cubicBezTo>
                <a:cubicBezTo>
                  <a:pt x="9455" y="8721"/>
                  <a:pt x="9514" y="8685"/>
                  <a:pt x="9538" y="8625"/>
                </a:cubicBezTo>
                <a:lnTo>
                  <a:pt x="10181" y="7542"/>
                </a:lnTo>
                <a:cubicBezTo>
                  <a:pt x="10169" y="7494"/>
                  <a:pt x="10169" y="7447"/>
                  <a:pt x="10169" y="7411"/>
                </a:cubicBezTo>
                <a:cubicBezTo>
                  <a:pt x="10157" y="7363"/>
                  <a:pt x="10121" y="7316"/>
                  <a:pt x="10074" y="7304"/>
                </a:cubicBezTo>
                <a:lnTo>
                  <a:pt x="8871" y="6589"/>
                </a:lnTo>
                <a:cubicBezTo>
                  <a:pt x="8845" y="6574"/>
                  <a:pt x="8816" y="6568"/>
                  <a:pt x="8788" y="6568"/>
                </a:cubicBezTo>
                <a:cubicBezTo>
                  <a:pt x="8725" y="6568"/>
                  <a:pt x="8662" y="6600"/>
                  <a:pt x="8621" y="6649"/>
                </a:cubicBezTo>
                <a:cubicBezTo>
                  <a:pt x="8573" y="6732"/>
                  <a:pt x="8609" y="6839"/>
                  <a:pt x="8681" y="6899"/>
                </a:cubicBezTo>
                <a:lnTo>
                  <a:pt x="9740" y="7530"/>
                </a:lnTo>
                <a:lnTo>
                  <a:pt x="9276" y="8304"/>
                </a:lnTo>
                <a:lnTo>
                  <a:pt x="6823" y="6851"/>
                </a:lnTo>
                <a:lnTo>
                  <a:pt x="7276" y="6077"/>
                </a:lnTo>
                <a:lnTo>
                  <a:pt x="8038" y="6530"/>
                </a:lnTo>
                <a:cubicBezTo>
                  <a:pt x="8064" y="6545"/>
                  <a:pt x="8092" y="6551"/>
                  <a:pt x="8121" y="6551"/>
                </a:cubicBezTo>
                <a:cubicBezTo>
                  <a:pt x="8184" y="6551"/>
                  <a:pt x="8247" y="6519"/>
                  <a:pt x="8288" y="6470"/>
                </a:cubicBezTo>
                <a:cubicBezTo>
                  <a:pt x="8335" y="6375"/>
                  <a:pt x="8312" y="6280"/>
                  <a:pt x="8228" y="6220"/>
                </a:cubicBezTo>
                <a:lnTo>
                  <a:pt x="7311" y="5684"/>
                </a:lnTo>
                <a:cubicBezTo>
                  <a:pt x="7281" y="5662"/>
                  <a:pt x="7251" y="5653"/>
                  <a:pt x="7221" y="5653"/>
                </a:cubicBezTo>
                <a:cubicBezTo>
                  <a:pt x="7203" y="5653"/>
                  <a:pt x="7186" y="5656"/>
                  <a:pt x="7169" y="5661"/>
                </a:cubicBezTo>
                <a:cubicBezTo>
                  <a:pt x="7133" y="5684"/>
                  <a:pt x="7085" y="5708"/>
                  <a:pt x="7073" y="5756"/>
                </a:cubicBezTo>
                <a:lnTo>
                  <a:pt x="6430" y="6839"/>
                </a:lnTo>
                <a:cubicBezTo>
                  <a:pt x="6383" y="6935"/>
                  <a:pt x="6418" y="7030"/>
                  <a:pt x="6490" y="7089"/>
                </a:cubicBezTo>
                <a:lnTo>
                  <a:pt x="6728" y="7244"/>
                </a:lnTo>
                <a:lnTo>
                  <a:pt x="6716" y="7268"/>
                </a:lnTo>
                <a:cubicBezTo>
                  <a:pt x="6680" y="7351"/>
                  <a:pt x="6633" y="7411"/>
                  <a:pt x="6597" y="7470"/>
                </a:cubicBezTo>
                <a:cubicBezTo>
                  <a:pt x="6466" y="7615"/>
                  <a:pt x="6284" y="7692"/>
                  <a:pt x="6098" y="7692"/>
                </a:cubicBezTo>
                <a:cubicBezTo>
                  <a:pt x="5962" y="7692"/>
                  <a:pt x="5825" y="7651"/>
                  <a:pt x="5704" y="7566"/>
                </a:cubicBezTo>
                <a:cubicBezTo>
                  <a:pt x="5514" y="7423"/>
                  <a:pt x="2751" y="4672"/>
                  <a:pt x="2608" y="4470"/>
                </a:cubicBezTo>
                <a:cubicBezTo>
                  <a:pt x="2394" y="4196"/>
                  <a:pt x="2442" y="3815"/>
                  <a:pt x="2716" y="3577"/>
                </a:cubicBezTo>
                <a:cubicBezTo>
                  <a:pt x="2775" y="3541"/>
                  <a:pt x="2835" y="3494"/>
                  <a:pt x="2906" y="3458"/>
                </a:cubicBezTo>
                <a:lnTo>
                  <a:pt x="2930" y="3446"/>
                </a:lnTo>
                <a:lnTo>
                  <a:pt x="3085" y="3684"/>
                </a:lnTo>
                <a:cubicBezTo>
                  <a:pt x="3108" y="3744"/>
                  <a:pt x="3168" y="3779"/>
                  <a:pt x="3228" y="3779"/>
                </a:cubicBezTo>
                <a:cubicBezTo>
                  <a:pt x="3263" y="3779"/>
                  <a:pt x="3287" y="3756"/>
                  <a:pt x="3323" y="3744"/>
                </a:cubicBezTo>
                <a:lnTo>
                  <a:pt x="4406" y="3101"/>
                </a:lnTo>
                <a:cubicBezTo>
                  <a:pt x="4454" y="3077"/>
                  <a:pt x="4478" y="3041"/>
                  <a:pt x="4490" y="3006"/>
                </a:cubicBezTo>
                <a:cubicBezTo>
                  <a:pt x="4513" y="2958"/>
                  <a:pt x="4490" y="2910"/>
                  <a:pt x="4478" y="2863"/>
                </a:cubicBezTo>
                <a:lnTo>
                  <a:pt x="2858" y="100"/>
                </a:lnTo>
                <a:cubicBezTo>
                  <a:pt x="2823" y="53"/>
                  <a:pt x="2799" y="29"/>
                  <a:pt x="2751" y="5"/>
                </a:cubicBezTo>
                <a:cubicBezTo>
                  <a:pt x="2739" y="2"/>
                  <a:pt x="2727"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976" name="Google Shape;9976;p58"/>
          <p:cNvGrpSpPr/>
          <p:nvPr/>
        </p:nvGrpSpPr>
        <p:grpSpPr>
          <a:xfrm>
            <a:off x="5765817" y="3227724"/>
            <a:ext cx="364865" cy="324822"/>
            <a:chOff x="5765817" y="3227724"/>
            <a:chExt cx="364865" cy="324822"/>
          </a:xfrm>
        </p:grpSpPr>
        <p:sp>
          <p:nvSpPr>
            <p:cNvPr id="9977" name="Google Shape;9977;p58"/>
            <p:cNvSpPr/>
            <p:nvPr/>
          </p:nvSpPr>
          <p:spPr>
            <a:xfrm>
              <a:off x="5765817" y="3227724"/>
              <a:ext cx="364865" cy="324822"/>
            </a:xfrm>
            <a:custGeom>
              <a:avLst/>
              <a:gdLst/>
              <a:ahLst/>
              <a:cxnLst/>
              <a:rect l="l" t="t" r="r" b="b"/>
              <a:pathLst>
                <a:path w="11490" h="10229" extrusionOk="0">
                  <a:moveTo>
                    <a:pt x="8287" y="370"/>
                  </a:moveTo>
                  <a:cubicBezTo>
                    <a:pt x="9871" y="370"/>
                    <a:pt x="11157" y="1656"/>
                    <a:pt x="11157" y="3251"/>
                  </a:cubicBezTo>
                  <a:cubicBezTo>
                    <a:pt x="11133" y="4037"/>
                    <a:pt x="10847" y="4870"/>
                    <a:pt x="10299" y="5751"/>
                  </a:cubicBezTo>
                  <a:cubicBezTo>
                    <a:pt x="9847" y="6442"/>
                    <a:pt x="9216" y="7156"/>
                    <a:pt x="8418" y="7871"/>
                  </a:cubicBezTo>
                  <a:cubicBezTo>
                    <a:pt x="7263" y="8918"/>
                    <a:pt x="6084" y="9645"/>
                    <a:pt x="5763" y="9835"/>
                  </a:cubicBezTo>
                  <a:cubicBezTo>
                    <a:pt x="5430" y="9645"/>
                    <a:pt x="4251" y="8930"/>
                    <a:pt x="3096" y="7895"/>
                  </a:cubicBezTo>
                  <a:cubicBezTo>
                    <a:pt x="2310" y="7180"/>
                    <a:pt x="1667" y="6466"/>
                    <a:pt x="1215" y="5763"/>
                  </a:cubicBezTo>
                  <a:cubicBezTo>
                    <a:pt x="667" y="4894"/>
                    <a:pt x="381" y="4049"/>
                    <a:pt x="381" y="3251"/>
                  </a:cubicBezTo>
                  <a:cubicBezTo>
                    <a:pt x="381" y="1668"/>
                    <a:pt x="1667" y="370"/>
                    <a:pt x="3263" y="370"/>
                  </a:cubicBezTo>
                  <a:cubicBezTo>
                    <a:pt x="4191" y="370"/>
                    <a:pt x="5084" y="834"/>
                    <a:pt x="5620" y="1608"/>
                  </a:cubicBezTo>
                  <a:cubicBezTo>
                    <a:pt x="5656" y="1656"/>
                    <a:pt x="5715" y="1679"/>
                    <a:pt x="5775" y="1679"/>
                  </a:cubicBezTo>
                  <a:cubicBezTo>
                    <a:pt x="5834" y="1679"/>
                    <a:pt x="5894" y="1656"/>
                    <a:pt x="5918" y="1608"/>
                  </a:cubicBezTo>
                  <a:cubicBezTo>
                    <a:pt x="6454" y="834"/>
                    <a:pt x="7335" y="370"/>
                    <a:pt x="8287" y="370"/>
                  </a:cubicBezTo>
                  <a:close/>
                  <a:moveTo>
                    <a:pt x="3227" y="1"/>
                  </a:moveTo>
                  <a:cubicBezTo>
                    <a:pt x="1441" y="1"/>
                    <a:pt x="0" y="1441"/>
                    <a:pt x="0" y="3227"/>
                  </a:cubicBezTo>
                  <a:cubicBezTo>
                    <a:pt x="0" y="4108"/>
                    <a:pt x="298" y="5013"/>
                    <a:pt x="893" y="5942"/>
                  </a:cubicBezTo>
                  <a:cubicBezTo>
                    <a:pt x="1370" y="6668"/>
                    <a:pt x="2001" y="7418"/>
                    <a:pt x="2822" y="8145"/>
                  </a:cubicBezTo>
                  <a:cubicBezTo>
                    <a:pt x="4203" y="9383"/>
                    <a:pt x="5620" y="10181"/>
                    <a:pt x="5632" y="10192"/>
                  </a:cubicBezTo>
                  <a:cubicBezTo>
                    <a:pt x="5668" y="10216"/>
                    <a:pt x="5692" y="10228"/>
                    <a:pt x="5727" y="10228"/>
                  </a:cubicBezTo>
                  <a:cubicBezTo>
                    <a:pt x="5751" y="10228"/>
                    <a:pt x="5787" y="10216"/>
                    <a:pt x="5811" y="10192"/>
                  </a:cubicBezTo>
                  <a:cubicBezTo>
                    <a:pt x="5834" y="10181"/>
                    <a:pt x="7239" y="9395"/>
                    <a:pt x="8632" y="8145"/>
                  </a:cubicBezTo>
                  <a:cubicBezTo>
                    <a:pt x="9442" y="7418"/>
                    <a:pt x="10097" y="6668"/>
                    <a:pt x="10561" y="5942"/>
                  </a:cubicBezTo>
                  <a:cubicBezTo>
                    <a:pt x="11157" y="5013"/>
                    <a:pt x="11454" y="4108"/>
                    <a:pt x="11454" y="3227"/>
                  </a:cubicBezTo>
                  <a:cubicBezTo>
                    <a:pt x="11490" y="1441"/>
                    <a:pt x="10049" y="1"/>
                    <a:pt x="8263" y="1"/>
                  </a:cubicBezTo>
                  <a:cubicBezTo>
                    <a:pt x="7275" y="1"/>
                    <a:pt x="6358" y="453"/>
                    <a:pt x="5739" y="1203"/>
                  </a:cubicBezTo>
                  <a:cubicBezTo>
                    <a:pt x="5132" y="453"/>
                    <a:pt x="4203" y="1"/>
                    <a:pt x="3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8" name="Google Shape;9978;p58"/>
            <p:cNvSpPr/>
            <p:nvPr/>
          </p:nvSpPr>
          <p:spPr>
            <a:xfrm>
              <a:off x="6022144" y="3250429"/>
              <a:ext cx="85484" cy="84341"/>
            </a:xfrm>
            <a:custGeom>
              <a:avLst/>
              <a:gdLst/>
              <a:ahLst/>
              <a:cxnLst/>
              <a:rect l="l" t="t" r="r" b="b"/>
              <a:pathLst>
                <a:path w="2692" h="2656" extrusionOk="0">
                  <a:moveTo>
                    <a:pt x="191" y="0"/>
                  </a:moveTo>
                  <a:cubicBezTo>
                    <a:pt x="84" y="0"/>
                    <a:pt x="1" y="72"/>
                    <a:pt x="1" y="179"/>
                  </a:cubicBezTo>
                  <a:cubicBezTo>
                    <a:pt x="1" y="286"/>
                    <a:pt x="84" y="357"/>
                    <a:pt x="191" y="357"/>
                  </a:cubicBezTo>
                  <a:cubicBezTo>
                    <a:pt x="1346" y="357"/>
                    <a:pt x="2311" y="1310"/>
                    <a:pt x="2334" y="2477"/>
                  </a:cubicBezTo>
                  <a:cubicBezTo>
                    <a:pt x="2334" y="2572"/>
                    <a:pt x="2406" y="2655"/>
                    <a:pt x="2513" y="2655"/>
                  </a:cubicBezTo>
                  <a:cubicBezTo>
                    <a:pt x="2608" y="2655"/>
                    <a:pt x="2692" y="2560"/>
                    <a:pt x="2692" y="2477"/>
                  </a:cubicBezTo>
                  <a:cubicBezTo>
                    <a:pt x="2668" y="1107"/>
                    <a:pt x="1561"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9" name="Google Shape;9979;p58"/>
            <p:cNvSpPr/>
            <p:nvPr/>
          </p:nvSpPr>
          <p:spPr>
            <a:xfrm>
              <a:off x="5862987" y="3250429"/>
              <a:ext cx="73386" cy="43504"/>
            </a:xfrm>
            <a:custGeom>
              <a:avLst/>
              <a:gdLst/>
              <a:ahLst/>
              <a:cxnLst/>
              <a:rect l="l" t="t" r="r" b="b"/>
              <a:pathLst>
                <a:path w="2311" h="1370" extrusionOk="0">
                  <a:moveTo>
                    <a:pt x="179" y="0"/>
                  </a:moveTo>
                  <a:cubicBezTo>
                    <a:pt x="72" y="0"/>
                    <a:pt x="0" y="72"/>
                    <a:pt x="0" y="179"/>
                  </a:cubicBezTo>
                  <a:cubicBezTo>
                    <a:pt x="0" y="286"/>
                    <a:pt x="72" y="357"/>
                    <a:pt x="179" y="357"/>
                  </a:cubicBezTo>
                  <a:cubicBezTo>
                    <a:pt x="881" y="357"/>
                    <a:pt x="1548" y="703"/>
                    <a:pt x="1953" y="1298"/>
                  </a:cubicBezTo>
                  <a:cubicBezTo>
                    <a:pt x="1989" y="1334"/>
                    <a:pt x="2036" y="1369"/>
                    <a:pt x="2108" y="1369"/>
                  </a:cubicBezTo>
                  <a:cubicBezTo>
                    <a:pt x="2131" y="1369"/>
                    <a:pt x="2179" y="1357"/>
                    <a:pt x="2203" y="1334"/>
                  </a:cubicBezTo>
                  <a:cubicBezTo>
                    <a:pt x="2286" y="1286"/>
                    <a:pt x="2310" y="1179"/>
                    <a:pt x="2251" y="1084"/>
                  </a:cubicBezTo>
                  <a:cubicBezTo>
                    <a:pt x="1786" y="405"/>
                    <a:pt x="101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80" name="Google Shape;9980;p58"/>
          <p:cNvGrpSpPr/>
          <p:nvPr/>
        </p:nvGrpSpPr>
        <p:grpSpPr>
          <a:xfrm>
            <a:off x="6228583" y="3237664"/>
            <a:ext cx="446539" cy="303895"/>
            <a:chOff x="6228583" y="3237664"/>
            <a:chExt cx="446539" cy="303895"/>
          </a:xfrm>
        </p:grpSpPr>
        <p:sp>
          <p:nvSpPr>
            <p:cNvPr id="9981" name="Google Shape;9981;p58"/>
            <p:cNvSpPr/>
            <p:nvPr/>
          </p:nvSpPr>
          <p:spPr>
            <a:xfrm>
              <a:off x="6357508" y="3277453"/>
              <a:ext cx="26865" cy="25912"/>
            </a:xfrm>
            <a:custGeom>
              <a:avLst/>
              <a:gdLst/>
              <a:ahLst/>
              <a:cxnLst/>
              <a:rect l="l" t="t" r="r" b="b"/>
              <a:pathLst>
                <a:path w="846" h="816" extrusionOk="0">
                  <a:moveTo>
                    <a:pt x="632" y="0"/>
                  </a:moveTo>
                  <a:cubicBezTo>
                    <a:pt x="578" y="0"/>
                    <a:pt x="525" y="18"/>
                    <a:pt x="489" y="54"/>
                  </a:cubicBezTo>
                  <a:lnTo>
                    <a:pt x="72" y="471"/>
                  </a:lnTo>
                  <a:cubicBezTo>
                    <a:pt x="1" y="542"/>
                    <a:pt x="1" y="685"/>
                    <a:pt x="72" y="756"/>
                  </a:cubicBezTo>
                  <a:cubicBezTo>
                    <a:pt x="120" y="804"/>
                    <a:pt x="167" y="816"/>
                    <a:pt x="227" y="816"/>
                  </a:cubicBezTo>
                  <a:cubicBezTo>
                    <a:pt x="263" y="816"/>
                    <a:pt x="322" y="804"/>
                    <a:pt x="370" y="756"/>
                  </a:cubicBezTo>
                  <a:lnTo>
                    <a:pt x="786" y="340"/>
                  </a:lnTo>
                  <a:cubicBezTo>
                    <a:pt x="846" y="268"/>
                    <a:pt x="846" y="149"/>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2" name="Google Shape;9982;p58"/>
            <p:cNvSpPr/>
            <p:nvPr/>
          </p:nvSpPr>
          <p:spPr>
            <a:xfrm>
              <a:off x="6276596" y="3358746"/>
              <a:ext cx="26896" cy="25912"/>
            </a:xfrm>
            <a:custGeom>
              <a:avLst/>
              <a:gdLst/>
              <a:ahLst/>
              <a:cxnLst/>
              <a:rect l="l" t="t" r="r" b="b"/>
              <a:pathLst>
                <a:path w="847" h="816" extrusionOk="0">
                  <a:moveTo>
                    <a:pt x="632" y="0"/>
                  </a:moveTo>
                  <a:cubicBezTo>
                    <a:pt x="578" y="0"/>
                    <a:pt x="525" y="18"/>
                    <a:pt x="489" y="54"/>
                  </a:cubicBezTo>
                  <a:lnTo>
                    <a:pt x="72" y="471"/>
                  </a:lnTo>
                  <a:cubicBezTo>
                    <a:pt x="1" y="554"/>
                    <a:pt x="1" y="685"/>
                    <a:pt x="72" y="756"/>
                  </a:cubicBezTo>
                  <a:cubicBezTo>
                    <a:pt x="120" y="804"/>
                    <a:pt x="167" y="816"/>
                    <a:pt x="227" y="816"/>
                  </a:cubicBezTo>
                  <a:cubicBezTo>
                    <a:pt x="286" y="816"/>
                    <a:pt x="334" y="804"/>
                    <a:pt x="370" y="756"/>
                  </a:cubicBezTo>
                  <a:lnTo>
                    <a:pt x="787" y="340"/>
                  </a:lnTo>
                  <a:cubicBezTo>
                    <a:pt x="846" y="256"/>
                    <a:pt x="846" y="137"/>
                    <a:pt x="775" y="54"/>
                  </a:cubicBezTo>
                  <a:cubicBezTo>
                    <a:pt x="739" y="18"/>
                    <a:pt x="685" y="0"/>
                    <a:pt x="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3" name="Google Shape;9983;p58"/>
            <p:cNvSpPr/>
            <p:nvPr/>
          </p:nvSpPr>
          <p:spPr>
            <a:xfrm>
              <a:off x="6357508" y="3358365"/>
              <a:ext cx="26865" cy="25912"/>
            </a:xfrm>
            <a:custGeom>
              <a:avLst/>
              <a:gdLst/>
              <a:ahLst/>
              <a:cxnLst/>
              <a:rect l="l" t="t" r="r" b="b"/>
              <a:pathLst>
                <a:path w="846" h="816" extrusionOk="0">
                  <a:moveTo>
                    <a:pt x="215" y="0"/>
                  </a:moveTo>
                  <a:cubicBezTo>
                    <a:pt x="161" y="0"/>
                    <a:pt x="108" y="18"/>
                    <a:pt x="72" y="54"/>
                  </a:cubicBezTo>
                  <a:cubicBezTo>
                    <a:pt x="1" y="125"/>
                    <a:pt x="1" y="268"/>
                    <a:pt x="72" y="340"/>
                  </a:cubicBezTo>
                  <a:lnTo>
                    <a:pt x="489" y="756"/>
                  </a:lnTo>
                  <a:cubicBezTo>
                    <a:pt x="536" y="792"/>
                    <a:pt x="584" y="816"/>
                    <a:pt x="644" y="816"/>
                  </a:cubicBezTo>
                  <a:cubicBezTo>
                    <a:pt x="703" y="816"/>
                    <a:pt x="739" y="792"/>
                    <a:pt x="786" y="756"/>
                  </a:cubicBezTo>
                  <a:cubicBezTo>
                    <a:pt x="846" y="685"/>
                    <a:pt x="846" y="566"/>
                    <a:pt x="775" y="471"/>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4" name="Google Shape;9984;p58"/>
            <p:cNvSpPr/>
            <p:nvPr/>
          </p:nvSpPr>
          <p:spPr>
            <a:xfrm>
              <a:off x="6276596" y="3277453"/>
              <a:ext cx="26896" cy="25912"/>
            </a:xfrm>
            <a:custGeom>
              <a:avLst/>
              <a:gdLst/>
              <a:ahLst/>
              <a:cxnLst/>
              <a:rect l="l" t="t" r="r" b="b"/>
              <a:pathLst>
                <a:path w="847" h="816" extrusionOk="0">
                  <a:moveTo>
                    <a:pt x="219" y="0"/>
                  </a:moveTo>
                  <a:cubicBezTo>
                    <a:pt x="167" y="0"/>
                    <a:pt x="114" y="18"/>
                    <a:pt x="72" y="54"/>
                  </a:cubicBezTo>
                  <a:cubicBezTo>
                    <a:pt x="1" y="137"/>
                    <a:pt x="1" y="268"/>
                    <a:pt x="72" y="340"/>
                  </a:cubicBezTo>
                  <a:lnTo>
                    <a:pt x="489" y="756"/>
                  </a:lnTo>
                  <a:cubicBezTo>
                    <a:pt x="536" y="804"/>
                    <a:pt x="584" y="816"/>
                    <a:pt x="644" y="816"/>
                  </a:cubicBezTo>
                  <a:cubicBezTo>
                    <a:pt x="679" y="816"/>
                    <a:pt x="751" y="804"/>
                    <a:pt x="787" y="756"/>
                  </a:cubicBezTo>
                  <a:cubicBezTo>
                    <a:pt x="846" y="685"/>
                    <a:pt x="846" y="554"/>
                    <a:pt x="775" y="471"/>
                  </a:cubicBezTo>
                  <a:lnTo>
                    <a:pt x="358" y="54"/>
                  </a:lnTo>
                  <a:cubicBezTo>
                    <a:pt x="322" y="18"/>
                    <a:pt x="272"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5" name="Google Shape;9985;p58"/>
            <p:cNvSpPr/>
            <p:nvPr/>
          </p:nvSpPr>
          <p:spPr>
            <a:xfrm>
              <a:off x="6526508" y="3290314"/>
              <a:ext cx="21593" cy="19879"/>
            </a:xfrm>
            <a:custGeom>
              <a:avLst/>
              <a:gdLst/>
              <a:ahLst/>
              <a:cxnLst/>
              <a:rect l="l" t="t" r="r" b="b"/>
              <a:pathLst>
                <a:path w="680" h="626" extrusionOk="0">
                  <a:moveTo>
                    <a:pt x="446" y="0"/>
                  </a:moveTo>
                  <a:cubicBezTo>
                    <a:pt x="394" y="0"/>
                    <a:pt x="340" y="18"/>
                    <a:pt x="298" y="54"/>
                  </a:cubicBezTo>
                  <a:lnTo>
                    <a:pt x="84" y="280"/>
                  </a:lnTo>
                  <a:cubicBezTo>
                    <a:pt x="1" y="351"/>
                    <a:pt x="1" y="482"/>
                    <a:pt x="84" y="566"/>
                  </a:cubicBezTo>
                  <a:cubicBezTo>
                    <a:pt x="120" y="601"/>
                    <a:pt x="167" y="625"/>
                    <a:pt x="227" y="625"/>
                  </a:cubicBezTo>
                  <a:cubicBezTo>
                    <a:pt x="275" y="625"/>
                    <a:pt x="334" y="601"/>
                    <a:pt x="382" y="566"/>
                  </a:cubicBezTo>
                  <a:lnTo>
                    <a:pt x="596" y="340"/>
                  </a:lnTo>
                  <a:cubicBezTo>
                    <a:pt x="679" y="268"/>
                    <a:pt x="679" y="125"/>
                    <a:pt x="584" y="54"/>
                  </a:cubicBezTo>
                  <a:cubicBezTo>
                    <a:pt x="548" y="18"/>
                    <a:pt x="498" y="0"/>
                    <a:pt x="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6" name="Google Shape;9986;p58"/>
            <p:cNvSpPr/>
            <p:nvPr/>
          </p:nvSpPr>
          <p:spPr>
            <a:xfrm>
              <a:off x="6465253" y="3352299"/>
              <a:ext cx="20831" cy="19498"/>
            </a:xfrm>
            <a:custGeom>
              <a:avLst/>
              <a:gdLst/>
              <a:ahLst/>
              <a:cxnLst/>
              <a:rect l="l" t="t" r="r" b="b"/>
              <a:pathLst>
                <a:path w="656" h="614" extrusionOk="0">
                  <a:moveTo>
                    <a:pt x="437" y="1"/>
                  </a:moveTo>
                  <a:cubicBezTo>
                    <a:pt x="385" y="1"/>
                    <a:pt x="334" y="19"/>
                    <a:pt x="299" y="54"/>
                  </a:cubicBezTo>
                  <a:lnTo>
                    <a:pt x="72" y="281"/>
                  </a:lnTo>
                  <a:cubicBezTo>
                    <a:pt x="1" y="352"/>
                    <a:pt x="1" y="483"/>
                    <a:pt x="72" y="554"/>
                  </a:cubicBezTo>
                  <a:cubicBezTo>
                    <a:pt x="120" y="602"/>
                    <a:pt x="168" y="614"/>
                    <a:pt x="227" y="614"/>
                  </a:cubicBezTo>
                  <a:cubicBezTo>
                    <a:pt x="263" y="614"/>
                    <a:pt x="322" y="602"/>
                    <a:pt x="370" y="554"/>
                  </a:cubicBezTo>
                  <a:lnTo>
                    <a:pt x="596" y="340"/>
                  </a:lnTo>
                  <a:cubicBezTo>
                    <a:pt x="656" y="257"/>
                    <a:pt x="656" y="126"/>
                    <a:pt x="584" y="54"/>
                  </a:cubicBezTo>
                  <a:cubicBezTo>
                    <a:pt x="543" y="19"/>
                    <a:pt x="489" y="1"/>
                    <a:pt x="4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7" name="Google Shape;9987;p58"/>
            <p:cNvSpPr/>
            <p:nvPr/>
          </p:nvSpPr>
          <p:spPr>
            <a:xfrm>
              <a:off x="6526508" y="3352299"/>
              <a:ext cx="21593" cy="19498"/>
            </a:xfrm>
            <a:custGeom>
              <a:avLst/>
              <a:gdLst/>
              <a:ahLst/>
              <a:cxnLst/>
              <a:rect l="l" t="t" r="r" b="b"/>
              <a:pathLst>
                <a:path w="680" h="614" extrusionOk="0">
                  <a:moveTo>
                    <a:pt x="221" y="1"/>
                  </a:moveTo>
                  <a:cubicBezTo>
                    <a:pt x="170" y="1"/>
                    <a:pt x="120" y="19"/>
                    <a:pt x="84" y="54"/>
                  </a:cubicBezTo>
                  <a:cubicBezTo>
                    <a:pt x="1" y="126"/>
                    <a:pt x="1" y="257"/>
                    <a:pt x="84" y="340"/>
                  </a:cubicBezTo>
                  <a:lnTo>
                    <a:pt x="298" y="554"/>
                  </a:lnTo>
                  <a:cubicBezTo>
                    <a:pt x="346" y="602"/>
                    <a:pt x="394" y="614"/>
                    <a:pt x="453" y="614"/>
                  </a:cubicBezTo>
                  <a:cubicBezTo>
                    <a:pt x="501" y="614"/>
                    <a:pt x="560" y="602"/>
                    <a:pt x="596" y="554"/>
                  </a:cubicBezTo>
                  <a:cubicBezTo>
                    <a:pt x="679" y="483"/>
                    <a:pt x="679" y="352"/>
                    <a:pt x="584" y="281"/>
                  </a:cubicBezTo>
                  <a:lnTo>
                    <a:pt x="358" y="54"/>
                  </a:lnTo>
                  <a:cubicBezTo>
                    <a:pt x="322" y="19"/>
                    <a:pt x="272" y="1"/>
                    <a:pt x="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8" name="Google Shape;9988;p58"/>
            <p:cNvSpPr/>
            <p:nvPr/>
          </p:nvSpPr>
          <p:spPr>
            <a:xfrm>
              <a:off x="6465253" y="3290314"/>
              <a:ext cx="20831" cy="19879"/>
            </a:xfrm>
            <a:custGeom>
              <a:avLst/>
              <a:gdLst/>
              <a:ahLst/>
              <a:cxnLst/>
              <a:rect l="l" t="t" r="r" b="b"/>
              <a:pathLst>
                <a:path w="656" h="626" extrusionOk="0">
                  <a:moveTo>
                    <a:pt x="215" y="0"/>
                  </a:moveTo>
                  <a:cubicBezTo>
                    <a:pt x="162" y="0"/>
                    <a:pt x="108" y="18"/>
                    <a:pt x="72" y="54"/>
                  </a:cubicBezTo>
                  <a:cubicBezTo>
                    <a:pt x="1" y="125"/>
                    <a:pt x="1" y="268"/>
                    <a:pt x="72" y="340"/>
                  </a:cubicBezTo>
                  <a:lnTo>
                    <a:pt x="299" y="566"/>
                  </a:lnTo>
                  <a:cubicBezTo>
                    <a:pt x="346" y="601"/>
                    <a:pt x="382" y="625"/>
                    <a:pt x="441" y="625"/>
                  </a:cubicBezTo>
                  <a:cubicBezTo>
                    <a:pt x="489" y="625"/>
                    <a:pt x="549" y="601"/>
                    <a:pt x="596" y="566"/>
                  </a:cubicBezTo>
                  <a:cubicBezTo>
                    <a:pt x="656" y="482"/>
                    <a:pt x="656" y="351"/>
                    <a:pt x="584" y="280"/>
                  </a:cubicBezTo>
                  <a:lnTo>
                    <a:pt x="358" y="54"/>
                  </a:lnTo>
                  <a:cubicBezTo>
                    <a:pt x="322" y="18"/>
                    <a:pt x="269"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9" name="Google Shape;9989;p58"/>
            <p:cNvSpPr/>
            <p:nvPr/>
          </p:nvSpPr>
          <p:spPr>
            <a:xfrm>
              <a:off x="6304573" y="3437180"/>
              <a:ext cx="119145" cy="13274"/>
            </a:xfrm>
            <a:custGeom>
              <a:avLst/>
              <a:gdLst/>
              <a:ahLst/>
              <a:cxnLst/>
              <a:rect l="l" t="t" r="r" b="b"/>
              <a:pathLst>
                <a:path w="3752" h="418" extrusionOk="0">
                  <a:moveTo>
                    <a:pt x="203" y="1"/>
                  </a:moveTo>
                  <a:cubicBezTo>
                    <a:pt x="96" y="1"/>
                    <a:pt x="1" y="84"/>
                    <a:pt x="1" y="203"/>
                  </a:cubicBezTo>
                  <a:cubicBezTo>
                    <a:pt x="1" y="322"/>
                    <a:pt x="84" y="417"/>
                    <a:pt x="203" y="417"/>
                  </a:cubicBezTo>
                  <a:lnTo>
                    <a:pt x="3537" y="417"/>
                  </a:lnTo>
                  <a:cubicBezTo>
                    <a:pt x="3644" y="417"/>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0" name="Google Shape;9990;p58"/>
            <p:cNvSpPr/>
            <p:nvPr/>
          </p:nvSpPr>
          <p:spPr>
            <a:xfrm>
              <a:off x="6304573" y="3500341"/>
              <a:ext cx="25372" cy="13242"/>
            </a:xfrm>
            <a:custGeom>
              <a:avLst/>
              <a:gdLst/>
              <a:ahLst/>
              <a:cxnLst/>
              <a:rect l="l" t="t" r="r" b="b"/>
              <a:pathLst>
                <a:path w="799" h="417" extrusionOk="0">
                  <a:moveTo>
                    <a:pt x="203" y="0"/>
                  </a:moveTo>
                  <a:cubicBezTo>
                    <a:pt x="108" y="0"/>
                    <a:pt x="1" y="95"/>
                    <a:pt x="1" y="214"/>
                  </a:cubicBezTo>
                  <a:cubicBezTo>
                    <a:pt x="1" y="333"/>
                    <a:pt x="84" y="417"/>
                    <a:pt x="203" y="417"/>
                  </a:cubicBezTo>
                  <a:lnTo>
                    <a:pt x="596" y="417"/>
                  </a:lnTo>
                  <a:cubicBezTo>
                    <a:pt x="703" y="417"/>
                    <a:pt x="798" y="333"/>
                    <a:pt x="798" y="214"/>
                  </a:cubicBezTo>
                  <a:cubicBezTo>
                    <a:pt x="798" y="95"/>
                    <a:pt x="715"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1" name="Google Shape;9991;p58"/>
            <p:cNvSpPr/>
            <p:nvPr/>
          </p:nvSpPr>
          <p:spPr>
            <a:xfrm>
              <a:off x="6346934" y="3500341"/>
              <a:ext cx="76784" cy="13242"/>
            </a:xfrm>
            <a:custGeom>
              <a:avLst/>
              <a:gdLst/>
              <a:ahLst/>
              <a:cxnLst/>
              <a:rect l="l" t="t" r="r" b="b"/>
              <a:pathLst>
                <a:path w="2418" h="417" extrusionOk="0">
                  <a:moveTo>
                    <a:pt x="215" y="0"/>
                  </a:moveTo>
                  <a:cubicBezTo>
                    <a:pt x="107" y="0"/>
                    <a:pt x="0" y="95"/>
                    <a:pt x="0" y="214"/>
                  </a:cubicBezTo>
                  <a:cubicBezTo>
                    <a:pt x="0" y="333"/>
                    <a:pt x="96" y="417"/>
                    <a:pt x="215" y="417"/>
                  </a:cubicBezTo>
                  <a:lnTo>
                    <a:pt x="2203" y="417"/>
                  </a:lnTo>
                  <a:cubicBezTo>
                    <a:pt x="2310" y="417"/>
                    <a:pt x="2417" y="333"/>
                    <a:pt x="2417" y="214"/>
                  </a:cubicBezTo>
                  <a:cubicBezTo>
                    <a:pt x="2417" y="95"/>
                    <a:pt x="2310" y="0"/>
                    <a:pt x="2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2" name="Google Shape;9992;p58"/>
            <p:cNvSpPr/>
            <p:nvPr/>
          </p:nvSpPr>
          <p:spPr>
            <a:xfrm>
              <a:off x="6304573" y="3468935"/>
              <a:ext cx="119145" cy="12893"/>
            </a:xfrm>
            <a:custGeom>
              <a:avLst/>
              <a:gdLst/>
              <a:ahLst/>
              <a:cxnLst/>
              <a:rect l="l" t="t" r="r" b="b"/>
              <a:pathLst>
                <a:path w="3752" h="406" extrusionOk="0">
                  <a:moveTo>
                    <a:pt x="203" y="1"/>
                  </a:moveTo>
                  <a:cubicBezTo>
                    <a:pt x="96" y="1"/>
                    <a:pt x="1" y="84"/>
                    <a:pt x="1" y="203"/>
                  </a:cubicBezTo>
                  <a:cubicBezTo>
                    <a:pt x="1" y="322"/>
                    <a:pt x="84" y="406"/>
                    <a:pt x="203" y="406"/>
                  </a:cubicBezTo>
                  <a:lnTo>
                    <a:pt x="3537" y="406"/>
                  </a:lnTo>
                  <a:cubicBezTo>
                    <a:pt x="3644" y="406"/>
                    <a:pt x="3751" y="322"/>
                    <a:pt x="3751" y="203"/>
                  </a:cubicBezTo>
                  <a:cubicBezTo>
                    <a:pt x="3751" y="84"/>
                    <a:pt x="3644"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3" name="Google Shape;9993;p58"/>
            <p:cNvSpPr/>
            <p:nvPr/>
          </p:nvSpPr>
          <p:spPr>
            <a:xfrm>
              <a:off x="6228583" y="3237664"/>
              <a:ext cx="357688" cy="186338"/>
            </a:xfrm>
            <a:custGeom>
              <a:avLst/>
              <a:gdLst/>
              <a:ahLst/>
              <a:cxnLst/>
              <a:rect l="l" t="t" r="r" b="b"/>
              <a:pathLst>
                <a:path w="11264" h="5868" extrusionOk="0">
                  <a:moveTo>
                    <a:pt x="8752" y="1045"/>
                  </a:moveTo>
                  <a:cubicBezTo>
                    <a:pt x="9240" y="1045"/>
                    <a:pt x="9716" y="1224"/>
                    <a:pt x="10085" y="1593"/>
                  </a:cubicBezTo>
                  <a:cubicBezTo>
                    <a:pt x="10811" y="2331"/>
                    <a:pt x="10811" y="3545"/>
                    <a:pt x="10085" y="4272"/>
                  </a:cubicBezTo>
                  <a:cubicBezTo>
                    <a:pt x="9716" y="4641"/>
                    <a:pt x="9234" y="4825"/>
                    <a:pt x="8750" y="4825"/>
                  </a:cubicBezTo>
                  <a:cubicBezTo>
                    <a:pt x="8267" y="4825"/>
                    <a:pt x="7781" y="4641"/>
                    <a:pt x="7406" y="4272"/>
                  </a:cubicBezTo>
                  <a:cubicBezTo>
                    <a:pt x="6668" y="3522"/>
                    <a:pt x="6668" y="2331"/>
                    <a:pt x="7406" y="1593"/>
                  </a:cubicBezTo>
                  <a:cubicBezTo>
                    <a:pt x="7775" y="1224"/>
                    <a:pt x="8252" y="1045"/>
                    <a:pt x="8752" y="1045"/>
                  </a:cubicBezTo>
                  <a:close/>
                  <a:moveTo>
                    <a:pt x="3215" y="402"/>
                  </a:moveTo>
                  <a:cubicBezTo>
                    <a:pt x="3870" y="402"/>
                    <a:pt x="4501" y="652"/>
                    <a:pt x="5001" y="1140"/>
                  </a:cubicBezTo>
                  <a:cubicBezTo>
                    <a:pt x="5978" y="2140"/>
                    <a:pt x="5978" y="3736"/>
                    <a:pt x="5001" y="4712"/>
                  </a:cubicBezTo>
                  <a:cubicBezTo>
                    <a:pt x="4507" y="5206"/>
                    <a:pt x="3858" y="5453"/>
                    <a:pt x="3211" y="5453"/>
                  </a:cubicBezTo>
                  <a:cubicBezTo>
                    <a:pt x="2563" y="5453"/>
                    <a:pt x="1918" y="5206"/>
                    <a:pt x="1429" y="4712"/>
                  </a:cubicBezTo>
                  <a:cubicBezTo>
                    <a:pt x="441" y="3736"/>
                    <a:pt x="441" y="2128"/>
                    <a:pt x="1429" y="1140"/>
                  </a:cubicBezTo>
                  <a:cubicBezTo>
                    <a:pt x="1918" y="652"/>
                    <a:pt x="2560" y="402"/>
                    <a:pt x="3215" y="402"/>
                  </a:cubicBezTo>
                  <a:close/>
                  <a:moveTo>
                    <a:pt x="3209" y="0"/>
                  </a:moveTo>
                  <a:cubicBezTo>
                    <a:pt x="2462" y="0"/>
                    <a:pt x="1715" y="289"/>
                    <a:pt x="1144" y="866"/>
                  </a:cubicBezTo>
                  <a:cubicBezTo>
                    <a:pt x="1" y="2009"/>
                    <a:pt x="1" y="3855"/>
                    <a:pt x="1144" y="4998"/>
                  </a:cubicBezTo>
                  <a:cubicBezTo>
                    <a:pt x="1703" y="5569"/>
                    <a:pt x="2465" y="5867"/>
                    <a:pt x="3215" y="5867"/>
                  </a:cubicBezTo>
                  <a:cubicBezTo>
                    <a:pt x="3953" y="5867"/>
                    <a:pt x="4715" y="5581"/>
                    <a:pt x="5275" y="4998"/>
                  </a:cubicBezTo>
                  <a:cubicBezTo>
                    <a:pt x="5680" y="4593"/>
                    <a:pt x="5930" y="4117"/>
                    <a:pt x="6049" y="3617"/>
                  </a:cubicBezTo>
                  <a:lnTo>
                    <a:pt x="6561" y="3617"/>
                  </a:lnTo>
                  <a:cubicBezTo>
                    <a:pt x="6668" y="3962"/>
                    <a:pt x="6859" y="4284"/>
                    <a:pt x="7121" y="4557"/>
                  </a:cubicBezTo>
                  <a:cubicBezTo>
                    <a:pt x="7573" y="4998"/>
                    <a:pt x="8168" y="5224"/>
                    <a:pt x="8752" y="5224"/>
                  </a:cubicBezTo>
                  <a:cubicBezTo>
                    <a:pt x="9323" y="5224"/>
                    <a:pt x="9919" y="4998"/>
                    <a:pt x="10371" y="4557"/>
                  </a:cubicBezTo>
                  <a:cubicBezTo>
                    <a:pt x="11264" y="3664"/>
                    <a:pt x="11264" y="2200"/>
                    <a:pt x="10371" y="1307"/>
                  </a:cubicBezTo>
                  <a:cubicBezTo>
                    <a:pt x="9924" y="860"/>
                    <a:pt x="9335" y="637"/>
                    <a:pt x="8746" y="637"/>
                  </a:cubicBezTo>
                  <a:cubicBezTo>
                    <a:pt x="8156" y="637"/>
                    <a:pt x="7567" y="860"/>
                    <a:pt x="7121" y="1307"/>
                  </a:cubicBezTo>
                  <a:cubicBezTo>
                    <a:pt x="6609" y="1831"/>
                    <a:pt x="6394" y="2533"/>
                    <a:pt x="6466" y="3212"/>
                  </a:cubicBezTo>
                  <a:lnTo>
                    <a:pt x="6132" y="3212"/>
                  </a:lnTo>
                  <a:cubicBezTo>
                    <a:pt x="6204" y="2379"/>
                    <a:pt x="5930" y="1497"/>
                    <a:pt x="5275" y="866"/>
                  </a:cubicBezTo>
                  <a:cubicBezTo>
                    <a:pt x="4704" y="289"/>
                    <a:pt x="3956" y="0"/>
                    <a:pt x="32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4" name="Google Shape;9994;p58"/>
            <p:cNvSpPr/>
            <p:nvPr/>
          </p:nvSpPr>
          <p:spPr>
            <a:xfrm>
              <a:off x="6295141" y="3295775"/>
              <a:ext cx="70718" cy="71131"/>
            </a:xfrm>
            <a:custGeom>
              <a:avLst/>
              <a:gdLst/>
              <a:ahLst/>
              <a:cxnLst/>
              <a:rect l="l" t="t" r="r" b="b"/>
              <a:pathLst>
                <a:path w="2227" h="2240" extrusionOk="0">
                  <a:moveTo>
                    <a:pt x="1119" y="394"/>
                  </a:moveTo>
                  <a:cubicBezTo>
                    <a:pt x="1512" y="394"/>
                    <a:pt x="1834" y="703"/>
                    <a:pt x="1834" y="1108"/>
                  </a:cubicBezTo>
                  <a:cubicBezTo>
                    <a:pt x="1810" y="1501"/>
                    <a:pt x="1500" y="1822"/>
                    <a:pt x="1119" y="1822"/>
                  </a:cubicBezTo>
                  <a:cubicBezTo>
                    <a:pt x="726" y="1822"/>
                    <a:pt x="405" y="1501"/>
                    <a:pt x="405" y="1108"/>
                  </a:cubicBezTo>
                  <a:cubicBezTo>
                    <a:pt x="405" y="715"/>
                    <a:pt x="714" y="394"/>
                    <a:pt x="1119" y="394"/>
                  </a:cubicBezTo>
                  <a:close/>
                  <a:moveTo>
                    <a:pt x="1119" y="1"/>
                  </a:moveTo>
                  <a:cubicBezTo>
                    <a:pt x="500" y="1"/>
                    <a:pt x="0" y="501"/>
                    <a:pt x="0" y="1120"/>
                  </a:cubicBezTo>
                  <a:cubicBezTo>
                    <a:pt x="0" y="1727"/>
                    <a:pt x="500" y="2239"/>
                    <a:pt x="1119" y="2239"/>
                  </a:cubicBezTo>
                  <a:cubicBezTo>
                    <a:pt x="1727" y="2239"/>
                    <a:pt x="2227" y="1727"/>
                    <a:pt x="2227" y="1120"/>
                  </a:cubicBezTo>
                  <a:cubicBezTo>
                    <a:pt x="2227" y="489"/>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5" name="Google Shape;9995;p58"/>
            <p:cNvSpPr/>
            <p:nvPr/>
          </p:nvSpPr>
          <p:spPr>
            <a:xfrm>
              <a:off x="6482273" y="3306763"/>
              <a:ext cx="48045" cy="48045"/>
            </a:xfrm>
            <a:custGeom>
              <a:avLst/>
              <a:gdLst/>
              <a:ahLst/>
              <a:cxnLst/>
              <a:rect l="l" t="t" r="r" b="b"/>
              <a:pathLst>
                <a:path w="1513" h="1513" extrusionOk="0">
                  <a:moveTo>
                    <a:pt x="763" y="405"/>
                  </a:moveTo>
                  <a:cubicBezTo>
                    <a:pt x="953" y="405"/>
                    <a:pt x="1120" y="560"/>
                    <a:pt x="1120" y="762"/>
                  </a:cubicBezTo>
                  <a:cubicBezTo>
                    <a:pt x="1120" y="965"/>
                    <a:pt x="953" y="1119"/>
                    <a:pt x="763" y="1119"/>
                  </a:cubicBezTo>
                  <a:cubicBezTo>
                    <a:pt x="560" y="1119"/>
                    <a:pt x="406" y="953"/>
                    <a:pt x="406" y="762"/>
                  </a:cubicBezTo>
                  <a:cubicBezTo>
                    <a:pt x="406" y="560"/>
                    <a:pt x="560" y="405"/>
                    <a:pt x="763" y="405"/>
                  </a:cubicBezTo>
                  <a:close/>
                  <a:moveTo>
                    <a:pt x="763" y="0"/>
                  </a:moveTo>
                  <a:cubicBezTo>
                    <a:pt x="346" y="0"/>
                    <a:pt x="1" y="345"/>
                    <a:pt x="1" y="762"/>
                  </a:cubicBezTo>
                  <a:cubicBezTo>
                    <a:pt x="1" y="1179"/>
                    <a:pt x="346" y="1512"/>
                    <a:pt x="763" y="1512"/>
                  </a:cubicBezTo>
                  <a:cubicBezTo>
                    <a:pt x="1179" y="1512"/>
                    <a:pt x="1513" y="1179"/>
                    <a:pt x="1513" y="762"/>
                  </a:cubicBezTo>
                  <a:cubicBezTo>
                    <a:pt x="1513" y="345"/>
                    <a:pt x="1179"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6" name="Google Shape;9996;p58"/>
            <p:cNvSpPr/>
            <p:nvPr/>
          </p:nvSpPr>
          <p:spPr>
            <a:xfrm>
              <a:off x="6456584" y="3437180"/>
              <a:ext cx="76784" cy="76403"/>
            </a:xfrm>
            <a:custGeom>
              <a:avLst/>
              <a:gdLst/>
              <a:ahLst/>
              <a:cxnLst/>
              <a:rect l="l" t="t" r="r" b="b"/>
              <a:pathLst>
                <a:path w="2418" h="2406" extrusionOk="0">
                  <a:moveTo>
                    <a:pt x="2012" y="406"/>
                  </a:moveTo>
                  <a:lnTo>
                    <a:pt x="2012" y="1989"/>
                  </a:lnTo>
                  <a:lnTo>
                    <a:pt x="417" y="1989"/>
                  </a:lnTo>
                  <a:lnTo>
                    <a:pt x="417" y="406"/>
                  </a:lnTo>
                  <a:close/>
                  <a:moveTo>
                    <a:pt x="298" y="1"/>
                  </a:moveTo>
                  <a:cubicBezTo>
                    <a:pt x="143" y="1"/>
                    <a:pt x="0" y="132"/>
                    <a:pt x="0" y="298"/>
                  </a:cubicBezTo>
                  <a:lnTo>
                    <a:pt x="0" y="2108"/>
                  </a:lnTo>
                  <a:cubicBezTo>
                    <a:pt x="0" y="2275"/>
                    <a:pt x="143" y="2406"/>
                    <a:pt x="298" y="2406"/>
                  </a:cubicBezTo>
                  <a:lnTo>
                    <a:pt x="2119" y="2406"/>
                  </a:lnTo>
                  <a:cubicBezTo>
                    <a:pt x="2286" y="2406"/>
                    <a:pt x="2417" y="2275"/>
                    <a:pt x="2417" y="2108"/>
                  </a:cubicBezTo>
                  <a:lnTo>
                    <a:pt x="2417" y="298"/>
                  </a:lnTo>
                  <a:cubicBezTo>
                    <a:pt x="2417" y="120"/>
                    <a:pt x="2286" y="1"/>
                    <a:pt x="2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7" name="Google Shape;9997;p58"/>
            <p:cNvSpPr/>
            <p:nvPr/>
          </p:nvSpPr>
          <p:spPr>
            <a:xfrm>
              <a:off x="6268658" y="3367351"/>
              <a:ext cx="406464" cy="174208"/>
            </a:xfrm>
            <a:custGeom>
              <a:avLst/>
              <a:gdLst/>
              <a:ahLst/>
              <a:cxnLst/>
              <a:rect l="l" t="t" r="r" b="b"/>
              <a:pathLst>
                <a:path w="12800" h="5486" extrusionOk="0">
                  <a:moveTo>
                    <a:pt x="10419" y="1616"/>
                  </a:moveTo>
                  <a:lnTo>
                    <a:pt x="10419" y="3009"/>
                  </a:lnTo>
                  <a:lnTo>
                    <a:pt x="9573" y="3009"/>
                  </a:lnTo>
                  <a:lnTo>
                    <a:pt x="9573" y="1616"/>
                  </a:lnTo>
                  <a:close/>
                  <a:moveTo>
                    <a:pt x="12395" y="402"/>
                  </a:moveTo>
                  <a:lnTo>
                    <a:pt x="12395" y="414"/>
                  </a:lnTo>
                  <a:lnTo>
                    <a:pt x="12395" y="4224"/>
                  </a:lnTo>
                  <a:lnTo>
                    <a:pt x="12383" y="4236"/>
                  </a:lnTo>
                  <a:lnTo>
                    <a:pt x="10835" y="3807"/>
                  </a:lnTo>
                  <a:lnTo>
                    <a:pt x="10823" y="3795"/>
                  </a:lnTo>
                  <a:lnTo>
                    <a:pt x="10823" y="3224"/>
                  </a:lnTo>
                  <a:lnTo>
                    <a:pt x="10823" y="1414"/>
                  </a:lnTo>
                  <a:lnTo>
                    <a:pt x="10823" y="842"/>
                  </a:lnTo>
                  <a:cubicBezTo>
                    <a:pt x="10823" y="842"/>
                    <a:pt x="10823" y="831"/>
                    <a:pt x="10835" y="831"/>
                  </a:cubicBezTo>
                  <a:lnTo>
                    <a:pt x="12383" y="402"/>
                  </a:lnTo>
                  <a:close/>
                  <a:moveTo>
                    <a:pt x="12362" y="0"/>
                  </a:moveTo>
                  <a:cubicBezTo>
                    <a:pt x="12330" y="0"/>
                    <a:pt x="12297" y="3"/>
                    <a:pt x="12264" y="9"/>
                  </a:cubicBezTo>
                  <a:lnTo>
                    <a:pt x="10716" y="438"/>
                  </a:lnTo>
                  <a:cubicBezTo>
                    <a:pt x="10538" y="485"/>
                    <a:pt x="10407" y="664"/>
                    <a:pt x="10407" y="842"/>
                  </a:cubicBezTo>
                  <a:lnTo>
                    <a:pt x="10407" y="1212"/>
                  </a:lnTo>
                  <a:lnTo>
                    <a:pt x="9549" y="1212"/>
                  </a:lnTo>
                  <a:lnTo>
                    <a:pt x="9549" y="914"/>
                  </a:lnTo>
                  <a:cubicBezTo>
                    <a:pt x="9549" y="819"/>
                    <a:pt x="9466" y="711"/>
                    <a:pt x="9347" y="711"/>
                  </a:cubicBezTo>
                  <a:cubicBezTo>
                    <a:pt x="9228" y="711"/>
                    <a:pt x="9133" y="795"/>
                    <a:pt x="9133" y="914"/>
                  </a:cubicBezTo>
                  <a:lnTo>
                    <a:pt x="9133" y="1414"/>
                  </a:lnTo>
                  <a:lnTo>
                    <a:pt x="9133" y="3224"/>
                  </a:lnTo>
                  <a:lnTo>
                    <a:pt x="9133" y="4986"/>
                  </a:lnTo>
                  <a:cubicBezTo>
                    <a:pt x="9133" y="5045"/>
                    <a:pt x="9085" y="5081"/>
                    <a:pt x="9026" y="5081"/>
                  </a:cubicBezTo>
                  <a:lnTo>
                    <a:pt x="513" y="5081"/>
                  </a:lnTo>
                  <a:cubicBezTo>
                    <a:pt x="453" y="5081"/>
                    <a:pt x="417" y="5045"/>
                    <a:pt x="417" y="4986"/>
                  </a:cubicBezTo>
                  <a:lnTo>
                    <a:pt x="417" y="1854"/>
                  </a:lnTo>
                  <a:cubicBezTo>
                    <a:pt x="417" y="1747"/>
                    <a:pt x="322" y="1652"/>
                    <a:pt x="203" y="1652"/>
                  </a:cubicBezTo>
                  <a:cubicBezTo>
                    <a:pt x="84" y="1652"/>
                    <a:pt x="1" y="1735"/>
                    <a:pt x="1" y="1854"/>
                  </a:cubicBezTo>
                  <a:lnTo>
                    <a:pt x="1" y="4986"/>
                  </a:lnTo>
                  <a:cubicBezTo>
                    <a:pt x="1" y="5260"/>
                    <a:pt x="215" y="5486"/>
                    <a:pt x="501" y="5486"/>
                  </a:cubicBezTo>
                  <a:lnTo>
                    <a:pt x="9014" y="5486"/>
                  </a:lnTo>
                  <a:cubicBezTo>
                    <a:pt x="9299" y="5486"/>
                    <a:pt x="9526" y="5260"/>
                    <a:pt x="9526" y="4986"/>
                  </a:cubicBezTo>
                  <a:lnTo>
                    <a:pt x="9526" y="3414"/>
                  </a:lnTo>
                  <a:lnTo>
                    <a:pt x="10371" y="3414"/>
                  </a:lnTo>
                  <a:lnTo>
                    <a:pt x="10371" y="3795"/>
                  </a:lnTo>
                  <a:cubicBezTo>
                    <a:pt x="10371" y="3986"/>
                    <a:pt x="10502" y="4152"/>
                    <a:pt x="10681" y="4188"/>
                  </a:cubicBezTo>
                  <a:lnTo>
                    <a:pt x="12228" y="4629"/>
                  </a:lnTo>
                  <a:cubicBezTo>
                    <a:pt x="12264" y="4641"/>
                    <a:pt x="12300" y="4641"/>
                    <a:pt x="12347" y="4641"/>
                  </a:cubicBezTo>
                  <a:cubicBezTo>
                    <a:pt x="12443" y="4641"/>
                    <a:pt x="12526" y="4605"/>
                    <a:pt x="12597" y="4545"/>
                  </a:cubicBezTo>
                  <a:cubicBezTo>
                    <a:pt x="12705" y="4474"/>
                    <a:pt x="12764" y="4343"/>
                    <a:pt x="12764" y="4224"/>
                  </a:cubicBezTo>
                  <a:lnTo>
                    <a:pt x="12764" y="426"/>
                  </a:lnTo>
                  <a:cubicBezTo>
                    <a:pt x="12800" y="283"/>
                    <a:pt x="12740" y="164"/>
                    <a:pt x="12633" y="80"/>
                  </a:cubicBezTo>
                  <a:cubicBezTo>
                    <a:pt x="12553" y="27"/>
                    <a:pt x="12459" y="0"/>
                    <a:pt x="123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8" name="Google Shape;9998;p58"/>
          <p:cNvGrpSpPr/>
          <p:nvPr/>
        </p:nvGrpSpPr>
        <p:grpSpPr>
          <a:xfrm>
            <a:off x="865862" y="3207306"/>
            <a:ext cx="364484" cy="364897"/>
            <a:chOff x="865862" y="3207306"/>
            <a:chExt cx="364484" cy="364897"/>
          </a:xfrm>
        </p:grpSpPr>
        <p:sp>
          <p:nvSpPr>
            <p:cNvPr id="9999" name="Google Shape;9999;p58"/>
            <p:cNvSpPr/>
            <p:nvPr/>
          </p:nvSpPr>
          <p:spPr>
            <a:xfrm>
              <a:off x="928229" y="3269323"/>
              <a:ext cx="240131" cy="240100"/>
            </a:xfrm>
            <a:custGeom>
              <a:avLst/>
              <a:gdLst/>
              <a:ahLst/>
              <a:cxnLst/>
              <a:rect l="l" t="t" r="r" b="b"/>
              <a:pathLst>
                <a:path w="7562" h="7561" extrusionOk="0">
                  <a:moveTo>
                    <a:pt x="3775" y="0"/>
                  </a:moveTo>
                  <a:cubicBezTo>
                    <a:pt x="1692" y="0"/>
                    <a:pt x="1" y="1703"/>
                    <a:pt x="1" y="3787"/>
                  </a:cubicBezTo>
                  <a:cubicBezTo>
                    <a:pt x="1" y="5870"/>
                    <a:pt x="1692" y="7561"/>
                    <a:pt x="3775" y="7561"/>
                  </a:cubicBezTo>
                  <a:cubicBezTo>
                    <a:pt x="4454" y="7561"/>
                    <a:pt x="5121" y="7382"/>
                    <a:pt x="5704" y="7037"/>
                  </a:cubicBezTo>
                  <a:cubicBezTo>
                    <a:pt x="5787" y="6977"/>
                    <a:pt x="5823" y="6858"/>
                    <a:pt x="5775" y="6775"/>
                  </a:cubicBezTo>
                  <a:cubicBezTo>
                    <a:pt x="5736" y="6720"/>
                    <a:pt x="5672" y="6691"/>
                    <a:pt x="5605" y="6691"/>
                  </a:cubicBezTo>
                  <a:cubicBezTo>
                    <a:pt x="5570" y="6691"/>
                    <a:pt x="5534" y="6699"/>
                    <a:pt x="5502" y="6716"/>
                  </a:cubicBezTo>
                  <a:cubicBezTo>
                    <a:pt x="4990" y="7025"/>
                    <a:pt x="4394" y="7192"/>
                    <a:pt x="3775" y="7192"/>
                  </a:cubicBezTo>
                  <a:cubicBezTo>
                    <a:pt x="1906" y="7192"/>
                    <a:pt x="382" y="5668"/>
                    <a:pt x="382" y="3798"/>
                  </a:cubicBezTo>
                  <a:cubicBezTo>
                    <a:pt x="382" y="1917"/>
                    <a:pt x="1906" y="405"/>
                    <a:pt x="3775" y="405"/>
                  </a:cubicBezTo>
                  <a:cubicBezTo>
                    <a:pt x="5656" y="405"/>
                    <a:pt x="7168" y="1917"/>
                    <a:pt x="7168" y="3798"/>
                  </a:cubicBezTo>
                  <a:cubicBezTo>
                    <a:pt x="7168" y="4775"/>
                    <a:pt x="6740" y="5715"/>
                    <a:pt x="6002" y="6358"/>
                  </a:cubicBezTo>
                  <a:cubicBezTo>
                    <a:pt x="5918" y="6430"/>
                    <a:pt x="5906" y="6549"/>
                    <a:pt x="5978" y="6620"/>
                  </a:cubicBezTo>
                  <a:cubicBezTo>
                    <a:pt x="6024" y="6667"/>
                    <a:pt x="6082" y="6691"/>
                    <a:pt x="6136" y="6691"/>
                  </a:cubicBezTo>
                  <a:cubicBezTo>
                    <a:pt x="6179" y="6691"/>
                    <a:pt x="6220" y="6676"/>
                    <a:pt x="6252" y="6644"/>
                  </a:cubicBezTo>
                  <a:cubicBezTo>
                    <a:pt x="7085" y="5930"/>
                    <a:pt x="7561" y="4882"/>
                    <a:pt x="7561" y="3787"/>
                  </a:cubicBezTo>
                  <a:cubicBezTo>
                    <a:pt x="7561" y="1703"/>
                    <a:pt x="585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0" name="Google Shape;10000;p58"/>
            <p:cNvSpPr/>
            <p:nvPr/>
          </p:nvSpPr>
          <p:spPr>
            <a:xfrm>
              <a:off x="956205" y="3297681"/>
              <a:ext cx="184179" cy="184147"/>
            </a:xfrm>
            <a:custGeom>
              <a:avLst/>
              <a:gdLst/>
              <a:ahLst/>
              <a:cxnLst/>
              <a:rect l="l" t="t" r="r" b="b"/>
              <a:pathLst>
                <a:path w="5800" h="5799" extrusionOk="0">
                  <a:moveTo>
                    <a:pt x="2894" y="0"/>
                  </a:moveTo>
                  <a:cubicBezTo>
                    <a:pt x="1311" y="0"/>
                    <a:pt x="1" y="1298"/>
                    <a:pt x="1" y="2905"/>
                  </a:cubicBezTo>
                  <a:cubicBezTo>
                    <a:pt x="1" y="4501"/>
                    <a:pt x="1287" y="5799"/>
                    <a:pt x="2894" y="5799"/>
                  </a:cubicBezTo>
                  <a:cubicBezTo>
                    <a:pt x="4502" y="5799"/>
                    <a:pt x="5799" y="4513"/>
                    <a:pt x="5799" y="2905"/>
                  </a:cubicBezTo>
                  <a:cubicBezTo>
                    <a:pt x="5799" y="2322"/>
                    <a:pt x="5621" y="1751"/>
                    <a:pt x="5311" y="1286"/>
                  </a:cubicBezTo>
                  <a:cubicBezTo>
                    <a:pt x="5276" y="1229"/>
                    <a:pt x="5219" y="1202"/>
                    <a:pt x="5159" y="1202"/>
                  </a:cubicBezTo>
                  <a:cubicBezTo>
                    <a:pt x="5118" y="1202"/>
                    <a:pt x="5076" y="1215"/>
                    <a:pt x="5037" y="1239"/>
                  </a:cubicBezTo>
                  <a:cubicBezTo>
                    <a:pt x="4954" y="1298"/>
                    <a:pt x="4942" y="1417"/>
                    <a:pt x="5002" y="1501"/>
                  </a:cubicBezTo>
                  <a:cubicBezTo>
                    <a:pt x="5275" y="1917"/>
                    <a:pt x="5430" y="2417"/>
                    <a:pt x="5430" y="2905"/>
                  </a:cubicBezTo>
                  <a:cubicBezTo>
                    <a:pt x="5430" y="4287"/>
                    <a:pt x="4299" y="5418"/>
                    <a:pt x="2918" y="5418"/>
                  </a:cubicBezTo>
                  <a:cubicBezTo>
                    <a:pt x="1525" y="5418"/>
                    <a:pt x="394" y="4287"/>
                    <a:pt x="394" y="2905"/>
                  </a:cubicBezTo>
                  <a:cubicBezTo>
                    <a:pt x="394" y="1524"/>
                    <a:pt x="1513" y="393"/>
                    <a:pt x="2894" y="393"/>
                  </a:cubicBezTo>
                  <a:cubicBezTo>
                    <a:pt x="3525" y="393"/>
                    <a:pt x="4132" y="631"/>
                    <a:pt x="4597" y="1036"/>
                  </a:cubicBezTo>
                  <a:cubicBezTo>
                    <a:pt x="4628" y="1073"/>
                    <a:pt x="4669" y="1089"/>
                    <a:pt x="4712" y="1089"/>
                  </a:cubicBezTo>
                  <a:cubicBezTo>
                    <a:pt x="4764" y="1089"/>
                    <a:pt x="4819" y="1064"/>
                    <a:pt x="4859" y="1024"/>
                  </a:cubicBezTo>
                  <a:cubicBezTo>
                    <a:pt x="4942" y="953"/>
                    <a:pt x="4918" y="834"/>
                    <a:pt x="4847" y="762"/>
                  </a:cubicBezTo>
                  <a:cubicBezTo>
                    <a:pt x="4311" y="274"/>
                    <a:pt x="3609" y="0"/>
                    <a:pt x="2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1" name="Google Shape;10001;p58"/>
            <p:cNvSpPr/>
            <p:nvPr/>
          </p:nvSpPr>
          <p:spPr>
            <a:xfrm>
              <a:off x="1042039" y="3207306"/>
              <a:ext cx="12511" cy="47664"/>
            </a:xfrm>
            <a:custGeom>
              <a:avLst/>
              <a:gdLst/>
              <a:ahLst/>
              <a:cxnLst/>
              <a:rect l="l" t="t" r="r" b="b"/>
              <a:pathLst>
                <a:path w="394" h="1501" extrusionOk="0">
                  <a:moveTo>
                    <a:pt x="191" y="1"/>
                  </a:moveTo>
                  <a:cubicBezTo>
                    <a:pt x="96" y="1"/>
                    <a:pt x="1" y="96"/>
                    <a:pt x="1" y="203"/>
                  </a:cubicBezTo>
                  <a:lnTo>
                    <a:pt x="1" y="1310"/>
                  </a:lnTo>
                  <a:cubicBezTo>
                    <a:pt x="1" y="1430"/>
                    <a:pt x="96" y="1501"/>
                    <a:pt x="191" y="1501"/>
                  </a:cubicBezTo>
                  <a:cubicBezTo>
                    <a:pt x="298" y="1501"/>
                    <a:pt x="394" y="1418"/>
                    <a:pt x="394" y="1310"/>
                  </a:cubicBezTo>
                  <a:lnTo>
                    <a:pt x="394" y="203"/>
                  </a:lnTo>
                  <a:cubicBezTo>
                    <a:pt x="394" y="96"/>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2" name="Google Shape;10002;p58"/>
            <p:cNvSpPr/>
            <p:nvPr/>
          </p:nvSpPr>
          <p:spPr>
            <a:xfrm>
              <a:off x="1042039" y="3524538"/>
              <a:ext cx="12511" cy="47664"/>
            </a:xfrm>
            <a:custGeom>
              <a:avLst/>
              <a:gdLst/>
              <a:ahLst/>
              <a:cxnLst/>
              <a:rect l="l" t="t" r="r" b="b"/>
              <a:pathLst>
                <a:path w="394" h="1501" extrusionOk="0">
                  <a:moveTo>
                    <a:pt x="191" y="0"/>
                  </a:moveTo>
                  <a:cubicBezTo>
                    <a:pt x="96" y="0"/>
                    <a:pt x="1" y="95"/>
                    <a:pt x="1" y="191"/>
                  </a:cubicBezTo>
                  <a:lnTo>
                    <a:pt x="1" y="1310"/>
                  </a:lnTo>
                  <a:cubicBezTo>
                    <a:pt x="1" y="1417"/>
                    <a:pt x="84" y="1500"/>
                    <a:pt x="191" y="1500"/>
                  </a:cubicBezTo>
                  <a:cubicBezTo>
                    <a:pt x="298" y="1500"/>
                    <a:pt x="394" y="1417"/>
                    <a:pt x="394" y="1310"/>
                  </a:cubicBezTo>
                  <a:lnTo>
                    <a:pt x="394" y="191"/>
                  </a:ln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3" name="Google Shape;10003;p58"/>
            <p:cNvSpPr/>
            <p:nvPr/>
          </p:nvSpPr>
          <p:spPr>
            <a:xfrm>
              <a:off x="953188" y="3230836"/>
              <a:ext cx="31406" cy="43441"/>
            </a:xfrm>
            <a:custGeom>
              <a:avLst/>
              <a:gdLst/>
              <a:ahLst/>
              <a:cxnLst/>
              <a:rect l="l" t="t" r="r" b="b"/>
              <a:pathLst>
                <a:path w="989" h="1368" extrusionOk="0">
                  <a:moveTo>
                    <a:pt x="217" y="0"/>
                  </a:moveTo>
                  <a:cubicBezTo>
                    <a:pt x="185" y="0"/>
                    <a:pt x="153" y="7"/>
                    <a:pt x="120" y="22"/>
                  </a:cubicBezTo>
                  <a:cubicBezTo>
                    <a:pt x="36" y="81"/>
                    <a:pt x="1" y="188"/>
                    <a:pt x="48" y="296"/>
                  </a:cubicBezTo>
                  <a:lnTo>
                    <a:pt x="608" y="1272"/>
                  </a:lnTo>
                  <a:cubicBezTo>
                    <a:pt x="644" y="1331"/>
                    <a:pt x="715" y="1367"/>
                    <a:pt x="775" y="1367"/>
                  </a:cubicBezTo>
                  <a:cubicBezTo>
                    <a:pt x="798" y="1367"/>
                    <a:pt x="834" y="1343"/>
                    <a:pt x="870" y="1331"/>
                  </a:cubicBezTo>
                  <a:cubicBezTo>
                    <a:pt x="953" y="1272"/>
                    <a:pt x="989" y="1165"/>
                    <a:pt x="941" y="1070"/>
                  </a:cubicBezTo>
                  <a:lnTo>
                    <a:pt x="394" y="93"/>
                  </a:lnTo>
                  <a:cubicBezTo>
                    <a:pt x="352" y="35"/>
                    <a:pt x="288" y="0"/>
                    <a:pt x="2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4" name="Google Shape;10004;p58"/>
            <p:cNvSpPr/>
            <p:nvPr/>
          </p:nvSpPr>
          <p:spPr>
            <a:xfrm>
              <a:off x="1111614" y="3505485"/>
              <a:ext cx="30644" cy="42520"/>
            </a:xfrm>
            <a:custGeom>
              <a:avLst/>
              <a:gdLst/>
              <a:ahLst/>
              <a:cxnLst/>
              <a:rect l="l" t="t" r="r" b="b"/>
              <a:pathLst>
                <a:path w="965" h="1339" extrusionOk="0">
                  <a:moveTo>
                    <a:pt x="210" y="1"/>
                  </a:moveTo>
                  <a:cubicBezTo>
                    <a:pt x="181" y="1"/>
                    <a:pt x="151" y="6"/>
                    <a:pt x="119" y="17"/>
                  </a:cubicBezTo>
                  <a:cubicBezTo>
                    <a:pt x="24" y="76"/>
                    <a:pt x="0" y="183"/>
                    <a:pt x="48" y="291"/>
                  </a:cubicBezTo>
                  <a:lnTo>
                    <a:pt x="596" y="1255"/>
                  </a:lnTo>
                  <a:cubicBezTo>
                    <a:pt x="620" y="1314"/>
                    <a:pt x="691" y="1338"/>
                    <a:pt x="751" y="1338"/>
                  </a:cubicBezTo>
                  <a:cubicBezTo>
                    <a:pt x="786" y="1338"/>
                    <a:pt x="810" y="1326"/>
                    <a:pt x="846" y="1314"/>
                  </a:cubicBezTo>
                  <a:cubicBezTo>
                    <a:pt x="929" y="1255"/>
                    <a:pt x="965" y="1148"/>
                    <a:pt x="917" y="1041"/>
                  </a:cubicBezTo>
                  <a:lnTo>
                    <a:pt x="381" y="100"/>
                  </a:lnTo>
                  <a:cubicBezTo>
                    <a:pt x="339" y="33"/>
                    <a:pt x="279" y="1"/>
                    <a:pt x="2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5" name="Google Shape;10005;p58"/>
            <p:cNvSpPr/>
            <p:nvPr/>
          </p:nvSpPr>
          <p:spPr>
            <a:xfrm>
              <a:off x="888916" y="3295998"/>
              <a:ext cx="44648" cy="29691"/>
            </a:xfrm>
            <a:custGeom>
              <a:avLst/>
              <a:gdLst/>
              <a:ahLst/>
              <a:cxnLst/>
              <a:rect l="l" t="t" r="r" b="b"/>
              <a:pathLst>
                <a:path w="1406" h="935" extrusionOk="0">
                  <a:moveTo>
                    <a:pt x="203" y="0"/>
                  </a:moveTo>
                  <a:cubicBezTo>
                    <a:pt x="136" y="0"/>
                    <a:pt x="64" y="37"/>
                    <a:pt x="24" y="101"/>
                  </a:cubicBezTo>
                  <a:cubicBezTo>
                    <a:pt x="1" y="184"/>
                    <a:pt x="36" y="303"/>
                    <a:pt x="120" y="351"/>
                  </a:cubicBezTo>
                  <a:lnTo>
                    <a:pt x="1084" y="899"/>
                  </a:lnTo>
                  <a:cubicBezTo>
                    <a:pt x="1120" y="923"/>
                    <a:pt x="1144" y="934"/>
                    <a:pt x="1179" y="934"/>
                  </a:cubicBezTo>
                  <a:cubicBezTo>
                    <a:pt x="1239" y="934"/>
                    <a:pt x="1310" y="899"/>
                    <a:pt x="1334" y="839"/>
                  </a:cubicBezTo>
                  <a:cubicBezTo>
                    <a:pt x="1406" y="756"/>
                    <a:pt x="1358" y="637"/>
                    <a:pt x="1263" y="577"/>
                  </a:cubicBezTo>
                  <a:lnTo>
                    <a:pt x="298" y="30"/>
                  </a:lnTo>
                  <a:cubicBezTo>
                    <a:pt x="271" y="10"/>
                    <a:pt x="237"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6" name="Google Shape;10006;p58"/>
            <p:cNvSpPr/>
            <p:nvPr/>
          </p:nvSpPr>
          <p:spPr>
            <a:xfrm>
              <a:off x="1162644" y="3454106"/>
              <a:ext cx="45029" cy="30390"/>
            </a:xfrm>
            <a:custGeom>
              <a:avLst/>
              <a:gdLst/>
              <a:ahLst/>
              <a:cxnLst/>
              <a:rect l="l" t="t" r="r" b="b"/>
              <a:pathLst>
                <a:path w="1418" h="957" extrusionOk="0">
                  <a:moveTo>
                    <a:pt x="237" y="1"/>
                  </a:moveTo>
                  <a:cubicBezTo>
                    <a:pt x="171" y="1"/>
                    <a:pt x="101" y="41"/>
                    <a:pt x="60" y="99"/>
                  </a:cubicBezTo>
                  <a:cubicBezTo>
                    <a:pt x="1" y="194"/>
                    <a:pt x="48" y="313"/>
                    <a:pt x="132" y="373"/>
                  </a:cubicBezTo>
                  <a:lnTo>
                    <a:pt x="1096" y="920"/>
                  </a:lnTo>
                  <a:cubicBezTo>
                    <a:pt x="1132" y="932"/>
                    <a:pt x="1156" y="956"/>
                    <a:pt x="1191" y="956"/>
                  </a:cubicBezTo>
                  <a:cubicBezTo>
                    <a:pt x="1251" y="956"/>
                    <a:pt x="1322" y="920"/>
                    <a:pt x="1346" y="861"/>
                  </a:cubicBezTo>
                  <a:cubicBezTo>
                    <a:pt x="1418" y="766"/>
                    <a:pt x="1382" y="646"/>
                    <a:pt x="1299" y="575"/>
                  </a:cubicBezTo>
                  <a:lnTo>
                    <a:pt x="322" y="27"/>
                  </a:lnTo>
                  <a:cubicBezTo>
                    <a:pt x="296" y="9"/>
                    <a:pt x="267" y="1"/>
                    <a:pt x="2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7" name="Google Shape;10007;p58"/>
            <p:cNvSpPr/>
            <p:nvPr/>
          </p:nvSpPr>
          <p:spPr>
            <a:xfrm>
              <a:off x="865862" y="3383864"/>
              <a:ext cx="47664" cy="12130"/>
            </a:xfrm>
            <a:custGeom>
              <a:avLst/>
              <a:gdLst/>
              <a:ahLst/>
              <a:cxnLst/>
              <a:rect l="l" t="t" r="r" b="b"/>
              <a:pathLst>
                <a:path w="1501" h="382" extrusionOk="0">
                  <a:moveTo>
                    <a:pt x="191" y="1"/>
                  </a:moveTo>
                  <a:cubicBezTo>
                    <a:pt x="84" y="1"/>
                    <a:pt x="0" y="84"/>
                    <a:pt x="0" y="191"/>
                  </a:cubicBezTo>
                  <a:cubicBezTo>
                    <a:pt x="0" y="287"/>
                    <a:pt x="84" y="382"/>
                    <a:pt x="191" y="382"/>
                  </a:cubicBezTo>
                  <a:lnTo>
                    <a:pt x="1310" y="382"/>
                  </a:lnTo>
                  <a:cubicBezTo>
                    <a:pt x="1429" y="382"/>
                    <a:pt x="1501" y="299"/>
                    <a:pt x="1501" y="191"/>
                  </a:cubicBezTo>
                  <a:cubicBezTo>
                    <a:pt x="1501" y="84"/>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8" name="Google Shape;10008;p58"/>
            <p:cNvSpPr/>
            <p:nvPr/>
          </p:nvSpPr>
          <p:spPr>
            <a:xfrm>
              <a:off x="1182300" y="3383864"/>
              <a:ext cx="48045" cy="12130"/>
            </a:xfrm>
            <a:custGeom>
              <a:avLst/>
              <a:gdLst/>
              <a:ahLst/>
              <a:cxnLst/>
              <a:rect l="l" t="t" r="r" b="b"/>
              <a:pathLst>
                <a:path w="1513" h="382" extrusionOk="0">
                  <a:moveTo>
                    <a:pt x="203" y="1"/>
                  </a:moveTo>
                  <a:cubicBezTo>
                    <a:pt x="96" y="1"/>
                    <a:pt x="1" y="84"/>
                    <a:pt x="1" y="191"/>
                  </a:cubicBezTo>
                  <a:cubicBezTo>
                    <a:pt x="1" y="287"/>
                    <a:pt x="96" y="382"/>
                    <a:pt x="203" y="382"/>
                  </a:cubicBezTo>
                  <a:lnTo>
                    <a:pt x="1311" y="382"/>
                  </a:lnTo>
                  <a:cubicBezTo>
                    <a:pt x="1418" y="382"/>
                    <a:pt x="1513" y="287"/>
                    <a:pt x="1513" y="191"/>
                  </a:cubicBezTo>
                  <a:cubicBezTo>
                    <a:pt x="1513" y="84"/>
                    <a:pt x="1430"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9" name="Google Shape;10009;p58"/>
            <p:cNvSpPr/>
            <p:nvPr/>
          </p:nvSpPr>
          <p:spPr>
            <a:xfrm>
              <a:off x="888916" y="3454011"/>
              <a:ext cx="43885" cy="30104"/>
            </a:xfrm>
            <a:custGeom>
              <a:avLst/>
              <a:gdLst/>
              <a:ahLst/>
              <a:cxnLst/>
              <a:rect l="l" t="t" r="r" b="b"/>
              <a:pathLst>
                <a:path w="1382" h="948" extrusionOk="0">
                  <a:moveTo>
                    <a:pt x="1186" y="1"/>
                  </a:moveTo>
                  <a:cubicBezTo>
                    <a:pt x="1152" y="1"/>
                    <a:pt x="1117" y="10"/>
                    <a:pt x="1084" y="30"/>
                  </a:cubicBezTo>
                  <a:lnTo>
                    <a:pt x="120" y="590"/>
                  </a:lnTo>
                  <a:cubicBezTo>
                    <a:pt x="36" y="649"/>
                    <a:pt x="1" y="745"/>
                    <a:pt x="48" y="852"/>
                  </a:cubicBezTo>
                  <a:cubicBezTo>
                    <a:pt x="72" y="911"/>
                    <a:pt x="144" y="947"/>
                    <a:pt x="215" y="947"/>
                  </a:cubicBezTo>
                  <a:cubicBezTo>
                    <a:pt x="239" y="947"/>
                    <a:pt x="274" y="923"/>
                    <a:pt x="298" y="911"/>
                  </a:cubicBezTo>
                  <a:lnTo>
                    <a:pt x="1263" y="364"/>
                  </a:lnTo>
                  <a:cubicBezTo>
                    <a:pt x="1358" y="304"/>
                    <a:pt x="1382" y="197"/>
                    <a:pt x="1334" y="90"/>
                  </a:cubicBezTo>
                  <a:cubicBezTo>
                    <a:pt x="1311" y="35"/>
                    <a:pt x="1251" y="1"/>
                    <a:pt x="1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0" name="Google Shape;10010;p58"/>
            <p:cNvSpPr/>
            <p:nvPr/>
          </p:nvSpPr>
          <p:spPr>
            <a:xfrm>
              <a:off x="1163025" y="3295648"/>
              <a:ext cx="44648" cy="30040"/>
            </a:xfrm>
            <a:custGeom>
              <a:avLst/>
              <a:gdLst/>
              <a:ahLst/>
              <a:cxnLst/>
              <a:rect l="l" t="t" r="r" b="b"/>
              <a:pathLst>
                <a:path w="1406" h="946" extrusionOk="0">
                  <a:moveTo>
                    <a:pt x="1177" y="1"/>
                  </a:moveTo>
                  <a:cubicBezTo>
                    <a:pt x="1147" y="1"/>
                    <a:pt x="1115" y="6"/>
                    <a:pt x="1084" y="17"/>
                  </a:cubicBezTo>
                  <a:lnTo>
                    <a:pt x="120" y="576"/>
                  </a:lnTo>
                  <a:cubicBezTo>
                    <a:pt x="36" y="636"/>
                    <a:pt x="1" y="731"/>
                    <a:pt x="48" y="838"/>
                  </a:cubicBezTo>
                  <a:cubicBezTo>
                    <a:pt x="96" y="910"/>
                    <a:pt x="155" y="945"/>
                    <a:pt x="227" y="945"/>
                  </a:cubicBezTo>
                  <a:cubicBezTo>
                    <a:pt x="251" y="945"/>
                    <a:pt x="286" y="934"/>
                    <a:pt x="310" y="910"/>
                  </a:cubicBezTo>
                  <a:lnTo>
                    <a:pt x="1287" y="362"/>
                  </a:lnTo>
                  <a:cubicBezTo>
                    <a:pt x="1370" y="302"/>
                    <a:pt x="1406" y="195"/>
                    <a:pt x="1358" y="100"/>
                  </a:cubicBezTo>
                  <a:cubicBezTo>
                    <a:pt x="1316" y="33"/>
                    <a:pt x="1250" y="1"/>
                    <a:pt x="1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1" name="Google Shape;10011;p58"/>
            <p:cNvSpPr/>
            <p:nvPr/>
          </p:nvSpPr>
          <p:spPr>
            <a:xfrm>
              <a:off x="953188" y="3505835"/>
              <a:ext cx="31787" cy="43282"/>
            </a:xfrm>
            <a:custGeom>
              <a:avLst/>
              <a:gdLst/>
              <a:ahLst/>
              <a:cxnLst/>
              <a:rect l="l" t="t" r="r" b="b"/>
              <a:pathLst>
                <a:path w="1001" h="1363" extrusionOk="0">
                  <a:moveTo>
                    <a:pt x="782" y="0"/>
                  </a:moveTo>
                  <a:cubicBezTo>
                    <a:pt x="714" y="0"/>
                    <a:pt x="648" y="37"/>
                    <a:pt x="608" y="101"/>
                  </a:cubicBezTo>
                  <a:lnTo>
                    <a:pt x="60" y="1065"/>
                  </a:lnTo>
                  <a:cubicBezTo>
                    <a:pt x="1" y="1161"/>
                    <a:pt x="48" y="1280"/>
                    <a:pt x="132" y="1327"/>
                  </a:cubicBezTo>
                  <a:cubicBezTo>
                    <a:pt x="167" y="1351"/>
                    <a:pt x="191" y="1363"/>
                    <a:pt x="227" y="1363"/>
                  </a:cubicBezTo>
                  <a:cubicBezTo>
                    <a:pt x="286" y="1363"/>
                    <a:pt x="358" y="1327"/>
                    <a:pt x="394" y="1280"/>
                  </a:cubicBezTo>
                  <a:lnTo>
                    <a:pt x="941" y="303"/>
                  </a:lnTo>
                  <a:cubicBezTo>
                    <a:pt x="1001" y="184"/>
                    <a:pt x="965" y="65"/>
                    <a:pt x="882" y="30"/>
                  </a:cubicBezTo>
                  <a:cubicBezTo>
                    <a:pt x="850" y="10"/>
                    <a:pt x="816" y="0"/>
                    <a:pt x="7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2" name="Google Shape;10012;p58"/>
            <p:cNvSpPr/>
            <p:nvPr/>
          </p:nvSpPr>
          <p:spPr>
            <a:xfrm>
              <a:off x="1111614" y="3231726"/>
              <a:ext cx="31025" cy="42933"/>
            </a:xfrm>
            <a:custGeom>
              <a:avLst/>
              <a:gdLst/>
              <a:ahLst/>
              <a:cxnLst/>
              <a:rect l="l" t="t" r="r" b="b"/>
              <a:pathLst>
                <a:path w="977" h="1352" extrusionOk="0">
                  <a:moveTo>
                    <a:pt x="754" y="0"/>
                  </a:moveTo>
                  <a:cubicBezTo>
                    <a:pt x="688" y="0"/>
                    <a:pt x="620" y="37"/>
                    <a:pt x="572" y="101"/>
                  </a:cubicBezTo>
                  <a:lnTo>
                    <a:pt x="24" y="1065"/>
                  </a:lnTo>
                  <a:cubicBezTo>
                    <a:pt x="0" y="1137"/>
                    <a:pt x="24" y="1256"/>
                    <a:pt x="119" y="1315"/>
                  </a:cubicBezTo>
                  <a:cubicBezTo>
                    <a:pt x="143" y="1339"/>
                    <a:pt x="179" y="1351"/>
                    <a:pt x="203" y="1351"/>
                  </a:cubicBezTo>
                  <a:cubicBezTo>
                    <a:pt x="262" y="1351"/>
                    <a:pt x="346" y="1315"/>
                    <a:pt x="370" y="1256"/>
                  </a:cubicBezTo>
                  <a:lnTo>
                    <a:pt x="917" y="291"/>
                  </a:lnTo>
                  <a:cubicBezTo>
                    <a:pt x="977" y="208"/>
                    <a:pt x="941" y="89"/>
                    <a:pt x="846" y="29"/>
                  </a:cubicBezTo>
                  <a:cubicBezTo>
                    <a:pt x="818" y="10"/>
                    <a:pt x="786"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13" name="Google Shape;10013;p58"/>
          <p:cNvGrpSpPr/>
          <p:nvPr/>
        </p:nvGrpSpPr>
        <p:grpSpPr>
          <a:xfrm>
            <a:off x="1404617" y="3226962"/>
            <a:ext cx="370168" cy="325965"/>
            <a:chOff x="1404617" y="3226962"/>
            <a:chExt cx="370168" cy="325965"/>
          </a:xfrm>
        </p:grpSpPr>
        <p:sp>
          <p:nvSpPr>
            <p:cNvPr id="10014" name="Google Shape;10014;p58"/>
            <p:cNvSpPr/>
            <p:nvPr/>
          </p:nvSpPr>
          <p:spPr>
            <a:xfrm>
              <a:off x="1535067" y="3226962"/>
              <a:ext cx="12130" cy="37090"/>
            </a:xfrm>
            <a:custGeom>
              <a:avLst/>
              <a:gdLst/>
              <a:ahLst/>
              <a:cxnLst/>
              <a:rect l="l" t="t" r="r" b="b"/>
              <a:pathLst>
                <a:path w="382" h="1168" extrusionOk="0">
                  <a:moveTo>
                    <a:pt x="191" y="1"/>
                  </a:moveTo>
                  <a:cubicBezTo>
                    <a:pt x="84" y="1"/>
                    <a:pt x="0" y="84"/>
                    <a:pt x="0" y="191"/>
                  </a:cubicBezTo>
                  <a:lnTo>
                    <a:pt x="0" y="977"/>
                  </a:lnTo>
                  <a:cubicBezTo>
                    <a:pt x="0" y="1084"/>
                    <a:pt x="84" y="1168"/>
                    <a:pt x="191" y="1168"/>
                  </a:cubicBezTo>
                  <a:cubicBezTo>
                    <a:pt x="298" y="1168"/>
                    <a:pt x="381" y="1084"/>
                    <a:pt x="381" y="977"/>
                  </a:cubicBezTo>
                  <a:lnTo>
                    <a:pt x="381" y="191"/>
                  </a:lnTo>
                  <a:cubicBezTo>
                    <a:pt x="381" y="84"/>
                    <a:pt x="298"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5" name="Google Shape;10015;p58"/>
            <p:cNvSpPr/>
            <p:nvPr/>
          </p:nvSpPr>
          <p:spPr>
            <a:xfrm>
              <a:off x="1472287" y="3243221"/>
              <a:ext cx="25753" cy="34073"/>
            </a:xfrm>
            <a:custGeom>
              <a:avLst/>
              <a:gdLst/>
              <a:ahLst/>
              <a:cxnLst/>
              <a:rect l="l" t="t" r="r" b="b"/>
              <a:pathLst>
                <a:path w="811" h="1073" extrusionOk="0">
                  <a:moveTo>
                    <a:pt x="217" y="1"/>
                  </a:moveTo>
                  <a:cubicBezTo>
                    <a:pt x="185" y="1"/>
                    <a:pt x="152" y="9"/>
                    <a:pt x="120" y="25"/>
                  </a:cubicBezTo>
                  <a:cubicBezTo>
                    <a:pt x="25" y="72"/>
                    <a:pt x="1" y="179"/>
                    <a:pt x="37" y="287"/>
                  </a:cubicBezTo>
                  <a:lnTo>
                    <a:pt x="442" y="989"/>
                  </a:lnTo>
                  <a:cubicBezTo>
                    <a:pt x="477" y="1049"/>
                    <a:pt x="549" y="1072"/>
                    <a:pt x="608" y="1072"/>
                  </a:cubicBezTo>
                  <a:cubicBezTo>
                    <a:pt x="632" y="1072"/>
                    <a:pt x="668" y="1061"/>
                    <a:pt x="692" y="1049"/>
                  </a:cubicBezTo>
                  <a:cubicBezTo>
                    <a:pt x="787" y="989"/>
                    <a:pt x="811" y="882"/>
                    <a:pt x="775" y="775"/>
                  </a:cubicBezTo>
                  <a:lnTo>
                    <a:pt x="382" y="96"/>
                  </a:lnTo>
                  <a:cubicBezTo>
                    <a:pt x="342" y="33"/>
                    <a:pt x="281" y="1"/>
                    <a:pt x="2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6" name="Google Shape;10016;p58"/>
            <p:cNvSpPr/>
            <p:nvPr/>
          </p:nvSpPr>
          <p:spPr>
            <a:xfrm>
              <a:off x="1426179" y="3289266"/>
              <a:ext cx="35947" cy="24705"/>
            </a:xfrm>
            <a:custGeom>
              <a:avLst/>
              <a:gdLst/>
              <a:ahLst/>
              <a:cxnLst/>
              <a:rect l="l" t="t" r="r" b="b"/>
              <a:pathLst>
                <a:path w="1132" h="778" extrusionOk="0">
                  <a:moveTo>
                    <a:pt x="229" y="1"/>
                  </a:moveTo>
                  <a:cubicBezTo>
                    <a:pt x="159" y="1"/>
                    <a:pt x="89" y="41"/>
                    <a:pt x="48" y="99"/>
                  </a:cubicBezTo>
                  <a:cubicBezTo>
                    <a:pt x="0" y="194"/>
                    <a:pt x="36" y="301"/>
                    <a:pt x="143" y="361"/>
                  </a:cubicBezTo>
                  <a:lnTo>
                    <a:pt x="822" y="742"/>
                  </a:lnTo>
                  <a:cubicBezTo>
                    <a:pt x="858" y="754"/>
                    <a:pt x="881" y="777"/>
                    <a:pt x="917" y="777"/>
                  </a:cubicBezTo>
                  <a:cubicBezTo>
                    <a:pt x="977" y="777"/>
                    <a:pt x="1048" y="742"/>
                    <a:pt x="1072" y="682"/>
                  </a:cubicBezTo>
                  <a:cubicBezTo>
                    <a:pt x="1132" y="599"/>
                    <a:pt x="1096" y="480"/>
                    <a:pt x="1001" y="420"/>
                  </a:cubicBezTo>
                  <a:lnTo>
                    <a:pt x="322" y="27"/>
                  </a:lnTo>
                  <a:cubicBezTo>
                    <a:pt x="292" y="9"/>
                    <a:pt x="261" y="1"/>
                    <a:pt x="2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7" name="Google Shape;10017;p58"/>
            <p:cNvSpPr/>
            <p:nvPr/>
          </p:nvSpPr>
          <p:spPr>
            <a:xfrm>
              <a:off x="1410682" y="3350997"/>
              <a:ext cx="37439" cy="12511"/>
            </a:xfrm>
            <a:custGeom>
              <a:avLst/>
              <a:gdLst/>
              <a:ahLst/>
              <a:cxnLst/>
              <a:rect l="l" t="t" r="r" b="b"/>
              <a:pathLst>
                <a:path w="1179" h="394" extrusionOk="0">
                  <a:moveTo>
                    <a:pt x="191" y="0"/>
                  </a:moveTo>
                  <a:cubicBezTo>
                    <a:pt x="96" y="0"/>
                    <a:pt x="0" y="95"/>
                    <a:pt x="0" y="203"/>
                  </a:cubicBezTo>
                  <a:cubicBezTo>
                    <a:pt x="0" y="298"/>
                    <a:pt x="84" y="393"/>
                    <a:pt x="191" y="393"/>
                  </a:cubicBezTo>
                  <a:lnTo>
                    <a:pt x="988" y="393"/>
                  </a:lnTo>
                  <a:cubicBezTo>
                    <a:pt x="1084" y="393"/>
                    <a:pt x="1179" y="298"/>
                    <a:pt x="1179" y="203"/>
                  </a:cubicBezTo>
                  <a:cubicBezTo>
                    <a:pt x="1179" y="95"/>
                    <a:pt x="1084"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8" name="Google Shape;10018;p58"/>
            <p:cNvSpPr/>
            <p:nvPr/>
          </p:nvSpPr>
          <p:spPr>
            <a:xfrm>
              <a:off x="1426179" y="3400980"/>
              <a:ext cx="35566" cy="24896"/>
            </a:xfrm>
            <a:custGeom>
              <a:avLst/>
              <a:gdLst/>
              <a:ahLst/>
              <a:cxnLst/>
              <a:rect l="l" t="t" r="r" b="b"/>
              <a:pathLst>
                <a:path w="1120" h="784" extrusionOk="0">
                  <a:moveTo>
                    <a:pt x="904" y="0"/>
                  </a:moveTo>
                  <a:cubicBezTo>
                    <a:pt x="874" y="0"/>
                    <a:pt x="843" y="7"/>
                    <a:pt x="810" y="22"/>
                  </a:cubicBezTo>
                  <a:lnTo>
                    <a:pt x="119" y="414"/>
                  </a:lnTo>
                  <a:cubicBezTo>
                    <a:pt x="36" y="486"/>
                    <a:pt x="0" y="593"/>
                    <a:pt x="60" y="688"/>
                  </a:cubicBezTo>
                  <a:cubicBezTo>
                    <a:pt x="96" y="748"/>
                    <a:pt x="167" y="784"/>
                    <a:pt x="227" y="784"/>
                  </a:cubicBezTo>
                  <a:cubicBezTo>
                    <a:pt x="262" y="784"/>
                    <a:pt x="286" y="760"/>
                    <a:pt x="322" y="748"/>
                  </a:cubicBezTo>
                  <a:lnTo>
                    <a:pt x="1001" y="367"/>
                  </a:lnTo>
                  <a:cubicBezTo>
                    <a:pt x="1096" y="307"/>
                    <a:pt x="1120" y="200"/>
                    <a:pt x="1072" y="93"/>
                  </a:cubicBezTo>
                  <a:cubicBezTo>
                    <a:pt x="1031" y="35"/>
                    <a:pt x="972" y="0"/>
                    <a:pt x="9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9" name="Google Shape;10019;p58"/>
            <p:cNvSpPr/>
            <p:nvPr/>
          </p:nvSpPr>
          <p:spPr>
            <a:xfrm>
              <a:off x="1620138" y="3289043"/>
              <a:ext cx="35566" cy="24928"/>
            </a:xfrm>
            <a:custGeom>
              <a:avLst/>
              <a:gdLst/>
              <a:ahLst/>
              <a:cxnLst/>
              <a:rect l="l" t="t" r="r" b="b"/>
              <a:pathLst>
                <a:path w="1120" h="785" extrusionOk="0">
                  <a:moveTo>
                    <a:pt x="895" y="1"/>
                  </a:moveTo>
                  <a:cubicBezTo>
                    <a:pt x="864" y="1"/>
                    <a:pt x="831" y="8"/>
                    <a:pt x="798" y="22"/>
                  </a:cubicBezTo>
                  <a:lnTo>
                    <a:pt x="119" y="403"/>
                  </a:lnTo>
                  <a:cubicBezTo>
                    <a:pt x="24" y="463"/>
                    <a:pt x="0" y="570"/>
                    <a:pt x="48" y="677"/>
                  </a:cubicBezTo>
                  <a:cubicBezTo>
                    <a:pt x="107" y="749"/>
                    <a:pt x="167" y="784"/>
                    <a:pt x="227" y="784"/>
                  </a:cubicBezTo>
                  <a:cubicBezTo>
                    <a:pt x="250" y="784"/>
                    <a:pt x="286" y="761"/>
                    <a:pt x="310" y="749"/>
                  </a:cubicBezTo>
                  <a:lnTo>
                    <a:pt x="1000" y="368"/>
                  </a:lnTo>
                  <a:cubicBezTo>
                    <a:pt x="1084" y="308"/>
                    <a:pt x="1120" y="201"/>
                    <a:pt x="1072" y="94"/>
                  </a:cubicBezTo>
                  <a:cubicBezTo>
                    <a:pt x="1031" y="36"/>
                    <a:pt x="966" y="1"/>
                    <a:pt x="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0" name="Google Shape;10020;p58"/>
            <p:cNvSpPr/>
            <p:nvPr/>
          </p:nvSpPr>
          <p:spPr>
            <a:xfrm>
              <a:off x="1584224" y="3243507"/>
              <a:ext cx="26103" cy="33787"/>
            </a:xfrm>
            <a:custGeom>
              <a:avLst/>
              <a:gdLst/>
              <a:ahLst/>
              <a:cxnLst/>
              <a:rect l="l" t="t" r="r" b="b"/>
              <a:pathLst>
                <a:path w="822" h="1064" extrusionOk="0">
                  <a:moveTo>
                    <a:pt x="594" y="1"/>
                  </a:moveTo>
                  <a:cubicBezTo>
                    <a:pt x="527" y="1"/>
                    <a:pt x="458" y="41"/>
                    <a:pt x="417" y="99"/>
                  </a:cubicBezTo>
                  <a:lnTo>
                    <a:pt x="24" y="790"/>
                  </a:lnTo>
                  <a:cubicBezTo>
                    <a:pt x="0" y="873"/>
                    <a:pt x="24" y="992"/>
                    <a:pt x="119" y="1040"/>
                  </a:cubicBezTo>
                  <a:cubicBezTo>
                    <a:pt x="143" y="1052"/>
                    <a:pt x="179" y="1063"/>
                    <a:pt x="203" y="1063"/>
                  </a:cubicBezTo>
                  <a:cubicBezTo>
                    <a:pt x="262" y="1063"/>
                    <a:pt x="346" y="1040"/>
                    <a:pt x="369" y="980"/>
                  </a:cubicBezTo>
                  <a:lnTo>
                    <a:pt x="762" y="290"/>
                  </a:lnTo>
                  <a:cubicBezTo>
                    <a:pt x="822" y="206"/>
                    <a:pt x="774" y="87"/>
                    <a:pt x="679" y="28"/>
                  </a:cubicBezTo>
                  <a:cubicBezTo>
                    <a:pt x="653" y="9"/>
                    <a:pt x="624" y="1"/>
                    <a:pt x="5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1" name="Google Shape;10021;p58"/>
            <p:cNvSpPr/>
            <p:nvPr/>
          </p:nvSpPr>
          <p:spPr>
            <a:xfrm>
              <a:off x="1404617" y="3271197"/>
              <a:ext cx="285859" cy="281349"/>
            </a:xfrm>
            <a:custGeom>
              <a:avLst/>
              <a:gdLst/>
              <a:ahLst/>
              <a:cxnLst/>
              <a:rect l="l" t="t" r="r" b="b"/>
              <a:pathLst>
                <a:path w="9002" h="8860" extrusionOk="0">
                  <a:moveTo>
                    <a:pt x="4525" y="1013"/>
                  </a:moveTo>
                  <a:lnTo>
                    <a:pt x="4573" y="1025"/>
                  </a:lnTo>
                  <a:lnTo>
                    <a:pt x="4704" y="1025"/>
                  </a:lnTo>
                  <a:lnTo>
                    <a:pt x="4787" y="1061"/>
                  </a:lnTo>
                  <a:lnTo>
                    <a:pt x="4811" y="1061"/>
                  </a:lnTo>
                  <a:lnTo>
                    <a:pt x="4823" y="1072"/>
                  </a:lnTo>
                  <a:cubicBezTo>
                    <a:pt x="4835" y="1072"/>
                    <a:pt x="4835" y="1084"/>
                    <a:pt x="4847" y="1084"/>
                  </a:cubicBezTo>
                  <a:cubicBezTo>
                    <a:pt x="4847" y="1084"/>
                    <a:pt x="4870" y="1084"/>
                    <a:pt x="4870" y="1096"/>
                  </a:cubicBezTo>
                  <a:lnTo>
                    <a:pt x="4942" y="1132"/>
                  </a:lnTo>
                  <a:lnTo>
                    <a:pt x="4954" y="1132"/>
                  </a:lnTo>
                  <a:lnTo>
                    <a:pt x="4989" y="1144"/>
                  </a:lnTo>
                  <a:cubicBezTo>
                    <a:pt x="4989" y="1144"/>
                    <a:pt x="5001" y="1144"/>
                    <a:pt x="5001" y="1156"/>
                  </a:cubicBezTo>
                  <a:cubicBezTo>
                    <a:pt x="5001" y="1156"/>
                    <a:pt x="5013" y="1156"/>
                    <a:pt x="5013" y="1180"/>
                  </a:cubicBezTo>
                  <a:lnTo>
                    <a:pt x="5049" y="1192"/>
                  </a:lnTo>
                  <a:cubicBezTo>
                    <a:pt x="5049" y="1192"/>
                    <a:pt x="5061" y="1192"/>
                    <a:pt x="5061" y="1203"/>
                  </a:cubicBezTo>
                  <a:cubicBezTo>
                    <a:pt x="5061" y="1203"/>
                    <a:pt x="5073" y="1203"/>
                    <a:pt x="5073" y="1215"/>
                  </a:cubicBezTo>
                  <a:lnTo>
                    <a:pt x="5085" y="1239"/>
                  </a:lnTo>
                  <a:cubicBezTo>
                    <a:pt x="5085" y="1239"/>
                    <a:pt x="5109" y="1239"/>
                    <a:pt x="5109" y="1251"/>
                  </a:cubicBezTo>
                  <a:cubicBezTo>
                    <a:pt x="5109" y="1251"/>
                    <a:pt x="5120" y="1251"/>
                    <a:pt x="5120" y="1263"/>
                  </a:cubicBezTo>
                  <a:cubicBezTo>
                    <a:pt x="5120" y="1263"/>
                    <a:pt x="5132" y="1263"/>
                    <a:pt x="5132" y="1275"/>
                  </a:cubicBezTo>
                  <a:lnTo>
                    <a:pt x="5144" y="1299"/>
                  </a:lnTo>
                  <a:cubicBezTo>
                    <a:pt x="5144" y="1299"/>
                    <a:pt x="5168" y="1299"/>
                    <a:pt x="5168" y="1311"/>
                  </a:cubicBezTo>
                  <a:lnTo>
                    <a:pt x="5263" y="1394"/>
                  </a:lnTo>
                  <a:lnTo>
                    <a:pt x="5299" y="1430"/>
                  </a:lnTo>
                  <a:cubicBezTo>
                    <a:pt x="5382" y="1501"/>
                    <a:pt x="5466" y="1596"/>
                    <a:pt x="5537" y="1680"/>
                  </a:cubicBezTo>
                  <a:cubicBezTo>
                    <a:pt x="5561" y="1715"/>
                    <a:pt x="5585" y="1739"/>
                    <a:pt x="5597" y="1787"/>
                  </a:cubicBezTo>
                  <a:lnTo>
                    <a:pt x="5597" y="1799"/>
                  </a:lnTo>
                  <a:cubicBezTo>
                    <a:pt x="5609" y="1834"/>
                    <a:pt x="5644" y="1858"/>
                    <a:pt x="5656" y="1894"/>
                  </a:cubicBezTo>
                  <a:lnTo>
                    <a:pt x="5656" y="1906"/>
                  </a:lnTo>
                  <a:cubicBezTo>
                    <a:pt x="5668" y="1930"/>
                    <a:pt x="5680" y="1965"/>
                    <a:pt x="5704" y="2013"/>
                  </a:cubicBezTo>
                  <a:lnTo>
                    <a:pt x="5704" y="2025"/>
                  </a:lnTo>
                  <a:cubicBezTo>
                    <a:pt x="5716" y="2049"/>
                    <a:pt x="5728" y="2096"/>
                    <a:pt x="5740" y="2132"/>
                  </a:cubicBezTo>
                  <a:lnTo>
                    <a:pt x="5740" y="2144"/>
                  </a:lnTo>
                  <a:cubicBezTo>
                    <a:pt x="5763" y="2168"/>
                    <a:pt x="5775" y="2215"/>
                    <a:pt x="5775" y="2251"/>
                  </a:cubicBezTo>
                  <a:lnTo>
                    <a:pt x="5775" y="2263"/>
                  </a:lnTo>
                  <a:cubicBezTo>
                    <a:pt x="5787" y="2287"/>
                    <a:pt x="5787" y="2335"/>
                    <a:pt x="5799" y="2382"/>
                  </a:cubicBezTo>
                  <a:lnTo>
                    <a:pt x="5799" y="2394"/>
                  </a:lnTo>
                  <a:cubicBezTo>
                    <a:pt x="5799" y="2442"/>
                    <a:pt x="5823" y="2466"/>
                    <a:pt x="5823" y="2513"/>
                  </a:cubicBezTo>
                  <a:lnTo>
                    <a:pt x="5823" y="2525"/>
                  </a:lnTo>
                  <a:lnTo>
                    <a:pt x="5823" y="2549"/>
                  </a:lnTo>
                  <a:cubicBezTo>
                    <a:pt x="5728" y="2620"/>
                    <a:pt x="5466" y="2739"/>
                    <a:pt x="5240" y="2894"/>
                  </a:cubicBezTo>
                  <a:cubicBezTo>
                    <a:pt x="5216" y="2894"/>
                    <a:pt x="5216" y="2906"/>
                    <a:pt x="5216" y="2906"/>
                  </a:cubicBezTo>
                  <a:cubicBezTo>
                    <a:pt x="5192" y="2918"/>
                    <a:pt x="5180" y="2930"/>
                    <a:pt x="5144" y="2966"/>
                  </a:cubicBezTo>
                  <a:cubicBezTo>
                    <a:pt x="5120" y="2977"/>
                    <a:pt x="5085" y="3013"/>
                    <a:pt x="5061" y="3037"/>
                  </a:cubicBezTo>
                  <a:cubicBezTo>
                    <a:pt x="5025" y="3049"/>
                    <a:pt x="5013" y="3085"/>
                    <a:pt x="4978" y="3097"/>
                  </a:cubicBezTo>
                  <a:cubicBezTo>
                    <a:pt x="4620" y="3406"/>
                    <a:pt x="4347" y="3823"/>
                    <a:pt x="4204" y="4299"/>
                  </a:cubicBezTo>
                  <a:cubicBezTo>
                    <a:pt x="4180" y="4299"/>
                    <a:pt x="4144" y="4287"/>
                    <a:pt x="4132" y="4287"/>
                  </a:cubicBezTo>
                  <a:cubicBezTo>
                    <a:pt x="4061" y="4275"/>
                    <a:pt x="3966" y="4275"/>
                    <a:pt x="3894" y="4275"/>
                  </a:cubicBezTo>
                  <a:lnTo>
                    <a:pt x="3632" y="4275"/>
                  </a:lnTo>
                  <a:cubicBezTo>
                    <a:pt x="3608" y="4275"/>
                    <a:pt x="3596" y="4251"/>
                    <a:pt x="3585" y="4251"/>
                  </a:cubicBezTo>
                  <a:lnTo>
                    <a:pt x="3573" y="4251"/>
                  </a:lnTo>
                  <a:cubicBezTo>
                    <a:pt x="3549" y="4240"/>
                    <a:pt x="3537" y="4240"/>
                    <a:pt x="3525" y="4228"/>
                  </a:cubicBezTo>
                  <a:cubicBezTo>
                    <a:pt x="3513" y="4216"/>
                    <a:pt x="3489" y="4216"/>
                    <a:pt x="3465" y="4192"/>
                  </a:cubicBezTo>
                  <a:lnTo>
                    <a:pt x="3454" y="4180"/>
                  </a:lnTo>
                  <a:cubicBezTo>
                    <a:pt x="3430" y="4168"/>
                    <a:pt x="3418" y="4168"/>
                    <a:pt x="3406" y="4156"/>
                  </a:cubicBezTo>
                  <a:lnTo>
                    <a:pt x="3394" y="4156"/>
                  </a:lnTo>
                  <a:cubicBezTo>
                    <a:pt x="3370" y="4132"/>
                    <a:pt x="3358" y="4120"/>
                    <a:pt x="3346" y="4120"/>
                  </a:cubicBezTo>
                  <a:lnTo>
                    <a:pt x="3335" y="4109"/>
                  </a:lnTo>
                  <a:cubicBezTo>
                    <a:pt x="3311" y="4097"/>
                    <a:pt x="3299" y="4097"/>
                    <a:pt x="3287" y="4073"/>
                  </a:cubicBezTo>
                  <a:lnTo>
                    <a:pt x="3275" y="4073"/>
                  </a:lnTo>
                  <a:lnTo>
                    <a:pt x="3227" y="4037"/>
                  </a:lnTo>
                  <a:lnTo>
                    <a:pt x="3215" y="4013"/>
                  </a:lnTo>
                  <a:cubicBezTo>
                    <a:pt x="3192" y="4001"/>
                    <a:pt x="3180" y="3990"/>
                    <a:pt x="3168" y="3990"/>
                  </a:cubicBezTo>
                  <a:lnTo>
                    <a:pt x="3156" y="3990"/>
                  </a:lnTo>
                  <a:lnTo>
                    <a:pt x="3108" y="3942"/>
                  </a:lnTo>
                  <a:lnTo>
                    <a:pt x="3096" y="3930"/>
                  </a:lnTo>
                  <a:lnTo>
                    <a:pt x="3061" y="3894"/>
                  </a:lnTo>
                  <a:lnTo>
                    <a:pt x="3049" y="3882"/>
                  </a:lnTo>
                  <a:lnTo>
                    <a:pt x="3001" y="3835"/>
                  </a:lnTo>
                  <a:lnTo>
                    <a:pt x="2989" y="3823"/>
                  </a:lnTo>
                  <a:lnTo>
                    <a:pt x="2989" y="3811"/>
                  </a:lnTo>
                  <a:cubicBezTo>
                    <a:pt x="2870" y="3680"/>
                    <a:pt x="2775" y="3525"/>
                    <a:pt x="2715" y="3358"/>
                  </a:cubicBezTo>
                  <a:cubicBezTo>
                    <a:pt x="2715" y="3347"/>
                    <a:pt x="2703" y="3335"/>
                    <a:pt x="2703" y="3323"/>
                  </a:cubicBezTo>
                  <a:lnTo>
                    <a:pt x="2703" y="3299"/>
                  </a:lnTo>
                  <a:cubicBezTo>
                    <a:pt x="2703" y="3287"/>
                    <a:pt x="2692" y="3275"/>
                    <a:pt x="2692" y="3263"/>
                  </a:cubicBezTo>
                  <a:lnTo>
                    <a:pt x="2692" y="3239"/>
                  </a:lnTo>
                  <a:cubicBezTo>
                    <a:pt x="2692" y="3228"/>
                    <a:pt x="2680" y="3204"/>
                    <a:pt x="2680" y="3180"/>
                  </a:cubicBezTo>
                  <a:cubicBezTo>
                    <a:pt x="2656" y="3108"/>
                    <a:pt x="2644" y="3049"/>
                    <a:pt x="2632" y="2977"/>
                  </a:cubicBezTo>
                  <a:lnTo>
                    <a:pt x="2632" y="2930"/>
                  </a:lnTo>
                  <a:lnTo>
                    <a:pt x="2632" y="2882"/>
                  </a:lnTo>
                  <a:cubicBezTo>
                    <a:pt x="2632" y="2823"/>
                    <a:pt x="2620" y="2763"/>
                    <a:pt x="2620" y="2704"/>
                  </a:cubicBezTo>
                  <a:lnTo>
                    <a:pt x="2620" y="2644"/>
                  </a:lnTo>
                  <a:lnTo>
                    <a:pt x="2620" y="2632"/>
                  </a:lnTo>
                  <a:lnTo>
                    <a:pt x="2620" y="2573"/>
                  </a:lnTo>
                  <a:lnTo>
                    <a:pt x="2620" y="2513"/>
                  </a:lnTo>
                  <a:lnTo>
                    <a:pt x="2620" y="2501"/>
                  </a:lnTo>
                  <a:cubicBezTo>
                    <a:pt x="2620" y="2454"/>
                    <a:pt x="2632" y="2430"/>
                    <a:pt x="2632" y="2382"/>
                  </a:cubicBezTo>
                  <a:lnTo>
                    <a:pt x="2632" y="2370"/>
                  </a:lnTo>
                  <a:cubicBezTo>
                    <a:pt x="2632" y="2335"/>
                    <a:pt x="2644" y="2287"/>
                    <a:pt x="2656" y="2263"/>
                  </a:cubicBezTo>
                  <a:lnTo>
                    <a:pt x="2656" y="2251"/>
                  </a:lnTo>
                  <a:cubicBezTo>
                    <a:pt x="2680" y="2215"/>
                    <a:pt x="2680" y="2168"/>
                    <a:pt x="2692" y="2144"/>
                  </a:cubicBezTo>
                  <a:lnTo>
                    <a:pt x="2692" y="2132"/>
                  </a:lnTo>
                  <a:cubicBezTo>
                    <a:pt x="2703" y="2096"/>
                    <a:pt x="2715" y="2049"/>
                    <a:pt x="2739" y="2025"/>
                  </a:cubicBezTo>
                  <a:lnTo>
                    <a:pt x="2739" y="2013"/>
                  </a:lnTo>
                  <a:cubicBezTo>
                    <a:pt x="2751" y="1977"/>
                    <a:pt x="2763" y="1930"/>
                    <a:pt x="2775" y="1906"/>
                  </a:cubicBezTo>
                  <a:lnTo>
                    <a:pt x="2775" y="1894"/>
                  </a:lnTo>
                  <a:cubicBezTo>
                    <a:pt x="2799" y="1858"/>
                    <a:pt x="2811" y="1834"/>
                    <a:pt x="2834" y="1799"/>
                  </a:cubicBezTo>
                  <a:lnTo>
                    <a:pt x="2858" y="1787"/>
                  </a:lnTo>
                  <a:cubicBezTo>
                    <a:pt x="2870" y="1751"/>
                    <a:pt x="2894" y="1727"/>
                    <a:pt x="2918" y="1692"/>
                  </a:cubicBezTo>
                  <a:cubicBezTo>
                    <a:pt x="2989" y="1608"/>
                    <a:pt x="3061" y="1513"/>
                    <a:pt x="3156" y="1442"/>
                  </a:cubicBezTo>
                  <a:lnTo>
                    <a:pt x="3180" y="1418"/>
                  </a:lnTo>
                  <a:lnTo>
                    <a:pt x="3299" y="1311"/>
                  </a:lnTo>
                  <a:cubicBezTo>
                    <a:pt x="3299" y="1311"/>
                    <a:pt x="3311" y="1311"/>
                    <a:pt x="3311" y="1299"/>
                  </a:cubicBezTo>
                  <a:cubicBezTo>
                    <a:pt x="3311" y="1299"/>
                    <a:pt x="3335" y="1299"/>
                    <a:pt x="3335" y="1275"/>
                  </a:cubicBezTo>
                  <a:lnTo>
                    <a:pt x="3346" y="1263"/>
                  </a:lnTo>
                  <a:cubicBezTo>
                    <a:pt x="3346" y="1263"/>
                    <a:pt x="3358" y="1263"/>
                    <a:pt x="3358" y="1251"/>
                  </a:cubicBezTo>
                  <a:cubicBezTo>
                    <a:pt x="3358" y="1251"/>
                    <a:pt x="3370" y="1251"/>
                    <a:pt x="3370" y="1239"/>
                  </a:cubicBezTo>
                  <a:cubicBezTo>
                    <a:pt x="3370" y="1239"/>
                    <a:pt x="3394" y="1239"/>
                    <a:pt x="3394" y="1215"/>
                  </a:cubicBezTo>
                  <a:cubicBezTo>
                    <a:pt x="3394" y="1215"/>
                    <a:pt x="3406" y="1215"/>
                    <a:pt x="3406" y="1203"/>
                  </a:cubicBezTo>
                  <a:lnTo>
                    <a:pt x="3430" y="1192"/>
                  </a:lnTo>
                  <a:cubicBezTo>
                    <a:pt x="3430" y="1192"/>
                    <a:pt x="3454" y="1192"/>
                    <a:pt x="3454" y="1180"/>
                  </a:cubicBezTo>
                  <a:cubicBezTo>
                    <a:pt x="3454" y="1180"/>
                    <a:pt x="3465" y="1180"/>
                    <a:pt x="3465" y="1156"/>
                  </a:cubicBezTo>
                  <a:lnTo>
                    <a:pt x="3489" y="1144"/>
                  </a:lnTo>
                  <a:cubicBezTo>
                    <a:pt x="3489" y="1144"/>
                    <a:pt x="3513" y="1144"/>
                    <a:pt x="3513" y="1132"/>
                  </a:cubicBezTo>
                  <a:lnTo>
                    <a:pt x="3585" y="1096"/>
                  </a:lnTo>
                  <a:cubicBezTo>
                    <a:pt x="3585" y="1096"/>
                    <a:pt x="3596" y="1096"/>
                    <a:pt x="3596" y="1084"/>
                  </a:cubicBezTo>
                  <a:cubicBezTo>
                    <a:pt x="3608" y="1084"/>
                    <a:pt x="3608" y="1072"/>
                    <a:pt x="3632" y="1072"/>
                  </a:cubicBezTo>
                  <a:lnTo>
                    <a:pt x="3644" y="1061"/>
                  </a:lnTo>
                  <a:lnTo>
                    <a:pt x="3656" y="1061"/>
                  </a:lnTo>
                  <a:lnTo>
                    <a:pt x="3763" y="1025"/>
                  </a:lnTo>
                  <a:lnTo>
                    <a:pt x="3882" y="1025"/>
                  </a:lnTo>
                  <a:lnTo>
                    <a:pt x="3930" y="1013"/>
                  </a:lnTo>
                  <a:close/>
                  <a:moveTo>
                    <a:pt x="4347" y="418"/>
                  </a:moveTo>
                  <a:cubicBezTo>
                    <a:pt x="4847" y="418"/>
                    <a:pt x="5335" y="584"/>
                    <a:pt x="5740" y="882"/>
                  </a:cubicBezTo>
                  <a:cubicBezTo>
                    <a:pt x="6156" y="1192"/>
                    <a:pt x="6454" y="1620"/>
                    <a:pt x="6585" y="2108"/>
                  </a:cubicBezTo>
                  <a:cubicBezTo>
                    <a:pt x="6621" y="2227"/>
                    <a:pt x="6644" y="2370"/>
                    <a:pt x="6668" y="2489"/>
                  </a:cubicBezTo>
                  <a:lnTo>
                    <a:pt x="6442" y="2489"/>
                  </a:lnTo>
                  <a:cubicBezTo>
                    <a:pt x="6442" y="2442"/>
                    <a:pt x="6430" y="2394"/>
                    <a:pt x="6430" y="2346"/>
                  </a:cubicBezTo>
                  <a:lnTo>
                    <a:pt x="6430" y="2335"/>
                  </a:lnTo>
                  <a:cubicBezTo>
                    <a:pt x="6406" y="2287"/>
                    <a:pt x="6406" y="2251"/>
                    <a:pt x="6394" y="2204"/>
                  </a:cubicBezTo>
                  <a:lnTo>
                    <a:pt x="6394" y="2192"/>
                  </a:lnTo>
                  <a:lnTo>
                    <a:pt x="6347" y="2049"/>
                  </a:lnTo>
                  <a:lnTo>
                    <a:pt x="6347" y="2037"/>
                  </a:lnTo>
                  <a:lnTo>
                    <a:pt x="6311" y="1906"/>
                  </a:lnTo>
                  <a:lnTo>
                    <a:pt x="6311" y="1894"/>
                  </a:lnTo>
                  <a:cubicBezTo>
                    <a:pt x="6287" y="1846"/>
                    <a:pt x="6263" y="1799"/>
                    <a:pt x="6252" y="1775"/>
                  </a:cubicBezTo>
                  <a:lnTo>
                    <a:pt x="6228" y="1751"/>
                  </a:lnTo>
                  <a:cubicBezTo>
                    <a:pt x="6216" y="1715"/>
                    <a:pt x="6192" y="1680"/>
                    <a:pt x="6156" y="1632"/>
                  </a:cubicBezTo>
                  <a:lnTo>
                    <a:pt x="6144" y="1620"/>
                  </a:lnTo>
                  <a:cubicBezTo>
                    <a:pt x="6109" y="1573"/>
                    <a:pt x="6085" y="1549"/>
                    <a:pt x="6073" y="1501"/>
                  </a:cubicBezTo>
                  <a:cubicBezTo>
                    <a:pt x="5978" y="1382"/>
                    <a:pt x="5894" y="1275"/>
                    <a:pt x="5787" y="1192"/>
                  </a:cubicBezTo>
                  <a:lnTo>
                    <a:pt x="5775" y="1180"/>
                  </a:lnTo>
                  <a:lnTo>
                    <a:pt x="5751" y="1156"/>
                  </a:lnTo>
                  <a:lnTo>
                    <a:pt x="5740" y="1144"/>
                  </a:lnTo>
                  <a:lnTo>
                    <a:pt x="5680" y="1084"/>
                  </a:lnTo>
                  <a:lnTo>
                    <a:pt x="5668" y="1072"/>
                  </a:lnTo>
                  <a:lnTo>
                    <a:pt x="5621" y="1037"/>
                  </a:lnTo>
                  <a:lnTo>
                    <a:pt x="5609" y="1025"/>
                  </a:lnTo>
                  <a:lnTo>
                    <a:pt x="5597" y="1013"/>
                  </a:lnTo>
                  <a:lnTo>
                    <a:pt x="5573" y="1001"/>
                  </a:lnTo>
                  <a:lnTo>
                    <a:pt x="5561" y="977"/>
                  </a:lnTo>
                  <a:lnTo>
                    <a:pt x="5549" y="965"/>
                  </a:lnTo>
                  <a:lnTo>
                    <a:pt x="5537" y="953"/>
                  </a:lnTo>
                  <a:lnTo>
                    <a:pt x="5513" y="942"/>
                  </a:lnTo>
                  <a:cubicBezTo>
                    <a:pt x="5513" y="942"/>
                    <a:pt x="5501" y="918"/>
                    <a:pt x="5490" y="918"/>
                  </a:cubicBezTo>
                  <a:lnTo>
                    <a:pt x="5442" y="894"/>
                  </a:lnTo>
                  <a:cubicBezTo>
                    <a:pt x="5430" y="894"/>
                    <a:pt x="5430" y="882"/>
                    <a:pt x="5430" y="882"/>
                  </a:cubicBezTo>
                  <a:cubicBezTo>
                    <a:pt x="5430" y="882"/>
                    <a:pt x="5418" y="858"/>
                    <a:pt x="5394" y="858"/>
                  </a:cubicBezTo>
                  <a:lnTo>
                    <a:pt x="5359" y="834"/>
                  </a:lnTo>
                  <a:cubicBezTo>
                    <a:pt x="5359" y="834"/>
                    <a:pt x="5335" y="834"/>
                    <a:pt x="5335" y="822"/>
                  </a:cubicBezTo>
                  <a:lnTo>
                    <a:pt x="5299" y="787"/>
                  </a:lnTo>
                  <a:cubicBezTo>
                    <a:pt x="5299" y="787"/>
                    <a:pt x="5275" y="787"/>
                    <a:pt x="5275" y="775"/>
                  </a:cubicBezTo>
                  <a:lnTo>
                    <a:pt x="5251" y="763"/>
                  </a:lnTo>
                  <a:cubicBezTo>
                    <a:pt x="5251" y="763"/>
                    <a:pt x="5240" y="763"/>
                    <a:pt x="5216" y="739"/>
                  </a:cubicBezTo>
                  <a:cubicBezTo>
                    <a:pt x="5204" y="739"/>
                    <a:pt x="5192" y="727"/>
                    <a:pt x="5180" y="727"/>
                  </a:cubicBezTo>
                  <a:lnTo>
                    <a:pt x="5144" y="727"/>
                  </a:lnTo>
                  <a:cubicBezTo>
                    <a:pt x="5144" y="727"/>
                    <a:pt x="5132" y="727"/>
                    <a:pt x="5120" y="715"/>
                  </a:cubicBezTo>
                  <a:lnTo>
                    <a:pt x="5037" y="715"/>
                  </a:lnTo>
                  <a:lnTo>
                    <a:pt x="5013" y="703"/>
                  </a:lnTo>
                  <a:lnTo>
                    <a:pt x="5001" y="703"/>
                  </a:lnTo>
                  <a:cubicBezTo>
                    <a:pt x="4978" y="703"/>
                    <a:pt x="4978" y="703"/>
                    <a:pt x="4966" y="680"/>
                  </a:cubicBezTo>
                  <a:lnTo>
                    <a:pt x="3989" y="680"/>
                  </a:lnTo>
                  <a:lnTo>
                    <a:pt x="3942" y="703"/>
                  </a:lnTo>
                  <a:lnTo>
                    <a:pt x="3727" y="703"/>
                  </a:lnTo>
                  <a:cubicBezTo>
                    <a:pt x="3716" y="703"/>
                    <a:pt x="3716" y="703"/>
                    <a:pt x="3704" y="715"/>
                  </a:cubicBezTo>
                  <a:lnTo>
                    <a:pt x="3585" y="715"/>
                  </a:lnTo>
                  <a:cubicBezTo>
                    <a:pt x="3573" y="715"/>
                    <a:pt x="3573" y="715"/>
                    <a:pt x="3549" y="727"/>
                  </a:cubicBezTo>
                  <a:lnTo>
                    <a:pt x="3525" y="727"/>
                  </a:lnTo>
                  <a:cubicBezTo>
                    <a:pt x="3513" y="727"/>
                    <a:pt x="3489" y="751"/>
                    <a:pt x="3477" y="751"/>
                  </a:cubicBezTo>
                  <a:cubicBezTo>
                    <a:pt x="3465" y="751"/>
                    <a:pt x="3465" y="751"/>
                    <a:pt x="3454" y="763"/>
                  </a:cubicBezTo>
                  <a:lnTo>
                    <a:pt x="3418" y="775"/>
                  </a:lnTo>
                  <a:cubicBezTo>
                    <a:pt x="3418" y="775"/>
                    <a:pt x="3406" y="775"/>
                    <a:pt x="3406" y="787"/>
                  </a:cubicBezTo>
                  <a:lnTo>
                    <a:pt x="3370" y="811"/>
                  </a:lnTo>
                  <a:lnTo>
                    <a:pt x="3358" y="822"/>
                  </a:lnTo>
                  <a:cubicBezTo>
                    <a:pt x="3358" y="822"/>
                    <a:pt x="3346" y="822"/>
                    <a:pt x="3346" y="834"/>
                  </a:cubicBezTo>
                  <a:lnTo>
                    <a:pt x="3299" y="870"/>
                  </a:lnTo>
                  <a:lnTo>
                    <a:pt x="3287" y="882"/>
                  </a:lnTo>
                  <a:cubicBezTo>
                    <a:pt x="3275" y="882"/>
                    <a:pt x="3275" y="894"/>
                    <a:pt x="3251" y="894"/>
                  </a:cubicBezTo>
                  <a:lnTo>
                    <a:pt x="3215" y="930"/>
                  </a:lnTo>
                  <a:lnTo>
                    <a:pt x="3192" y="942"/>
                  </a:lnTo>
                  <a:lnTo>
                    <a:pt x="3180" y="953"/>
                  </a:lnTo>
                  <a:cubicBezTo>
                    <a:pt x="3180" y="953"/>
                    <a:pt x="3168" y="965"/>
                    <a:pt x="3156" y="965"/>
                  </a:cubicBezTo>
                  <a:lnTo>
                    <a:pt x="3132" y="989"/>
                  </a:lnTo>
                  <a:lnTo>
                    <a:pt x="3120" y="1001"/>
                  </a:lnTo>
                  <a:lnTo>
                    <a:pt x="3108" y="1013"/>
                  </a:lnTo>
                  <a:cubicBezTo>
                    <a:pt x="3096" y="1013"/>
                    <a:pt x="3096" y="1025"/>
                    <a:pt x="3096" y="1025"/>
                  </a:cubicBezTo>
                  <a:lnTo>
                    <a:pt x="3073" y="1049"/>
                  </a:lnTo>
                  <a:lnTo>
                    <a:pt x="3037" y="1072"/>
                  </a:lnTo>
                  <a:lnTo>
                    <a:pt x="3013" y="1084"/>
                  </a:lnTo>
                  <a:lnTo>
                    <a:pt x="2954" y="1144"/>
                  </a:lnTo>
                  <a:lnTo>
                    <a:pt x="2942" y="1168"/>
                  </a:lnTo>
                  <a:lnTo>
                    <a:pt x="2930" y="1180"/>
                  </a:lnTo>
                  <a:lnTo>
                    <a:pt x="2918" y="1192"/>
                  </a:lnTo>
                  <a:cubicBezTo>
                    <a:pt x="2811" y="1287"/>
                    <a:pt x="2715" y="1382"/>
                    <a:pt x="2632" y="1501"/>
                  </a:cubicBezTo>
                  <a:cubicBezTo>
                    <a:pt x="2596" y="1549"/>
                    <a:pt x="2573" y="1584"/>
                    <a:pt x="2561" y="1620"/>
                  </a:cubicBezTo>
                  <a:lnTo>
                    <a:pt x="2537" y="1644"/>
                  </a:lnTo>
                  <a:cubicBezTo>
                    <a:pt x="2513" y="1680"/>
                    <a:pt x="2501" y="1715"/>
                    <a:pt x="2465" y="1763"/>
                  </a:cubicBezTo>
                  <a:lnTo>
                    <a:pt x="2465" y="1775"/>
                  </a:lnTo>
                  <a:cubicBezTo>
                    <a:pt x="2453" y="1823"/>
                    <a:pt x="2418" y="1846"/>
                    <a:pt x="2406" y="1894"/>
                  </a:cubicBezTo>
                  <a:lnTo>
                    <a:pt x="2406" y="1906"/>
                  </a:lnTo>
                  <a:lnTo>
                    <a:pt x="2358" y="2037"/>
                  </a:lnTo>
                  <a:lnTo>
                    <a:pt x="2358" y="2061"/>
                  </a:lnTo>
                  <a:lnTo>
                    <a:pt x="2322" y="2192"/>
                  </a:lnTo>
                  <a:lnTo>
                    <a:pt x="2322" y="2204"/>
                  </a:lnTo>
                  <a:cubicBezTo>
                    <a:pt x="2299" y="2251"/>
                    <a:pt x="2287" y="2299"/>
                    <a:pt x="2287" y="2335"/>
                  </a:cubicBezTo>
                  <a:lnTo>
                    <a:pt x="2287" y="2358"/>
                  </a:lnTo>
                  <a:cubicBezTo>
                    <a:pt x="2275" y="2394"/>
                    <a:pt x="2275" y="2442"/>
                    <a:pt x="2275" y="2489"/>
                  </a:cubicBezTo>
                  <a:lnTo>
                    <a:pt x="2275" y="2501"/>
                  </a:lnTo>
                  <a:lnTo>
                    <a:pt x="2275" y="2573"/>
                  </a:lnTo>
                  <a:lnTo>
                    <a:pt x="2275" y="2656"/>
                  </a:lnTo>
                  <a:lnTo>
                    <a:pt x="2275" y="2668"/>
                  </a:lnTo>
                  <a:lnTo>
                    <a:pt x="2275" y="2739"/>
                  </a:lnTo>
                  <a:cubicBezTo>
                    <a:pt x="2275" y="2811"/>
                    <a:pt x="2275" y="2894"/>
                    <a:pt x="2287" y="2954"/>
                  </a:cubicBezTo>
                  <a:lnTo>
                    <a:pt x="2287" y="2989"/>
                  </a:lnTo>
                  <a:cubicBezTo>
                    <a:pt x="2287" y="3013"/>
                    <a:pt x="2287" y="3037"/>
                    <a:pt x="2299" y="3049"/>
                  </a:cubicBezTo>
                  <a:cubicBezTo>
                    <a:pt x="2322" y="3144"/>
                    <a:pt x="2334" y="3228"/>
                    <a:pt x="2358" y="3311"/>
                  </a:cubicBezTo>
                  <a:cubicBezTo>
                    <a:pt x="2358" y="3335"/>
                    <a:pt x="2382" y="3347"/>
                    <a:pt x="2394" y="3382"/>
                  </a:cubicBezTo>
                  <a:lnTo>
                    <a:pt x="2394" y="3394"/>
                  </a:lnTo>
                  <a:cubicBezTo>
                    <a:pt x="2394" y="3406"/>
                    <a:pt x="2406" y="3442"/>
                    <a:pt x="2406" y="3454"/>
                  </a:cubicBezTo>
                  <a:lnTo>
                    <a:pt x="2406" y="3466"/>
                  </a:lnTo>
                  <a:cubicBezTo>
                    <a:pt x="2418" y="3489"/>
                    <a:pt x="2418" y="3513"/>
                    <a:pt x="2442" y="3525"/>
                  </a:cubicBezTo>
                  <a:lnTo>
                    <a:pt x="2442" y="3549"/>
                  </a:lnTo>
                  <a:cubicBezTo>
                    <a:pt x="2513" y="3739"/>
                    <a:pt x="2632" y="3918"/>
                    <a:pt x="2763" y="4085"/>
                  </a:cubicBezTo>
                  <a:lnTo>
                    <a:pt x="2775" y="4097"/>
                  </a:lnTo>
                  <a:lnTo>
                    <a:pt x="2799" y="4109"/>
                  </a:lnTo>
                  <a:lnTo>
                    <a:pt x="2799" y="4120"/>
                  </a:lnTo>
                  <a:lnTo>
                    <a:pt x="2811" y="4144"/>
                  </a:lnTo>
                  <a:cubicBezTo>
                    <a:pt x="2823" y="4156"/>
                    <a:pt x="2834" y="4168"/>
                    <a:pt x="2858" y="4204"/>
                  </a:cubicBezTo>
                  <a:lnTo>
                    <a:pt x="2870" y="4216"/>
                  </a:lnTo>
                  <a:lnTo>
                    <a:pt x="2918" y="4263"/>
                  </a:lnTo>
                  <a:lnTo>
                    <a:pt x="2930" y="4275"/>
                  </a:lnTo>
                  <a:cubicBezTo>
                    <a:pt x="2942" y="4287"/>
                    <a:pt x="2954" y="4299"/>
                    <a:pt x="2989" y="4323"/>
                  </a:cubicBezTo>
                  <a:lnTo>
                    <a:pt x="3001" y="4335"/>
                  </a:lnTo>
                  <a:lnTo>
                    <a:pt x="3049" y="4382"/>
                  </a:lnTo>
                  <a:lnTo>
                    <a:pt x="3061" y="4394"/>
                  </a:lnTo>
                  <a:cubicBezTo>
                    <a:pt x="3073" y="4406"/>
                    <a:pt x="3108" y="4418"/>
                    <a:pt x="3120" y="4442"/>
                  </a:cubicBezTo>
                  <a:lnTo>
                    <a:pt x="3132" y="4442"/>
                  </a:lnTo>
                  <a:cubicBezTo>
                    <a:pt x="3156" y="4454"/>
                    <a:pt x="3168" y="4466"/>
                    <a:pt x="3192" y="4478"/>
                  </a:cubicBezTo>
                  <a:lnTo>
                    <a:pt x="3215" y="4501"/>
                  </a:lnTo>
                  <a:lnTo>
                    <a:pt x="3227" y="4501"/>
                  </a:lnTo>
                  <a:cubicBezTo>
                    <a:pt x="3215" y="4501"/>
                    <a:pt x="3215" y="4513"/>
                    <a:pt x="3192" y="4513"/>
                  </a:cubicBezTo>
                  <a:cubicBezTo>
                    <a:pt x="3156" y="4537"/>
                    <a:pt x="3096" y="4573"/>
                    <a:pt x="3049" y="4597"/>
                  </a:cubicBezTo>
                  <a:cubicBezTo>
                    <a:pt x="3037" y="4597"/>
                    <a:pt x="3037" y="4621"/>
                    <a:pt x="3013" y="4621"/>
                  </a:cubicBezTo>
                  <a:cubicBezTo>
                    <a:pt x="2977" y="4585"/>
                    <a:pt x="2942" y="4561"/>
                    <a:pt x="2894" y="4525"/>
                  </a:cubicBezTo>
                  <a:lnTo>
                    <a:pt x="2858" y="4478"/>
                  </a:lnTo>
                  <a:lnTo>
                    <a:pt x="2811" y="4442"/>
                  </a:lnTo>
                  <a:lnTo>
                    <a:pt x="2799" y="4418"/>
                  </a:lnTo>
                  <a:lnTo>
                    <a:pt x="2763" y="4394"/>
                  </a:lnTo>
                  <a:lnTo>
                    <a:pt x="2751" y="4382"/>
                  </a:lnTo>
                  <a:cubicBezTo>
                    <a:pt x="2620" y="4347"/>
                    <a:pt x="2608" y="4335"/>
                    <a:pt x="2608" y="4335"/>
                  </a:cubicBezTo>
                  <a:lnTo>
                    <a:pt x="2584" y="4311"/>
                  </a:lnTo>
                  <a:lnTo>
                    <a:pt x="2561" y="4287"/>
                  </a:lnTo>
                  <a:lnTo>
                    <a:pt x="2537" y="4275"/>
                  </a:lnTo>
                  <a:lnTo>
                    <a:pt x="2513" y="4240"/>
                  </a:lnTo>
                  <a:lnTo>
                    <a:pt x="2501" y="4228"/>
                  </a:lnTo>
                  <a:cubicBezTo>
                    <a:pt x="2501" y="4216"/>
                    <a:pt x="2477" y="4216"/>
                    <a:pt x="2477" y="4192"/>
                  </a:cubicBezTo>
                  <a:lnTo>
                    <a:pt x="2465" y="4180"/>
                  </a:lnTo>
                  <a:cubicBezTo>
                    <a:pt x="2465" y="4168"/>
                    <a:pt x="2453" y="4168"/>
                    <a:pt x="2453" y="4156"/>
                  </a:cubicBezTo>
                  <a:lnTo>
                    <a:pt x="2442" y="4132"/>
                  </a:lnTo>
                  <a:cubicBezTo>
                    <a:pt x="2442" y="4120"/>
                    <a:pt x="2418" y="4120"/>
                    <a:pt x="2418" y="4109"/>
                  </a:cubicBezTo>
                  <a:lnTo>
                    <a:pt x="2406" y="4097"/>
                  </a:lnTo>
                  <a:cubicBezTo>
                    <a:pt x="2406" y="4073"/>
                    <a:pt x="2394" y="4073"/>
                    <a:pt x="2394" y="4061"/>
                  </a:cubicBezTo>
                  <a:lnTo>
                    <a:pt x="2382" y="4049"/>
                  </a:lnTo>
                  <a:cubicBezTo>
                    <a:pt x="2358" y="4037"/>
                    <a:pt x="2358" y="4013"/>
                    <a:pt x="2346" y="4001"/>
                  </a:cubicBezTo>
                  <a:lnTo>
                    <a:pt x="2346" y="3990"/>
                  </a:lnTo>
                  <a:cubicBezTo>
                    <a:pt x="2334" y="3978"/>
                    <a:pt x="2334" y="3954"/>
                    <a:pt x="2322" y="3942"/>
                  </a:cubicBezTo>
                  <a:lnTo>
                    <a:pt x="2299" y="3930"/>
                  </a:lnTo>
                  <a:cubicBezTo>
                    <a:pt x="2299" y="3918"/>
                    <a:pt x="2287" y="3894"/>
                    <a:pt x="2287" y="3894"/>
                  </a:cubicBezTo>
                  <a:lnTo>
                    <a:pt x="2275" y="3882"/>
                  </a:lnTo>
                  <a:cubicBezTo>
                    <a:pt x="2275" y="3870"/>
                    <a:pt x="2263" y="3870"/>
                    <a:pt x="2263" y="3859"/>
                  </a:cubicBezTo>
                  <a:lnTo>
                    <a:pt x="2239" y="3835"/>
                  </a:lnTo>
                  <a:cubicBezTo>
                    <a:pt x="2239" y="3823"/>
                    <a:pt x="2227" y="3823"/>
                    <a:pt x="2227" y="3811"/>
                  </a:cubicBezTo>
                  <a:lnTo>
                    <a:pt x="2215" y="3775"/>
                  </a:lnTo>
                  <a:cubicBezTo>
                    <a:pt x="2215" y="3763"/>
                    <a:pt x="2203" y="3763"/>
                    <a:pt x="2203" y="3751"/>
                  </a:cubicBezTo>
                  <a:cubicBezTo>
                    <a:pt x="2203" y="3739"/>
                    <a:pt x="2203" y="3739"/>
                    <a:pt x="2180" y="3716"/>
                  </a:cubicBezTo>
                  <a:cubicBezTo>
                    <a:pt x="2180" y="3704"/>
                    <a:pt x="2168" y="3704"/>
                    <a:pt x="2168" y="3692"/>
                  </a:cubicBezTo>
                  <a:cubicBezTo>
                    <a:pt x="2168" y="3692"/>
                    <a:pt x="2168" y="3680"/>
                    <a:pt x="2156" y="3680"/>
                  </a:cubicBezTo>
                  <a:cubicBezTo>
                    <a:pt x="2156" y="3656"/>
                    <a:pt x="2144" y="3656"/>
                    <a:pt x="2144" y="3644"/>
                  </a:cubicBezTo>
                  <a:cubicBezTo>
                    <a:pt x="2144" y="3632"/>
                    <a:pt x="2144" y="3632"/>
                    <a:pt x="2120" y="3620"/>
                  </a:cubicBezTo>
                  <a:cubicBezTo>
                    <a:pt x="2120" y="3597"/>
                    <a:pt x="2108" y="3597"/>
                    <a:pt x="2108" y="3585"/>
                  </a:cubicBezTo>
                  <a:lnTo>
                    <a:pt x="2096" y="3561"/>
                  </a:lnTo>
                  <a:cubicBezTo>
                    <a:pt x="2096" y="3537"/>
                    <a:pt x="2084" y="3537"/>
                    <a:pt x="2084" y="3525"/>
                  </a:cubicBezTo>
                  <a:lnTo>
                    <a:pt x="2061" y="3501"/>
                  </a:lnTo>
                  <a:cubicBezTo>
                    <a:pt x="2061" y="3478"/>
                    <a:pt x="2049" y="3466"/>
                    <a:pt x="2049" y="3454"/>
                  </a:cubicBezTo>
                  <a:lnTo>
                    <a:pt x="2049" y="3442"/>
                  </a:lnTo>
                  <a:cubicBezTo>
                    <a:pt x="2049" y="3418"/>
                    <a:pt x="2037" y="3394"/>
                    <a:pt x="2037" y="3382"/>
                  </a:cubicBezTo>
                  <a:lnTo>
                    <a:pt x="2037" y="3358"/>
                  </a:lnTo>
                  <a:cubicBezTo>
                    <a:pt x="2037" y="3347"/>
                    <a:pt x="2025" y="3335"/>
                    <a:pt x="2025" y="3323"/>
                  </a:cubicBezTo>
                  <a:lnTo>
                    <a:pt x="2025" y="3287"/>
                  </a:lnTo>
                  <a:cubicBezTo>
                    <a:pt x="2025" y="3275"/>
                    <a:pt x="2025" y="3263"/>
                    <a:pt x="2001" y="3239"/>
                  </a:cubicBezTo>
                  <a:lnTo>
                    <a:pt x="2001" y="3216"/>
                  </a:lnTo>
                  <a:lnTo>
                    <a:pt x="2001" y="3180"/>
                  </a:lnTo>
                  <a:lnTo>
                    <a:pt x="2001" y="3156"/>
                  </a:lnTo>
                  <a:lnTo>
                    <a:pt x="2001" y="3120"/>
                  </a:lnTo>
                  <a:lnTo>
                    <a:pt x="2001" y="3097"/>
                  </a:lnTo>
                  <a:lnTo>
                    <a:pt x="2001" y="3061"/>
                  </a:lnTo>
                  <a:lnTo>
                    <a:pt x="2001" y="3037"/>
                  </a:lnTo>
                  <a:lnTo>
                    <a:pt x="2001" y="3001"/>
                  </a:lnTo>
                  <a:lnTo>
                    <a:pt x="2001" y="2977"/>
                  </a:lnTo>
                  <a:lnTo>
                    <a:pt x="2001" y="2942"/>
                  </a:lnTo>
                  <a:lnTo>
                    <a:pt x="2001" y="2930"/>
                  </a:lnTo>
                  <a:lnTo>
                    <a:pt x="2001" y="2906"/>
                  </a:lnTo>
                  <a:lnTo>
                    <a:pt x="2001" y="2870"/>
                  </a:lnTo>
                  <a:lnTo>
                    <a:pt x="2001" y="2823"/>
                  </a:lnTo>
                  <a:lnTo>
                    <a:pt x="2001" y="2811"/>
                  </a:lnTo>
                  <a:lnTo>
                    <a:pt x="2001" y="2751"/>
                  </a:lnTo>
                  <a:cubicBezTo>
                    <a:pt x="2001" y="2525"/>
                    <a:pt x="2037" y="2323"/>
                    <a:pt x="2096" y="2108"/>
                  </a:cubicBezTo>
                  <a:cubicBezTo>
                    <a:pt x="2227" y="1620"/>
                    <a:pt x="2537" y="1192"/>
                    <a:pt x="2942" y="882"/>
                  </a:cubicBezTo>
                  <a:cubicBezTo>
                    <a:pt x="3346" y="584"/>
                    <a:pt x="3835" y="418"/>
                    <a:pt x="4347" y="418"/>
                  </a:cubicBezTo>
                  <a:close/>
                  <a:moveTo>
                    <a:pt x="4251" y="1"/>
                  </a:moveTo>
                  <a:cubicBezTo>
                    <a:pt x="3656" y="1"/>
                    <a:pt x="3096" y="191"/>
                    <a:pt x="2620" y="537"/>
                  </a:cubicBezTo>
                  <a:cubicBezTo>
                    <a:pt x="2144" y="894"/>
                    <a:pt x="1787" y="1406"/>
                    <a:pt x="1620" y="1977"/>
                  </a:cubicBezTo>
                  <a:cubicBezTo>
                    <a:pt x="1549" y="2215"/>
                    <a:pt x="1513" y="2477"/>
                    <a:pt x="1513" y="2727"/>
                  </a:cubicBezTo>
                  <a:lnTo>
                    <a:pt x="1513" y="2799"/>
                  </a:lnTo>
                  <a:lnTo>
                    <a:pt x="1513" y="2811"/>
                  </a:lnTo>
                  <a:lnTo>
                    <a:pt x="1513" y="2835"/>
                  </a:lnTo>
                  <a:lnTo>
                    <a:pt x="1513" y="2870"/>
                  </a:lnTo>
                  <a:lnTo>
                    <a:pt x="1513" y="2906"/>
                  </a:lnTo>
                  <a:lnTo>
                    <a:pt x="1513" y="2954"/>
                  </a:lnTo>
                  <a:lnTo>
                    <a:pt x="1513" y="2977"/>
                  </a:lnTo>
                  <a:lnTo>
                    <a:pt x="1513" y="3025"/>
                  </a:lnTo>
                  <a:lnTo>
                    <a:pt x="1513" y="3049"/>
                  </a:lnTo>
                  <a:lnTo>
                    <a:pt x="1513" y="3097"/>
                  </a:lnTo>
                  <a:lnTo>
                    <a:pt x="1513" y="3132"/>
                  </a:lnTo>
                  <a:lnTo>
                    <a:pt x="1513" y="3168"/>
                  </a:lnTo>
                  <a:lnTo>
                    <a:pt x="1513" y="3204"/>
                  </a:lnTo>
                  <a:lnTo>
                    <a:pt x="1513" y="3251"/>
                  </a:lnTo>
                  <a:lnTo>
                    <a:pt x="1513" y="3275"/>
                  </a:lnTo>
                  <a:cubicBezTo>
                    <a:pt x="1513" y="3287"/>
                    <a:pt x="1513" y="3311"/>
                    <a:pt x="1537" y="3323"/>
                  </a:cubicBezTo>
                  <a:lnTo>
                    <a:pt x="1537" y="3335"/>
                  </a:lnTo>
                  <a:lnTo>
                    <a:pt x="1537" y="3347"/>
                  </a:lnTo>
                  <a:cubicBezTo>
                    <a:pt x="1537" y="3370"/>
                    <a:pt x="1537" y="3382"/>
                    <a:pt x="1549" y="3394"/>
                  </a:cubicBezTo>
                  <a:lnTo>
                    <a:pt x="1549" y="3430"/>
                  </a:lnTo>
                  <a:cubicBezTo>
                    <a:pt x="1549" y="3442"/>
                    <a:pt x="1560" y="3454"/>
                    <a:pt x="1560" y="3489"/>
                  </a:cubicBezTo>
                  <a:lnTo>
                    <a:pt x="1560" y="3501"/>
                  </a:lnTo>
                  <a:cubicBezTo>
                    <a:pt x="1560" y="3525"/>
                    <a:pt x="1572" y="3549"/>
                    <a:pt x="1572" y="3573"/>
                  </a:cubicBezTo>
                  <a:lnTo>
                    <a:pt x="1572" y="3585"/>
                  </a:lnTo>
                  <a:cubicBezTo>
                    <a:pt x="1572" y="3609"/>
                    <a:pt x="1596" y="3620"/>
                    <a:pt x="1596" y="3632"/>
                  </a:cubicBezTo>
                  <a:lnTo>
                    <a:pt x="1596" y="3644"/>
                  </a:lnTo>
                  <a:lnTo>
                    <a:pt x="1596" y="3668"/>
                  </a:lnTo>
                  <a:cubicBezTo>
                    <a:pt x="1596" y="3680"/>
                    <a:pt x="1608" y="3692"/>
                    <a:pt x="1608" y="3704"/>
                  </a:cubicBezTo>
                  <a:lnTo>
                    <a:pt x="1608" y="3728"/>
                  </a:lnTo>
                  <a:lnTo>
                    <a:pt x="1608" y="3739"/>
                  </a:lnTo>
                  <a:cubicBezTo>
                    <a:pt x="1608" y="3751"/>
                    <a:pt x="1620" y="3763"/>
                    <a:pt x="1620" y="3787"/>
                  </a:cubicBezTo>
                  <a:cubicBezTo>
                    <a:pt x="1620" y="3799"/>
                    <a:pt x="1632" y="3799"/>
                    <a:pt x="1632" y="3811"/>
                  </a:cubicBezTo>
                  <a:cubicBezTo>
                    <a:pt x="1632" y="3823"/>
                    <a:pt x="1656" y="3847"/>
                    <a:pt x="1656" y="3847"/>
                  </a:cubicBezTo>
                  <a:cubicBezTo>
                    <a:pt x="1656" y="3859"/>
                    <a:pt x="1656" y="3859"/>
                    <a:pt x="1668" y="3870"/>
                  </a:cubicBezTo>
                  <a:cubicBezTo>
                    <a:pt x="1668" y="3882"/>
                    <a:pt x="1680" y="3906"/>
                    <a:pt x="1680" y="3906"/>
                  </a:cubicBezTo>
                  <a:cubicBezTo>
                    <a:pt x="1680" y="3918"/>
                    <a:pt x="1691" y="3918"/>
                    <a:pt x="1691" y="3930"/>
                  </a:cubicBezTo>
                  <a:cubicBezTo>
                    <a:pt x="1691" y="3942"/>
                    <a:pt x="1715" y="3966"/>
                    <a:pt x="1715" y="3966"/>
                  </a:cubicBezTo>
                  <a:lnTo>
                    <a:pt x="1727" y="3990"/>
                  </a:lnTo>
                  <a:cubicBezTo>
                    <a:pt x="1727" y="4001"/>
                    <a:pt x="1739" y="4025"/>
                    <a:pt x="1739" y="4025"/>
                  </a:cubicBezTo>
                  <a:cubicBezTo>
                    <a:pt x="1739" y="4025"/>
                    <a:pt x="1739" y="4037"/>
                    <a:pt x="1751" y="4037"/>
                  </a:cubicBezTo>
                  <a:cubicBezTo>
                    <a:pt x="1751" y="4049"/>
                    <a:pt x="1775" y="4061"/>
                    <a:pt x="1775" y="4061"/>
                  </a:cubicBezTo>
                  <a:cubicBezTo>
                    <a:pt x="1775" y="4061"/>
                    <a:pt x="1775" y="4085"/>
                    <a:pt x="1787" y="4085"/>
                  </a:cubicBezTo>
                  <a:cubicBezTo>
                    <a:pt x="1799" y="4097"/>
                    <a:pt x="1799" y="4109"/>
                    <a:pt x="1811" y="4120"/>
                  </a:cubicBezTo>
                  <a:lnTo>
                    <a:pt x="1834" y="4144"/>
                  </a:lnTo>
                  <a:cubicBezTo>
                    <a:pt x="1846" y="4156"/>
                    <a:pt x="1858" y="4180"/>
                    <a:pt x="1858" y="4204"/>
                  </a:cubicBezTo>
                  <a:lnTo>
                    <a:pt x="1858" y="4216"/>
                  </a:lnTo>
                  <a:cubicBezTo>
                    <a:pt x="1870" y="4228"/>
                    <a:pt x="1870" y="4240"/>
                    <a:pt x="1894" y="4263"/>
                  </a:cubicBezTo>
                  <a:lnTo>
                    <a:pt x="1906" y="4287"/>
                  </a:lnTo>
                  <a:cubicBezTo>
                    <a:pt x="1918" y="4299"/>
                    <a:pt x="1918" y="4323"/>
                    <a:pt x="1930" y="4323"/>
                  </a:cubicBezTo>
                  <a:lnTo>
                    <a:pt x="1953" y="4335"/>
                  </a:lnTo>
                  <a:cubicBezTo>
                    <a:pt x="1965" y="4347"/>
                    <a:pt x="1965" y="4359"/>
                    <a:pt x="1977" y="4359"/>
                  </a:cubicBezTo>
                  <a:cubicBezTo>
                    <a:pt x="1977" y="4382"/>
                    <a:pt x="1989" y="4382"/>
                    <a:pt x="1989" y="4394"/>
                  </a:cubicBezTo>
                  <a:lnTo>
                    <a:pt x="2025" y="4418"/>
                  </a:lnTo>
                  <a:lnTo>
                    <a:pt x="2037" y="4442"/>
                  </a:lnTo>
                  <a:lnTo>
                    <a:pt x="2072" y="4466"/>
                  </a:lnTo>
                  <a:cubicBezTo>
                    <a:pt x="2072" y="4478"/>
                    <a:pt x="2084" y="4478"/>
                    <a:pt x="2084" y="4501"/>
                  </a:cubicBezTo>
                  <a:lnTo>
                    <a:pt x="2108" y="4525"/>
                  </a:lnTo>
                  <a:cubicBezTo>
                    <a:pt x="2108" y="4537"/>
                    <a:pt x="2132" y="4537"/>
                    <a:pt x="2132" y="4537"/>
                  </a:cubicBezTo>
                  <a:lnTo>
                    <a:pt x="2156" y="4573"/>
                  </a:lnTo>
                  <a:lnTo>
                    <a:pt x="2168" y="4585"/>
                  </a:lnTo>
                  <a:lnTo>
                    <a:pt x="2203" y="4621"/>
                  </a:lnTo>
                  <a:lnTo>
                    <a:pt x="2215" y="4632"/>
                  </a:lnTo>
                  <a:lnTo>
                    <a:pt x="2251" y="4656"/>
                  </a:lnTo>
                  <a:lnTo>
                    <a:pt x="2263" y="4680"/>
                  </a:lnTo>
                  <a:lnTo>
                    <a:pt x="2311" y="4716"/>
                  </a:lnTo>
                  <a:lnTo>
                    <a:pt x="2346" y="4763"/>
                  </a:lnTo>
                  <a:cubicBezTo>
                    <a:pt x="2382" y="4775"/>
                    <a:pt x="2406" y="4811"/>
                    <a:pt x="2430" y="4823"/>
                  </a:cubicBezTo>
                  <a:lnTo>
                    <a:pt x="2406" y="4835"/>
                  </a:lnTo>
                  <a:cubicBezTo>
                    <a:pt x="2287" y="4811"/>
                    <a:pt x="2156" y="4811"/>
                    <a:pt x="2025" y="4811"/>
                  </a:cubicBezTo>
                  <a:cubicBezTo>
                    <a:pt x="906" y="4811"/>
                    <a:pt x="1" y="5716"/>
                    <a:pt x="1" y="6835"/>
                  </a:cubicBezTo>
                  <a:cubicBezTo>
                    <a:pt x="1" y="7954"/>
                    <a:pt x="906" y="8859"/>
                    <a:pt x="2025" y="8859"/>
                  </a:cubicBezTo>
                  <a:lnTo>
                    <a:pt x="8633" y="8859"/>
                  </a:lnTo>
                  <a:cubicBezTo>
                    <a:pt x="8740" y="8859"/>
                    <a:pt x="8823" y="8764"/>
                    <a:pt x="8823" y="8669"/>
                  </a:cubicBezTo>
                  <a:cubicBezTo>
                    <a:pt x="9002" y="8573"/>
                    <a:pt x="8919" y="8490"/>
                    <a:pt x="8811" y="8490"/>
                  </a:cubicBezTo>
                  <a:lnTo>
                    <a:pt x="2203" y="8490"/>
                  </a:lnTo>
                  <a:cubicBezTo>
                    <a:pt x="1299" y="8490"/>
                    <a:pt x="560" y="7752"/>
                    <a:pt x="560" y="6847"/>
                  </a:cubicBezTo>
                  <a:cubicBezTo>
                    <a:pt x="560" y="5942"/>
                    <a:pt x="1299" y="5216"/>
                    <a:pt x="2203" y="5216"/>
                  </a:cubicBezTo>
                  <a:cubicBezTo>
                    <a:pt x="2334" y="5216"/>
                    <a:pt x="2489" y="5228"/>
                    <a:pt x="2620" y="5275"/>
                  </a:cubicBezTo>
                  <a:cubicBezTo>
                    <a:pt x="2629" y="5277"/>
                    <a:pt x="2639" y="5278"/>
                    <a:pt x="2649" y="5278"/>
                  </a:cubicBezTo>
                  <a:cubicBezTo>
                    <a:pt x="2715" y="5278"/>
                    <a:pt x="2791" y="5244"/>
                    <a:pt x="2823" y="5192"/>
                  </a:cubicBezTo>
                  <a:cubicBezTo>
                    <a:pt x="2882" y="5109"/>
                    <a:pt x="2954" y="5037"/>
                    <a:pt x="3037" y="4978"/>
                  </a:cubicBezTo>
                  <a:cubicBezTo>
                    <a:pt x="3049" y="4954"/>
                    <a:pt x="3061" y="4942"/>
                    <a:pt x="3096" y="4930"/>
                  </a:cubicBezTo>
                  <a:lnTo>
                    <a:pt x="3108" y="4930"/>
                  </a:lnTo>
                  <a:cubicBezTo>
                    <a:pt x="3120" y="4918"/>
                    <a:pt x="3132" y="4894"/>
                    <a:pt x="3168" y="4882"/>
                  </a:cubicBezTo>
                  <a:cubicBezTo>
                    <a:pt x="3215" y="4859"/>
                    <a:pt x="3251" y="4823"/>
                    <a:pt x="3299" y="4811"/>
                  </a:cubicBezTo>
                  <a:cubicBezTo>
                    <a:pt x="3311" y="4799"/>
                    <a:pt x="3346" y="4799"/>
                    <a:pt x="3358" y="4775"/>
                  </a:cubicBezTo>
                  <a:cubicBezTo>
                    <a:pt x="3406" y="4763"/>
                    <a:pt x="3454" y="4740"/>
                    <a:pt x="3489" y="4716"/>
                  </a:cubicBezTo>
                  <a:cubicBezTo>
                    <a:pt x="3513" y="4716"/>
                    <a:pt x="3537" y="4704"/>
                    <a:pt x="3549" y="4704"/>
                  </a:cubicBezTo>
                  <a:lnTo>
                    <a:pt x="3573" y="4704"/>
                  </a:lnTo>
                  <a:cubicBezTo>
                    <a:pt x="3585" y="4704"/>
                    <a:pt x="3608" y="4692"/>
                    <a:pt x="3632" y="4692"/>
                  </a:cubicBezTo>
                  <a:lnTo>
                    <a:pt x="3930" y="4692"/>
                  </a:lnTo>
                  <a:cubicBezTo>
                    <a:pt x="3989" y="4692"/>
                    <a:pt x="4025" y="4704"/>
                    <a:pt x="4085" y="4704"/>
                  </a:cubicBezTo>
                  <a:cubicBezTo>
                    <a:pt x="4120" y="4704"/>
                    <a:pt x="4132" y="4716"/>
                    <a:pt x="4168" y="4716"/>
                  </a:cubicBezTo>
                  <a:lnTo>
                    <a:pt x="4180" y="4716"/>
                  </a:lnTo>
                  <a:cubicBezTo>
                    <a:pt x="4204" y="4716"/>
                    <a:pt x="4227" y="4740"/>
                    <a:pt x="4251" y="4740"/>
                  </a:cubicBezTo>
                  <a:lnTo>
                    <a:pt x="4394" y="4740"/>
                  </a:lnTo>
                  <a:cubicBezTo>
                    <a:pt x="4394" y="4740"/>
                    <a:pt x="4406" y="4740"/>
                    <a:pt x="4406" y="4716"/>
                  </a:cubicBezTo>
                  <a:lnTo>
                    <a:pt x="4454" y="4680"/>
                  </a:lnTo>
                  <a:cubicBezTo>
                    <a:pt x="4478" y="4644"/>
                    <a:pt x="4489" y="4621"/>
                    <a:pt x="4489" y="4585"/>
                  </a:cubicBezTo>
                  <a:cubicBezTo>
                    <a:pt x="4489" y="4561"/>
                    <a:pt x="4513" y="4525"/>
                    <a:pt x="4513" y="4513"/>
                  </a:cubicBezTo>
                  <a:cubicBezTo>
                    <a:pt x="4513" y="4501"/>
                    <a:pt x="4525" y="4478"/>
                    <a:pt x="4525" y="4466"/>
                  </a:cubicBezTo>
                  <a:cubicBezTo>
                    <a:pt x="4525" y="4454"/>
                    <a:pt x="4525" y="4442"/>
                    <a:pt x="4537" y="4418"/>
                  </a:cubicBezTo>
                  <a:cubicBezTo>
                    <a:pt x="4537" y="4406"/>
                    <a:pt x="4549" y="4382"/>
                    <a:pt x="4549" y="4359"/>
                  </a:cubicBezTo>
                  <a:lnTo>
                    <a:pt x="4549" y="4347"/>
                  </a:lnTo>
                  <a:cubicBezTo>
                    <a:pt x="4811" y="3609"/>
                    <a:pt x="5442" y="3049"/>
                    <a:pt x="6216" y="2894"/>
                  </a:cubicBezTo>
                  <a:lnTo>
                    <a:pt x="6240" y="2894"/>
                  </a:lnTo>
                  <a:cubicBezTo>
                    <a:pt x="6371" y="2858"/>
                    <a:pt x="6513" y="2847"/>
                    <a:pt x="6668" y="2847"/>
                  </a:cubicBezTo>
                  <a:lnTo>
                    <a:pt x="6799" y="2847"/>
                  </a:lnTo>
                  <a:cubicBezTo>
                    <a:pt x="7228" y="2870"/>
                    <a:pt x="7633" y="3013"/>
                    <a:pt x="7978" y="3263"/>
                  </a:cubicBezTo>
                  <a:cubicBezTo>
                    <a:pt x="8012" y="3287"/>
                    <a:pt x="8051" y="3300"/>
                    <a:pt x="8090" y="3300"/>
                  </a:cubicBezTo>
                  <a:cubicBezTo>
                    <a:pt x="8148" y="3300"/>
                    <a:pt x="8204" y="3272"/>
                    <a:pt x="8240" y="3216"/>
                  </a:cubicBezTo>
                  <a:cubicBezTo>
                    <a:pt x="8299" y="3132"/>
                    <a:pt x="8288" y="3013"/>
                    <a:pt x="8204" y="2954"/>
                  </a:cubicBezTo>
                  <a:cubicBezTo>
                    <a:pt x="7847" y="2680"/>
                    <a:pt x="7430" y="2513"/>
                    <a:pt x="6978" y="2477"/>
                  </a:cubicBezTo>
                  <a:cubicBezTo>
                    <a:pt x="6966" y="2311"/>
                    <a:pt x="6930" y="2132"/>
                    <a:pt x="6894" y="1977"/>
                  </a:cubicBezTo>
                  <a:cubicBezTo>
                    <a:pt x="6728" y="1418"/>
                    <a:pt x="6371" y="894"/>
                    <a:pt x="5894" y="537"/>
                  </a:cubicBezTo>
                  <a:cubicBezTo>
                    <a:pt x="5418" y="180"/>
                    <a:pt x="4847" y="1"/>
                    <a:pt x="4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2" name="Google Shape;10022;p58"/>
            <p:cNvSpPr/>
            <p:nvPr/>
          </p:nvSpPr>
          <p:spPr>
            <a:xfrm>
              <a:off x="1670026" y="3377672"/>
              <a:ext cx="104760" cy="175256"/>
            </a:xfrm>
            <a:custGeom>
              <a:avLst/>
              <a:gdLst/>
              <a:ahLst/>
              <a:cxnLst/>
              <a:rect l="l" t="t" r="r" b="b"/>
              <a:pathLst>
                <a:path w="3299" h="5519" extrusionOk="0">
                  <a:moveTo>
                    <a:pt x="210" y="0"/>
                  </a:moveTo>
                  <a:cubicBezTo>
                    <a:pt x="169" y="0"/>
                    <a:pt x="128" y="15"/>
                    <a:pt x="96" y="41"/>
                  </a:cubicBezTo>
                  <a:cubicBezTo>
                    <a:pt x="1" y="113"/>
                    <a:pt x="1" y="232"/>
                    <a:pt x="60" y="303"/>
                  </a:cubicBezTo>
                  <a:cubicBezTo>
                    <a:pt x="394" y="708"/>
                    <a:pt x="572" y="1196"/>
                    <a:pt x="572" y="1720"/>
                  </a:cubicBezTo>
                  <a:lnTo>
                    <a:pt x="572" y="1780"/>
                  </a:lnTo>
                  <a:lnTo>
                    <a:pt x="572" y="1791"/>
                  </a:lnTo>
                  <a:cubicBezTo>
                    <a:pt x="572" y="1851"/>
                    <a:pt x="596" y="1910"/>
                    <a:pt x="644" y="1958"/>
                  </a:cubicBezTo>
                  <a:cubicBezTo>
                    <a:pt x="676" y="1990"/>
                    <a:pt x="718" y="2000"/>
                    <a:pt x="760" y="2000"/>
                  </a:cubicBezTo>
                  <a:cubicBezTo>
                    <a:pt x="781" y="2000"/>
                    <a:pt x="803" y="1998"/>
                    <a:pt x="822" y="1994"/>
                  </a:cubicBezTo>
                  <a:cubicBezTo>
                    <a:pt x="977" y="1946"/>
                    <a:pt x="1132" y="1922"/>
                    <a:pt x="1299" y="1922"/>
                  </a:cubicBezTo>
                  <a:cubicBezTo>
                    <a:pt x="2192" y="1922"/>
                    <a:pt x="2906" y="2649"/>
                    <a:pt x="2906" y="3530"/>
                  </a:cubicBezTo>
                  <a:cubicBezTo>
                    <a:pt x="2906" y="4423"/>
                    <a:pt x="2180" y="5125"/>
                    <a:pt x="1299" y="5125"/>
                  </a:cubicBezTo>
                  <a:lnTo>
                    <a:pt x="1168" y="5125"/>
                  </a:lnTo>
                  <a:cubicBezTo>
                    <a:pt x="1061" y="5125"/>
                    <a:pt x="977" y="5220"/>
                    <a:pt x="977" y="5328"/>
                  </a:cubicBezTo>
                  <a:cubicBezTo>
                    <a:pt x="977" y="5423"/>
                    <a:pt x="1061" y="5518"/>
                    <a:pt x="1168" y="5518"/>
                  </a:cubicBezTo>
                  <a:lnTo>
                    <a:pt x="1299" y="5518"/>
                  </a:lnTo>
                  <a:cubicBezTo>
                    <a:pt x="2394" y="5518"/>
                    <a:pt x="3287" y="4625"/>
                    <a:pt x="3287" y="3518"/>
                  </a:cubicBezTo>
                  <a:cubicBezTo>
                    <a:pt x="3299" y="2422"/>
                    <a:pt x="2406" y="1529"/>
                    <a:pt x="1299" y="1529"/>
                  </a:cubicBezTo>
                  <a:cubicBezTo>
                    <a:pt x="1180" y="1529"/>
                    <a:pt x="1061" y="1541"/>
                    <a:pt x="942" y="1565"/>
                  </a:cubicBezTo>
                  <a:cubicBezTo>
                    <a:pt x="918" y="1029"/>
                    <a:pt x="703" y="494"/>
                    <a:pt x="358" y="77"/>
                  </a:cubicBezTo>
                  <a:cubicBezTo>
                    <a:pt x="318" y="24"/>
                    <a:pt x="263" y="0"/>
                    <a:pt x="2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23" name="Google Shape;10023;p58"/>
          <p:cNvGrpSpPr/>
          <p:nvPr/>
        </p:nvGrpSpPr>
        <p:grpSpPr>
          <a:xfrm>
            <a:off x="1954741" y="3212419"/>
            <a:ext cx="366389" cy="354481"/>
            <a:chOff x="1954741" y="3212419"/>
            <a:chExt cx="366389" cy="354481"/>
          </a:xfrm>
        </p:grpSpPr>
        <p:sp>
          <p:nvSpPr>
            <p:cNvPr id="10024" name="Google Shape;10024;p58"/>
            <p:cNvSpPr/>
            <p:nvPr/>
          </p:nvSpPr>
          <p:spPr>
            <a:xfrm>
              <a:off x="1964204" y="3212419"/>
              <a:ext cx="356926" cy="354481"/>
            </a:xfrm>
            <a:custGeom>
              <a:avLst/>
              <a:gdLst/>
              <a:ahLst/>
              <a:cxnLst/>
              <a:rect l="l" t="t" r="r" b="b"/>
              <a:pathLst>
                <a:path w="11240" h="11163" extrusionOk="0">
                  <a:moveTo>
                    <a:pt x="3618" y="1"/>
                  </a:moveTo>
                  <a:cubicBezTo>
                    <a:pt x="3546" y="1"/>
                    <a:pt x="3474" y="18"/>
                    <a:pt x="3405" y="54"/>
                  </a:cubicBezTo>
                  <a:cubicBezTo>
                    <a:pt x="2405" y="507"/>
                    <a:pt x="1560" y="1245"/>
                    <a:pt x="953" y="2161"/>
                  </a:cubicBezTo>
                  <a:cubicBezTo>
                    <a:pt x="321" y="3114"/>
                    <a:pt x="0" y="4221"/>
                    <a:pt x="0" y="5352"/>
                  </a:cubicBezTo>
                  <a:cubicBezTo>
                    <a:pt x="0" y="8567"/>
                    <a:pt x="2619" y="11163"/>
                    <a:pt x="5822" y="11163"/>
                  </a:cubicBezTo>
                  <a:cubicBezTo>
                    <a:pt x="6953" y="11163"/>
                    <a:pt x="8061" y="10841"/>
                    <a:pt x="9001" y="10222"/>
                  </a:cubicBezTo>
                  <a:cubicBezTo>
                    <a:pt x="9930" y="9603"/>
                    <a:pt x="10656" y="8758"/>
                    <a:pt x="11120" y="7757"/>
                  </a:cubicBezTo>
                  <a:cubicBezTo>
                    <a:pt x="11240" y="7567"/>
                    <a:pt x="11180" y="7317"/>
                    <a:pt x="11001" y="7186"/>
                  </a:cubicBezTo>
                  <a:cubicBezTo>
                    <a:pt x="10912" y="7109"/>
                    <a:pt x="10802" y="7070"/>
                    <a:pt x="10692" y="7070"/>
                  </a:cubicBezTo>
                  <a:cubicBezTo>
                    <a:pt x="10582" y="7070"/>
                    <a:pt x="10472" y="7109"/>
                    <a:pt x="10382" y="7186"/>
                  </a:cubicBezTo>
                  <a:cubicBezTo>
                    <a:pt x="9585" y="7793"/>
                    <a:pt x="8632" y="8115"/>
                    <a:pt x="7632" y="8115"/>
                  </a:cubicBezTo>
                  <a:cubicBezTo>
                    <a:pt x="7370" y="8115"/>
                    <a:pt x="7084" y="8091"/>
                    <a:pt x="6810" y="8043"/>
                  </a:cubicBezTo>
                  <a:cubicBezTo>
                    <a:pt x="6802" y="8042"/>
                    <a:pt x="6794" y="8042"/>
                    <a:pt x="6786" y="8042"/>
                  </a:cubicBezTo>
                  <a:cubicBezTo>
                    <a:pt x="6698" y="8042"/>
                    <a:pt x="6607" y="8101"/>
                    <a:pt x="6596" y="8210"/>
                  </a:cubicBezTo>
                  <a:cubicBezTo>
                    <a:pt x="6572" y="8317"/>
                    <a:pt x="6632" y="8412"/>
                    <a:pt x="6751" y="8436"/>
                  </a:cubicBezTo>
                  <a:cubicBezTo>
                    <a:pt x="7049" y="8484"/>
                    <a:pt x="7346" y="8508"/>
                    <a:pt x="7632" y="8508"/>
                  </a:cubicBezTo>
                  <a:cubicBezTo>
                    <a:pt x="8715" y="8508"/>
                    <a:pt x="9763" y="8150"/>
                    <a:pt x="10620" y="7495"/>
                  </a:cubicBezTo>
                  <a:cubicBezTo>
                    <a:pt x="10644" y="7478"/>
                    <a:pt x="10668" y="7469"/>
                    <a:pt x="10689" y="7469"/>
                  </a:cubicBezTo>
                  <a:cubicBezTo>
                    <a:pt x="10710" y="7469"/>
                    <a:pt x="10728" y="7478"/>
                    <a:pt x="10739" y="7495"/>
                  </a:cubicBezTo>
                  <a:cubicBezTo>
                    <a:pt x="10775" y="7519"/>
                    <a:pt x="10787" y="7567"/>
                    <a:pt x="10775" y="7615"/>
                  </a:cubicBezTo>
                  <a:cubicBezTo>
                    <a:pt x="10347" y="8543"/>
                    <a:pt x="9668" y="9341"/>
                    <a:pt x="8811" y="9901"/>
                  </a:cubicBezTo>
                  <a:cubicBezTo>
                    <a:pt x="7930" y="10484"/>
                    <a:pt x="6906" y="10782"/>
                    <a:pt x="5834" y="10782"/>
                  </a:cubicBezTo>
                  <a:cubicBezTo>
                    <a:pt x="2846" y="10782"/>
                    <a:pt x="405" y="8341"/>
                    <a:pt x="405" y="5352"/>
                  </a:cubicBezTo>
                  <a:cubicBezTo>
                    <a:pt x="405" y="4293"/>
                    <a:pt x="714" y="3269"/>
                    <a:pt x="1274" y="2376"/>
                  </a:cubicBezTo>
                  <a:cubicBezTo>
                    <a:pt x="1845" y="1507"/>
                    <a:pt x="2631" y="828"/>
                    <a:pt x="3572" y="411"/>
                  </a:cubicBezTo>
                  <a:cubicBezTo>
                    <a:pt x="3592" y="401"/>
                    <a:pt x="3609" y="396"/>
                    <a:pt x="3626" y="396"/>
                  </a:cubicBezTo>
                  <a:cubicBezTo>
                    <a:pt x="3649" y="396"/>
                    <a:pt x="3670" y="407"/>
                    <a:pt x="3691" y="435"/>
                  </a:cubicBezTo>
                  <a:cubicBezTo>
                    <a:pt x="3715" y="471"/>
                    <a:pt x="3715" y="530"/>
                    <a:pt x="3691" y="554"/>
                  </a:cubicBezTo>
                  <a:cubicBezTo>
                    <a:pt x="3036" y="1423"/>
                    <a:pt x="2679" y="2459"/>
                    <a:pt x="2679" y="3543"/>
                  </a:cubicBezTo>
                  <a:cubicBezTo>
                    <a:pt x="2679" y="4602"/>
                    <a:pt x="3000" y="5614"/>
                    <a:pt x="3631" y="6460"/>
                  </a:cubicBezTo>
                  <a:cubicBezTo>
                    <a:pt x="4239" y="7293"/>
                    <a:pt x="5084" y="7912"/>
                    <a:pt x="6060" y="8234"/>
                  </a:cubicBezTo>
                  <a:cubicBezTo>
                    <a:pt x="6081" y="8242"/>
                    <a:pt x="6103" y="8245"/>
                    <a:pt x="6124" y="8245"/>
                  </a:cubicBezTo>
                  <a:cubicBezTo>
                    <a:pt x="6200" y="8245"/>
                    <a:pt x="6273" y="8198"/>
                    <a:pt x="6310" y="8115"/>
                  </a:cubicBezTo>
                  <a:cubicBezTo>
                    <a:pt x="6334" y="8007"/>
                    <a:pt x="6287" y="7912"/>
                    <a:pt x="6191" y="7865"/>
                  </a:cubicBezTo>
                  <a:cubicBezTo>
                    <a:pt x="4322" y="7257"/>
                    <a:pt x="3060" y="5507"/>
                    <a:pt x="3060" y="3543"/>
                  </a:cubicBezTo>
                  <a:cubicBezTo>
                    <a:pt x="3060" y="2531"/>
                    <a:pt x="3393" y="1578"/>
                    <a:pt x="4001" y="792"/>
                  </a:cubicBezTo>
                  <a:cubicBezTo>
                    <a:pt x="4131" y="614"/>
                    <a:pt x="4131" y="364"/>
                    <a:pt x="4001" y="185"/>
                  </a:cubicBezTo>
                  <a:cubicBezTo>
                    <a:pt x="3898" y="67"/>
                    <a:pt x="3759" y="1"/>
                    <a:pt x="36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5" name="Google Shape;10025;p58"/>
            <p:cNvSpPr/>
            <p:nvPr/>
          </p:nvSpPr>
          <p:spPr>
            <a:xfrm>
              <a:off x="2127520" y="3279898"/>
              <a:ext cx="77546" cy="77546"/>
            </a:xfrm>
            <a:custGeom>
              <a:avLst/>
              <a:gdLst/>
              <a:ahLst/>
              <a:cxnLst/>
              <a:rect l="l" t="t" r="r" b="b"/>
              <a:pathLst>
                <a:path w="2442" h="2442" extrusionOk="0">
                  <a:moveTo>
                    <a:pt x="1239" y="846"/>
                  </a:moveTo>
                  <a:cubicBezTo>
                    <a:pt x="1334" y="989"/>
                    <a:pt x="1465" y="1108"/>
                    <a:pt x="1608" y="1215"/>
                  </a:cubicBezTo>
                  <a:cubicBezTo>
                    <a:pt x="1465" y="1310"/>
                    <a:pt x="1346" y="1441"/>
                    <a:pt x="1239" y="1584"/>
                  </a:cubicBezTo>
                  <a:cubicBezTo>
                    <a:pt x="1155" y="1441"/>
                    <a:pt x="1013" y="1322"/>
                    <a:pt x="870" y="1215"/>
                  </a:cubicBezTo>
                  <a:cubicBezTo>
                    <a:pt x="1013" y="1108"/>
                    <a:pt x="1155" y="989"/>
                    <a:pt x="1239" y="846"/>
                  </a:cubicBezTo>
                  <a:close/>
                  <a:moveTo>
                    <a:pt x="1227" y="1"/>
                  </a:moveTo>
                  <a:cubicBezTo>
                    <a:pt x="1120" y="1"/>
                    <a:pt x="1036" y="84"/>
                    <a:pt x="1036" y="191"/>
                  </a:cubicBezTo>
                  <a:cubicBezTo>
                    <a:pt x="1036" y="656"/>
                    <a:pt x="655" y="1025"/>
                    <a:pt x="203" y="1025"/>
                  </a:cubicBezTo>
                  <a:cubicBezTo>
                    <a:pt x="96" y="1025"/>
                    <a:pt x="1" y="1108"/>
                    <a:pt x="1" y="1215"/>
                  </a:cubicBezTo>
                  <a:cubicBezTo>
                    <a:pt x="1" y="1322"/>
                    <a:pt x="96" y="1406"/>
                    <a:pt x="203" y="1406"/>
                  </a:cubicBezTo>
                  <a:cubicBezTo>
                    <a:pt x="655" y="1406"/>
                    <a:pt x="1036" y="1787"/>
                    <a:pt x="1036" y="2239"/>
                  </a:cubicBezTo>
                  <a:cubicBezTo>
                    <a:pt x="1036" y="2346"/>
                    <a:pt x="1120" y="2442"/>
                    <a:pt x="1227" y="2442"/>
                  </a:cubicBezTo>
                  <a:cubicBezTo>
                    <a:pt x="1334" y="2442"/>
                    <a:pt x="1417" y="2346"/>
                    <a:pt x="1417" y="2239"/>
                  </a:cubicBezTo>
                  <a:cubicBezTo>
                    <a:pt x="1417" y="1787"/>
                    <a:pt x="1786" y="1406"/>
                    <a:pt x="2251" y="1406"/>
                  </a:cubicBezTo>
                  <a:cubicBezTo>
                    <a:pt x="2358" y="1406"/>
                    <a:pt x="2441" y="1322"/>
                    <a:pt x="2441" y="1215"/>
                  </a:cubicBezTo>
                  <a:cubicBezTo>
                    <a:pt x="2441" y="1108"/>
                    <a:pt x="2358" y="1025"/>
                    <a:pt x="2251" y="1025"/>
                  </a:cubicBezTo>
                  <a:cubicBezTo>
                    <a:pt x="1786" y="1025"/>
                    <a:pt x="1417" y="656"/>
                    <a:pt x="1417" y="191"/>
                  </a:cubicBezTo>
                  <a:cubicBezTo>
                    <a:pt x="1417" y="84"/>
                    <a:pt x="133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6" name="Google Shape;10026;p58"/>
            <p:cNvSpPr/>
            <p:nvPr/>
          </p:nvSpPr>
          <p:spPr>
            <a:xfrm>
              <a:off x="2202747" y="3365732"/>
              <a:ext cx="38995" cy="38963"/>
            </a:xfrm>
            <a:custGeom>
              <a:avLst/>
              <a:gdLst/>
              <a:ahLst/>
              <a:cxnLst/>
              <a:rect l="l" t="t" r="r" b="b"/>
              <a:pathLst>
                <a:path w="1228" h="1227" extrusionOk="0">
                  <a:moveTo>
                    <a:pt x="608" y="405"/>
                  </a:moveTo>
                  <a:cubicBezTo>
                    <a:pt x="727" y="405"/>
                    <a:pt x="834" y="512"/>
                    <a:pt x="834" y="632"/>
                  </a:cubicBezTo>
                  <a:cubicBezTo>
                    <a:pt x="834" y="739"/>
                    <a:pt x="727" y="846"/>
                    <a:pt x="608" y="846"/>
                  </a:cubicBezTo>
                  <a:cubicBezTo>
                    <a:pt x="489" y="846"/>
                    <a:pt x="394" y="739"/>
                    <a:pt x="394" y="632"/>
                  </a:cubicBezTo>
                  <a:cubicBezTo>
                    <a:pt x="394" y="489"/>
                    <a:pt x="489" y="405"/>
                    <a:pt x="608" y="405"/>
                  </a:cubicBezTo>
                  <a:close/>
                  <a:moveTo>
                    <a:pt x="608" y="0"/>
                  </a:moveTo>
                  <a:cubicBezTo>
                    <a:pt x="275" y="0"/>
                    <a:pt x="1" y="262"/>
                    <a:pt x="1" y="608"/>
                  </a:cubicBezTo>
                  <a:cubicBezTo>
                    <a:pt x="1" y="953"/>
                    <a:pt x="275" y="1227"/>
                    <a:pt x="608" y="1227"/>
                  </a:cubicBezTo>
                  <a:cubicBezTo>
                    <a:pt x="953" y="1227"/>
                    <a:pt x="1227" y="953"/>
                    <a:pt x="1227" y="608"/>
                  </a:cubicBezTo>
                  <a:cubicBezTo>
                    <a:pt x="1227" y="274"/>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7" name="Google Shape;10027;p58"/>
            <p:cNvSpPr/>
            <p:nvPr/>
          </p:nvSpPr>
          <p:spPr>
            <a:xfrm>
              <a:off x="1964553" y="3518473"/>
              <a:ext cx="38995" cy="38614"/>
            </a:xfrm>
            <a:custGeom>
              <a:avLst/>
              <a:gdLst/>
              <a:ahLst/>
              <a:cxnLst/>
              <a:rect l="l" t="t" r="r" b="b"/>
              <a:pathLst>
                <a:path w="1228" h="1216" extrusionOk="0">
                  <a:moveTo>
                    <a:pt x="608" y="382"/>
                  </a:moveTo>
                  <a:cubicBezTo>
                    <a:pt x="727" y="382"/>
                    <a:pt x="834" y="489"/>
                    <a:pt x="834" y="608"/>
                  </a:cubicBezTo>
                  <a:cubicBezTo>
                    <a:pt x="822" y="727"/>
                    <a:pt x="727" y="834"/>
                    <a:pt x="608" y="834"/>
                  </a:cubicBezTo>
                  <a:cubicBezTo>
                    <a:pt x="489" y="834"/>
                    <a:pt x="394" y="727"/>
                    <a:pt x="394" y="608"/>
                  </a:cubicBezTo>
                  <a:cubicBezTo>
                    <a:pt x="394" y="489"/>
                    <a:pt x="489" y="382"/>
                    <a:pt x="608" y="382"/>
                  </a:cubicBezTo>
                  <a:close/>
                  <a:moveTo>
                    <a:pt x="608" y="1"/>
                  </a:moveTo>
                  <a:cubicBezTo>
                    <a:pt x="275" y="1"/>
                    <a:pt x="1" y="263"/>
                    <a:pt x="1" y="608"/>
                  </a:cubicBezTo>
                  <a:cubicBezTo>
                    <a:pt x="1" y="953"/>
                    <a:pt x="275" y="1215"/>
                    <a:pt x="608" y="1215"/>
                  </a:cubicBezTo>
                  <a:cubicBezTo>
                    <a:pt x="953" y="1215"/>
                    <a:pt x="1227" y="953"/>
                    <a:pt x="1227" y="608"/>
                  </a:cubicBezTo>
                  <a:cubicBezTo>
                    <a:pt x="1227" y="263"/>
                    <a:pt x="942"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8" name="Google Shape;10028;p58"/>
            <p:cNvSpPr/>
            <p:nvPr/>
          </p:nvSpPr>
          <p:spPr>
            <a:xfrm>
              <a:off x="2158894" y="3385007"/>
              <a:ext cx="15909" cy="16290"/>
            </a:xfrm>
            <a:custGeom>
              <a:avLst/>
              <a:gdLst/>
              <a:ahLst/>
              <a:cxnLst/>
              <a:rect l="l" t="t" r="r" b="b"/>
              <a:pathLst>
                <a:path w="501" h="513" extrusionOk="0">
                  <a:moveTo>
                    <a:pt x="251" y="1"/>
                  </a:moveTo>
                  <a:cubicBezTo>
                    <a:pt x="108" y="1"/>
                    <a:pt x="1" y="120"/>
                    <a:pt x="1" y="263"/>
                  </a:cubicBezTo>
                  <a:cubicBezTo>
                    <a:pt x="1" y="394"/>
                    <a:pt x="108" y="513"/>
                    <a:pt x="251" y="513"/>
                  </a:cubicBezTo>
                  <a:cubicBezTo>
                    <a:pt x="394" y="513"/>
                    <a:pt x="501" y="394"/>
                    <a:pt x="501" y="263"/>
                  </a:cubicBezTo>
                  <a:cubicBezTo>
                    <a:pt x="501" y="120"/>
                    <a:pt x="394" y="1"/>
                    <a:pt x="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9" name="Google Shape;10029;p58"/>
            <p:cNvSpPr/>
            <p:nvPr/>
          </p:nvSpPr>
          <p:spPr>
            <a:xfrm>
              <a:off x="1954741" y="3478779"/>
              <a:ext cx="15909" cy="15909"/>
            </a:xfrm>
            <a:custGeom>
              <a:avLst/>
              <a:gdLst/>
              <a:ahLst/>
              <a:cxnLst/>
              <a:rect l="l" t="t" r="r" b="b"/>
              <a:pathLst>
                <a:path w="501" h="501" extrusionOk="0">
                  <a:moveTo>
                    <a:pt x="250" y="0"/>
                  </a:moveTo>
                  <a:cubicBezTo>
                    <a:pt x="108" y="0"/>
                    <a:pt x="0" y="108"/>
                    <a:pt x="0" y="250"/>
                  </a:cubicBezTo>
                  <a:cubicBezTo>
                    <a:pt x="0" y="393"/>
                    <a:pt x="108" y="501"/>
                    <a:pt x="250" y="501"/>
                  </a:cubicBezTo>
                  <a:cubicBezTo>
                    <a:pt x="393" y="501"/>
                    <a:pt x="500" y="393"/>
                    <a:pt x="500" y="250"/>
                  </a:cubicBezTo>
                  <a:cubicBezTo>
                    <a:pt x="500" y="108"/>
                    <a:pt x="393"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0" name="Google Shape;10030;p58"/>
            <p:cNvSpPr/>
            <p:nvPr/>
          </p:nvSpPr>
          <p:spPr>
            <a:xfrm>
              <a:off x="2208813" y="3264020"/>
              <a:ext cx="16290" cy="16290"/>
            </a:xfrm>
            <a:custGeom>
              <a:avLst/>
              <a:gdLst/>
              <a:ahLst/>
              <a:cxnLst/>
              <a:rect l="l" t="t" r="r" b="b"/>
              <a:pathLst>
                <a:path w="513" h="513" extrusionOk="0">
                  <a:moveTo>
                    <a:pt x="250" y="1"/>
                  </a:moveTo>
                  <a:cubicBezTo>
                    <a:pt x="119" y="1"/>
                    <a:pt x="0" y="120"/>
                    <a:pt x="0" y="263"/>
                  </a:cubicBezTo>
                  <a:cubicBezTo>
                    <a:pt x="0" y="394"/>
                    <a:pt x="119" y="513"/>
                    <a:pt x="250" y="513"/>
                  </a:cubicBezTo>
                  <a:cubicBezTo>
                    <a:pt x="393" y="513"/>
                    <a:pt x="512" y="394"/>
                    <a:pt x="512" y="263"/>
                  </a:cubicBezTo>
                  <a:cubicBezTo>
                    <a:pt x="512" y="120"/>
                    <a:pt x="393" y="1"/>
                    <a:pt x="2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1" name="Google Shape;10031;p58"/>
          <p:cNvGrpSpPr/>
          <p:nvPr/>
        </p:nvGrpSpPr>
        <p:grpSpPr>
          <a:xfrm>
            <a:off x="3043239" y="3215626"/>
            <a:ext cx="366008" cy="348670"/>
            <a:chOff x="3043239" y="3215626"/>
            <a:chExt cx="366008" cy="348670"/>
          </a:xfrm>
        </p:grpSpPr>
        <p:sp>
          <p:nvSpPr>
            <p:cNvPr id="10032" name="Google Shape;10032;p58"/>
            <p:cNvSpPr/>
            <p:nvPr/>
          </p:nvSpPr>
          <p:spPr>
            <a:xfrm>
              <a:off x="3106749" y="3273198"/>
              <a:ext cx="302498" cy="291098"/>
            </a:xfrm>
            <a:custGeom>
              <a:avLst/>
              <a:gdLst/>
              <a:ahLst/>
              <a:cxnLst/>
              <a:rect l="l" t="t" r="r" b="b"/>
              <a:pathLst>
                <a:path w="9526" h="9167" extrusionOk="0">
                  <a:moveTo>
                    <a:pt x="4711" y="1"/>
                  </a:moveTo>
                  <a:cubicBezTo>
                    <a:pt x="4689" y="1"/>
                    <a:pt x="4667" y="4"/>
                    <a:pt x="4644" y="9"/>
                  </a:cubicBezTo>
                  <a:cubicBezTo>
                    <a:pt x="4561" y="45"/>
                    <a:pt x="4525" y="140"/>
                    <a:pt x="4561" y="236"/>
                  </a:cubicBezTo>
                  <a:lnTo>
                    <a:pt x="5287" y="1950"/>
                  </a:lnTo>
                  <a:cubicBezTo>
                    <a:pt x="5311" y="2010"/>
                    <a:pt x="5359" y="2033"/>
                    <a:pt x="5418" y="2057"/>
                  </a:cubicBezTo>
                  <a:lnTo>
                    <a:pt x="9026" y="2379"/>
                  </a:lnTo>
                  <a:cubicBezTo>
                    <a:pt x="9097" y="2379"/>
                    <a:pt x="9109" y="2438"/>
                    <a:pt x="9121" y="2474"/>
                  </a:cubicBezTo>
                  <a:cubicBezTo>
                    <a:pt x="9121" y="2498"/>
                    <a:pt x="9145" y="2545"/>
                    <a:pt x="9097" y="2605"/>
                  </a:cubicBezTo>
                  <a:lnTo>
                    <a:pt x="6406" y="4974"/>
                  </a:lnTo>
                  <a:cubicBezTo>
                    <a:pt x="6359" y="5010"/>
                    <a:pt x="6347" y="5070"/>
                    <a:pt x="6347" y="5129"/>
                  </a:cubicBezTo>
                  <a:lnTo>
                    <a:pt x="7133" y="8665"/>
                  </a:lnTo>
                  <a:cubicBezTo>
                    <a:pt x="7144" y="8737"/>
                    <a:pt x="7109" y="8760"/>
                    <a:pt x="7085" y="8784"/>
                  </a:cubicBezTo>
                  <a:cubicBezTo>
                    <a:pt x="7078" y="8791"/>
                    <a:pt x="7053" y="8803"/>
                    <a:pt x="7021" y="8803"/>
                  </a:cubicBezTo>
                  <a:cubicBezTo>
                    <a:pt x="7001" y="8803"/>
                    <a:pt x="6977" y="8798"/>
                    <a:pt x="6954" y="8784"/>
                  </a:cubicBezTo>
                  <a:lnTo>
                    <a:pt x="3846" y="6939"/>
                  </a:lnTo>
                  <a:cubicBezTo>
                    <a:pt x="3817" y="6921"/>
                    <a:pt x="3787" y="6912"/>
                    <a:pt x="3757" y="6912"/>
                  </a:cubicBezTo>
                  <a:cubicBezTo>
                    <a:pt x="3727" y="6912"/>
                    <a:pt x="3698" y="6921"/>
                    <a:pt x="3668" y="6939"/>
                  </a:cubicBezTo>
                  <a:lnTo>
                    <a:pt x="560" y="8784"/>
                  </a:lnTo>
                  <a:cubicBezTo>
                    <a:pt x="535" y="8794"/>
                    <a:pt x="510" y="8798"/>
                    <a:pt x="487" y="8798"/>
                  </a:cubicBezTo>
                  <a:cubicBezTo>
                    <a:pt x="457" y="8798"/>
                    <a:pt x="431" y="8791"/>
                    <a:pt x="417" y="8784"/>
                  </a:cubicBezTo>
                  <a:cubicBezTo>
                    <a:pt x="406" y="8760"/>
                    <a:pt x="358" y="8725"/>
                    <a:pt x="382" y="8665"/>
                  </a:cubicBezTo>
                  <a:lnTo>
                    <a:pt x="798" y="6832"/>
                  </a:lnTo>
                  <a:cubicBezTo>
                    <a:pt x="810" y="6736"/>
                    <a:pt x="763" y="6653"/>
                    <a:pt x="656" y="6641"/>
                  </a:cubicBezTo>
                  <a:cubicBezTo>
                    <a:pt x="641" y="6637"/>
                    <a:pt x="627" y="6635"/>
                    <a:pt x="613" y="6635"/>
                  </a:cubicBezTo>
                  <a:cubicBezTo>
                    <a:pt x="542" y="6635"/>
                    <a:pt x="475" y="6683"/>
                    <a:pt x="465" y="6772"/>
                  </a:cubicBezTo>
                  <a:lnTo>
                    <a:pt x="48" y="8606"/>
                  </a:lnTo>
                  <a:cubicBezTo>
                    <a:pt x="1" y="8784"/>
                    <a:pt x="84" y="8963"/>
                    <a:pt x="227" y="9082"/>
                  </a:cubicBezTo>
                  <a:cubicBezTo>
                    <a:pt x="314" y="9135"/>
                    <a:pt x="412" y="9166"/>
                    <a:pt x="511" y="9166"/>
                  </a:cubicBezTo>
                  <a:cubicBezTo>
                    <a:pt x="588" y="9166"/>
                    <a:pt x="666" y="9147"/>
                    <a:pt x="739" y="9106"/>
                  </a:cubicBezTo>
                  <a:lnTo>
                    <a:pt x="3751" y="7308"/>
                  </a:lnTo>
                  <a:lnTo>
                    <a:pt x="6775" y="9106"/>
                  </a:lnTo>
                  <a:cubicBezTo>
                    <a:pt x="6847" y="9153"/>
                    <a:pt x="6930" y="9165"/>
                    <a:pt x="7013" y="9165"/>
                  </a:cubicBezTo>
                  <a:cubicBezTo>
                    <a:pt x="7109" y="9165"/>
                    <a:pt x="7204" y="9141"/>
                    <a:pt x="7287" y="9082"/>
                  </a:cubicBezTo>
                  <a:cubicBezTo>
                    <a:pt x="7430" y="8975"/>
                    <a:pt x="7502" y="8796"/>
                    <a:pt x="7466" y="8606"/>
                  </a:cubicBezTo>
                  <a:lnTo>
                    <a:pt x="6692" y="5165"/>
                  </a:lnTo>
                  <a:lnTo>
                    <a:pt x="9335" y="2843"/>
                  </a:lnTo>
                  <a:cubicBezTo>
                    <a:pt x="9490" y="2700"/>
                    <a:pt x="9526" y="2533"/>
                    <a:pt x="9466" y="2355"/>
                  </a:cubicBezTo>
                  <a:cubicBezTo>
                    <a:pt x="9407" y="2164"/>
                    <a:pt x="9264" y="2057"/>
                    <a:pt x="9085" y="2033"/>
                  </a:cubicBezTo>
                  <a:lnTo>
                    <a:pt x="5573" y="1712"/>
                  </a:lnTo>
                  <a:lnTo>
                    <a:pt x="4870" y="105"/>
                  </a:lnTo>
                  <a:cubicBezTo>
                    <a:pt x="4843" y="32"/>
                    <a:pt x="4781" y="1"/>
                    <a:pt x="47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3" name="Google Shape;10033;p58"/>
            <p:cNvSpPr/>
            <p:nvPr/>
          </p:nvSpPr>
          <p:spPr>
            <a:xfrm>
              <a:off x="3043239" y="3215626"/>
              <a:ext cx="209869" cy="255628"/>
            </a:xfrm>
            <a:custGeom>
              <a:avLst/>
              <a:gdLst/>
              <a:ahLst/>
              <a:cxnLst/>
              <a:rect l="l" t="t" r="r" b="b"/>
              <a:pathLst>
                <a:path w="6609" h="8050" extrusionOk="0">
                  <a:moveTo>
                    <a:pt x="5775" y="1"/>
                  </a:moveTo>
                  <a:cubicBezTo>
                    <a:pt x="5596" y="1"/>
                    <a:pt x="5430" y="96"/>
                    <a:pt x="5358" y="275"/>
                  </a:cubicBezTo>
                  <a:lnTo>
                    <a:pt x="3953" y="3513"/>
                  </a:lnTo>
                  <a:lnTo>
                    <a:pt x="441" y="3835"/>
                  </a:lnTo>
                  <a:cubicBezTo>
                    <a:pt x="262" y="3846"/>
                    <a:pt x="96" y="3965"/>
                    <a:pt x="60" y="4144"/>
                  </a:cubicBezTo>
                  <a:cubicBezTo>
                    <a:pt x="0" y="4323"/>
                    <a:pt x="60" y="4501"/>
                    <a:pt x="191" y="4644"/>
                  </a:cubicBezTo>
                  <a:lnTo>
                    <a:pt x="2834" y="6966"/>
                  </a:lnTo>
                  <a:lnTo>
                    <a:pt x="2632" y="7859"/>
                  </a:lnTo>
                  <a:cubicBezTo>
                    <a:pt x="2608" y="7942"/>
                    <a:pt x="2656" y="8037"/>
                    <a:pt x="2763" y="8049"/>
                  </a:cubicBezTo>
                  <a:lnTo>
                    <a:pt x="2798" y="8049"/>
                  </a:lnTo>
                  <a:cubicBezTo>
                    <a:pt x="2870" y="8049"/>
                    <a:pt x="2941" y="7990"/>
                    <a:pt x="2953" y="7918"/>
                  </a:cubicBezTo>
                  <a:lnTo>
                    <a:pt x="3179" y="6918"/>
                  </a:lnTo>
                  <a:cubicBezTo>
                    <a:pt x="3191" y="6859"/>
                    <a:pt x="3179" y="6799"/>
                    <a:pt x="3120" y="6752"/>
                  </a:cubicBezTo>
                  <a:lnTo>
                    <a:pt x="417" y="4406"/>
                  </a:lnTo>
                  <a:cubicBezTo>
                    <a:pt x="358" y="4358"/>
                    <a:pt x="370" y="4299"/>
                    <a:pt x="381" y="4263"/>
                  </a:cubicBezTo>
                  <a:cubicBezTo>
                    <a:pt x="381" y="4239"/>
                    <a:pt x="417" y="4192"/>
                    <a:pt x="489" y="4180"/>
                  </a:cubicBezTo>
                  <a:lnTo>
                    <a:pt x="4084" y="3846"/>
                  </a:lnTo>
                  <a:cubicBezTo>
                    <a:pt x="4144" y="3846"/>
                    <a:pt x="4203" y="3811"/>
                    <a:pt x="4227" y="3739"/>
                  </a:cubicBezTo>
                  <a:lnTo>
                    <a:pt x="5656" y="429"/>
                  </a:lnTo>
                  <a:cubicBezTo>
                    <a:pt x="5680" y="370"/>
                    <a:pt x="5739" y="346"/>
                    <a:pt x="5751" y="346"/>
                  </a:cubicBezTo>
                  <a:cubicBezTo>
                    <a:pt x="5787" y="346"/>
                    <a:pt x="5846" y="346"/>
                    <a:pt x="5858" y="429"/>
                  </a:cubicBezTo>
                  <a:lnTo>
                    <a:pt x="6251" y="1334"/>
                  </a:lnTo>
                  <a:cubicBezTo>
                    <a:pt x="6269" y="1407"/>
                    <a:pt x="6336" y="1438"/>
                    <a:pt x="6404" y="1438"/>
                  </a:cubicBezTo>
                  <a:cubicBezTo>
                    <a:pt x="6425" y="1438"/>
                    <a:pt x="6446" y="1435"/>
                    <a:pt x="6466" y="1429"/>
                  </a:cubicBezTo>
                  <a:cubicBezTo>
                    <a:pt x="6573" y="1382"/>
                    <a:pt x="6608" y="1275"/>
                    <a:pt x="6573" y="1191"/>
                  </a:cubicBezTo>
                  <a:lnTo>
                    <a:pt x="6192" y="275"/>
                  </a:lnTo>
                  <a:cubicBezTo>
                    <a:pt x="6108" y="108"/>
                    <a:pt x="5954" y="1"/>
                    <a:pt x="5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34" name="Google Shape;10034;p58"/>
          <p:cNvGrpSpPr/>
          <p:nvPr/>
        </p:nvGrpSpPr>
        <p:grpSpPr>
          <a:xfrm>
            <a:off x="4218333" y="3184982"/>
            <a:ext cx="209107" cy="383442"/>
            <a:chOff x="4218333" y="3184982"/>
            <a:chExt cx="209107" cy="383442"/>
          </a:xfrm>
        </p:grpSpPr>
        <p:sp>
          <p:nvSpPr>
            <p:cNvPr id="10035" name="Google Shape;10035;p58"/>
            <p:cNvSpPr/>
            <p:nvPr/>
          </p:nvSpPr>
          <p:spPr>
            <a:xfrm>
              <a:off x="4218333" y="3184982"/>
              <a:ext cx="207963" cy="117652"/>
            </a:xfrm>
            <a:custGeom>
              <a:avLst/>
              <a:gdLst/>
              <a:ahLst/>
              <a:cxnLst/>
              <a:rect l="l" t="t" r="r" b="b"/>
              <a:pathLst>
                <a:path w="6549" h="3705" extrusionOk="0">
                  <a:moveTo>
                    <a:pt x="3270" y="1"/>
                  </a:moveTo>
                  <a:cubicBezTo>
                    <a:pt x="3116" y="1"/>
                    <a:pt x="3003" y="73"/>
                    <a:pt x="3024" y="216"/>
                  </a:cubicBezTo>
                  <a:cubicBezTo>
                    <a:pt x="3035" y="314"/>
                    <a:pt x="3116" y="372"/>
                    <a:pt x="3212" y="372"/>
                  </a:cubicBezTo>
                  <a:cubicBezTo>
                    <a:pt x="3221" y="372"/>
                    <a:pt x="3230" y="371"/>
                    <a:pt x="3239" y="370"/>
                  </a:cubicBezTo>
                  <a:cubicBezTo>
                    <a:pt x="3257" y="367"/>
                    <a:pt x="3275" y="365"/>
                    <a:pt x="3293" y="365"/>
                  </a:cubicBezTo>
                  <a:cubicBezTo>
                    <a:pt x="3448" y="365"/>
                    <a:pt x="3572" y="497"/>
                    <a:pt x="3572" y="668"/>
                  </a:cubicBezTo>
                  <a:lnTo>
                    <a:pt x="3572" y="763"/>
                  </a:lnTo>
                  <a:lnTo>
                    <a:pt x="2977" y="763"/>
                  </a:lnTo>
                  <a:lnTo>
                    <a:pt x="2977" y="704"/>
                  </a:lnTo>
                  <a:cubicBezTo>
                    <a:pt x="2977" y="609"/>
                    <a:pt x="2905" y="525"/>
                    <a:pt x="2798" y="525"/>
                  </a:cubicBezTo>
                  <a:cubicBezTo>
                    <a:pt x="2691" y="525"/>
                    <a:pt x="2619" y="609"/>
                    <a:pt x="2619" y="704"/>
                  </a:cubicBezTo>
                  <a:lnTo>
                    <a:pt x="2619" y="763"/>
                  </a:lnTo>
                  <a:lnTo>
                    <a:pt x="1524" y="763"/>
                  </a:lnTo>
                  <a:cubicBezTo>
                    <a:pt x="1417" y="763"/>
                    <a:pt x="1345" y="847"/>
                    <a:pt x="1345" y="942"/>
                  </a:cubicBezTo>
                  <a:cubicBezTo>
                    <a:pt x="1345" y="1049"/>
                    <a:pt x="1417" y="1120"/>
                    <a:pt x="1524" y="1120"/>
                  </a:cubicBezTo>
                  <a:lnTo>
                    <a:pt x="6072" y="1120"/>
                  </a:lnTo>
                  <a:cubicBezTo>
                    <a:pt x="6132" y="1120"/>
                    <a:pt x="6191" y="1180"/>
                    <a:pt x="6191" y="1240"/>
                  </a:cubicBezTo>
                  <a:lnTo>
                    <a:pt x="6191" y="1644"/>
                  </a:lnTo>
                  <a:cubicBezTo>
                    <a:pt x="6191" y="1704"/>
                    <a:pt x="6132" y="1763"/>
                    <a:pt x="6072" y="1763"/>
                  </a:cubicBezTo>
                  <a:lnTo>
                    <a:pt x="476" y="1763"/>
                  </a:lnTo>
                  <a:cubicBezTo>
                    <a:pt x="417" y="1763"/>
                    <a:pt x="357" y="1704"/>
                    <a:pt x="357" y="1644"/>
                  </a:cubicBezTo>
                  <a:lnTo>
                    <a:pt x="357" y="1240"/>
                  </a:lnTo>
                  <a:cubicBezTo>
                    <a:pt x="357" y="1180"/>
                    <a:pt x="417" y="1120"/>
                    <a:pt x="476" y="1120"/>
                  </a:cubicBezTo>
                  <a:lnTo>
                    <a:pt x="810" y="1120"/>
                  </a:lnTo>
                  <a:cubicBezTo>
                    <a:pt x="917" y="1120"/>
                    <a:pt x="988" y="1049"/>
                    <a:pt x="988" y="942"/>
                  </a:cubicBezTo>
                  <a:cubicBezTo>
                    <a:pt x="988" y="847"/>
                    <a:pt x="917" y="763"/>
                    <a:pt x="810" y="763"/>
                  </a:cubicBezTo>
                  <a:lnTo>
                    <a:pt x="476" y="763"/>
                  </a:lnTo>
                  <a:cubicBezTo>
                    <a:pt x="214" y="763"/>
                    <a:pt x="0" y="978"/>
                    <a:pt x="0" y="1240"/>
                  </a:cubicBezTo>
                  <a:lnTo>
                    <a:pt x="0" y="1644"/>
                  </a:lnTo>
                  <a:cubicBezTo>
                    <a:pt x="0" y="1918"/>
                    <a:pt x="214" y="2121"/>
                    <a:pt x="476" y="2121"/>
                  </a:cubicBezTo>
                  <a:lnTo>
                    <a:pt x="607" y="2121"/>
                  </a:lnTo>
                  <a:lnTo>
                    <a:pt x="607" y="3526"/>
                  </a:lnTo>
                  <a:cubicBezTo>
                    <a:pt x="607" y="3621"/>
                    <a:pt x="691" y="3704"/>
                    <a:pt x="798" y="3704"/>
                  </a:cubicBezTo>
                  <a:cubicBezTo>
                    <a:pt x="893" y="3704"/>
                    <a:pt x="976" y="3621"/>
                    <a:pt x="976" y="3526"/>
                  </a:cubicBezTo>
                  <a:lnTo>
                    <a:pt x="976" y="2121"/>
                  </a:lnTo>
                  <a:lnTo>
                    <a:pt x="5584" y="2121"/>
                  </a:lnTo>
                  <a:lnTo>
                    <a:pt x="5584" y="2573"/>
                  </a:lnTo>
                  <a:cubicBezTo>
                    <a:pt x="5584" y="2668"/>
                    <a:pt x="5656" y="2752"/>
                    <a:pt x="5763" y="2752"/>
                  </a:cubicBezTo>
                  <a:cubicBezTo>
                    <a:pt x="5870" y="2752"/>
                    <a:pt x="5941" y="2668"/>
                    <a:pt x="5941" y="2573"/>
                  </a:cubicBezTo>
                  <a:lnTo>
                    <a:pt x="5941" y="2121"/>
                  </a:lnTo>
                  <a:lnTo>
                    <a:pt x="6072" y="2121"/>
                  </a:lnTo>
                  <a:cubicBezTo>
                    <a:pt x="6346" y="2121"/>
                    <a:pt x="6549" y="1918"/>
                    <a:pt x="6549" y="1644"/>
                  </a:cubicBezTo>
                  <a:lnTo>
                    <a:pt x="6549" y="1240"/>
                  </a:lnTo>
                  <a:cubicBezTo>
                    <a:pt x="6549" y="978"/>
                    <a:pt x="6346" y="763"/>
                    <a:pt x="6072" y="763"/>
                  </a:cubicBezTo>
                  <a:lnTo>
                    <a:pt x="3929" y="763"/>
                  </a:lnTo>
                  <a:lnTo>
                    <a:pt x="3929" y="668"/>
                  </a:lnTo>
                  <a:cubicBezTo>
                    <a:pt x="3929" y="221"/>
                    <a:pt x="3539" y="1"/>
                    <a:pt x="32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6" name="Google Shape;10036;p58"/>
            <p:cNvSpPr/>
            <p:nvPr/>
          </p:nvSpPr>
          <p:spPr>
            <a:xfrm>
              <a:off x="4218333" y="3282946"/>
              <a:ext cx="209107" cy="285477"/>
            </a:xfrm>
            <a:custGeom>
              <a:avLst/>
              <a:gdLst/>
              <a:ahLst/>
              <a:cxnLst/>
              <a:rect l="l" t="t" r="r" b="b"/>
              <a:pathLst>
                <a:path w="6585" h="8990" extrusionOk="0">
                  <a:moveTo>
                    <a:pt x="3215" y="5120"/>
                  </a:moveTo>
                  <a:cubicBezTo>
                    <a:pt x="2965" y="5655"/>
                    <a:pt x="2107" y="7477"/>
                    <a:pt x="1643" y="8442"/>
                  </a:cubicBezTo>
                  <a:cubicBezTo>
                    <a:pt x="1596" y="8537"/>
                    <a:pt x="1512" y="8572"/>
                    <a:pt x="1417" y="8572"/>
                  </a:cubicBezTo>
                  <a:cubicBezTo>
                    <a:pt x="1369" y="8572"/>
                    <a:pt x="1345" y="8561"/>
                    <a:pt x="1310" y="8549"/>
                  </a:cubicBezTo>
                  <a:cubicBezTo>
                    <a:pt x="1191" y="8489"/>
                    <a:pt x="1131" y="8334"/>
                    <a:pt x="1191" y="8215"/>
                  </a:cubicBezTo>
                  <a:lnTo>
                    <a:pt x="2667" y="5120"/>
                  </a:lnTo>
                  <a:close/>
                  <a:moveTo>
                    <a:pt x="3870" y="5120"/>
                  </a:moveTo>
                  <a:lnTo>
                    <a:pt x="5346" y="8215"/>
                  </a:lnTo>
                  <a:cubicBezTo>
                    <a:pt x="5406" y="8334"/>
                    <a:pt x="5358" y="8489"/>
                    <a:pt x="5227" y="8549"/>
                  </a:cubicBezTo>
                  <a:cubicBezTo>
                    <a:pt x="5203" y="8561"/>
                    <a:pt x="5155" y="8572"/>
                    <a:pt x="5120" y="8572"/>
                  </a:cubicBezTo>
                  <a:cubicBezTo>
                    <a:pt x="5036" y="8572"/>
                    <a:pt x="4941" y="8513"/>
                    <a:pt x="4905" y="8442"/>
                  </a:cubicBezTo>
                  <a:lnTo>
                    <a:pt x="3870" y="6287"/>
                  </a:lnTo>
                  <a:cubicBezTo>
                    <a:pt x="3870" y="6287"/>
                    <a:pt x="3489" y="5465"/>
                    <a:pt x="3477" y="5417"/>
                  </a:cubicBezTo>
                  <a:cubicBezTo>
                    <a:pt x="3572" y="5203"/>
                    <a:pt x="3608" y="5144"/>
                    <a:pt x="3608" y="5120"/>
                  </a:cubicBezTo>
                  <a:close/>
                  <a:moveTo>
                    <a:pt x="3274" y="5834"/>
                  </a:moveTo>
                  <a:lnTo>
                    <a:pt x="3536" y="6358"/>
                  </a:lnTo>
                  <a:lnTo>
                    <a:pt x="3536" y="8370"/>
                  </a:lnTo>
                  <a:cubicBezTo>
                    <a:pt x="3536" y="8501"/>
                    <a:pt x="3417" y="8620"/>
                    <a:pt x="3274" y="8620"/>
                  </a:cubicBezTo>
                  <a:cubicBezTo>
                    <a:pt x="3143" y="8620"/>
                    <a:pt x="3024" y="8501"/>
                    <a:pt x="3024" y="8370"/>
                  </a:cubicBezTo>
                  <a:lnTo>
                    <a:pt x="3024" y="6358"/>
                  </a:lnTo>
                  <a:lnTo>
                    <a:pt x="3274" y="5834"/>
                  </a:lnTo>
                  <a:close/>
                  <a:moveTo>
                    <a:pt x="5763" y="0"/>
                  </a:moveTo>
                  <a:cubicBezTo>
                    <a:pt x="5656" y="0"/>
                    <a:pt x="5584" y="71"/>
                    <a:pt x="5584" y="179"/>
                  </a:cubicBezTo>
                  <a:lnTo>
                    <a:pt x="5584" y="3774"/>
                  </a:lnTo>
                  <a:lnTo>
                    <a:pt x="976" y="3774"/>
                  </a:lnTo>
                  <a:lnTo>
                    <a:pt x="976" y="1131"/>
                  </a:lnTo>
                  <a:cubicBezTo>
                    <a:pt x="976" y="1024"/>
                    <a:pt x="893" y="953"/>
                    <a:pt x="798" y="953"/>
                  </a:cubicBezTo>
                  <a:cubicBezTo>
                    <a:pt x="691" y="953"/>
                    <a:pt x="607" y="1024"/>
                    <a:pt x="607" y="1131"/>
                  </a:cubicBezTo>
                  <a:lnTo>
                    <a:pt x="607" y="3774"/>
                  </a:lnTo>
                  <a:lnTo>
                    <a:pt x="476" y="3774"/>
                  </a:lnTo>
                  <a:cubicBezTo>
                    <a:pt x="214" y="3774"/>
                    <a:pt x="0" y="3977"/>
                    <a:pt x="0" y="4251"/>
                  </a:cubicBezTo>
                  <a:lnTo>
                    <a:pt x="0" y="4643"/>
                  </a:lnTo>
                  <a:cubicBezTo>
                    <a:pt x="0" y="4917"/>
                    <a:pt x="214" y="5120"/>
                    <a:pt x="476" y="5120"/>
                  </a:cubicBezTo>
                  <a:lnTo>
                    <a:pt x="2286" y="5120"/>
                  </a:lnTo>
                  <a:lnTo>
                    <a:pt x="881" y="8072"/>
                  </a:lnTo>
                  <a:cubicBezTo>
                    <a:pt x="738" y="8370"/>
                    <a:pt x="869" y="8739"/>
                    <a:pt x="1167" y="8870"/>
                  </a:cubicBezTo>
                  <a:cubicBezTo>
                    <a:pt x="1250" y="8918"/>
                    <a:pt x="1334" y="8930"/>
                    <a:pt x="1429" y="8930"/>
                  </a:cubicBezTo>
                  <a:cubicBezTo>
                    <a:pt x="1667" y="8930"/>
                    <a:pt x="1881" y="8799"/>
                    <a:pt x="1988" y="8596"/>
                  </a:cubicBezTo>
                  <a:lnTo>
                    <a:pt x="2679" y="7120"/>
                  </a:lnTo>
                  <a:lnTo>
                    <a:pt x="2679" y="8382"/>
                  </a:lnTo>
                  <a:cubicBezTo>
                    <a:pt x="2679" y="8715"/>
                    <a:pt x="2953" y="8989"/>
                    <a:pt x="3298" y="8989"/>
                  </a:cubicBezTo>
                  <a:cubicBezTo>
                    <a:pt x="3620" y="8989"/>
                    <a:pt x="3905" y="8727"/>
                    <a:pt x="3905" y="8382"/>
                  </a:cubicBezTo>
                  <a:lnTo>
                    <a:pt x="3905" y="7120"/>
                  </a:lnTo>
                  <a:lnTo>
                    <a:pt x="4608" y="8596"/>
                  </a:lnTo>
                  <a:cubicBezTo>
                    <a:pt x="4703" y="8799"/>
                    <a:pt x="4917" y="8930"/>
                    <a:pt x="5155" y="8930"/>
                  </a:cubicBezTo>
                  <a:cubicBezTo>
                    <a:pt x="5239" y="8930"/>
                    <a:pt x="5334" y="8918"/>
                    <a:pt x="5417" y="8870"/>
                  </a:cubicBezTo>
                  <a:cubicBezTo>
                    <a:pt x="5715" y="8727"/>
                    <a:pt x="5858" y="8370"/>
                    <a:pt x="5703" y="8072"/>
                  </a:cubicBezTo>
                  <a:lnTo>
                    <a:pt x="4310" y="5120"/>
                  </a:lnTo>
                  <a:lnTo>
                    <a:pt x="5060" y="5120"/>
                  </a:lnTo>
                  <a:cubicBezTo>
                    <a:pt x="5167" y="5120"/>
                    <a:pt x="5239" y="5048"/>
                    <a:pt x="5239" y="4941"/>
                  </a:cubicBezTo>
                  <a:cubicBezTo>
                    <a:pt x="5239" y="4846"/>
                    <a:pt x="5167" y="4763"/>
                    <a:pt x="5060" y="4763"/>
                  </a:cubicBezTo>
                  <a:lnTo>
                    <a:pt x="512" y="4763"/>
                  </a:lnTo>
                  <a:cubicBezTo>
                    <a:pt x="453" y="4763"/>
                    <a:pt x="393" y="4703"/>
                    <a:pt x="393" y="4643"/>
                  </a:cubicBezTo>
                  <a:lnTo>
                    <a:pt x="393" y="4251"/>
                  </a:lnTo>
                  <a:cubicBezTo>
                    <a:pt x="393" y="4191"/>
                    <a:pt x="453" y="4131"/>
                    <a:pt x="512" y="4131"/>
                  </a:cubicBezTo>
                  <a:lnTo>
                    <a:pt x="6108" y="4131"/>
                  </a:lnTo>
                  <a:cubicBezTo>
                    <a:pt x="6168" y="4131"/>
                    <a:pt x="6227" y="4191"/>
                    <a:pt x="6227" y="4251"/>
                  </a:cubicBezTo>
                  <a:lnTo>
                    <a:pt x="6227" y="4643"/>
                  </a:lnTo>
                  <a:cubicBezTo>
                    <a:pt x="6227" y="4703"/>
                    <a:pt x="6168" y="4763"/>
                    <a:pt x="6108" y="4763"/>
                  </a:cubicBezTo>
                  <a:lnTo>
                    <a:pt x="5775" y="4763"/>
                  </a:lnTo>
                  <a:cubicBezTo>
                    <a:pt x="5679" y="4763"/>
                    <a:pt x="5596" y="4846"/>
                    <a:pt x="5596" y="4941"/>
                  </a:cubicBezTo>
                  <a:cubicBezTo>
                    <a:pt x="5596" y="5048"/>
                    <a:pt x="5679" y="5120"/>
                    <a:pt x="5775" y="5120"/>
                  </a:cubicBezTo>
                  <a:lnTo>
                    <a:pt x="6108" y="5120"/>
                  </a:lnTo>
                  <a:cubicBezTo>
                    <a:pt x="6370" y="5120"/>
                    <a:pt x="6584" y="4917"/>
                    <a:pt x="6584" y="4643"/>
                  </a:cubicBezTo>
                  <a:lnTo>
                    <a:pt x="6584" y="4251"/>
                  </a:lnTo>
                  <a:cubicBezTo>
                    <a:pt x="6549" y="3977"/>
                    <a:pt x="6346" y="3774"/>
                    <a:pt x="6072" y="3774"/>
                  </a:cubicBezTo>
                  <a:lnTo>
                    <a:pt x="5941" y="3774"/>
                  </a:lnTo>
                  <a:lnTo>
                    <a:pt x="5941" y="179"/>
                  </a:lnTo>
                  <a:cubicBezTo>
                    <a:pt x="5941" y="71"/>
                    <a:pt x="5870"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7" name="Google Shape;10037;p58"/>
          <p:cNvSpPr/>
          <p:nvPr/>
        </p:nvSpPr>
        <p:spPr>
          <a:xfrm>
            <a:off x="4816819" y="3186157"/>
            <a:ext cx="83230" cy="379536"/>
          </a:xfrm>
          <a:custGeom>
            <a:avLst/>
            <a:gdLst/>
            <a:ahLst/>
            <a:cxnLst/>
            <a:rect l="l" t="t" r="r" b="b"/>
            <a:pathLst>
              <a:path w="2621" h="11952" extrusionOk="0">
                <a:moveTo>
                  <a:pt x="1310" y="572"/>
                </a:moveTo>
                <a:cubicBezTo>
                  <a:pt x="1537" y="976"/>
                  <a:pt x="1560" y="1060"/>
                  <a:pt x="1560" y="1060"/>
                </a:cubicBezTo>
                <a:lnTo>
                  <a:pt x="1560" y="1072"/>
                </a:lnTo>
                <a:cubicBezTo>
                  <a:pt x="1489" y="1119"/>
                  <a:pt x="1382" y="1131"/>
                  <a:pt x="1298" y="1131"/>
                </a:cubicBezTo>
                <a:cubicBezTo>
                  <a:pt x="1203" y="1131"/>
                  <a:pt x="1120" y="1095"/>
                  <a:pt x="1025" y="1072"/>
                </a:cubicBezTo>
                <a:lnTo>
                  <a:pt x="1310" y="572"/>
                </a:lnTo>
                <a:close/>
                <a:moveTo>
                  <a:pt x="1739" y="1369"/>
                </a:moveTo>
                <a:lnTo>
                  <a:pt x="2156" y="2155"/>
                </a:lnTo>
                <a:lnTo>
                  <a:pt x="465" y="2155"/>
                </a:lnTo>
                <a:lnTo>
                  <a:pt x="882" y="1369"/>
                </a:lnTo>
                <a:cubicBezTo>
                  <a:pt x="1013" y="1441"/>
                  <a:pt x="1156" y="1476"/>
                  <a:pt x="1310" y="1476"/>
                </a:cubicBezTo>
                <a:cubicBezTo>
                  <a:pt x="1453" y="1476"/>
                  <a:pt x="1608" y="1441"/>
                  <a:pt x="1739" y="1369"/>
                </a:cubicBezTo>
                <a:close/>
                <a:moveTo>
                  <a:pt x="2263" y="9763"/>
                </a:moveTo>
                <a:lnTo>
                  <a:pt x="2263" y="10454"/>
                </a:lnTo>
                <a:lnTo>
                  <a:pt x="358" y="10454"/>
                </a:lnTo>
                <a:lnTo>
                  <a:pt x="358" y="9763"/>
                </a:lnTo>
                <a:close/>
                <a:moveTo>
                  <a:pt x="1310" y="0"/>
                </a:moveTo>
                <a:cubicBezTo>
                  <a:pt x="1251" y="0"/>
                  <a:pt x="1191" y="36"/>
                  <a:pt x="1144" y="95"/>
                </a:cubicBezTo>
                <a:lnTo>
                  <a:pt x="656" y="1024"/>
                </a:lnTo>
                <a:lnTo>
                  <a:pt x="132" y="2012"/>
                </a:lnTo>
                <a:cubicBezTo>
                  <a:pt x="48" y="2179"/>
                  <a:pt x="1" y="2357"/>
                  <a:pt x="1" y="2548"/>
                </a:cubicBezTo>
                <a:lnTo>
                  <a:pt x="1" y="5727"/>
                </a:lnTo>
                <a:cubicBezTo>
                  <a:pt x="1" y="5834"/>
                  <a:pt x="72" y="5906"/>
                  <a:pt x="179" y="5906"/>
                </a:cubicBezTo>
                <a:cubicBezTo>
                  <a:pt x="286" y="5906"/>
                  <a:pt x="358" y="5834"/>
                  <a:pt x="358" y="5727"/>
                </a:cubicBezTo>
                <a:lnTo>
                  <a:pt x="358" y="2512"/>
                </a:lnTo>
                <a:lnTo>
                  <a:pt x="1132" y="2512"/>
                </a:lnTo>
                <a:lnTo>
                  <a:pt x="1132" y="9406"/>
                </a:lnTo>
                <a:lnTo>
                  <a:pt x="1132" y="9418"/>
                </a:lnTo>
                <a:lnTo>
                  <a:pt x="358" y="9418"/>
                </a:lnTo>
                <a:lnTo>
                  <a:pt x="358" y="6465"/>
                </a:lnTo>
                <a:cubicBezTo>
                  <a:pt x="358" y="6358"/>
                  <a:pt x="286" y="6287"/>
                  <a:pt x="179" y="6287"/>
                </a:cubicBezTo>
                <a:cubicBezTo>
                  <a:pt x="72" y="6287"/>
                  <a:pt x="1" y="6358"/>
                  <a:pt x="1" y="6465"/>
                </a:cubicBezTo>
                <a:lnTo>
                  <a:pt x="1" y="10644"/>
                </a:lnTo>
                <a:cubicBezTo>
                  <a:pt x="1" y="10882"/>
                  <a:pt x="60" y="11120"/>
                  <a:pt x="191" y="11311"/>
                </a:cubicBezTo>
                <a:cubicBezTo>
                  <a:pt x="227" y="11370"/>
                  <a:pt x="286" y="11406"/>
                  <a:pt x="346" y="11406"/>
                </a:cubicBezTo>
                <a:cubicBezTo>
                  <a:pt x="477" y="11406"/>
                  <a:pt x="560" y="11251"/>
                  <a:pt x="489" y="11132"/>
                </a:cubicBezTo>
                <a:cubicBezTo>
                  <a:pt x="429" y="11025"/>
                  <a:pt x="382" y="10930"/>
                  <a:pt x="370" y="10823"/>
                </a:cubicBezTo>
                <a:lnTo>
                  <a:pt x="2227" y="10823"/>
                </a:lnTo>
                <a:cubicBezTo>
                  <a:pt x="2144" y="11251"/>
                  <a:pt x="1775" y="11597"/>
                  <a:pt x="1310" y="11597"/>
                </a:cubicBezTo>
                <a:cubicBezTo>
                  <a:pt x="1179" y="11597"/>
                  <a:pt x="1037" y="11561"/>
                  <a:pt x="917" y="11525"/>
                </a:cubicBezTo>
                <a:cubicBezTo>
                  <a:pt x="895" y="11512"/>
                  <a:pt x="870" y="11506"/>
                  <a:pt x="845" y="11506"/>
                </a:cubicBezTo>
                <a:cubicBezTo>
                  <a:pt x="780" y="11506"/>
                  <a:pt x="714" y="11548"/>
                  <a:pt x="679" y="11609"/>
                </a:cubicBezTo>
                <a:cubicBezTo>
                  <a:pt x="644" y="11704"/>
                  <a:pt x="679" y="11799"/>
                  <a:pt x="775" y="11847"/>
                </a:cubicBezTo>
                <a:cubicBezTo>
                  <a:pt x="941" y="11918"/>
                  <a:pt x="1111" y="11951"/>
                  <a:pt x="1277" y="11951"/>
                </a:cubicBezTo>
                <a:cubicBezTo>
                  <a:pt x="1966" y="11951"/>
                  <a:pt x="2584" y="11383"/>
                  <a:pt x="2584" y="10644"/>
                </a:cubicBezTo>
                <a:cubicBezTo>
                  <a:pt x="2620" y="10608"/>
                  <a:pt x="2620" y="9596"/>
                  <a:pt x="2620" y="9585"/>
                </a:cubicBezTo>
                <a:lnTo>
                  <a:pt x="2620" y="8049"/>
                </a:lnTo>
                <a:cubicBezTo>
                  <a:pt x="2620" y="7953"/>
                  <a:pt x="2549" y="7870"/>
                  <a:pt x="2441" y="7870"/>
                </a:cubicBezTo>
                <a:cubicBezTo>
                  <a:pt x="2334" y="7870"/>
                  <a:pt x="2263" y="7953"/>
                  <a:pt x="2263" y="8049"/>
                </a:cubicBezTo>
                <a:lnTo>
                  <a:pt x="2263" y="9406"/>
                </a:lnTo>
                <a:lnTo>
                  <a:pt x="1489" y="9406"/>
                </a:lnTo>
                <a:lnTo>
                  <a:pt x="1489" y="9394"/>
                </a:lnTo>
                <a:lnTo>
                  <a:pt x="1489" y="2500"/>
                </a:lnTo>
                <a:lnTo>
                  <a:pt x="2263" y="2500"/>
                </a:lnTo>
                <a:lnTo>
                  <a:pt x="2263" y="2548"/>
                </a:lnTo>
                <a:lnTo>
                  <a:pt x="2263" y="7334"/>
                </a:lnTo>
                <a:cubicBezTo>
                  <a:pt x="2263" y="7441"/>
                  <a:pt x="2334" y="7513"/>
                  <a:pt x="2441" y="7513"/>
                </a:cubicBezTo>
                <a:cubicBezTo>
                  <a:pt x="2549" y="7513"/>
                  <a:pt x="2620" y="7441"/>
                  <a:pt x="2620" y="7334"/>
                </a:cubicBezTo>
                <a:lnTo>
                  <a:pt x="2620" y="2548"/>
                </a:lnTo>
                <a:cubicBezTo>
                  <a:pt x="2620" y="2369"/>
                  <a:pt x="2572" y="2191"/>
                  <a:pt x="2489" y="2012"/>
                </a:cubicBezTo>
                <a:lnTo>
                  <a:pt x="1477" y="95"/>
                </a:lnTo>
                <a:cubicBezTo>
                  <a:pt x="1441" y="36"/>
                  <a:pt x="1382"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38" name="Google Shape;10038;p58"/>
          <p:cNvGrpSpPr/>
          <p:nvPr/>
        </p:nvGrpSpPr>
        <p:grpSpPr>
          <a:xfrm>
            <a:off x="6896644" y="3216007"/>
            <a:ext cx="322917" cy="347876"/>
            <a:chOff x="6896644" y="3216007"/>
            <a:chExt cx="322917" cy="347876"/>
          </a:xfrm>
        </p:grpSpPr>
        <p:sp>
          <p:nvSpPr>
            <p:cNvPr id="10039" name="Google Shape;10039;p58"/>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0" name="Google Shape;10040;p58"/>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1" name="Google Shape;10041;p58"/>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2" name="Google Shape;10042;p58"/>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3" name="Google Shape;10043;p58"/>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4" name="Google Shape;10044;p58"/>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5" name="Google Shape;10045;p58"/>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46" name="Google Shape;10046;p58"/>
          <p:cNvGrpSpPr/>
          <p:nvPr/>
        </p:nvGrpSpPr>
        <p:grpSpPr>
          <a:xfrm>
            <a:off x="7429366" y="3223183"/>
            <a:ext cx="334634" cy="333904"/>
            <a:chOff x="7429366" y="3223183"/>
            <a:chExt cx="334634" cy="333904"/>
          </a:xfrm>
        </p:grpSpPr>
        <p:sp>
          <p:nvSpPr>
            <p:cNvPr id="10047" name="Google Shape;10047;p58"/>
            <p:cNvSpPr/>
            <p:nvPr/>
          </p:nvSpPr>
          <p:spPr>
            <a:xfrm>
              <a:off x="7429366" y="3223183"/>
              <a:ext cx="334634" cy="333904"/>
            </a:xfrm>
            <a:custGeom>
              <a:avLst/>
              <a:gdLst/>
              <a:ahLst/>
              <a:cxnLst/>
              <a:rect l="l" t="t" r="r" b="b"/>
              <a:pathLst>
                <a:path w="10538" h="10515" extrusionOk="0">
                  <a:moveTo>
                    <a:pt x="6978" y="322"/>
                  </a:moveTo>
                  <a:cubicBezTo>
                    <a:pt x="7930" y="322"/>
                    <a:pt x="8716" y="1096"/>
                    <a:pt x="8716" y="2061"/>
                  </a:cubicBezTo>
                  <a:cubicBezTo>
                    <a:pt x="8716" y="2334"/>
                    <a:pt x="8633" y="2644"/>
                    <a:pt x="8478" y="2942"/>
                  </a:cubicBezTo>
                  <a:cubicBezTo>
                    <a:pt x="8478" y="2954"/>
                    <a:pt x="8466" y="2977"/>
                    <a:pt x="8466" y="2977"/>
                  </a:cubicBezTo>
                  <a:cubicBezTo>
                    <a:pt x="8061" y="3823"/>
                    <a:pt x="7276" y="4704"/>
                    <a:pt x="6978" y="5025"/>
                  </a:cubicBezTo>
                  <a:cubicBezTo>
                    <a:pt x="6680" y="4716"/>
                    <a:pt x="5894" y="3835"/>
                    <a:pt x="5490" y="2989"/>
                  </a:cubicBezTo>
                  <a:cubicBezTo>
                    <a:pt x="5490" y="2977"/>
                    <a:pt x="5478" y="2954"/>
                    <a:pt x="5478" y="2942"/>
                  </a:cubicBezTo>
                  <a:cubicBezTo>
                    <a:pt x="5323" y="2632"/>
                    <a:pt x="5240" y="2334"/>
                    <a:pt x="5240" y="2061"/>
                  </a:cubicBezTo>
                  <a:cubicBezTo>
                    <a:pt x="5240" y="1096"/>
                    <a:pt x="6025" y="322"/>
                    <a:pt x="6978" y="322"/>
                  </a:cubicBezTo>
                  <a:close/>
                  <a:moveTo>
                    <a:pt x="5252" y="3227"/>
                  </a:moveTo>
                  <a:cubicBezTo>
                    <a:pt x="5728" y="4192"/>
                    <a:pt x="6597" y="5121"/>
                    <a:pt x="6811" y="5335"/>
                  </a:cubicBezTo>
                  <a:lnTo>
                    <a:pt x="6811" y="5811"/>
                  </a:lnTo>
                  <a:lnTo>
                    <a:pt x="3751" y="6728"/>
                  </a:lnTo>
                  <a:lnTo>
                    <a:pt x="3751" y="3668"/>
                  </a:lnTo>
                  <a:lnTo>
                    <a:pt x="5252" y="3227"/>
                  </a:lnTo>
                  <a:close/>
                  <a:moveTo>
                    <a:pt x="8704" y="3239"/>
                  </a:moveTo>
                  <a:lnTo>
                    <a:pt x="10205" y="3668"/>
                  </a:lnTo>
                  <a:lnTo>
                    <a:pt x="10205" y="6728"/>
                  </a:lnTo>
                  <a:lnTo>
                    <a:pt x="7145" y="5811"/>
                  </a:lnTo>
                  <a:lnTo>
                    <a:pt x="7145" y="5335"/>
                  </a:lnTo>
                  <a:cubicBezTo>
                    <a:pt x="7371" y="5121"/>
                    <a:pt x="8228" y="4192"/>
                    <a:pt x="8704" y="3239"/>
                  </a:cubicBezTo>
                  <a:close/>
                  <a:moveTo>
                    <a:pt x="358" y="2763"/>
                  </a:moveTo>
                  <a:lnTo>
                    <a:pt x="3418" y="3668"/>
                  </a:lnTo>
                  <a:lnTo>
                    <a:pt x="3418" y="6728"/>
                  </a:lnTo>
                  <a:lnTo>
                    <a:pt x="2263" y="6383"/>
                  </a:lnTo>
                  <a:cubicBezTo>
                    <a:pt x="2244" y="6375"/>
                    <a:pt x="2225" y="6372"/>
                    <a:pt x="2208" y="6372"/>
                  </a:cubicBezTo>
                  <a:cubicBezTo>
                    <a:pt x="2136" y="6372"/>
                    <a:pt x="2077" y="6425"/>
                    <a:pt x="2049" y="6502"/>
                  </a:cubicBezTo>
                  <a:cubicBezTo>
                    <a:pt x="2025" y="6585"/>
                    <a:pt x="2084" y="6680"/>
                    <a:pt x="2168" y="6704"/>
                  </a:cubicBezTo>
                  <a:lnTo>
                    <a:pt x="3418" y="7085"/>
                  </a:lnTo>
                  <a:lnTo>
                    <a:pt x="3418" y="10121"/>
                  </a:lnTo>
                  <a:lnTo>
                    <a:pt x="358" y="9204"/>
                  </a:lnTo>
                  <a:lnTo>
                    <a:pt x="358" y="6168"/>
                  </a:lnTo>
                  <a:lnTo>
                    <a:pt x="1513" y="6514"/>
                  </a:lnTo>
                  <a:lnTo>
                    <a:pt x="1561" y="6514"/>
                  </a:lnTo>
                  <a:cubicBezTo>
                    <a:pt x="1632" y="6514"/>
                    <a:pt x="1692" y="6466"/>
                    <a:pt x="1727" y="6394"/>
                  </a:cubicBezTo>
                  <a:cubicBezTo>
                    <a:pt x="1751" y="6311"/>
                    <a:pt x="1692" y="6216"/>
                    <a:pt x="1608" y="6192"/>
                  </a:cubicBezTo>
                  <a:lnTo>
                    <a:pt x="358" y="5811"/>
                  </a:lnTo>
                  <a:lnTo>
                    <a:pt x="358" y="2763"/>
                  </a:lnTo>
                  <a:close/>
                  <a:moveTo>
                    <a:pt x="7145" y="6156"/>
                  </a:moveTo>
                  <a:lnTo>
                    <a:pt x="10205" y="7061"/>
                  </a:lnTo>
                  <a:lnTo>
                    <a:pt x="10205" y="10121"/>
                  </a:lnTo>
                  <a:lnTo>
                    <a:pt x="7145" y="9204"/>
                  </a:lnTo>
                  <a:lnTo>
                    <a:pt x="7145" y="7990"/>
                  </a:lnTo>
                  <a:cubicBezTo>
                    <a:pt x="7145" y="7895"/>
                    <a:pt x="7073" y="7823"/>
                    <a:pt x="6978" y="7823"/>
                  </a:cubicBezTo>
                  <a:cubicBezTo>
                    <a:pt x="6895" y="7823"/>
                    <a:pt x="6811" y="7895"/>
                    <a:pt x="6811" y="7990"/>
                  </a:cubicBezTo>
                  <a:lnTo>
                    <a:pt x="6811" y="9204"/>
                  </a:lnTo>
                  <a:lnTo>
                    <a:pt x="3751" y="10121"/>
                  </a:lnTo>
                  <a:lnTo>
                    <a:pt x="3751" y="7061"/>
                  </a:lnTo>
                  <a:lnTo>
                    <a:pt x="6811" y="6156"/>
                  </a:lnTo>
                  <a:lnTo>
                    <a:pt x="6811" y="7311"/>
                  </a:lnTo>
                  <a:cubicBezTo>
                    <a:pt x="6811" y="7407"/>
                    <a:pt x="6895" y="7478"/>
                    <a:pt x="6978" y="7478"/>
                  </a:cubicBezTo>
                  <a:cubicBezTo>
                    <a:pt x="7073" y="7478"/>
                    <a:pt x="7145" y="7407"/>
                    <a:pt x="7145" y="7311"/>
                  </a:cubicBezTo>
                  <a:lnTo>
                    <a:pt x="7145" y="6156"/>
                  </a:lnTo>
                  <a:close/>
                  <a:moveTo>
                    <a:pt x="6966" y="1"/>
                  </a:moveTo>
                  <a:cubicBezTo>
                    <a:pt x="5823" y="1"/>
                    <a:pt x="4894" y="918"/>
                    <a:pt x="4894" y="2061"/>
                  </a:cubicBezTo>
                  <a:cubicBezTo>
                    <a:pt x="4894" y="2334"/>
                    <a:pt x="4966" y="2632"/>
                    <a:pt x="5085" y="2930"/>
                  </a:cubicBezTo>
                  <a:lnTo>
                    <a:pt x="3573" y="3370"/>
                  </a:lnTo>
                  <a:lnTo>
                    <a:pt x="215" y="2382"/>
                  </a:lnTo>
                  <a:cubicBezTo>
                    <a:pt x="205" y="2375"/>
                    <a:pt x="192" y="2372"/>
                    <a:pt x="179" y="2372"/>
                  </a:cubicBezTo>
                  <a:cubicBezTo>
                    <a:pt x="146" y="2372"/>
                    <a:pt x="106" y="2389"/>
                    <a:pt x="72" y="2406"/>
                  </a:cubicBezTo>
                  <a:cubicBezTo>
                    <a:pt x="25" y="2442"/>
                    <a:pt x="1" y="2477"/>
                    <a:pt x="1" y="2537"/>
                  </a:cubicBezTo>
                  <a:lnTo>
                    <a:pt x="1" y="5954"/>
                  </a:lnTo>
                  <a:lnTo>
                    <a:pt x="1" y="9335"/>
                  </a:lnTo>
                  <a:cubicBezTo>
                    <a:pt x="1" y="9419"/>
                    <a:pt x="37" y="9478"/>
                    <a:pt x="120" y="9502"/>
                  </a:cubicBezTo>
                  <a:lnTo>
                    <a:pt x="3513" y="10514"/>
                  </a:lnTo>
                  <a:lnTo>
                    <a:pt x="3573" y="10514"/>
                  </a:lnTo>
                  <a:lnTo>
                    <a:pt x="6847" y="9550"/>
                  </a:lnTo>
                  <a:cubicBezTo>
                    <a:pt x="6859" y="9562"/>
                    <a:pt x="6883" y="9562"/>
                    <a:pt x="6918" y="9562"/>
                  </a:cubicBezTo>
                  <a:cubicBezTo>
                    <a:pt x="6942" y="9562"/>
                    <a:pt x="6966" y="9562"/>
                    <a:pt x="6990" y="9550"/>
                  </a:cubicBezTo>
                  <a:lnTo>
                    <a:pt x="10264" y="10514"/>
                  </a:lnTo>
                  <a:lnTo>
                    <a:pt x="10312" y="10514"/>
                  </a:lnTo>
                  <a:cubicBezTo>
                    <a:pt x="10335" y="10514"/>
                    <a:pt x="10383" y="10502"/>
                    <a:pt x="10419" y="10490"/>
                  </a:cubicBezTo>
                  <a:cubicBezTo>
                    <a:pt x="10455" y="10454"/>
                    <a:pt x="10490" y="10407"/>
                    <a:pt x="10490" y="10347"/>
                  </a:cubicBezTo>
                  <a:lnTo>
                    <a:pt x="10538" y="6942"/>
                  </a:lnTo>
                  <a:lnTo>
                    <a:pt x="10538" y="3549"/>
                  </a:lnTo>
                  <a:cubicBezTo>
                    <a:pt x="10538" y="3477"/>
                    <a:pt x="10490" y="3418"/>
                    <a:pt x="10419" y="3394"/>
                  </a:cubicBezTo>
                  <a:lnTo>
                    <a:pt x="8835" y="2930"/>
                  </a:lnTo>
                  <a:cubicBezTo>
                    <a:pt x="8954" y="2632"/>
                    <a:pt x="9038" y="2334"/>
                    <a:pt x="9038" y="2061"/>
                  </a:cubicBezTo>
                  <a:cubicBezTo>
                    <a:pt x="9038" y="918"/>
                    <a:pt x="8109" y="1"/>
                    <a:pt x="6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8" name="Google Shape;10048;p58"/>
            <p:cNvSpPr/>
            <p:nvPr/>
          </p:nvSpPr>
          <p:spPr>
            <a:xfrm>
              <a:off x="7613514" y="3251541"/>
              <a:ext cx="74878" cy="74529"/>
            </a:xfrm>
            <a:custGeom>
              <a:avLst/>
              <a:gdLst/>
              <a:ahLst/>
              <a:cxnLst/>
              <a:rect l="l" t="t" r="r" b="b"/>
              <a:pathLst>
                <a:path w="2358" h="2347" extrusionOk="0">
                  <a:moveTo>
                    <a:pt x="1179" y="322"/>
                  </a:moveTo>
                  <a:cubicBezTo>
                    <a:pt x="1643" y="322"/>
                    <a:pt x="2012" y="691"/>
                    <a:pt x="2012" y="1156"/>
                  </a:cubicBezTo>
                  <a:cubicBezTo>
                    <a:pt x="2012" y="1620"/>
                    <a:pt x="1643" y="1989"/>
                    <a:pt x="1179" y="1989"/>
                  </a:cubicBezTo>
                  <a:cubicBezTo>
                    <a:pt x="715" y="1989"/>
                    <a:pt x="345" y="1620"/>
                    <a:pt x="345" y="1156"/>
                  </a:cubicBezTo>
                  <a:cubicBezTo>
                    <a:pt x="334" y="703"/>
                    <a:pt x="715" y="322"/>
                    <a:pt x="1179" y="322"/>
                  </a:cubicBezTo>
                  <a:close/>
                  <a:moveTo>
                    <a:pt x="1179" y="1"/>
                  </a:moveTo>
                  <a:cubicBezTo>
                    <a:pt x="524" y="1"/>
                    <a:pt x="0" y="513"/>
                    <a:pt x="0" y="1168"/>
                  </a:cubicBezTo>
                  <a:cubicBezTo>
                    <a:pt x="0" y="1811"/>
                    <a:pt x="524" y="2346"/>
                    <a:pt x="1179" y="2346"/>
                  </a:cubicBezTo>
                  <a:cubicBezTo>
                    <a:pt x="1834" y="2346"/>
                    <a:pt x="2358" y="1822"/>
                    <a:pt x="2358" y="1168"/>
                  </a:cubicBezTo>
                  <a:cubicBezTo>
                    <a:pt x="2358" y="513"/>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49" name="Google Shape;10049;p58"/>
          <p:cNvSpPr/>
          <p:nvPr/>
        </p:nvSpPr>
        <p:spPr>
          <a:xfrm>
            <a:off x="8079296" y="3207306"/>
            <a:ext cx="229906" cy="364135"/>
          </a:xfrm>
          <a:custGeom>
            <a:avLst/>
            <a:gdLst/>
            <a:ahLst/>
            <a:cxnLst/>
            <a:rect l="l" t="t" r="r" b="b"/>
            <a:pathLst>
              <a:path w="7240" h="11467" extrusionOk="0">
                <a:moveTo>
                  <a:pt x="1048" y="346"/>
                </a:moveTo>
                <a:cubicBezTo>
                  <a:pt x="1156" y="346"/>
                  <a:pt x="1239" y="441"/>
                  <a:pt x="1239" y="537"/>
                </a:cubicBezTo>
                <a:cubicBezTo>
                  <a:pt x="1239" y="644"/>
                  <a:pt x="1156" y="727"/>
                  <a:pt x="1048" y="727"/>
                </a:cubicBezTo>
                <a:cubicBezTo>
                  <a:pt x="941" y="727"/>
                  <a:pt x="858" y="644"/>
                  <a:pt x="858" y="537"/>
                </a:cubicBezTo>
                <a:cubicBezTo>
                  <a:pt x="858" y="429"/>
                  <a:pt x="941" y="346"/>
                  <a:pt x="1048" y="346"/>
                </a:cubicBezTo>
                <a:close/>
                <a:moveTo>
                  <a:pt x="3549" y="1203"/>
                </a:moveTo>
                <a:lnTo>
                  <a:pt x="3906" y="1453"/>
                </a:lnTo>
                <a:lnTo>
                  <a:pt x="3549" y="1453"/>
                </a:lnTo>
                <a:lnTo>
                  <a:pt x="3549" y="1203"/>
                </a:lnTo>
                <a:close/>
                <a:moveTo>
                  <a:pt x="6883" y="1060"/>
                </a:moveTo>
                <a:lnTo>
                  <a:pt x="6883" y="1072"/>
                </a:lnTo>
                <a:lnTo>
                  <a:pt x="6097" y="2799"/>
                </a:lnTo>
                <a:cubicBezTo>
                  <a:pt x="6085" y="2846"/>
                  <a:pt x="6085" y="2894"/>
                  <a:pt x="6097" y="2942"/>
                </a:cubicBezTo>
                <a:lnTo>
                  <a:pt x="6883" y="4680"/>
                </a:lnTo>
                <a:lnTo>
                  <a:pt x="4620" y="4680"/>
                </a:lnTo>
                <a:lnTo>
                  <a:pt x="4620" y="1608"/>
                </a:lnTo>
                <a:cubicBezTo>
                  <a:pt x="4620" y="1549"/>
                  <a:pt x="4597" y="1501"/>
                  <a:pt x="4549" y="1477"/>
                </a:cubicBezTo>
                <a:lnTo>
                  <a:pt x="3942" y="1060"/>
                </a:lnTo>
                <a:close/>
                <a:moveTo>
                  <a:pt x="6883" y="4680"/>
                </a:moveTo>
                <a:cubicBezTo>
                  <a:pt x="6883" y="4686"/>
                  <a:pt x="6880" y="4689"/>
                  <a:pt x="6878" y="4689"/>
                </a:cubicBezTo>
                <a:cubicBezTo>
                  <a:pt x="6877" y="4689"/>
                  <a:pt x="6877" y="4686"/>
                  <a:pt x="6883" y="4680"/>
                </a:cubicBezTo>
                <a:close/>
                <a:moveTo>
                  <a:pt x="4299" y="1787"/>
                </a:moveTo>
                <a:lnTo>
                  <a:pt x="4299" y="5394"/>
                </a:lnTo>
                <a:lnTo>
                  <a:pt x="1941" y="5406"/>
                </a:lnTo>
                <a:lnTo>
                  <a:pt x="1941" y="2692"/>
                </a:lnTo>
                <a:cubicBezTo>
                  <a:pt x="1941" y="2608"/>
                  <a:pt x="1870" y="2537"/>
                  <a:pt x="1787" y="2537"/>
                </a:cubicBezTo>
                <a:cubicBezTo>
                  <a:pt x="1691" y="2537"/>
                  <a:pt x="1620" y="2608"/>
                  <a:pt x="1620" y="2692"/>
                </a:cubicBezTo>
                <a:lnTo>
                  <a:pt x="1620" y="5406"/>
                </a:lnTo>
                <a:lnTo>
                  <a:pt x="1227" y="5406"/>
                </a:lnTo>
                <a:lnTo>
                  <a:pt x="1227" y="1787"/>
                </a:lnTo>
                <a:lnTo>
                  <a:pt x="1620" y="1787"/>
                </a:lnTo>
                <a:lnTo>
                  <a:pt x="1620" y="1989"/>
                </a:lnTo>
                <a:cubicBezTo>
                  <a:pt x="1620" y="2072"/>
                  <a:pt x="1691" y="2144"/>
                  <a:pt x="1787" y="2144"/>
                </a:cubicBezTo>
                <a:cubicBezTo>
                  <a:pt x="1870" y="2144"/>
                  <a:pt x="1941" y="2072"/>
                  <a:pt x="1941" y="1989"/>
                </a:cubicBezTo>
                <a:lnTo>
                  <a:pt x="1941" y="1787"/>
                </a:lnTo>
                <a:close/>
                <a:moveTo>
                  <a:pt x="1584" y="10764"/>
                </a:moveTo>
                <a:cubicBezTo>
                  <a:pt x="1691" y="10764"/>
                  <a:pt x="1787" y="10859"/>
                  <a:pt x="1787" y="10954"/>
                </a:cubicBezTo>
                <a:lnTo>
                  <a:pt x="1787" y="11145"/>
                </a:lnTo>
                <a:lnTo>
                  <a:pt x="322" y="11145"/>
                </a:lnTo>
                <a:lnTo>
                  <a:pt x="322" y="10954"/>
                </a:lnTo>
                <a:cubicBezTo>
                  <a:pt x="322" y="10847"/>
                  <a:pt x="417" y="10764"/>
                  <a:pt x="513" y="10764"/>
                </a:cubicBezTo>
                <a:close/>
                <a:moveTo>
                  <a:pt x="1048" y="1"/>
                </a:moveTo>
                <a:cubicBezTo>
                  <a:pt x="775" y="1"/>
                  <a:pt x="536" y="239"/>
                  <a:pt x="536" y="525"/>
                </a:cubicBezTo>
                <a:cubicBezTo>
                  <a:pt x="536" y="763"/>
                  <a:pt x="679" y="953"/>
                  <a:pt x="894" y="1037"/>
                </a:cubicBezTo>
                <a:lnTo>
                  <a:pt x="894" y="10419"/>
                </a:lnTo>
                <a:lnTo>
                  <a:pt x="513" y="10419"/>
                </a:lnTo>
                <a:cubicBezTo>
                  <a:pt x="215" y="10419"/>
                  <a:pt x="1" y="10657"/>
                  <a:pt x="1" y="10943"/>
                </a:cubicBezTo>
                <a:lnTo>
                  <a:pt x="1" y="11300"/>
                </a:lnTo>
                <a:cubicBezTo>
                  <a:pt x="1" y="11395"/>
                  <a:pt x="72" y="11466"/>
                  <a:pt x="155" y="11466"/>
                </a:cubicBezTo>
                <a:lnTo>
                  <a:pt x="1965" y="11466"/>
                </a:lnTo>
                <a:cubicBezTo>
                  <a:pt x="2049" y="11466"/>
                  <a:pt x="2120" y="11395"/>
                  <a:pt x="2120" y="11300"/>
                </a:cubicBezTo>
                <a:lnTo>
                  <a:pt x="2120" y="10943"/>
                </a:lnTo>
                <a:cubicBezTo>
                  <a:pt x="2120" y="10645"/>
                  <a:pt x="1882" y="10419"/>
                  <a:pt x="1608" y="10419"/>
                </a:cubicBezTo>
                <a:lnTo>
                  <a:pt x="1227" y="10419"/>
                </a:lnTo>
                <a:lnTo>
                  <a:pt x="1227" y="5740"/>
                </a:lnTo>
                <a:lnTo>
                  <a:pt x="4299" y="5740"/>
                </a:lnTo>
                <a:cubicBezTo>
                  <a:pt x="4489" y="5740"/>
                  <a:pt x="4632" y="5585"/>
                  <a:pt x="4632" y="5394"/>
                </a:cubicBezTo>
                <a:lnTo>
                  <a:pt x="4632" y="5025"/>
                </a:lnTo>
                <a:lnTo>
                  <a:pt x="6883" y="5025"/>
                </a:lnTo>
                <a:cubicBezTo>
                  <a:pt x="7002" y="5025"/>
                  <a:pt x="7109" y="4966"/>
                  <a:pt x="7180" y="4859"/>
                </a:cubicBezTo>
                <a:cubicBezTo>
                  <a:pt x="7228" y="4763"/>
                  <a:pt x="7240" y="4632"/>
                  <a:pt x="7180" y="4525"/>
                </a:cubicBezTo>
                <a:lnTo>
                  <a:pt x="6442" y="2882"/>
                </a:lnTo>
                <a:lnTo>
                  <a:pt x="7180" y="1227"/>
                </a:lnTo>
                <a:cubicBezTo>
                  <a:pt x="7228" y="1120"/>
                  <a:pt x="7228" y="989"/>
                  <a:pt x="7156" y="894"/>
                </a:cubicBezTo>
                <a:cubicBezTo>
                  <a:pt x="7097" y="787"/>
                  <a:pt x="6978" y="727"/>
                  <a:pt x="6859" y="727"/>
                </a:cubicBezTo>
                <a:lnTo>
                  <a:pt x="3358" y="727"/>
                </a:lnTo>
                <a:cubicBezTo>
                  <a:pt x="3275" y="727"/>
                  <a:pt x="3192" y="810"/>
                  <a:pt x="3192" y="894"/>
                </a:cubicBezTo>
                <a:lnTo>
                  <a:pt x="3192" y="1453"/>
                </a:lnTo>
                <a:lnTo>
                  <a:pt x="1215" y="1453"/>
                </a:lnTo>
                <a:lnTo>
                  <a:pt x="1215" y="1037"/>
                </a:lnTo>
                <a:cubicBezTo>
                  <a:pt x="1429" y="953"/>
                  <a:pt x="1572" y="763"/>
                  <a:pt x="1572" y="525"/>
                </a:cubicBezTo>
                <a:cubicBezTo>
                  <a:pt x="1572" y="227"/>
                  <a:pt x="1334"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50" name="Google Shape;10050;p58"/>
          <p:cNvGrpSpPr/>
          <p:nvPr/>
        </p:nvGrpSpPr>
        <p:grpSpPr>
          <a:xfrm>
            <a:off x="5216456" y="3725484"/>
            <a:ext cx="356196" cy="265631"/>
            <a:chOff x="5216456" y="3725484"/>
            <a:chExt cx="356196" cy="265631"/>
          </a:xfrm>
        </p:grpSpPr>
        <p:sp>
          <p:nvSpPr>
            <p:cNvPr id="10051" name="Google Shape;10051;p58"/>
            <p:cNvSpPr/>
            <p:nvPr/>
          </p:nvSpPr>
          <p:spPr>
            <a:xfrm>
              <a:off x="5216456" y="3814335"/>
              <a:ext cx="296465" cy="176780"/>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2" name="Google Shape;10052;p58"/>
            <p:cNvSpPr/>
            <p:nvPr/>
          </p:nvSpPr>
          <p:spPr>
            <a:xfrm>
              <a:off x="5304925" y="3725484"/>
              <a:ext cx="267726" cy="170715"/>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3" name="Google Shape;10053;p58"/>
          <p:cNvGrpSpPr/>
          <p:nvPr/>
        </p:nvGrpSpPr>
        <p:grpSpPr>
          <a:xfrm>
            <a:off x="6849393" y="3733994"/>
            <a:ext cx="355053" cy="248038"/>
            <a:chOff x="6849393" y="3733994"/>
            <a:chExt cx="355053" cy="248038"/>
          </a:xfrm>
        </p:grpSpPr>
        <p:sp>
          <p:nvSpPr>
            <p:cNvPr id="10054" name="Google Shape;10054;p58"/>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5" name="Google Shape;10055;p58"/>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6" name="Google Shape;10056;p58"/>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7" name="Google Shape;10057;p58"/>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8" name="Google Shape;10058;p58"/>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59" name="Google Shape;10059;p58"/>
          <p:cNvGrpSpPr/>
          <p:nvPr/>
        </p:nvGrpSpPr>
        <p:grpSpPr>
          <a:xfrm>
            <a:off x="7918997" y="3714687"/>
            <a:ext cx="392111" cy="280206"/>
            <a:chOff x="7918997" y="3714687"/>
            <a:chExt cx="392111" cy="280206"/>
          </a:xfrm>
        </p:grpSpPr>
        <p:sp>
          <p:nvSpPr>
            <p:cNvPr id="10060" name="Google Shape;10060;p58"/>
            <p:cNvSpPr/>
            <p:nvPr/>
          </p:nvSpPr>
          <p:spPr>
            <a:xfrm>
              <a:off x="7918997" y="3781246"/>
              <a:ext cx="309675" cy="213648"/>
            </a:xfrm>
            <a:custGeom>
              <a:avLst/>
              <a:gdLst/>
              <a:ahLst/>
              <a:cxnLst/>
              <a:rect l="l" t="t" r="r" b="b"/>
              <a:pathLst>
                <a:path w="9752" h="6728" extrusionOk="0">
                  <a:moveTo>
                    <a:pt x="774" y="3644"/>
                  </a:moveTo>
                  <a:cubicBezTo>
                    <a:pt x="965" y="3644"/>
                    <a:pt x="1132" y="3810"/>
                    <a:pt x="1132" y="4001"/>
                  </a:cubicBezTo>
                  <a:cubicBezTo>
                    <a:pt x="1132" y="4191"/>
                    <a:pt x="965" y="4358"/>
                    <a:pt x="774" y="4358"/>
                  </a:cubicBezTo>
                  <a:cubicBezTo>
                    <a:pt x="560" y="4358"/>
                    <a:pt x="417" y="4191"/>
                    <a:pt x="417" y="4001"/>
                  </a:cubicBezTo>
                  <a:cubicBezTo>
                    <a:pt x="417" y="3810"/>
                    <a:pt x="584" y="3644"/>
                    <a:pt x="774" y="3644"/>
                  </a:cubicBezTo>
                  <a:close/>
                  <a:moveTo>
                    <a:pt x="715" y="0"/>
                  </a:moveTo>
                  <a:cubicBezTo>
                    <a:pt x="310" y="0"/>
                    <a:pt x="0" y="322"/>
                    <a:pt x="0" y="715"/>
                  </a:cubicBezTo>
                  <a:cubicBezTo>
                    <a:pt x="0" y="1072"/>
                    <a:pt x="250" y="1370"/>
                    <a:pt x="596" y="1429"/>
                  </a:cubicBezTo>
                  <a:lnTo>
                    <a:pt x="596" y="3346"/>
                  </a:lnTo>
                  <a:cubicBezTo>
                    <a:pt x="298" y="3429"/>
                    <a:pt x="72" y="3703"/>
                    <a:pt x="72" y="4025"/>
                  </a:cubicBezTo>
                  <a:cubicBezTo>
                    <a:pt x="72" y="4358"/>
                    <a:pt x="298" y="4644"/>
                    <a:pt x="596" y="4715"/>
                  </a:cubicBezTo>
                  <a:lnTo>
                    <a:pt x="596" y="5442"/>
                  </a:lnTo>
                  <a:cubicBezTo>
                    <a:pt x="322" y="5513"/>
                    <a:pt x="120" y="5775"/>
                    <a:pt x="120" y="6073"/>
                  </a:cubicBezTo>
                  <a:cubicBezTo>
                    <a:pt x="120" y="6430"/>
                    <a:pt x="417" y="6727"/>
                    <a:pt x="774" y="6727"/>
                  </a:cubicBezTo>
                  <a:lnTo>
                    <a:pt x="2215" y="6727"/>
                  </a:lnTo>
                  <a:cubicBezTo>
                    <a:pt x="2322" y="6727"/>
                    <a:pt x="2394" y="6644"/>
                    <a:pt x="2394" y="6549"/>
                  </a:cubicBezTo>
                  <a:cubicBezTo>
                    <a:pt x="2394" y="6442"/>
                    <a:pt x="2286" y="6335"/>
                    <a:pt x="2191" y="6335"/>
                  </a:cubicBezTo>
                  <a:lnTo>
                    <a:pt x="739" y="6335"/>
                  </a:lnTo>
                  <a:cubicBezTo>
                    <a:pt x="584" y="6335"/>
                    <a:pt x="441" y="6204"/>
                    <a:pt x="441" y="6037"/>
                  </a:cubicBezTo>
                  <a:cubicBezTo>
                    <a:pt x="441" y="5882"/>
                    <a:pt x="584" y="5739"/>
                    <a:pt x="739" y="5739"/>
                  </a:cubicBezTo>
                  <a:lnTo>
                    <a:pt x="9561" y="5739"/>
                  </a:lnTo>
                  <a:cubicBezTo>
                    <a:pt x="9668" y="5739"/>
                    <a:pt x="9752" y="5668"/>
                    <a:pt x="9752" y="5561"/>
                  </a:cubicBezTo>
                  <a:cubicBezTo>
                    <a:pt x="9752" y="5465"/>
                    <a:pt x="9668" y="5382"/>
                    <a:pt x="9561" y="5382"/>
                  </a:cubicBezTo>
                  <a:lnTo>
                    <a:pt x="929" y="5382"/>
                  </a:lnTo>
                  <a:lnTo>
                    <a:pt x="929" y="4703"/>
                  </a:lnTo>
                  <a:cubicBezTo>
                    <a:pt x="1251" y="4632"/>
                    <a:pt x="1489" y="4346"/>
                    <a:pt x="1489" y="4001"/>
                  </a:cubicBezTo>
                  <a:cubicBezTo>
                    <a:pt x="1489" y="3656"/>
                    <a:pt x="1251" y="3370"/>
                    <a:pt x="929" y="3298"/>
                  </a:cubicBezTo>
                  <a:lnTo>
                    <a:pt x="929" y="1215"/>
                  </a:lnTo>
                  <a:cubicBezTo>
                    <a:pt x="929" y="1167"/>
                    <a:pt x="917" y="1108"/>
                    <a:pt x="870" y="1084"/>
                  </a:cubicBezTo>
                  <a:cubicBezTo>
                    <a:pt x="834" y="1060"/>
                    <a:pt x="786" y="1036"/>
                    <a:pt x="739" y="1036"/>
                  </a:cubicBezTo>
                  <a:lnTo>
                    <a:pt x="715" y="1036"/>
                  </a:lnTo>
                  <a:cubicBezTo>
                    <a:pt x="512" y="1036"/>
                    <a:pt x="358" y="870"/>
                    <a:pt x="358" y="679"/>
                  </a:cubicBezTo>
                  <a:cubicBezTo>
                    <a:pt x="358" y="489"/>
                    <a:pt x="512" y="322"/>
                    <a:pt x="715" y="322"/>
                  </a:cubicBezTo>
                  <a:cubicBezTo>
                    <a:pt x="905" y="322"/>
                    <a:pt x="1072" y="489"/>
                    <a:pt x="1072" y="679"/>
                  </a:cubicBezTo>
                  <a:cubicBezTo>
                    <a:pt x="1072" y="715"/>
                    <a:pt x="1072" y="762"/>
                    <a:pt x="1048" y="786"/>
                  </a:cubicBezTo>
                  <a:cubicBezTo>
                    <a:pt x="1036" y="858"/>
                    <a:pt x="1048" y="941"/>
                    <a:pt x="1120" y="977"/>
                  </a:cubicBezTo>
                  <a:lnTo>
                    <a:pt x="2906" y="2525"/>
                  </a:lnTo>
                  <a:cubicBezTo>
                    <a:pt x="2940" y="2553"/>
                    <a:pt x="2985" y="2568"/>
                    <a:pt x="3029" y="2568"/>
                  </a:cubicBezTo>
                  <a:cubicBezTo>
                    <a:pt x="3077" y="2568"/>
                    <a:pt x="3124" y="2550"/>
                    <a:pt x="3156" y="2513"/>
                  </a:cubicBezTo>
                  <a:lnTo>
                    <a:pt x="4287" y="1274"/>
                  </a:lnTo>
                  <a:cubicBezTo>
                    <a:pt x="4358" y="1203"/>
                    <a:pt x="4346" y="1084"/>
                    <a:pt x="4275" y="1024"/>
                  </a:cubicBezTo>
                  <a:cubicBezTo>
                    <a:pt x="4237" y="992"/>
                    <a:pt x="4191" y="976"/>
                    <a:pt x="4147" y="976"/>
                  </a:cubicBezTo>
                  <a:cubicBezTo>
                    <a:pt x="4095" y="976"/>
                    <a:pt x="4045" y="998"/>
                    <a:pt x="4013" y="1036"/>
                  </a:cubicBezTo>
                  <a:lnTo>
                    <a:pt x="3001" y="2155"/>
                  </a:lnTo>
                  <a:lnTo>
                    <a:pt x="1429" y="798"/>
                  </a:lnTo>
                  <a:lnTo>
                    <a:pt x="1429" y="715"/>
                  </a:lnTo>
                  <a:cubicBezTo>
                    <a:pt x="1429" y="310"/>
                    <a:pt x="1096"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1" name="Google Shape;10061;p58"/>
            <p:cNvSpPr/>
            <p:nvPr/>
          </p:nvSpPr>
          <p:spPr>
            <a:xfrm>
              <a:off x="8080439" y="3862920"/>
              <a:ext cx="68083" cy="68083"/>
            </a:xfrm>
            <a:custGeom>
              <a:avLst/>
              <a:gdLst/>
              <a:ahLst/>
              <a:cxnLst/>
              <a:rect l="l" t="t" r="r" b="b"/>
              <a:pathLst>
                <a:path w="2144" h="2144" extrusionOk="0">
                  <a:moveTo>
                    <a:pt x="1072" y="357"/>
                  </a:moveTo>
                  <a:cubicBezTo>
                    <a:pt x="1465" y="357"/>
                    <a:pt x="1786" y="691"/>
                    <a:pt x="1786" y="1072"/>
                  </a:cubicBezTo>
                  <a:cubicBezTo>
                    <a:pt x="1786" y="1465"/>
                    <a:pt x="1465" y="1786"/>
                    <a:pt x="1072" y="1786"/>
                  </a:cubicBezTo>
                  <a:cubicBezTo>
                    <a:pt x="691" y="1786"/>
                    <a:pt x="358" y="1465"/>
                    <a:pt x="358" y="1072"/>
                  </a:cubicBezTo>
                  <a:cubicBezTo>
                    <a:pt x="358" y="691"/>
                    <a:pt x="691" y="357"/>
                    <a:pt x="1072" y="357"/>
                  </a:cubicBezTo>
                  <a:close/>
                  <a:moveTo>
                    <a:pt x="1072" y="0"/>
                  </a:moveTo>
                  <a:cubicBezTo>
                    <a:pt x="477" y="0"/>
                    <a:pt x="0" y="476"/>
                    <a:pt x="0" y="1072"/>
                  </a:cubicBezTo>
                  <a:cubicBezTo>
                    <a:pt x="0" y="1667"/>
                    <a:pt x="477" y="2143"/>
                    <a:pt x="1072" y="2143"/>
                  </a:cubicBezTo>
                  <a:cubicBezTo>
                    <a:pt x="1667" y="2143"/>
                    <a:pt x="2144" y="1655"/>
                    <a:pt x="2144" y="1072"/>
                  </a:cubicBezTo>
                  <a:cubicBezTo>
                    <a:pt x="2144" y="476"/>
                    <a:pt x="1667"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2" name="Google Shape;10062;p58"/>
            <p:cNvSpPr/>
            <p:nvPr/>
          </p:nvSpPr>
          <p:spPr>
            <a:xfrm>
              <a:off x="8000290" y="3885593"/>
              <a:ext cx="45410" cy="45410"/>
            </a:xfrm>
            <a:custGeom>
              <a:avLst/>
              <a:gdLst/>
              <a:ahLst/>
              <a:cxnLst/>
              <a:rect l="l" t="t" r="r" b="b"/>
              <a:pathLst>
                <a:path w="1430" h="1430" extrusionOk="0">
                  <a:moveTo>
                    <a:pt x="727" y="358"/>
                  </a:moveTo>
                  <a:cubicBezTo>
                    <a:pt x="917" y="358"/>
                    <a:pt x="1084" y="524"/>
                    <a:pt x="1084" y="715"/>
                  </a:cubicBezTo>
                  <a:cubicBezTo>
                    <a:pt x="1084" y="905"/>
                    <a:pt x="917" y="1072"/>
                    <a:pt x="727" y="1072"/>
                  </a:cubicBezTo>
                  <a:cubicBezTo>
                    <a:pt x="536" y="1072"/>
                    <a:pt x="369" y="905"/>
                    <a:pt x="369" y="715"/>
                  </a:cubicBezTo>
                  <a:cubicBezTo>
                    <a:pt x="369" y="524"/>
                    <a:pt x="536" y="358"/>
                    <a:pt x="727" y="358"/>
                  </a:cubicBezTo>
                  <a:close/>
                  <a:moveTo>
                    <a:pt x="694" y="0"/>
                  </a:moveTo>
                  <a:cubicBezTo>
                    <a:pt x="310" y="0"/>
                    <a:pt x="0" y="317"/>
                    <a:pt x="0" y="715"/>
                  </a:cubicBezTo>
                  <a:cubicBezTo>
                    <a:pt x="0" y="1120"/>
                    <a:pt x="322" y="1429"/>
                    <a:pt x="715" y="1429"/>
                  </a:cubicBezTo>
                  <a:cubicBezTo>
                    <a:pt x="1096" y="1429"/>
                    <a:pt x="1429" y="1096"/>
                    <a:pt x="1429" y="715"/>
                  </a:cubicBezTo>
                  <a:cubicBezTo>
                    <a:pt x="1429" y="310"/>
                    <a:pt x="1096" y="1"/>
                    <a:pt x="715" y="1"/>
                  </a:cubicBezTo>
                  <a:cubicBezTo>
                    <a:pt x="708" y="0"/>
                    <a:pt x="701" y="0"/>
                    <a:pt x="6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3" name="Google Shape;10063;p58"/>
            <p:cNvSpPr/>
            <p:nvPr/>
          </p:nvSpPr>
          <p:spPr>
            <a:xfrm>
              <a:off x="8006323" y="3714687"/>
              <a:ext cx="304784" cy="277920"/>
            </a:xfrm>
            <a:custGeom>
              <a:avLst/>
              <a:gdLst/>
              <a:ahLst/>
              <a:cxnLst/>
              <a:rect l="l" t="t" r="r" b="b"/>
              <a:pathLst>
                <a:path w="9598" h="8752" extrusionOk="0">
                  <a:moveTo>
                    <a:pt x="8800" y="5740"/>
                  </a:moveTo>
                  <a:cubicBezTo>
                    <a:pt x="8990" y="5740"/>
                    <a:pt x="9157" y="5906"/>
                    <a:pt x="9157" y="6097"/>
                  </a:cubicBezTo>
                  <a:cubicBezTo>
                    <a:pt x="9157" y="6287"/>
                    <a:pt x="9002" y="6454"/>
                    <a:pt x="8800" y="6454"/>
                  </a:cubicBezTo>
                  <a:cubicBezTo>
                    <a:pt x="8609" y="6454"/>
                    <a:pt x="8442" y="6287"/>
                    <a:pt x="8442" y="6097"/>
                  </a:cubicBezTo>
                  <a:cubicBezTo>
                    <a:pt x="8442" y="5906"/>
                    <a:pt x="8597" y="5740"/>
                    <a:pt x="8800" y="5740"/>
                  </a:cubicBezTo>
                  <a:close/>
                  <a:moveTo>
                    <a:pt x="3430" y="1"/>
                  </a:moveTo>
                  <a:cubicBezTo>
                    <a:pt x="2989" y="1"/>
                    <a:pt x="2632" y="358"/>
                    <a:pt x="2632" y="787"/>
                  </a:cubicBezTo>
                  <a:cubicBezTo>
                    <a:pt x="2632" y="989"/>
                    <a:pt x="2727" y="1203"/>
                    <a:pt x="2858" y="1334"/>
                  </a:cubicBezTo>
                  <a:lnTo>
                    <a:pt x="1739" y="2561"/>
                  </a:lnTo>
                  <a:cubicBezTo>
                    <a:pt x="1668" y="2632"/>
                    <a:pt x="1680" y="2751"/>
                    <a:pt x="1763" y="2811"/>
                  </a:cubicBezTo>
                  <a:cubicBezTo>
                    <a:pt x="1796" y="2844"/>
                    <a:pt x="1838" y="2859"/>
                    <a:pt x="1881" y="2859"/>
                  </a:cubicBezTo>
                  <a:cubicBezTo>
                    <a:pt x="1931" y="2859"/>
                    <a:pt x="1981" y="2838"/>
                    <a:pt x="2013" y="2799"/>
                  </a:cubicBezTo>
                  <a:lnTo>
                    <a:pt x="3251" y="1430"/>
                  </a:lnTo>
                  <a:cubicBezTo>
                    <a:pt x="3287" y="1382"/>
                    <a:pt x="3311" y="1323"/>
                    <a:pt x="3287" y="1275"/>
                  </a:cubicBezTo>
                  <a:cubicBezTo>
                    <a:pt x="3275" y="1215"/>
                    <a:pt x="3251" y="1168"/>
                    <a:pt x="3204" y="1144"/>
                  </a:cubicBezTo>
                  <a:cubicBezTo>
                    <a:pt x="3073" y="1072"/>
                    <a:pt x="2977" y="918"/>
                    <a:pt x="2977" y="775"/>
                  </a:cubicBezTo>
                  <a:cubicBezTo>
                    <a:pt x="2977" y="537"/>
                    <a:pt x="3168" y="334"/>
                    <a:pt x="3406" y="334"/>
                  </a:cubicBezTo>
                  <a:cubicBezTo>
                    <a:pt x="3644" y="334"/>
                    <a:pt x="3847" y="537"/>
                    <a:pt x="3847" y="775"/>
                  </a:cubicBezTo>
                  <a:cubicBezTo>
                    <a:pt x="3847" y="918"/>
                    <a:pt x="3751" y="1072"/>
                    <a:pt x="3620" y="1144"/>
                  </a:cubicBezTo>
                  <a:cubicBezTo>
                    <a:pt x="3573" y="1168"/>
                    <a:pt x="3525" y="1215"/>
                    <a:pt x="3525" y="1275"/>
                  </a:cubicBezTo>
                  <a:cubicBezTo>
                    <a:pt x="3513" y="1334"/>
                    <a:pt x="3525" y="1382"/>
                    <a:pt x="3573" y="1430"/>
                  </a:cubicBezTo>
                  <a:lnTo>
                    <a:pt x="6430" y="4561"/>
                  </a:lnTo>
                  <a:cubicBezTo>
                    <a:pt x="6462" y="4606"/>
                    <a:pt x="6512" y="4627"/>
                    <a:pt x="6562" y="4627"/>
                  </a:cubicBezTo>
                  <a:cubicBezTo>
                    <a:pt x="6605" y="4627"/>
                    <a:pt x="6647" y="4612"/>
                    <a:pt x="6680" y="4585"/>
                  </a:cubicBezTo>
                  <a:lnTo>
                    <a:pt x="8466" y="3037"/>
                  </a:lnTo>
                  <a:cubicBezTo>
                    <a:pt x="8526" y="2989"/>
                    <a:pt x="8549" y="2918"/>
                    <a:pt x="8526" y="2835"/>
                  </a:cubicBezTo>
                  <a:cubicBezTo>
                    <a:pt x="8514" y="2811"/>
                    <a:pt x="8514" y="2763"/>
                    <a:pt x="8514" y="2739"/>
                  </a:cubicBezTo>
                  <a:cubicBezTo>
                    <a:pt x="8514" y="2537"/>
                    <a:pt x="8680" y="2382"/>
                    <a:pt x="8871" y="2382"/>
                  </a:cubicBezTo>
                  <a:cubicBezTo>
                    <a:pt x="9061" y="2382"/>
                    <a:pt x="9228" y="2537"/>
                    <a:pt x="9228" y="2739"/>
                  </a:cubicBezTo>
                  <a:cubicBezTo>
                    <a:pt x="9228" y="2930"/>
                    <a:pt x="9061" y="3097"/>
                    <a:pt x="8871" y="3097"/>
                  </a:cubicBezTo>
                  <a:lnTo>
                    <a:pt x="8847" y="3097"/>
                  </a:lnTo>
                  <a:cubicBezTo>
                    <a:pt x="8800" y="3097"/>
                    <a:pt x="8740" y="3108"/>
                    <a:pt x="8704" y="3132"/>
                  </a:cubicBezTo>
                  <a:cubicBezTo>
                    <a:pt x="8680" y="3168"/>
                    <a:pt x="8645" y="3228"/>
                    <a:pt x="8645" y="3275"/>
                  </a:cubicBezTo>
                  <a:lnTo>
                    <a:pt x="8645" y="5359"/>
                  </a:lnTo>
                  <a:cubicBezTo>
                    <a:pt x="8335" y="5430"/>
                    <a:pt x="8097" y="5716"/>
                    <a:pt x="8097" y="6049"/>
                  </a:cubicBezTo>
                  <a:cubicBezTo>
                    <a:pt x="8097" y="6395"/>
                    <a:pt x="8335" y="6680"/>
                    <a:pt x="8645" y="6752"/>
                  </a:cubicBezTo>
                  <a:lnTo>
                    <a:pt x="8645" y="7442"/>
                  </a:lnTo>
                  <a:lnTo>
                    <a:pt x="7561" y="7442"/>
                  </a:lnTo>
                  <a:cubicBezTo>
                    <a:pt x="7454" y="7442"/>
                    <a:pt x="7383" y="7514"/>
                    <a:pt x="7383" y="7621"/>
                  </a:cubicBezTo>
                  <a:cubicBezTo>
                    <a:pt x="7383" y="7716"/>
                    <a:pt x="7454" y="7800"/>
                    <a:pt x="7561" y="7800"/>
                  </a:cubicBezTo>
                  <a:lnTo>
                    <a:pt x="8823" y="7800"/>
                  </a:lnTo>
                  <a:cubicBezTo>
                    <a:pt x="8990" y="7800"/>
                    <a:pt x="9121" y="7930"/>
                    <a:pt x="9121" y="8097"/>
                  </a:cubicBezTo>
                  <a:cubicBezTo>
                    <a:pt x="9121" y="8252"/>
                    <a:pt x="8990" y="8395"/>
                    <a:pt x="8823" y="8395"/>
                  </a:cubicBezTo>
                  <a:lnTo>
                    <a:pt x="179" y="8395"/>
                  </a:lnTo>
                  <a:cubicBezTo>
                    <a:pt x="72" y="8395"/>
                    <a:pt x="1" y="8466"/>
                    <a:pt x="1" y="8573"/>
                  </a:cubicBezTo>
                  <a:cubicBezTo>
                    <a:pt x="1" y="8669"/>
                    <a:pt x="72" y="8752"/>
                    <a:pt x="179" y="8752"/>
                  </a:cubicBezTo>
                  <a:lnTo>
                    <a:pt x="8823" y="8752"/>
                  </a:lnTo>
                  <a:cubicBezTo>
                    <a:pt x="9181" y="8752"/>
                    <a:pt x="9478" y="8454"/>
                    <a:pt x="9478" y="8097"/>
                  </a:cubicBezTo>
                  <a:cubicBezTo>
                    <a:pt x="9478" y="7800"/>
                    <a:pt x="9276" y="7538"/>
                    <a:pt x="9002" y="7466"/>
                  </a:cubicBezTo>
                  <a:lnTo>
                    <a:pt x="9002" y="6752"/>
                  </a:lnTo>
                  <a:cubicBezTo>
                    <a:pt x="9300" y="6704"/>
                    <a:pt x="9526" y="6430"/>
                    <a:pt x="9526" y="6097"/>
                  </a:cubicBezTo>
                  <a:cubicBezTo>
                    <a:pt x="9526" y="5775"/>
                    <a:pt x="9300" y="5490"/>
                    <a:pt x="9002" y="5394"/>
                  </a:cubicBezTo>
                  <a:lnTo>
                    <a:pt x="9002" y="3478"/>
                  </a:lnTo>
                  <a:cubicBezTo>
                    <a:pt x="9347" y="3418"/>
                    <a:pt x="9597" y="3120"/>
                    <a:pt x="9597" y="2763"/>
                  </a:cubicBezTo>
                  <a:cubicBezTo>
                    <a:pt x="9597" y="2358"/>
                    <a:pt x="9276" y="2049"/>
                    <a:pt x="8883" y="2049"/>
                  </a:cubicBezTo>
                  <a:cubicBezTo>
                    <a:pt x="8502" y="2049"/>
                    <a:pt x="8168" y="2382"/>
                    <a:pt x="8168" y="2763"/>
                  </a:cubicBezTo>
                  <a:lnTo>
                    <a:pt x="8168" y="2858"/>
                  </a:lnTo>
                  <a:lnTo>
                    <a:pt x="6597" y="4204"/>
                  </a:lnTo>
                  <a:lnTo>
                    <a:pt x="3989" y="1334"/>
                  </a:lnTo>
                  <a:cubicBezTo>
                    <a:pt x="4144" y="1192"/>
                    <a:pt x="4216" y="989"/>
                    <a:pt x="4216" y="787"/>
                  </a:cubicBezTo>
                  <a:cubicBezTo>
                    <a:pt x="4216" y="358"/>
                    <a:pt x="3858" y="1"/>
                    <a:pt x="3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4" name="Google Shape;10064;p58"/>
            <p:cNvSpPr/>
            <p:nvPr/>
          </p:nvSpPr>
          <p:spPr>
            <a:xfrm>
              <a:off x="8183643" y="3885593"/>
              <a:ext cx="45410" cy="45410"/>
            </a:xfrm>
            <a:custGeom>
              <a:avLst/>
              <a:gdLst/>
              <a:ahLst/>
              <a:cxnLst/>
              <a:rect l="l" t="t" r="r" b="b"/>
              <a:pathLst>
                <a:path w="1430" h="1430" extrusionOk="0">
                  <a:moveTo>
                    <a:pt x="703" y="358"/>
                  </a:moveTo>
                  <a:cubicBezTo>
                    <a:pt x="894" y="358"/>
                    <a:pt x="1060" y="524"/>
                    <a:pt x="1060" y="715"/>
                  </a:cubicBezTo>
                  <a:cubicBezTo>
                    <a:pt x="1060" y="905"/>
                    <a:pt x="894" y="1072"/>
                    <a:pt x="703" y="1072"/>
                  </a:cubicBezTo>
                  <a:cubicBezTo>
                    <a:pt x="501" y="1072"/>
                    <a:pt x="346" y="905"/>
                    <a:pt x="346" y="715"/>
                  </a:cubicBezTo>
                  <a:cubicBezTo>
                    <a:pt x="346" y="524"/>
                    <a:pt x="501" y="358"/>
                    <a:pt x="703" y="358"/>
                  </a:cubicBezTo>
                  <a:close/>
                  <a:moveTo>
                    <a:pt x="715" y="1"/>
                  </a:moveTo>
                  <a:cubicBezTo>
                    <a:pt x="310" y="1"/>
                    <a:pt x="1" y="334"/>
                    <a:pt x="1" y="715"/>
                  </a:cubicBezTo>
                  <a:cubicBezTo>
                    <a:pt x="1" y="1120"/>
                    <a:pt x="322" y="1429"/>
                    <a:pt x="715" y="1429"/>
                  </a:cubicBezTo>
                  <a:cubicBezTo>
                    <a:pt x="1096" y="1429"/>
                    <a:pt x="1430" y="1108"/>
                    <a:pt x="1430" y="715"/>
                  </a:cubicBezTo>
                  <a:cubicBezTo>
                    <a:pt x="1430" y="310"/>
                    <a:pt x="1096"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65" name="Google Shape;10065;p58"/>
          <p:cNvSpPr/>
          <p:nvPr/>
        </p:nvSpPr>
        <p:spPr>
          <a:xfrm>
            <a:off x="867354" y="3694364"/>
            <a:ext cx="355434" cy="326981"/>
          </a:xfrm>
          <a:custGeom>
            <a:avLst/>
            <a:gdLst/>
            <a:ahLst/>
            <a:cxnLst/>
            <a:rect l="l" t="t" r="r" b="b"/>
            <a:pathLst>
              <a:path w="11193" h="10297" extrusionOk="0">
                <a:moveTo>
                  <a:pt x="6014" y="2129"/>
                </a:moveTo>
                <a:lnTo>
                  <a:pt x="6014" y="3034"/>
                </a:lnTo>
                <a:lnTo>
                  <a:pt x="5097" y="3034"/>
                </a:lnTo>
                <a:lnTo>
                  <a:pt x="5097" y="2129"/>
                </a:lnTo>
                <a:close/>
                <a:moveTo>
                  <a:pt x="8704" y="347"/>
                </a:moveTo>
                <a:cubicBezTo>
                  <a:pt x="8745" y="347"/>
                  <a:pt x="8785" y="350"/>
                  <a:pt x="8824" y="355"/>
                </a:cubicBezTo>
                <a:cubicBezTo>
                  <a:pt x="9133" y="403"/>
                  <a:pt x="9371" y="617"/>
                  <a:pt x="9550" y="1058"/>
                </a:cubicBezTo>
                <a:cubicBezTo>
                  <a:pt x="9824" y="1689"/>
                  <a:pt x="9847" y="2201"/>
                  <a:pt x="9645" y="2558"/>
                </a:cubicBezTo>
                <a:cubicBezTo>
                  <a:pt x="9419" y="2939"/>
                  <a:pt x="8966" y="3034"/>
                  <a:pt x="8907" y="3046"/>
                </a:cubicBezTo>
                <a:lnTo>
                  <a:pt x="6335" y="3046"/>
                </a:lnTo>
                <a:lnTo>
                  <a:pt x="6335" y="2034"/>
                </a:lnTo>
                <a:cubicBezTo>
                  <a:pt x="6442" y="1903"/>
                  <a:pt x="6764" y="1498"/>
                  <a:pt x="7204" y="1141"/>
                </a:cubicBezTo>
                <a:cubicBezTo>
                  <a:pt x="7798" y="612"/>
                  <a:pt x="8304" y="347"/>
                  <a:pt x="8704" y="347"/>
                </a:cubicBezTo>
                <a:close/>
                <a:moveTo>
                  <a:pt x="4585" y="3356"/>
                </a:moveTo>
                <a:lnTo>
                  <a:pt x="4585" y="4653"/>
                </a:lnTo>
                <a:lnTo>
                  <a:pt x="299" y="4653"/>
                </a:lnTo>
                <a:lnTo>
                  <a:pt x="299" y="3356"/>
                </a:lnTo>
                <a:close/>
                <a:moveTo>
                  <a:pt x="6204" y="3356"/>
                </a:moveTo>
                <a:lnTo>
                  <a:pt x="6204" y="9987"/>
                </a:lnTo>
                <a:lnTo>
                  <a:pt x="4906" y="9987"/>
                </a:lnTo>
                <a:lnTo>
                  <a:pt x="4906" y="3356"/>
                </a:lnTo>
                <a:close/>
                <a:moveTo>
                  <a:pt x="10812" y="3356"/>
                </a:moveTo>
                <a:lnTo>
                  <a:pt x="10812" y="4653"/>
                </a:lnTo>
                <a:lnTo>
                  <a:pt x="9074" y="4653"/>
                </a:lnTo>
                <a:cubicBezTo>
                  <a:pt x="8990" y="4653"/>
                  <a:pt x="8907" y="4725"/>
                  <a:pt x="8907" y="4820"/>
                </a:cubicBezTo>
                <a:cubicBezTo>
                  <a:pt x="8907" y="4903"/>
                  <a:pt x="8990" y="4987"/>
                  <a:pt x="9074" y="4987"/>
                </a:cubicBezTo>
                <a:lnTo>
                  <a:pt x="10002" y="4987"/>
                </a:lnTo>
                <a:lnTo>
                  <a:pt x="10002" y="9594"/>
                </a:lnTo>
                <a:cubicBezTo>
                  <a:pt x="10002" y="9809"/>
                  <a:pt x="9824" y="9987"/>
                  <a:pt x="9609" y="9987"/>
                </a:cubicBezTo>
                <a:lnTo>
                  <a:pt x="6526" y="9987"/>
                </a:lnTo>
                <a:lnTo>
                  <a:pt x="6526" y="4987"/>
                </a:lnTo>
                <a:lnTo>
                  <a:pt x="8419" y="4987"/>
                </a:lnTo>
                <a:cubicBezTo>
                  <a:pt x="8514" y="4987"/>
                  <a:pt x="8585" y="4903"/>
                  <a:pt x="8585" y="4820"/>
                </a:cubicBezTo>
                <a:cubicBezTo>
                  <a:pt x="8585" y="4725"/>
                  <a:pt x="8514" y="4653"/>
                  <a:pt x="8419" y="4653"/>
                </a:cubicBezTo>
                <a:lnTo>
                  <a:pt x="6526" y="4653"/>
                </a:lnTo>
                <a:lnTo>
                  <a:pt x="6526" y="3356"/>
                </a:lnTo>
                <a:close/>
                <a:moveTo>
                  <a:pt x="2416" y="1"/>
                </a:moveTo>
                <a:cubicBezTo>
                  <a:pt x="2282" y="1"/>
                  <a:pt x="2156" y="24"/>
                  <a:pt x="2037" y="69"/>
                </a:cubicBezTo>
                <a:cubicBezTo>
                  <a:pt x="1727" y="188"/>
                  <a:pt x="1465" y="474"/>
                  <a:pt x="1287" y="903"/>
                </a:cubicBezTo>
                <a:cubicBezTo>
                  <a:pt x="977" y="1653"/>
                  <a:pt x="965" y="2248"/>
                  <a:pt x="1215" y="2689"/>
                </a:cubicBezTo>
                <a:cubicBezTo>
                  <a:pt x="1287" y="2820"/>
                  <a:pt x="1382" y="2927"/>
                  <a:pt x="1489" y="3022"/>
                </a:cubicBezTo>
                <a:lnTo>
                  <a:pt x="156" y="3022"/>
                </a:lnTo>
                <a:cubicBezTo>
                  <a:pt x="72" y="3022"/>
                  <a:pt x="1" y="3094"/>
                  <a:pt x="1" y="3177"/>
                </a:cubicBezTo>
                <a:lnTo>
                  <a:pt x="1" y="4808"/>
                </a:lnTo>
                <a:cubicBezTo>
                  <a:pt x="1" y="4891"/>
                  <a:pt x="72" y="4963"/>
                  <a:pt x="156" y="4963"/>
                </a:cubicBezTo>
                <a:lnTo>
                  <a:pt x="834" y="4963"/>
                </a:lnTo>
                <a:lnTo>
                  <a:pt x="834" y="9583"/>
                </a:lnTo>
                <a:cubicBezTo>
                  <a:pt x="834" y="9964"/>
                  <a:pt x="1156" y="10297"/>
                  <a:pt x="1549" y="10297"/>
                </a:cubicBezTo>
                <a:lnTo>
                  <a:pt x="2656" y="10297"/>
                </a:lnTo>
                <a:cubicBezTo>
                  <a:pt x="2751" y="10297"/>
                  <a:pt x="2823" y="10225"/>
                  <a:pt x="2823" y="10130"/>
                </a:cubicBezTo>
                <a:cubicBezTo>
                  <a:pt x="2823" y="10047"/>
                  <a:pt x="2751" y="9964"/>
                  <a:pt x="2656" y="9964"/>
                </a:cubicBezTo>
                <a:lnTo>
                  <a:pt x="1549" y="9964"/>
                </a:lnTo>
                <a:cubicBezTo>
                  <a:pt x="1334" y="9964"/>
                  <a:pt x="1156" y="9785"/>
                  <a:pt x="1156" y="9583"/>
                </a:cubicBezTo>
                <a:lnTo>
                  <a:pt x="1156" y="4963"/>
                </a:lnTo>
                <a:lnTo>
                  <a:pt x="4609" y="4963"/>
                </a:lnTo>
                <a:lnTo>
                  <a:pt x="4609" y="9964"/>
                </a:lnTo>
                <a:lnTo>
                  <a:pt x="3311" y="9964"/>
                </a:lnTo>
                <a:cubicBezTo>
                  <a:pt x="3228" y="9964"/>
                  <a:pt x="3156" y="10047"/>
                  <a:pt x="3156" y="10130"/>
                </a:cubicBezTo>
                <a:cubicBezTo>
                  <a:pt x="3156" y="10225"/>
                  <a:pt x="3228" y="10297"/>
                  <a:pt x="3311" y="10297"/>
                </a:cubicBezTo>
                <a:lnTo>
                  <a:pt x="9645" y="10297"/>
                </a:lnTo>
                <a:cubicBezTo>
                  <a:pt x="10026" y="10297"/>
                  <a:pt x="10359" y="9964"/>
                  <a:pt x="10359" y="9583"/>
                </a:cubicBezTo>
                <a:lnTo>
                  <a:pt x="10359" y="4963"/>
                </a:lnTo>
                <a:lnTo>
                  <a:pt x="11026" y="4963"/>
                </a:lnTo>
                <a:cubicBezTo>
                  <a:pt x="11110" y="4963"/>
                  <a:pt x="11193" y="4891"/>
                  <a:pt x="11193" y="4808"/>
                </a:cubicBezTo>
                <a:lnTo>
                  <a:pt x="11193" y="3177"/>
                </a:lnTo>
                <a:cubicBezTo>
                  <a:pt x="11145" y="3106"/>
                  <a:pt x="11074" y="3034"/>
                  <a:pt x="10979" y="3034"/>
                </a:cubicBezTo>
                <a:lnTo>
                  <a:pt x="9657" y="3034"/>
                </a:lnTo>
                <a:cubicBezTo>
                  <a:pt x="9752" y="2939"/>
                  <a:pt x="9847" y="2844"/>
                  <a:pt x="9919" y="2701"/>
                </a:cubicBezTo>
                <a:cubicBezTo>
                  <a:pt x="10181" y="2260"/>
                  <a:pt x="10157" y="1641"/>
                  <a:pt x="9847" y="915"/>
                </a:cubicBezTo>
                <a:cubicBezTo>
                  <a:pt x="9621" y="379"/>
                  <a:pt x="9300" y="81"/>
                  <a:pt x="8871" y="22"/>
                </a:cubicBezTo>
                <a:cubicBezTo>
                  <a:pt x="8824" y="16"/>
                  <a:pt x="8776" y="13"/>
                  <a:pt x="8728" y="13"/>
                </a:cubicBezTo>
                <a:cubicBezTo>
                  <a:pt x="7648" y="13"/>
                  <a:pt x="6371" y="1489"/>
                  <a:pt x="6097" y="1808"/>
                </a:cubicBezTo>
                <a:lnTo>
                  <a:pt x="5025" y="1808"/>
                </a:lnTo>
                <a:cubicBezTo>
                  <a:pt x="4859" y="1617"/>
                  <a:pt x="4359" y="1022"/>
                  <a:pt x="3751" y="581"/>
                </a:cubicBezTo>
                <a:cubicBezTo>
                  <a:pt x="3715" y="556"/>
                  <a:pt x="3677" y="543"/>
                  <a:pt x="3642" y="543"/>
                </a:cubicBezTo>
                <a:cubicBezTo>
                  <a:pt x="3595" y="543"/>
                  <a:pt x="3552" y="565"/>
                  <a:pt x="3525" y="605"/>
                </a:cubicBezTo>
                <a:cubicBezTo>
                  <a:pt x="3466" y="677"/>
                  <a:pt x="3478" y="784"/>
                  <a:pt x="3549" y="831"/>
                </a:cubicBezTo>
                <a:cubicBezTo>
                  <a:pt x="4144" y="1260"/>
                  <a:pt x="4656" y="1855"/>
                  <a:pt x="4787" y="2022"/>
                </a:cubicBezTo>
                <a:lnTo>
                  <a:pt x="4787" y="3034"/>
                </a:lnTo>
                <a:lnTo>
                  <a:pt x="2216" y="3034"/>
                </a:lnTo>
                <a:cubicBezTo>
                  <a:pt x="2144" y="3022"/>
                  <a:pt x="1692" y="2927"/>
                  <a:pt x="1489" y="2546"/>
                </a:cubicBezTo>
                <a:cubicBezTo>
                  <a:pt x="1275" y="2189"/>
                  <a:pt x="1323" y="1677"/>
                  <a:pt x="1573" y="1034"/>
                </a:cubicBezTo>
                <a:cubicBezTo>
                  <a:pt x="1727" y="700"/>
                  <a:pt x="1906" y="474"/>
                  <a:pt x="2144" y="379"/>
                </a:cubicBezTo>
                <a:cubicBezTo>
                  <a:pt x="2224" y="348"/>
                  <a:pt x="2314" y="332"/>
                  <a:pt x="2413" y="332"/>
                </a:cubicBezTo>
                <a:cubicBezTo>
                  <a:pt x="2578" y="332"/>
                  <a:pt x="2769" y="377"/>
                  <a:pt x="2978" y="474"/>
                </a:cubicBezTo>
                <a:cubicBezTo>
                  <a:pt x="3001" y="488"/>
                  <a:pt x="3025" y="493"/>
                  <a:pt x="3049" y="493"/>
                </a:cubicBezTo>
                <a:cubicBezTo>
                  <a:pt x="3109" y="493"/>
                  <a:pt x="3166" y="454"/>
                  <a:pt x="3192" y="403"/>
                </a:cubicBezTo>
                <a:cubicBezTo>
                  <a:pt x="3239" y="308"/>
                  <a:pt x="3192" y="224"/>
                  <a:pt x="3120" y="177"/>
                </a:cubicBezTo>
                <a:cubicBezTo>
                  <a:pt x="2864" y="59"/>
                  <a:pt x="2630" y="1"/>
                  <a:pt x="24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66" name="Google Shape;10066;p58"/>
          <p:cNvGrpSpPr/>
          <p:nvPr/>
        </p:nvGrpSpPr>
        <p:grpSpPr>
          <a:xfrm>
            <a:off x="1408777" y="3680964"/>
            <a:ext cx="357720" cy="355148"/>
            <a:chOff x="1408777" y="3680964"/>
            <a:chExt cx="357720" cy="355148"/>
          </a:xfrm>
        </p:grpSpPr>
        <p:sp>
          <p:nvSpPr>
            <p:cNvPr id="10067" name="Google Shape;10067;p58"/>
            <p:cNvSpPr/>
            <p:nvPr/>
          </p:nvSpPr>
          <p:spPr>
            <a:xfrm>
              <a:off x="1510488"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41"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63" y="262"/>
                    <a:pt x="763" y="167"/>
                  </a:cubicBezTo>
                  <a:cubicBezTo>
                    <a:pt x="763"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8" name="Google Shape;10068;p58"/>
            <p:cNvSpPr/>
            <p:nvPr/>
          </p:nvSpPr>
          <p:spPr>
            <a:xfrm>
              <a:off x="1627315" y="3814144"/>
              <a:ext cx="37852" cy="49188"/>
            </a:xfrm>
            <a:custGeom>
              <a:avLst/>
              <a:gdLst/>
              <a:ahLst/>
              <a:cxnLst/>
              <a:rect l="l" t="t" r="r" b="b"/>
              <a:pathLst>
                <a:path w="1192" h="1549" extrusionOk="0">
                  <a:moveTo>
                    <a:pt x="596" y="0"/>
                  </a:moveTo>
                  <a:cubicBezTo>
                    <a:pt x="262" y="0"/>
                    <a:pt x="1" y="274"/>
                    <a:pt x="1" y="596"/>
                  </a:cubicBezTo>
                  <a:lnTo>
                    <a:pt x="1" y="953"/>
                  </a:lnTo>
                  <a:cubicBezTo>
                    <a:pt x="1" y="1286"/>
                    <a:pt x="262" y="1548"/>
                    <a:pt x="596" y="1548"/>
                  </a:cubicBezTo>
                  <a:cubicBezTo>
                    <a:pt x="917" y="1548"/>
                    <a:pt x="1191" y="1286"/>
                    <a:pt x="1191" y="953"/>
                  </a:cubicBezTo>
                  <a:lnTo>
                    <a:pt x="1191" y="691"/>
                  </a:lnTo>
                  <a:cubicBezTo>
                    <a:pt x="1191" y="596"/>
                    <a:pt x="1108" y="524"/>
                    <a:pt x="1024" y="524"/>
                  </a:cubicBezTo>
                  <a:cubicBezTo>
                    <a:pt x="929" y="524"/>
                    <a:pt x="858" y="596"/>
                    <a:pt x="858" y="691"/>
                  </a:cubicBezTo>
                  <a:lnTo>
                    <a:pt x="858" y="953"/>
                  </a:lnTo>
                  <a:cubicBezTo>
                    <a:pt x="858" y="1108"/>
                    <a:pt x="739" y="1227"/>
                    <a:pt x="596" y="1227"/>
                  </a:cubicBezTo>
                  <a:cubicBezTo>
                    <a:pt x="441" y="1227"/>
                    <a:pt x="322" y="1108"/>
                    <a:pt x="322" y="953"/>
                  </a:cubicBezTo>
                  <a:lnTo>
                    <a:pt x="322" y="596"/>
                  </a:lnTo>
                  <a:cubicBezTo>
                    <a:pt x="322" y="453"/>
                    <a:pt x="441" y="334"/>
                    <a:pt x="596" y="334"/>
                  </a:cubicBezTo>
                  <a:cubicBezTo>
                    <a:pt x="679" y="334"/>
                    <a:pt x="751" y="262"/>
                    <a:pt x="751" y="167"/>
                  </a:cubicBezTo>
                  <a:cubicBezTo>
                    <a:pt x="751" y="84"/>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9" name="Google Shape;10069;p58"/>
            <p:cNvSpPr/>
            <p:nvPr/>
          </p:nvSpPr>
          <p:spPr>
            <a:xfrm>
              <a:off x="1525604" y="3908806"/>
              <a:ext cx="123305" cy="33152"/>
            </a:xfrm>
            <a:custGeom>
              <a:avLst/>
              <a:gdLst/>
              <a:ahLst/>
              <a:cxnLst/>
              <a:rect l="l" t="t" r="r" b="b"/>
              <a:pathLst>
                <a:path w="3883" h="1044" extrusionOk="0">
                  <a:moveTo>
                    <a:pt x="3714" y="0"/>
                  </a:moveTo>
                  <a:cubicBezTo>
                    <a:pt x="3669" y="0"/>
                    <a:pt x="3622" y="18"/>
                    <a:pt x="3585" y="55"/>
                  </a:cubicBezTo>
                  <a:cubicBezTo>
                    <a:pt x="3215" y="460"/>
                    <a:pt x="2596" y="710"/>
                    <a:pt x="1953" y="710"/>
                  </a:cubicBezTo>
                  <a:cubicBezTo>
                    <a:pt x="1299" y="710"/>
                    <a:pt x="679" y="472"/>
                    <a:pt x="310" y="55"/>
                  </a:cubicBezTo>
                  <a:cubicBezTo>
                    <a:pt x="278" y="23"/>
                    <a:pt x="231" y="4"/>
                    <a:pt x="183" y="4"/>
                  </a:cubicBezTo>
                  <a:cubicBezTo>
                    <a:pt x="144" y="4"/>
                    <a:pt x="104" y="17"/>
                    <a:pt x="72" y="43"/>
                  </a:cubicBezTo>
                  <a:cubicBezTo>
                    <a:pt x="13" y="103"/>
                    <a:pt x="1" y="210"/>
                    <a:pt x="60" y="282"/>
                  </a:cubicBezTo>
                  <a:cubicBezTo>
                    <a:pt x="489" y="758"/>
                    <a:pt x="1191" y="1044"/>
                    <a:pt x="1930" y="1044"/>
                  </a:cubicBezTo>
                  <a:cubicBezTo>
                    <a:pt x="2680" y="1044"/>
                    <a:pt x="3370" y="758"/>
                    <a:pt x="3811" y="282"/>
                  </a:cubicBezTo>
                  <a:cubicBezTo>
                    <a:pt x="3882" y="210"/>
                    <a:pt x="3882" y="103"/>
                    <a:pt x="3823" y="43"/>
                  </a:cubicBezTo>
                  <a:cubicBezTo>
                    <a:pt x="3794" y="15"/>
                    <a:pt x="3755" y="0"/>
                    <a:pt x="37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0" name="Google Shape;10070;p58"/>
            <p:cNvSpPr/>
            <p:nvPr/>
          </p:nvSpPr>
          <p:spPr>
            <a:xfrm>
              <a:off x="1408777" y="3680964"/>
              <a:ext cx="298338" cy="296528"/>
            </a:xfrm>
            <a:custGeom>
              <a:avLst/>
              <a:gdLst/>
              <a:ahLst/>
              <a:cxnLst/>
              <a:rect l="l" t="t" r="r" b="b"/>
              <a:pathLst>
                <a:path w="9395" h="9338" extrusionOk="0">
                  <a:moveTo>
                    <a:pt x="5655" y="0"/>
                  </a:moveTo>
                  <a:cubicBezTo>
                    <a:pt x="5592" y="0"/>
                    <a:pt x="5529" y="1"/>
                    <a:pt x="5466" y="3"/>
                  </a:cubicBezTo>
                  <a:cubicBezTo>
                    <a:pt x="4037" y="51"/>
                    <a:pt x="2692" y="622"/>
                    <a:pt x="1680" y="1634"/>
                  </a:cubicBezTo>
                  <a:cubicBezTo>
                    <a:pt x="667" y="2646"/>
                    <a:pt x="96" y="3992"/>
                    <a:pt x="48" y="5421"/>
                  </a:cubicBezTo>
                  <a:cubicBezTo>
                    <a:pt x="1" y="6849"/>
                    <a:pt x="489" y="8219"/>
                    <a:pt x="1429" y="9278"/>
                  </a:cubicBezTo>
                  <a:cubicBezTo>
                    <a:pt x="1465"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54" y="325"/>
                  </a:cubicBezTo>
                  <a:cubicBezTo>
                    <a:pt x="5500" y="323"/>
                    <a:pt x="5547" y="323"/>
                    <a:pt x="5594" y="323"/>
                  </a:cubicBezTo>
                  <a:cubicBezTo>
                    <a:pt x="6878" y="323"/>
                    <a:pt x="8120" y="796"/>
                    <a:pt x="9085" y="1634"/>
                  </a:cubicBezTo>
                  <a:cubicBezTo>
                    <a:pt x="9119" y="1663"/>
                    <a:pt x="9162" y="1678"/>
                    <a:pt x="9203" y="1678"/>
                  </a:cubicBezTo>
                  <a:cubicBezTo>
                    <a:pt x="9248" y="1678"/>
                    <a:pt x="9292" y="1660"/>
                    <a:pt x="9323" y="1623"/>
                  </a:cubicBezTo>
                  <a:cubicBezTo>
                    <a:pt x="9395" y="1551"/>
                    <a:pt x="9395" y="1444"/>
                    <a:pt x="9323" y="1384"/>
                  </a:cubicBezTo>
                  <a:cubicBezTo>
                    <a:pt x="8300" y="486"/>
                    <a:pt x="7004" y="0"/>
                    <a:pt x="5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1" name="Google Shape;10071;p58"/>
            <p:cNvSpPr/>
            <p:nvPr/>
          </p:nvSpPr>
          <p:spPr>
            <a:xfrm>
              <a:off x="1468508" y="3739075"/>
              <a:ext cx="297989" cy="297036"/>
            </a:xfrm>
            <a:custGeom>
              <a:avLst/>
              <a:gdLst/>
              <a:ahLst/>
              <a:cxnLst/>
              <a:rect l="l" t="t" r="r" b="b"/>
              <a:pathLst>
                <a:path w="9384" h="9354" extrusionOk="0">
                  <a:moveTo>
                    <a:pt x="7834" y="1"/>
                  </a:moveTo>
                  <a:cubicBezTo>
                    <a:pt x="7795" y="1"/>
                    <a:pt x="7754" y="15"/>
                    <a:pt x="7716" y="43"/>
                  </a:cubicBezTo>
                  <a:cubicBezTo>
                    <a:pt x="7645" y="102"/>
                    <a:pt x="7645" y="209"/>
                    <a:pt x="7704" y="281"/>
                  </a:cubicBezTo>
                  <a:cubicBezTo>
                    <a:pt x="8585" y="1281"/>
                    <a:pt x="9062" y="2579"/>
                    <a:pt x="9014" y="3912"/>
                  </a:cubicBezTo>
                  <a:cubicBezTo>
                    <a:pt x="8966" y="5257"/>
                    <a:pt x="8431" y="6520"/>
                    <a:pt x="7478" y="7472"/>
                  </a:cubicBezTo>
                  <a:cubicBezTo>
                    <a:pt x="6526" y="8425"/>
                    <a:pt x="5263" y="8972"/>
                    <a:pt x="3918" y="9008"/>
                  </a:cubicBezTo>
                  <a:cubicBezTo>
                    <a:pt x="3870" y="9009"/>
                    <a:pt x="3823" y="9010"/>
                    <a:pt x="3775" y="9010"/>
                  </a:cubicBezTo>
                  <a:cubicBezTo>
                    <a:pt x="2492" y="9010"/>
                    <a:pt x="1251" y="8548"/>
                    <a:pt x="299" y="7698"/>
                  </a:cubicBezTo>
                  <a:cubicBezTo>
                    <a:pt x="259" y="7670"/>
                    <a:pt x="216" y="7655"/>
                    <a:pt x="175" y="7655"/>
                  </a:cubicBezTo>
                  <a:cubicBezTo>
                    <a:pt x="130" y="7655"/>
                    <a:pt x="86" y="7673"/>
                    <a:pt x="49" y="7710"/>
                  </a:cubicBezTo>
                  <a:cubicBezTo>
                    <a:pt x="1" y="7782"/>
                    <a:pt x="1" y="7889"/>
                    <a:pt x="72" y="7948"/>
                  </a:cubicBezTo>
                  <a:cubicBezTo>
                    <a:pt x="1096" y="8853"/>
                    <a:pt x="2394" y="9353"/>
                    <a:pt x="3763" y="9353"/>
                  </a:cubicBezTo>
                  <a:lnTo>
                    <a:pt x="3930" y="9353"/>
                  </a:lnTo>
                  <a:cubicBezTo>
                    <a:pt x="5359" y="9306"/>
                    <a:pt x="6692" y="8722"/>
                    <a:pt x="7704" y="7710"/>
                  </a:cubicBezTo>
                  <a:cubicBezTo>
                    <a:pt x="8716" y="6698"/>
                    <a:pt x="9300" y="5365"/>
                    <a:pt x="9347" y="3936"/>
                  </a:cubicBezTo>
                  <a:cubicBezTo>
                    <a:pt x="9383" y="2507"/>
                    <a:pt x="8895" y="1126"/>
                    <a:pt x="7954" y="66"/>
                  </a:cubicBezTo>
                  <a:cubicBezTo>
                    <a:pt x="7922" y="21"/>
                    <a:pt x="7879" y="1"/>
                    <a:pt x="7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2" name="Google Shape;10072;p58"/>
          <p:cNvGrpSpPr/>
          <p:nvPr/>
        </p:nvGrpSpPr>
        <p:grpSpPr>
          <a:xfrm>
            <a:off x="1952836" y="3680964"/>
            <a:ext cx="357720" cy="355148"/>
            <a:chOff x="1952836" y="3680964"/>
            <a:chExt cx="357720" cy="355148"/>
          </a:xfrm>
        </p:grpSpPr>
        <p:sp>
          <p:nvSpPr>
            <p:cNvPr id="10073" name="Google Shape;10073;p58"/>
            <p:cNvSpPr/>
            <p:nvPr/>
          </p:nvSpPr>
          <p:spPr>
            <a:xfrm>
              <a:off x="2054166" y="3814144"/>
              <a:ext cx="38233" cy="49188"/>
            </a:xfrm>
            <a:custGeom>
              <a:avLst/>
              <a:gdLst/>
              <a:ahLst/>
              <a:cxnLst/>
              <a:rect l="l" t="t" r="r" b="b"/>
              <a:pathLst>
                <a:path w="1204"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203"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4" name="Google Shape;10074;p58"/>
            <p:cNvSpPr/>
            <p:nvPr/>
          </p:nvSpPr>
          <p:spPr>
            <a:xfrm>
              <a:off x="2170992" y="3814144"/>
              <a:ext cx="37852" cy="49188"/>
            </a:xfrm>
            <a:custGeom>
              <a:avLst/>
              <a:gdLst/>
              <a:ahLst/>
              <a:cxnLst/>
              <a:rect l="l" t="t" r="r" b="b"/>
              <a:pathLst>
                <a:path w="1192" h="1549" extrusionOk="0">
                  <a:moveTo>
                    <a:pt x="596" y="0"/>
                  </a:moveTo>
                  <a:cubicBezTo>
                    <a:pt x="275" y="0"/>
                    <a:pt x="1" y="274"/>
                    <a:pt x="1" y="596"/>
                  </a:cubicBezTo>
                  <a:lnTo>
                    <a:pt x="1" y="953"/>
                  </a:lnTo>
                  <a:cubicBezTo>
                    <a:pt x="1" y="1286"/>
                    <a:pt x="275" y="1548"/>
                    <a:pt x="596" y="1548"/>
                  </a:cubicBezTo>
                  <a:cubicBezTo>
                    <a:pt x="929" y="1548"/>
                    <a:pt x="1191" y="1286"/>
                    <a:pt x="1191" y="953"/>
                  </a:cubicBezTo>
                  <a:lnTo>
                    <a:pt x="1191" y="691"/>
                  </a:lnTo>
                  <a:cubicBezTo>
                    <a:pt x="1191" y="596"/>
                    <a:pt x="1120" y="524"/>
                    <a:pt x="1037" y="524"/>
                  </a:cubicBezTo>
                  <a:cubicBezTo>
                    <a:pt x="941" y="524"/>
                    <a:pt x="870" y="596"/>
                    <a:pt x="870" y="691"/>
                  </a:cubicBezTo>
                  <a:lnTo>
                    <a:pt x="870" y="953"/>
                  </a:lnTo>
                  <a:cubicBezTo>
                    <a:pt x="870" y="1108"/>
                    <a:pt x="751" y="1227"/>
                    <a:pt x="596" y="1227"/>
                  </a:cubicBezTo>
                  <a:cubicBezTo>
                    <a:pt x="453" y="1227"/>
                    <a:pt x="334" y="1108"/>
                    <a:pt x="334" y="953"/>
                  </a:cubicBezTo>
                  <a:lnTo>
                    <a:pt x="334" y="596"/>
                  </a:lnTo>
                  <a:cubicBezTo>
                    <a:pt x="334" y="453"/>
                    <a:pt x="453" y="334"/>
                    <a:pt x="596" y="334"/>
                  </a:cubicBezTo>
                  <a:cubicBezTo>
                    <a:pt x="691" y="334"/>
                    <a:pt x="763" y="262"/>
                    <a:pt x="763" y="167"/>
                  </a:cubicBezTo>
                  <a:cubicBezTo>
                    <a:pt x="763" y="84"/>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5" name="Google Shape;10075;p58"/>
            <p:cNvSpPr/>
            <p:nvPr/>
          </p:nvSpPr>
          <p:spPr>
            <a:xfrm>
              <a:off x="2070043" y="3908647"/>
              <a:ext cx="122924" cy="33311"/>
            </a:xfrm>
            <a:custGeom>
              <a:avLst/>
              <a:gdLst/>
              <a:ahLst/>
              <a:cxnLst/>
              <a:rect l="l" t="t" r="r" b="b"/>
              <a:pathLst>
                <a:path w="3871" h="1049" extrusionOk="0">
                  <a:moveTo>
                    <a:pt x="1930" y="1"/>
                  </a:moveTo>
                  <a:cubicBezTo>
                    <a:pt x="1191" y="1"/>
                    <a:pt x="489" y="287"/>
                    <a:pt x="60" y="763"/>
                  </a:cubicBezTo>
                  <a:cubicBezTo>
                    <a:pt x="1" y="822"/>
                    <a:pt x="1" y="930"/>
                    <a:pt x="72" y="1001"/>
                  </a:cubicBezTo>
                  <a:cubicBezTo>
                    <a:pt x="101" y="1029"/>
                    <a:pt x="140" y="1044"/>
                    <a:pt x="181" y="1044"/>
                  </a:cubicBezTo>
                  <a:cubicBezTo>
                    <a:pt x="226" y="1044"/>
                    <a:pt x="273" y="1026"/>
                    <a:pt x="310" y="989"/>
                  </a:cubicBezTo>
                  <a:cubicBezTo>
                    <a:pt x="679" y="584"/>
                    <a:pt x="1299" y="334"/>
                    <a:pt x="1953" y="334"/>
                  </a:cubicBezTo>
                  <a:cubicBezTo>
                    <a:pt x="2596" y="334"/>
                    <a:pt x="3215" y="572"/>
                    <a:pt x="3585" y="989"/>
                  </a:cubicBezTo>
                  <a:cubicBezTo>
                    <a:pt x="3620" y="1013"/>
                    <a:pt x="3656" y="1049"/>
                    <a:pt x="3704" y="1049"/>
                  </a:cubicBezTo>
                  <a:cubicBezTo>
                    <a:pt x="3751" y="1049"/>
                    <a:pt x="3775" y="1037"/>
                    <a:pt x="3811" y="1001"/>
                  </a:cubicBezTo>
                  <a:cubicBezTo>
                    <a:pt x="3870" y="930"/>
                    <a:pt x="3870" y="822"/>
                    <a:pt x="3811" y="763"/>
                  </a:cubicBezTo>
                  <a:cubicBezTo>
                    <a:pt x="3382" y="287"/>
                    <a:pt x="2680" y="1"/>
                    <a:pt x="1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6" name="Google Shape;10076;p58"/>
            <p:cNvSpPr/>
            <p:nvPr/>
          </p:nvSpPr>
          <p:spPr>
            <a:xfrm>
              <a:off x="1952836" y="3680964"/>
              <a:ext cx="298338" cy="296528"/>
            </a:xfrm>
            <a:custGeom>
              <a:avLst/>
              <a:gdLst/>
              <a:ahLst/>
              <a:cxnLst/>
              <a:rect l="l" t="t" r="r" b="b"/>
              <a:pathLst>
                <a:path w="9395" h="9338" extrusionOk="0">
                  <a:moveTo>
                    <a:pt x="5654" y="0"/>
                  </a:moveTo>
                  <a:cubicBezTo>
                    <a:pt x="5591" y="0"/>
                    <a:pt x="5528" y="1"/>
                    <a:pt x="5466" y="3"/>
                  </a:cubicBezTo>
                  <a:cubicBezTo>
                    <a:pt x="4037" y="51"/>
                    <a:pt x="2692" y="622"/>
                    <a:pt x="1680" y="1634"/>
                  </a:cubicBezTo>
                  <a:cubicBezTo>
                    <a:pt x="668" y="2646"/>
                    <a:pt x="84" y="3992"/>
                    <a:pt x="48" y="5421"/>
                  </a:cubicBezTo>
                  <a:cubicBezTo>
                    <a:pt x="1" y="6849"/>
                    <a:pt x="489" y="8219"/>
                    <a:pt x="1430" y="9278"/>
                  </a:cubicBezTo>
                  <a:cubicBezTo>
                    <a:pt x="1453" y="9302"/>
                    <a:pt x="1501" y="9338"/>
                    <a:pt x="1549" y="9338"/>
                  </a:cubicBezTo>
                  <a:cubicBezTo>
                    <a:pt x="1596" y="9338"/>
                    <a:pt x="1620" y="9314"/>
                    <a:pt x="1656" y="9290"/>
                  </a:cubicBezTo>
                  <a:cubicBezTo>
                    <a:pt x="1727" y="9231"/>
                    <a:pt x="1727" y="9123"/>
                    <a:pt x="1668" y="9052"/>
                  </a:cubicBezTo>
                  <a:cubicBezTo>
                    <a:pt x="787" y="8052"/>
                    <a:pt x="310" y="6754"/>
                    <a:pt x="358" y="5421"/>
                  </a:cubicBezTo>
                  <a:cubicBezTo>
                    <a:pt x="406" y="4075"/>
                    <a:pt x="941" y="2813"/>
                    <a:pt x="1894" y="1861"/>
                  </a:cubicBezTo>
                  <a:cubicBezTo>
                    <a:pt x="2846" y="908"/>
                    <a:pt x="4108" y="360"/>
                    <a:pt x="5442" y="325"/>
                  </a:cubicBezTo>
                  <a:cubicBezTo>
                    <a:pt x="5489" y="323"/>
                    <a:pt x="5536" y="323"/>
                    <a:pt x="5583" y="323"/>
                  </a:cubicBezTo>
                  <a:cubicBezTo>
                    <a:pt x="6878" y="323"/>
                    <a:pt x="8120" y="796"/>
                    <a:pt x="9073" y="1634"/>
                  </a:cubicBezTo>
                  <a:cubicBezTo>
                    <a:pt x="9113" y="1663"/>
                    <a:pt x="9156" y="1678"/>
                    <a:pt x="9196" y="1678"/>
                  </a:cubicBezTo>
                  <a:cubicBezTo>
                    <a:pt x="9239" y="1678"/>
                    <a:pt x="9280" y="1660"/>
                    <a:pt x="9312" y="1623"/>
                  </a:cubicBezTo>
                  <a:cubicBezTo>
                    <a:pt x="9395" y="1551"/>
                    <a:pt x="9395" y="1444"/>
                    <a:pt x="9312" y="1384"/>
                  </a:cubicBezTo>
                  <a:cubicBezTo>
                    <a:pt x="8288" y="486"/>
                    <a:pt x="6992" y="0"/>
                    <a:pt x="56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7" name="Google Shape;10077;p58"/>
            <p:cNvSpPr/>
            <p:nvPr/>
          </p:nvSpPr>
          <p:spPr>
            <a:xfrm>
              <a:off x="2012217" y="3739075"/>
              <a:ext cx="298338" cy="297036"/>
            </a:xfrm>
            <a:custGeom>
              <a:avLst/>
              <a:gdLst/>
              <a:ahLst/>
              <a:cxnLst/>
              <a:rect l="l" t="t" r="r" b="b"/>
              <a:pathLst>
                <a:path w="9395" h="9354" extrusionOk="0">
                  <a:moveTo>
                    <a:pt x="7840" y="1"/>
                  </a:moveTo>
                  <a:cubicBezTo>
                    <a:pt x="7800" y="1"/>
                    <a:pt x="7760" y="15"/>
                    <a:pt x="7727" y="43"/>
                  </a:cubicBezTo>
                  <a:cubicBezTo>
                    <a:pt x="7656" y="102"/>
                    <a:pt x="7656" y="209"/>
                    <a:pt x="7715" y="281"/>
                  </a:cubicBezTo>
                  <a:cubicBezTo>
                    <a:pt x="8585" y="1281"/>
                    <a:pt x="9073" y="2579"/>
                    <a:pt x="9025" y="3912"/>
                  </a:cubicBezTo>
                  <a:cubicBezTo>
                    <a:pt x="8977" y="5257"/>
                    <a:pt x="8442" y="6520"/>
                    <a:pt x="7489" y="7472"/>
                  </a:cubicBezTo>
                  <a:cubicBezTo>
                    <a:pt x="6537" y="8425"/>
                    <a:pt x="5275" y="8972"/>
                    <a:pt x="3929" y="9008"/>
                  </a:cubicBezTo>
                  <a:cubicBezTo>
                    <a:pt x="3881" y="9009"/>
                    <a:pt x="3834" y="9010"/>
                    <a:pt x="3786" y="9010"/>
                  </a:cubicBezTo>
                  <a:cubicBezTo>
                    <a:pt x="2503" y="9010"/>
                    <a:pt x="1262" y="8548"/>
                    <a:pt x="298" y="7698"/>
                  </a:cubicBezTo>
                  <a:cubicBezTo>
                    <a:pt x="264" y="7670"/>
                    <a:pt x="221" y="7655"/>
                    <a:pt x="180" y="7655"/>
                  </a:cubicBezTo>
                  <a:cubicBezTo>
                    <a:pt x="135" y="7655"/>
                    <a:pt x="91" y="7673"/>
                    <a:pt x="60" y="7710"/>
                  </a:cubicBezTo>
                  <a:cubicBezTo>
                    <a:pt x="0" y="7782"/>
                    <a:pt x="0" y="7889"/>
                    <a:pt x="83" y="7948"/>
                  </a:cubicBezTo>
                  <a:cubicBezTo>
                    <a:pt x="1107" y="8853"/>
                    <a:pt x="2405" y="9353"/>
                    <a:pt x="3774" y="9353"/>
                  </a:cubicBezTo>
                  <a:lnTo>
                    <a:pt x="3929" y="9353"/>
                  </a:lnTo>
                  <a:cubicBezTo>
                    <a:pt x="5358" y="9306"/>
                    <a:pt x="6703" y="8722"/>
                    <a:pt x="7715" y="7710"/>
                  </a:cubicBezTo>
                  <a:cubicBezTo>
                    <a:pt x="8727" y="6698"/>
                    <a:pt x="9311" y="5365"/>
                    <a:pt x="9347" y="3936"/>
                  </a:cubicBezTo>
                  <a:cubicBezTo>
                    <a:pt x="9394" y="2507"/>
                    <a:pt x="8906" y="1126"/>
                    <a:pt x="7965"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78" name="Google Shape;10078;p58"/>
          <p:cNvGrpSpPr/>
          <p:nvPr/>
        </p:nvGrpSpPr>
        <p:grpSpPr>
          <a:xfrm>
            <a:off x="2496894" y="3680964"/>
            <a:ext cx="357720" cy="355148"/>
            <a:chOff x="2496894" y="3680964"/>
            <a:chExt cx="357720" cy="355148"/>
          </a:xfrm>
        </p:grpSpPr>
        <p:sp>
          <p:nvSpPr>
            <p:cNvPr id="10079" name="Google Shape;10079;p58"/>
            <p:cNvSpPr/>
            <p:nvPr/>
          </p:nvSpPr>
          <p:spPr>
            <a:xfrm>
              <a:off x="2598224"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29" y="1881"/>
                    <a:pt x="1191" y="1619"/>
                    <a:pt x="1191" y="1286"/>
                  </a:cubicBezTo>
                  <a:lnTo>
                    <a:pt x="1191" y="679"/>
                  </a:lnTo>
                  <a:cubicBezTo>
                    <a:pt x="1191" y="595"/>
                    <a:pt x="1120" y="512"/>
                    <a:pt x="1037"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0" name="Google Shape;10080;p58"/>
            <p:cNvSpPr/>
            <p:nvPr/>
          </p:nvSpPr>
          <p:spPr>
            <a:xfrm>
              <a:off x="2715051" y="3786549"/>
              <a:ext cx="37852" cy="59763"/>
            </a:xfrm>
            <a:custGeom>
              <a:avLst/>
              <a:gdLst/>
              <a:ahLst/>
              <a:cxnLst/>
              <a:rect l="l" t="t" r="r" b="b"/>
              <a:pathLst>
                <a:path w="1192" h="1882" extrusionOk="0">
                  <a:moveTo>
                    <a:pt x="596" y="0"/>
                  </a:moveTo>
                  <a:cubicBezTo>
                    <a:pt x="275" y="0"/>
                    <a:pt x="1" y="262"/>
                    <a:pt x="1" y="595"/>
                  </a:cubicBezTo>
                  <a:lnTo>
                    <a:pt x="1" y="1286"/>
                  </a:lnTo>
                  <a:cubicBezTo>
                    <a:pt x="1" y="1619"/>
                    <a:pt x="275" y="1881"/>
                    <a:pt x="596" y="1881"/>
                  </a:cubicBezTo>
                  <a:cubicBezTo>
                    <a:pt x="930" y="1881"/>
                    <a:pt x="1191" y="1619"/>
                    <a:pt x="1191" y="1286"/>
                  </a:cubicBezTo>
                  <a:lnTo>
                    <a:pt x="1191" y="679"/>
                  </a:lnTo>
                  <a:cubicBezTo>
                    <a:pt x="1191" y="595"/>
                    <a:pt x="1120" y="512"/>
                    <a:pt x="1025" y="512"/>
                  </a:cubicBezTo>
                  <a:cubicBezTo>
                    <a:pt x="941" y="512"/>
                    <a:pt x="870" y="595"/>
                    <a:pt x="870" y="679"/>
                  </a:cubicBezTo>
                  <a:lnTo>
                    <a:pt x="870" y="1286"/>
                  </a:lnTo>
                  <a:cubicBezTo>
                    <a:pt x="870" y="1441"/>
                    <a:pt x="751" y="1560"/>
                    <a:pt x="596" y="1560"/>
                  </a:cubicBezTo>
                  <a:cubicBezTo>
                    <a:pt x="453" y="1560"/>
                    <a:pt x="334" y="1441"/>
                    <a:pt x="334" y="1286"/>
                  </a:cubicBezTo>
                  <a:lnTo>
                    <a:pt x="334" y="595"/>
                  </a:lnTo>
                  <a:cubicBezTo>
                    <a:pt x="334" y="441"/>
                    <a:pt x="453" y="322"/>
                    <a:pt x="596" y="322"/>
                  </a:cubicBezTo>
                  <a:cubicBezTo>
                    <a:pt x="691" y="322"/>
                    <a:pt x="763" y="250"/>
                    <a:pt x="763" y="155"/>
                  </a:cubicBezTo>
                  <a:cubicBezTo>
                    <a:pt x="763" y="72"/>
                    <a:pt x="691"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1" name="Google Shape;10081;p58"/>
            <p:cNvSpPr/>
            <p:nvPr/>
          </p:nvSpPr>
          <p:spPr>
            <a:xfrm>
              <a:off x="2496894" y="3680964"/>
              <a:ext cx="297989" cy="296528"/>
            </a:xfrm>
            <a:custGeom>
              <a:avLst/>
              <a:gdLst/>
              <a:ahLst/>
              <a:cxnLst/>
              <a:rect l="l" t="t" r="r" b="b"/>
              <a:pathLst>
                <a:path w="9384" h="9338" extrusionOk="0">
                  <a:moveTo>
                    <a:pt x="5643" y="0"/>
                  </a:moveTo>
                  <a:cubicBezTo>
                    <a:pt x="5580" y="0"/>
                    <a:pt x="5517" y="1"/>
                    <a:pt x="5454" y="3"/>
                  </a:cubicBezTo>
                  <a:cubicBezTo>
                    <a:pt x="4025" y="51"/>
                    <a:pt x="2692" y="622"/>
                    <a:pt x="1680" y="1634"/>
                  </a:cubicBezTo>
                  <a:cubicBezTo>
                    <a:pt x="668" y="2646"/>
                    <a:pt x="84" y="3992"/>
                    <a:pt x="37" y="5421"/>
                  </a:cubicBezTo>
                  <a:cubicBezTo>
                    <a:pt x="1" y="6849"/>
                    <a:pt x="489" y="8219"/>
                    <a:pt x="1430" y="9278"/>
                  </a:cubicBezTo>
                  <a:cubicBezTo>
                    <a:pt x="1453" y="9302"/>
                    <a:pt x="1501" y="9338"/>
                    <a:pt x="1549" y="9338"/>
                  </a:cubicBezTo>
                  <a:cubicBezTo>
                    <a:pt x="1584" y="9338"/>
                    <a:pt x="1620" y="9314"/>
                    <a:pt x="1644" y="9290"/>
                  </a:cubicBezTo>
                  <a:cubicBezTo>
                    <a:pt x="1727" y="9231"/>
                    <a:pt x="1727" y="9123"/>
                    <a:pt x="1668" y="9052"/>
                  </a:cubicBezTo>
                  <a:cubicBezTo>
                    <a:pt x="787" y="8052"/>
                    <a:pt x="310" y="6754"/>
                    <a:pt x="358" y="5421"/>
                  </a:cubicBezTo>
                  <a:cubicBezTo>
                    <a:pt x="394" y="4075"/>
                    <a:pt x="930" y="2813"/>
                    <a:pt x="1882" y="1861"/>
                  </a:cubicBezTo>
                  <a:cubicBezTo>
                    <a:pt x="2835" y="908"/>
                    <a:pt x="4109" y="360"/>
                    <a:pt x="5442" y="325"/>
                  </a:cubicBezTo>
                  <a:cubicBezTo>
                    <a:pt x="5489" y="323"/>
                    <a:pt x="5536" y="323"/>
                    <a:pt x="5583" y="323"/>
                  </a:cubicBezTo>
                  <a:cubicBezTo>
                    <a:pt x="6877" y="323"/>
                    <a:pt x="8108" y="796"/>
                    <a:pt x="9073" y="1634"/>
                  </a:cubicBezTo>
                  <a:cubicBezTo>
                    <a:pt x="9108" y="1663"/>
                    <a:pt x="9150" y="1678"/>
                    <a:pt x="9191" y="1678"/>
                  </a:cubicBezTo>
                  <a:cubicBezTo>
                    <a:pt x="9236" y="1678"/>
                    <a:pt x="9280" y="1660"/>
                    <a:pt x="9312" y="1623"/>
                  </a:cubicBezTo>
                  <a:cubicBezTo>
                    <a:pt x="9383" y="1551"/>
                    <a:pt x="9383" y="1444"/>
                    <a:pt x="9312" y="1384"/>
                  </a:cubicBezTo>
                  <a:cubicBezTo>
                    <a:pt x="8288" y="486"/>
                    <a:pt x="6992" y="0"/>
                    <a:pt x="5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2" name="Google Shape;10082;p58"/>
            <p:cNvSpPr/>
            <p:nvPr/>
          </p:nvSpPr>
          <p:spPr>
            <a:xfrm>
              <a:off x="2555895" y="3739075"/>
              <a:ext cx="298719" cy="297036"/>
            </a:xfrm>
            <a:custGeom>
              <a:avLst/>
              <a:gdLst/>
              <a:ahLst/>
              <a:cxnLst/>
              <a:rect l="l" t="t" r="r" b="b"/>
              <a:pathLst>
                <a:path w="9407" h="9354" extrusionOk="0">
                  <a:moveTo>
                    <a:pt x="7840" y="1"/>
                  </a:moveTo>
                  <a:cubicBezTo>
                    <a:pt x="7800" y="1"/>
                    <a:pt x="7760" y="15"/>
                    <a:pt x="7727" y="43"/>
                  </a:cubicBezTo>
                  <a:cubicBezTo>
                    <a:pt x="7644" y="102"/>
                    <a:pt x="7644" y="209"/>
                    <a:pt x="7704" y="281"/>
                  </a:cubicBezTo>
                  <a:cubicBezTo>
                    <a:pt x="8585" y="1281"/>
                    <a:pt x="9061" y="2579"/>
                    <a:pt x="9013" y="3912"/>
                  </a:cubicBezTo>
                  <a:cubicBezTo>
                    <a:pt x="8978" y="5257"/>
                    <a:pt x="8430" y="6520"/>
                    <a:pt x="7489" y="7472"/>
                  </a:cubicBezTo>
                  <a:cubicBezTo>
                    <a:pt x="6537" y="8425"/>
                    <a:pt x="5263" y="8972"/>
                    <a:pt x="3929" y="9008"/>
                  </a:cubicBezTo>
                  <a:cubicBezTo>
                    <a:pt x="3881" y="9009"/>
                    <a:pt x="3833" y="9010"/>
                    <a:pt x="3785" y="9010"/>
                  </a:cubicBezTo>
                  <a:cubicBezTo>
                    <a:pt x="2491" y="9010"/>
                    <a:pt x="1251" y="8548"/>
                    <a:pt x="298" y="7698"/>
                  </a:cubicBezTo>
                  <a:cubicBezTo>
                    <a:pt x="264" y="7670"/>
                    <a:pt x="222" y="7655"/>
                    <a:pt x="180" y="7655"/>
                  </a:cubicBezTo>
                  <a:cubicBezTo>
                    <a:pt x="135" y="7655"/>
                    <a:pt x="91" y="7673"/>
                    <a:pt x="60" y="7710"/>
                  </a:cubicBezTo>
                  <a:cubicBezTo>
                    <a:pt x="0" y="7782"/>
                    <a:pt x="0" y="7889"/>
                    <a:pt x="72" y="7948"/>
                  </a:cubicBezTo>
                  <a:cubicBezTo>
                    <a:pt x="1096" y="8853"/>
                    <a:pt x="2393" y="9353"/>
                    <a:pt x="3763" y="9353"/>
                  </a:cubicBezTo>
                  <a:lnTo>
                    <a:pt x="3929" y="9353"/>
                  </a:lnTo>
                  <a:cubicBezTo>
                    <a:pt x="5358" y="9306"/>
                    <a:pt x="6692" y="8722"/>
                    <a:pt x="7704" y="7710"/>
                  </a:cubicBezTo>
                  <a:cubicBezTo>
                    <a:pt x="8716" y="6698"/>
                    <a:pt x="9299" y="5365"/>
                    <a:pt x="9347" y="3936"/>
                  </a:cubicBezTo>
                  <a:cubicBezTo>
                    <a:pt x="9406" y="2507"/>
                    <a:pt x="8894" y="1126"/>
                    <a:pt x="7966" y="66"/>
                  </a:cubicBezTo>
                  <a:cubicBezTo>
                    <a:pt x="7933" y="21"/>
                    <a:pt x="7887" y="1"/>
                    <a:pt x="78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3" name="Google Shape;10083;p58"/>
            <p:cNvSpPr/>
            <p:nvPr/>
          </p:nvSpPr>
          <p:spPr>
            <a:xfrm>
              <a:off x="2569867" y="3875336"/>
              <a:ext cx="211393" cy="99139"/>
            </a:xfrm>
            <a:custGeom>
              <a:avLst/>
              <a:gdLst/>
              <a:ahLst/>
              <a:cxnLst/>
              <a:rect l="l" t="t" r="r" b="b"/>
              <a:pathLst>
                <a:path w="6657" h="3122" extrusionOk="0">
                  <a:moveTo>
                    <a:pt x="5692" y="478"/>
                  </a:moveTo>
                  <a:lnTo>
                    <a:pt x="5692" y="478"/>
                  </a:lnTo>
                  <a:cubicBezTo>
                    <a:pt x="5644" y="562"/>
                    <a:pt x="5597" y="657"/>
                    <a:pt x="5537" y="728"/>
                  </a:cubicBezTo>
                  <a:cubicBezTo>
                    <a:pt x="5466" y="859"/>
                    <a:pt x="5311" y="931"/>
                    <a:pt x="5156" y="966"/>
                  </a:cubicBezTo>
                  <a:cubicBezTo>
                    <a:pt x="4537" y="1038"/>
                    <a:pt x="3918" y="1074"/>
                    <a:pt x="3323" y="1074"/>
                  </a:cubicBezTo>
                  <a:cubicBezTo>
                    <a:pt x="2715" y="1074"/>
                    <a:pt x="2096" y="1038"/>
                    <a:pt x="1489" y="966"/>
                  </a:cubicBezTo>
                  <a:cubicBezTo>
                    <a:pt x="1334" y="955"/>
                    <a:pt x="1191" y="859"/>
                    <a:pt x="1108" y="740"/>
                  </a:cubicBezTo>
                  <a:cubicBezTo>
                    <a:pt x="1049" y="657"/>
                    <a:pt x="1001" y="574"/>
                    <a:pt x="953" y="490"/>
                  </a:cubicBezTo>
                  <a:lnTo>
                    <a:pt x="953" y="490"/>
                  </a:lnTo>
                  <a:cubicBezTo>
                    <a:pt x="1727" y="609"/>
                    <a:pt x="2525" y="681"/>
                    <a:pt x="3323" y="681"/>
                  </a:cubicBezTo>
                  <a:cubicBezTo>
                    <a:pt x="4120" y="681"/>
                    <a:pt x="4918" y="609"/>
                    <a:pt x="5692" y="478"/>
                  </a:cubicBezTo>
                  <a:close/>
                  <a:moveTo>
                    <a:pt x="6347" y="324"/>
                  </a:moveTo>
                  <a:cubicBezTo>
                    <a:pt x="6311" y="335"/>
                    <a:pt x="6311" y="335"/>
                    <a:pt x="6311" y="359"/>
                  </a:cubicBezTo>
                  <a:cubicBezTo>
                    <a:pt x="6121" y="1050"/>
                    <a:pt x="5716" y="1681"/>
                    <a:pt x="5180" y="2121"/>
                  </a:cubicBezTo>
                  <a:cubicBezTo>
                    <a:pt x="4644" y="2574"/>
                    <a:pt x="3989" y="2812"/>
                    <a:pt x="3323" y="2812"/>
                  </a:cubicBezTo>
                  <a:cubicBezTo>
                    <a:pt x="2656" y="2812"/>
                    <a:pt x="2001" y="2574"/>
                    <a:pt x="1465" y="2121"/>
                  </a:cubicBezTo>
                  <a:cubicBezTo>
                    <a:pt x="941" y="1693"/>
                    <a:pt x="537" y="1050"/>
                    <a:pt x="334" y="359"/>
                  </a:cubicBezTo>
                  <a:lnTo>
                    <a:pt x="334" y="335"/>
                  </a:lnTo>
                  <a:cubicBezTo>
                    <a:pt x="406" y="359"/>
                    <a:pt x="477" y="371"/>
                    <a:pt x="572" y="395"/>
                  </a:cubicBezTo>
                  <a:cubicBezTo>
                    <a:pt x="644" y="574"/>
                    <a:pt x="739" y="752"/>
                    <a:pt x="834" y="907"/>
                  </a:cubicBezTo>
                  <a:cubicBezTo>
                    <a:pt x="965" y="1109"/>
                    <a:pt x="1203" y="1264"/>
                    <a:pt x="1465" y="1276"/>
                  </a:cubicBezTo>
                  <a:cubicBezTo>
                    <a:pt x="2084" y="1347"/>
                    <a:pt x="2715" y="1383"/>
                    <a:pt x="3335" y="1383"/>
                  </a:cubicBezTo>
                  <a:cubicBezTo>
                    <a:pt x="3954" y="1383"/>
                    <a:pt x="4585" y="1347"/>
                    <a:pt x="5216" y="1276"/>
                  </a:cubicBezTo>
                  <a:cubicBezTo>
                    <a:pt x="5466" y="1240"/>
                    <a:pt x="5704" y="1109"/>
                    <a:pt x="5835" y="883"/>
                  </a:cubicBezTo>
                  <a:cubicBezTo>
                    <a:pt x="5942" y="728"/>
                    <a:pt x="6037" y="562"/>
                    <a:pt x="6109" y="383"/>
                  </a:cubicBezTo>
                  <a:cubicBezTo>
                    <a:pt x="6180" y="371"/>
                    <a:pt x="6252" y="347"/>
                    <a:pt x="6347" y="324"/>
                  </a:cubicBezTo>
                  <a:close/>
                  <a:moveTo>
                    <a:pt x="334" y="0"/>
                  </a:moveTo>
                  <a:cubicBezTo>
                    <a:pt x="256" y="0"/>
                    <a:pt x="181" y="36"/>
                    <a:pt x="120" y="97"/>
                  </a:cubicBezTo>
                  <a:cubicBezTo>
                    <a:pt x="37" y="193"/>
                    <a:pt x="1" y="324"/>
                    <a:pt x="37" y="443"/>
                  </a:cubicBezTo>
                  <a:cubicBezTo>
                    <a:pt x="251" y="1217"/>
                    <a:pt x="668" y="1883"/>
                    <a:pt x="1263" y="2360"/>
                  </a:cubicBezTo>
                  <a:cubicBezTo>
                    <a:pt x="1858" y="2871"/>
                    <a:pt x="2596" y="3122"/>
                    <a:pt x="3335" y="3122"/>
                  </a:cubicBezTo>
                  <a:cubicBezTo>
                    <a:pt x="4097" y="3122"/>
                    <a:pt x="4811" y="2860"/>
                    <a:pt x="5406" y="2360"/>
                  </a:cubicBezTo>
                  <a:cubicBezTo>
                    <a:pt x="5990" y="1871"/>
                    <a:pt x="6418" y="1205"/>
                    <a:pt x="6645" y="443"/>
                  </a:cubicBezTo>
                  <a:cubicBezTo>
                    <a:pt x="6656" y="324"/>
                    <a:pt x="6633" y="193"/>
                    <a:pt x="6549" y="97"/>
                  </a:cubicBezTo>
                  <a:cubicBezTo>
                    <a:pt x="6495" y="43"/>
                    <a:pt x="6412" y="2"/>
                    <a:pt x="6328" y="2"/>
                  </a:cubicBezTo>
                  <a:cubicBezTo>
                    <a:pt x="6302" y="2"/>
                    <a:pt x="6277" y="6"/>
                    <a:pt x="6252" y="14"/>
                  </a:cubicBezTo>
                  <a:cubicBezTo>
                    <a:pt x="5323" y="240"/>
                    <a:pt x="4335" y="359"/>
                    <a:pt x="3335" y="359"/>
                  </a:cubicBezTo>
                  <a:cubicBezTo>
                    <a:pt x="2334" y="359"/>
                    <a:pt x="1346" y="240"/>
                    <a:pt x="418" y="14"/>
                  </a:cubicBezTo>
                  <a:cubicBezTo>
                    <a:pt x="390" y="5"/>
                    <a:pt x="362"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4" name="Google Shape;10084;p58"/>
          <p:cNvGrpSpPr/>
          <p:nvPr/>
        </p:nvGrpSpPr>
        <p:grpSpPr>
          <a:xfrm>
            <a:off x="3040984" y="3681059"/>
            <a:ext cx="356164" cy="355815"/>
            <a:chOff x="3040984" y="3681059"/>
            <a:chExt cx="356164" cy="355815"/>
          </a:xfrm>
        </p:grpSpPr>
        <p:sp>
          <p:nvSpPr>
            <p:cNvPr id="10085" name="Google Shape;10085;p58"/>
            <p:cNvSpPr/>
            <p:nvPr/>
          </p:nvSpPr>
          <p:spPr>
            <a:xfrm>
              <a:off x="3040984" y="3681059"/>
              <a:ext cx="356164" cy="355815"/>
            </a:xfrm>
            <a:custGeom>
              <a:avLst/>
              <a:gdLst/>
              <a:ahLst/>
              <a:cxnLst/>
              <a:rect l="l" t="t" r="r" b="b"/>
              <a:pathLst>
                <a:path w="11216" h="11205" extrusionOk="0">
                  <a:moveTo>
                    <a:pt x="5620" y="0"/>
                  </a:moveTo>
                  <a:cubicBezTo>
                    <a:pt x="4274" y="0"/>
                    <a:pt x="2965" y="488"/>
                    <a:pt x="1953" y="1369"/>
                  </a:cubicBezTo>
                  <a:cubicBezTo>
                    <a:pt x="1881" y="1429"/>
                    <a:pt x="1881" y="1536"/>
                    <a:pt x="1941" y="1608"/>
                  </a:cubicBezTo>
                  <a:cubicBezTo>
                    <a:pt x="1972" y="1645"/>
                    <a:pt x="2016" y="1663"/>
                    <a:pt x="2061" y="1663"/>
                  </a:cubicBezTo>
                  <a:cubicBezTo>
                    <a:pt x="2103" y="1663"/>
                    <a:pt x="2145" y="1648"/>
                    <a:pt x="2179" y="1620"/>
                  </a:cubicBezTo>
                  <a:cubicBezTo>
                    <a:pt x="3131" y="786"/>
                    <a:pt x="4358" y="346"/>
                    <a:pt x="5620" y="346"/>
                  </a:cubicBezTo>
                  <a:cubicBezTo>
                    <a:pt x="7013" y="346"/>
                    <a:pt x="8346" y="893"/>
                    <a:pt x="9335" y="1893"/>
                  </a:cubicBezTo>
                  <a:cubicBezTo>
                    <a:pt x="10335" y="2882"/>
                    <a:pt x="10882" y="4215"/>
                    <a:pt x="10882" y="5608"/>
                  </a:cubicBezTo>
                  <a:cubicBezTo>
                    <a:pt x="10882" y="7013"/>
                    <a:pt x="10335" y="8335"/>
                    <a:pt x="9335" y="9335"/>
                  </a:cubicBezTo>
                  <a:cubicBezTo>
                    <a:pt x="8346" y="10323"/>
                    <a:pt x="7013" y="10883"/>
                    <a:pt x="5620" y="10883"/>
                  </a:cubicBezTo>
                  <a:cubicBezTo>
                    <a:pt x="4215" y="10883"/>
                    <a:pt x="2893" y="10323"/>
                    <a:pt x="1893" y="9335"/>
                  </a:cubicBezTo>
                  <a:cubicBezTo>
                    <a:pt x="893" y="8335"/>
                    <a:pt x="345" y="7013"/>
                    <a:pt x="345" y="5608"/>
                  </a:cubicBezTo>
                  <a:cubicBezTo>
                    <a:pt x="345" y="4298"/>
                    <a:pt x="822" y="3048"/>
                    <a:pt x="1703" y="2084"/>
                  </a:cubicBezTo>
                  <a:cubicBezTo>
                    <a:pt x="1762" y="2012"/>
                    <a:pt x="1762" y="1905"/>
                    <a:pt x="1691" y="1846"/>
                  </a:cubicBezTo>
                  <a:cubicBezTo>
                    <a:pt x="1657" y="1817"/>
                    <a:pt x="1614" y="1802"/>
                    <a:pt x="1573" y="1802"/>
                  </a:cubicBezTo>
                  <a:cubicBezTo>
                    <a:pt x="1528" y="1802"/>
                    <a:pt x="1484" y="1820"/>
                    <a:pt x="1453" y="1858"/>
                  </a:cubicBezTo>
                  <a:cubicBezTo>
                    <a:pt x="512" y="2882"/>
                    <a:pt x="0" y="4227"/>
                    <a:pt x="0" y="5608"/>
                  </a:cubicBezTo>
                  <a:cubicBezTo>
                    <a:pt x="0" y="7096"/>
                    <a:pt x="583" y="8513"/>
                    <a:pt x="1643" y="9573"/>
                  </a:cubicBezTo>
                  <a:cubicBezTo>
                    <a:pt x="2703" y="10621"/>
                    <a:pt x="4096" y="11204"/>
                    <a:pt x="5608" y="11204"/>
                  </a:cubicBezTo>
                  <a:cubicBezTo>
                    <a:pt x="7108" y="11204"/>
                    <a:pt x="8501" y="10621"/>
                    <a:pt x="9561" y="9573"/>
                  </a:cubicBezTo>
                  <a:cubicBezTo>
                    <a:pt x="10620" y="8513"/>
                    <a:pt x="11204" y="7108"/>
                    <a:pt x="11204" y="5608"/>
                  </a:cubicBezTo>
                  <a:cubicBezTo>
                    <a:pt x="11216" y="4096"/>
                    <a:pt x="10632" y="2691"/>
                    <a:pt x="9573" y="1631"/>
                  </a:cubicBezTo>
                  <a:cubicBezTo>
                    <a:pt x="8525" y="572"/>
                    <a:pt x="7120"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6" name="Google Shape;10086;p58"/>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7" name="Google Shape;10087;p58"/>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88" name="Google Shape;10088;p58"/>
          <p:cNvGrpSpPr/>
          <p:nvPr/>
        </p:nvGrpSpPr>
        <p:grpSpPr>
          <a:xfrm>
            <a:off x="3584280" y="3699191"/>
            <a:ext cx="358069" cy="317995"/>
            <a:chOff x="3584280" y="3699191"/>
            <a:chExt cx="358069" cy="317995"/>
          </a:xfrm>
        </p:grpSpPr>
        <p:sp>
          <p:nvSpPr>
            <p:cNvPr id="10089" name="Google Shape;10089;p58"/>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0" name="Google Shape;10090;p58"/>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1" name="Google Shape;10091;p58"/>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2" name="Google Shape;10092;p58"/>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3" name="Google Shape;10093;p58"/>
          <p:cNvGrpSpPr/>
          <p:nvPr/>
        </p:nvGrpSpPr>
        <p:grpSpPr>
          <a:xfrm>
            <a:off x="4129482" y="3681059"/>
            <a:ext cx="355402" cy="354291"/>
            <a:chOff x="4129482" y="3681059"/>
            <a:chExt cx="355402" cy="354291"/>
          </a:xfrm>
        </p:grpSpPr>
        <p:sp>
          <p:nvSpPr>
            <p:cNvPr id="10094" name="Google Shape;10094;p58"/>
            <p:cNvSpPr/>
            <p:nvPr/>
          </p:nvSpPr>
          <p:spPr>
            <a:xfrm>
              <a:off x="4313979" y="3719578"/>
              <a:ext cx="133117" cy="225016"/>
            </a:xfrm>
            <a:custGeom>
              <a:avLst/>
              <a:gdLst/>
              <a:ahLst/>
              <a:cxnLst/>
              <a:rect l="l" t="t" r="r" b="b"/>
              <a:pathLst>
                <a:path w="4192" h="7086" extrusionOk="0">
                  <a:moveTo>
                    <a:pt x="173" y="0"/>
                  </a:moveTo>
                  <a:cubicBezTo>
                    <a:pt x="96" y="0"/>
                    <a:pt x="23" y="68"/>
                    <a:pt x="12" y="156"/>
                  </a:cubicBezTo>
                  <a:cubicBezTo>
                    <a:pt x="0" y="240"/>
                    <a:pt x="72" y="323"/>
                    <a:pt x="167" y="335"/>
                  </a:cubicBezTo>
                  <a:cubicBezTo>
                    <a:pt x="1167" y="418"/>
                    <a:pt x="2108" y="883"/>
                    <a:pt x="2798" y="1633"/>
                  </a:cubicBezTo>
                  <a:cubicBezTo>
                    <a:pt x="3501" y="2383"/>
                    <a:pt x="3870" y="3359"/>
                    <a:pt x="3870" y="4383"/>
                  </a:cubicBezTo>
                  <a:cubicBezTo>
                    <a:pt x="3870" y="5217"/>
                    <a:pt x="3620" y="6002"/>
                    <a:pt x="3156" y="6693"/>
                  </a:cubicBezTo>
                  <a:lnTo>
                    <a:pt x="893" y="4407"/>
                  </a:lnTo>
                  <a:cubicBezTo>
                    <a:pt x="864" y="4377"/>
                    <a:pt x="822" y="4362"/>
                    <a:pt x="779" y="4362"/>
                  </a:cubicBezTo>
                  <a:cubicBezTo>
                    <a:pt x="736" y="4362"/>
                    <a:pt x="691" y="4377"/>
                    <a:pt x="655" y="4407"/>
                  </a:cubicBezTo>
                  <a:cubicBezTo>
                    <a:pt x="596" y="4467"/>
                    <a:pt x="596" y="4574"/>
                    <a:pt x="655" y="4645"/>
                  </a:cubicBezTo>
                  <a:lnTo>
                    <a:pt x="3048" y="7050"/>
                  </a:lnTo>
                  <a:cubicBezTo>
                    <a:pt x="3084" y="7074"/>
                    <a:pt x="3120" y="7086"/>
                    <a:pt x="3167" y="7086"/>
                  </a:cubicBezTo>
                  <a:lnTo>
                    <a:pt x="3179" y="7086"/>
                  </a:lnTo>
                  <a:cubicBezTo>
                    <a:pt x="3227" y="7086"/>
                    <a:pt x="3275" y="7062"/>
                    <a:pt x="3298" y="7026"/>
                  </a:cubicBezTo>
                  <a:cubicBezTo>
                    <a:pt x="3882" y="6252"/>
                    <a:pt x="4191" y="5348"/>
                    <a:pt x="4191" y="4383"/>
                  </a:cubicBezTo>
                  <a:cubicBezTo>
                    <a:pt x="4191" y="3276"/>
                    <a:pt x="3775" y="2228"/>
                    <a:pt x="3036" y="1407"/>
                  </a:cubicBezTo>
                  <a:cubicBezTo>
                    <a:pt x="2286" y="597"/>
                    <a:pt x="1274" y="97"/>
                    <a:pt x="191" y="2"/>
                  </a:cubicBezTo>
                  <a:cubicBezTo>
                    <a:pt x="185" y="1"/>
                    <a:pt x="179"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5" name="Google Shape;10095;p58"/>
            <p:cNvSpPr/>
            <p:nvPr/>
          </p:nvSpPr>
          <p:spPr>
            <a:xfrm>
              <a:off x="4220968" y="3719197"/>
              <a:ext cx="106284" cy="132387"/>
            </a:xfrm>
            <a:custGeom>
              <a:avLst/>
              <a:gdLst/>
              <a:ahLst/>
              <a:cxnLst/>
              <a:rect l="l" t="t" r="r" b="b"/>
              <a:pathLst>
                <a:path w="3347" h="4169" extrusionOk="0">
                  <a:moveTo>
                    <a:pt x="2340" y="1"/>
                  </a:moveTo>
                  <a:cubicBezTo>
                    <a:pt x="2334" y="1"/>
                    <a:pt x="2328" y="1"/>
                    <a:pt x="2322" y="2"/>
                  </a:cubicBezTo>
                  <a:cubicBezTo>
                    <a:pt x="1501" y="73"/>
                    <a:pt x="715" y="371"/>
                    <a:pt x="60" y="883"/>
                  </a:cubicBezTo>
                  <a:cubicBezTo>
                    <a:pt x="12" y="907"/>
                    <a:pt x="0" y="954"/>
                    <a:pt x="0" y="1002"/>
                  </a:cubicBezTo>
                  <a:cubicBezTo>
                    <a:pt x="0" y="1038"/>
                    <a:pt x="12" y="1085"/>
                    <a:pt x="36" y="1133"/>
                  </a:cubicBezTo>
                  <a:lnTo>
                    <a:pt x="3048" y="4121"/>
                  </a:lnTo>
                  <a:cubicBezTo>
                    <a:pt x="3072" y="4157"/>
                    <a:pt x="3120" y="4169"/>
                    <a:pt x="3167" y="4169"/>
                  </a:cubicBezTo>
                  <a:cubicBezTo>
                    <a:pt x="3203" y="4169"/>
                    <a:pt x="3251" y="4157"/>
                    <a:pt x="3287" y="4121"/>
                  </a:cubicBezTo>
                  <a:cubicBezTo>
                    <a:pt x="3346" y="4062"/>
                    <a:pt x="3346" y="3955"/>
                    <a:pt x="3287" y="3883"/>
                  </a:cubicBezTo>
                  <a:lnTo>
                    <a:pt x="429" y="1026"/>
                  </a:lnTo>
                  <a:cubicBezTo>
                    <a:pt x="1001" y="645"/>
                    <a:pt x="1655" y="383"/>
                    <a:pt x="2358" y="323"/>
                  </a:cubicBezTo>
                  <a:cubicBezTo>
                    <a:pt x="2363" y="324"/>
                    <a:pt x="2367" y="324"/>
                    <a:pt x="2372" y="324"/>
                  </a:cubicBezTo>
                  <a:cubicBezTo>
                    <a:pt x="2449" y="324"/>
                    <a:pt x="2512" y="235"/>
                    <a:pt x="2501" y="157"/>
                  </a:cubicBezTo>
                  <a:cubicBezTo>
                    <a:pt x="2479" y="68"/>
                    <a:pt x="2416" y="1"/>
                    <a:pt x="2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6" name="Google Shape;10096;p58"/>
            <p:cNvSpPr/>
            <p:nvPr/>
          </p:nvSpPr>
          <p:spPr>
            <a:xfrm>
              <a:off x="4167270" y="3772545"/>
              <a:ext cx="226127" cy="225746"/>
            </a:xfrm>
            <a:custGeom>
              <a:avLst/>
              <a:gdLst/>
              <a:ahLst/>
              <a:cxnLst/>
              <a:rect l="l" t="t" r="r" b="b"/>
              <a:pathLst>
                <a:path w="7121" h="7109" extrusionOk="0">
                  <a:moveTo>
                    <a:pt x="1037" y="405"/>
                  </a:moveTo>
                  <a:lnTo>
                    <a:pt x="6704" y="6061"/>
                  </a:lnTo>
                  <a:cubicBezTo>
                    <a:pt x="6013" y="6537"/>
                    <a:pt x="5228" y="6775"/>
                    <a:pt x="4406" y="6775"/>
                  </a:cubicBezTo>
                  <a:cubicBezTo>
                    <a:pt x="2168" y="6775"/>
                    <a:pt x="334" y="4942"/>
                    <a:pt x="334" y="2703"/>
                  </a:cubicBezTo>
                  <a:cubicBezTo>
                    <a:pt x="334" y="1882"/>
                    <a:pt x="572" y="1096"/>
                    <a:pt x="1037" y="405"/>
                  </a:cubicBezTo>
                  <a:close/>
                  <a:moveTo>
                    <a:pt x="1001" y="1"/>
                  </a:moveTo>
                  <a:cubicBezTo>
                    <a:pt x="953" y="1"/>
                    <a:pt x="918" y="36"/>
                    <a:pt x="882" y="60"/>
                  </a:cubicBezTo>
                  <a:cubicBezTo>
                    <a:pt x="298" y="822"/>
                    <a:pt x="1" y="1739"/>
                    <a:pt x="1" y="2703"/>
                  </a:cubicBezTo>
                  <a:cubicBezTo>
                    <a:pt x="1" y="5120"/>
                    <a:pt x="1989" y="7109"/>
                    <a:pt x="4406" y="7109"/>
                  </a:cubicBezTo>
                  <a:cubicBezTo>
                    <a:pt x="5382" y="7109"/>
                    <a:pt x="6287" y="6811"/>
                    <a:pt x="7061" y="6228"/>
                  </a:cubicBezTo>
                  <a:cubicBezTo>
                    <a:pt x="7109" y="6192"/>
                    <a:pt x="7121" y="6156"/>
                    <a:pt x="7121" y="6108"/>
                  </a:cubicBezTo>
                  <a:cubicBezTo>
                    <a:pt x="7121" y="6061"/>
                    <a:pt x="7109" y="6013"/>
                    <a:pt x="7073" y="5978"/>
                  </a:cubicBezTo>
                  <a:lnTo>
                    <a:pt x="1132" y="36"/>
                  </a:lnTo>
                  <a:cubicBezTo>
                    <a:pt x="1096" y="24"/>
                    <a:pt x="1048" y="1"/>
                    <a:pt x="1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7" name="Google Shape;10097;p58"/>
            <p:cNvSpPr/>
            <p:nvPr/>
          </p:nvSpPr>
          <p:spPr>
            <a:xfrm>
              <a:off x="4129482" y="3681059"/>
              <a:ext cx="355402" cy="354291"/>
            </a:xfrm>
            <a:custGeom>
              <a:avLst/>
              <a:gdLst/>
              <a:ahLst/>
              <a:cxnLst/>
              <a:rect l="l" t="t" r="r" b="b"/>
              <a:pathLst>
                <a:path w="11192" h="11157" extrusionOk="0">
                  <a:moveTo>
                    <a:pt x="5596" y="0"/>
                  </a:moveTo>
                  <a:cubicBezTo>
                    <a:pt x="4096" y="0"/>
                    <a:pt x="2703" y="572"/>
                    <a:pt x="1643" y="1631"/>
                  </a:cubicBezTo>
                  <a:cubicBezTo>
                    <a:pt x="584" y="2691"/>
                    <a:pt x="0" y="4096"/>
                    <a:pt x="0" y="5584"/>
                  </a:cubicBezTo>
                  <a:cubicBezTo>
                    <a:pt x="0" y="7013"/>
                    <a:pt x="536" y="8358"/>
                    <a:pt x="1512" y="9406"/>
                  </a:cubicBezTo>
                  <a:cubicBezTo>
                    <a:pt x="2477" y="10430"/>
                    <a:pt x="3786" y="11061"/>
                    <a:pt x="5191" y="11156"/>
                  </a:cubicBezTo>
                  <a:cubicBezTo>
                    <a:pt x="5286" y="11156"/>
                    <a:pt x="5358" y="11097"/>
                    <a:pt x="5382" y="11014"/>
                  </a:cubicBezTo>
                  <a:cubicBezTo>
                    <a:pt x="5382" y="10918"/>
                    <a:pt x="5322" y="10847"/>
                    <a:pt x="5227" y="10835"/>
                  </a:cubicBezTo>
                  <a:cubicBezTo>
                    <a:pt x="3905" y="10740"/>
                    <a:pt x="2667" y="10144"/>
                    <a:pt x="1762" y="9180"/>
                  </a:cubicBezTo>
                  <a:cubicBezTo>
                    <a:pt x="834" y="8192"/>
                    <a:pt x="333" y="6930"/>
                    <a:pt x="333" y="5572"/>
                  </a:cubicBezTo>
                  <a:cubicBezTo>
                    <a:pt x="333" y="4179"/>
                    <a:pt x="881" y="2858"/>
                    <a:pt x="1881" y="1858"/>
                  </a:cubicBezTo>
                  <a:cubicBezTo>
                    <a:pt x="2881" y="858"/>
                    <a:pt x="4203" y="310"/>
                    <a:pt x="5596" y="310"/>
                  </a:cubicBezTo>
                  <a:cubicBezTo>
                    <a:pt x="7001" y="310"/>
                    <a:pt x="8323" y="858"/>
                    <a:pt x="9323" y="1858"/>
                  </a:cubicBezTo>
                  <a:cubicBezTo>
                    <a:pt x="10323" y="2858"/>
                    <a:pt x="10871" y="4179"/>
                    <a:pt x="10871" y="5572"/>
                  </a:cubicBezTo>
                  <a:cubicBezTo>
                    <a:pt x="10871" y="6918"/>
                    <a:pt x="10359" y="8192"/>
                    <a:pt x="9442" y="9180"/>
                  </a:cubicBezTo>
                  <a:cubicBezTo>
                    <a:pt x="8525" y="10144"/>
                    <a:pt x="7299" y="10740"/>
                    <a:pt x="5977" y="10835"/>
                  </a:cubicBezTo>
                  <a:cubicBezTo>
                    <a:pt x="5882" y="10835"/>
                    <a:pt x="5810" y="10918"/>
                    <a:pt x="5822" y="11014"/>
                  </a:cubicBezTo>
                  <a:cubicBezTo>
                    <a:pt x="5822" y="11097"/>
                    <a:pt x="5894" y="11156"/>
                    <a:pt x="5989" y="11156"/>
                  </a:cubicBezTo>
                  <a:lnTo>
                    <a:pt x="6001" y="11156"/>
                  </a:lnTo>
                  <a:cubicBezTo>
                    <a:pt x="7418" y="11061"/>
                    <a:pt x="8727" y="10442"/>
                    <a:pt x="9692" y="9406"/>
                  </a:cubicBezTo>
                  <a:cubicBezTo>
                    <a:pt x="10656" y="8358"/>
                    <a:pt x="11192" y="7013"/>
                    <a:pt x="11192" y="5584"/>
                  </a:cubicBezTo>
                  <a:cubicBezTo>
                    <a:pt x="11192" y="4096"/>
                    <a:pt x="10597" y="2691"/>
                    <a:pt x="9561" y="1631"/>
                  </a:cubicBezTo>
                  <a:cubicBezTo>
                    <a:pt x="8501" y="572"/>
                    <a:pt x="7108"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98" name="Google Shape;10098;p58"/>
          <p:cNvGrpSpPr/>
          <p:nvPr/>
        </p:nvGrpSpPr>
        <p:grpSpPr>
          <a:xfrm>
            <a:off x="4673540" y="3680297"/>
            <a:ext cx="355434" cy="355815"/>
            <a:chOff x="4673540" y="3680297"/>
            <a:chExt cx="355434" cy="355815"/>
          </a:xfrm>
        </p:grpSpPr>
        <p:sp>
          <p:nvSpPr>
            <p:cNvPr id="10099" name="Google Shape;10099;p58"/>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0" name="Google Shape;10100;p58"/>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1" name="Google Shape;10101;p58"/>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02" name="Google Shape;10102;p58"/>
          <p:cNvGrpSpPr/>
          <p:nvPr/>
        </p:nvGrpSpPr>
        <p:grpSpPr>
          <a:xfrm>
            <a:off x="5779408" y="3699191"/>
            <a:ext cx="317645" cy="318757"/>
            <a:chOff x="5779408" y="3699191"/>
            <a:chExt cx="317645" cy="318757"/>
          </a:xfrm>
        </p:grpSpPr>
        <p:sp>
          <p:nvSpPr>
            <p:cNvPr id="10103" name="Google Shape;10103;p58"/>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4" name="Google Shape;10104;p58"/>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05" name="Google Shape;10105;p58"/>
          <p:cNvSpPr/>
          <p:nvPr/>
        </p:nvSpPr>
        <p:spPr>
          <a:xfrm>
            <a:off x="6304573" y="3694459"/>
            <a:ext cx="356196" cy="328410"/>
          </a:xfrm>
          <a:custGeom>
            <a:avLst/>
            <a:gdLst/>
            <a:ahLst/>
            <a:cxnLst/>
            <a:rect l="l" t="t" r="r" b="b"/>
            <a:pathLst>
              <a:path w="11217" h="10342" extrusionOk="0">
                <a:moveTo>
                  <a:pt x="3394" y="1186"/>
                </a:moveTo>
                <a:lnTo>
                  <a:pt x="3394" y="1507"/>
                </a:lnTo>
                <a:lnTo>
                  <a:pt x="1668" y="1507"/>
                </a:lnTo>
                <a:lnTo>
                  <a:pt x="1668" y="1186"/>
                </a:lnTo>
                <a:close/>
                <a:moveTo>
                  <a:pt x="3096" y="1829"/>
                </a:moveTo>
                <a:lnTo>
                  <a:pt x="3096" y="2090"/>
                </a:lnTo>
                <a:lnTo>
                  <a:pt x="2013" y="3043"/>
                </a:lnTo>
                <a:lnTo>
                  <a:pt x="2013" y="1829"/>
                </a:lnTo>
                <a:close/>
                <a:moveTo>
                  <a:pt x="6740" y="5948"/>
                </a:moveTo>
                <a:cubicBezTo>
                  <a:pt x="6775" y="5948"/>
                  <a:pt x="6799" y="5972"/>
                  <a:pt x="6799" y="6008"/>
                </a:cubicBezTo>
                <a:lnTo>
                  <a:pt x="6799" y="10020"/>
                </a:lnTo>
                <a:lnTo>
                  <a:pt x="4644" y="10020"/>
                </a:lnTo>
                <a:lnTo>
                  <a:pt x="4644" y="6008"/>
                </a:lnTo>
                <a:cubicBezTo>
                  <a:pt x="4644" y="5972"/>
                  <a:pt x="4668" y="5948"/>
                  <a:pt x="4704" y="5948"/>
                </a:cubicBezTo>
                <a:close/>
                <a:moveTo>
                  <a:pt x="5601" y="1"/>
                </a:moveTo>
                <a:cubicBezTo>
                  <a:pt x="5543" y="1"/>
                  <a:pt x="5484" y="19"/>
                  <a:pt x="5430" y="55"/>
                </a:cubicBezTo>
                <a:lnTo>
                  <a:pt x="3692" y="1567"/>
                </a:lnTo>
                <a:lnTo>
                  <a:pt x="3692" y="1126"/>
                </a:lnTo>
                <a:cubicBezTo>
                  <a:pt x="3692" y="995"/>
                  <a:pt x="3573" y="876"/>
                  <a:pt x="3442" y="876"/>
                </a:cubicBezTo>
                <a:lnTo>
                  <a:pt x="1596" y="876"/>
                </a:lnTo>
                <a:cubicBezTo>
                  <a:pt x="1453" y="876"/>
                  <a:pt x="1334" y="995"/>
                  <a:pt x="1334" y="1126"/>
                </a:cubicBezTo>
                <a:lnTo>
                  <a:pt x="1334" y="1590"/>
                </a:lnTo>
                <a:cubicBezTo>
                  <a:pt x="1334" y="1721"/>
                  <a:pt x="1453" y="1840"/>
                  <a:pt x="1596" y="1840"/>
                </a:cubicBezTo>
                <a:lnTo>
                  <a:pt x="1691" y="1840"/>
                </a:lnTo>
                <a:lnTo>
                  <a:pt x="1691" y="3329"/>
                </a:lnTo>
                <a:lnTo>
                  <a:pt x="108" y="4710"/>
                </a:lnTo>
                <a:cubicBezTo>
                  <a:pt x="25" y="4781"/>
                  <a:pt x="1" y="4888"/>
                  <a:pt x="25" y="4984"/>
                </a:cubicBezTo>
                <a:cubicBezTo>
                  <a:pt x="60" y="5079"/>
                  <a:pt x="167" y="5138"/>
                  <a:pt x="251" y="5138"/>
                </a:cubicBezTo>
                <a:lnTo>
                  <a:pt x="1322" y="5138"/>
                </a:lnTo>
                <a:lnTo>
                  <a:pt x="1322" y="7972"/>
                </a:lnTo>
                <a:cubicBezTo>
                  <a:pt x="1322" y="8056"/>
                  <a:pt x="1394" y="8139"/>
                  <a:pt x="1489" y="8139"/>
                </a:cubicBezTo>
                <a:cubicBezTo>
                  <a:pt x="1572" y="8139"/>
                  <a:pt x="1656" y="8056"/>
                  <a:pt x="1656" y="7972"/>
                </a:cubicBezTo>
                <a:lnTo>
                  <a:pt x="1656" y="5055"/>
                </a:lnTo>
                <a:lnTo>
                  <a:pt x="5609" y="1614"/>
                </a:lnTo>
                <a:lnTo>
                  <a:pt x="9561" y="5055"/>
                </a:lnTo>
                <a:lnTo>
                  <a:pt x="9561" y="9937"/>
                </a:lnTo>
                <a:cubicBezTo>
                  <a:pt x="9561" y="9984"/>
                  <a:pt x="9526" y="10020"/>
                  <a:pt x="9478" y="10020"/>
                </a:cubicBezTo>
                <a:lnTo>
                  <a:pt x="7109" y="10020"/>
                </a:lnTo>
                <a:lnTo>
                  <a:pt x="7109" y="6008"/>
                </a:lnTo>
                <a:cubicBezTo>
                  <a:pt x="7109" y="5793"/>
                  <a:pt x="6930" y="5615"/>
                  <a:pt x="6728" y="5615"/>
                </a:cubicBezTo>
                <a:lnTo>
                  <a:pt x="4680" y="5615"/>
                </a:lnTo>
                <a:cubicBezTo>
                  <a:pt x="4478" y="5615"/>
                  <a:pt x="4299" y="5793"/>
                  <a:pt x="4299" y="6008"/>
                </a:cubicBezTo>
                <a:lnTo>
                  <a:pt x="4299" y="10020"/>
                </a:lnTo>
                <a:lnTo>
                  <a:pt x="1739" y="10020"/>
                </a:lnTo>
                <a:cubicBezTo>
                  <a:pt x="1691" y="10020"/>
                  <a:pt x="1656" y="9984"/>
                  <a:pt x="1656" y="9937"/>
                </a:cubicBezTo>
                <a:lnTo>
                  <a:pt x="1656" y="8734"/>
                </a:lnTo>
                <a:cubicBezTo>
                  <a:pt x="1656" y="8639"/>
                  <a:pt x="1572" y="8567"/>
                  <a:pt x="1489" y="8567"/>
                </a:cubicBezTo>
                <a:cubicBezTo>
                  <a:pt x="1394" y="8567"/>
                  <a:pt x="1322" y="8639"/>
                  <a:pt x="1322" y="8734"/>
                </a:cubicBezTo>
                <a:lnTo>
                  <a:pt x="1322" y="9937"/>
                </a:lnTo>
                <a:cubicBezTo>
                  <a:pt x="1322" y="10163"/>
                  <a:pt x="1501" y="10342"/>
                  <a:pt x="1727" y="10342"/>
                </a:cubicBezTo>
                <a:lnTo>
                  <a:pt x="9466" y="10342"/>
                </a:lnTo>
                <a:cubicBezTo>
                  <a:pt x="9692" y="10342"/>
                  <a:pt x="9871" y="10163"/>
                  <a:pt x="9871" y="9937"/>
                </a:cubicBezTo>
                <a:lnTo>
                  <a:pt x="9871" y="5127"/>
                </a:lnTo>
                <a:lnTo>
                  <a:pt x="10943" y="5127"/>
                </a:lnTo>
                <a:cubicBezTo>
                  <a:pt x="11038" y="5127"/>
                  <a:pt x="11133" y="5067"/>
                  <a:pt x="11157" y="4960"/>
                </a:cubicBezTo>
                <a:cubicBezTo>
                  <a:pt x="11216" y="4877"/>
                  <a:pt x="11205" y="4769"/>
                  <a:pt x="11121" y="4698"/>
                </a:cubicBezTo>
                <a:lnTo>
                  <a:pt x="8811" y="2686"/>
                </a:lnTo>
                <a:cubicBezTo>
                  <a:pt x="8785" y="2659"/>
                  <a:pt x="8748" y="2647"/>
                  <a:pt x="8711" y="2647"/>
                </a:cubicBezTo>
                <a:cubicBezTo>
                  <a:pt x="8665" y="2647"/>
                  <a:pt x="8618" y="2665"/>
                  <a:pt x="8585" y="2698"/>
                </a:cubicBezTo>
                <a:cubicBezTo>
                  <a:pt x="8526" y="2757"/>
                  <a:pt x="8538" y="2864"/>
                  <a:pt x="8597" y="2924"/>
                </a:cubicBezTo>
                <a:lnTo>
                  <a:pt x="10764" y="4805"/>
                </a:lnTo>
                <a:lnTo>
                  <a:pt x="9776" y="4805"/>
                </a:lnTo>
                <a:lnTo>
                  <a:pt x="5763" y="1305"/>
                </a:lnTo>
                <a:cubicBezTo>
                  <a:pt x="5716" y="1269"/>
                  <a:pt x="5659" y="1251"/>
                  <a:pt x="5601" y="1251"/>
                </a:cubicBezTo>
                <a:cubicBezTo>
                  <a:pt x="5543" y="1251"/>
                  <a:pt x="5484" y="1269"/>
                  <a:pt x="5430" y="1305"/>
                </a:cubicBezTo>
                <a:lnTo>
                  <a:pt x="1418" y="4805"/>
                </a:lnTo>
                <a:lnTo>
                  <a:pt x="429" y="4805"/>
                </a:lnTo>
                <a:lnTo>
                  <a:pt x="1918" y="3507"/>
                </a:lnTo>
                <a:lnTo>
                  <a:pt x="3335" y="2281"/>
                </a:lnTo>
                <a:lnTo>
                  <a:pt x="5609" y="340"/>
                </a:lnTo>
                <a:lnTo>
                  <a:pt x="8026" y="2436"/>
                </a:lnTo>
                <a:cubicBezTo>
                  <a:pt x="8052" y="2463"/>
                  <a:pt x="8086" y="2475"/>
                  <a:pt x="8121" y="2475"/>
                </a:cubicBezTo>
                <a:cubicBezTo>
                  <a:pt x="8164" y="2475"/>
                  <a:pt x="8207" y="2457"/>
                  <a:pt x="8240" y="2424"/>
                </a:cubicBezTo>
                <a:cubicBezTo>
                  <a:pt x="8299" y="2364"/>
                  <a:pt x="8288" y="2257"/>
                  <a:pt x="8228" y="2198"/>
                </a:cubicBezTo>
                <a:lnTo>
                  <a:pt x="5763" y="55"/>
                </a:lnTo>
                <a:cubicBezTo>
                  <a:pt x="5716" y="19"/>
                  <a:pt x="5659" y="1"/>
                  <a:pt x="56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06" name="Google Shape;10106;p58"/>
          <p:cNvGrpSpPr/>
          <p:nvPr/>
        </p:nvGrpSpPr>
        <p:grpSpPr>
          <a:xfrm>
            <a:off x="7390435" y="3680868"/>
            <a:ext cx="372073" cy="355243"/>
            <a:chOff x="7390435" y="3680868"/>
            <a:chExt cx="372073" cy="355243"/>
          </a:xfrm>
        </p:grpSpPr>
        <p:sp>
          <p:nvSpPr>
            <p:cNvPr id="10107" name="Google Shape;10107;p58"/>
            <p:cNvSpPr/>
            <p:nvPr/>
          </p:nvSpPr>
          <p:spPr>
            <a:xfrm>
              <a:off x="7390435" y="3744950"/>
              <a:ext cx="294178" cy="291162"/>
            </a:xfrm>
            <a:custGeom>
              <a:avLst/>
              <a:gdLst/>
              <a:ahLst/>
              <a:cxnLst/>
              <a:rect l="l" t="t" r="r" b="b"/>
              <a:pathLst>
                <a:path w="9264" h="9169" extrusionOk="0">
                  <a:moveTo>
                    <a:pt x="4668" y="0"/>
                  </a:moveTo>
                  <a:cubicBezTo>
                    <a:pt x="3441" y="0"/>
                    <a:pt x="2287" y="477"/>
                    <a:pt x="1417" y="1334"/>
                  </a:cubicBezTo>
                  <a:cubicBezTo>
                    <a:pt x="1358" y="1393"/>
                    <a:pt x="1358" y="1501"/>
                    <a:pt x="1417" y="1572"/>
                  </a:cubicBezTo>
                  <a:cubicBezTo>
                    <a:pt x="1447" y="1602"/>
                    <a:pt x="1489" y="1617"/>
                    <a:pt x="1532" y="1617"/>
                  </a:cubicBezTo>
                  <a:cubicBezTo>
                    <a:pt x="1575" y="1617"/>
                    <a:pt x="1620" y="1602"/>
                    <a:pt x="1655" y="1572"/>
                  </a:cubicBezTo>
                  <a:cubicBezTo>
                    <a:pt x="2465" y="774"/>
                    <a:pt x="3537" y="322"/>
                    <a:pt x="4668" y="322"/>
                  </a:cubicBezTo>
                  <a:cubicBezTo>
                    <a:pt x="5799" y="322"/>
                    <a:pt x="6870" y="774"/>
                    <a:pt x="7668" y="1572"/>
                  </a:cubicBezTo>
                  <a:cubicBezTo>
                    <a:pt x="8478" y="2382"/>
                    <a:pt x="8918" y="3453"/>
                    <a:pt x="8918" y="4584"/>
                  </a:cubicBezTo>
                  <a:cubicBezTo>
                    <a:pt x="8918" y="5715"/>
                    <a:pt x="8478" y="6787"/>
                    <a:pt x="7668" y="7585"/>
                  </a:cubicBezTo>
                  <a:cubicBezTo>
                    <a:pt x="6841" y="8412"/>
                    <a:pt x="5751" y="8826"/>
                    <a:pt x="4662" y="8826"/>
                  </a:cubicBezTo>
                  <a:cubicBezTo>
                    <a:pt x="3572" y="8826"/>
                    <a:pt x="2483" y="8412"/>
                    <a:pt x="1655" y="7585"/>
                  </a:cubicBezTo>
                  <a:cubicBezTo>
                    <a:pt x="953" y="6882"/>
                    <a:pt x="524" y="5965"/>
                    <a:pt x="441" y="4977"/>
                  </a:cubicBezTo>
                  <a:cubicBezTo>
                    <a:pt x="346" y="4013"/>
                    <a:pt x="596" y="3037"/>
                    <a:pt x="1132" y="2227"/>
                  </a:cubicBezTo>
                  <a:cubicBezTo>
                    <a:pt x="1179" y="2155"/>
                    <a:pt x="1167" y="2048"/>
                    <a:pt x="1096" y="1989"/>
                  </a:cubicBezTo>
                  <a:cubicBezTo>
                    <a:pt x="1066" y="1972"/>
                    <a:pt x="1035" y="1964"/>
                    <a:pt x="1005" y="1964"/>
                  </a:cubicBezTo>
                  <a:cubicBezTo>
                    <a:pt x="950" y="1964"/>
                    <a:pt x="896" y="1990"/>
                    <a:pt x="858" y="2036"/>
                  </a:cubicBezTo>
                  <a:cubicBezTo>
                    <a:pt x="274" y="2894"/>
                    <a:pt x="1" y="3953"/>
                    <a:pt x="108" y="5013"/>
                  </a:cubicBezTo>
                  <a:cubicBezTo>
                    <a:pt x="215" y="6073"/>
                    <a:pt x="679" y="7085"/>
                    <a:pt x="1429" y="7823"/>
                  </a:cubicBezTo>
                  <a:cubicBezTo>
                    <a:pt x="2322" y="8716"/>
                    <a:pt x="3501" y="9168"/>
                    <a:pt x="4680" y="9168"/>
                  </a:cubicBezTo>
                  <a:cubicBezTo>
                    <a:pt x="5858" y="9168"/>
                    <a:pt x="7025" y="8716"/>
                    <a:pt x="7918" y="7823"/>
                  </a:cubicBezTo>
                  <a:cubicBezTo>
                    <a:pt x="8787" y="6966"/>
                    <a:pt x="9264" y="5799"/>
                    <a:pt x="9264" y="4584"/>
                  </a:cubicBezTo>
                  <a:cubicBezTo>
                    <a:pt x="9264" y="3358"/>
                    <a:pt x="8787" y="2203"/>
                    <a:pt x="7906" y="1334"/>
                  </a:cubicBezTo>
                  <a:cubicBezTo>
                    <a:pt x="7049" y="477"/>
                    <a:pt x="5882" y="0"/>
                    <a:pt x="4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8" name="Google Shape;10108;p58"/>
            <p:cNvSpPr/>
            <p:nvPr/>
          </p:nvSpPr>
          <p:spPr>
            <a:xfrm>
              <a:off x="7408948" y="3772259"/>
              <a:ext cx="259407" cy="236257"/>
            </a:xfrm>
            <a:custGeom>
              <a:avLst/>
              <a:gdLst/>
              <a:ahLst/>
              <a:cxnLst/>
              <a:rect l="l" t="t" r="r" b="b"/>
              <a:pathLst>
                <a:path w="8169" h="7440" extrusionOk="0">
                  <a:moveTo>
                    <a:pt x="4085" y="319"/>
                  </a:moveTo>
                  <a:cubicBezTo>
                    <a:pt x="4942" y="319"/>
                    <a:pt x="5823" y="653"/>
                    <a:pt x="6478" y="1319"/>
                  </a:cubicBezTo>
                  <a:cubicBezTo>
                    <a:pt x="7800" y="2653"/>
                    <a:pt x="7800" y="4796"/>
                    <a:pt x="6478" y="6117"/>
                  </a:cubicBezTo>
                  <a:cubicBezTo>
                    <a:pt x="5817" y="6778"/>
                    <a:pt x="4951" y="7109"/>
                    <a:pt x="4083" y="7109"/>
                  </a:cubicBezTo>
                  <a:cubicBezTo>
                    <a:pt x="3216" y="7109"/>
                    <a:pt x="2346" y="6778"/>
                    <a:pt x="1680" y="6117"/>
                  </a:cubicBezTo>
                  <a:cubicBezTo>
                    <a:pt x="358" y="4796"/>
                    <a:pt x="358" y="2653"/>
                    <a:pt x="1680" y="1319"/>
                  </a:cubicBezTo>
                  <a:cubicBezTo>
                    <a:pt x="2335" y="664"/>
                    <a:pt x="3216" y="319"/>
                    <a:pt x="4085" y="319"/>
                  </a:cubicBezTo>
                  <a:close/>
                  <a:moveTo>
                    <a:pt x="4088" y="1"/>
                  </a:moveTo>
                  <a:cubicBezTo>
                    <a:pt x="3132" y="1"/>
                    <a:pt x="2174" y="361"/>
                    <a:pt x="1442" y="1081"/>
                  </a:cubicBezTo>
                  <a:cubicBezTo>
                    <a:pt x="1" y="2534"/>
                    <a:pt x="1" y="4891"/>
                    <a:pt x="1442" y="6356"/>
                  </a:cubicBezTo>
                  <a:cubicBezTo>
                    <a:pt x="2180" y="7082"/>
                    <a:pt x="3120" y="7439"/>
                    <a:pt x="4085" y="7439"/>
                  </a:cubicBezTo>
                  <a:cubicBezTo>
                    <a:pt x="5037" y="7439"/>
                    <a:pt x="5978" y="7082"/>
                    <a:pt x="6716" y="6356"/>
                  </a:cubicBezTo>
                  <a:cubicBezTo>
                    <a:pt x="8169" y="4891"/>
                    <a:pt x="8169" y="2546"/>
                    <a:pt x="6716" y="1081"/>
                  </a:cubicBezTo>
                  <a:cubicBezTo>
                    <a:pt x="5996" y="361"/>
                    <a:pt x="5043" y="1"/>
                    <a:pt x="40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9" name="Google Shape;10109;p58"/>
            <p:cNvSpPr/>
            <p:nvPr/>
          </p:nvSpPr>
          <p:spPr>
            <a:xfrm>
              <a:off x="7487986" y="3680868"/>
              <a:ext cx="274522" cy="259565"/>
            </a:xfrm>
            <a:custGeom>
              <a:avLst/>
              <a:gdLst/>
              <a:ahLst/>
              <a:cxnLst/>
              <a:rect l="l" t="t" r="r" b="b"/>
              <a:pathLst>
                <a:path w="8645" h="8174" extrusionOk="0">
                  <a:moveTo>
                    <a:pt x="3614" y="0"/>
                  </a:moveTo>
                  <a:cubicBezTo>
                    <a:pt x="2438" y="0"/>
                    <a:pt x="1262" y="447"/>
                    <a:pt x="369" y="1340"/>
                  </a:cubicBezTo>
                  <a:cubicBezTo>
                    <a:pt x="262" y="1447"/>
                    <a:pt x="167" y="1566"/>
                    <a:pt x="60" y="1685"/>
                  </a:cubicBezTo>
                  <a:cubicBezTo>
                    <a:pt x="0" y="1756"/>
                    <a:pt x="12" y="1864"/>
                    <a:pt x="84" y="1923"/>
                  </a:cubicBezTo>
                  <a:cubicBezTo>
                    <a:pt x="118" y="1948"/>
                    <a:pt x="155" y="1960"/>
                    <a:pt x="191" y="1960"/>
                  </a:cubicBezTo>
                  <a:cubicBezTo>
                    <a:pt x="240" y="1960"/>
                    <a:pt x="287" y="1936"/>
                    <a:pt x="322" y="1887"/>
                  </a:cubicBezTo>
                  <a:cubicBezTo>
                    <a:pt x="417" y="1792"/>
                    <a:pt x="500" y="1685"/>
                    <a:pt x="608" y="1578"/>
                  </a:cubicBezTo>
                  <a:cubicBezTo>
                    <a:pt x="1435" y="750"/>
                    <a:pt x="2524" y="337"/>
                    <a:pt x="3614" y="337"/>
                  </a:cubicBezTo>
                  <a:cubicBezTo>
                    <a:pt x="4703" y="337"/>
                    <a:pt x="5793" y="750"/>
                    <a:pt x="6620" y="1578"/>
                  </a:cubicBezTo>
                  <a:cubicBezTo>
                    <a:pt x="8275" y="3233"/>
                    <a:pt x="8275" y="5936"/>
                    <a:pt x="6620" y="7591"/>
                  </a:cubicBezTo>
                  <a:cubicBezTo>
                    <a:pt x="6513" y="7698"/>
                    <a:pt x="6418" y="7781"/>
                    <a:pt x="6311" y="7876"/>
                  </a:cubicBezTo>
                  <a:cubicBezTo>
                    <a:pt x="6239" y="7936"/>
                    <a:pt x="6215" y="8043"/>
                    <a:pt x="6275" y="8114"/>
                  </a:cubicBezTo>
                  <a:cubicBezTo>
                    <a:pt x="6311" y="8162"/>
                    <a:pt x="6358" y="8174"/>
                    <a:pt x="6418" y="8174"/>
                  </a:cubicBezTo>
                  <a:cubicBezTo>
                    <a:pt x="6454" y="8174"/>
                    <a:pt x="6489" y="8162"/>
                    <a:pt x="6513" y="8126"/>
                  </a:cubicBezTo>
                  <a:cubicBezTo>
                    <a:pt x="6632" y="8043"/>
                    <a:pt x="6751" y="7936"/>
                    <a:pt x="6858" y="7817"/>
                  </a:cubicBezTo>
                  <a:cubicBezTo>
                    <a:pt x="8644" y="6031"/>
                    <a:pt x="8644" y="3126"/>
                    <a:pt x="6858" y="1340"/>
                  </a:cubicBezTo>
                  <a:cubicBezTo>
                    <a:pt x="5965" y="447"/>
                    <a:pt x="4790" y="0"/>
                    <a:pt x="36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0" name="Google Shape;10110;p58"/>
            <p:cNvSpPr/>
            <p:nvPr/>
          </p:nvSpPr>
          <p:spPr>
            <a:xfrm>
              <a:off x="7691758" y="3789502"/>
              <a:ext cx="34073" cy="102918"/>
            </a:xfrm>
            <a:custGeom>
              <a:avLst/>
              <a:gdLst/>
              <a:ahLst/>
              <a:cxnLst/>
              <a:rect l="l" t="t" r="r" b="b"/>
              <a:pathLst>
                <a:path w="1073" h="3241" extrusionOk="0">
                  <a:moveTo>
                    <a:pt x="589" y="1"/>
                  </a:moveTo>
                  <a:cubicBezTo>
                    <a:pt x="580" y="1"/>
                    <a:pt x="570" y="1"/>
                    <a:pt x="560" y="2"/>
                  </a:cubicBezTo>
                  <a:cubicBezTo>
                    <a:pt x="477" y="38"/>
                    <a:pt x="429" y="121"/>
                    <a:pt x="441" y="217"/>
                  </a:cubicBezTo>
                  <a:cubicBezTo>
                    <a:pt x="715" y="1157"/>
                    <a:pt x="560" y="2145"/>
                    <a:pt x="37" y="2967"/>
                  </a:cubicBezTo>
                  <a:cubicBezTo>
                    <a:pt x="1" y="3038"/>
                    <a:pt x="13" y="3146"/>
                    <a:pt x="84" y="3205"/>
                  </a:cubicBezTo>
                  <a:cubicBezTo>
                    <a:pt x="120" y="3217"/>
                    <a:pt x="144" y="3241"/>
                    <a:pt x="167" y="3241"/>
                  </a:cubicBezTo>
                  <a:cubicBezTo>
                    <a:pt x="239" y="3241"/>
                    <a:pt x="275" y="3205"/>
                    <a:pt x="310" y="3158"/>
                  </a:cubicBezTo>
                  <a:cubicBezTo>
                    <a:pt x="906" y="2265"/>
                    <a:pt x="1072" y="1169"/>
                    <a:pt x="775" y="121"/>
                  </a:cubicBezTo>
                  <a:cubicBezTo>
                    <a:pt x="743" y="47"/>
                    <a:pt x="672" y="1"/>
                    <a:pt x="5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1" name="Google Shape;10111;p58"/>
            <p:cNvSpPr/>
            <p:nvPr/>
          </p:nvSpPr>
          <p:spPr>
            <a:xfrm>
              <a:off x="7536000" y="3708082"/>
              <a:ext cx="173192" cy="72052"/>
            </a:xfrm>
            <a:custGeom>
              <a:avLst/>
              <a:gdLst/>
              <a:ahLst/>
              <a:cxnLst/>
              <a:rect l="l" t="t" r="r" b="b"/>
              <a:pathLst>
                <a:path w="5454" h="2269" extrusionOk="0">
                  <a:moveTo>
                    <a:pt x="2121" y="0"/>
                  </a:moveTo>
                  <a:cubicBezTo>
                    <a:pt x="1410" y="0"/>
                    <a:pt x="707" y="204"/>
                    <a:pt x="108" y="590"/>
                  </a:cubicBezTo>
                  <a:cubicBezTo>
                    <a:pt x="36" y="638"/>
                    <a:pt x="0" y="733"/>
                    <a:pt x="60" y="828"/>
                  </a:cubicBezTo>
                  <a:cubicBezTo>
                    <a:pt x="91" y="874"/>
                    <a:pt x="147" y="906"/>
                    <a:pt x="205" y="906"/>
                  </a:cubicBezTo>
                  <a:cubicBezTo>
                    <a:pt x="237" y="906"/>
                    <a:pt x="269" y="897"/>
                    <a:pt x="298" y="876"/>
                  </a:cubicBezTo>
                  <a:cubicBezTo>
                    <a:pt x="841" y="534"/>
                    <a:pt x="1478" y="344"/>
                    <a:pt x="2123" y="344"/>
                  </a:cubicBezTo>
                  <a:cubicBezTo>
                    <a:pt x="2241" y="344"/>
                    <a:pt x="2359" y="351"/>
                    <a:pt x="2477" y="364"/>
                  </a:cubicBezTo>
                  <a:cubicBezTo>
                    <a:pt x="3251" y="435"/>
                    <a:pt x="3977" y="792"/>
                    <a:pt x="4513" y="1328"/>
                  </a:cubicBezTo>
                  <a:cubicBezTo>
                    <a:pt x="4763" y="1590"/>
                    <a:pt x="4977" y="1864"/>
                    <a:pt x="5120" y="2185"/>
                  </a:cubicBezTo>
                  <a:cubicBezTo>
                    <a:pt x="5156" y="2245"/>
                    <a:pt x="5215" y="2269"/>
                    <a:pt x="5275" y="2269"/>
                  </a:cubicBezTo>
                  <a:cubicBezTo>
                    <a:pt x="5299" y="2269"/>
                    <a:pt x="5323" y="2269"/>
                    <a:pt x="5346" y="2257"/>
                  </a:cubicBezTo>
                  <a:cubicBezTo>
                    <a:pt x="5418" y="2197"/>
                    <a:pt x="5453" y="2102"/>
                    <a:pt x="5406" y="2019"/>
                  </a:cubicBezTo>
                  <a:cubicBezTo>
                    <a:pt x="5227" y="1673"/>
                    <a:pt x="5001" y="1364"/>
                    <a:pt x="4739" y="1102"/>
                  </a:cubicBezTo>
                  <a:cubicBezTo>
                    <a:pt x="4144" y="507"/>
                    <a:pt x="3334" y="114"/>
                    <a:pt x="2489" y="18"/>
                  </a:cubicBezTo>
                  <a:cubicBezTo>
                    <a:pt x="2366" y="6"/>
                    <a:pt x="2243" y="0"/>
                    <a:pt x="2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2" name="Google Shape;10112;p58"/>
            <p:cNvSpPr/>
            <p:nvPr/>
          </p:nvSpPr>
          <p:spPr>
            <a:xfrm>
              <a:off x="7501228" y="3819415"/>
              <a:ext cx="75640" cy="141437"/>
            </a:xfrm>
            <a:custGeom>
              <a:avLst/>
              <a:gdLst/>
              <a:ahLst/>
              <a:cxnLst/>
              <a:rect l="l" t="t" r="r" b="b"/>
              <a:pathLst>
                <a:path w="2382" h="4454" extrusionOk="0">
                  <a:moveTo>
                    <a:pt x="1012" y="692"/>
                  </a:moveTo>
                  <a:lnTo>
                    <a:pt x="1012" y="2061"/>
                  </a:lnTo>
                  <a:cubicBezTo>
                    <a:pt x="607" y="2001"/>
                    <a:pt x="310" y="1715"/>
                    <a:pt x="310" y="1370"/>
                  </a:cubicBezTo>
                  <a:cubicBezTo>
                    <a:pt x="310" y="1025"/>
                    <a:pt x="607" y="763"/>
                    <a:pt x="1012" y="692"/>
                  </a:cubicBezTo>
                  <a:close/>
                  <a:moveTo>
                    <a:pt x="1357" y="2418"/>
                  </a:moveTo>
                  <a:cubicBezTo>
                    <a:pt x="1750" y="2477"/>
                    <a:pt x="2048" y="2751"/>
                    <a:pt x="2048" y="3097"/>
                  </a:cubicBezTo>
                  <a:cubicBezTo>
                    <a:pt x="2048" y="3430"/>
                    <a:pt x="1738" y="3704"/>
                    <a:pt x="1357" y="3763"/>
                  </a:cubicBezTo>
                  <a:lnTo>
                    <a:pt x="1357" y="2418"/>
                  </a:lnTo>
                  <a:close/>
                  <a:moveTo>
                    <a:pt x="1191" y="1"/>
                  </a:moveTo>
                  <a:cubicBezTo>
                    <a:pt x="1095" y="1"/>
                    <a:pt x="1024" y="72"/>
                    <a:pt x="1024" y="168"/>
                  </a:cubicBezTo>
                  <a:lnTo>
                    <a:pt x="1024" y="358"/>
                  </a:lnTo>
                  <a:cubicBezTo>
                    <a:pt x="441" y="430"/>
                    <a:pt x="0" y="870"/>
                    <a:pt x="0" y="1370"/>
                  </a:cubicBezTo>
                  <a:cubicBezTo>
                    <a:pt x="0" y="1882"/>
                    <a:pt x="441" y="2323"/>
                    <a:pt x="1024" y="2382"/>
                  </a:cubicBezTo>
                  <a:lnTo>
                    <a:pt x="1024" y="3763"/>
                  </a:lnTo>
                  <a:cubicBezTo>
                    <a:pt x="619" y="3704"/>
                    <a:pt x="322" y="3430"/>
                    <a:pt x="322" y="3085"/>
                  </a:cubicBezTo>
                  <a:cubicBezTo>
                    <a:pt x="322" y="2989"/>
                    <a:pt x="250" y="2918"/>
                    <a:pt x="167" y="2918"/>
                  </a:cubicBezTo>
                  <a:cubicBezTo>
                    <a:pt x="71" y="2918"/>
                    <a:pt x="0" y="2989"/>
                    <a:pt x="0" y="3085"/>
                  </a:cubicBezTo>
                  <a:cubicBezTo>
                    <a:pt x="0" y="3609"/>
                    <a:pt x="441" y="4037"/>
                    <a:pt x="1024" y="4097"/>
                  </a:cubicBezTo>
                  <a:lnTo>
                    <a:pt x="1024" y="4287"/>
                  </a:lnTo>
                  <a:cubicBezTo>
                    <a:pt x="1024" y="4371"/>
                    <a:pt x="1095" y="4454"/>
                    <a:pt x="1191" y="4454"/>
                  </a:cubicBezTo>
                  <a:cubicBezTo>
                    <a:pt x="1274" y="4454"/>
                    <a:pt x="1357" y="4371"/>
                    <a:pt x="1357" y="4287"/>
                  </a:cubicBezTo>
                  <a:lnTo>
                    <a:pt x="1357" y="4097"/>
                  </a:lnTo>
                  <a:cubicBezTo>
                    <a:pt x="1929" y="4025"/>
                    <a:pt x="2381" y="3585"/>
                    <a:pt x="2381" y="3085"/>
                  </a:cubicBezTo>
                  <a:cubicBezTo>
                    <a:pt x="2381" y="2573"/>
                    <a:pt x="1929" y="2144"/>
                    <a:pt x="1357" y="2073"/>
                  </a:cubicBezTo>
                  <a:lnTo>
                    <a:pt x="1357" y="692"/>
                  </a:lnTo>
                  <a:cubicBezTo>
                    <a:pt x="1750" y="751"/>
                    <a:pt x="2048" y="1025"/>
                    <a:pt x="2048" y="1370"/>
                  </a:cubicBezTo>
                  <a:cubicBezTo>
                    <a:pt x="2048" y="1465"/>
                    <a:pt x="2131" y="1537"/>
                    <a:pt x="2215" y="1537"/>
                  </a:cubicBezTo>
                  <a:cubicBezTo>
                    <a:pt x="2298" y="1537"/>
                    <a:pt x="2381" y="1465"/>
                    <a:pt x="2381" y="1370"/>
                  </a:cubicBezTo>
                  <a:cubicBezTo>
                    <a:pt x="2381" y="846"/>
                    <a:pt x="1929" y="418"/>
                    <a:pt x="1345" y="358"/>
                  </a:cubicBezTo>
                  <a:lnTo>
                    <a:pt x="1345" y="168"/>
                  </a:lnTo>
                  <a:cubicBezTo>
                    <a:pt x="1345" y="72"/>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3" name="Google Shape;10113;p58"/>
          <p:cNvGrpSpPr/>
          <p:nvPr/>
        </p:nvGrpSpPr>
        <p:grpSpPr>
          <a:xfrm>
            <a:off x="1421638" y="4125629"/>
            <a:ext cx="374709" cy="374010"/>
            <a:chOff x="1421638" y="4125629"/>
            <a:chExt cx="374709" cy="374010"/>
          </a:xfrm>
        </p:grpSpPr>
        <p:sp>
          <p:nvSpPr>
            <p:cNvPr id="10114" name="Google Shape;10114;p58"/>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5" name="Google Shape;10115;p58"/>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16" name="Google Shape;10116;p58"/>
          <p:cNvGrpSpPr/>
          <p:nvPr/>
        </p:nvGrpSpPr>
        <p:grpSpPr>
          <a:xfrm>
            <a:off x="1973254" y="4156304"/>
            <a:ext cx="357720" cy="342192"/>
            <a:chOff x="1973254" y="4156304"/>
            <a:chExt cx="357720" cy="342192"/>
          </a:xfrm>
        </p:grpSpPr>
        <p:sp>
          <p:nvSpPr>
            <p:cNvPr id="10117" name="Google Shape;10117;p58"/>
            <p:cNvSpPr/>
            <p:nvPr/>
          </p:nvSpPr>
          <p:spPr>
            <a:xfrm>
              <a:off x="2129044" y="4156304"/>
              <a:ext cx="18926" cy="97964"/>
            </a:xfrm>
            <a:custGeom>
              <a:avLst/>
              <a:gdLst/>
              <a:ahLst/>
              <a:cxnLst/>
              <a:rect l="l" t="t" r="r" b="b"/>
              <a:pathLst>
                <a:path w="596" h="3085" extrusionOk="0">
                  <a:moveTo>
                    <a:pt x="417" y="0"/>
                  </a:moveTo>
                  <a:cubicBezTo>
                    <a:pt x="310" y="0"/>
                    <a:pt x="238" y="72"/>
                    <a:pt x="238" y="179"/>
                  </a:cubicBezTo>
                  <a:cubicBezTo>
                    <a:pt x="238" y="358"/>
                    <a:pt x="191" y="453"/>
                    <a:pt x="131" y="560"/>
                  </a:cubicBezTo>
                  <a:cubicBezTo>
                    <a:pt x="72" y="667"/>
                    <a:pt x="0" y="822"/>
                    <a:pt x="0" y="1096"/>
                  </a:cubicBezTo>
                  <a:cubicBezTo>
                    <a:pt x="0" y="1358"/>
                    <a:pt x="72" y="1501"/>
                    <a:pt x="131" y="1632"/>
                  </a:cubicBezTo>
                  <a:cubicBezTo>
                    <a:pt x="191" y="1727"/>
                    <a:pt x="238" y="1822"/>
                    <a:pt x="238" y="2001"/>
                  </a:cubicBezTo>
                  <a:cubicBezTo>
                    <a:pt x="238" y="2179"/>
                    <a:pt x="191" y="2263"/>
                    <a:pt x="131" y="2370"/>
                  </a:cubicBezTo>
                  <a:cubicBezTo>
                    <a:pt x="72" y="2501"/>
                    <a:pt x="0" y="2644"/>
                    <a:pt x="0" y="2906"/>
                  </a:cubicBezTo>
                  <a:cubicBezTo>
                    <a:pt x="0" y="3013"/>
                    <a:pt x="72" y="3084"/>
                    <a:pt x="179" y="3084"/>
                  </a:cubicBezTo>
                  <a:cubicBezTo>
                    <a:pt x="286" y="3084"/>
                    <a:pt x="357" y="3013"/>
                    <a:pt x="357" y="2906"/>
                  </a:cubicBezTo>
                  <a:cubicBezTo>
                    <a:pt x="357" y="2727"/>
                    <a:pt x="405" y="2644"/>
                    <a:pt x="464" y="2536"/>
                  </a:cubicBezTo>
                  <a:cubicBezTo>
                    <a:pt x="524" y="2417"/>
                    <a:pt x="595" y="2263"/>
                    <a:pt x="595" y="2001"/>
                  </a:cubicBezTo>
                  <a:cubicBezTo>
                    <a:pt x="595" y="1727"/>
                    <a:pt x="524" y="1584"/>
                    <a:pt x="464" y="1465"/>
                  </a:cubicBezTo>
                  <a:cubicBezTo>
                    <a:pt x="405" y="1358"/>
                    <a:pt x="357" y="1274"/>
                    <a:pt x="357" y="1096"/>
                  </a:cubicBezTo>
                  <a:cubicBezTo>
                    <a:pt x="357" y="905"/>
                    <a:pt x="405" y="822"/>
                    <a:pt x="464" y="715"/>
                  </a:cubicBezTo>
                  <a:cubicBezTo>
                    <a:pt x="524" y="596"/>
                    <a:pt x="595" y="453"/>
                    <a:pt x="595" y="179"/>
                  </a:cubicBezTo>
                  <a:cubicBezTo>
                    <a:pt x="595" y="72"/>
                    <a:pt x="524"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8" name="Google Shape;10118;p58"/>
            <p:cNvSpPr/>
            <p:nvPr/>
          </p:nvSpPr>
          <p:spPr>
            <a:xfrm>
              <a:off x="2174771" y="4156304"/>
              <a:ext cx="18958" cy="97964"/>
            </a:xfrm>
            <a:custGeom>
              <a:avLst/>
              <a:gdLst/>
              <a:ahLst/>
              <a:cxnLst/>
              <a:rect l="l" t="t" r="r" b="b"/>
              <a:pathLst>
                <a:path w="597" h="3085" extrusionOk="0">
                  <a:moveTo>
                    <a:pt x="418" y="0"/>
                  </a:moveTo>
                  <a:cubicBezTo>
                    <a:pt x="322" y="0"/>
                    <a:pt x="239" y="72"/>
                    <a:pt x="239" y="179"/>
                  </a:cubicBezTo>
                  <a:cubicBezTo>
                    <a:pt x="239" y="358"/>
                    <a:pt x="191" y="453"/>
                    <a:pt x="144" y="560"/>
                  </a:cubicBezTo>
                  <a:cubicBezTo>
                    <a:pt x="84" y="667"/>
                    <a:pt x="1" y="822"/>
                    <a:pt x="1" y="1096"/>
                  </a:cubicBezTo>
                  <a:cubicBezTo>
                    <a:pt x="1" y="1358"/>
                    <a:pt x="84" y="1501"/>
                    <a:pt x="144" y="1632"/>
                  </a:cubicBezTo>
                  <a:cubicBezTo>
                    <a:pt x="191" y="1727"/>
                    <a:pt x="239" y="1822"/>
                    <a:pt x="239" y="2001"/>
                  </a:cubicBezTo>
                  <a:cubicBezTo>
                    <a:pt x="239" y="2179"/>
                    <a:pt x="191" y="2263"/>
                    <a:pt x="144" y="2370"/>
                  </a:cubicBezTo>
                  <a:cubicBezTo>
                    <a:pt x="84" y="2501"/>
                    <a:pt x="1" y="2644"/>
                    <a:pt x="1" y="2906"/>
                  </a:cubicBezTo>
                  <a:cubicBezTo>
                    <a:pt x="1" y="3013"/>
                    <a:pt x="84" y="3084"/>
                    <a:pt x="179" y="3084"/>
                  </a:cubicBezTo>
                  <a:cubicBezTo>
                    <a:pt x="287" y="3084"/>
                    <a:pt x="358" y="3013"/>
                    <a:pt x="358" y="2906"/>
                  </a:cubicBezTo>
                  <a:cubicBezTo>
                    <a:pt x="358" y="2727"/>
                    <a:pt x="406" y="2644"/>
                    <a:pt x="465" y="2536"/>
                  </a:cubicBezTo>
                  <a:cubicBezTo>
                    <a:pt x="525" y="2417"/>
                    <a:pt x="596" y="2263"/>
                    <a:pt x="596" y="2001"/>
                  </a:cubicBezTo>
                  <a:cubicBezTo>
                    <a:pt x="596" y="1727"/>
                    <a:pt x="525" y="1584"/>
                    <a:pt x="465" y="1465"/>
                  </a:cubicBezTo>
                  <a:cubicBezTo>
                    <a:pt x="406" y="1358"/>
                    <a:pt x="358" y="1274"/>
                    <a:pt x="358" y="1096"/>
                  </a:cubicBezTo>
                  <a:cubicBezTo>
                    <a:pt x="358" y="905"/>
                    <a:pt x="406" y="822"/>
                    <a:pt x="465" y="715"/>
                  </a:cubicBezTo>
                  <a:cubicBezTo>
                    <a:pt x="525" y="596"/>
                    <a:pt x="596" y="453"/>
                    <a:pt x="596" y="179"/>
                  </a:cubicBezTo>
                  <a:cubicBezTo>
                    <a:pt x="596" y="72"/>
                    <a:pt x="525" y="0"/>
                    <a:pt x="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9" name="Google Shape;10119;p58"/>
            <p:cNvSpPr/>
            <p:nvPr/>
          </p:nvSpPr>
          <p:spPr>
            <a:xfrm>
              <a:off x="1992529" y="4460644"/>
              <a:ext cx="338445" cy="37852"/>
            </a:xfrm>
            <a:custGeom>
              <a:avLst/>
              <a:gdLst/>
              <a:ahLst/>
              <a:cxnLst/>
              <a:rect l="l" t="t" r="r" b="b"/>
              <a:pathLst>
                <a:path w="10658" h="1192" extrusionOk="0">
                  <a:moveTo>
                    <a:pt x="10002" y="358"/>
                  </a:moveTo>
                  <a:lnTo>
                    <a:pt x="9931" y="632"/>
                  </a:lnTo>
                  <a:cubicBezTo>
                    <a:pt x="9895" y="751"/>
                    <a:pt x="9764" y="834"/>
                    <a:pt x="9645" y="834"/>
                  </a:cubicBezTo>
                  <a:lnTo>
                    <a:pt x="1013" y="834"/>
                  </a:lnTo>
                  <a:cubicBezTo>
                    <a:pt x="894" y="834"/>
                    <a:pt x="763" y="739"/>
                    <a:pt x="727" y="632"/>
                  </a:cubicBezTo>
                  <a:lnTo>
                    <a:pt x="656" y="358"/>
                  </a:lnTo>
                  <a:close/>
                  <a:moveTo>
                    <a:pt x="180" y="1"/>
                  </a:moveTo>
                  <a:cubicBezTo>
                    <a:pt x="72" y="1"/>
                    <a:pt x="1" y="84"/>
                    <a:pt x="1" y="180"/>
                  </a:cubicBezTo>
                  <a:cubicBezTo>
                    <a:pt x="1" y="287"/>
                    <a:pt x="72" y="358"/>
                    <a:pt x="180" y="358"/>
                  </a:cubicBezTo>
                  <a:lnTo>
                    <a:pt x="287" y="358"/>
                  </a:lnTo>
                  <a:lnTo>
                    <a:pt x="382" y="715"/>
                  </a:lnTo>
                  <a:cubicBezTo>
                    <a:pt x="465" y="989"/>
                    <a:pt x="739" y="1192"/>
                    <a:pt x="1013" y="1192"/>
                  </a:cubicBezTo>
                  <a:lnTo>
                    <a:pt x="9645" y="1192"/>
                  </a:lnTo>
                  <a:cubicBezTo>
                    <a:pt x="9931" y="1192"/>
                    <a:pt x="10193" y="989"/>
                    <a:pt x="10264" y="715"/>
                  </a:cubicBezTo>
                  <a:lnTo>
                    <a:pt x="10371" y="358"/>
                  </a:lnTo>
                  <a:lnTo>
                    <a:pt x="10478" y="358"/>
                  </a:lnTo>
                  <a:cubicBezTo>
                    <a:pt x="10574" y="358"/>
                    <a:pt x="10657" y="287"/>
                    <a:pt x="10657" y="180"/>
                  </a:cubicBezTo>
                  <a:cubicBezTo>
                    <a:pt x="10657" y="96"/>
                    <a:pt x="10586" y="1"/>
                    <a:pt x="104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0" name="Google Shape;10120;p58"/>
            <p:cNvSpPr/>
            <p:nvPr/>
          </p:nvSpPr>
          <p:spPr>
            <a:xfrm>
              <a:off x="1996340" y="4288627"/>
              <a:ext cx="60525" cy="69226"/>
            </a:xfrm>
            <a:custGeom>
              <a:avLst/>
              <a:gdLst/>
              <a:ahLst/>
              <a:cxnLst/>
              <a:rect l="l" t="t" r="r" b="b"/>
              <a:pathLst>
                <a:path w="1906" h="2180" extrusionOk="0">
                  <a:moveTo>
                    <a:pt x="1500" y="358"/>
                  </a:moveTo>
                  <a:lnTo>
                    <a:pt x="1500" y="1346"/>
                  </a:lnTo>
                  <a:cubicBezTo>
                    <a:pt x="1500" y="1513"/>
                    <a:pt x="1512" y="1656"/>
                    <a:pt x="1524" y="1822"/>
                  </a:cubicBezTo>
                  <a:lnTo>
                    <a:pt x="1512" y="1822"/>
                  </a:lnTo>
                  <a:cubicBezTo>
                    <a:pt x="869" y="1822"/>
                    <a:pt x="369" y="1298"/>
                    <a:pt x="369" y="679"/>
                  </a:cubicBezTo>
                  <a:cubicBezTo>
                    <a:pt x="357" y="572"/>
                    <a:pt x="369" y="465"/>
                    <a:pt x="405" y="358"/>
                  </a:cubicBezTo>
                  <a:close/>
                  <a:moveTo>
                    <a:pt x="262" y="1"/>
                  </a:moveTo>
                  <a:cubicBezTo>
                    <a:pt x="191" y="1"/>
                    <a:pt x="131" y="48"/>
                    <a:pt x="107" y="120"/>
                  </a:cubicBezTo>
                  <a:cubicBezTo>
                    <a:pt x="24" y="298"/>
                    <a:pt x="0" y="477"/>
                    <a:pt x="0" y="679"/>
                  </a:cubicBezTo>
                  <a:cubicBezTo>
                    <a:pt x="0" y="1513"/>
                    <a:pt x="667" y="2179"/>
                    <a:pt x="1500" y="2179"/>
                  </a:cubicBezTo>
                  <a:lnTo>
                    <a:pt x="1726" y="2179"/>
                  </a:lnTo>
                  <a:cubicBezTo>
                    <a:pt x="1786" y="2179"/>
                    <a:pt x="1834" y="2144"/>
                    <a:pt x="1857" y="2120"/>
                  </a:cubicBezTo>
                  <a:cubicBezTo>
                    <a:pt x="1893" y="2084"/>
                    <a:pt x="1905" y="2025"/>
                    <a:pt x="1905" y="1965"/>
                  </a:cubicBezTo>
                  <a:cubicBezTo>
                    <a:pt x="1857" y="1763"/>
                    <a:pt x="1846" y="1548"/>
                    <a:pt x="1846" y="1358"/>
                  </a:cubicBezTo>
                  <a:lnTo>
                    <a:pt x="1846" y="179"/>
                  </a:lnTo>
                  <a:cubicBezTo>
                    <a:pt x="1846" y="84"/>
                    <a:pt x="1774" y="1"/>
                    <a:pt x="1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1" name="Google Shape;10121;p58"/>
            <p:cNvSpPr/>
            <p:nvPr/>
          </p:nvSpPr>
          <p:spPr>
            <a:xfrm>
              <a:off x="1973254" y="4265954"/>
              <a:ext cx="306658" cy="184147"/>
            </a:xfrm>
            <a:custGeom>
              <a:avLst/>
              <a:gdLst/>
              <a:ahLst/>
              <a:cxnLst/>
              <a:rect l="l" t="t" r="r" b="b"/>
              <a:pathLst>
                <a:path w="9657" h="5799" extrusionOk="0">
                  <a:moveTo>
                    <a:pt x="9288" y="357"/>
                  </a:moveTo>
                  <a:lnTo>
                    <a:pt x="9288" y="2072"/>
                  </a:lnTo>
                  <a:cubicBezTo>
                    <a:pt x="9288" y="3917"/>
                    <a:pt x="7776" y="5418"/>
                    <a:pt x="5930" y="5418"/>
                  </a:cubicBezTo>
                  <a:cubicBezTo>
                    <a:pt x="4585" y="5418"/>
                    <a:pt x="3358" y="4620"/>
                    <a:pt x="2834" y="3370"/>
                  </a:cubicBezTo>
                  <a:cubicBezTo>
                    <a:pt x="2811" y="3310"/>
                    <a:pt x="2751" y="3263"/>
                    <a:pt x="2668" y="3263"/>
                  </a:cubicBezTo>
                  <a:lnTo>
                    <a:pt x="2227" y="3263"/>
                  </a:lnTo>
                  <a:cubicBezTo>
                    <a:pt x="1203" y="3263"/>
                    <a:pt x="346" y="2429"/>
                    <a:pt x="346" y="1393"/>
                  </a:cubicBezTo>
                  <a:cubicBezTo>
                    <a:pt x="358" y="1012"/>
                    <a:pt x="477" y="655"/>
                    <a:pt x="668" y="357"/>
                  </a:cubicBezTo>
                  <a:lnTo>
                    <a:pt x="8335" y="357"/>
                  </a:lnTo>
                  <a:lnTo>
                    <a:pt x="8335" y="1131"/>
                  </a:lnTo>
                  <a:cubicBezTo>
                    <a:pt x="8335" y="1238"/>
                    <a:pt x="8407" y="1310"/>
                    <a:pt x="8514" y="1310"/>
                  </a:cubicBezTo>
                  <a:cubicBezTo>
                    <a:pt x="8609" y="1310"/>
                    <a:pt x="8692" y="1238"/>
                    <a:pt x="8692" y="1131"/>
                  </a:cubicBezTo>
                  <a:lnTo>
                    <a:pt x="8692" y="357"/>
                  </a:lnTo>
                  <a:close/>
                  <a:moveTo>
                    <a:pt x="572" y="0"/>
                  </a:moveTo>
                  <a:cubicBezTo>
                    <a:pt x="513" y="0"/>
                    <a:pt x="477" y="36"/>
                    <a:pt x="429" y="84"/>
                  </a:cubicBezTo>
                  <a:cubicBezTo>
                    <a:pt x="144" y="465"/>
                    <a:pt x="1" y="917"/>
                    <a:pt x="1" y="1381"/>
                  </a:cubicBezTo>
                  <a:cubicBezTo>
                    <a:pt x="1" y="2620"/>
                    <a:pt x="1013" y="3620"/>
                    <a:pt x="2227" y="3620"/>
                  </a:cubicBezTo>
                  <a:lnTo>
                    <a:pt x="2561" y="3620"/>
                  </a:lnTo>
                  <a:cubicBezTo>
                    <a:pt x="3168" y="4941"/>
                    <a:pt x="4478" y="5799"/>
                    <a:pt x="5930" y="5799"/>
                  </a:cubicBezTo>
                  <a:cubicBezTo>
                    <a:pt x="7990" y="5799"/>
                    <a:pt x="9657" y="4132"/>
                    <a:pt x="9657" y="2072"/>
                  </a:cubicBezTo>
                  <a:lnTo>
                    <a:pt x="9657" y="179"/>
                  </a:lnTo>
                  <a:cubicBezTo>
                    <a:pt x="9657" y="84"/>
                    <a:pt x="9585" y="0"/>
                    <a:pt x="94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2" name="Google Shape;10122;p58"/>
            <p:cNvSpPr/>
            <p:nvPr/>
          </p:nvSpPr>
          <p:spPr>
            <a:xfrm>
              <a:off x="2155877" y="4319620"/>
              <a:ext cx="93423" cy="99488"/>
            </a:xfrm>
            <a:custGeom>
              <a:avLst/>
              <a:gdLst/>
              <a:ahLst/>
              <a:cxnLst/>
              <a:rect l="l" t="t" r="r" b="b"/>
              <a:pathLst>
                <a:path w="2942" h="3133" extrusionOk="0">
                  <a:moveTo>
                    <a:pt x="2763" y="1"/>
                  </a:moveTo>
                  <a:cubicBezTo>
                    <a:pt x="2656" y="1"/>
                    <a:pt x="2584" y="72"/>
                    <a:pt x="2584" y="179"/>
                  </a:cubicBezTo>
                  <a:lnTo>
                    <a:pt x="2584" y="382"/>
                  </a:lnTo>
                  <a:cubicBezTo>
                    <a:pt x="2584" y="1703"/>
                    <a:pt x="1513" y="2775"/>
                    <a:pt x="179" y="2775"/>
                  </a:cubicBezTo>
                  <a:cubicBezTo>
                    <a:pt x="84" y="2775"/>
                    <a:pt x="0" y="2858"/>
                    <a:pt x="0" y="2954"/>
                  </a:cubicBezTo>
                  <a:cubicBezTo>
                    <a:pt x="0" y="3061"/>
                    <a:pt x="84" y="3132"/>
                    <a:pt x="179" y="3132"/>
                  </a:cubicBezTo>
                  <a:cubicBezTo>
                    <a:pt x="1703" y="3132"/>
                    <a:pt x="2941" y="1906"/>
                    <a:pt x="2941" y="382"/>
                  </a:cubicBezTo>
                  <a:lnTo>
                    <a:pt x="2941" y="179"/>
                  </a:lnTo>
                  <a:cubicBezTo>
                    <a:pt x="2941"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3" name="Google Shape;10123;p58"/>
          <p:cNvGrpSpPr/>
          <p:nvPr/>
        </p:nvGrpSpPr>
        <p:grpSpPr>
          <a:xfrm>
            <a:off x="2523759" y="4135505"/>
            <a:ext cx="341049" cy="340318"/>
            <a:chOff x="2523759" y="4135505"/>
            <a:chExt cx="341049" cy="340318"/>
          </a:xfrm>
        </p:grpSpPr>
        <p:sp>
          <p:nvSpPr>
            <p:cNvPr id="10124" name="Google Shape;10124;p58"/>
            <p:cNvSpPr/>
            <p:nvPr/>
          </p:nvSpPr>
          <p:spPr>
            <a:xfrm>
              <a:off x="2523759" y="4135505"/>
              <a:ext cx="341049" cy="340318"/>
            </a:xfrm>
            <a:custGeom>
              <a:avLst/>
              <a:gdLst/>
              <a:ahLst/>
              <a:cxnLst/>
              <a:rect l="l" t="t" r="r" b="b"/>
              <a:pathLst>
                <a:path w="10740" h="10717" extrusionOk="0">
                  <a:moveTo>
                    <a:pt x="7882" y="358"/>
                  </a:moveTo>
                  <a:cubicBezTo>
                    <a:pt x="7501" y="703"/>
                    <a:pt x="6965" y="1286"/>
                    <a:pt x="6751" y="1906"/>
                  </a:cubicBezTo>
                  <a:cubicBezTo>
                    <a:pt x="6215" y="1644"/>
                    <a:pt x="5620" y="1489"/>
                    <a:pt x="5013" y="1489"/>
                  </a:cubicBezTo>
                  <a:cubicBezTo>
                    <a:pt x="4739" y="1489"/>
                    <a:pt x="4489" y="1513"/>
                    <a:pt x="4251" y="1536"/>
                  </a:cubicBezTo>
                  <a:cubicBezTo>
                    <a:pt x="5132" y="1060"/>
                    <a:pt x="6061" y="763"/>
                    <a:pt x="6727" y="584"/>
                  </a:cubicBezTo>
                  <a:cubicBezTo>
                    <a:pt x="7192" y="465"/>
                    <a:pt x="7585" y="405"/>
                    <a:pt x="7882" y="358"/>
                  </a:cubicBezTo>
                  <a:close/>
                  <a:moveTo>
                    <a:pt x="8013" y="3453"/>
                  </a:moveTo>
                  <a:cubicBezTo>
                    <a:pt x="8180" y="3727"/>
                    <a:pt x="8335" y="4025"/>
                    <a:pt x="8418" y="4323"/>
                  </a:cubicBezTo>
                  <a:cubicBezTo>
                    <a:pt x="8466" y="4453"/>
                    <a:pt x="8549" y="4561"/>
                    <a:pt x="8668" y="4620"/>
                  </a:cubicBezTo>
                  <a:cubicBezTo>
                    <a:pt x="8739" y="4650"/>
                    <a:pt x="8811" y="4665"/>
                    <a:pt x="8879" y="4665"/>
                  </a:cubicBezTo>
                  <a:cubicBezTo>
                    <a:pt x="8948" y="4665"/>
                    <a:pt x="9013" y="4650"/>
                    <a:pt x="9073" y="4620"/>
                  </a:cubicBezTo>
                  <a:lnTo>
                    <a:pt x="10299" y="4096"/>
                  </a:lnTo>
                  <a:lnTo>
                    <a:pt x="10002" y="5001"/>
                  </a:lnTo>
                  <a:cubicBezTo>
                    <a:pt x="9930" y="5215"/>
                    <a:pt x="9930" y="5430"/>
                    <a:pt x="10002" y="5632"/>
                  </a:cubicBezTo>
                  <a:lnTo>
                    <a:pt x="10299" y="6537"/>
                  </a:lnTo>
                  <a:lnTo>
                    <a:pt x="9073" y="6049"/>
                  </a:lnTo>
                  <a:cubicBezTo>
                    <a:pt x="9007" y="6019"/>
                    <a:pt x="8939" y="6004"/>
                    <a:pt x="8870" y="6004"/>
                  </a:cubicBezTo>
                  <a:cubicBezTo>
                    <a:pt x="8802" y="6004"/>
                    <a:pt x="8733" y="6019"/>
                    <a:pt x="8668" y="6049"/>
                  </a:cubicBezTo>
                  <a:cubicBezTo>
                    <a:pt x="8549" y="6108"/>
                    <a:pt x="8454" y="6216"/>
                    <a:pt x="8418" y="6347"/>
                  </a:cubicBezTo>
                  <a:cubicBezTo>
                    <a:pt x="8335" y="6656"/>
                    <a:pt x="8192" y="6942"/>
                    <a:pt x="8013" y="7204"/>
                  </a:cubicBezTo>
                  <a:cubicBezTo>
                    <a:pt x="7894" y="6644"/>
                    <a:pt x="7835" y="6001"/>
                    <a:pt x="7835" y="5335"/>
                  </a:cubicBezTo>
                  <a:cubicBezTo>
                    <a:pt x="7835" y="4668"/>
                    <a:pt x="7894" y="4025"/>
                    <a:pt x="8013" y="3453"/>
                  </a:cubicBezTo>
                  <a:close/>
                  <a:moveTo>
                    <a:pt x="3001" y="2298"/>
                  </a:moveTo>
                  <a:lnTo>
                    <a:pt x="3001" y="2298"/>
                  </a:lnTo>
                  <a:cubicBezTo>
                    <a:pt x="2691" y="3203"/>
                    <a:pt x="2548" y="4263"/>
                    <a:pt x="2548" y="5358"/>
                  </a:cubicBezTo>
                  <a:cubicBezTo>
                    <a:pt x="2548" y="6466"/>
                    <a:pt x="2703" y="7501"/>
                    <a:pt x="3001" y="8430"/>
                  </a:cubicBezTo>
                  <a:cubicBezTo>
                    <a:pt x="2858" y="8323"/>
                    <a:pt x="2703" y="8216"/>
                    <a:pt x="2572" y="8121"/>
                  </a:cubicBezTo>
                  <a:cubicBezTo>
                    <a:pt x="1989" y="7656"/>
                    <a:pt x="1572" y="7025"/>
                    <a:pt x="1179" y="6430"/>
                  </a:cubicBezTo>
                  <a:cubicBezTo>
                    <a:pt x="941" y="6061"/>
                    <a:pt x="679" y="5692"/>
                    <a:pt x="381" y="5346"/>
                  </a:cubicBezTo>
                  <a:cubicBezTo>
                    <a:pt x="667" y="5001"/>
                    <a:pt x="917" y="4632"/>
                    <a:pt x="1179" y="4263"/>
                  </a:cubicBezTo>
                  <a:cubicBezTo>
                    <a:pt x="1572" y="3656"/>
                    <a:pt x="1989" y="3025"/>
                    <a:pt x="2572" y="2584"/>
                  </a:cubicBezTo>
                  <a:cubicBezTo>
                    <a:pt x="2703" y="2477"/>
                    <a:pt x="2858" y="2370"/>
                    <a:pt x="3001" y="2298"/>
                  </a:cubicBezTo>
                  <a:close/>
                  <a:moveTo>
                    <a:pt x="6168" y="2013"/>
                  </a:moveTo>
                  <a:cubicBezTo>
                    <a:pt x="6465" y="2120"/>
                    <a:pt x="6751" y="2251"/>
                    <a:pt x="7001" y="2429"/>
                  </a:cubicBezTo>
                  <a:cubicBezTo>
                    <a:pt x="6942" y="2596"/>
                    <a:pt x="6906" y="2775"/>
                    <a:pt x="6858" y="2965"/>
                  </a:cubicBezTo>
                  <a:cubicBezTo>
                    <a:pt x="6846" y="3049"/>
                    <a:pt x="6882" y="3132"/>
                    <a:pt x="6977" y="3156"/>
                  </a:cubicBezTo>
                  <a:lnTo>
                    <a:pt x="7001" y="3156"/>
                  </a:lnTo>
                  <a:cubicBezTo>
                    <a:pt x="7084" y="3156"/>
                    <a:pt x="7144" y="3108"/>
                    <a:pt x="7156" y="3037"/>
                  </a:cubicBezTo>
                  <a:cubicBezTo>
                    <a:pt x="7180" y="2906"/>
                    <a:pt x="7227" y="2775"/>
                    <a:pt x="7263" y="2632"/>
                  </a:cubicBezTo>
                  <a:cubicBezTo>
                    <a:pt x="7442" y="2787"/>
                    <a:pt x="7596" y="2953"/>
                    <a:pt x="7751" y="3132"/>
                  </a:cubicBezTo>
                  <a:cubicBezTo>
                    <a:pt x="7585" y="3787"/>
                    <a:pt x="7513" y="4537"/>
                    <a:pt x="7513" y="5346"/>
                  </a:cubicBezTo>
                  <a:cubicBezTo>
                    <a:pt x="7513" y="6144"/>
                    <a:pt x="7596" y="6906"/>
                    <a:pt x="7751" y="7561"/>
                  </a:cubicBezTo>
                  <a:cubicBezTo>
                    <a:pt x="7632" y="7740"/>
                    <a:pt x="7465" y="7906"/>
                    <a:pt x="7287" y="8061"/>
                  </a:cubicBezTo>
                  <a:cubicBezTo>
                    <a:pt x="7049" y="7287"/>
                    <a:pt x="6918" y="6335"/>
                    <a:pt x="6918" y="5346"/>
                  </a:cubicBezTo>
                  <a:cubicBezTo>
                    <a:pt x="6918" y="4787"/>
                    <a:pt x="6965" y="4215"/>
                    <a:pt x="7037" y="3691"/>
                  </a:cubicBezTo>
                  <a:cubicBezTo>
                    <a:pt x="7049" y="3608"/>
                    <a:pt x="6989" y="3537"/>
                    <a:pt x="6906" y="3513"/>
                  </a:cubicBezTo>
                  <a:cubicBezTo>
                    <a:pt x="6898" y="3512"/>
                    <a:pt x="6890" y="3511"/>
                    <a:pt x="6882" y="3511"/>
                  </a:cubicBezTo>
                  <a:cubicBezTo>
                    <a:pt x="6799" y="3511"/>
                    <a:pt x="6738" y="3568"/>
                    <a:pt x="6727" y="3644"/>
                  </a:cubicBezTo>
                  <a:cubicBezTo>
                    <a:pt x="6632" y="4192"/>
                    <a:pt x="6584" y="4763"/>
                    <a:pt x="6584" y="5346"/>
                  </a:cubicBezTo>
                  <a:cubicBezTo>
                    <a:pt x="6584" y="6406"/>
                    <a:pt x="6739" y="7430"/>
                    <a:pt x="7001" y="8263"/>
                  </a:cubicBezTo>
                  <a:cubicBezTo>
                    <a:pt x="6739" y="8442"/>
                    <a:pt x="6465" y="8573"/>
                    <a:pt x="6168" y="8680"/>
                  </a:cubicBezTo>
                  <a:cubicBezTo>
                    <a:pt x="5977" y="7740"/>
                    <a:pt x="5870" y="6561"/>
                    <a:pt x="5870" y="5346"/>
                  </a:cubicBezTo>
                  <a:cubicBezTo>
                    <a:pt x="5870" y="4120"/>
                    <a:pt x="5977" y="2953"/>
                    <a:pt x="6168" y="2013"/>
                  </a:cubicBezTo>
                  <a:close/>
                  <a:moveTo>
                    <a:pt x="5263" y="1834"/>
                  </a:moveTo>
                  <a:cubicBezTo>
                    <a:pt x="5477" y="1846"/>
                    <a:pt x="5680" y="1882"/>
                    <a:pt x="5870" y="1929"/>
                  </a:cubicBezTo>
                  <a:cubicBezTo>
                    <a:pt x="5668" y="2894"/>
                    <a:pt x="5560" y="4096"/>
                    <a:pt x="5560" y="5346"/>
                  </a:cubicBezTo>
                  <a:cubicBezTo>
                    <a:pt x="5560" y="6597"/>
                    <a:pt x="5680" y="7799"/>
                    <a:pt x="5870" y="8775"/>
                  </a:cubicBezTo>
                  <a:cubicBezTo>
                    <a:pt x="5680" y="8811"/>
                    <a:pt x="5477" y="8847"/>
                    <a:pt x="5263" y="8859"/>
                  </a:cubicBezTo>
                  <a:cubicBezTo>
                    <a:pt x="5025" y="7882"/>
                    <a:pt x="4894" y="6632"/>
                    <a:pt x="4894" y="5346"/>
                  </a:cubicBezTo>
                  <a:cubicBezTo>
                    <a:pt x="4894" y="4049"/>
                    <a:pt x="5025" y="2822"/>
                    <a:pt x="5263" y="1834"/>
                  </a:cubicBezTo>
                  <a:close/>
                  <a:moveTo>
                    <a:pt x="4941" y="1822"/>
                  </a:moveTo>
                  <a:cubicBezTo>
                    <a:pt x="4703" y="2822"/>
                    <a:pt x="4584" y="4072"/>
                    <a:pt x="4584" y="5346"/>
                  </a:cubicBezTo>
                  <a:cubicBezTo>
                    <a:pt x="4584" y="6632"/>
                    <a:pt x="4715" y="7882"/>
                    <a:pt x="4941" y="8871"/>
                  </a:cubicBezTo>
                  <a:cubicBezTo>
                    <a:pt x="4668" y="8871"/>
                    <a:pt x="4429" y="8847"/>
                    <a:pt x="4191" y="8811"/>
                  </a:cubicBezTo>
                  <a:cubicBezTo>
                    <a:pt x="3977" y="7847"/>
                    <a:pt x="3834" y="6609"/>
                    <a:pt x="3834" y="5346"/>
                  </a:cubicBezTo>
                  <a:cubicBezTo>
                    <a:pt x="3834" y="4525"/>
                    <a:pt x="3882" y="3751"/>
                    <a:pt x="3989" y="3025"/>
                  </a:cubicBezTo>
                  <a:cubicBezTo>
                    <a:pt x="4013" y="2941"/>
                    <a:pt x="3953" y="2858"/>
                    <a:pt x="3870" y="2846"/>
                  </a:cubicBezTo>
                  <a:cubicBezTo>
                    <a:pt x="3862" y="2845"/>
                    <a:pt x="3854" y="2845"/>
                    <a:pt x="3846" y="2845"/>
                  </a:cubicBezTo>
                  <a:cubicBezTo>
                    <a:pt x="3763" y="2845"/>
                    <a:pt x="3702" y="2901"/>
                    <a:pt x="3691" y="2977"/>
                  </a:cubicBezTo>
                  <a:cubicBezTo>
                    <a:pt x="3584" y="3727"/>
                    <a:pt x="3536" y="4513"/>
                    <a:pt x="3536" y="5346"/>
                  </a:cubicBezTo>
                  <a:cubicBezTo>
                    <a:pt x="3536" y="6585"/>
                    <a:pt x="3655" y="7775"/>
                    <a:pt x="3870" y="8740"/>
                  </a:cubicBezTo>
                  <a:cubicBezTo>
                    <a:pt x="3703" y="8692"/>
                    <a:pt x="3548" y="8656"/>
                    <a:pt x="3394" y="8597"/>
                  </a:cubicBezTo>
                  <a:cubicBezTo>
                    <a:pt x="3036" y="7656"/>
                    <a:pt x="2834" y="6525"/>
                    <a:pt x="2834" y="5346"/>
                  </a:cubicBezTo>
                  <a:cubicBezTo>
                    <a:pt x="2834" y="4156"/>
                    <a:pt x="3036" y="3037"/>
                    <a:pt x="3394" y="2108"/>
                  </a:cubicBezTo>
                  <a:cubicBezTo>
                    <a:pt x="3536" y="2048"/>
                    <a:pt x="3703" y="2001"/>
                    <a:pt x="3870" y="1953"/>
                  </a:cubicBezTo>
                  <a:lnTo>
                    <a:pt x="3870" y="1953"/>
                  </a:lnTo>
                  <a:cubicBezTo>
                    <a:pt x="3834" y="2072"/>
                    <a:pt x="3822" y="2191"/>
                    <a:pt x="3786" y="2310"/>
                  </a:cubicBezTo>
                  <a:cubicBezTo>
                    <a:pt x="3775" y="2406"/>
                    <a:pt x="3834" y="2477"/>
                    <a:pt x="3906" y="2489"/>
                  </a:cubicBezTo>
                  <a:lnTo>
                    <a:pt x="3941" y="2489"/>
                  </a:lnTo>
                  <a:cubicBezTo>
                    <a:pt x="4013" y="2489"/>
                    <a:pt x="4072" y="2429"/>
                    <a:pt x="4084" y="2358"/>
                  </a:cubicBezTo>
                  <a:cubicBezTo>
                    <a:pt x="4120" y="2191"/>
                    <a:pt x="4144" y="2025"/>
                    <a:pt x="4191" y="1882"/>
                  </a:cubicBezTo>
                  <a:cubicBezTo>
                    <a:pt x="4429" y="1834"/>
                    <a:pt x="4679" y="1822"/>
                    <a:pt x="4941" y="1822"/>
                  </a:cubicBezTo>
                  <a:close/>
                  <a:moveTo>
                    <a:pt x="6751" y="8775"/>
                  </a:moveTo>
                  <a:cubicBezTo>
                    <a:pt x="6965" y="9406"/>
                    <a:pt x="7501" y="9978"/>
                    <a:pt x="7882" y="10335"/>
                  </a:cubicBezTo>
                  <a:cubicBezTo>
                    <a:pt x="7585" y="10288"/>
                    <a:pt x="7180" y="10228"/>
                    <a:pt x="6727" y="10109"/>
                  </a:cubicBezTo>
                  <a:cubicBezTo>
                    <a:pt x="6061" y="9942"/>
                    <a:pt x="5132" y="9645"/>
                    <a:pt x="4251" y="9145"/>
                  </a:cubicBezTo>
                  <a:lnTo>
                    <a:pt x="4251" y="9145"/>
                  </a:lnTo>
                  <a:cubicBezTo>
                    <a:pt x="4489" y="9168"/>
                    <a:pt x="4739" y="9192"/>
                    <a:pt x="5013" y="9192"/>
                  </a:cubicBezTo>
                  <a:cubicBezTo>
                    <a:pt x="5620" y="9192"/>
                    <a:pt x="6215" y="9049"/>
                    <a:pt x="6751" y="8775"/>
                  </a:cubicBezTo>
                  <a:close/>
                  <a:moveTo>
                    <a:pt x="8370" y="1"/>
                  </a:moveTo>
                  <a:cubicBezTo>
                    <a:pt x="8347" y="1"/>
                    <a:pt x="7632" y="48"/>
                    <a:pt x="6644" y="286"/>
                  </a:cubicBezTo>
                  <a:cubicBezTo>
                    <a:pt x="5739" y="513"/>
                    <a:pt x="4429" y="953"/>
                    <a:pt x="3298" y="1798"/>
                  </a:cubicBezTo>
                  <a:cubicBezTo>
                    <a:pt x="2953" y="1941"/>
                    <a:pt x="2655" y="2120"/>
                    <a:pt x="2382" y="2334"/>
                  </a:cubicBezTo>
                  <a:cubicBezTo>
                    <a:pt x="1750" y="2834"/>
                    <a:pt x="1322" y="3465"/>
                    <a:pt x="905" y="4096"/>
                  </a:cubicBezTo>
                  <a:cubicBezTo>
                    <a:pt x="631" y="4513"/>
                    <a:pt x="369" y="4894"/>
                    <a:pt x="60" y="5251"/>
                  </a:cubicBezTo>
                  <a:cubicBezTo>
                    <a:pt x="0" y="5311"/>
                    <a:pt x="0" y="5406"/>
                    <a:pt x="60" y="5466"/>
                  </a:cubicBezTo>
                  <a:cubicBezTo>
                    <a:pt x="369" y="5811"/>
                    <a:pt x="619" y="6204"/>
                    <a:pt x="905" y="6620"/>
                  </a:cubicBezTo>
                  <a:cubicBezTo>
                    <a:pt x="1322" y="7251"/>
                    <a:pt x="1750" y="7894"/>
                    <a:pt x="2382" y="8383"/>
                  </a:cubicBezTo>
                  <a:cubicBezTo>
                    <a:pt x="2655" y="8609"/>
                    <a:pt x="2977" y="8787"/>
                    <a:pt x="3298" y="8918"/>
                  </a:cubicBezTo>
                  <a:cubicBezTo>
                    <a:pt x="4429" y="9752"/>
                    <a:pt x="5751" y="10216"/>
                    <a:pt x="6668" y="10430"/>
                  </a:cubicBezTo>
                  <a:cubicBezTo>
                    <a:pt x="7644" y="10669"/>
                    <a:pt x="8358" y="10716"/>
                    <a:pt x="8394" y="10716"/>
                  </a:cubicBezTo>
                  <a:lnTo>
                    <a:pt x="8406" y="10716"/>
                  </a:lnTo>
                  <a:cubicBezTo>
                    <a:pt x="8466" y="10716"/>
                    <a:pt x="8525" y="10669"/>
                    <a:pt x="8549" y="10609"/>
                  </a:cubicBezTo>
                  <a:cubicBezTo>
                    <a:pt x="8585" y="10549"/>
                    <a:pt x="8549" y="10478"/>
                    <a:pt x="8501" y="10430"/>
                  </a:cubicBezTo>
                  <a:cubicBezTo>
                    <a:pt x="8478" y="10419"/>
                    <a:pt x="7323" y="9573"/>
                    <a:pt x="7049" y="8644"/>
                  </a:cubicBezTo>
                  <a:cubicBezTo>
                    <a:pt x="7156" y="8585"/>
                    <a:pt x="7263" y="8514"/>
                    <a:pt x="7358" y="8442"/>
                  </a:cubicBezTo>
                  <a:cubicBezTo>
                    <a:pt x="8013" y="7954"/>
                    <a:pt x="8513" y="7251"/>
                    <a:pt x="8739" y="6478"/>
                  </a:cubicBezTo>
                  <a:cubicBezTo>
                    <a:pt x="8751" y="6430"/>
                    <a:pt x="8775" y="6406"/>
                    <a:pt x="8823" y="6370"/>
                  </a:cubicBezTo>
                  <a:cubicBezTo>
                    <a:pt x="8850" y="6364"/>
                    <a:pt x="8882" y="6357"/>
                    <a:pt x="8913" y="6357"/>
                  </a:cubicBezTo>
                  <a:cubicBezTo>
                    <a:pt x="8935" y="6357"/>
                    <a:pt x="8957" y="6360"/>
                    <a:pt x="8978" y="6370"/>
                  </a:cubicBezTo>
                  <a:lnTo>
                    <a:pt x="10525" y="7037"/>
                  </a:lnTo>
                  <a:cubicBezTo>
                    <a:pt x="10549" y="7051"/>
                    <a:pt x="10570" y="7058"/>
                    <a:pt x="10591" y="7058"/>
                  </a:cubicBezTo>
                  <a:cubicBezTo>
                    <a:pt x="10622" y="7058"/>
                    <a:pt x="10651" y="7042"/>
                    <a:pt x="10680" y="7013"/>
                  </a:cubicBezTo>
                  <a:cubicBezTo>
                    <a:pt x="10728" y="6966"/>
                    <a:pt x="10740" y="6906"/>
                    <a:pt x="10728" y="6847"/>
                  </a:cubicBezTo>
                  <a:lnTo>
                    <a:pt x="10299" y="5561"/>
                  </a:lnTo>
                  <a:cubicBezTo>
                    <a:pt x="10252" y="5418"/>
                    <a:pt x="10252" y="5263"/>
                    <a:pt x="10299" y="5120"/>
                  </a:cubicBezTo>
                  <a:lnTo>
                    <a:pt x="10716" y="3870"/>
                  </a:lnTo>
                  <a:cubicBezTo>
                    <a:pt x="10728" y="3811"/>
                    <a:pt x="10716" y="3751"/>
                    <a:pt x="10668" y="3715"/>
                  </a:cubicBezTo>
                  <a:cubicBezTo>
                    <a:pt x="10637" y="3684"/>
                    <a:pt x="10599" y="3668"/>
                    <a:pt x="10561" y="3668"/>
                  </a:cubicBezTo>
                  <a:cubicBezTo>
                    <a:pt x="10541" y="3668"/>
                    <a:pt x="10521" y="3672"/>
                    <a:pt x="10502" y="3680"/>
                  </a:cubicBezTo>
                  <a:lnTo>
                    <a:pt x="8954" y="4346"/>
                  </a:lnTo>
                  <a:cubicBezTo>
                    <a:pt x="8936" y="4358"/>
                    <a:pt x="8909" y="4364"/>
                    <a:pt x="8882" y="4364"/>
                  </a:cubicBezTo>
                  <a:cubicBezTo>
                    <a:pt x="8856" y="4364"/>
                    <a:pt x="8829" y="4358"/>
                    <a:pt x="8811" y="4346"/>
                  </a:cubicBezTo>
                  <a:cubicBezTo>
                    <a:pt x="8763" y="4334"/>
                    <a:pt x="8739" y="4287"/>
                    <a:pt x="8716" y="4239"/>
                  </a:cubicBezTo>
                  <a:cubicBezTo>
                    <a:pt x="8478" y="3465"/>
                    <a:pt x="8001" y="2775"/>
                    <a:pt x="7346" y="2275"/>
                  </a:cubicBezTo>
                  <a:cubicBezTo>
                    <a:pt x="7239" y="2203"/>
                    <a:pt x="7144" y="2132"/>
                    <a:pt x="7037" y="2072"/>
                  </a:cubicBezTo>
                  <a:cubicBezTo>
                    <a:pt x="7299" y="1144"/>
                    <a:pt x="8466" y="286"/>
                    <a:pt x="8478" y="286"/>
                  </a:cubicBezTo>
                  <a:cubicBezTo>
                    <a:pt x="8537" y="239"/>
                    <a:pt x="8549" y="167"/>
                    <a:pt x="8537" y="108"/>
                  </a:cubicBezTo>
                  <a:cubicBezTo>
                    <a:pt x="8513" y="48"/>
                    <a:pt x="8454" y="1"/>
                    <a:pt x="8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5" name="Google Shape;10125;p58"/>
            <p:cNvSpPr/>
            <p:nvPr/>
          </p:nvSpPr>
          <p:spPr>
            <a:xfrm>
              <a:off x="2561547" y="4278815"/>
              <a:ext cx="36709" cy="37058"/>
            </a:xfrm>
            <a:custGeom>
              <a:avLst/>
              <a:gdLst/>
              <a:ahLst/>
              <a:cxnLst/>
              <a:rect l="l" t="t" r="r" b="b"/>
              <a:pathLst>
                <a:path w="1156" h="1167" extrusionOk="0">
                  <a:moveTo>
                    <a:pt x="584" y="310"/>
                  </a:moveTo>
                  <a:cubicBezTo>
                    <a:pt x="727" y="310"/>
                    <a:pt x="846" y="429"/>
                    <a:pt x="846" y="583"/>
                  </a:cubicBezTo>
                  <a:cubicBezTo>
                    <a:pt x="846" y="726"/>
                    <a:pt x="727" y="845"/>
                    <a:pt x="584" y="845"/>
                  </a:cubicBezTo>
                  <a:cubicBezTo>
                    <a:pt x="430" y="845"/>
                    <a:pt x="310" y="726"/>
                    <a:pt x="310" y="583"/>
                  </a:cubicBezTo>
                  <a:cubicBezTo>
                    <a:pt x="310" y="429"/>
                    <a:pt x="430" y="310"/>
                    <a:pt x="584" y="310"/>
                  </a:cubicBezTo>
                  <a:close/>
                  <a:moveTo>
                    <a:pt x="584" y="0"/>
                  </a:moveTo>
                  <a:cubicBezTo>
                    <a:pt x="263" y="0"/>
                    <a:pt x="1" y="250"/>
                    <a:pt x="1" y="583"/>
                  </a:cubicBezTo>
                  <a:cubicBezTo>
                    <a:pt x="1" y="893"/>
                    <a:pt x="251" y="1167"/>
                    <a:pt x="584" y="1167"/>
                  </a:cubicBezTo>
                  <a:cubicBezTo>
                    <a:pt x="894" y="1167"/>
                    <a:pt x="1156" y="905"/>
                    <a:pt x="1156" y="583"/>
                  </a:cubicBezTo>
                  <a:cubicBezTo>
                    <a:pt x="1156" y="274"/>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26" name="Google Shape;10126;p58"/>
          <p:cNvGrpSpPr/>
          <p:nvPr/>
        </p:nvGrpSpPr>
        <p:grpSpPr>
          <a:xfrm>
            <a:off x="3040603" y="4130360"/>
            <a:ext cx="392079" cy="350353"/>
            <a:chOff x="3040603" y="4130360"/>
            <a:chExt cx="392079" cy="350353"/>
          </a:xfrm>
        </p:grpSpPr>
        <p:sp>
          <p:nvSpPr>
            <p:cNvPr id="10127" name="Google Shape;10127;p58"/>
            <p:cNvSpPr/>
            <p:nvPr/>
          </p:nvSpPr>
          <p:spPr>
            <a:xfrm>
              <a:off x="3081059" y="4144523"/>
              <a:ext cx="62780" cy="66241"/>
            </a:xfrm>
            <a:custGeom>
              <a:avLst/>
              <a:gdLst/>
              <a:ahLst/>
              <a:cxnLst/>
              <a:rect l="l" t="t" r="r" b="b"/>
              <a:pathLst>
                <a:path w="1977" h="2086" extrusionOk="0">
                  <a:moveTo>
                    <a:pt x="857" y="348"/>
                  </a:moveTo>
                  <a:cubicBezTo>
                    <a:pt x="1048" y="348"/>
                    <a:pt x="1250" y="467"/>
                    <a:pt x="1381" y="669"/>
                  </a:cubicBezTo>
                  <a:cubicBezTo>
                    <a:pt x="1524" y="931"/>
                    <a:pt x="1607" y="1264"/>
                    <a:pt x="1548" y="1491"/>
                  </a:cubicBezTo>
                  <a:cubicBezTo>
                    <a:pt x="1524" y="1550"/>
                    <a:pt x="1500" y="1645"/>
                    <a:pt x="1429" y="1681"/>
                  </a:cubicBezTo>
                  <a:cubicBezTo>
                    <a:pt x="1393" y="1705"/>
                    <a:pt x="1345" y="1717"/>
                    <a:pt x="1310" y="1717"/>
                  </a:cubicBezTo>
                  <a:cubicBezTo>
                    <a:pt x="1072" y="1717"/>
                    <a:pt x="714" y="1491"/>
                    <a:pt x="512" y="1193"/>
                  </a:cubicBezTo>
                  <a:cubicBezTo>
                    <a:pt x="417" y="1026"/>
                    <a:pt x="369" y="848"/>
                    <a:pt x="417" y="705"/>
                  </a:cubicBezTo>
                  <a:cubicBezTo>
                    <a:pt x="441" y="586"/>
                    <a:pt x="512" y="479"/>
                    <a:pt x="619" y="419"/>
                  </a:cubicBezTo>
                  <a:cubicBezTo>
                    <a:pt x="691" y="371"/>
                    <a:pt x="786" y="348"/>
                    <a:pt x="857" y="348"/>
                  </a:cubicBezTo>
                  <a:close/>
                  <a:moveTo>
                    <a:pt x="862" y="0"/>
                  </a:moveTo>
                  <a:cubicBezTo>
                    <a:pt x="713" y="0"/>
                    <a:pt x="565" y="40"/>
                    <a:pt x="429" y="121"/>
                  </a:cubicBezTo>
                  <a:cubicBezTo>
                    <a:pt x="238" y="240"/>
                    <a:pt x="119" y="419"/>
                    <a:pt x="60" y="633"/>
                  </a:cubicBezTo>
                  <a:cubicBezTo>
                    <a:pt x="0" y="883"/>
                    <a:pt x="60" y="1145"/>
                    <a:pt x="202" y="1407"/>
                  </a:cubicBezTo>
                  <a:cubicBezTo>
                    <a:pt x="357" y="1622"/>
                    <a:pt x="572" y="1836"/>
                    <a:pt x="834" y="1967"/>
                  </a:cubicBezTo>
                  <a:cubicBezTo>
                    <a:pt x="988" y="2062"/>
                    <a:pt x="1155" y="2086"/>
                    <a:pt x="1286" y="2086"/>
                  </a:cubicBezTo>
                  <a:cubicBezTo>
                    <a:pt x="1405" y="2086"/>
                    <a:pt x="1512" y="2050"/>
                    <a:pt x="1607" y="1991"/>
                  </a:cubicBezTo>
                  <a:cubicBezTo>
                    <a:pt x="1738" y="1907"/>
                    <a:pt x="1846" y="1776"/>
                    <a:pt x="1881" y="1574"/>
                  </a:cubicBezTo>
                  <a:cubicBezTo>
                    <a:pt x="1977" y="1252"/>
                    <a:pt x="1881" y="824"/>
                    <a:pt x="1679" y="490"/>
                  </a:cubicBezTo>
                  <a:cubicBezTo>
                    <a:pt x="1478" y="170"/>
                    <a:pt x="1170" y="0"/>
                    <a:pt x="8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8" name="Google Shape;10128;p58"/>
            <p:cNvSpPr/>
            <p:nvPr/>
          </p:nvSpPr>
          <p:spPr>
            <a:xfrm>
              <a:off x="3040603" y="4192981"/>
              <a:ext cx="58620" cy="55222"/>
            </a:xfrm>
            <a:custGeom>
              <a:avLst/>
              <a:gdLst/>
              <a:ahLst/>
              <a:cxnLst/>
              <a:rect l="l" t="t" r="r" b="b"/>
              <a:pathLst>
                <a:path w="1846" h="1739" extrusionOk="0">
                  <a:moveTo>
                    <a:pt x="750" y="369"/>
                  </a:moveTo>
                  <a:cubicBezTo>
                    <a:pt x="869" y="369"/>
                    <a:pt x="1000" y="429"/>
                    <a:pt x="1119" y="536"/>
                  </a:cubicBezTo>
                  <a:cubicBezTo>
                    <a:pt x="1357" y="727"/>
                    <a:pt x="1548" y="1155"/>
                    <a:pt x="1417" y="1310"/>
                  </a:cubicBezTo>
                  <a:cubicBezTo>
                    <a:pt x="1387" y="1347"/>
                    <a:pt x="1325" y="1366"/>
                    <a:pt x="1247" y="1366"/>
                  </a:cubicBezTo>
                  <a:cubicBezTo>
                    <a:pt x="1201" y="1366"/>
                    <a:pt x="1149" y="1359"/>
                    <a:pt x="1095" y="1346"/>
                  </a:cubicBezTo>
                  <a:cubicBezTo>
                    <a:pt x="905" y="1322"/>
                    <a:pt x="738" y="1227"/>
                    <a:pt x="595" y="1108"/>
                  </a:cubicBezTo>
                  <a:cubicBezTo>
                    <a:pt x="476" y="1000"/>
                    <a:pt x="405" y="893"/>
                    <a:pt x="393" y="774"/>
                  </a:cubicBezTo>
                  <a:cubicBezTo>
                    <a:pt x="381" y="667"/>
                    <a:pt x="405" y="560"/>
                    <a:pt x="476" y="488"/>
                  </a:cubicBezTo>
                  <a:cubicBezTo>
                    <a:pt x="560" y="417"/>
                    <a:pt x="643" y="369"/>
                    <a:pt x="750" y="369"/>
                  </a:cubicBezTo>
                  <a:close/>
                  <a:moveTo>
                    <a:pt x="753" y="0"/>
                  </a:moveTo>
                  <a:cubicBezTo>
                    <a:pt x="548" y="0"/>
                    <a:pt x="351" y="84"/>
                    <a:pt x="203" y="250"/>
                  </a:cubicBezTo>
                  <a:cubicBezTo>
                    <a:pt x="60" y="417"/>
                    <a:pt x="0" y="608"/>
                    <a:pt x="36" y="834"/>
                  </a:cubicBezTo>
                  <a:cubicBezTo>
                    <a:pt x="60" y="1036"/>
                    <a:pt x="179" y="1227"/>
                    <a:pt x="357" y="1393"/>
                  </a:cubicBezTo>
                  <a:cubicBezTo>
                    <a:pt x="536" y="1536"/>
                    <a:pt x="774" y="1655"/>
                    <a:pt x="1012" y="1727"/>
                  </a:cubicBezTo>
                  <a:cubicBezTo>
                    <a:pt x="1095" y="1739"/>
                    <a:pt x="1155" y="1739"/>
                    <a:pt x="1226" y="1739"/>
                  </a:cubicBezTo>
                  <a:cubicBezTo>
                    <a:pt x="1417" y="1739"/>
                    <a:pt x="1584" y="1679"/>
                    <a:pt x="1691" y="1560"/>
                  </a:cubicBezTo>
                  <a:cubicBezTo>
                    <a:pt x="1834" y="1381"/>
                    <a:pt x="1846" y="1143"/>
                    <a:pt x="1762" y="858"/>
                  </a:cubicBezTo>
                  <a:cubicBezTo>
                    <a:pt x="1691" y="631"/>
                    <a:pt x="1536" y="393"/>
                    <a:pt x="1357" y="250"/>
                  </a:cubicBezTo>
                  <a:cubicBezTo>
                    <a:pt x="1173" y="84"/>
                    <a:pt x="959" y="0"/>
                    <a:pt x="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9" name="Google Shape;10129;p58"/>
            <p:cNvSpPr/>
            <p:nvPr/>
          </p:nvSpPr>
          <p:spPr>
            <a:xfrm>
              <a:off x="3147967" y="4130360"/>
              <a:ext cx="55984" cy="69067"/>
            </a:xfrm>
            <a:custGeom>
              <a:avLst/>
              <a:gdLst/>
              <a:ahLst/>
              <a:cxnLst/>
              <a:rect l="l" t="t" r="r" b="b"/>
              <a:pathLst>
                <a:path w="1763" h="2175" extrusionOk="0">
                  <a:moveTo>
                    <a:pt x="899" y="0"/>
                  </a:moveTo>
                  <a:cubicBezTo>
                    <a:pt x="581" y="0"/>
                    <a:pt x="279" y="177"/>
                    <a:pt x="120" y="496"/>
                  </a:cubicBezTo>
                  <a:cubicBezTo>
                    <a:pt x="72" y="579"/>
                    <a:pt x="108" y="686"/>
                    <a:pt x="191" y="734"/>
                  </a:cubicBezTo>
                  <a:cubicBezTo>
                    <a:pt x="220" y="749"/>
                    <a:pt x="249" y="755"/>
                    <a:pt x="277" y="755"/>
                  </a:cubicBezTo>
                  <a:cubicBezTo>
                    <a:pt x="340" y="755"/>
                    <a:pt x="396" y="720"/>
                    <a:pt x="429" y="663"/>
                  </a:cubicBezTo>
                  <a:cubicBezTo>
                    <a:pt x="524" y="474"/>
                    <a:pt x="701" y="359"/>
                    <a:pt x="881" y="359"/>
                  </a:cubicBezTo>
                  <a:cubicBezTo>
                    <a:pt x="905" y="359"/>
                    <a:pt x="929" y="361"/>
                    <a:pt x="953" y="365"/>
                  </a:cubicBezTo>
                  <a:cubicBezTo>
                    <a:pt x="1072" y="377"/>
                    <a:pt x="1179" y="436"/>
                    <a:pt x="1251" y="544"/>
                  </a:cubicBezTo>
                  <a:cubicBezTo>
                    <a:pt x="1346" y="675"/>
                    <a:pt x="1382" y="841"/>
                    <a:pt x="1358" y="1032"/>
                  </a:cubicBezTo>
                  <a:cubicBezTo>
                    <a:pt x="1301" y="1432"/>
                    <a:pt x="980" y="1832"/>
                    <a:pt x="744" y="1832"/>
                  </a:cubicBezTo>
                  <a:cubicBezTo>
                    <a:pt x="734" y="1832"/>
                    <a:pt x="724" y="1831"/>
                    <a:pt x="715" y="1829"/>
                  </a:cubicBezTo>
                  <a:cubicBezTo>
                    <a:pt x="548" y="1806"/>
                    <a:pt x="405" y="1556"/>
                    <a:pt x="358" y="1210"/>
                  </a:cubicBezTo>
                  <a:cubicBezTo>
                    <a:pt x="346" y="1103"/>
                    <a:pt x="251" y="1044"/>
                    <a:pt x="167" y="1044"/>
                  </a:cubicBezTo>
                  <a:cubicBezTo>
                    <a:pt x="60" y="1056"/>
                    <a:pt x="0" y="1151"/>
                    <a:pt x="0" y="1234"/>
                  </a:cubicBezTo>
                  <a:cubicBezTo>
                    <a:pt x="48" y="1663"/>
                    <a:pt x="274" y="2115"/>
                    <a:pt x="667" y="2175"/>
                  </a:cubicBezTo>
                  <a:lnTo>
                    <a:pt x="751" y="2175"/>
                  </a:lnTo>
                  <a:cubicBezTo>
                    <a:pt x="953" y="2175"/>
                    <a:pt x="1179" y="2056"/>
                    <a:pt x="1370" y="1818"/>
                  </a:cubicBezTo>
                  <a:cubicBezTo>
                    <a:pt x="1548" y="1603"/>
                    <a:pt x="1679" y="1329"/>
                    <a:pt x="1727" y="1056"/>
                  </a:cubicBezTo>
                  <a:cubicBezTo>
                    <a:pt x="1763" y="805"/>
                    <a:pt x="1703" y="544"/>
                    <a:pt x="1548" y="329"/>
                  </a:cubicBezTo>
                  <a:cubicBezTo>
                    <a:pt x="1417" y="151"/>
                    <a:pt x="1215" y="43"/>
                    <a:pt x="1013" y="8"/>
                  </a:cubicBezTo>
                  <a:cubicBezTo>
                    <a:pt x="974" y="3"/>
                    <a:pt x="936" y="0"/>
                    <a:pt x="8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0" name="Google Shape;10130;p58"/>
            <p:cNvSpPr/>
            <p:nvPr/>
          </p:nvSpPr>
          <p:spPr>
            <a:xfrm>
              <a:off x="3205443" y="4158082"/>
              <a:ext cx="52586" cy="59890"/>
            </a:xfrm>
            <a:custGeom>
              <a:avLst/>
              <a:gdLst/>
              <a:ahLst/>
              <a:cxnLst/>
              <a:rect l="l" t="t" r="r" b="b"/>
              <a:pathLst>
                <a:path w="1656" h="1886" extrusionOk="0">
                  <a:moveTo>
                    <a:pt x="905" y="349"/>
                  </a:moveTo>
                  <a:cubicBezTo>
                    <a:pt x="941" y="349"/>
                    <a:pt x="1000" y="361"/>
                    <a:pt x="1048" y="385"/>
                  </a:cubicBezTo>
                  <a:cubicBezTo>
                    <a:pt x="1143" y="421"/>
                    <a:pt x="1215" y="516"/>
                    <a:pt x="1238" y="623"/>
                  </a:cubicBezTo>
                  <a:cubicBezTo>
                    <a:pt x="1286" y="742"/>
                    <a:pt x="1274" y="885"/>
                    <a:pt x="1203" y="1016"/>
                  </a:cubicBezTo>
                  <a:cubicBezTo>
                    <a:pt x="1077" y="1268"/>
                    <a:pt x="774" y="1530"/>
                    <a:pt x="582" y="1530"/>
                  </a:cubicBezTo>
                  <a:cubicBezTo>
                    <a:pt x="556" y="1530"/>
                    <a:pt x="533" y="1526"/>
                    <a:pt x="512" y="1516"/>
                  </a:cubicBezTo>
                  <a:cubicBezTo>
                    <a:pt x="334" y="1421"/>
                    <a:pt x="346" y="945"/>
                    <a:pt x="465" y="683"/>
                  </a:cubicBezTo>
                  <a:cubicBezTo>
                    <a:pt x="524" y="540"/>
                    <a:pt x="631" y="444"/>
                    <a:pt x="750" y="385"/>
                  </a:cubicBezTo>
                  <a:cubicBezTo>
                    <a:pt x="798" y="361"/>
                    <a:pt x="857" y="349"/>
                    <a:pt x="905" y="349"/>
                  </a:cubicBezTo>
                  <a:close/>
                  <a:moveTo>
                    <a:pt x="917" y="1"/>
                  </a:moveTo>
                  <a:cubicBezTo>
                    <a:pt x="816" y="1"/>
                    <a:pt x="715" y="22"/>
                    <a:pt x="619" y="63"/>
                  </a:cubicBezTo>
                  <a:cubicBezTo>
                    <a:pt x="429" y="159"/>
                    <a:pt x="262" y="325"/>
                    <a:pt x="155" y="528"/>
                  </a:cubicBezTo>
                  <a:cubicBezTo>
                    <a:pt x="48" y="742"/>
                    <a:pt x="0" y="1004"/>
                    <a:pt x="24" y="1242"/>
                  </a:cubicBezTo>
                  <a:cubicBezTo>
                    <a:pt x="48" y="1540"/>
                    <a:pt x="167" y="1742"/>
                    <a:pt x="357" y="1837"/>
                  </a:cubicBezTo>
                  <a:cubicBezTo>
                    <a:pt x="441" y="1873"/>
                    <a:pt x="512" y="1885"/>
                    <a:pt x="584" y="1885"/>
                  </a:cubicBezTo>
                  <a:cubicBezTo>
                    <a:pt x="953" y="1885"/>
                    <a:pt x="1358" y="1504"/>
                    <a:pt x="1524" y="1171"/>
                  </a:cubicBezTo>
                  <a:cubicBezTo>
                    <a:pt x="1631" y="956"/>
                    <a:pt x="1655" y="742"/>
                    <a:pt x="1596" y="528"/>
                  </a:cubicBezTo>
                  <a:cubicBezTo>
                    <a:pt x="1536" y="325"/>
                    <a:pt x="1405" y="159"/>
                    <a:pt x="1215" y="63"/>
                  </a:cubicBezTo>
                  <a:cubicBezTo>
                    <a:pt x="1119" y="22"/>
                    <a:pt x="1018"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1" name="Google Shape;10131;p58"/>
            <p:cNvSpPr/>
            <p:nvPr/>
          </p:nvSpPr>
          <p:spPr>
            <a:xfrm>
              <a:off x="3092777" y="4212002"/>
              <a:ext cx="144453" cy="102759"/>
            </a:xfrm>
            <a:custGeom>
              <a:avLst/>
              <a:gdLst/>
              <a:ahLst/>
              <a:cxnLst/>
              <a:rect l="l" t="t" r="r" b="b"/>
              <a:pathLst>
                <a:path w="4549" h="3236" extrusionOk="0">
                  <a:moveTo>
                    <a:pt x="2386" y="0"/>
                  </a:moveTo>
                  <a:cubicBezTo>
                    <a:pt x="2223" y="0"/>
                    <a:pt x="2061" y="17"/>
                    <a:pt x="1905" y="56"/>
                  </a:cubicBezTo>
                  <a:cubicBezTo>
                    <a:pt x="1334" y="175"/>
                    <a:pt x="834" y="485"/>
                    <a:pt x="476" y="949"/>
                  </a:cubicBezTo>
                  <a:cubicBezTo>
                    <a:pt x="131" y="1390"/>
                    <a:pt x="0" y="1914"/>
                    <a:pt x="84" y="2378"/>
                  </a:cubicBezTo>
                  <a:cubicBezTo>
                    <a:pt x="179" y="2830"/>
                    <a:pt x="488" y="3116"/>
                    <a:pt x="1000" y="3211"/>
                  </a:cubicBezTo>
                  <a:cubicBezTo>
                    <a:pt x="1119" y="3235"/>
                    <a:pt x="1262" y="3235"/>
                    <a:pt x="1417" y="3235"/>
                  </a:cubicBezTo>
                  <a:cubicBezTo>
                    <a:pt x="1715" y="3235"/>
                    <a:pt x="2084" y="3187"/>
                    <a:pt x="2524" y="3104"/>
                  </a:cubicBezTo>
                  <a:cubicBezTo>
                    <a:pt x="3203" y="2973"/>
                    <a:pt x="3679" y="2806"/>
                    <a:pt x="3989" y="2592"/>
                  </a:cubicBezTo>
                  <a:cubicBezTo>
                    <a:pt x="4394" y="2283"/>
                    <a:pt x="4548" y="1902"/>
                    <a:pt x="4465" y="1437"/>
                  </a:cubicBezTo>
                  <a:cubicBezTo>
                    <a:pt x="4394" y="1044"/>
                    <a:pt x="4132" y="687"/>
                    <a:pt x="3774" y="425"/>
                  </a:cubicBezTo>
                  <a:cubicBezTo>
                    <a:pt x="3746" y="401"/>
                    <a:pt x="3709" y="389"/>
                    <a:pt x="3672" y="389"/>
                  </a:cubicBezTo>
                  <a:cubicBezTo>
                    <a:pt x="3617" y="389"/>
                    <a:pt x="3560" y="416"/>
                    <a:pt x="3524" y="473"/>
                  </a:cubicBezTo>
                  <a:cubicBezTo>
                    <a:pt x="3465" y="544"/>
                    <a:pt x="3477" y="663"/>
                    <a:pt x="3572" y="723"/>
                  </a:cubicBezTo>
                  <a:cubicBezTo>
                    <a:pt x="3870" y="949"/>
                    <a:pt x="4060" y="1211"/>
                    <a:pt x="4120" y="1509"/>
                  </a:cubicBezTo>
                  <a:cubicBezTo>
                    <a:pt x="4179" y="1818"/>
                    <a:pt x="4072" y="2056"/>
                    <a:pt x="3774" y="2271"/>
                  </a:cubicBezTo>
                  <a:cubicBezTo>
                    <a:pt x="3501" y="2449"/>
                    <a:pt x="3084" y="2592"/>
                    <a:pt x="2453" y="2735"/>
                  </a:cubicBezTo>
                  <a:cubicBezTo>
                    <a:pt x="2024" y="2818"/>
                    <a:pt x="1679" y="2866"/>
                    <a:pt x="1417" y="2866"/>
                  </a:cubicBezTo>
                  <a:cubicBezTo>
                    <a:pt x="679" y="2866"/>
                    <a:pt x="500" y="2580"/>
                    <a:pt x="441" y="2283"/>
                  </a:cubicBezTo>
                  <a:cubicBezTo>
                    <a:pt x="298" y="1568"/>
                    <a:pt x="917" y="616"/>
                    <a:pt x="1977" y="390"/>
                  </a:cubicBezTo>
                  <a:cubicBezTo>
                    <a:pt x="2115" y="360"/>
                    <a:pt x="2254" y="344"/>
                    <a:pt x="2393" y="344"/>
                  </a:cubicBezTo>
                  <a:cubicBezTo>
                    <a:pt x="2587" y="344"/>
                    <a:pt x="2782" y="375"/>
                    <a:pt x="2977" y="437"/>
                  </a:cubicBezTo>
                  <a:cubicBezTo>
                    <a:pt x="2992" y="444"/>
                    <a:pt x="3008" y="447"/>
                    <a:pt x="3024" y="447"/>
                  </a:cubicBezTo>
                  <a:cubicBezTo>
                    <a:pt x="3097" y="447"/>
                    <a:pt x="3174" y="386"/>
                    <a:pt x="3203" y="318"/>
                  </a:cubicBezTo>
                  <a:cubicBezTo>
                    <a:pt x="3227" y="235"/>
                    <a:pt x="3167" y="128"/>
                    <a:pt x="3084" y="92"/>
                  </a:cubicBezTo>
                  <a:cubicBezTo>
                    <a:pt x="2859" y="36"/>
                    <a:pt x="2621" y="0"/>
                    <a:pt x="23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2" name="Google Shape;10132;p58"/>
            <p:cNvSpPr/>
            <p:nvPr/>
          </p:nvSpPr>
          <p:spPr>
            <a:xfrm>
              <a:off x="3283307" y="4290469"/>
              <a:ext cx="55254" cy="70782"/>
            </a:xfrm>
            <a:custGeom>
              <a:avLst/>
              <a:gdLst/>
              <a:ahLst/>
              <a:cxnLst/>
              <a:rect l="l" t="t" r="r" b="b"/>
              <a:pathLst>
                <a:path w="1740" h="2229" extrusionOk="0">
                  <a:moveTo>
                    <a:pt x="858" y="347"/>
                  </a:moveTo>
                  <a:cubicBezTo>
                    <a:pt x="1144" y="383"/>
                    <a:pt x="1346" y="645"/>
                    <a:pt x="1334" y="1002"/>
                  </a:cubicBezTo>
                  <a:cubicBezTo>
                    <a:pt x="1334" y="1288"/>
                    <a:pt x="1203" y="1598"/>
                    <a:pt x="1025" y="1764"/>
                  </a:cubicBezTo>
                  <a:cubicBezTo>
                    <a:pt x="985" y="1804"/>
                    <a:pt x="928" y="1853"/>
                    <a:pt x="854" y="1853"/>
                  </a:cubicBezTo>
                  <a:cubicBezTo>
                    <a:pt x="840" y="1853"/>
                    <a:pt x="825" y="1851"/>
                    <a:pt x="811" y="1848"/>
                  </a:cubicBezTo>
                  <a:cubicBezTo>
                    <a:pt x="572" y="1836"/>
                    <a:pt x="322" y="1359"/>
                    <a:pt x="334" y="943"/>
                  </a:cubicBezTo>
                  <a:cubicBezTo>
                    <a:pt x="334" y="752"/>
                    <a:pt x="418" y="586"/>
                    <a:pt x="525" y="466"/>
                  </a:cubicBezTo>
                  <a:cubicBezTo>
                    <a:pt x="620" y="395"/>
                    <a:pt x="727" y="347"/>
                    <a:pt x="822" y="347"/>
                  </a:cubicBezTo>
                  <a:close/>
                  <a:moveTo>
                    <a:pt x="824" y="1"/>
                  </a:moveTo>
                  <a:cubicBezTo>
                    <a:pt x="626" y="1"/>
                    <a:pt x="431" y="73"/>
                    <a:pt x="299" y="216"/>
                  </a:cubicBezTo>
                  <a:cubicBezTo>
                    <a:pt x="96" y="395"/>
                    <a:pt x="1" y="645"/>
                    <a:pt x="1" y="943"/>
                  </a:cubicBezTo>
                  <a:cubicBezTo>
                    <a:pt x="1" y="1205"/>
                    <a:pt x="72" y="1502"/>
                    <a:pt x="203" y="1764"/>
                  </a:cubicBezTo>
                  <a:cubicBezTo>
                    <a:pt x="370" y="2062"/>
                    <a:pt x="596" y="2229"/>
                    <a:pt x="834" y="2229"/>
                  </a:cubicBezTo>
                  <a:lnTo>
                    <a:pt x="858" y="2229"/>
                  </a:lnTo>
                  <a:cubicBezTo>
                    <a:pt x="1013" y="2229"/>
                    <a:pt x="1168" y="2169"/>
                    <a:pt x="1311" y="2026"/>
                  </a:cubicBezTo>
                  <a:cubicBezTo>
                    <a:pt x="1561" y="1812"/>
                    <a:pt x="1727" y="1395"/>
                    <a:pt x="1739" y="1014"/>
                  </a:cubicBezTo>
                  <a:cubicBezTo>
                    <a:pt x="1704" y="466"/>
                    <a:pt x="1346" y="26"/>
                    <a:pt x="870" y="2"/>
                  </a:cubicBezTo>
                  <a:cubicBezTo>
                    <a:pt x="855" y="1"/>
                    <a:pt x="839" y="1"/>
                    <a:pt x="8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3" name="Google Shape;10133;p58"/>
            <p:cNvSpPr/>
            <p:nvPr/>
          </p:nvSpPr>
          <p:spPr>
            <a:xfrm>
              <a:off x="3221702" y="4306728"/>
              <a:ext cx="54460" cy="62462"/>
            </a:xfrm>
            <a:custGeom>
              <a:avLst/>
              <a:gdLst/>
              <a:ahLst/>
              <a:cxnLst/>
              <a:rect l="l" t="t" r="r" b="b"/>
              <a:pathLst>
                <a:path w="1715" h="1967" extrusionOk="0">
                  <a:moveTo>
                    <a:pt x="834" y="359"/>
                  </a:moveTo>
                  <a:cubicBezTo>
                    <a:pt x="905" y="359"/>
                    <a:pt x="988" y="371"/>
                    <a:pt x="1048" y="419"/>
                  </a:cubicBezTo>
                  <a:cubicBezTo>
                    <a:pt x="1143" y="490"/>
                    <a:pt x="1227" y="609"/>
                    <a:pt x="1262" y="752"/>
                  </a:cubicBezTo>
                  <a:cubicBezTo>
                    <a:pt x="1322" y="1074"/>
                    <a:pt x="1250" y="1538"/>
                    <a:pt x="1060" y="1598"/>
                  </a:cubicBezTo>
                  <a:cubicBezTo>
                    <a:pt x="1053" y="1599"/>
                    <a:pt x="1045" y="1599"/>
                    <a:pt x="1037" y="1599"/>
                  </a:cubicBezTo>
                  <a:cubicBezTo>
                    <a:pt x="965" y="1599"/>
                    <a:pt x="859" y="1550"/>
                    <a:pt x="762" y="1443"/>
                  </a:cubicBezTo>
                  <a:cubicBezTo>
                    <a:pt x="643" y="1324"/>
                    <a:pt x="536" y="1145"/>
                    <a:pt x="488" y="966"/>
                  </a:cubicBezTo>
                  <a:cubicBezTo>
                    <a:pt x="417" y="681"/>
                    <a:pt x="524" y="431"/>
                    <a:pt x="750" y="371"/>
                  </a:cubicBezTo>
                  <a:cubicBezTo>
                    <a:pt x="774" y="359"/>
                    <a:pt x="810" y="359"/>
                    <a:pt x="834" y="359"/>
                  </a:cubicBezTo>
                  <a:close/>
                  <a:moveTo>
                    <a:pt x="822" y="0"/>
                  </a:moveTo>
                  <a:cubicBezTo>
                    <a:pt x="762" y="0"/>
                    <a:pt x="702" y="9"/>
                    <a:pt x="643" y="26"/>
                  </a:cubicBezTo>
                  <a:cubicBezTo>
                    <a:pt x="226" y="133"/>
                    <a:pt x="0" y="585"/>
                    <a:pt x="131" y="1074"/>
                  </a:cubicBezTo>
                  <a:cubicBezTo>
                    <a:pt x="191" y="1288"/>
                    <a:pt x="334" y="1526"/>
                    <a:pt x="512" y="1705"/>
                  </a:cubicBezTo>
                  <a:cubicBezTo>
                    <a:pt x="667" y="1871"/>
                    <a:pt x="846" y="1967"/>
                    <a:pt x="1024" y="1967"/>
                  </a:cubicBezTo>
                  <a:cubicBezTo>
                    <a:pt x="1072" y="1967"/>
                    <a:pt x="1119" y="1967"/>
                    <a:pt x="1167" y="1943"/>
                  </a:cubicBezTo>
                  <a:cubicBezTo>
                    <a:pt x="1608" y="1812"/>
                    <a:pt x="1715" y="1121"/>
                    <a:pt x="1596" y="669"/>
                  </a:cubicBezTo>
                  <a:cubicBezTo>
                    <a:pt x="1536" y="431"/>
                    <a:pt x="1405" y="240"/>
                    <a:pt x="1238" y="133"/>
                  </a:cubicBezTo>
                  <a:cubicBezTo>
                    <a:pt x="1112" y="49"/>
                    <a:pt x="968"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4" name="Google Shape;10134;p58"/>
            <p:cNvSpPr/>
            <p:nvPr/>
          </p:nvSpPr>
          <p:spPr>
            <a:xfrm>
              <a:off x="3333606" y="4316667"/>
              <a:ext cx="66940" cy="62748"/>
            </a:xfrm>
            <a:custGeom>
              <a:avLst/>
              <a:gdLst/>
              <a:ahLst/>
              <a:cxnLst/>
              <a:rect l="l" t="t" r="r" b="b"/>
              <a:pathLst>
                <a:path w="2108" h="1976" extrusionOk="0">
                  <a:moveTo>
                    <a:pt x="1255" y="0"/>
                  </a:moveTo>
                  <a:cubicBezTo>
                    <a:pt x="1107" y="0"/>
                    <a:pt x="954" y="38"/>
                    <a:pt x="810" y="118"/>
                  </a:cubicBezTo>
                  <a:cubicBezTo>
                    <a:pt x="715" y="165"/>
                    <a:pt x="691" y="284"/>
                    <a:pt x="739" y="356"/>
                  </a:cubicBezTo>
                  <a:cubicBezTo>
                    <a:pt x="762" y="419"/>
                    <a:pt x="823" y="451"/>
                    <a:pt x="886" y="451"/>
                  </a:cubicBezTo>
                  <a:cubicBezTo>
                    <a:pt x="917" y="451"/>
                    <a:pt x="949" y="443"/>
                    <a:pt x="977" y="427"/>
                  </a:cubicBezTo>
                  <a:cubicBezTo>
                    <a:pt x="1064" y="376"/>
                    <a:pt x="1156" y="351"/>
                    <a:pt x="1246" y="351"/>
                  </a:cubicBezTo>
                  <a:cubicBezTo>
                    <a:pt x="1364" y="351"/>
                    <a:pt x="1477" y="394"/>
                    <a:pt x="1572" y="475"/>
                  </a:cubicBezTo>
                  <a:cubicBezTo>
                    <a:pt x="1655" y="570"/>
                    <a:pt x="1715" y="665"/>
                    <a:pt x="1715" y="784"/>
                  </a:cubicBezTo>
                  <a:cubicBezTo>
                    <a:pt x="1715" y="951"/>
                    <a:pt x="1655" y="1118"/>
                    <a:pt x="1524" y="1249"/>
                  </a:cubicBezTo>
                  <a:cubicBezTo>
                    <a:pt x="1314" y="1468"/>
                    <a:pt x="975" y="1622"/>
                    <a:pt x="739" y="1622"/>
                  </a:cubicBezTo>
                  <a:cubicBezTo>
                    <a:pt x="655" y="1622"/>
                    <a:pt x="583" y="1602"/>
                    <a:pt x="536" y="1558"/>
                  </a:cubicBezTo>
                  <a:cubicBezTo>
                    <a:pt x="417" y="1463"/>
                    <a:pt x="441" y="1142"/>
                    <a:pt x="584" y="844"/>
                  </a:cubicBezTo>
                  <a:cubicBezTo>
                    <a:pt x="631" y="761"/>
                    <a:pt x="596" y="653"/>
                    <a:pt x="512" y="606"/>
                  </a:cubicBezTo>
                  <a:cubicBezTo>
                    <a:pt x="485" y="595"/>
                    <a:pt x="457" y="590"/>
                    <a:pt x="430" y="590"/>
                  </a:cubicBezTo>
                  <a:cubicBezTo>
                    <a:pt x="366" y="590"/>
                    <a:pt x="308" y="622"/>
                    <a:pt x="274" y="689"/>
                  </a:cubicBezTo>
                  <a:cubicBezTo>
                    <a:pt x="84" y="1070"/>
                    <a:pt x="0" y="1558"/>
                    <a:pt x="298" y="1832"/>
                  </a:cubicBezTo>
                  <a:cubicBezTo>
                    <a:pt x="417" y="1939"/>
                    <a:pt x="572" y="1975"/>
                    <a:pt x="751" y="1975"/>
                  </a:cubicBezTo>
                  <a:cubicBezTo>
                    <a:pt x="858" y="1975"/>
                    <a:pt x="953" y="1963"/>
                    <a:pt x="1072" y="1939"/>
                  </a:cubicBezTo>
                  <a:cubicBezTo>
                    <a:pt x="1346" y="1856"/>
                    <a:pt x="1608" y="1701"/>
                    <a:pt x="1786" y="1499"/>
                  </a:cubicBezTo>
                  <a:cubicBezTo>
                    <a:pt x="2001" y="1296"/>
                    <a:pt x="2108" y="1046"/>
                    <a:pt x="2084" y="773"/>
                  </a:cubicBezTo>
                  <a:cubicBezTo>
                    <a:pt x="2072" y="546"/>
                    <a:pt x="1989" y="356"/>
                    <a:pt x="1822" y="213"/>
                  </a:cubicBezTo>
                  <a:cubicBezTo>
                    <a:pt x="1663" y="74"/>
                    <a:pt x="1463" y="0"/>
                    <a:pt x="12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5" name="Google Shape;10135;p58"/>
            <p:cNvSpPr/>
            <p:nvPr/>
          </p:nvSpPr>
          <p:spPr>
            <a:xfrm>
              <a:off x="3371046" y="4372587"/>
              <a:ext cx="61636" cy="51792"/>
            </a:xfrm>
            <a:custGeom>
              <a:avLst/>
              <a:gdLst/>
              <a:ahLst/>
              <a:cxnLst/>
              <a:rect l="l" t="t" r="r" b="b"/>
              <a:pathLst>
                <a:path w="1941" h="1631" extrusionOk="0">
                  <a:moveTo>
                    <a:pt x="1181" y="373"/>
                  </a:moveTo>
                  <a:cubicBezTo>
                    <a:pt x="1315" y="373"/>
                    <a:pt x="1432" y="430"/>
                    <a:pt x="1500" y="547"/>
                  </a:cubicBezTo>
                  <a:cubicBezTo>
                    <a:pt x="1548" y="631"/>
                    <a:pt x="1560" y="738"/>
                    <a:pt x="1536" y="845"/>
                  </a:cubicBezTo>
                  <a:cubicBezTo>
                    <a:pt x="1488" y="964"/>
                    <a:pt x="1405" y="1071"/>
                    <a:pt x="1262" y="1143"/>
                  </a:cubicBezTo>
                  <a:cubicBezTo>
                    <a:pt x="1119" y="1226"/>
                    <a:pt x="929" y="1286"/>
                    <a:pt x="750" y="1286"/>
                  </a:cubicBezTo>
                  <a:cubicBezTo>
                    <a:pt x="595" y="1286"/>
                    <a:pt x="476" y="1250"/>
                    <a:pt x="429" y="1190"/>
                  </a:cubicBezTo>
                  <a:cubicBezTo>
                    <a:pt x="393" y="1131"/>
                    <a:pt x="417" y="988"/>
                    <a:pt x="488" y="857"/>
                  </a:cubicBezTo>
                  <a:cubicBezTo>
                    <a:pt x="584" y="702"/>
                    <a:pt x="726" y="559"/>
                    <a:pt x="869" y="464"/>
                  </a:cubicBezTo>
                  <a:cubicBezTo>
                    <a:pt x="975" y="404"/>
                    <a:pt x="1083" y="373"/>
                    <a:pt x="1181" y="373"/>
                  </a:cubicBezTo>
                  <a:close/>
                  <a:moveTo>
                    <a:pt x="1161" y="0"/>
                  </a:moveTo>
                  <a:cubicBezTo>
                    <a:pt x="998" y="0"/>
                    <a:pt x="826" y="47"/>
                    <a:pt x="667" y="143"/>
                  </a:cubicBezTo>
                  <a:cubicBezTo>
                    <a:pt x="465" y="262"/>
                    <a:pt x="286" y="452"/>
                    <a:pt x="167" y="667"/>
                  </a:cubicBezTo>
                  <a:cubicBezTo>
                    <a:pt x="12" y="917"/>
                    <a:pt x="0" y="1167"/>
                    <a:pt x="107" y="1345"/>
                  </a:cubicBezTo>
                  <a:cubicBezTo>
                    <a:pt x="214" y="1524"/>
                    <a:pt x="429" y="1631"/>
                    <a:pt x="726" y="1631"/>
                  </a:cubicBezTo>
                  <a:cubicBezTo>
                    <a:pt x="965" y="1631"/>
                    <a:pt x="1238" y="1559"/>
                    <a:pt x="1429" y="1440"/>
                  </a:cubicBezTo>
                  <a:cubicBezTo>
                    <a:pt x="1643" y="1321"/>
                    <a:pt x="1786" y="1143"/>
                    <a:pt x="1858" y="952"/>
                  </a:cubicBezTo>
                  <a:cubicBezTo>
                    <a:pt x="1941" y="750"/>
                    <a:pt x="1917" y="536"/>
                    <a:pt x="1798" y="357"/>
                  </a:cubicBezTo>
                  <a:cubicBezTo>
                    <a:pt x="1666" y="122"/>
                    <a:pt x="1425"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6" name="Google Shape;10136;p58"/>
            <p:cNvSpPr/>
            <p:nvPr/>
          </p:nvSpPr>
          <p:spPr>
            <a:xfrm>
              <a:off x="3227735" y="4370904"/>
              <a:ext cx="142961" cy="109809"/>
            </a:xfrm>
            <a:custGeom>
              <a:avLst/>
              <a:gdLst/>
              <a:ahLst/>
              <a:cxnLst/>
              <a:rect l="l" t="t" r="r" b="b"/>
              <a:pathLst>
                <a:path w="4502" h="3458" extrusionOk="0">
                  <a:moveTo>
                    <a:pt x="2067" y="1"/>
                  </a:moveTo>
                  <a:cubicBezTo>
                    <a:pt x="1808" y="1"/>
                    <a:pt x="1548" y="43"/>
                    <a:pt x="1298" y="124"/>
                  </a:cubicBezTo>
                  <a:cubicBezTo>
                    <a:pt x="763" y="303"/>
                    <a:pt x="358" y="660"/>
                    <a:pt x="179" y="1089"/>
                  </a:cubicBezTo>
                  <a:cubicBezTo>
                    <a:pt x="1" y="1517"/>
                    <a:pt x="96" y="1934"/>
                    <a:pt x="465" y="2291"/>
                  </a:cubicBezTo>
                  <a:cubicBezTo>
                    <a:pt x="739" y="2565"/>
                    <a:pt x="1168" y="2803"/>
                    <a:pt x="1810" y="3065"/>
                  </a:cubicBezTo>
                  <a:cubicBezTo>
                    <a:pt x="2441" y="3339"/>
                    <a:pt x="2918" y="3458"/>
                    <a:pt x="3299" y="3458"/>
                  </a:cubicBezTo>
                  <a:cubicBezTo>
                    <a:pt x="3799" y="3458"/>
                    <a:pt x="4156" y="3232"/>
                    <a:pt x="4335" y="2803"/>
                  </a:cubicBezTo>
                  <a:cubicBezTo>
                    <a:pt x="4501" y="2434"/>
                    <a:pt x="4501" y="1982"/>
                    <a:pt x="4335" y="1565"/>
                  </a:cubicBezTo>
                  <a:cubicBezTo>
                    <a:pt x="4316" y="1498"/>
                    <a:pt x="4244" y="1447"/>
                    <a:pt x="4167" y="1447"/>
                  </a:cubicBezTo>
                  <a:cubicBezTo>
                    <a:pt x="4147" y="1447"/>
                    <a:pt x="4128" y="1450"/>
                    <a:pt x="4108" y="1458"/>
                  </a:cubicBezTo>
                  <a:cubicBezTo>
                    <a:pt x="4025" y="1493"/>
                    <a:pt x="3965" y="1589"/>
                    <a:pt x="4013" y="1684"/>
                  </a:cubicBezTo>
                  <a:cubicBezTo>
                    <a:pt x="4120" y="2029"/>
                    <a:pt x="4144" y="2374"/>
                    <a:pt x="4025" y="2648"/>
                  </a:cubicBezTo>
                  <a:cubicBezTo>
                    <a:pt x="3927" y="2880"/>
                    <a:pt x="3758" y="3083"/>
                    <a:pt x="3320" y="3083"/>
                  </a:cubicBezTo>
                  <a:cubicBezTo>
                    <a:pt x="3016" y="3083"/>
                    <a:pt x="2583" y="2985"/>
                    <a:pt x="1953" y="2732"/>
                  </a:cubicBezTo>
                  <a:cubicBezTo>
                    <a:pt x="1358" y="2482"/>
                    <a:pt x="977" y="2267"/>
                    <a:pt x="739" y="2029"/>
                  </a:cubicBezTo>
                  <a:cubicBezTo>
                    <a:pt x="477" y="1767"/>
                    <a:pt x="406" y="1517"/>
                    <a:pt x="525" y="1220"/>
                  </a:cubicBezTo>
                  <a:cubicBezTo>
                    <a:pt x="656" y="886"/>
                    <a:pt x="989" y="612"/>
                    <a:pt x="1418" y="458"/>
                  </a:cubicBezTo>
                  <a:cubicBezTo>
                    <a:pt x="1628" y="393"/>
                    <a:pt x="1846" y="360"/>
                    <a:pt x="2065" y="360"/>
                  </a:cubicBezTo>
                  <a:cubicBezTo>
                    <a:pt x="2328" y="360"/>
                    <a:pt x="2593" y="408"/>
                    <a:pt x="2846" y="505"/>
                  </a:cubicBezTo>
                  <a:cubicBezTo>
                    <a:pt x="3156" y="636"/>
                    <a:pt x="3442" y="839"/>
                    <a:pt x="3656" y="1101"/>
                  </a:cubicBezTo>
                  <a:cubicBezTo>
                    <a:pt x="3692" y="1144"/>
                    <a:pt x="3751" y="1170"/>
                    <a:pt x="3807" y="1170"/>
                  </a:cubicBezTo>
                  <a:cubicBezTo>
                    <a:pt x="3843" y="1170"/>
                    <a:pt x="3878" y="1159"/>
                    <a:pt x="3906" y="1136"/>
                  </a:cubicBezTo>
                  <a:cubicBezTo>
                    <a:pt x="3977" y="1077"/>
                    <a:pt x="3989" y="958"/>
                    <a:pt x="3930" y="874"/>
                  </a:cubicBezTo>
                  <a:cubicBezTo>
                    <a:pt x="3680" y="577"/>
                    <a:pt x="3358" y="339"/>
                    <a:pt x="2977" y="184"/>
                  </a:cubicBezTo>
                  <a:cubicBezTo>
                    <a:pt x="2686" y="61"/>
                    <a:pt x="2376" y="1"/>
                    <a:pt x="20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37" name="Google Shape;10137;p58"/>
          <p:cNvGrpSpPr/>
          <p:nvPr/>
        </p:nvGrpSpPr>
        <p:grpSpPr>
          <a:xfrm>
            <a:off x="3662144" y="4135505"/>
            <a:ext cx="232955" cy="340318"/>
            <a:chOff x="3662144" y="4135505"/>
            <a:chExt cx="232955" cy="340318"/>
          </a:xfrm>
        </p:grpSpPr>
        <p:sp>
          <p:nvSpPr>
            <p:cNvPr id="10138" name="Google Shape;10138;p58"/>
            <p:cNvSpPr/>
            <p:nvPr/>
          </p:nvSpPr>
          <p:spPr>
            <a:xfrm>
              <a:off x="3662144" y="4135505"/>
              <a:ext cx="163761" cy="340318"/>
            </a:xfrm>
            <a:custGeom>
              <a:avLst/>
              <a:gdLst/>
              <a:ahLst/>
              <a:cxnLst/>
              <a:rect l="l" t="t" r="r" b="b"/>
              <a:pathLst>
                <a:path w="5157" h="10717" extrusionOk="0">
                  <a:moveTo>
                    <a:pt x="2573" y="1"/>
                  </a:moveTo>
                  <a:cubicBezTo>
                    <a:pt x="1715" y="1"/>
                    <a:pt x="1013" y="703"/>
                    <a:pt x="1013" y="1572"/>
                  </a:cubicBezTo>
                  <a:lnTo>
                    <a:pt x="1013" y="6097"/>
                  </a:lnTo>
                  <a:cubicBezTo>
                    <a:pt x="370" y="6585"/>
                    <a:pt x="1" y="7347"/>
                    <a:pt x="1" y="8144"/>
                  </a:cubicBezTo>
                  <a:cubicBezTo>
                    <a:pt x="1" y="9561"/>
                    <a:pt x="1156" y="10716"/>
                    <a:pt x="2573" y="10716"/>
                  </a:cubicBezTo>
                  <a:cubicBezTo>
                    <a:pt x="3990" y="10716"/>
                    <a:pt x="5144" y="9561"/>
                    <a:pt x="5144" y="8144"/>
                  </a:cubicBezTo>
                  <a:cubicBezTo>
                    <a:pt x="5156" y="7323"/>
                    <a:pt x="4775" y="6573"/>
                    <a:pt x="4144" y="6073"/>
                  </a:cubicBezTo>
                  <a:lnTo>
                    <a:pt x="4144" y="3322"/>
                  </a:lnTo>
                  <a:cubicBezTo>
                    <a:pt x="4144" y="3239"/>
                    <a:pt x="4061" y="3156"/>
                    <a:pt x="3978" y="3156"/>
                  </a:cubicBezTo>
                  <a:cubicBezTo>
                    <a:pt x="3882" y="3156"/>
                    <a:pt x="3811" y="3239"/>
                    <a:pt x="3811" y="3322"/>
                  </a:cubicBezTo>
                  <a:lnTo>
                    <a:pt x="3811" y="6168"/>
                  </a:lnTo>
                  <a:cubicBezTo>
                    <a:pt x="3811" y="6216"/>
                    <a:pt x="3847" y="6275"/>
                    <a:pt x="3871" y="6299"/>
                  </a:cubicBezTo>
                  <a:cubicBezTo>
                    <a:pt x="4466" y="6716"/>
                    <a:pt x="4823" y="7418"/>
                    <a:pt x="4823" y="8133"/>
                  </a:cubicBezTo>
                  <a:cubicBezTo>
                    <a:pt x="4823" y="9359"/>
                    <a:pt x="3811" y="10383"/>
                    <a:pt x="2573" y="10383"/>
                  </a:cubicBezTo>
                  <a:cubicBezTo>
                    <a:pt x="1346" y="10383"/>
                    <a:pt x="322" y="9371"/>
                    <a:pt x="322" y="8133"/>
                  </a:cubicBezTo>
                  <a:cubicBezTo>
                    <a:pt x="322" y="7406"/>
                    <a:pt x="680" y="6716"/>
                    <a:pt x="1275" y="6299"/>
                  </a:cubicBezTo>
                  <a:cubicBezTo>
                    <a:pt x="1323" y="6275"/>
                    <a:pt x="1334" y="6228"/>
                    <a:pt x="1334" y="6168"/>
                  </a:cubicBezTo>
                  <a:lnTo>
                    <a:pt x="1334" y="1572"/>
                  </a:lnTo>
                  <a:cubicBezTo>
                    <a:pt x="1334" y="882"/>
                    <a:pt x="1894" y="334"/>
                    <a:pt x="2573" y="334"/>
                  </a:cubicBezTo>
                  <a:cubicBezTo>
                    <a:pt x="3263" y="334"/>
                    <a:pt x="3811" y="882"/>
                    <a:pt x="3811" y="1572"/>
                  </a:cubicBezTo>
                  <a:lnTo>
                    <a:pt x="3811" y="2703"/>
                  </a:lnTo>
                  <a:cubicBezTo>
                    <a:pt x="3811" y="2787"/>
                    <a:pt x="3882" y="2858"/>
                    <a:pt x="3978" y="2858"/>
                  </a:cubicBezTo>
                  <a:cubicBezTo>
                    <a:pt x="4061" y="2858"/>
                    <a:pt x="4132" y="2787"/>
                    <a:pt x="4132" y="2703"/>
                  </a:cubicBezTo>
                  <a:lnTo>
                    <a:pt x="4132" y="1572"/>
                  </a:lnTo>
                  <a:cubicBezTo>
                    <a:pt x="4132" y="703"/>
                    <a:pt x="3442" y="1"/>
                    <a:pt x="2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9" name="Google Shape;10139;p58"/>
            <p:cNvSpPr/>
            <p:nvPr/>
          </p:nvSpPr>
          <p:spPr>
            <a:xfrm>
              <a:off x="3689771" y="4162719"/>
              <a:ext cx="109650" cy="285859"/>
            </a:xfrm>
            <a:custGeom>
              <a:avLst/>
              <a:gdLst/>
              <a:ahLst/>
              <a:cxnLst/>
              <a:rect l="l" t="t" r="r" b="b"/>
              <a:pathLst>
                <a:path w="3453" h="9002" extrusionOk="0">
                  <a:moveTo>
                    <a:pt x="1727" y="310"/>
                  </a:moveTo>
                  <a:cubicBezTo>
                    <a:pt x="1941" y="310"/>
                    <a:pt x="2108" y="489"/>
                    <a:pt x="2108" y="691"/>
                  </a:cubicBezTo>
                  <a:lnTo>
                    <a:pt x="2108" y="1156"/>
                  </a:lnTo>
                  <a:lnTo>
                    <a:pt x="1322" y="1156"/>
                  </a:lnTo>
                  <a:lnTo>
                    <a:pt x="1322" y="691"/>
                  </a:lnTo>
                  <a:cubicBezTo>
                    <a:pt x="1322" y="489"/>
                    <a:pt x="1500" y="310"/>
                    <a:pt x="1727" y="310"/>
                  </a:cubicBezTo>
                  <a:close/>
                  <a:moveTo>
                    <a:pt x="2108" y="1489"/>
                  </a:moveTo>
                  <a:lnTo>
                    <a:pt x="2108" y="2382"/>
                  </a:lnTo>
                  <a:lnTo>
                    <a:pt x="1322" y="2382"/>
                  </a:lnTo>
                  <a:lnTo>
                    <a:pt x="1322" y="1489"/>
                  </a:lnTo>
                  <a:close/>
                  <a:moveTo>
                    <a:pt x="2108" y="2704"/>
                  </a:moveTo>
                  <a:lnTo>
                    <a:pt x="2108" y="3596"/>
                  </a:lnTo>
                  <a:lnTo>
                    <a:pt x="1322" y="3596"/>
                  </a:lnTo>
                  <a:lnTo>
                    <a:pt x="1322" y="2704"/>
                  </a:lnTo>
                  <a:close/>
                  <a:moveTo>
                    <a:pt x="2108" y="3906"/>
                  </a:moveTo>
                  <a:lnTo>
                    <a:pt x="2108" y="4799"/>
                  </a:lnTo>
                  <a:lnTo>
                    <a:pt x="1322" y="4799"/>
                  </a:lnTo>
                  <a:lnTo>
                    <a:pt x="1322" y="3906"/>
                  </a:lnTo>
                  <a:close/>
                  <a:moveTo>
                    <a:pt x="1727" y="1"/>
                  </a:moveTo>
                  <a:cubicBezTo>
                    <a:pt x="1334" y="1"/>
                    <a:pt x="1012" y="310"/>
                    <a:pt x="1012" y="715"/>
                  </a:cubicBezTo>
                  <a:lnTo>
                    <a:pt x="1012" y="5668"/>
                  </a:lnTo>
                  <a:lnTo>
                    <a:pt x="726" y="5871"/>
                  </a:lnTo>
                  <a:cubicBezTo>
                    <a:pt x="262" y="6204"/>
                    <a:pt x="0" y="6728"/>
                    <a:pt x="0" y="7276"/>
                  </a:cubicBezTo>
                  <a:cubicBezTo>
                    <a:pt x="0" y="7609"/>
                    <a:pt x="95" y="7954"/>
                    <a:pt x="298" y="8240"/>
                  </a:cubicBezTo>
                  <a:cubicBezTo>
                    <a:pt x="321" y="8286"/>
                    <a:pt x="374" y="8312"/>
                    <a:pt x="427" y="8312"/>
                  </a:cubicBezTo>
                  <a:cubicBezTo>
                    <a:pt x="457" y="8312"/>
                    <a:pt x="487" y="8304"/>
                    <a:pt x="512" y="8288"/>
                  </a:cubicBezTo>
                  <a:cubicBezTo>
                    <a:pt x="595" y="8240"/>
                    <a:pt x="607" y="8133"/>
                    <a:pt x="560" y="8061"/>
                  </a:cubicBezTo>
                  <a:cubicBezTo>
                    <a:pt x="393" y="7823"/>
                    <a:pt x="322" y="7549"/>
                    <a:pt x="322" y="7276"/>
                  </a:cubicBezTo>
                  <a:cubicBezTo>
                    <a:pt x="322" y="6811"/>
                    <a:pt x="548" y="6394"/>
                    <a:pt x="917" y="6121"/>
                  </a:cubicBezTo>
                  <a:lnTo>
                    <a:pt x="1274" y="5871"/>
                  </a:lnTo>
                  <a:cubicBezTo>
                    <a:pt x="1322" y="5847"/>
                    <a:pt x="1334" y="5799"/>
                    <a:pt x="1334" y="5740"/>
                  </a:cubicBezTo>
                  <a:lnTo>
                    <a:pt x="1334" y="5132"/>
                  </a:lnTo>
                  <a:lnTo>
                    <a:pt x="2119" y="5132"/>
                  </a:lnTo>
                  <a:lnTo>
                    <a:pt x="2119" y="5740"/>
                  </a:lnTo>
                  <a:cubicBezTo>
                    <a:pt x="2119" y="5787"/>
                    <a:pt x="2155" y="5847"/>
                    <a:pt x="2179" y="5871"/>
                  </a:cubicBezTo>
                  <a:lnTo>
                    <a:pt x="2536" y="6121"/>
                  </a:lnTo>
                  <a:cubicBezTo>
                    <a:pt x="2917" y="6394"/>
                    <a:pt x="3131" y="6823"/>
                    <a:pt x="3131" y="7276"/>
                  </a:cubicBezTo>
                  <a:cubicBezTo>
                    <a:pt x="3120" y="8049"/>
                    <a:pt x="2500" y="8669"/>
                    <a:pt x="1727" y="8669"/>
                  </a:cubicBezTo>
                  <a:cubicBezTo>
                    <a:pt x="1441" y="8669"/>
                    <a:pt x="1155" y="8585"/>
                    <a:pt x="917" y="8419"/>
                  </a:cubicBezTo>
                  <a:cubicBezTo>
                    <a:pt x="892" y="8402"/>
                    <a:pt x="863" y="8394"/>
                    <a:pt x="835" y="8394"/>
                  </a:cubicBezTo>
                  <a:cubicBezTo>
                    <a:pt x="782" y="8394"/>
                    <a:pt x="729" y="8420"/>
                    <a:pt x="691" y="8466"/>
                  </a:cubicBezTo>
                  <a:cubicBezTo>
                    <a:pt x="655" y="8538"/>
                    <a:pt x="667" y="8633"/>
                    <a:pt x="738" y="8692"/>
                  </a:cubicBezTo>
                  <a:cubicBezTo>
                    <a:pt x="1036" y="8895"/>
                    <a:pt x="1369" y="9002"/>
                    <a:pt x="1727" y="9002"/>
                  </a:cubicBezTo>
                  <a:cubicBezTo>
                    <a:pt x="2679" y="9002"/>
                    <a:pt x="3453" y="8228"/>
                    <a:pt x="3453" y="7276"/>
                  </a:cubicBezTo>
                  <a:cubicBezTo>
                    <a:pt x="3453" y="6716"/>
                    <a:pt x="3179" y="6192"/>
                    <a:pt x="2715" y="5871"/>
                  </a:cubicBezTo>
                  <a:lnTo>
                    <a:pt x="2441" y="5668"/>
                  </a:lnTo>
                  <a:lnTo>
                    <a:pt x="2441" y="715"/>
                  </a:lnTo>
                  <a:cubicBezTo>
                    <a:pt x="2441" y="322"/>
                    <a:pt x="2119"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0" name="Google Shape;10140;p58"/>
            <p:cNvSpPr/>
            <p:nvPr/>
          </p:nvSpPr>
          <p:spPr>
            <a:xfrm>
              <a:off x="3838352" y="4182375"/>
              <a:ext cx="56746" cy="94947"/>
            </a:xfrm>
            <a:custGeom>
              <a:avLst/>
              <a:gdLst/>
              <a:ahLst/>
              <a:cxnLst/>
              <a:rect l="l" t="t" r="r" b="b"/>
              <a:pathLst>
                <a:path w="1787" h="2990" extrusionOk="0">
                  <a:moveTo>
                    <a:pt x="881" y="1"/>
                  </a:moveTo>
                  <a:cubicBezTo>
                    <a:pt x="334" y="1"/>
                    <a:pt x="0" y="334"/>
                    <a:pt x="0" y="894"/>
                  </a:cubicBezTo>
                  <a:lnTo>
                    <a:pt x="0" y="2096"/>
                  </a:lnTo>
                  <a:cubicBezTo>
                    <a:pt x="0" y="2394"/>
                    <a:pt x="96" y="2632"/>
                    <a:pt x="262" y="2787"/>
                  </a:cubicBezTo>
                  <a:cubicBezTo>
                    <a:pt x="405" y="2918"/>
                    <a:pt x="619" y="2989"/>
                    <a:pt x="869" y="2989"/>
                  </a:cubicBezTo>
                  <a:cubicBezTo>
                    <a:pt x="1393" y="2989"/>
                    <a:pt x="1751" y="2692"/>
                    <a:pt x="1751" y="2263"/>
                  </a:cubicBezTo>
                  <a:cubicBezTo>
                    <a:pt x="1786" y="2120"/>
                    <a:pt x="1715" y="2073"/>
                    <a:pt x="1596" y="2073"/>
                  </a:cubicBezTo>
                  <a:cubicBezTo>
                    <a:pt x="1489" y="2073"/>
                    <a:pt x="1417" y="2120"/>
                    <a:pt x="1417" y="2192"/>
                  </a:cubicBezTo>
                  <a:cubicBezTo>
                    <a:pt x="1393" y="2382"/>
                    <a:pt x="1358" y="2668"/>
                    <a:pt x="917" y="2668"/>
                  </a:cubicBezTo>
                  <a:cubicBezTo>
                    <a:pt x="560" y="2668"/>
                    <a:pt x="381" y="2489"/>
                    <a:pt x="381" y="2096"/>
                  </a:cubicBezTo>
                  <a:lnTo>
                    <a:pt x="381" y="894"/>
                  </a:lnTo>
                  <a:cubicBezTo>
                    <a:pt x="381" y="525"/>
                    <a:pt x="560" y="334"/>
                    <a:pt x="893" y="334"/>
                  </a:cubicBezTo>
                  <a:cubicBezTo>
                    <a:pt x="1298" y="334"/>
                    <a:pt x="1405" y="584"/>
                    <a:pt x="1405" y="775"/>
                  </a:cubicBezTo>
                  <a:cubicBezTo>
                    <a:pt x="1405" y="846"/>
                    <a:pt x="1477" y="906"/>
                    <a:pt x="1584" y="906"/>
                  </a:cubicBezTo>
                  <a:cubicBezTo>
                    <a:pt x="1703" y="906"/>
                    <a:pt x="1762" y="882"/>
                    <a:pt x="1762" y="715"/>
                  </a:cubicBezTo>
                  <a:cubicBezTo>
                    <a:pt x="1762" y="299"/>
                    <a:pt x="140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1" name="Google Shape;10141;p58"/>
            <p:cNvSpPr/>
            <p:nvPr/>
          </p:nvSpPr>
          <p:spPr>
            <a:xfrm>
              <a:off x="3813012" y="4151763"/>
              <a:ext cx="32930" cy="32930"/>
            </a:xfrm>
            <a:custGeom>
              <a:avLst/>
              <a:gdLst/>
              <a:ahLst/>
              <a:cxnLst/>
              <a:rect l="l" t="t" r="r" b="b"/>
              <a:pathLst>
                <a:path w="1037" h="1037" extrusionOk="0">
                  <a:moveTo>
                    <a:pt x="536" y="310"/>
                  </a:moveTo>
                  <a:cubicBezTo>
                    <a:pt x="644" y="310"/>
                    <a:pt x="739" y="405"/>
                    <a:pt x="739" y="524"/>
                  </a:cubicBezTo>
                  <a:cubicBezTo>
                    <a:pt x="727" y="620"/>
                    <a:pt x="644" y="727"/>
                    <a:pt x="536" y="727"/>
                  </a:cubicBezTo>
                  <a:cubicBezTo>
                    <a:pt x="429" y="727"/>
                    <a:pt x="322" y="643"/>
                    <a:pt x="322" y="524"/>
                  </a:cubicBezTo>
                  <a:cubicBezTo>
                    <a:pt x="322" y="417"/>
                    <a:pt x="417" y="310"/>
                    <a:pt x="536" y="310"/>
                  </a:cubicBezTo>
                  <a:close/>
                  <a:moveTo>
                    <a:pt x="524" y="1"/>
                  </a:moveTo>
                  <a:cubicBezTo>
                    <a:pt x="239" y="1"/>
                    <a:pt x="1" y="239"/>
                    <a:pt x="1" y="524"/>
                  </a:cubicBezTo>
                  <a:cubicBezTo>
                    <a:pt x="1" y="798"/>
                    <a:pt x="239" y="1036"/>
                    <a:pt x="524" y="1036"/>
                  </a:cubicBezTo>
                  <a:cubicBezTo>
                    <a:pt x="822" y="1036"/>
                    <a:pt x="1036" y="798"/>
                    <a:pt x="1036" y="524"/>
                  </a:cubicBezTo>
                  <a:cubicBezTo>
                    <a:pt x="1036" y="239"/>
                    <a:pt x="79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42" name="Google Shape;10142;p58"/>
          <p:cNvGrpSpPr/>
          <p:nvPr/>
        </p:nvGrpSpPr>
        <p:grpSpPr>
          <a:xfrm>
            <a:off x="4149138" y="4121151"/>
            <a:ext cx="344065" cy="368644"/>
            <a:chOff x="4149138" y="4121151"/>
            <a:chExt cx="344065" cy="368644"/>
          </a:xfrm>
        </p:grpSpPr>
        <p:sp>
          <p:nvSpPr>
            <p:cNvPr id="10143" name="Google Shape;10143;p58"/>
            <p:cNvSpPr/>
            <p:nvPr/>
          </p:nvSpPr>
          <p:spPr>
            <a:xfrm>
              <a:off x="4205853" y="4182724"/>
              <a:ext cx="225746" cy="307071"/>
            </a:xfrm>
            <a:custGeom>
              <a:avLst/>
              <a:gdLst/>
              <a:ahLst/>
              <a:cxnLst/>
              <a:rect l="l" t="t" r="r" b="b"/>
              <a:pathLst>
                <a:path w="7109" h="9670" extrusionOk="0">
                  <a:moveTo>
                    <a:pt x="3643" y="359"/>
                  </a:moveTo>
                  <a:cubicBezTo>
                    <a:pt x="4417" y="359"/>
                    <a:pt x="5132" y="645"/>
                    <a:pt x="5703" y="1157"/>
                  </a:cubicBezTo>
                  <a:cubicBezTo>
                    <a:pt x="6358" y="1752"/>
                    <a:pt x="6751" y="2597"/>
                    <a:pt x="6751" y="3478"/>
                  </a:cubicBezTo>
                  <a:cubicBezTo>
                    <a:pt x="6739" y="4074"/>
                    <a:pt x="6572" y="4669"/>
                    <a:pt x="6251" y="5157"/>
                  </a:cubicBezTo>
                  <a:cubicBezTo>
                    <a:pt x="5929" y="5645"/>
                    <a:pt x="5489" y="6038"/>
                    <a:pt x="4953" y="6288"/>
                  </a:cubicBezTo>
                  <a:cubicBezTo>
                    <a:pt x="4620" y="6431"/>
                    <a:pt x="4417" y="6776"/>
                    <a:pt x="4417" y="7146"/>
                  </a:cubicBezTo>
                  <a:lnTo>
                    <a:pt x="4417" y="7360"/>
                  </a:lnTo>
                  <a:lnTo>
                    <a:pt x="2834" y="7360"/>
                  </a:lnTo>
                  <a:lnTo>
                    <a:pt x="2834" y="7146"/>
                  </a:lnTo>
                  <a:cubicBezTo>
                    <a:pt x="2834" y="6776"/>
                    <a:pt x="2631" y="6455"/>
                    <a:pt x="2298" y="6288"/>
                  </a:cubicBezTo>
                  <a:cubicBezTo>
                    <a:pt x="1084" y="5705"/>
                    <a:pt x="381" y="4407"/>
                    <a:pt x="548" y="3074"/>
                  </a:cubicBezTo>
                  <a:cubicBezTo>
                    <a:pt x="726" y="1669"/>
                    <a:pt x="1869" y="526"/>
                    <a:pt x="3286" y="383"/>
                  </a:cubicBezTo>
                  <a:cubicBezTo>
                    <a:pt x="3405" y="359"/>
                    <a:pt x="3524" y="359"/>
                    <a:pt x="3643" y="359"/>
                  </a:cubicBezTo>
                  <a:close/>
                  <a:moveTo>
                    <a:pt x="4417" y="7729"/>
                  </a:moveTo>
                  <a:lnTo>
                    <a:pt x="4417" y="8324"/>
                  </a:lnTo>
                  <a:cubicBezTo>
                    <a:pt x="4417" y="8443"/>
                    <a:pt x="4322" y="8539"/>
                    <a:pt x="4203" y="8539"/>
                  </a:cubicBezTo>
                  <a:lnTo>
                    <a:pt x="3048" y="8539"/>
                  </a:lnTo>
                  <a:cubicBezTo>
                    <a:pt x="2929" y="8539"/>
                    <a:pt x="2834" y="8443"/>
                    <a:pt x="2834" y="8324"/>
                  </a:cubicBezTo>
                  <a:lnTo>
                    <a:pt x="2834" y="7729"/>
                  </a:lnTo>
                  <a:close/>
                  <a:moveTo>
                    <a:pt x="4024" y="8896"/>
                  </a:moveTo>
                  <a:lnTo>
                    <a:pt x="4024" y="9098"/>
                  </a:lnTo>
                  <a:cubicBezTo>
                    <a:pt x="4024" y="9217"/>
                    <a:pt x="3941" y="9313"/>
                    <a:pt x="3822" y="9313"/>
                  </a:cubicBezTo>
                  <a:lnTo>
                    <a:pt x="3429" y="9313"/>
                  </a:lnTo>
                  <a:cubicBezTo>
                    <a:pt x="3310" y="9313"/>
                    <a:pt x="3227" y="9217"/>
                    <a:pt x="3227" y="9098"/>
                  </a:cubicBezTo>
                  <a:lnTo>
                    <a:pt x="3227" y="8896"/>
                  </a:lnTo>
                  <a:close/>
                  <a:moveTo>
                    <a:pt x="3658" y="1"/>
                  </a:moveTo>
                  <a:cubicBezTo>
                    <a:pt x="3519" y="1"/>
                    <a:pt x="3379" y="9"/>
                    <a:pt x="3239" y="26"/>
                  </a:cubicBezTo>
                  <a:cubicBezTo>
                    <a:pt x="1667" y="204"/>
                    <a:pt x="381" y="1466"/>
                    <a:pt x="191" y="3026"/>
                  </a:cubicBezTo>
                  <a:cubicBezTo>
                    <a:pt x="0" y="4526"/>
                    <a:pt x="786" y="5979"/>
                    <a:pt x="2155" y="6610"/>
                  </a:cubicBezTo>
                  <a:cubicBezTo>
                    <a:pt x="2358" y="6705"/>
                    <a:pt x="2477" y="6931"/>
                    <a:pt x="2477" y="7146"/>
                  </a:cubicBezTo>
                  <a:lnTo>
                    <a:pt x="2477" y="8324"/>
                  </a:lnTo>
                  <a:cubicBezTo>
                    <a:pt x="2477" y="8574"/>
                    <a:pt x="2643" y="8789"/>
                    <a:pt x="2870" y="8860"/>
                  </a:cubicBezTo>
                  <a:lnTo>
                    <a:pt x="2870" y="9098"/>
                  </a:lnTo>
                  <a:cubicBezTo>
                    <a:pt x="2870" y="9408"/>
                    <a:pt x="3120" y="9670"/>
                    <a:pt x="3429" y="9670"/>
                  </a:cubicBezTo>
                  <a:lnTo>
                    <a:pt x="3822" y="9670"/>
                  </a:lnTo>
                  <a:cubicBezTo>
                    <a:pt x="4132" y="9670"/>
                    <a:pt x="4382" y="9408"/>
                    <a:pt x="4382" y="9098"/>
                  </a:cubicBezTo>
                  <a:lnTo>
                    <a:pt x="4382" y="8860"/>
                  </a:lnTo>
                  <a:cubicBezTo>
                    <a:pt x="4608" y="8789"/>
                    <a:pt x="4775" y="8574"/>
                    <a:pt x="4775" y="8324"/>
                  </a:cubicBezTo>
                  <a:lnTo>
                    <a:pt x="4775" y="7146"/>
                  </a:lnTo>
                  <a:cubicBezTo>
                    <a:pt x="4775" y="6931"/>
                    <a:pt x="4906" y="6717"/>
                    <a:pt x="5096" y="6610"/>
                  </a:cubicBezTo>
                  <a:cubicBezTo>
                    <a:pt x="5691" y="6336"/>
                    <a:pt x="6191" y="5895"/>
                    <a:pt x="6549" y="5348"/>
                  </a:cubicBezTo>
                  <a:cubicBezTo>
                    <a:pt x="6906" y="4788"/>
                    <a:pt x="7096" y="4133"/>
                    <a:pt x="7096" y="3455"/>
                  </a:cubicBezTo>
                  <a:cubicBezTo>
                    <a:pt x="7108" y="2490"/>
                    <a:pt x="6680" y="1538"/>
                    <a:pt x="5953" y="883"/>
                  </a:cubicBezTo>
                  <a:cubicBezTo>
                    <a:pt x="5309" y="310"/>
                    <a:pt x="4506" y="1"/>
                    <a:pt x="36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4" name="Google Shape;10144;p58"/>
            <p:cNvSpPr/>
            <p:nvPr/>
          </p:nvSpPr>
          <p:spPr>
            <a:xfrm>
              <a:off x="4444777" y="4287484"/>
              <a:ext cx="48426" cy="11400"/>
            </a:xfrm>
            <a:custGeom>
              <a:avLst/>
              <a:gdLst/>
              <a:ahLst/>
              <a:cxnLst/>
              <a:rect l="l" t="t" r="r" b="b"/>
              <a:pathLst>
                <a:path w="1525" h="359" extrusionOk="0">
                  <a:moveTo>
                    <a:pt x="180" y="1"/>
                  </a:moveTo>
                  <a:cubicBezTo>
                    <a:pt x="72" y="1"/>
                    <a:pt x="1" y="72"/>
                    <a:pt x="1" y="179"/>
                  </a:cubicBezTo>
                  <a:cubicBezTo>
                    <a:pt x="1" y="275"/>
                    <a:pt x="72" y="358"/>
                    <a:pt x="180" y="358"/>
                  </a:cubicBezTo>
                  <a:lnTo>
                    <a:pt x="1346" y="358"/>
                  </a:lnTo>
                  <a:cubicBezTo>
                    <a:pt x="1442" y="358"/>
                    <a:pt x="1525" y="275"/>
                    <a:pt x="1525" y="179"/>
                  </a:cubicBezTo>
                  <a:cubicBezTo>
                    <a:pt x="1525" y="72"/>
                    <a:pt x="1430" y="1"/>
                    <a:pt x="1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5" name="Google Shape;10145;p58"/>
            <p:cNvSpPr/>
            <p:nvPr/>
          </p:nvSpPr>
          <p:spPr>
            <a:xfrm>
              <a:off x="4149138" y="4287484"/>
              <a:ext cx="48426" cy="11400"/>
            </a:xfrm>
            <a:custGeom>
              <a:avLst/>
              <a:gdLst/>
              <a:ahLst/>
              <a:cxnLst/>
              <a:rect l="l" t="t" r="r" b="b"/>
              <a:pathLst>
                <a:path w="1525" h="359" extrusionOk="0">
                  <a:moveTo>
                    <a:pt x="179" y="1"/>
                  </a:moveTo>
                  <a:cubicBezTo>
                    <a:pt x="72" y="1"/>
                    <a:pt x="0" y="72"/>
                    <a:pt x="0" y="179"/>
                  </a:cubicBezTo>
                  <a:cubicBezTo>
                    <a:pt x="0" y="275"/>
                    <a:pt x="72" y="358"/>
                    <a:pt x="179" y="358"/>
                  </a:cubicBezTo>
                  <a:lnTo>
                    <a:pt x="1334" y="358"/>
                  </a:lnTo>
                  <a:cubicBezTo>
                    <a:pt x="1441" y="358"/>
                    <a:pt x="1512" y="275"/>
                    <a:pt x="1512" y="179"/>
                  </a:cubicBezTo>
                  <a:cubicBezTo>
                    <a:pt x="1524" y="72"/>
                    <a:pt x="144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6" name="Google Shape;10146;p58"/>
            <p:cNvSpPr/>
            <p:nvPr/>
          </p:nvSpPr>
          <p:spPr>
            <a:xfrm>
              <a:off x="4315471" y="4121151"/>
              <a:ext cx="11400" cy="48045"/>
            </a:xfrm>
            <a:custGeom>
              <a:avLst/>
              <a:gdLst/>
              <a:ahLst/>
              <a:cxnLst/>
              <a:rect l="l" t="t" r="r" b="b"/>
              <a:pathLst>
                <a:path w="359" h="1513" extrusionOk="0">
                  <a:moveTo>
                    <a:pt x="180" y="0"/>
                  </a:moveTo>
                  <a:cubicBezTo>
                    <a:pt x="72" y="0"/>
                    <a:pt x="1" y="72"/>
                    <a:pt x="1" y="179"/>
                  </a:cubicBezTo>
                  <a:lnTo>
                    <a:pt x="1" y="1334"/>
                  </a:lnTo>
                  <a:cubicBezTo>
                    <a:pt x="1" y="1441"/>
                    <a:pt x="72" y="1512"/>
                    <a:pt x="180" y="1512"/>
                  </a:cubicBezTo>
                  <a:cubicBezTo>
                    <a:pt x="275" y="1512"/>
                    <a:pt x="358" y="1441"/>
                    <a:pt x="358" y="1334"/>
                  </a:cubicBezTo>
                  <a:lnTo>
                    <a:pt x="358" y="179"/>
                  </a:lnTo>
                  <a:cubicBezTo>
                    <a:pt x="358" y="72"/>
                    <a:pt x="275"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7" name="Google Shape;10147;p58"/>
            <p:cNvSpPr/>
            <p:nvPr/>
          </p:nvSpPr>
          <p:spPr>
            <a:xfrm>
              <a:off x="4378632" y="4159575"/>
              <a:ext cx="22705" cy="27754"/>
            </a:xfrm>
            <a:custGeom>
              <a:avLst/>
              <a:gdLst/>
              <a:ahLst/>
              <a:cxnLst/>
              <a:rect l="l" t="t" r="r" b="b"/>
              <a:pathLst>
                <a:path w="715" h="874" extrusionOk="0">
                  <a:moveTo>
                    <a:pt x="513" y="0"/>
                  </a:moveTo>
                  <a:cubicBezTo>
                    <a:pt x="451" y="0"/>
                    <a:pt x="387" y="27"/>
                    <a:pt x="346" y="76"/>
                  </a:cubicBezTo>
                  <a:lnTo>
                    <a:pt x="48" y="588"/>
                  </a:lnTo>
                  <a:cubicBezTo>
                    <a:pt x="0" y="671"/>
                    <a:pt x="24" y="778"/>
                    <a:pt x="107" y="838"/>
                  </a:cubicBezTo>
                  <a:cubicBezTo>
                    <a:pt x="131" y="850"/>
                    <a:pt x="167" y="874"/>
                    <a:pt x="191" y="874"/>
                  </a:cubicBezTo>
                  <a:cubicBezTo>
                    <a:pt x="250" y="874"/>
                    <a:pt x="310" y="838"/>
                    <a:pt x="358" y="778"/>
                  </a:cubicBezTo>
                  <a:lnTo>
                    <a:pt x="655" y="278"/>
                  </a:lnTo>
                  <a:cubicBezTo>
                    <a:pt x="715" y="171"/>
                    <a:pt x="691" y="64"/>
                    <a:pt x="596" y="16"/>
                  </a:cubicBezTo>
                  <a:cubicBezTo>
                    <a:pt x="570" y="5"/>
                    <a:pt x="542"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8" name="Google Shape;10148;p58"/>
            <p:cNvSpPr/>
            <p:nvPr/>
          </p:nvSpPr>
          <p:spPr>
            <a:xfrm>
              <a:off x="4240243" y="4399103"/>
              <a:ext cx="22705" cy="27563"/>
            </a:xfrm>
            <a:custGeom>
              <a:avLst/>
              <a:gdLst/>
              <a:ahLst/>
              <a:cxnLst/>
              <a:rect l="l" t="t" r="r" b="b"/>
              <a:pathLst>
                <a:path w="715" h="868" extrusionOk="0">
                  <a:moveTo>
                    <a:pt x="507" y="0"/>
                  </a:moveTo>
                  <a:cubicBezTo>
                    <a:pt x="444" y="0"/>
                    <a:pt x="387" y="33"/>
                    <a:pt x="346" y="82"/>
                  </a:cubicBezTo>
                  <a:lnTo>
                    <a:pt x="48" y="594"/>
                  </a:lnTo>
                  <a:cubicBezTo>
                    <a:pt x="1" y="677"/>
                    <a:pt x="24" y="784"/>
                    <a:pt x="108" y="844"/>
                  </a:cubicBezTo>
                  <a:cubicBezTo>
                    <a:pt x="132" y="855"/>
                    <a:pt x="155" y="867"/>
                    <a:pt x="191" y="867"/>
                  </a:cubicBezTo>
                  <a:cubicBezTo>
                    <a:pt x="251" y="867"/>
                    <a:pt x="310" y="844"/>
                    <a:pt x="358" y="784"/>
                  </a:cubicBezTo>
                  <a:lnTo>
                    <a:pt x="655" y="272"/>
                  </a:lnTo>
                  <a:cubicBezTo>
                    <a:pt x="715" y="189"/>
                    <a:pt x="679" y="82"/>
                    <a:pt x="596" y="22"/>
                  </a:cubicBezTo>
                  <a:cubicBezTo>
                    <a:pt x="566" y="7"/>
                    <a:pt x="536" y="0"/>
                    <a:pt x="5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9" name="Google Shape;10149;p58"/>
            <p:cNvSpPr/>
            <p:nvPr/>
          </p:nvSpPr>
          <p:spPr>
            <a:xfrm>
              <a:off x="4240243" y="4159130"/>
              <a:ext cx="22705" cy="28198"/>
            </a:xfrm>
            <a:custGeom>
              <a:avLst/>
              <a:gdLst/>
              <a:ahLst/>
              <a:cxnLst/>
              <a:rect l="l" t="t" r="r" b="b"/>
              <a:pathLst>
                <a:path w="715" h="888" extrusionOk="0">
                  <a:moveTo>
                    <a:pt x="213" y="1"/>
                  </a:moveTo>
                  <a:cubicBezTo>
                    <a:pt x="181" y="1"/>
                    <a:pt x="148" y="10"/>
                    <a:pt x="120" y="30"/>
                  </a:cubicBezTo>
                  <a:cubicBezTo>
                    <a:pt x="24" y="78"/>
                    <a:pt x="1" y="197"/>
                    <a:pt x="60" y="292"/>
                  </a:cubicBezTo>
                  <a:lnTo>
                    <a:pt x="358" y="792"/>
                  </a:lnTo>
                  <a:cubicBezTo>
                    <a:pt x="382" y="852"/>
                    <a:pt x="441" y="888"/>
                    <a:pt x="525" y="888"/>
                  </a:cubicBezTo>
                  <a:cubicBezTo>
                    <a:pt x="548" y="888"/>
                    <a:pt x="584" y="864"/>
                    <a:pt x="608" y="852"/>
                  </a:cubicBezTo>
                  <a:cubicBezTo>
                    <a:pt x="679" y="792"/>
                    <a:pt x="715" y="685"/>
                    <a:pt x="667" y="602"/>
                  </a:cubicBezTo>
                  <a:lnTo>
                    <a:pt x="370" y="90"/>
                  </a:lnTo>
                  <a:cubicBezTo>
                    <a:pt x="338" y="35"/>
                    <a:pt x="276" y="1"/>
                    <a:pt x="2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0" name="Google Shape;10150;p58"/>
            <p:cNvSpPr/>
            <p:nvPr/>
          </p:nvSpPr>
          <p:spPr>
            <a:xfrm>
              <a:off x="4378632" y="4399230"/>
              <a:ext cx="22705" cy="28198"/>
            </a:xfrm>
            <a:custGeom>
              <a:avLst/>
              <a:gdLst/>
              <a:ahLst/>
              <a:cxnLst/>
              <a:rect l="l" t="t" r="r" b="b"/>
              <a:pathLst>
                <a:path w="715" h="888" extrusionOk="0">
                  <a:moveTo>
                    <a:pt x="221" y="0"/>
                  </a:moveTo>
                  <a:cubicBezTo>
                    <a:pt x="187" y="0"/>
                    <a:pt x="152" y="10"/>
                    <a:pt x="119" y="30"/>
                  </a:cubicBezTo>
                  <a:cubicBezTo>
                    <a:pt x="24" y="78"/>
                    <a:pt x="0" y="197"/>
                    <a:pt x="60" y="292"/>
                  </a:cubicBezTo>
                  <a:lnTo>
                    <a:pt x="358" y="792"/>
                  </a:lnTo>
                  <a:cubicBezTo>
                    <a:pt x="393" y="851"/>
                    <a:pt x="453" y="887"/>
                    <a:pt x="524" y="887"/>
                  </a:cubicBezTo>
                  <a:cubicBezTo>
                    <a:pt x="548" y="887"/>
                    <a:pt x="584" y="863"/>
                    <a:pt x="608" y="851"/>
                  </a:cubicBezTo>
                  <a:cubicBezTo>
                    <a:pt x="691" y="792"/>
                    <a:pt x="715" y="673"/>
                    <a:pt x="667" y="601"/>
                  </a:cubicBezTo>
                  <a:lnTo>
                    <a:pt x="369" y="89"/>
                  </a:lnTo>
                  <a:cubicBezTo>
                    <a:pt x="346" y="35"/>
                    <a:pt x="286"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1" name="Google Shape;10151;p58"/>
            <p:cNvSpPr/>
            <p:nvPr/>
          </p:nvSpPr>
          <p:spPr>
            <a:xfrm>
              <a:off x="4426264" y="4351851"/>
              <a:ext cx="29532" cy="21117"/>
            </a:xfrm>
            <a:custGeom>
              <a:avLst/>
              <a:gdLst/>
              <a:ahLst/>
              <a:cxnLst/>
              <a:rect l="l" t="t" r="r" b="b"/>
              <a:pathLst>
                <a:path w="930" h="665" extrusionOk="0">
                  <a:moveTo>
                    <a:pt x="215" y="0"/>
                  </a:moveTo>
                  <a:cubicBezTo>
                    <a:pt x="152" y="0"/>
                    <a:pt x="89" y="32"/>
                    <a:pt x="48" y="81"/>
                  </a:cubicBezTo>
                  <a:cubicBezTo>
                    <a:pt x="1" y="177"/>
                    <a:pt x="36" y="272"/>
                    <a:pt x="108" y="331"/>
                  </a:cubicBezTo>
                  <a:lnTo>
                    <a:pt x="608" y="629"/>
                  </a:lnTo>
                  <a:cubicBezTo>
                    <a:pt x="643" y="653"/>
                    <a:pt x="667" y="665"/>
                    <a:pt x="703" y="665"/>
                  </a:cubicBezTo>
                  <a:cubicBezTo>
                    <a:pt x="763" y="665"/>
                    <a:pt x="822" y="629"/>
                    <a:pt x="870" y="569"/>
                  </a:cubicBezTo>
                  <a:cubicBezTo>
                    <a:pt x="929" y="486"/>
                    <a:pt x="893" y="367"/>
                    <a:pt x="810" y="319"/>
                  </a:cubicBezTo>
                  <a:lnTo>
                    <a:pt x="298" y="22"/>
                  </a:lnTo>
                  <a:cubicBezTo>
                    <a:pt x="272" y="7"/>
                    <a:pt x="24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2" name="Google Shape;10152;p58"/>
            <p:cNvSpPr/>
            <p:nvPr/>
          </p:nvSpPr>
          <p:spPr>
            <a:xfrm>
              <a:off x="4186196" y="4213463"/>
              <a:ext cx="29500" cy="21117"/>
            </a:xfrm>
            <a:custGeom>
              <a:avLst/>
              <a:gdLst/>
              <a:ahLst/>
              <a:cxnLst/>
              <a:rect l="l" t="t" r="r" b="b"/>
              <a:pathLst>
                <a:path w="929" h="665" extrusionOk="0">
                  <a:moveTo>
                    <a:pt x="214" y="0"/>
                  </a:moveTo>
                  <a:cubicBezTo>
                    <a:pt x="152" y="0"/>
                    <a:pt x="89" y="33"/>
                    <a:pt x="48" y="82"/>
                  </a:cubicBezTo>
                  <a:cubicBezTo>
                    <a:pt x="0" y="165"/>
                    <a:pt x="36" y="272"/>
                    <a:pt x="107" y="332"/>
                  </a:cubicBezTo>
                  <a:lnTo>
                    <a:pt x="619" y="629"/>
                  </a:lnTo>
                  <a:cubicBezTo>
                    <a:pt x="643" y="641"/>
                    <a:pt x="667" y="665"/>
                    <a:pt x="703" y="665"/>
                  </a:cubicBezTo>
                  <a:cubicBezTo>
                    <a:pt x="762" y="665"/>
                    <a:pt x="822" y="629"/>
                    <a:pt x="869" y="570"/>
                  </a:cubicBezTo>
                  <a:cubicBezTo>
                    <a:pt x="929" y="463"/>
                    <a:pt x="893" y="367"/>
                    <a:pt x="810" y="320"/>
                  </a:cubicBezTo>
                  <a:lnTo>
                    <a:pt x="298" y="22"/>
                  </a:lnTo>
                  <a:cubicBezTo>
                    <a:pt x="272" y="7"/>
                    <a:pt x="243"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3" name="Google Shape;10153;p58"/>
            <p:cNvSpPr/>
            <p:nvPr/>
          </p:nvSpPr>
          <p:spPr>
            <a:xfrm>
              <a:off x="4425883" y="4213590"/>
              <a:ext cx="29913" cy="21371"/>
            </a:xfrm>
            <a:custGeom>
              <a:avLst/>
              <a:gdLst/>
              <a:ahLst/>
              <a:cxnLst/>
              <a:rect l="l" t="t" r="r" b="b"/>
              <a:pathLst>
                <a:path w="942" h="673" extrusionOk="0">
                  <a:moveTo>
                    <a:pt x="725" y="0"/>
                  </a:moveTo>
                  <a:cubicBezTo>
                    <a:pt x="693" y="0"/>
                    <a:pt x="660" y="10"/>
                    <a:pt x="632" y="30"/>
                  </a:cubicBezTo>
                  <a:lnTo>
                    <a:pt x="120" y="328"/>
                  </a:lnTo>
                  <a:cubicBezTo>
                    <a:pt x="36" y="375"/>
                    <a:pt x="1" y="494"/>
                    <a:pt x="60" y="578"/>
                  </a:cubicBezTo>
                  <a:cubicBezTo>
                    <a:pt x="96" y="637"/>
                    <a:pt x="155" y="673"/>
                    <a:pt x="227" y="673"/>
                  </a:cubicBezTo>
                  <a:cubicBezTo>
                    <a:pt x="251" y="673"/>
                    <a:pt x="286" y="661"/>
                    <a:pt x="310" y="637"/>
                  </a:cubicBezTo>
                  <a:lnTo>
                    <a:pt x="822" y="340"/>
                  </a:lnTo>
                  <a:cubicBezTo>
                    <a:pt x="905" y="280"/>
                    <a:pt x="941" y="161"/>
                    <a:pt x="882" y="89"/>
                  </a:cubicBezTo>
                  <a:cubicBezTo>
                    <a:pt x="850" y="35"/>
                    <a:pt x="788"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4" name="Google Shape;10154;p58"/>
            <p:cNvSpPr/>
            <p:nvPr/>
          </p:nvSpPr>
          <p:spPr>
            <a:xfrm>
              <a:off x="4186196" y="4351978"/>
              <a:ext cx="29500" cy="21371"/>
            </a:xfrm>
            <a:custGeom>
              <a:avLst/>
              <a:gdLst/>
              <a:ahLst/>
              <a:cxnLst/>
              <a:rect l="l" t="t" r="r" b="b"/>
              <a:pathLst>
                <a:path w="929" h="673" extrusionOk="0">
                  <a:moveTo>
                    <a:pt x="725" y="0"/>
                  </a:moveTo>
                  <a:cubicBezTo>
                    <a:pt x="692" y="0"/>
                    <a:pt x="660" y="9"/>
                    <a:pt x="631" y="30"/>
                  </a:cubicBezTo>
                  <a:lnTo>
                    <a:pt x="119" y="327"/>
                  </a:lnTo>
                  <a:cubicBezTo>
                    <a:pt x="36" y="375"/>
                    <a:pt x="0" y="494"/>
                    <a:pt x="60" y="589"/>
                  </a:cubicBezTo>
                  <a:cubicBezTo>
                    <a:pt x="95" y="649"/>
                    <a:pt x="155" y="673"/>
                    <a:pt x="226" y="673"/>
                  </a:cubicBezTo>
                  <a:cubicBezTo>
                    <a:pt x="262" y="673"/>
                    <a:pt x="286" y="661"/>
                    <a:pt x="322" y="649"/>
                  </a:cubicBezTo>
                  <a:lnTo>
                    <a:pt x="822" y="351"/>
                  </a:lnTo>
                  <a:cubicBezTo>
                    <a:pt x="893" y="292"/>
                    <a:pt x="929" y="173"/>
                    <a:pt x="881" y="89"/>
                  </a:cubicBezTo>
                  <a:cubicBezTo>
                    <a:pt x="850" y="34"/>
                    <a:pt x="787" y="0"/>
                    <a:pt x="7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55" name="Google Shape;10155;p58"/>
          <p:cNvSpPr/>
          <p:nvPr/>
        </p:nvSpPr>
        <p:spPr>
          <a:xfrm>
            <a:off x="4692054" y="4135409"/>
            <a:ext cx="344097" cy="340033"/>
          </a:xfrm>
          <a:custGeom>
            <a:avLst/>
            <a:gdLst/>
            <a:ahLst/>
            <a:cxnLst/>
            <a:rect l="l" t="t" r="r" b="b"/>
            <a:pathLst>
              <a:path w="10836" h="10708" extrusionOk="0">
                <a:moveTo>
                  <a:pt x="7677" y="328"/>
                </a:moveTo>
                <a:cubicBezTo>
                  <a:pt x="7821" y="328"/>
                  <a:pt x="7960" y="378"/>
                  <a:pt x="8061" y="480"/>
                </a:cubicBezTo>
                <a:lnTo>
                  <a:pt x="10288" y="2706"/>
                </a:lnTo>
                <a:cubicBezTo>
                  <a:pt x="10502" y="2897"/>
                  <a:pt x="10490" y="3278"/>
                  <a:pt x="10252" y="3516"/>
                </a:cubicBezTo>
                <a:cubicBezTo>
                  <a:pt x="10125" y="3643"/>
                  <a:pt x="9961" y="3709"/>
                  <a:pt x="9802" y="3709"/>
                </a:cubicBezTo>
                <a:cubicBezTo>
                  <a:pt x="9661" y="3709"/>
                  <a:pt x="9524" y="3657"/>
                  <a:pt x="9418" y="3552"/>
                </a:cubicBezTo>
                <a:lnTo>
                  <a:pt x="8264" y="2385"/>
                </a:lnTo>
                <a:cubicBezTo>
                  <a:pt x="8234" y="2355"/>
                  <a:pt x="8195" y="2340"/>
                  <a:pt x="8156" y="2340"/>
                </a:cubicBezTo>
                <a:cubicBezTo>
                  <a:pt x="8118" y="2340"/>
                  <a:pt x="8079" y="2355"/>
                  <a:pt x="8049" y="2385"/>
                </a:cubicBezTo>
                <a:cubicBezTo>
                  <a:pt x="7990" y="2444"/>
                  <a:pt x="7990" y="2540"/>
                  <a:pt x="8049" y="2599"/>
                </a:cubicBezTo>
                <a:lnTo>
                  <a:pt x="8930" y="3480"/>
                </a:lnTo>
                <a:lnTo>
                  <a:pt x="7811" y="4587"/>
                </a:lnTo>
                <a:cubicBezTo>
                  <a:pt x="7549" y="4861"/>
                  <a:pt x="7382" y="5207"/>
                  <a:pt x="7335" y="5564"/>
                </a:cubicBezTo>
                <a:cubicBezTo>
                  <a:pt x="7287" y="5921"/>
                  <a:pt x="7371" y="6290"/>
                  <a:pt x="7561" y="6588"/>
                </a:cubicBezTo>
                <a:cubicBezTo>
                  <a:pt x="7930" y="7171"/>
                  <a:pt x="7859" y="7838"/>
                  <a:pt x="7728" y="8028"/>
                </a:cubicBezTo>
                <a:cubicBezTo>
                  <a:pt x="7644" y="8016"/>
                  <a:pt x="7406" y="7897"/>
                  <a:pt x="6751" y="7350"/>
                </a:cubicBezTo>
                <a:cubicBezTo>
                  <a:pt x="6335" y="6993"/>
                  <a:pt x="5835" y="6528"/>
                  <a:pt x="5311" y="6004"/>
                </a:cubicBezTo>
                <a:lnTo>
                  <a:pt x="5204" y="5897"/>
                </a:lnTo>
                <a:lnTo>
                  <a:pt x="5180" y="5873"/>
                </a:lnTo>
                <a:cubicBezTo>
                  <a:pt x="5085" y="5778"/>
                  <a:pt x="4977" y="5695"/>
                  <a:pt x="4894" y="5588"/>
                </a:cubicBezTo>
                <a:lnTo>
                  <a:pt x="4846" y="5540"/>
                </a:lnTo>
                <a:lnTo>
                  <a:pt x="4739" y="5445"/>
                </a:lnTo>
                <a:cubicBezTo>
                  <a:pt x="4239" y="4921"/>
                  <a:pt x="3763" y="4409"/>
                  <a:pt x="3406" y="3992"/>
                </a:cubicBezTo>
                <a:cubicBezTo>
                  <a:pt x="2858" y="3337"/>
                  <a:pt x="2751" y="3099"/>
                  <a:pt x="2715" y="3028"/>
                </a:cubicBezTo>
                <a:cubicBezTo>
                  <a:pt x="2805" y="2970"/>
                  <a:pt x="2986" y="2926"/>
                  <a:pt x="3210" y="2926"/>
                </a:cubicBezTo>
                <a:cubicBezTo>
                  <a:pt x="3492" y="2926"/>
                  <a:pt x="3843" y="2995"/>
                  <a:pt x="4168" y="3194"/>
                </a:cubicBezTo>
                <a:cubicBezTo>
                  <a:pt x="4416" y="3353"/>
                  <a:pt x="4715" y="3430"/>
                  <a:pt x="5014" y="3430"/>
                </a:cubicBezTo>
                <a:cubicBezTo>
                  <a:pt x="5073" y="3430"/>
                  <a:pt x="5133" y="3427"/>
                  <a:pt x="5192" y="3421"/>
                </a:cubicBezTo>
                <a:cubicBezTo>
                  <a:pt x="5549" y="3373"/>
                  <a:pt x="5894" y="3194"/>
                  <a:pt x="6156" y="2944"/>
                </a:cubicBezTo>
                <a:lnTo>
                  <a:pt x="7275" y="1825"/>
                </a:lnTo>
                <a:lnTo>
                  <a:pt x="7359" y="1909"/>
                </a:lnTo>
                <a:cubicBezTo>
                  <a:pt x="7394" y="1938"/>
                  <a:pt x="7433" y="1953"/>
                  <a:pt x="7470" y="1953"/>
                </a:cubicBezTo>
                <a:cubicBezTo>
                  <a:pt x="7507" y="1953"/>
                  <a:pt x="7543" y="1938"/>
                  <a:pt x="7573" y="1909"/>
                </a:cubicBezTo>
                <a:cubicBezTo>
                  <a:pt x="7633" y="1849"/>
                  <a:pt x="7633" y="1766"/>
                  <a:pt x="7573" y="1706"/>
                </a:cubicBezTo>
                <a:lnTo>
                  <a:pt x="7204" y="1337"/>
                </a:lnTo>
                <a:lnTo>
                  <a:pt x="7192" y="1313"/>
                </a:lnTo>
                <a:cubicBezTo>
                  <a:pt x="7025" y="1123"/>
                  <a:pt x="7013" y="837"/>
                  <a:pt x="7144" y="635"/>
                </a:cubicBezTo>
                <a:cubicBezTo>
                  <a:pt x="7168" y="587"/>
                  <a:pt x="7204" y="539"/>
                  <a:pt x="7228" y="516"/>
                </a:cubicBezTo>
                <a:cubicBezTo>
                  <a:pt x="7353" y="390"/>
                  <a:pt x="7518" y="328"/>
                  <a:pt x="7677" y="328"/>
                </a:cubicBezTo>
                <a:close/>
                <a:moveTo>
                  <a:pt x="7667" y="0"/>
                </a:moveTo>
                <a:cubicBezTo>
                  <a:pt x="7428" y="0"/>
                  <a:pt x="7186" y="93"/>
                  <a:pt x="7001" y="277"/>
                </a:cubicBezTo>
                <a:cubicBezTo>
                  <a:pt x="6644" y="635"/>
                  <a:pt x="6632" y="1194"/>
                  <a:pt x="6978" y="1539"/>
                </a:cubicBezTo>
                <a:lnTo>
                  <a:pt x="7037" y="1599"/>
                </a:lnTo>
                <a:lnTo>
                  <a:pt x="5918" y="2718"/>
                </a:lnTo>
                <a:cubicBezTo>
                  <a:pt x="5651" y="2985"/>
                  <a:pt x="5292" y="3125"/>
                  <a:pt x="4942" y="3125"/>
                </a:cubicBezTo>
                <a:cubicBezTo>
                  <a:pt x="4715" y="3125"/>
                  <a:pt x="4491" y="3066"/>
                  <a:pt x="4299" y="2944"/>
                </a:cubicBezTo>
                <a:cubicBezTo>
                  <a:pt x="3965" y="2730"/>
                  <a:pt x="3596" y="2623"/>
                  <a:pt x="3215" y="2623"/>
                </a:cubicBezTo>
                <a:cubicBezTo>
                  <a:pt x="2882" y="2623"/>
                  <a:pt x="2584" y="2706"/>
                  <a:pt x="2453" y="2849"/>
                </a:cubicBezTo>
                <a:cubicBezTo>
                  <a:pt x="2322" y="2980"/>
                  <a:pt x="2418" y="3194"/>
                  <a:pt x="2525" y="3385"/>
                </a:cubicBezTo>
                <a:cubicBezTo>
                  <a:pt x="2632" y="3564"/>
                  <a:pt x="2810" y="3802"/>
                  <a:pt x="3049" y="4087"/>
                </a:cubicBezTo>
                <a:cubicBezTo>
                  <a:pt x="3394" y="4504"/>
                  <a:pt x="3846" y="5004"/>
                  <a:pt x="4370" y="5540"/>
                </a:cubicBezTo>
                <a:lnTo>
                  <a:pt x="3180" y="6731"/>
                </a:lnTo>
                <a:cubicBezTo>
                  <a:pt x="2763" y="7147"/>
                  <a:pt x="2346" y="7600"/>
                  <a:pt x="1965" y="8064"/>
                </a:cubicBezTo>
                <a:lnTo>
                  <a:pt x="84" y="10291"/>
                </a:lnTo>
                <a:cubicBezTo>
                  <a:pt x="1" y="10398"/>
                  <a:pt x="1" y="10541"/>
                  <a:pt x="84" y="10636"/>
                </a:cubicBezTo>
                <a:cubicBezTo>
                  <a:pt x="132" y="10683"/>
                  <a:pt x="191" y="10707"/>
                  <a:pt x="251" y="10707"/>
                </a:cubicBezTo>
                <a:cubicBezTo>
                  <a:pt x="310" y="10707"/>
                  <a:pt x="370" y="10683"/>
                  <a:pt x="429" y="10636"/>
                </a:cubicBezTo>
                <a:lnTo>
                  <a:pt x="2572" y="8850"/>
                </a:lnTo>
                <a:cubicBezTo>
                  <a:pt x="2632" y="8790"/>
                  <a:pt x="2644" y="8695"/>
                  <a:pt x="2584" y="8636"/>
                </a:cubicBezTo>
                <a:cubicBezTo>
                  <a:pt x="2552" y="8603"/>
                  <a:pt x="2512" y="8585"/>
                  <a:pt x="2472" y="8585"/>
                </a:cubicBezTo>
                <a:cubicBezTo>
                  <a:pt x="2440" y="8585"/>
                  <a:pt x="2409" y="8597"/>
                  <a:pt x="2382" y="8624"/>
                </a:cubicBezTo>
                <a:lnTo>
                  <a:pt x="739" y="9993"/>
                </a:lnTo>
                <a:lnTo>
                  <a:pt x="2191" y="8266"/>
                </a:lnTo>
                <a:cubicBezTo>
                  <a:pt x="2560" y="7826"/>
                  <a:pt x="2965" y="7374"/>
                  <a:pt x="3382" y="6957"/>
                </a:cubicBezTo>
                <a:lnTo>
                  <a:pt x="4573" y="5766"/>
                </a:lnTo>
                <a:lnTo>
                  <a:pt x="4585" y="5778"/>
                </a:lnTo>
                <a:lnTo>
                  <a:pt x="4763" y="5957"/>
                </a:lnTo>
                <a:lnTo>
                  <a:pt x="4942" y="6135"/>
                </a:lnTo>
                <a:lnTo>
                  <a:pt x="4954" y="6159"/>
                </a:lnTo>
                <a:lnTo>
                  <a:pt x="3763" y="7350"/>
                </a:lnTo>
                <a:cubicBezTo>
                  <a:pt x="3537" y="7564"/>
                  <a:pt x="3299" y="7790"/>
                  <a:pt x="3084" y="8005"/>
                </a:cubicBezTo>
                <a:cubicBezTo>
                  <a:pt x="3025" y="8064"/>
                  <a:pt x="3025" y="8147"/>
                  <a:pt x="3061" y="8207"/>
                </a:cubicBezTo>
                <a:cubicBezTo>
                  <a:pt x="3092" y="8238"/>
                  <a:pt x="3133" y="8253"/>
                  <a:pt x="3174" y="8253"/>
                </a:cubicBezTo>
                <a:cubicBezTo>
                  <a:pt x="3211" y="8253"/>
                  <a:pt x="3247" y="8241"/>
                  <a:pt x="3275" y="8219"/>
                </a:cubicBezTo>
                <a:cubicBezTo>
                  <a:pt x="3513" y="8005"/>
                  <a:pt x="3751" y="7778"/>
                  <a:pt x="3977" y="7552"/>
                </a:cubicBezTo>
                <a:lnTo>
                  <a:pt x="5168" y="6361"/>
                </a:lnTo>
                <a:cubicBezTo>
                  <a:pt x="5704" y="6885"/>
                  <a:pt x="6204" y="7350"/>
                  <a:pt x="6620" y="7683"/>
                </a:cubicBezTo>
                <a:cubicBezTo>
                  <a:pt x="6906" y="7921"/>
                  <a:pt x="7144" y="8088"/>
                  <a:pt x="7323" y="8207"/>
                </a:cubicBezTo>
                <a:cubicBezTo>
                  <a:pt x="7442" y="8278"/>
                  <a:pt x="7573" y="8362"/>
                  <a:pt x="7692" y="8362"/>
                </a:cubicBezTo>
                <a:cubicBezTo>
                  <a:pt x="7752" y="8362"/>
                  <a:pt x="7811" y="8338"/>
                  <a:pt x="7859" y="8302"/>
                </a:cubicBezTo>
                <a:cubicBezTo>
                  <a:pt x="7990" y="8159"/>
                  <a:pt x="8073" y="7862"/>
                  <a:pt x="8073" y="7540"/>
                </a:cubicBezTo>
                <a:cubicBezTo>
                  <a:pt x="8073" y="7171"/>
                  <a:pt x="7954" y="6778"/>
                  <a:pt x="7763" y="6457"/>
                </a:cubicBezTo>
                <a:cubicBezTo>
                  <a:pt x="7454" y="5957"/>
                  <a:pt x="7549" y="5278"/>
                  <a:pt x="7990" y="4826"/>
                </a:cubicBezTo>
                <a:lnTo>
                  <a:pt x="9109" y="3718"/>
                </a:lnTo>
                <a:lnTo>
                  <a:pt x="9168" y="3778"/>
                </a:lnTo>
                <a:lnTo>
                  <a:pt x="9192" y="3802"/>
                </a:lnTo>
                <a:lnTo>
                  <a:pt x="9216" y="3814"/>
                </a:lnTo>
                <a:cubicBezTo>
                  <a:pt x="9216" y="3814"/>
                  <a:pt x="9228" y="3837"/>
                  <a:pt x="9240" y="3837"/>
                </a:cubicBezTo>
                <a:cubicBezTo>
                  <a:pt x="9240" y="3837"/>
                  <a:pt x="9252" y="3837"/>
                  <a:pt x="9252" y="3849"/>
                </a:cubicBezTo>
                <a:lnTo>
                  <a:pt x="9264" y="3861"/>
                </a:lnTo>
                <a:cubicBezTo>
                  <a:pt x="9264" y="3861"/>
                  <a:pt x="9287" y="3861"/>
                  <a:pt x="9287" y="3873"/>
                </a:cubicBezTo>
                <a:lnTo>
                  <a:pt x="9299" y="3897"/>
                </a:lnTo>
                <a:cubicBezTo>
                  <a:pt x="9299" y="3897"/>
                  <a:pt x="9311" y="3897"/>
                  <a:pt x="9311" y="3909"/>
                </a:cubicBezTo>
                <a:lnTo>
                  <a:pt x="9323" y="3921"/>
                </a:lnTo>
                <a:cubicBezTo>
                  <a:pt x="9323" y="3921"/>
                  <a:pt x="9347" y="3921"/>
                  <a:pt x="9347" y="3933"/>
                </a:cubicBezTo>
                <a:lnTo>
                  <a:pt x="9359" y="3956"/>
                </a:lnTo>
                <a:cubicBezTo>
                  <a:pt x="9359" y="3956"/>
                  <a:pt x="9371" y="3956"/>
                  <a:pt x="9371" y="3968"/>
                </a:cubicBezTo>
                <a:cubicBezTo>
                  <a:pt x="9371" y="3968"/>
                  <a:pt x="9383" y="3968"/>
                  <a:pt x="9383" y="3980"/>
                </a:cubicBezTo>
                <a:cubicBezTo>
                  <a:pt x="9383" y="3980"/>
                  <a:pt x="9407" y="3980"/>
                  <a:pt x="9407" y="3992"/>
                </a:cubicBezTo>
                <a:cubicBezTo>
                  <a:pt x="9407" y="3992"/>
                  <a:pt x="9418" y="3992"/>
                  <a:pt x="9418" y="4016"/>
                </a:cubicBezTo>
                <a:lnTo>
                  <a:pt x="9430" y="4016"/>
                </a:lnTo>
                <a:cubicBezTo>
                  <a:pt x="9430" y="4016"/>
                  <a:pt x="9442" y="4016"/>
                  <a:pt x="9442" y="4028"/>
                </a:cubicBezTo>
                <a:lnTo>
                  <a:pt x="9942" y="4028"/>
                </a:lnTo>
                <a:cubicBezTo>
                  <a:pt x="9954" y="4028"/>
                  <a:pt x="9954" y="4028"/>
                  <a:pt x="9966" y="4016"/>
                </a:cubicBezTo>
                <a:lnTo>
                  <a:pt x="9978" y="4016"/>
                </a:lnTo>
                <a:cubicBezTo>
                  <a:pt x="10002" y="4016"/>
                  <a:pt x="10002" y="4016"/>
                  <a:pt x="10014" y="3992"/>
                </a:cubicBezTo>
                <a:lnTo>
                  <a:pt x="10026" y="3992"/>
                </a:lnTo>
                <a:cubicBezTo>
                  <a:pt x="10038" y="3992"/>
                  <a:pt x="10038" y="3992"/>
                  <a:pt x="10061" y="3980"/>
                </a:cubicBezTo>
                <a:cubicBezTo>
                  <a:pt x="10061" y="3980"/>
                  <a:pt x="10073" y="3980"/>
                  <a:pt x="10073" y="3968"/>
                </a:cubicBezTo>
                <a:cubicBezTo>
                  <a:pt x="10085" y="3968"/>
                  <a:pt x="10085" y="3956"/>
                  <a:pt x="10097" y="3956"/>
                </a:cubicBezTo>
                <a:cubicBezTo>
                  <a:pt x="10097" y="3956"/>
                  <a:pt x="10121" y="3956"/>
                  <a:pt x="10121" y="3933"/>
                </a:cubicBezTo>
                <a:cubicBezTo>
                  <a:pt x="10133" y="3933"/>
                  <a:pt x="10133" y="3921"/>
                  <a:pt x="10145" y="3921"/>
                </a:cubicBezTo>
                <a:cubicBezTo>
                  <a:pt x="10145" y="3921"/>
                  <a:pt x="10157" y="3921"/>
                  <a:pt x="10157" y="3909"/>
                </a:cubicBezTo>
                <a:cubicBezTo>
                  <a:pt x="10180" y="3909"/>
                  <a:pt x="10180" y="3897"/>
                  <a:pt x="10192" y="3897"/>
                </a:cubicBezTo>
                <a:cubicBezTo>
                  <a:pt x="10192" y="3897"/>
                  <a:pt x="10204" y="3897"/>
                  <a:pt x="10204" y="3873"/>
                </a:cubicBezTo>
                <a:cubicBezTo>
                  <a:pt x="10216" y="3873"/>
                  <a:pt x="10216" y="3861"/>
                  <a:pt x="10240" y="3861"/>
                </a:cubicBezTo>
                <a:cubicBezTo>
                  <a:pt x="10240" y="3861"/>
                  <a:pt x="10252" y="3861"/>
                  <a:pt x="10252" y="3849"/>
                </a:cubicBezTo>
                <a:cubicBezTo>
                  <a:pt x="10264" y="3849"/>
                  <a:pt x="10264" y="3837"/>
                  <a:pt x="10276" y="3837"/>
                </a:cubicBezTo>
                <a:cubicBezTo>
                  <a:pt x="10276" y="3837"/>
                  <a:pt x="10300" y="3837"/>
                  <a:pt x="10300" y="3814"/>
                </a:cubicBezTo>
                <a:cubicBezTo>
                  <a:pt x="10311" y="3814"/>
                  <a:pt x="10311" y="3802"/>
                  <a:pt x="10323" y="3802"/>
                </a:cubicBezTo>
                <a:cubicBezTo>
                  <a:pt x="10323" y="3802"/>
                  <a:pt x="10335" y="3802"/>
                  <a:pt x="10335" y="3790"/>
                </a:cubicBezTo>
                <a:cubicBezTo>
                  <a:pt x="10359" y="3778"/>
                  <a:pt x="10371" y="3778"/>
                  <a:pt x="10371" y="3754"/>
                </a:cubicBezTo>
                <a:cubicBezTo>
                  <a:pt x="10823" y="3373"/>
                  <a:pt x="10835" y="2802"/>
                  <a:pt x="10490" y="2468"/>
                </a:cubicBezTo>
                <a:lnTo>
                  <a:pt x="8275" y="242"/>
                </a:lnTo>
                <a:cubicBezTo>
                  <a:pt x="8109" y="81"/>
                  <a:pt x="7889" y="0"/>
                  <a:pt x="7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156" name="Google Shape;10156;p58"/>
          <p:cNvGrpSpPr/>
          <p:nvPr/>
        </p:nvGrpSpPr>
        <p:grpSpPr>
          <a:xfrm>
            <a:off x="5206262" y="4174817"/>
            <a:ext cx="397763" cy="262804"/>
            <a:chOff x="5206262" y="4174817"/>
            <a:chExt cx="397763" cy="262804"/>
          </a:xfrm>
        </p:grpSpPr>
        <p:sp>
          <p:nvSpPr>
            <p:cNvPr id="10157" name="Google Shape;10157;p58"/>
            <p:cNvSpPr/>
            <p:nvPr/>
          </p:nvSpPr>
          <p:spPr>
            <a:xfrm>
              <a:off x="5206262" y="4177104"/>
              <a:ext cx="397763" cy="260518"/>
            </a:xfrm>
            <a:custGeom>
              <a:avLst/>
              <a:gdLst/>
              <a:ahLst/>
              <a:cxnLst/>
              <a:rect l="l" t="t" r="r" b="b"/>
              <a:pathLst>
                <a:path w="12526" h="8204" extrusionOk="0">
                  <a:moveTo>
                    <a:pt x="3655" y="381"/>
                  </a:moveTo>
                  <a:cubicBezTo>
                    <a:pt x="3989" y="381"/>
                    <a:pt x="4298" y="500"/>
                    <a:pt x="4536" y="738"/>
                  </a:cubicBezTo>
                  <a:lnTo>
                    <a:pt x="7049" y="3120"/>
                  </a:lnTo>
                  <a:lnTo>
                    <a:pt x="5644" y="3120"/>
                  </a:lnTo>
                  <a:lnTo>
                    <a:pt x="3512" y="381"/>
                  </a:lnTo>
                  <a:close/>
                  <a:moveTo>
                    <a:pt x="10585" y="3477"/>
                  </a:moveTo>
                  <a:cubicBezTo>
                    <a:pt x="10882" y="3501"/>
                    <a:pt x="11156" y="3620"/>
                    <a:pt x="11382" y="3846"/>
                  </a:cubicBezTo>
                  <a:lnTo>
                    <a:pt x="11502" y="3965"/>
                  </a:lnTo>
                  <a:lnTo>
                    <a:pt x="10763" y="3965"/>
                  </a:lnTo>
                  <a:lnTo>
                    <a:pt x="10763" y="3953"/>
                  </a:lnTo>
                  <a:cubicBezTo>
                    <a:pt x="10656" y="3953"/>
                    <a:pt x="10585" y="3858"/>
                    <a:pt x="10585" y="3775"/>
                  </a:cubicBezTo>
                  <a:lnTo>
                    <a:pt x="10585" y="3477"/>
                  </a:lnTo>
                  <a:close/>
                  <a:moveTo>
                    <a:pt x="7906" y="4263"/>
                  </a:moveTo>
                  <a:lnTo>
                    <a:pt x="4536" y="7430"/>
                  </a:lnTo>
                  <a:cubicBezTo>
                    <a:pt x="4298" y="7656"/>
                    <a:pt x="3989" y="7787"/>
                    <a:pt x="3655" y="7787"/>
                  </a:cubicBezTo>
                  <a:lnTo>
                    <a:pt x="3512" y="7787"/>
                  </a:lnTo>
                  <a:lnTo>
                    <a:pt x="6263" y="4263"/>
                  </a:lnTo>
                  <a:close/>
                  <a:moveTo>
                    <a:pt x="3381" y="0"/>
                  </a:moveTo>
                  <a:cubicBezTo>
                    <a:pt x="3262" y="0"/>
                    <a:pt x="3155" y="60"/>
                    <a:pt x="3108" y="179"/>
                  </a:cubicBezTo>
                  <a:cubicBezTo>
                    <a:pt x="3060" y="286"/>
                    <a:pt x="3060" y="405"/>
                    <a:pt x="3143" y="512"/>
                  </a:cubicBezTo>
                  <a:lnTo>
                    <a:pt x="5167" y="3120"/>
                  </a:lnTo>
                  <a:lnTo>
                    <a:pt x="2512" y="3120"/>
                  </a:lnTo>
                  <a:cubicBezTo>
                    <a:pt x="2405" y="3120"/>
                    <a:pt x="2310" y="3060"/>
                    <a:pt x="2250" y="2965"/>
                  </a:cubicBezTo>
                  <a:lnTo>
                    <a:pt x="1429" y="1536"/>
                  </a:lnTo>
                  <a:cubicBezTo>
                    <a:pt x="1310" y="1334"/>
                    <a:pt x="1084" y="1215"/>
                    <a:pt x="845" y="1215"/>
                  </a:cubicBezTo>
                  <a:lnTo>
                    <a:pt x="310" y="1215"/>
                  </a:lnTo>
                  <a:cubicBezTo>
                    <a:pt x="143" y="1215"/>
                    <a:pt x="0" y="1346"/>
                    <a:pt x="0" y="1524"/>
                  </a:cubicBezTo>
                  <a:lnTo>
                    <a:pt x="0" y="4394"/>
                  </a:lnTo>
                  <a:cubicBezTo>
                    <a:pt x="0" y="4763"/>
                    <a:pt x="310" y="5084"/>
                    <a:pt x="679" y="5084"/>
                  </a:cubicBezTo>
                  <a:lnTo>
                    <a:pt x="2262" y="5084"/>
                  </a:lnTo>
                  <a:cubicBezTo>
                    <a:pt x="2369" y="5084"/>
                    <a:pt x="2441" y="4989"/>
                    <a:pt x="2441" y="4906"/>
                  </a:cubicBezTo>
                  <a:cubicBezTo>
                    <a:pt x="2441" y="4810"/>
                    <a:pt x="2346" y="4727"/>
                    <a:pt x="2262" y="4727"/>
                  </a:cubicBezTo>
                  <a:lnTo>
                    <a:pt x="679" y="4727"/>
                  </a:lnTo>
                  <a:cubicBezTo>
                    <a:pt x="500" y="4727"/>
                    <a:pt x="369" y="4572"/>
                    <a:pt x="369" y="4406"/>
                  </a:cubicBezTo>
                  <a:lnTo>
                    <a:pt x="369" y="1596"/>
                  </a:lnTo>
                  <a:lnTo>
                    <a:pt x="845" y="1596"/>
                  </a:lnTo>
                  <a:cubicBezTo>
                    <a:pt x="965" y="1596"/>
                    <a:pt x="1060" y="1655"/>
                    <a:pt x="1119" y="1750"/>
                  </a:cubicBezTo>
                  <a:lnTo>
                    <a:pt x="1929" y="3179"/>
                  </a:lnTo>
                  <a:cubicBezTo>
                    <a:pt x="2048" y="3382"/>
                    <a:pt x="2274" y="3513"/>
                    <a:pt x="2512" y="3513"/>
                  </a:cubicBezTo>
                  <a:lnTo>
                    <a:pt x="10192" y="3513"/>
                  </a:lnTo>
                  <a:lnTo>
                    <a:pt x="10192" y="3834"/>
                  </a:lnTo>
                  <a:cubicBezTo>
                    <a:pt x="10192" y="4132"/>
                    <a:pt x="10442" y="4382"/>
                    <a:pt x="10740" y="4382"/>
                  </a:cubicBezTo>
                  <a:lnTo>
                    <a:pt x="11835" y="4382"/>
                  </a:lnTo>
                  <a:lnTo>
                    <a:pt x="12049" y="4620"/>
                  </a:lnTo>
                  <a:cubicBezTo>
                    <a:pt x="12085" y="4644"/>
                    <a:pt x="12109" y="4703"/>
                    <a:pt x="12133" y="4751"/>
                  </a:cubicBezTo>
                  <a:lnTo>
                    <a:pt x="7942" y="4751"/>
                  </a:lnTo>
                  <a:lnTo>
                    <a:pt x="8454" y="4275"/>
                  </a:lnTo>
                  <a:cubicBezTo>
                    <a:pt x="8513" y="4227"/>
                    <a:pt x="8525" y="4144"/>
                    <a:pt x="8501" y="4072"/>
                  </a:cubicBezTo>
                  <a:cubicBezTo>
                    <a:pt x="8465" y="3989"/>
                    <a:pt x="8406" y="3953"/>
                    <a:pt x="8334" y="3953"/>
                  </a:cubicBezTo>
                  <a:lnTo>
                    <a:pt x="6203" y="3953"/>
                  </a:lnTo>
                  <a:cubicBezTo>
                    <a:pt x="6120" y="3953"/>
                    <a:pt x="6025" y="3989"/>
                    <a:pt x="5965" y="4072"/>
                  </a:cubicBezTo>
                  <a:lnTo>
                    <a:pt x="5441" y="4739"/>
                  </a:lnTo>
                  <a:lnTo>
                    <a:pt x="3120" y="4739"/>
                  </a:lnTo>
                  <a:cubicBezTo>
                    <a:pt x="3024" y="4739"/>
                    <a:pt x="2941" y="4822"/>
                    <a:pt x="2941" y="4918"/>
                  </a:cubicBezTo>
                  <a:cubicBezTo>
                    <a:pt x="2941" y="5001"/>
                    <a:pt x="3036" y="5096"/>
                    <a:pt x="3120" y="5096"/>
                  </a:cubicBezTo>
                  <a:lnTo>
                    <a:pt x="5167" y="5096"/>
                  </a:lnTo>
                  <a:lnTo>
                    <a:pt x="3143" y="7704"/>
                  </a:lnTo>
                  <a:cubicBezTo>
                    <a:pt x="3060" y="7787"/>
                    <a:pt x="3048" y="7918"/>
                    <a:pt x="3108" y="8025"/>
                  </a:cubicBezTo>
                  <a:cubicBezTo>
                    <a:pt x="3155" y="8132"/>
                    <a:pt x="3274" y="8204"/>
                    <a:pt x="3381" y="8204"/>
                  </a:cubicBezTo>
                  <a:lnTo>
                    <a:pt x="3643" y="8204"/>
                  </a:lnTo>
                  <a:cubicBezTo>
                    <a:pt x="4060" y="8204"/>
                    <a:pt x="4477" y="8037"/>
                    <a:pt x="4775" y="7763"/>
                  </a:cubicBezTo>
                  <a:lnTo>
                    <a:pt x="7572" y="5108"/>
                  </a:lnTo>
                  <a:lnTo>
                    <a:pt x="12252" y="5108"/>
                  </a:lnTo>
                  <a:cubicBezTo>
                    <a:pt x="12395" y="5108"/>
                    <a:pt x="12525" y="4989"/>
                    <a:pt x="12525" y="4822"/>
                  </a:cubicBezTo>
                  <a:cubicBezTo>
                    <a:pt x="12525" y="4584"/>
                    <a:pt x="12466" y="4406"/>
                    <a:pt x="12335" y="4286"/>
                  </a:cubicBezTo>
                  <a:lnTo>
                    <a:pt x="11621" y="3572"/>
                  </a:lnTo>
                  <a:cubicBezTo>
                    <a:pt x="11311" y="3263"/>
                    <a:pt x="10894" y="3096"/>
                    <a:pt x="10466" y="3096"/>
                  </a:cubicBezTo>
                  <a:lnTo>
                    <a:pt x="7572" y="3096"/>
                  </a:lnTo>
                  <a:lnTo>
                    <a:pt x="4775" y="453"/>
                  </a:lnTo>
                  <a:cubicBezTo>
                    <a:pt x="4465" y="155"/>
                    <a:pt x="4060"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8" name="Google Shape;10158;p58"/>
            <p:cNvSpPr/>
            <p:nvPr/>
          </p:nvSpPr>
          <p:spPr>
            <a:xfrm>
              <a:off x="5434231" y="4174817"/>
              <a:ext cx="167539" cy="70369"/>
            </a:xfrm>
            <a:custGeom>
              <a:avLst/>
              <a:gdLst/>
              <a:ahLst/>
              <a:cxnLst/>
              <a:rect l="l" t="t" r="r" b="b"/>
              <a:pathLst>
                <a:path w="5276" h="2216" extrusionOk="0">
                  <a:moveTo>
                    <a:pt x="2596" y="1"/>
                  </a:moveTo>
                  <a:cubicBezTo>
                    <a:pt x="1965" y="1"/>
                    <a:pt x="1417" y="418"/>
                    <a:pt x="1251" y="1013"/>
                  </a:cubicBezTo>
                  <a:cubicBezTo>
                    <a:pt x="1179" y="1001"/>
                    <a:pt x="1108" y="1001"/>
                    <a:pt x="1048" y="1001"/>
                  </a:cubicBezTo>
                  <a:cubicBezTo>
                    <a:pt x="465" y="1001"/>
                    <a:pt x="1" y="1465"/>
                    <a:pt x="1" y="2037"/>
                  </a:cubicBezTo>
                  <a:cubicBezTo>
                    <a:pt x="24" y="2132"/>
                    <a:pt x="96" y="2203"/>
                    <a:pt x="203" y="2203"/>
                  </a:cubicBezTo>
                  <a:lnTo>
                    <a:pt x="3358" y="2203"/>
                  </a:lnTo>
                  <a:cubicBezTo>
                    <a:pt x="3465" y="2203"/>
                    <a:pt x="3537" y="2120"/>
                    <a:pt x="3537" y="2025"/>
                  </a:cubicBezTo>
                  <a:cubicBezTo>
                    <a:pt x="3537" y="1918"/>
                    <a:pt x="3441" y="1846"/>
                    <a:pt x="3358" y="1846"/>
                  </a:cubicBezTo>
                  <a:lnTo>
                    <a:pt x="405" y="1846"/>
                  </a:lnTo>
                  <a:cubicBezTo>
                    <a:pt x="489" y="1561"/>
                    <a:pt x="751" y="1358"/>
                    <a:pt x="1048" y="1358"/>
                  </a:cubicBezTo>
                  <a:cubicBezTo>
                    <a:pt x="1144" y="1358"/>
                    <a:pt x="1239" y="1370"/>
                    <a:pt x="1334" y="1418"/>
                  </a:cubicBezTo>
                  <a:cubicBezTo>
                    <a:pt x="1359" y="1428"/>
                    <a:pt x="1384" y="1431"/>
                    <a:pt x="1409" y="1431"/>
                  </a:cubicBezTo>
                  <a:cubicBezTo>
                    <a:pt x="1442" y="1431"/>
                    <a:pt x="1473" y="1425"/>
                    <a:pt x="1501" y="1418"/>
                  </a:cubicBezTo>
                  <a:cubicBezTo>
                    <a:pt x="1536" y="1382"/>
                    <a:pt x="1584" y="1346"/>
                    <a:pt x="1584" y="1287"/>
                  </a:cubicBezTo>
                  <a:cubicBezTo>
                    <a:pt x="1644" y="763"/>
                    <a:pt x="2096" y="370"/>
                    <a:pt x="2608" y="370"/>
                  </a:cubicBezTo>
                  <a:cubicBezTo>
                    <a:pt x="3084" y="370"/>
                    <a:pt x="3489" y="691"/>
                    <a:pt x="3608" y="1144"/>
                  </a:cubicBezTo>
                  <a:cubicBezTo>
                    <a:pt x="3620" y="1191"/>
                    <a:pt x="3656" y="1239"/>
                    <a:pt x="3703" y="1263"/>
                  </a:cubicBezTo>
                  <a:cubicBezTo>
                    <a:pt x="3726" y="1286"/>
                    <a:pt x="3758" y="1294"/>
                    <a:pt x="3791" y="1294"/>
                  </a:cubicBezTo>
                  <a:cubicBezTo>
                    <a:pt x="3810" y="1294"/>
                    <a:pt x="3829" y="1291"/>
                    <a:pt x="3846" y="1287"/>
                  </a:cubicBezTo>
                  <a:cubicBezTo>
                    <a:pt x="3930" y="1251"/>
                    <a:pt x="4025" y="1239"/>
                    <a:pt x="4120" y="1239"/>
                  </a:cubicBezTo>
                  <a:cubicBezTo>
                    <a:pt x="4501" y="1239"/>
                    <a:pt x="4811" y="1501"/>
                    <a:pt x="4906" y="1858"/>
                  </a:cubicBezTo>
                  <a:lnTo>
                    <a:pt x="4215" y="1858"/>
                  </a:lnTo>
                  <a:cubicBezTo>
                    <a:pt x="4120" y="1858"/>
                    <a:pt x="4037" y="1953"/>
                    <a:pt x="4037" y="2037"/>
                  </a:cubicBezTo>
                  <a:cubicBezTo>
                    <a:pt x="4037" y="2132"/>
                    <a:pt x="4132" y="2215"/>
                    <a:pt x="4215" y="2215"/>
                  </a:cubicBezTo>
                  <a:lnTo>
                    <a:pt x="5096" y="2215"/>
                  </a:lnTo>
                  <a:cubicBezTo>
                    <a:pt x="5204" y="2215"/>
                    <a:pt x="5275" y="2132"/>
                    <a:pt x="5275" y="2037"/>
                  </a:cubicBezTo>
                  <a:cubicBezTo>
                    <a:pt x="5275" y="1406"/>
                    <a:pt x="4751" y="870"/>
                    <a:pt x="4096" y="870"/>
                  </a:cubicBezTo>
                  <a:cubicBezTo>
                    <a:pt x="4025" y="870"/>
                    <a:pt x="3965" y="870"/>
                    <a:pt x="3894" y="882"/>
                  </a:cubicBezTo>
                  <a:cubicBezTo>
                    <a:pt x="3680" y="358"/>
                    <a:pt x="3180"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9" name="Google Shape;10159;p58"/>
            <p:cNvSpPr/>
            <p:nvPr/>
          </p:nvSpPr>
          <p:spPr>
            <a:xfrm>
              <a:off x="5360877" y="4298852"/>
              <a:ext cx="15147" cy="15147"/>
            </a:xfrm>
            <a:custGeom>
              <a:avLst/>
              <a:gdLst/>
              <a:ahLst/>
              <a:cxnLst/>
              <a:rect l="l" t="t" r="r" b="b"/>
              <a:pathLst>
                <a:path w="477" h="477" extrusionOk="0">
                  <a:moveTo>
                    <a:pt x="239" y="0"/>
                  </a:moveTo>
                  <a:cubicBezTo>
                    <a:pt x="96" y="0"/>
                    <a:pt x="1" y="95"/>
                    <a:pt x="1" y="238"/>
                  </a:cubicBezTo>
                  <a:cubicBezTo>
                    <a:pt x="1" y="369"/>
                    <a:pt x="96"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0" name="Google Shape;10160;p58"/>
            <p:cNvSpPr/>
            <p:nvPr/>
          </p:nvSpPr>
          <p:spPr>
            <a:xfrm>
              <a:off x="5329503" y="4298852"/>
              <a:ext cx="15147" cy="15147"/>
            </a:xfrm>
            <a:custGeom>
              <a:avLst/>
              <a:gdLst/>
              <a:ahLst/>
              <a:cxnLst/>
              <a:rect l="l" t="t" r="r" b="b"/>
              <a:pathLst>
                <a:path w="477" h="477" extrusionOk="0">
                  <a:moveTo>
                    <a:pt x="239" y="0"/>
                  </a:moveTo>
                  <a:cubicBezTo>
                    <a:pt x="108" y="0"/>
                    <a:pt x="1" y="95"/>
                    <a:pt x="1" y="238"/>
                  </a:cubicBezTo>
                  <a:cubicBezTo>
                    <a:pt x="1" y="369"/>
                    <a:pt x="108" y="476"/>
                    <a:pt x="239" y="476"/>
                  </a:cubicBezTo>
                  <a:cubicBezTo>
                    <a:pt x="370" y="476"/>
                    <a:pt x="477" y="381"/>
                    <a:pt x="477" y="238"/>
                  </a:cubicBezTo>
                  <a:cubicBezTo>
                    <a:pt x="477" y="95"/>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1" name="Google Shape;10161;p58"/>
            <p:cNvSpPr/>
            <p:nvPr/>
          </p:nvSpPr>
          <p:spPr>
            <a:xfrm>
              <a:off x="5298511" y="4299202"/>
              <a:ext cx="14766" cy="15179"/>
            </a:xfrm>
            <a:custGeom>
              <a:avLst/>
              <a:gdLst/>
              <a:ahLst/>
              <a:cxnLst/>
              <a:rect l="l" t="t" r="r" b="b"/>
              <a:pathLst>
                <a:path w="465" h="478" extrusionOk="0">
                  <a:moveTo>
                    <a:pt x="238" y="1"/>
                  </a:moveTo>
                  <a:cubicBezTo>
                    <a:pt x="95" y="1"/>
                    <a:pt x="0" y="108"/>
                    <a:pt x="0" y="239"/>
                  </a:cubicBezTo>
                  <a:cubicBezTo>
                    <a:pt x="0" y="370"/>
                    <a:pt x="95" y="477"/>
                    <a:pt x="238" y="477"/>
                  </a:cubicBezTo>
                  <a:cubicBezTo>
                    <a:pt x="369" y="477"/>
                    <a:pt x="465" y="370"/>
                    <a:pt x="465" y="239"/>
                  </a:cubicBezTo>
                  <a:cubicBezTo>
                    <a:pt x="465" y="108"/>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2" name="Google Shape;10162;p58"/>
            <p:cNvSpPr/>
            <p:nvPr/>
          </p:nvSpPr>
          <p:spPr>
            <a:xfrm>
              <a:off x="5267137"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69" y="476"/>
                    <a:pt x="476" y="369"/>
                    <a:pt x="476" y="238"/>
                  </a:cubicBezTo>
                  <a:cubicBezTo>
                    <a:pt x="476" y="95"/>
                    <a:pt x="369"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3" name="Google Shape;10163;p58"/>
            <p:cNvSpPr/>
            <p:nvPr/>
          </p:nvSpPr>
          <p:spPr>
            <a:xfrm>
              <a:off x="5492470" y="4298852"/>
              <a:ext cx="15147" cy="15147"/>
            </a:xfrm>
            <a:custGeom>
              <a:avLst/>
              <a:gdLst/>
              <a:ahLst/>
              <a:cxnLst/>
              <a:rect l="l" t="t" r="r" b="b"/>
              <a:pathLst>
                <a:path w="477" h="477" extrusionOk="0">
                  <a:moveTo>
                    <a:pt x="238" y="0"/>
                  </a:moveTo>
                  <a:cubicBezTo>
                    <a:pt x="107" y="0"/>
                    <a:pt x="0" y="95"/>
                    <a:pt x="0" y="238"/>
                  </a:cubicBezTo>
                  <a:cubicBezTo>
                    <a:pt x="0" y="369"/>
                    <a:pt x="107" y="476"/>
                    <a:pt x="238" y="476"/>
                  </a:cubicBezTo>
                  <a:cubicBezTo>
                    <a:pt x="381" y="476"/>
                    <a:pt x="476" y="381"/>
                    <a:pt x="476" y="238"/>
                  </a:cubicBezTo>
                  <a:cubicBezTo>
                    <a:pt x="476" y="95"/>
                    <a:pt x="381" y="0"/>
                    <a:pt x="2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64" name="Google Shape;10164;p58"/>
          <p:cNvGrpSpPr/>
          <p:nvPr/>
        </p:nvGrpSpPr>
        <p:grpSpPr>
          <a:xfrm>
            <a:off x="5727616" y="4204699"/>
            <a:ext cx="440505" cy="290018"/>
            <a:chOff x="5727616" y="4204699"/>
            <a:chExt cx="440505" cy="290018"/>
          </a:xfrm>
        </p:grpSpPr>
        <p:sp>
          <p:nvSpPr>
            <p:cNvPr id="10165" name="Google Shape;10165;p58"/>
            <p:cNvSpPr/>
            <p:nvPr/>
          </p:nvSpPr>
          <p:spPr>
            <a:xfrm>
              <a:off x="5727616" y="4204699"/>
              <a:ext cx="440505" cy="290018"/>
            </a:xfrm>
            <a:custGeom>
              <a:avLst/>
              <a:gdLst/>
              <a:ahLst/>
              <a:cxnLst/>
              <a:rect l="l" t="t" r="r" b="b"/>
              <a:pathLst>
                <a:path w="13872" h="9133" extrusionOk="0">
                  <a:moveTo>
                    <a:pt x="13145" y="4465"/>
                  </a:moveTo>
                  <a:lnTo>
                    <a:pt x="13145" y="4870"/>
                  </a:lnTo>
                  <a:lnTo>
                    <a:pt x="12752" y="4870"/>
                  </a:lnTo>
                  <a:lnTo>
                    <a:pt x="12752" y="4465"/>
                  </a:lnTo>
                  <a:close/>
                  <a:moveTo>
                    <a:pt x="1275" y="3941"/>
                  </a:moveTo>
                  <a:lnTo>
                    <a:pt x="1275" y="4430"/>
                  </a:lnTo>
                  <a:cubicBezTo>
                    <a:pt x="1275" y="4775"/>
                    <a:pt x="1013" y="5049"/>
                    <a:pt x="668" y="5049"/>
                  </a:cubicBezTo>
                  <a:lnTo>
                    <a:pt x="418" y="5049"/>
                  </a:lnTo>
                  <a:cubicBezTo>
                    <a:pt x="501" y="4549"/>
                    <a:pt x="810" y="4120"/>
                    <a:pt x="1275" y="3941"/>
                  </a:cubicBezTo>
                  <a:close/>
                  <a:moveTo>
                    <a:pt x="9121" y="417"/>
                  </a:moveTo>
                  <a:cubicBezTo>
                    <a:pt x="9562" y="417"/>
                    <a:pt x="9978" y="620"/>
                    <a:pt x="10252" y="977"/>
                  </a:cubicBezTo>
                  <a:lnTo>
                    <a:pt x="12205" y="3584"/>
                  </a:lnTo>
                  <a:cubicBezTo>
                    <a:pt x="12240" y="3632"/>
                    <a:pt x="12300" y="3656"/>
                    <a:pt x="12360" y="3656"/>
                  </a:cubicBezTo>
                  <a:lnTo>
                    <a:pt x="13312" y="3656"/>
                  </a:lnTo>
                  <a:cubicBezTo>
                    <a:pt x="13431" y="3656"/>
                    <a:pt x="13514" y="3775"/>
                    <a:pt x="13467" y="3882"/>
                  </a:cubicBezTo>
                  <a:lnTo>
                    <a:pt x="13372" y="4060"/>
                  </a:lnTo>
                  <a:lnTo>
                    <a:pt x="12574" y="4060"/>
                  </a:lnTo>
                  <a:cubicBezTo>
                    <a:pt x="12455" y="4060"/>
                    <a:pt x="12360" y="4156"/>
                    <a:pt x="12360" y="4275"/>
                  </a:cubicBezTo>
                  <a:lnTo>
                    <a:pt x="12360" y="5084"/>
                  </a:lnTo>
                  <a:cubicBezTo>
                    <a:pt x="12360" y="5203"/>
                    <a:pt x="12455" y="5299"/>
                    <a:pt x="12574" y="5299"/>
                  </a:cubicBezTo>
                  <a:lnTo>
                    <a:pt x="13181" y="5299"/>
                  </a:lnTo>
                  <a:lnTo>
                    <a:pt x="13181" y="5596"/>
                  </a:lnTo>
                  <a:cubicBezTo>
                    <a:pt x="13181" y="5787"/>
                    <a:pt x="13252" y="5977"/>
                    <a:pt x="13395" y="6096"/>
                  </a:cubicBezTo>
                  <a:cubicBezTo>
                    <a:pt x="13455" y="6156"/>
                    <a:pt x="13479" y="6227"/>
                    <a:pt x="13479" y="6323"/>
                  </a:cubicBezTo>
                  <a:lnTo>
                    <a:pt x="13479" y="6692"/>
                  </a:lnTo>
                  <a:lnTo>
                    <a:pt x="13443" y="6692"/>
                  </a:lnTo>
                  <a:cubicBezTo>
                    <a:pt x="13443" y="7037"/>
                    <a:pt x="13181" y="7311"/>
                    <a:pt x="12836" y="7311"/>
                  </a:cubicBezTo>
                  <a:lnTo>
                    <a:pt x="12526" y="7311"/>
                  </a:lnTo>
                  <a:cubicBezTo>
                    <a:pt x="12419" y="6501"/>
                    <a:pt x="11740" y="5894"/>
                    <a:pt x="10919" y="5894"/>
                  </a:cubicBezTo>
                  <a:cubicBezTo>
                    <a:pt x="10097" y="5894"/>
                    <a:pt x="9419" y="6513"/>
                    <a:pt x="9312" y="7311"/>
                  </a:cubicBezTo>
                  <a:lnTo>
                    <a:pt x="4061" y="7311"/>
                  </a:lnTo>
                  <a:cubicBezTo>
                    <a:pt x="3954" y="6501"/>
                    <a:pt x="3275" y="5894"/>
                    <a:pt x="2454" y="5894"/>
                  </a:cubicBezTo>
                  <a:cubicBezTo>
                    <a:pt x="1632" y="5894"/>
                    <a:pt x="965" y="6501"/>
                    <a:pt x="846" y="7275"/>
                  </a:cubicBezTo>
                  <a:cubicBezTo>
                    <a:pt x="608" y="7204"/>
                    <a:pt x="429" y="6966"/>
                    <a:pt x="429" y="6692"/>
                  </a:cubicBezTo>
                  <a:lnTo>
                    <a:pt x="429" y="5465"/>
                  </a:lnTo>
                  <a:lnTo>
                    <a:pt x="691" y="5465"/>
                  </a:lnTo>
                  <a:cubicBezTo>
                    <a:pt x="1263" y="5465"/>
                    <a:pt x="1703" y="5001"/>
                    <a:pt x="1703" y="4453"/>
                  </a:cubicBezTo>
                  <a:lnTo>
                    <a:pt x="1703" y="3822"/>
                  </a:lnTo>
                  <a:lnTo>
                    <a:pt x="2406" y="3644"/>
                  </a:lnTo>
                  <a:cubicBezTo>
                    <a:pt x="2465" y="3632"/>
                    <a:pt x="2513" y="3596"/>
                    <a:pt x="2525" y="3560"/>
                  </a:cubicBezTo>
                  <a:lnTo>
                    <a:pt x="3954" y="1120"/>
                  </a:lnTo>
                  <a:cubicBezTo>
                    <a:pt x="4204" y="679"/>
                    <a:pt x="4680" y="417"/>
                    <a:pt x="5180" y="417"/>
                  </a:cubicBezTo>
                  <a:close/>
                  <a:moveTo>
                    <a:pt x="2430" y="6275"/>
                  </a:moveTo>
                  <a:cubicBezTo>
                    <a:pt x="3108" y="6275"/>
                    <a:pt x="3656" y="6823"/>
                    <a:pt x="3656" y="7501"/>
                  </a:cubicBezTo>
                  <a:cubicBezTo>
                    <a:pt x="3656" y="8168"/>
                    <a:pt x="3108" y="8716"/>
                    <a:pt x="2430" y="8716"/>
                  </a:cubicBezTo>
                  <a:cubicBezTo>
                    <a:pt x="1763" y="8716"/>
                    <a:pt x="1215" y="8168"/>
                    <a:pt x="1215" y="7501"/>
                  </a:cubicBezTo>
                  <a:cubicBezTo>
                    <a:pt x="1215" y="6823"/>
                    <a:pt x="1763" y="6275"/>
                    <a:pt x="2430" y="6275"/>
                  </a:cubicBezTo>
                  <a:close/>
                  <a:moveTo>
                    <a:pt x="10919" y="6275"/>
                  </a:moveTo>
                  <a:cubicBezTo>
                    <a:pt x="11586" y="6275"/>
                    <a:pt x="12145" y="6823"/>
                    <a:pt x="12145" y="7501"/>
                  </a:cubicBezTo>
                  <a:cubicBezTo>
                    <a:pt x="12145" y="8168"/>
                    <a:pt x="11586" y="8716"/>
                    <a:pt x="10919" y="8716"/>
                  </a:cubicBezTo>
                  <a:cubicBezTo>
                    <a:pt x="10252" y="8716"/>
                    <a:pt x="9693" y="8168"/>
                    <a:pt x="9693" y="7501"/>
                  </a:cubicBezTo>
                  <a:cubicBezTo>
                    <a:pt x="9693" y="6823"/>
                    <a:pt x="10252" y="6275"/>
                    <a:pt x="10919" y="6275"/>
                  </a:cubicBezTo>
                  <a:close/>
                  <a:moveTo>
                    <a:pt x="5144" y="0"/>
                  </a:moveTo>
                  <a:cubicBezTo>
                    <a:pt x="4501" y="0"/>
                    <a:pt x="3894" y="334"/>
                    <a:pt x="3573" y="905"/>
                  </a:cubicBezTo>
                  <a:lnTo>
                    <a:pt x="2180" y="3275"/>
                  </a:lnTo>
                  <a:lnTo>
                    <a:pt x="1430" y="3465"/>
                  </a:lnTo>
                  <a:cubicBezTo>
                    <a:pt x="489" y="3703"/>
                    <a:pt x="1" y="4477"/>
                    <a:pt x="1" y="5251"/>
                  </a:cubicBezTo>
                  <a:lnTo>
                    <a:pt x="1" y="6692"/>
                  </a:lnTo>
                  <a:cubicBezTo>
                    <a:pt x="1" y="7180"/>
                    <a:pt x="358" y="7608"/>
                    <a:pt x="810" y="7692"/>
                  </a:cubicBezTo>
                  <a:cubicBezTo>
                    <a:pt x="906" y="8501"/>
                    <a:pt x="1584" y="9132"/>
                    <a:pt x="2418" y="9132"/>
                  </a:cubicBezTo>
                  <a:cubicBezTo>
                    <a:pt x="3251" y="9132"/>
                    <a:pt x="3930" y="8513"/>
                    <a:pt x="4025" y="7728"/>
                  </a:cubicBezTo>
                  <a:lnTo>
                    <a:pt x="9300" y="7728"/>
                  </a:lnTo>
                  <a:cubicBezTo>
                    <a:pt x="9407" y="8525"/>
                    <a:pt x="10085" y="9132"/>
                    <a:pt x="10907" y="9132"/>
                  </a:cubicBezTo>
                  <a:cubicBezTo>
                    <a:pt x="11740" y="9132"/>
                    <a:pt x="12407" y="8513"/>
                    <a:pt x="12514" y="7728"/>
                  </a:cubicBezTo>
                  <a:lnTo>
                    <a:pt x="12824" y="7728"/>
                  </a:lnTo>
                  <a:cubicBezTo>
                    <a:pt x="13395" y="7728"/>
                    <a:pt x="13836" y="7263"/>
                    <a:pt x="13836" y="6716"/>
                  </a:cubicBezTo>
                  <a:lnTo>
                    <a:pt x="13836" y="6299"/>
                  </a:lnTo>
                  <a:cubicBezTo>
                    <a:pt x="13848" y="6096"/>
                    <a:pt x="13776" y="5918"/>
                    <a:pt x="13645" y="5787"/>
                  </a:cubicBezTo>
                  <a:cubicBezTo>
                    <a:pt x="13586" y="5727"/>
                    <a:pt x="13550" y="5656"/>
                    <a:pt x="13550" y="5561"/>
                  </a:cubicBezTo>
                  <a:lnTo>
                    <a:pt x="13550" y="4572"/>
                  </a:lnTo>
                  <a:lnTo>
                    <a:pt x="13788" y="4037"/>
                  </a:lnTo>
                  <a:cubicBezTo>
                    <a:pt x="13872" y="3846"/>
                    <a:pt x="13872" y="3656"/>
                    <a:pt x="13764" y="3501"/>
                  </a:cubicBezTo>
                  <a:cubicBezTo>
                    <a:pt x="13657" y="3334"/>
                    <a:pt x="13479" y="3239"/>
                    <a:pt x="13288" y="3239"/>
                  </a:cubicBezTo>
                  <a:lnTo>
                    <a:pt x="12443" y="3239"/>
                  </a:lnTo>
                  <a:lnTo>
                    <a:pt x="10550" y="727"/>
                  </a:lnTo>
                  <a:cubicBezTo>
                    <a:pt x="10204" y="262"/>
                    <a:pt x="9657" y="0"/>
                    <a:pt x="90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6" name="Google Shape;10166;p58"/>
            <p:cNvSpPr/>
            <p:nvPr/>
          </p:nvSpPr>
          <p:spPr>
            <a:xfrm>
              <a:off x="5779789" y="4416409"/>
              <a:ext cx="52205" cy="51475"/>
            </a:xfrm>
            <a:custGeom>
              <a:avLst/>
              <a:gdLst/>
              <a:ahLst/>
              <a:cxnLst/>
              <a:rect l="l" t="t" r="r" b="b"/>
              <a:pathLst>
                <a:path w="1644" h="1621" extrusionOk="0">
                  <a:moveTo>
                    <a:pt x="811" y="1"/>
                  </a:moveTo>
                  <a:cubicBezTo>
                    <a:pt x="584" y="1"/>
                    <a:pt x="394" y="84"/>
                    <a:pt x="239" y="239"/>
                  </a:cubicBezTo>
                  <a:cubicBezTo>
                    <a:pt x="96" y="382"/>
                    <a:pt x="1" y="596"/>
                    <a:pt x="1" y="799"/>
                  </a:cubicBezTo>
                  <a:cubicBezTo>
                    <a:pt x="1" y="1263"/>
                    <a:pt x="382" y="1620"/>
                    <a:pt x="822" y="1620"/>
                  </a:cubicBezTo>
                  <a:cubicBezTo>
                    <a:pt x="1275" y="1620"/>
                    <a:pt x="1644" y="1263"/>
                    <a:pt x="1644" y="799"/>
                  </a:cubicBezTo>
                  <a:cubicBezTo>
                    <a:pt x="1644" y="739"/>
                    <a:pt x="1632" y="668"/>
                    <a:pt x="1608" y="608"/>
                  </a:cubicBezTo>
                  <a:cubicBezTo>
                    <a:pt x="1557" y="546"/>
                    <a:pt x="1478" y="484"/>
                    <a:pt x="1389" y="484"/>
                  </a:cubicBezTo>
                  <a:cubicBezTo>
                    <a:pt x="1375" y="484"/>
                    <a:pt x="1361" y="486"/>
                    <a:pt x="1346" y="489"/>
                  </a:cubicBezTo>
                  <a:cubicBezTo>
                    <a:pt x="1239" y="525"/>
                    <a:pt x="1168" y="620"/>
                    <a:pt x="1192" y="727"/>
                  </a:cubicBezTo>
                  <a:cubicBezTo>
                    <a:pt x="1203" y="763"/>
                    <a:pt x="1203" y="787"/>
                    <a:pt x="1203" y="822"/>
                  </a:cubicBezTo>
                  <a:cubicBezTo>
                    <a:pt x="1203" y="1037"/>
                    <a:pt x="1025" y="1215"/>
                    <a:pt x="811" y="1215"/>
                  </a:cubicBezTo>
                  <a:cubicBezTo>
                    <a:pt x="584" y="1215"/>
                    <a:pt x="406" y="1037"/>
                    <a:pt x="406" y="822"/>
                  </a:cubicBezTo>
                  <a:cubicBezTo>
                    <a:pt x="406" y="596"/>
                    <a:pt x="584" y="418"/>
                    <a:pt x="811" y="418"/>
                  </a:cubicBezTo>
                  <a:cubicBezTo>
                    <a:pt x="930" y="418"/>
                    <a:pt x="1013" y="322"/>
                    <a:pt x="1013" y="203"/>
                  </a:cubicBezTo>
                  <a:cubicBezTo>
                    <a:pt x="1013" y="84"/>
                    <a:pt x="930" y="1"/>
                    <a:pt x="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7" name="Google Shape;10167;p58"/>
            <p:cNvSpPr/>
            <p:nvPr/>
          </p:nvSpPr>
          <p:spPr>
            <a:xfrm>
              <a:off x="6048627" y="4416409"/>
              <a:ext cx="52205" cy="51856"/>
            </a:xfrm>
            <a:custGeom>
              <a:avLst/>
              <a:gdLst/>
              <a:ahLst/>
              <a:cxnLst/>
              <a:rect l="l" t="t" r="r" b="b"/>
              <a:pathLst>
                <a:path w="1644" h="1633" extrusionOk="0">
                  <a:moveTo>
                    <a:pt x="822" y="1"/>
                  </a:moveTo>
                  <a:cubicBezTo>
                    <a:pt x="596" y="1"/>
                    <a:pt x="405" y="84"/>
                    <a:pt x="238" y="239"/>
                  </a:cubicBezTo>
                  <a:cubicBezTo>
                    <a:pt x="95" y="382"/>
                    <a:pt x="0" y="596"/>
                    <a:pt x="0" y="822"/>
                  </a:cubicBezTo>
                  <a:cubicBezTo>
                    <a:pt x="0" y="1263"/>
                    <a:pt x="381" y="1632"/>
                    <a:pt x="822" y="1632"/>
                  </a:cubicBezTo>
                  <a:cubicBezTo>
                    <a:pt x="1274" y="1632"/>
                    <a:pt x="1643" y="1275"/>
                    <a:pt x="1643" y="822"/>
                  </a:cubicBezTo>
                  <a:cubicBezTo>
                    <a:pt x="1643" y="763"/>
                    <a:pt x="1631" y="680"/>
                    <a:pt x="1608" y="620"/>
                  </a:cubicBezTo>
                  <a:cubicBezTo>
                    <a:pt x="1577" y="548"/>
                    <a:pt x="1492" y="484"/>
                    <a:pt x="1400" y="484"/>
                  </a:cubicBezTo>
                  <a:cubicBezTo>
                    <a:pt x="1386" y="484"/>
                    <a:pt x="1372" y="486"/>
                    <a:pt x="1358" y="489"/>
                  </a:cubicBezTo>
                  <a:cubicBezTo>
                    <a:pt x="1250" y="525"/>
                    <a:pt x="1179" y="620"/>
                    <a:pt x="1215" y="727"/>
                  </a:cubicBezTo>
                  <a:cubicBezTo>
                    <a:pt x="1227" y="763"/>
                    <a:pt x="1227" y="787"/>
                    <a:pt x="1227" y="822"/>
                  </a:cubicBezTo>
                  <a:cubicBezTo>
                    <a:pt x="1227" y="1037"/>
                    <a:pt x="1048" y="1215"/>
                    <a:pt x="822" y="1215"/>
                  </a:cubicBezTo>
                  <a:cubicBezTo>
                    <a:pt x="596" y="1215"/>
                    <a:pt x="417" y="1037"/>
                    <a:pt x="417" y="822"/>
                  </a:cubicBezTo>
                  <a:cubicBezTo>
                    <a:pt x="417" y="596"/>
                    <a:pt x="596" y="418"/>
                    <a:pt x="822" y="418"/>
                  </a:cubicBezTo>
                  <a:cubicBezTo>
                    <a:pt x="941" y="418"/>
                    <a:pt x="1036" y="322"/>
                    <a:pt x="1036" y="203"/>
                  </a:cubicBezTo>
                  <a:cubicBezTo>
                    <a:pt x="1036" y="84"/>
                    <a:pt x="941"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8" name="Google Shape;10168;p58"/>
            <p:cNvSpPr/>
            <p:nvPr/>
          </p:nvSpPr>
          <p:spPr>
            <a:xfrm>
              <a:off x="6000995" y="4365379"/>
              <a:ext cx="122892" cy="58016"/>
            </a:xfrm>
            <a:custGeom>
              <a:avLst/>
              <a:gdLst/>
              <a:ahLst/>
              <a:cxnLst/>
              <a:rect l="l" t="t" r="r" b="b"/>
              <a:pathLst>
                <a:path w="3870" h="1827" extrusionOk="0">
                  <a:moveTo>
                    <a:pt x="2310" y="1"/>
                  </a:moveTo>
                  <a:cubicBezTo>
                    <a:pt x="1810" y="1"/>
                    <a:pt x="1334" y="143"/>
                    <a:pt x="929" y="429"/>
                  </a:cubicBezTo>
                  <a:cubicBezTo>
                    <a:pt x="524" y="715"/>
                    <a:pt x="226" y="1096"/>
                    <a:pt x="48" y="1548"/>
                  </a:cubicBezTo>
                  <a:cubicBezTo>
                    <a:pt x="0" y="1656"/>
                    <a:pt x="60" y="1775"/>
                    <a:pt x="167" y="1810"/>
                  </a:cubicBezTo>
                  <a:cubicBezTo>
                    <a:pt x="192" y="1822"/>
                    <a:pt x="218" y="1827"/>
                    <a:pt x="244" y="1827"/>
                  </a:cubicBezTo>
                  <a:cubicBezTo>
                    <a:pt x="326" y="1827"/>
                    <a:pt x="404" y="1773"/>
                    <a:pt x="441" y="1691"/>
                  </a:cubicBezTo>
                  <a:cubicBezTo>
                    <a:pt x="738" y="917"/>
                    <a:pt x="1488" y="405"/>
                    <a:pt x="2322" y="405"/>
                  </a:cubicBezTo>
                  <a:cubicBezTo>
                    <a:pt x="2774" y="405"/>
                    <a:pt x="3191" y="536"/>
                    <a:pt x="3548" y="798"/>
                  </a:cubicBezTo>
                  <a:cubicBezTo>
                    <a:pt x="3581" y="831"/>
                    <a:pt x="3624" y="846"/>
                    <a:pt x="3667" y="846"/>
                  </a:cubicBezTo>
                  <a:cubicBezTo>
                    <a:pt x="3732" y="846"/>
                    <a:pt x="3798" y="813"/>
                    <a:pt x="3834" y="763"/>
                  </a:cubicBezTo>
                  <a:cubicBezTo>
                    <a:pt x="3870" y="679"/>
                    <a:pt x="3858" y="560"/>
                    <a:pt x="3774" y="489"/>
                  </a:cubicBezTo>
                  <a:cubicBezTo>
                    <a:pt x="3334" y="179"/>
                    <a:pt x="2846"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9" name="Google Shape;10169;p58"/>
            <p:cNvSpPr/>
            <p:nvPr/>
          </p:nvSpPr>
          <p:spPr>
            <a:xfrm>
              <a:off x="5816847" y="4230039"/>
              <a:ext cx="124797" cy="193610"/>
            </a:xfrm>
            <a:custGeom>
              <a:avLst/>
              <a:gdLst/>
              <a:ahLst/>
              <a:cxnLst/>
              <a:rect l="l" t="t" r="r" b="b"/>
              <a:pathLst>
                <a:path w="3930" h="6097" extrusionOk="0">
                  <a:moveTo>
                    <a:pt x="3513" y="417"/>
                  </a:moveTo>
                  <a:lnTo>
                    <a:pt x="3513" y="2441"/>
                  </a:lnTo>
                  <a:lnTo>
                    <a:pt x="822" y="2441"/>
                  </a:lnTo>
                  <a:lnTo>
                    <a:pt x="1834" y="714"/>
                  </a:lnTo>
                  <a:cubicBezTo>
                    <a:pt x="1930" y="524"/>
                    <a:pt x="2144" y="417"/>
                    <a:pt x="2346" y="417"/>
                  </a:cubicBezTo>
                  <a:close/>
                  <a:moveTo>
                    <a:pt x="2346" y="0"/>
                  </a:moveTo>
                  <a:cubicBezTo>
                    <a:pt x="1989" y="0"/>
                    <a:pt x="1644" y="203"/>
                    <a:pt x="1465" y="512"/>
                  </a:cubicBezTo>
                  <a:lnTo>
                    <a:pt x="60" y="2917"/>
                  </a:lnTo>
                  <a:cubicBezTo>
                    <a:pt x="1" y="3024"/>
                    <a:pt x="25" y="3143"/>
                    <a:pt x="132" y="3203"/>
                  </a:cubicBezTo>
                  <a:cubicBezTo>
                    <a:pt x="155" y="3215"/>
                    <a:pt x="203" y="3239"/>
                    <a:pt x="239" y="3239"/>
                  </a:cubicBezTo>
                  <a:cubicBezTo>
                    <a:pt x="310" y="3239"/>
                    <a:pt x="370" y="3203"/>
                    <a:pt x="417" y="3131"/>
                  </a:cubicBezTo>
                  <a:lnTo>
                    <a:pt x="572" y="2846"/>
                  </a:lnTo>
                  <a:lnTo>
                    <a:pt x="3513" y="2846"/>
                  </a:lnTo>
                  <a:lnTo>
                    <a:pt x="3513" y="5882"/>
                  </a:lnTo>
                  <a:cubicBezTo>
                    <a:pt x="3513" y="6001"/>
                    <a:pt x="3596" y="6096"/>
                    <a:pt x="3715" y="6096"/>
                  </a:cubicBezTo>
                  <a:cubicBezTo>
                    <a:pt x="3835" y="6096"/>
                    <a:pt x="3930" y="6001"/>
                    <a:pt x="3930" y="5882"/>
                  </a:cubicBezTo>
                  <a:lnTo>
                    <a:pt x="3930" y="203"/>
                  </a:lnTo>
                  <a:cubicBezTo>
                    <a:pt x="3918" y="95"/>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0" name="Google Shape;10170;p58"/>
            <p:cNvSpPr/>
            <p:nvPr/>
          </p:nvSpPr>
          <p:spPr>
            <a:xfrm>
              <a:off x="5954474" y="4230039"/>
              <a:ext cx="120256" cy="102854"/>
            </a:xfrm>
            <a:custGeom>
              <a:avLst/>
              <a:gdLst/>
              <a:ahLst/>
              <a:cxnLst/>
              <a:rect l="l" t="t" r="r" b="b"/>
              <a:pathLst>
                <a:path w="3787" h="3239" extrusionOk="0">
                  <a:moveTo>
                    <a:pt x="203" y="0"/>
                  </a:moveTo>
                  <a:cubicBezTo>
                    <a:pt x="84" y="0"/>
                    <a:pt x="1" y="95"/>
                    <a:pt x="1" y="214"/>
                  </a:cubicBezTo>
                  <a:lnTo>
                    <a:pt x="1" y="3024"/>
                  </a:lnTo>
                  <a:cubicBezTo>
                    <a:pt x="1" y="3143"/>
                    <a:pt x="84" y="3239"/>
                    <a:pt x="203" y="3239"/>
                  </a:cubicBezTo>
                  <a:cubicBezTo>
                    <a:pt x="322" y="3239"/>
                    <a:pt x="417" y="3143"/>
                    <a:pt x="417" y="3024"/>
                  </a:cubicBezTo>
                  <a:lnTo>
                    <a:pt x="417" y="405"/>
                  </a:lnTo>
                  <a:lnTo>
                    <a:pt x="1977" y="405"/>
                  </a:lnTo>
                  <a:cubicBezTo>
                    <a:pt x="2132" y="405"/>
                    <a:pt x="2322" y="512"/>
                    <a:pt x="2429" y="655"/>
                  </a:cubicBezTo>
                  <a:lnTo>
                    <a:pt x="3287" y="1786"/>
                  </a:lnTo>
                  <a:cubicBezTo>
                    <a:pt x="3346" y="1869"/>
                    <a:pt x="3358" y="1941"/>
                    <a:pt x="3358" y="2024"/>
                  </a:cubicBezTo>
                  <a:cubicBezTo>
                    <a:pt x="3358" y="2250"/>
                    <a:pt x="3180" y="2429"/>
                    <a:pt x="2953" y="2429"/>
                  </a:cubicBezTo>
                  <a:lnTo>
                    <a:pt x="1013" y="2429"/>
                  </a:lnTo>
                  <a:cubicBezTo>
                    <a:pt x="894" y="2429"/>
                    <a:pt x="798" y="2524"/>
                    <a:pt x="798" y="2643"/>
                  </a:cubicBezTo>
                  <a:cubicBezTo>
                    <a:pt x="798" y="2762"/>
                    <a:pt x="882" y="2846"/>
                    <a:pt x="1013" y="2846"/>
                  </a:cubicBezTo>
                  <a:lnTo>
                    <a:pt x="2977" y="2846"/>
                  </a:lnTo>
                  <a:cubicBezTo>
                    <a:pt x="3418" y="2846"/>
                    <a:pt x="3787" y="2489"/>
                    <a:pt x="3787" y="2024"/>
                  </a:cubicBezTo>
                  <a:cubicBezTo>
                    <a:pt x="3787" y="1846"/>
                    <a:pt x="3727" y="1691"/>
                    <a:pt x="3632" y="1536"/>
                  </a:cubicBezTo>
                  <a:lnTo>
                    <a:pt x="2775" y="405"/>
                  </a:lnTo>
                  <a:cubicBezTo>
                    <a:pt x="2584" y="155"/>
                    <a:pt x="2287"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1" name="Google Shape;10171;p58"/>
            <p:cNvSpPr/>
            <p:nvPr/>
          </p:nvSpPr>
          <p:spPr>
            <a:xfrm>
              <a:off x="5876198" y="4333243"/>
              <a:ext cx="39376" cy="13274"/>
            </a:xfrm>
            <a:custGeom>
              <a:avLst/>
              <a:gdLst/>
              <a:ahLst/>
              <a:cxnLst/>
              <a:rect l="l" t="t" r="r" b="b"/>
              <a:pathLst>
                <a:path w="1240" h="418" extrusionOk="0">
                  <a:moveTo>
                    <a:pt x="215" y="1"/>
                  </a:moveTo>
                  <a:cubicBezTo>
                    <a:pt x="96" y="1"/>
                    <a:pt x="1" y="84"/>
                    <a:pt x="1" y="203"/>
                  </a:cubicBezTo>
                  <a:cubicBezTo>
                    <a:pt x="1" y="322"/>
                    <a:pt x="96" y="417"/>
                    <a:pt x="215" y="417"/>
                  </a:cubicBezTo>
                  <a:lnTo>
                    <a:pt x="1025" y="417"/>
                  </a:lnTo>
                  <a:cubicBezTo>
                    <a:pt x="1144" y="417"/>
                    <a:pt x="1239" y="322"/>
                    <a:pt x="1239" y="203"/>
                  </a:cubicBezTo>
                  <a:cubicBezTo>
                    <a:pt x="1239" y="84"/>
                    <a:pt x="1156" y="1"/>
                    <a:pt x="1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2" name="Google Shape;10172;p58"/>
            <p:cNvSpPr/>
            <p:nvPr/>
          </p:nvSpPr>
          <p:spPr>
            <a:xfrm>
              <a:off x="5979433" y="4333243"/>
              <a:ext cx="39344" cy="13274"/>
            </a:xfrm>
            <a:custGeom>
              <a:avLst/>
              <a:gdLst/>
              <a:ahLst/>
              <a:cxnLst/>
              <a:rect l="l" t="t" r="r" b="b"/>
              <a:pathLst>
                <a:path w="1239" h="418" extrusionOk="0">
                  <a:moveTo>
                    <a:pt x="203" y="1"/>
                  </a:moveTo>
                  <a:cubicBezTo>
                    <a:pt x="84" y="1"/>
                    <a:pt x="0" y="84"/>
                    <a:pt x="0" y="203"/>
                  </a:cubicBezTo>
                  <a:cubicBezTo>
                    <a:pt x="0" y="322"/>
                    <a:pt x="84" y="417"/>
                    <a:pt x="203" y="417"/>
                  </a:cubicBezTo>
                  <a:lnTo>
                    <a:pt x="1024" y="417"/>
                  </a:lnTo>
                  <a:cubicBezTo>
                    <a:pt x="1143" y="417"/>
                    <a:pt x="1239" y="322"/>
                    <a:pt x="1239" y="203"/>
                  </a:cubicBezTo>
                  <a:cubicBezTo>
                    <a:pt x="1239" y="84"/>
                    <a:pt x="1143"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3" name="Google Shape;10173;p58"/>
          <p:cNvGrpSpPr/>
          <p:nvPr/>
        </p:nvGrpSpPr>
        <p:grpSpPr>
          <a:xfrm>
            <a:off x="6410063" y="4135124"/>
            <a:ext cx="159950" cy="364516"/>
            <a:chOff x="6410063" y="4135124"/>
            <a:chExt cx="159950" cy="364516"/>
          </a:xfrm>
        </p:grpSpPr>
        <p:sp>
          <p:nvSpPr>
            <p:cNvPr id="10174" name="Google Shape;10174;p58"/>
            <p:cNvSpPr/>
            <p:nvPr/>
          </p:nvSpPr>
          <p:spPr>
            <a:xfrm>
              <a:off x="6493991" y="4299202"/>
              <a:ext cx="36328" cy="200438"/>
            </a:xfrm>
            <a:custGeom>
              <a:avLst/>
              <a:gdLst/>
              <a:ahLst/>
              <a:cxnLst/>
              <a:rect l="l" t="t" r="r" b="b"/>
              <a:pathLst>
                <a:path w="1144" h="6312" extrusionOk="0">
                  <a:moveTo>
                    <a:pt x="965" y="1"/>
                  </a:moveTo>
                  <a:cubicBezTo>
                    <a:pt x="882" y="1"/>
                    <a:pt x="810" y="72"/>
                    <a:pt x="810" y="168"/>
                  </a:cubicBezTo>
                  <a:lnTo>
                    <a:pt x="810" y="5716"/>
                  </a:lnTo>
                  <a:cubicBezTo>
                    <a:pt x="810" y="5847"/>
                    <a:pt x="703" y="5954"/>
                    <a:pt x="584" y="5966"/>
                  </a:cubicBezTo>
                  <a:cubicBezTo>
                    <a:pt x="453" y="5966"/>
                    <a:pt x="334" y="5859"/>
                    <a:pt x="334" y="5728"/>
                  </a:cubicBezTo>
                  <a:lnTo>
                    <a:pt x="334" y="4656"/>
                  </a:lnTo>
                  <a:cubicBezTo>
                    <a:pt x="334" y="4573"/>
                    <a:pt x="251" y="4490"/>
                    <a:pt x="167" y="4490"/>
                  </a:cubicBezTo>
                  <a:cubicBezTo>
                    <a:pt x="72" y="4490"/>
                    <a:pt x="1" y="4573"/>
                    <a:pt x="1" y="4656"/>
                  </a:cubicBezTo>
                  <a:lnTo>
                    <a:pt x="1" y="5728"/>
                  </a:lnTo>
                  <a:cubicBezTo>
                    <a:pt x="1" y="5966"/>
                    <a:pt x="167" y="6192"/>
                    <a:pt x="394" y="6276"/>
                  </a:cubicBezTo>
                  <a:cubicBezTo>
                    <a:pt x="453" y="6299"/>
                    <a:pt x="525" y="6311"/>
                    <a:pt x="596" y="6311"/>
                  </a:cubicBezTo>
                  <a:cubicBezTo>
                    <a:pt x="906" y="6299"/>
                    <a:pt x="1144" y="6037"/>
                    <a:pt x="1144" y="5728"/>
                  </a:cubicBezTo>
                  <a:lnTo>
                    <a:pt x="1144" y="180"/>
                  </a:lnTo>
                  <a:cubicBezTo>
                    <a:pt x="1144" y="72"/>
                    <a:pt x="1072"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5" name="Google Shape;10175;p58"/>
            <p:cNvSpPr/>
            <p:nvPr/>
          </p:nvSpPr>
          <p:spPr>
            <a:xfrm>
              <a:off x="6454297" y="4135124"/>
              <a:ext cx="71099" cy="71131"/>
            </a:xfrm>
            <a:custGeom>
              <a:avLst/>
              <a:gdLst/>
              <a:ahLst/>
              <a:cxnLst/>
              <a:rect l="l" t="t" r="r" b="b"/>
              <a:pathLst>
                <a:path w="2239" h="2240" extrusionOk="0">
                  <a:moveTo>
                    <a:pt x="1120" y="346"/>
                  </a:moveTo>
                  <a:cubicBezTo>
                    <a:pt x="1548" y="346"/>
                    <a:pt x="1894" y="679"/>
                    <a:pt x="1894" y="1120"/>
                  </a:cubicBezTo>
                  <a:cubicBezTo>
                    <a:pt x="1894" y="1548"/>
                    <a:pt x="1548" y="1894"/>
                    <a:pt x="1120" y="1894"/>
                  </a:cubicBezTo>
                  <a:cubicBezTo>
                    <a:pt x="691" y="1894"/>
                    <a:pt x="346" y="1548"/>
                    <a:pt x="346" y="1120"/>
                  </a:cubicBezTo>
                  <a:cubicBezTo>
                    <a:pt x="346" y="679"/>
                    <a:pt x="691" y="346"/>
                    <a:pt x="1120" y="346"/>
                  </a:cubicBezTo>
                  <a:close/>
                  <a:moveTo>
                    <a:pt x="1120" y="1"/>
                  </a:moveTo>
                  <a:cubicBezTo>
                    <a:pt x="513" y="1"/>
                    <a:pt x="1" y="513"/>
                    <a:pt x="1" y="1120"/>
                  </a:cubicBezTo>
                  <a:cubicBezTo>
                    <a:pt x="1" y="1727"/>
                    <a:pt x="513" y="2239"/>
                    <a:pt x="1120" y="2239"/>
                  </a:cubicBezTo>
                  <a:cubicBezTo>
                    <a:pt x="1727" y="2239"/>
                    <a:pt x="2239" y="1727"/>
                    <a:pt x="2239" y="1120"/>
                  </a:cubicBezTo>
                  <a:cubicBezTo>
                    <a:pt x="2239" y="513"/>
                    <a:pt x="1727"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6" name="Google Shape;10176;p58"/>
            <p:cNvSpPr/>
            <p:nvPr/>
          </p:nvSpPr>
          <p:spPr>
            <a:xfrm>
              <a:off x="6410063" y="4252712"/>
              <a:ext cx="94566" cy="246927"/>
            </a:xfrm>
            <a:custGeom>
              <a:avLst/>
              <a:gdLst/>
              <a:ahLst/>
              <a:cxnLst/>
              <a:rect l="l" t="t" r="r" b="b"/>
              <a:pathLst>
                <a:path w="2978" h="7776" extrusionOk="0">
                  <a:moveTo>
                    <a:pt x="1191" y="0"/>
                  </a:moveTo>
                  <a:cubicBezTo>
                    <a:pt x="977" y="0"/>
                    <a:pt x="798" y="179"/>
                    <a:pt x="798" y="393"/>
                  </a:cubicBezTo>
                  <a:lnTo>
                    <a:pt x="798" y="2894"/>
                  </a:lnTo>
                  <a:cubicBezTo>
                    <a:pt x="798" y="3025"/>
                    <a:pt x="691" y="3132"/>
                    <a:pt x="560" y="3132"/>
                  </a:cubicBezTo>
                  <a:cubicBezTo>
                    <a:pt x="429" y="3132"/>
                    <a:pt x="322" y="3025"/>
                    <a:pt x="322" y="2894"/>
                  </a:cubicBezTo>
                  <a:lnTo>
                    <a:pt x="322" y="2275"/>
                  </a:lnTo>
                  <a:cubicBezTo>
                    <a:pt x="322" y="2191"/>
                    <a:pt x="251" y="2120"/>
                    <a:pt x="155" y="2120"/>
                  </a:cubicBezTo>
                  <a:cubicBezTo>
                    <a:pt x="72" y="2120"/>
                    <a:pt x="1" y="2191"/>
                    <a:pt x="1" y="2275"/>
                  </a:cubicBezTo>
                  <a:lnTo>
                    <a:pt x="1" y="2894"/>
                  </a:lnTo>
                  <a:cubicBezTo>
                    <a:pt x="1" y="3203"/>
                    <a:pt x="251" y="3465"/>
                    <a:pt x="572" y="3465"/>
                  </a:cubicBezTo>
                  <a:cubicBezTo>
                    <a:pt x="894" y="3465"/>
                    <a:pt x="1156" y="3215"/>
                    <a:pt x="1156" y="2894"/>
                  </a:cubicBezTo>
                  <a:lnTo>
                    <a:pt x="1156" y="393"/>
                  </a:lnTo>
                  <a:cubicBezTo>
                    <a:pt x="1156" y="358"/>
                    <a:pt x="1191" y="334"/>
                    <a:pt x="1215" y="334"/>
                  </a:cubicBezTo>
                  <a:cubicBezTo>
                    <a:pt x="1251" y="334"/>
                    <a:pt x="1275" y="358"/>
                    <a:pt x="1275" y="393"/>
                  </a:cubicBezTo>
                  <a:lnTo>
                    <a:pt x="1275" y="7192"/>
                  </a:lnTo>
                  <a:cubicBezTo>
                    <a:pt x="1275" y="7501"/>
                    <a:pt x="1525" y="7775"/>
                    <a:pt x="1858" y="7775"/>
                  </a:cubicBezTo>
                  <a:cubicBezTo>
                    <a:pt x="2168" y="7775"/>
                    <a:pt x="2441" y="7513"/>
                    <a:pt x="2441" y="7192"/>
                  </a:cubicBezTo>
                  <a:lnTo>
                    <a:pt x="2441" y="4251"/>
                  </a:lnTo>
                  <a:cubicBezTo>
                    <a:pt x="2441" y="4168"/>
                    <a:pt x="2501" y="4132"/>
                    <a:pt x="2560" y="4132"/>
                  </a:cubicBezTo>
                  <a:cubicBezTo>
                    <a:pt x="2632" y="4132"/>
                    <a:pt x="2680" y="4191"/>
                    <a:pt x="2680" y="4251"/>
                  </a:cubicBezTo>
                  <a:lnTo>
                    <a:pt x="2644" y="5442"/>
                  </a:lnTo>
                  <a:cubicBezTo>
                    <a:pt x="2644" y="5525"/>
                    <a:pt x="2715" y="5596"/>
                    <a:pt x="2810" y="5596"/>
                  </a:cubicBezTo>
                  <a:cubicBezTo>
                    <a:pt x="2894" y="5596"/>
                    <a:pt x="2977" y="5525"/>
                    <a:pt x="2977" y="5442"/>
                  </a:cubicBezTo>
                  <a:lnTo>
                    <a:pt x="2977" y="4251"/>
                  </a:lnTo>
                  <a:cubicBezTo>
                    <a:pt x="2977" y="3989"/>
                    <a:pt x="2763" y="3787"/>
                    <a:pt x="2513" y="3787"/>
                  </a:cubicBezTo>
                  <a:cubicBezTo>
                    <a:pt x="2263" y="3787"/>
                    <a:pt x="2048" y="3989"/>
                    <a:pt x="2048" y="4251"/>
                  </a:cubicBezTo>
                  <a:lnTo>
                    <a:pt x="2048" y="7192"/>
                  </a:lnTo>
                  <a:cubicBezTo>
                    <a:pt x="2048" y="7323"/>
                    <a:pt x="1941" y="7430"/>
                    <a:pt x="1810" y="7430"/>
                  </a:cubicBezTo>
                  <a:cubicBezTo>
                    <a:pt x="1679" y="7430"/>
                    <a:pt x="1572" y="7323"/>
                    <a:pt x="1572" y="7192"/>
                  </a:cubicBezTo>
                  <a:lnTo>
                    <a:pt x="1572" y="393"/>
                  </a:lnTo>
                  <a:cubicBezTo>
                    <a:pt x="1572" y="179"/>
                    <a:pt x="1394" y="0"/>
                    <a:pt x="1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7" name="Google Shape;10177;p58"/>
            <p:cNvSpPr/>
            <p:nvPr/>
          </p:nvSpPr>
          <p:spPr>
            <a:xfrm>
              <a:off x="6410063" y="4212638"/>
              <a:ext cx="159950" cy="150519"/>
            </a:xfrm>
            <a:custGeom>
              <a:avLst/>
              <a:gdLst/>
              <a:ahLst/>
              <a:cxnLst/>
              <a:rect l="l" t="t" r="r" b="b"/>
              <a:pathLst>
                <a:path w="5037" h="4740" extrusionOk="0">
                  <a:moveTo>
                    <a:pt x="1429" y="0"/>
                  </a:moveTo>
                  <a:cubicBezTo>
                    <a:pt x="632" y="0"/>
                    <a:pt x="1" y="643"/>
                    <a:pt x="1" y="1429"/>
                  </a:cubicBezTo>
                  <a:lnTo>
                    <a:pt x="1" y="2858"/>
                  </a:lnTo>
                  <a:cubicBezTo>
                    <a:pt x="1" y="2953"/>
                    <a:pt x="72" y="3025"/>
                    <a:pt x="155" y="3025"/>
                  </a:cubicBezTo>
                  <a:cubicBezTo>
                    <a:pt x="251" y="3025"/>
                    <a:pt x="322" y="2953"/>
                    <a:pt x="322" y="2858"/>
                  </a:cubicBezTo>
                  <a:lnTo>
                    <a:pt x="322" y="1429"/>
                  </a:lnTo>
                  <a:cubicBezTo>
                    <a:pt x="322" y="822"/>
                    <a:pt x="810" y="334"/>
                    <a:pt x="1429" y="334"/>
                  </a:cubicBezTo>
                  <a:lnTo>
                    <a:pt x="3608" y="334"/>
                  </a:lnTo>
                  <a:cubicBezTo>
                    <a:pt x="4227" y="334"/>
                    <a:pt x="4715" y="822"/>
                    <a:pt x="4715" y="1429"/>
                  </a:cubicBezTo>
                  <a:lnTo>
                    <a:pt x="4715" y="4144"/>
                  </a:lnTo>
                  <a:cubicBezTo>
                    <a:pt x="4715" y="4275"/>
                    <a:pt x="4608" y="4382"/>
                    <a:pt x="4489" y="4394"/>
                  </a:cubicBezTo>
                  <a:cubicBezTo>
                    <a:pt x="4358" y="4394"/>
                    <a:pt x="4239" y="4287"/>
                    <a:pt x="4239" y="4156"/>
                  </a:cubicBezTo>
                  <a:lnTo>
                    <a:pt x="4239" y="1655"/>
                  </a:lnTo>
                  <a:cubicBezTo>
                    <a:pt x="4239" y="1441"/>
                    <a:pt x="4061" y="1262"/>
                    <a:pt x="3846" y="1262"/>
                  </a:cubicBezTo>
                  <a:cubicBezTo>
                    <a:pt x="3644" y="1262"/>
                    <a:pt x="3465" y="1441"/>
                    <a:pt x="3465" y="1655"/>
                  </a:cubicBezTo>
                  <a:lnTo>
                    <a:pt x="3465" y="2239"/>
                  </a:lnTo>
                  <a:cubicBezTo>
                    <a:pt x="3465" y="2322"/>
                    <a:pt x="3537" y="2394"/>
                    <a:pt x="3632" y="2394"/>
                  </a:cubicBezTo>
                  <a:cubicBezTo>
                    <a:pt x="3715" y="2394"/>
                    <a:pt x="3787" y="2322"/>
                    <a:pt x="3787" y="2239"/>
                  </a:cubicBezTo>
                  <a:lnTo>
                    <a:pt x="3787" y="1655"/>
                  </a:lnTo>
                  <a:cubicBezTo>
                    <a:pt x="3787" y="1620"/>
                    <a:pt x="3814" y="1602"/>
                    <a:pt x="3840" y="1602"/>
                  </a:cubicBezTo>
                  <a:cubicBezTo>
                    <a:pt x="3867" y="1602"/>
                    <a:pt x="3894" y="1620"/>
                    <a:pt x="3894" y="1655"/>
                  </a:cubicBezTo>
                  <a:lnTo>
                    <a:pt x="3894" y="4156"/>
                  </a:lnTo>
                  <a:cubicBezTo>
                    <a:pt x="3894" y="4382"/>
                    <a:pt x="4049" y="4596"/>
                    <a:pt x="4251" y="4691"/>
                  </a:cubicBezTo>
                  <a:cubicBezTo>
                    <a:pt x="4323" y="4715"/>
                    <a:pt x="4406" y="4739"/>
                    <a:pt x="4489" y="4739"/>
                  </a:cubicBezTo>
                  <a:cubicBezTo>
                    <a:pt x="4799" y="4715"/>
                    <a:pt x="5037" y="4465"/>
                    <a:pt x="5037" y="4156"/>
                  </a:cubicBezTo>
                  <a:lnTo>
                    <a:pt x="5037" y="1429"/>
                  </a:lnTo>
                  <a:cubicBezTo>
                    <a:pt x="5037" y="643"/>
                    <a:pt x="4406"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78" name="Google Shape;10178;p58"/>
          <p:cNvGrpSpPr/>
          <p:nvPr/>
        </p:nvGrpSpPr>
        <p:grpSpPr>
          <a:xfrm>
            <a:off x="6924652" y="4135505"/>
            <a:ext cx="214378" cy="364135"/>
            <a:chOff x="6924652" y="4135505"/>
            <a:chExt cx="214378" cy="364135"/>
          </a:xfrm>
        </p:grpSpPr>
        <p:sp>
          <p:nvSpPr>
            <p:cNvPr id="10179" name="Google Shape;10179;p58"/>
            <p:cNvSpPr/>
            <p:nvPr/>
          </p:nvSpPr>
          <p:spPr>
            <a:xfrm>
              <a:off x="6996482" y="4135505"/>
              <a:ext cx="70718" cy="71099"/>
            </a:xfrm>
            <a:custGeom>
              <a:avLst/>
              <a:gdLst/>
              <a:ahLst/>
              <a:cxnLst/>
              <a:rect l="l" t="t" r="r" b="b"/>
              <a:pathLst>
                <a:path w="2227" h="2239" extrusionOk="0">
                  <a:moveTo>
                    <a:pt x="1119" y="346"/>
                  </a:moveTo>
                  <a:cubicBezTo>
                    <a:pt x="1548" y="346"/>
                    <a:pt x="1893" y="691"/>
                    <a:pt x="1893" y="1120"/>
                  </a:cubicBezTo>
                  <a:cubicBezTo>
                    <a:pt x="1893" y="1548"/>
                    <a:pt x="1548" y="1894"/>
                    <a:pt x="1119" y="1894"/>
                  </a:cubicBezTo>
                  <a:cubicBezTo>
                    <a:pt x="679" y="1894"/>
                    <a:pt x="345" y="1548"/>
                    <a:pt x="345" y="1120"/>
                  </a:cubicBezTo>
                  <a:cubicBezTo>
                    <a:pt x="345" y="691"/>
                    <a:pt x="703" y="346"/>
                    <a:pt x="1119" y="346"/>
                  </a:cubicBezTo>
                  <a:close/>
                  <a:moveTo>
                    <a:pt x="1119" y="1"/>
                  </a:moveTo>
                  <a:cubicBezTo>
                    <a:pt x="500" y="1"/>
                    <a:pt x="0" y="513"/>
                    <a:pt x="0" y="1120"/>
                  </a:cubicBezTo>
                  <a:cubicBezTo>
                    <a:pt x="12" y="1727"/>
                    <a:pt x="500" y="2239"/>
                    <a:pt x="1119" y="2239"/>
                  </a:cubicBezTo>
                  <a:cubicBezTo>
                    <a:pt x="1727" y="2239"/>
                    <a:pt x="2227" y="1727"/>
                    <a:pt x="2227" y="1120"/>
                  </a:cubicBezTo>
                  <a:cubicBezTo>
                    <a:pt x="2227" y="513"/>
                    <a:pt x="1727" y="1"/>
                    <a:pt x="1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0" name="Google Shape;10180;p58"/>
            <p:cNvSpPr/>
            <p:nvPr/>
          </p:nvSpPr>
          <p:spPr>
            <a:xfrm>
              <a:off x="7018012" y="4345183"/>
              <a:ext cx="88882" cy="154456"/>
            </a:xfrm>
            <a:custGeom>
              <a:avLst/>
              <a:gdLst/>
              <a:ahLst/>
              <a:cxnLst/>
              <a:rect l="l" t="t" r="r" b="b"/>
              <a:pathLst>
                <a:path w="2799" h="4864" extrusionOk="0">
                  <a:moveTo>
                    <a:pt x="2293" y="0"/>
                  </a:moveTo>
                  <a:cubicBezTo>
                    <a:pt x="2280" y="0"/>
                    <a:pt x="2266" y="2"/>
                    <a:pt x="2251" y="6"/>
                  </a:cubicBezTo>
                  <a:cubicBezTo>
                    <a:pt x="2168" y="41"/>
                    <a:pt x="2108" y="125"/>
                    <a:pt x="2132" y="220"/>
                  </a:cubicBezTo>
                  <a:lnTo>
                    <a:pt x="2358" y="1077"/>
                  </a:lnTo>
                  <a:lnTo>
                    <a:pt x="1549" y="1077"/>
                  </a:lnTo>
                  <a:cubicBezTo>
                    <a:pt x="1465" y="1077"/>
                    <a:pt x="1394" y="1160"/>
                    <a:pt x="1394" y="1244"/>
                  </a:cubicBezTo>
                  <a:lnTo>
                    <a:pt x="1394" y="4280"/>
                  </a:lnTo>
                  <a:cubicBezTo>
                    <a:pt x="1394" y="4411"/>
                    <a:pt x="1287" y="4518"/>
                    <a:pt x="1156" y="4518"/>
                  </a:cubicBezTo>
                  <a:cubicBezTo>
                    <a:pt x="1013" y="4518"/>
                    <a:pt x="918" y="4411"/>
                    <a:pt x="918" y="4280"/>
                  </a:cubicBezTo>
                  <a:lnTo>
                    <a:pt x="918" y="1244"/>
                  </a:lnTo>
                  <a:cubicBezTo>
                    <a:pt x="918" y="1160"/>
                    <a:pt x="834" y="1077"/>
                    <a:pt x="751" y="1077"/>
                  </a:cubicBezTo>
                  <a:lnTo>
                    <a:pt x="168" y="1077"/>
                  </a:lnTo>
                  <a:cubicBezTo>
                    <a:pt x="84" y="1077"/>
                    <a:pt x="1" y="1160"/>
                    <a:pt x="1" y="1244"/>
                  </a:cubicBezTo>
                  <a:lnTo>
                    <a:pt x="1" y="2482"/>
                  </a:lnTo>
                  <a:cubicBezTo>
                    <a:pt x="1" y="2565"/>
                    <a:pt x="84" y="2649"/>
                    <a:pt x="168" y="2649"/>
                  </a:cubicBezTo>
                  <a:cubicBezTo>
                    <a:pt x="263" y="2649"/>
                    <a:pt x="334" y="2565"/>
                    <a:pt x="334" y="2482"/>
                  </a:cubicBezTo>
                  <a:lnTo>
                    <a:pt x="334" y="1422"/>
                  </a:lnTo>
                  <a:lnTo>
                    <a:pt x="584" y="1422"/>
                  </a:lnTo>
                  <a:lnTo>
                    <a:pt x="584" y="4280"/>
                  </a:lnTo>
                  <a:cubicBezTo>
                    <a:pt x="584" y="4589"/>
                    <a:pt x="834" y="4863"/>
                    <a:pt x="1168" y="4863"/>
                  </a:cubicBezTo>
                  <a:cubicBezTo>
                    <a:pt x="1477" y="4863"/>
                    <a:pt x="1751" y="4601"/>
                    <a:pt x="1751" y="4280"/>
                  </a:cubicBezTo>
                  <a:lnTo>
                    <a:pt x="1751" y="1422"/>
                  </a:lnTo>
                  <a:lnTo>
                    <a:pt x="2608" y="1422"/>
                  </a:lnTo>
                  <a:cubicBezTo>
                    <a:pt x="2715" y="1422"/>
                    <a:pt x="2799" y="1315"/>
                    <a:pt x="2775" y="1208"/>
                  </a:cubicBezTo>
                  <a:lnTo>
                    <a:pt x="2465" y="125"/>
                  </a:lnTo>
                  <a:cubicBezTo>
                    <a:pt x="2435" y="54"/>
                    <a:pt x="2370" y="0"/>
                    <a:pt x="2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1" name="Google Shape;10181;p58"/>
            <p:cNvSpPr/>
            <p:nvPr/>
          </p:nvSpPr>
          <p:spPr>
            <a:xfrm>
              <a:off x="6948850" y="4212638"/>
              <a:ext cx="190181" cy="149884"/>
            </a:xfrm>
            <a:custGeom>
              <a:avLst/>
              <a:gdLst/>
              <a:ahLst/>
              <a:cxnLst/>
              <a:rect l="l" t="t" r="r" b="b"/>
              <a:pathLst>
                <a:path w="5989" h="4720" extrusionOk="0">
                  <a:moveTo>
                    <a:pt x="1548" y="0"/>
                  </a:moveTo>
                  <a:cubicBezTo>
                    <a:pt x="917" y="0"/>
                    <a:pt x="369" y="417"/>
                    <a:pt x="179" y="1012"/>
                  </a:cubicBezTo>
                  <a:lnTo>
                    <a:pt x="179" y="1024"/>
                  </a:lnTo>
                  <a:lnTo>
                    <a:pt x="24" y="1596"/>
                  </a:lnTo>
                  <a:cubicBezTo>
                    <a:pt x="0" y="1679"/>
                    <a:pt x="60" y="1774"/>
                    <a:pt x="143" y="1798"/>
                  </a:cubicBezTo>
                  <a:cubicBezTo>
                    <a:pt x="160" y="1805"/>
                    <a:pt x="177" y="1809"/>
                    <a:pt x="194" y="1809"/>
                  </a:cubicBezTo>
                  <a:cubicBezTo>
                    <a:pt x="262" y="1809"/>
                    <a:pt x="329" y="1755"/>
                    <a:pt x="357" y="1679"/>
                  </a:cubicBezTo>
                  <a:lnTo>
                    <a:pt x="500" y="1132"/>
                  </a:lnTo>
                  <a:lnTo>
                    <a:pt x="500" y="1120"/>
                  </a:lnTo>
                  <a:cubicBezTo>
                    <a:pt x="631" y="655"/>
                    <a:pt x="1072" y="334"/>
                    <a:pt x="1548" y="334"/>
                  </a:cubicBezTo>
                  <a:lnTo>
                    <a:pt x="3727" y="334"/>
                  </a:lnTo>
                  <a:cubicBezTo>
                    <a:pt x="4203" y="334"/>
                    <a:pt x="4643" y="655"/>
                    <a:pt x="4774" y="1120"/>
                  </a:cubicBezTo>
                  <a:lnTo>
                    <a:pt x="4774" y="1132"/>
                  </a:lnTo>
                  <a:lnTo>
                    <a:pt x="5596" y="4084"/>
                  </a:lnTo>
                  <a:cubicBezTo>
                    <a:pt x="5620" y="4191"/>
                    <a:pt x="5548" y="4334"/>
                    <a:pt x="5429" y="4382"/>
                  </a:cubicBezTo>
                  <a:cubicBezTo>
                    <a:pt x="5414" y="4385"/>
                    <a:pt x="5398" y="4386"/>
                    <a:pt x="5383" y="4386"/>
                  </a:cubicBezTo>
                  <a:cubicBezTo>
                    <a:pt x="5278" y="4386"/>
                    <a:pt x="5173" y="4319"/>
                    <a:pt x="5132" y="4215"/>
                  </a:cubicBezTo>
                  <a:lnTo>
                    <a:pt x="4382" y="1560"/>
                  </a:lnTo>
                  <a:cubicBezTo>
                    <a:pt x="4346" y="1405"/>
                    <a:pt x="4179" y="1286"/>
                    <a:pt x="4012" y="1286"/>
                  </a:cubicBezTo>
                  <a:cubicBezTo>
                    <a:pt x="3762" y="1286"/>
                    <a:pt x="3572" y="1524"/>
                    <a:pt x="3631" y="1774"/>
                  </a:cubicBezTo>
                  <a:lnTo>
                    <a:pt x="4131" y="3751"/>
                  </a:lnTo>
                  <a:cubicBezTo>
                    <a:pt x="4161" y="3830"/>
                    <a:pt x="4223" y="3876"/>
                    <a:pt x="4298" y="3876"/>
                  </a:cubicBezTo>
                  <a:cubicBezTo>
                    <a:pt x="4313" y="3876"/>
                    <a:pt x="4329" y="3874"/>
                    <a:pt x="4346" y="3870"/>
                  </a:cubicBezTo>
                  <a:cubicBezTo>
                    <a:pt x="4429" y="3834"/>
                    <a:pt x="4489" y="3751"/>
                    <a:pt x="4465" y="3656"/>
                  </a:cubicBezTo>
                  <a:lnTo>
                    <a:pt x="3953" y="1679"/>
                  </a:lnTo>
                  <a:cubicBezTo>
                    <a:pt x="3946" y="1637"/>
                    <a:pt x="3980" y="1607"/>
                    <a:pt x="4012" y="1607"/>
                  </a:cubicBezTo>
                  <a:cubicBezTo>
                    <a:pt x="4034" y="1607"/>
                    <a:pt x="4055" y="1621"/>
                    <a:pt x="4060" y="1655"/>
                  </a:cubicBezTo>
                  <a:lnTo>
                    <a:pt x="4798" y="4299"/>
                  </a:lnTo>
                  <a:cubicBezTo>
                    <a:pt x="4879" y="4552"/>
                    <a:pt x="5116" y="4719"/>
                    <a:pt x="5368" y="4719"/>
                  </a:cubicBezTo>
                  <a:cubicBezTo>
                    <a:pt x="5412" y="4719"/>
                    <a:pt x="5456" y="4714"/>
                    <a:pt x="5501" y="4703"/>
                  </a:cubicBezTo>
                  <a:cubicBezTo>
                    <a:pt x="5810" y="4620"/>
                    <a:pt x="5989" y="4287"/>
                    <a:pt x="5917" y="3989"/>
                  </a:cubicBezTo>
                  <a:lnTo>
                    <a:pt x="5096" y="1024"/>
                  </a:lnTo>
                  <a:lnTo>
                    <a:pt x="5096" y="1012"/>
                  </a:lnTo>
                  <a:cubicBezTo>
                    <a:pt x="4917" y="417"/>
                    <a:pt x="4358" y="0"/>
                    <a:pt x="3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2" name="Google Shape;10182;p58"/>
            <p:cNvSpPr/>
            <p:nvPr/>
          </p:nvSpPr>
          <p:spPr>
            <a:xfrm>
              <a:off x="6924652" y="4252331"/>
              <a:ext cx="103617" cy="245815"/>
            </a:xfrm>
            <a:custGeom>
              <a:avLst/>
              <a:gdLst/>
              <a:ahLst/>
              <a:cxnLst/>
              <a:rect l="l" t="t" r="r" b="b"/>
              <a:pathLst>
                <a:path w="3263" h="7741" extrusionOk="0">
                  <a:moveTo>
                    <a:pt x="1988" y="1"/>
                  </a:moveTo>
                  <a:cubicBezTo>
                    <a:pt x="1810" y="1"/>
                    <a:pt x="1667" y="120"/>
                    <a:pt x="1619" y="286"/>
                  </a:cubicBezTo>
                  <a:lnTo>
                    <a:pt x="881" y="2930"/>
                  </a:lnTo>
                  <a:cubicBezTo>
                    <a:pt x="851" y="3030"/>
                    <a:pt x="754" y="3105"/>
                    <a:pt x="645" y="3105"/>
                  </a:cubicBezTo>
                  <a:cubicBezTo>
                    <a:pt x="625" y="3105"/>
                    <a:pt x="604" y="3102"/>
                    <a:pt x="583" y="3096"/>
                  </a:cubicBezTo>
                  <a:cubicBezTo>
                    <a:pt x="464" y="3072"/>
                    <a:pt x="381" y="2930"/>
                    <a:pt x="417" y="2799"/>
                  </a:cubicBezTo>
                  <a:lnTo>
                    <a:pt x="905" y="1048"/>
                  </a:lnTo>
                  <a:cubicBezTo>
                    <a:pt x="941" y="953"/>
                    <a:pt x="881" y="870"/>
                    <a:pt x="786" y="834"/>
                  </a:cubicBezTo>
                  <a:cubicBezTo>
                    <a:pt x="773" y="830"/>
                    <a:pt x="760" y="829"/>
                    <a:pt x="748" y="829"/>
                  </a:cubicBezTo>
                  <a:cubicBezTo>
                    <a:pt x="675" y="829"/>
                    <a:pt x="604" y="882"/>
                    <a:pt x="583" y="953"/>
                  </a:cubicBezTo>
                  <a:lnTo>
                    <a:pt x="83" y="2715"/>
                  </a:lnTo>
                  <a:cubicBezTo>
                    <a:pt x="0" y="3013"/>
                    <a:pt x="191" y="3334"/>
                    <a:pt x="488" y="3406"/>
                  </a:cubicBezTo>
                  <a:cubicBezTo>
                    <a:pt x="541" y="3423"/>
                    <a:pt x="594" y="3430"/>
                    <a:pt x="647" y="3430"/>
                  </a:cubicBezTo>
                  <a:cubicBezTo>
                    <a:pt x="895" y="3430"/>
                    <a:pt x="1132" y="3258"/>
                    <a:pt x="1191" y="3013"/>
                  </a:cubicBezTo>
                  <a:lnTo>
                    <a:pt x="1929" y="358"/>
                  </a:lnTo>
                  <a:cubicBezTo>
                    <a:pt x="1938" y="329"/>
                    <a:pt x="1964" y="315"/>
                    <a:pt x="1988" y="315"/>
                  </a:cubicBezTo>
                  <a:cubicBezTo>
                    <a:pt x="2024" y="315"/>
                    <a:pt x="2057" y="344"/>
                    <a:pt x="2036" y="393"/>
                  </a:cubicBezTo>
                  <a:lnTo>
                    <a:pt x="1083" y="4096"/>
                  </a:lnTo>
                  <a:cubicBezTo>
                    <a:pt x="1060" y="4203"/>
                    <a:pt x="1143" y="4299"/>
                    <a:pt x="1250" y="4299"/>
                  </a:cubicBezTo>
                  <a:lnTo>
                    <a:pt x="2107" y="4299"/>
                  </a:lnTo>
                  <a:lnTo>
                    <a:pt x="2107" y="7156"/>
                  </a:lnTo>
                  <a:cubicBezTo>
                    <a:pt x="2107" y="7478"/>
                    <a:pt x="2346" y="7728"/>
                    <a:pt x="2667" y="7740"/>
                  </a:cubicBezTo>
                  <a:cubicBezTo>
                    <a:pt x="2676" y="7740"/>
                    <a:pt x="2684" y="7740"/>
                    <a:pt x="2693" y="7740"/>
                  </a:cubicBezTo>
                  <a:cubicBezTo>
                    <a:pt x="2922" y="7740"/>
                    <a:pt x="3146" y="7589"/>
                    <a:pt x="3227" y="7371"/>
                  </a:cubicBezTo>
                  <a:cubicBezTo>
                    <a:pt x="3262" y="7311"/>
                    <a:pt x="3262" y="7240"/>
                    <a:pt x="3262" y="7156"/>
                  </a:cubicBezTo>
                  <a:lnTo>
                    <a:pt x="3262" y="6025"/>
                  </a:lnTo>
                  <a:cubicBezTo>
                    <a:pt x="3262" y="5966"/>
                    <a:pt x="3179" y="5894"/>
                    <a:pt x="3096" y="5894"/>
                  </a:cubicBezTo>
                  <a:cubicBezTo>
                    <a:pt x="3000" y="5894"/>
                    <a:pt x="2929" y="5966"/>
                    <a:pt x="2929" y="6061"/>
                  </a:cubicBezTo>
                  <a:lnTo>
                    <a:pt x="2929" y="7192"/>
                  </a:lnTo>
                  <a:cubicBezTo>
                    <a:pt x="2929" y="7323"/>
                    <a:pt x="2810" y="7430"/>
                    <a:pt x="2679" y="7430"/>
                  </a:cubicBezTo>
                  <a:cubicBezTo>
                    <a:pt x="2560" y="7430"/>
                    <a:pt x="2453" y="7311"/>
                    <a:pt x="2453" y="7180"/>
                  </a:cubicBezTo>
                  <a:lnTo>
                    <a:pt x="2453" y="4156"/>
                  </a:lnTo>
                  <a:cubicBezTo>
                    <a:pt x="2453" y="4061"/>
                    <a:pt x="2381" y="3989"/>
                    <a:pt x="2286" y="3989"/>
                  </a:cubicBezTo>
                  <a:lnTo>
                    <a:pt x="1488" y="3989"/>
                  </a:lnTo>
                  <a:lnTo>
                    <a:pt x="2381" y="489"/>
                  </a:lnTo>
                  <a:cubicBezTo>
                    <a:pt x="2441" y="251"/>
                    <a:pt x="2250" y="1"/>
                    <a:pt x="19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183" name="Google Shape;10183;p58"/>
          <p:cNvGrpSpPr/>
          <p:nvPr/>
        </p:nvGrpSpPr>
        <p:grpSpPr>
          <a:xfrm>
            <a:off x="7384751" y="4147984"/>
            <a:ext cx="380012" cy="351274"/>
            <a:chOff x="7384751" y="4147984"/>
            <a:chExt cx="380012" cy="351274"/>
          </a:xfrm>
        </p:grpSpPr>
        <p:sp>
          <p:nvSpPr>
            <p:cNvPr id="10184" name="Google Shape;10184;p58"/>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5" name="Google Shape;10185;p58"/>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6" name="Google Shape;10186;p58"/>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7" name="Google Shape;10187;p58"/>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8" name="Google Shape;10188;p58"/>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Shape 10192"/>
        <p:cNvGrpSpPr/>
        <p:nvPr/>
      </p:nvGrpSpPr>
      <p:grpSpPr>
        <a:xfrm>
          <a:off x="0" y="0"/>
          <a:ext cx="0" cy="0"/>
          <a:chOff x="0" y="0"/>
          <a:chExt cx="0" cy="0"/>
        </a:xfrm>
      </p:grpSpPr>
      <p:sp>
        <p:nvSpPr>
          <p:cNvPr id="10193" name="Google Shape;10193;p59"/>
          <p:cNvSpPr txBox="1">
            <a:spLocks noGrp="1"/>
          </p:cNvSpPr>
          <p:nvPr>
            <p:ph type="title" idx="4294967295"/>
          </p:nvPr>
        </p:nvSpPr>
        <p:spPr>
          <a:xfrm>
            <a:off x="849675"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194" name="Google Shape;10194;p59"/>
          <p:cNvSpPr txBox="1">
            <a:spLocks noGrp="1"/>
          </p:cNvSpPr>
          <p:nvPr>
            <p:ph type="title" idx="4294967295"/>
          </p:nvPr>
        </p:nvSpPr>
        <p:spPr>
          <a:xfrm>
            <a:off x="4858400" y="94792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grpSp>
        <p:nvGrpSpPr>
          <p:cNvPr id="10195" name="Google Shape;10195;p59"/>
          <p:cNvGrpSpPr/>
          <p:nvPr/>
        </p:nvGrpSpPr>
        <p:grpSpPr>
          <a:xfrm>
            <a:off x="1989449" y="4282269"/>
            <a:ext cx="374774" cy="346073"/>
            <a:chOff x="1989449" y="4282269"/>
            <a:chExt cx="374774" cy="346073"/>
          </a:xfrm>
        </p:grpSpPr>
        <p:sp>
          <p:nvSpPr>
            <p:cNvPr id="10196" name="Google Shape;10196;p59"/>
            <p:cNvSpPr/>
            <p:nvPr/>
          </p:nvSpPr>
          <p:spPr>
            <a:xfrm>
              <a:off x="2067590" y="4506432"/>
              <a:ext cx="78172" cy="70941"/>
            </a:xfrm>
            <a:custGeom>
              <a:avLst/>
              <a:gdLst/>
              <a:ahLst/>
              <a:cxnLst/>
              <a:rect l="l" t="t" r="r" b="b"/>
              <a:pathLst>
                <a:path w="2454" h="2227" extrusionOk="0">
                  <a:moveTo>
                    <a:pt x="1231" y="325"/>
                  </a:moveTo>
                  <a:cubicBezTo>
                    <a:pt x="1435" y="325"/>
                    <a:pt x="1638" y="399"/>
                    <a:pt x="1786" y="548"/>
                  </a:cubicBezTo>
                  <a:cubicBezTo>
                    <a:pt x="2096" y="857"/>
                    <a:pt x="2096" y="1369"/>
                    <a:pt x="1786" y="1667"/>
                  </a:cubicBezTo>
                  <a:cubicBezTo>
                    <a:pt x="1626" y="1822"/>
                    <a:pt x="1420" y="1899"/>
                    <a:pt x="1218" y="1899"/>
                  </a:cubicBezTo>
                  <a:cubicBezTo>
                    <a:pt x="1016" y="1899"/>
                    <a:pt x="816" y="1822"/>
                    <a:pt x="667" y="1667"/>
                  </a:cubicBezTo>
                  <a:cubicBezTo>
                    <a:pt x="358" y="1357"/>
                    <a:pt x="358" y="845"/>
                    <a:pt x="667" y="548"/>
                  </a:cubicBezTo>
                  <a:cubicBezTo>
                    <a:pt x="822" y="399"/>
                    <a:pt x="1027" y="325"/>
                    <a:pt x="1231" y="325"/>
                  </a:cubicBezTo>
                  <a:close/>
                  <a:moveTo>
                    <a:pt x="1237" y="0"/>
                  </a:moveTo>
                  <a:cubicBezTo>
                    <a:pt x="950" y="0"/>
                    <a:pt x="661" y="107"/>
                    <a:pt x="441" y="322"/>
                  </a:cubicBezTo>
                  <a:cubicBezTo>
                    <a:pt x="1" y="762"/>
                    <a:pt x="1" y="1476"/>
                    <a:pt x="441" y="1905"/>
                  </a:cubicBezTo>
                  <a:cubicBezTo>
                    <a:pt x="655" y="2119"/>
                    <a:pt x="944" y="2227"/>
                    <a:pt x="1233" y="2227"/>
                  </a:cubicBezTo>
                  <a:cubicBezTo>
                    <a:pt x="1522" y="2227"/>
                    <a:pt x="1810" y="2119"/>
                    <a:pt x="2025" y="1905"/>
                  </a:cubicBezTo>
                  <a:cubicBezTo>
                    <a:pt x="2453" y="1476"/>
                    <a:pt x="2453" y="762"/>
                    <a:pt x="2025" y="322"/>
                  </a:cubicBezTo>
                  <a:cubicBezTo>
                    <a:pt x="1810" y="107"/>
                    <a:pt x="1525" y="0"/>
                    <a:pt x="12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7" name="Google Shape;10197;p59"/>
            <p:cNvSpPr/>
            <p:nvPr/>
          </p:nvSpPr>
          <p:spPr>
            <a:xfrm>
              <a:off x="2036117" y="4422972"/>
              <a:ext cx="77790" cy="70973"/>
            </a:xfrm>
            <a:custGeom>
              <a:avLst/>
              <a:gdLst/>
              <a:ahLst/>
              <a:cxnLst/>
              <a:rect l="l" t="t" r="r" b="b"/>
              <a:pathLst>
                <a:path w="2442" h="2228" extrusionOk="0">
                  <a:moveTo>
                    <a:pt x="1224" y="328"/>
                  </a:moveTo>
                  <a:cubicBezTo>
                    <a:pt x="1426" y="328"/>
                    <a:pt x="1626" y="406"/>
                    <a:pt x="1774" y="560"/>
                  </a:cubicBezTo>
                  <a:cubicBezTo>
                    <a:pt x="2084" y="882"/>
                    <a:pt x="2084" y="1382"/>
                    <a:pt x="1774" y="1680"/>
                  </a:cubicBezTo>
                  <a:cubicBezTo>
                    <a:pt x="1620" y="1834"/>
                    <a:pt x="1420" y="1912"/>
                    <a:pt x="1219" y="1912"/>
                  </a:cubicBezTo>
                  <a:cubicBezTo>
                    <a:pt x="1018" y="1912"/>
                    <a:pt x="816" y="1834"/>
                    <a:pt x="655" y="1680"/>
                  </a:cubicBezTo>
                  <a:cubicBezTo>
                    <a:pt x="346" y="1370"/>
                    <a:pt x="346" y="858"/>
                    <a:pt x="655" y="560"/>
                  </a:cubicBezTo>
                  <a:cubicBezTo>
                    <a:pt x="816" y="406"/>
                    <a:pt x="1021" y="328"/>
                    <a:pt x="1224" y="328"/>
                  </a:cubicBezTo>
                  <a:close/>
                  <a:moveTo>
                    <a:pt x="1227" y="1"/>
                  </a:moveTo>
                  <a:cubicBezTo>
                    <a:pt x="941" y="1"/>
                    <a:pt x="655" y="108"/>
                    <a:pt x="441" y="322"/>
                  </a:cubicBezTo>
                  <a:cubicBezTo>
                    <a:pt x="0" y="763"/>
                    <a:pt x="0" y="1477"/>
                    <a:pt x="441" y="1906"/>
                  </a:cubicBezTo>
                  <a:cubicBezTo>
                    <a:pt x="655" y="2120"/>
                    <a:pt x="941" y="2227"/>
                    <a:pt x="1227" y="2227"/>
                  </a:cubicBezTo>
                  <a:cubicBezTo>
                    <a:pt x="1512" y="2227"/>
                    <a:pt x="1798" y="2120"/>
                    <a:pt x="2012" y="1906"/>
                  </a:cubicBezTo>
                  <a:cubicBezTo>
                    <a:pt x="2441" y="1477"/>
                    <a:pt x="2441" y="775"/>
                    <a:pt x="2012" y="322"/>
                  </a:cubicBezTo>
                  <a:cubicBezTo>
                    <a:pt x="1798" y="108"/>
                    <a:pt x="151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8" name="Google Shape;10198;p59"/>
            <p:cNvSpPr/>
            <p:nvPr/>
          </p:nvSpPr>
          <p:spPr>
            <a:xfrm>
              <a:off x="2073292" y="4336327"/>
              <a:ext cx="77758" cy="71419"/>
            </a:xfrm>
            <a:custGeom>
              <a:avLst/>
              <a:gdLst/>
              <a:ahLst/>
              <a:cxnLst/>
              <a:rect l="l" t="t" r="r" b="b"/>
              <a:pathLst>
                <a:path w="2441" h="2242" extrusionOk="0">
                  <a:moveTo>
                    <a:pt x="1231" y="345"/>
                  </a:moveTo>
                  <a:cubicBezTo>
                    <a:pt x="1435" y="345"/>
                    <a:pt x="1637" y="423"/>
                    <a:pt x="1786" y="578"/>
                  </a:cubicBezTo>
                  <a:cubicBezTo>
                    <a:pt x="2084" y="875"/>
                    <a:pt x="2084" y="1375"/>
                    <a:pt x="1786" y="1697"/>
                  </a:cubicBezTo>
                  <a:cubicBezTo>
                    <a:pt x="1631" y="1852"/>
                    <a:pt x="1426" y="1929"/>
                    <a:pt x="1222" y="1929"/>
                  </a:cubicBezTo>
                  <a:cubicBezTo>
                    <a:pt x="1018" y="1929"/>
                    <a:pt x="816" y="1852"/>
                    <a:pt x="667" y="1697"/>
                  </a:cubicBezTo>
                  <a:cubicBezTo>
                    <a:pt x="357" y="1375"/>
                    <a:pt x="357" y="875"/>
                    <a:pt x="667" y="578"/>
                  </a:cubicBezTo>
                  <a:cubicBezTo>
                    <a:pt x="822" y="423"/>
                    <a:pt x="1027" y="345"/>
                    <a:pt x="1231" y="345"/>
                  </a:cubicBezTo>
                  <a:close/>
                  <a:moveTo>
                    <a:pt x="1216" y="0"/>
                  </a:moveTo>
                  <a:cubicBezTo>
                    <a:pt x="929" y="0"/>
                    <a:pt x="643" y="113"/>
                    <a:pt x="429" y="339"/>
                  </a:cubicBezTo>
                  <a:cubicBezTo>
                    <a:pt x="0" y="768"/>
                    <a:pt x="0" y="1482"/>
                    <a:pt x="429" y="1911"/>
                  </a:cubicBezTo>
                  <a:cubicBezTo>
                    <a:pt x="643" y="2131"/>
                    <a:pt x="929" y="2242"/>
                    <a:pt x="1216" y="2242"/>
                  </a:cubicBezTo>
                  <a:cubicBezTo>
                    <a:pt x="1503" y="2242"/>
                    <a:pt x="1792" y="2131"/>
                    <a:pt x="2012" y="1911"/>
                  </a:cubicBezTo>
                  <a:cubicBezTo>
                    <a:pt x="2441" y="1482"/>
                    <a:pt x="2441" y="768"/>
                    <a:pt x="2012" y="339"/>
                  </a:cubicBezTo>
                  <a:cubicBezTo>
                    <a:pt x="1792" y="113"/>
                    <a:pt x="1503" y="0"/>
                    <a:pt x="1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9" name="Google Shape;10199;p59"/>
            <p:cNvSpPr/>
            <p:nvPr/>
          </p:nvSpPr>
          <p:spPr>
            <a:xfrm>
              <a:off x="2181376" y="4334606"/>
              <a:ext cx="126719" cy="117449"/>
            </a:xfrm>
            <a:custGeom>
              <a:avLst/>
              <a:gdLst/>
              <a:ahLst/>
              <a:cxnLst/>
              <a:rect l="l" t="t" r="r" b="b"/>
              <a:pathLst>
                <a:path w="3978" h="3687" extrusionOk="0">
                  <a:moveTo>
                    <a:pt x="2013" y="1"/>
                  </a:moveTo>
                  <a:cubicBezTo>
                    <a:pt x="1542" y="1"/>
                    <a:pt x="1072" y="179"/>
                    <a:pt x="715" y="536"/>
                  </a:cubicBezTo>
                  <a:cubicBezTo>
                    <a:pt x="0" y="1251"/>
                    <a:pt x="0" y="2429"/>
                    <a:pt x="715" y="3144"/>
                  </a:cubicBezTo>
                  <a:cubicBezTo>
                    <a:pt x="1078" y="3507"/>
                    <a:pt x="1551" y="3686"/>
                    <a:pt x="2023" y="3686"/>
                  </a:cubicBezTo>
                  <a:cubicBezTo>
                    <a:pt x="2558" y="3686"/>
                    <a:pt x="3092" y="3456"/>
                    <a:pt x="3465" y="3001"/>
                  </a:cubicBezTo>
                  <a:cubicBezTo>
                    <a:pt x="3525" y="2918"/>
                    <a:pt x="3513" y="2810"/>
                    <a:pt x="3429" y="2751"/>
                  </a:cubicBezTo>
                  <a:cubicBezTo>
                    <a:pt x="3401" y="2732"/>
                    <a:pt x="3367" y="2722"/>
                    <a:pt x="3332" y="2722"/>
                  </a:cubicBezTo>
                  <a:cubicBezTo>
                    <a:pt x="3280" y="2722"/>
                    <a:pt x="3227" y="2744"/>
                    <a:pt x="3191" y="2787"/>
                  </a:cubicBezTo>
                  <a:cubicBezTo>
                    <a:pt x="2893" y="3168"/>
                    <a:pt x="2452" y="3359"/>
                    <a:pt x="2009" y="3359"/>
                  </a:cubicBezTo>
                  <a:cubicBezTo>
                    <a:pt x="1620" y="3359"/>
                    <a:pt x="1229" y="3212"/>
                    <a:pt x="929" y="2918"/>
                  </a:cubicBezTo>
                  <a:cubicBezTo>
                    <a:pt x="334" y="2322"/>
                    <a:pt x="334" y="1370"/>
                    <a:pt x="929" y="774"/>
                  </a:cubicBezTo>
                  <a:cubicBezTo>
                    <a:pt x="1227" y="477"/>
                    <a:pt x="1614" y="328"/>
                    <a:pt x="2001" y="328"/>
                  </a:cubicBezTo>
                  <a:cubicBezTo>
                    <a:pt x="2388" y="328"/>
                    <a:pt x="2775" y="477"/>
                    <a:pt x="3072" y="774"/>
                  </a:cubicBezTo>
                  <a:cubicBezTo>
                    <a:pt x="3465" y="1155"/>
                    <a:pt x="3620" y="1727"/>
                    <a:pt x="3465" y="2263"/>
                  </a:cubicBezTo>
                  <a:cubicBezTo>
                    <a:pt x="3441" y="2358"/>
                    <a:pt x="3501" y="2441"/>
                    <a:pt x="3572" y="2477"/>
                  </a:cubicBezTo>
                  <a:cubicBezTo>
                    <a:pt x="3585" y="2481"/>
                    <a:pt x="3598" y="2482"/>
                    <a:pt x="3611" y="2482"/>
                  </a:cubicBezTo>
                  <a:cubicBezTo>
                    <a:pt x="3683" y="2482"/>
                    <a:pt x="3755" y="2430"/>
                    <a:pt x="3775" y="2370"/>
                  </a:cubicBezTo>
                  <a:cubicBezTo>
                    <a:pt x="3977" y="1715"/>
                    <a:pt x="3799" y="1013"/>
                    <a:pt x="3310" y="536"/>
                  </a:cubicBezTo>
                  <a:cubicBezTo>
                    <a:pt x="2953" y="179"/>
                    <a:pt x="2483" y="1"/>
                    <a:pt x="2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0" name="Google Shape;10200;p59"/>
            <p:cNvSpPr/>
            <p:nvPr/>
          </p:nvSpPr>
          <p:spPr>
            <a:xfrm>
              <a:off x="1989449" y="4282269"/>
              <a:ext cx="374774" cy="346073"/>
            </a:xfrm>
            <a:custGeom>
              <a:avLst/>
              <a:gdLst/>
              <a:ahLst/>
              <a:cxnLst/>
              <a:rect l="l" t="t" r="r" b="b"/>
              <a:pathLst>
                <a:path w="11765" h="10864" extrusionOk="0">
                  <a:moveTo>
                    <a:pt x="6254" y="0"/>
                  </a:moveTo>
                  <a:cubicBezTo>
                    <a:pt x="6237" y="0"/>
                    <a:pt x="6221" y="0"/>
                    <a:pt x="6204" y="1"/>
                  </a:cubicBezTo>
                  <a:cubicBezTo>
                    <a:pt x="4001" y="12"/>
                    <a:pt x="2144" y="1310"/>
                    <a:pt x="1263" y="3108"/>
                  </a:cubicBezTo>
                  <a:cubicBezTo>
                    <a:pt x="1215" y="3179"/>
                    <a:pt x="1263" y="3287"/>
                    <a:pt x="1334" y="3334"/>
                  </a:cubicBezTo>
                  <a:cubicBezTo>
                    <a:pt x="1353" y="3344"/>
                    <a:pt x="1374" y="3348"/>
                    <a:pt x="1396" y="3348"/>
                  </a:cubicBezTo>
                  <a:cubicBezTo>
                    <a:pt x="1458" y="3348"/>
                    <a:pt x="1525" y="3312"/>
                    <a:pt x="1561" y="3251"/>
                  </a:cubicBezTo>
                  <a:cubicBezTo>
                    <a:pt x="1811" y="2739"/>
                    <a:pt x="2144" y="2275"/>
                    <a:pt x="2561" y="1858"/>
                  </a:cubicBezTo>
                  <a:cubicBezTo>
                    <a:pt x="3567" y="846"/>
                    <a:pt x="4895" y="340"/>
                    <a:pt x="6228" y="340"/>
                  </a:cubicBezTo>
                  <a:cubicBezTo>
                    <a:pt x="7544" y="340"/>
                    <a:pt x="8865" y="834"/>
                    <a:pt x="9883" y="1822"/>
                  </a:cubicBezTo>
                  <a:cubicBezTo>
                    <a:pt x="10621" y="2560"/>
                    <a:pt x="11109" y="3477"/>
                    <a:pt x="11324" y="4477"/>
                  </a:cubicBezTo>
                  <a:cubicBezTo>
                    <a:pt x="11492" y="5318"/>
                    <a:pt x="10844" y="6029"/>
                    <a:pt x="10051" y="6029"/>
                  </a:cubicBezTo>
                  <a:cubicBezTo>
                    <a:pt x="9946" y="6029"/>
                    <a:pt x="9837" y="6016"/>
                    <a:pt x="9728" y="5989"/>
                  </a:cubicBezTo>
                  <a:cubicBezTo>
                    <a:pt x="9511" y="5939"/>
                    <a:pt x="9295" y="5915"/>
                    <a:pt x="9085" y="5915"/>
                  </a:cubicBezTo>
                  <a:cubicBezTo>
                    <a:pt x="7462" y="5915"/>
                    <a:pt x="6126" y="7342"/>
                    <a:pt x="6347" y="9049"/>
                  </a:cubicBezTo>
                  <a:cubicBezTo>
                    <a:pt x="6469" y="9867"/>
                    <a:pt x="5812" y="10535"/>
                    <a:pt x="5051" y="10535"/>
                  </a:cubicBezTo>
                  <a:cubicBezTo>
                    <a:pt x="4925" y="10535"/>
                    <a:pt x="4796" y="10517"/>
                    <a:pt x="4668" y="10478"/>
                  </a:cubicBezTo>
                  <a:cubicBezTo>
                    <a:pt x="1989" y="9645"/>
                    <a:pt x="334" y="6704"/>
                    <a:pt x="1322" y="3834"/>
                  </a:cubicBezTo>
                  <a:cubicBezTo>
                    <a:pt x="1346" y="3751"/>
                    <a:pt x="1311" y="3656"/>
                    <a:pt x="1215" y="3632"/>
                  </a:cubicBezTo>
                  <a:cubicBezTo>
                    <a:pt x="1196" y="3624"/>
                    <a:pt x="1176" y="3620"/>
                    <a:pt x="1157" y="3620"/>
                  </a:cubicBezTo>
                  <a:cubicBezTo>
                    <a:pt x="1092" y="3620"/>
                    <a:pt x="1031" y="3663"/>
                    <a:pt x="1013" y="3727"/>
                  </a:cubicBezTo>
                  <a:cubicBezTo>
                    <a:pt x="1" y="6704"/>
                    <a:pt x="1668" y="9859"/>
                    <a:pt x="4585" y="10788"/>
                  </a:cubicBezTo>
                  <a:cubicBezTo>
                    <a:pt x="4749" y="10839"/>
                    <a:pt x="4915" y="10864"/>
                    <a:pt x="5079" y="10864"/>
                  </a:cubicBezTo>
                  <a:cubicBezTo>
                    <a:pt x="5451" y="10864"/>
                    <a:pt x="5811" y="10734"/>
                    <a:pt x="6109" y="10478"/>
                  </a:cubicBezTo>
                  <a:cubicBezTo>
                    <a:pt x="6549" y="10121"/>
                    <a:pt x="6752" y="9549"/>
                    <a:pt x="6680" y="9002"/>
                  </a:cubicBezTo>
                  <a:cubicBezTo>
                    <a:pt x="6481" y="7520"/>
                    <a:pt x="7653" y="6252"/>
                    <a:pt x="9076" y="6252"/>
                  </a:cubicBezTo>
                  <a:cubicBezTo>
                    <a:pt x="9266" y="6252"/>
                    <a:pt x="9461" y="6275"/>
                    <a:pt x="9657" y="6323"/>
                  </a:cubicBezTo>
                  <a:cubicBezTo>
                    <a:pt x="9781" y="6352"/>
                    <a:pt x="9908" y="6367"/>
                    <a:pt x="10033" y="6367"/>
                  </a:cubicBezTo>
                  <a:cubicBezTo>
                    <a:pt x="10460" y="6367"/>
                    <a:pt x="10880" y="6200"/>
                    <a:pt x="11193" y="5906"/>
                  </a:cubicBezTo>
                  <a:cubicBezTo>
                    <a:pt x="11574" y="5513"/>
                    <a:pt x="11764" y="4965"/>
                    <a:pt x="11645" y="4418"/>
                  </a:cubicBezTo>
                  <a:cubicBezTo>
                    <a:pt x="11113" y="1897"/>
                    <a:pt x="8910" y="0"/>
                    <a:pt x="62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1" name="Google Shape;10201;p59"/>
          <p:cNvGrpSpPr/>
          <p:nvPr/>
        </p:nvGrpSpPr>
        <p:grpSpPr>
          <a:xfrm>
            <a:off x="2487439" y="4280740"/>
            <a:ext cx="198775" cy="348972"/>
            <a:chOff x="2487439" y="4280740"/>
            <a:chExt cx="198775" cy="348972"/>
          </a:xfrm>
        </p:grpSpPr>
        <p:sp>
          <p:nvSpPr>
            <p:cNvPr id="10202" name="Google Shape;10202;p59"/>
            <p:cNvSpPr/>
            <p:nvPr/>
          </p:nvSpPr>
          <p:spPr>
            <a:xfrm>
              <a:off x="2487439" y="4280740"/>
              <a:ext cx="198775" cy="348972"/>
            </a:xfrm>
            <a:custGeom>
              <a:avLst/>
              <a:gdLst/>
              <a:ahLst/>
              <a:cxnLst/>
              <a:rect l="l" t="t" r="r" b="b"/>
              <a:pathLst>
                <a:path w="6240" h="10955" extrusionOk="0">
                  <a:moveTo>
                    <a:pt x="5644" y="358"/>
                  </a:moveTo>
                  <a:lnTo>
                    <a:pt x="5644" y="2870"/>
                  </a:lnTo>
                  <a:cubicBezTo>
                    <a:pt x="5644" y="4001"/>
                    <a:pt x="4882" y="5013"/>
                    <a:pt x="3787" y="5311"/>
                  </a:cubicBezTo>
                  <a:cubicBezTo>
                    <a:pt x="3716" y="5323"/>
                    <a:pt x="3656" y="5406"/>
                    <a:pt x="3656" y="5478"/>
                  </a:cubicBezTo>
                  <a:cubicBezTo>
                    <a:pt x="3656" y="5549"/>
                    <a:pt x="3716" y="5621"/>
                    <a:pt x="3787" y="5644"/>
                  </a:cubicBezTo>
                  <a:cubicBezTo>
                    <a:pt x="4882" y="5942"/>
                    <a:pt x="5644" y="6954"/>
                    <a:pt x="5644" y="8085"/>
                  </a:cubicBezTo>
                  <a:lnTo>
                    <a:pt x="5644" y="10597"/>
                  </a:lnTo>
                  <a:lnTo>
                    <a:pt x="584" y="10597"/>
                  </a:lnTo>
                  <a:lnTo>
                    <a:pt x="584" y="8085"/>
                  </a:lnTo>
                  <a:cubicBezTo>
                    <a:pt x="584" y="6954"/>
                    <a:pt x="1346" y="5942"/>
                    <a:pt x="2442" y="5644"/>
                  </a:cubicBezTo>
                  <a:cubicBezTo>
                    <a:pt x="2525" y="5621"/>
                    <a:pt x="2573" y="5549"/>
                    <a:pt x="2573" y="5478"/>
                  </a:cubicBezTo>
                  <a:cubicBezTo>
                    <a:pt x="2573" y="5406"/>
                    <a:pt x="2525" y="5323"/>
                    <a:pt x="2442" y="5311"/>
                  </a:cubicBezTo>
                  <a:cubicBezTo>
                    <a:pt x="1346" y="5013"/>
                    <a:pt x="584" y="4001"/>
                    <a:pt x="584" y="2870"/>
                  </a:cubicBezTo>
                  <a:lnTo>
                    <a:pt x="584" y="358"/>
                  </a:lnTo>
                  <a:close/>
                  <a:moveTo>
                    <a:pt x="179" y="1"/>
                  </a:moveTo>
                  <a:cubicBezTo>
                    <a:pt x="84" y="1"/>
                    <a:pt x="1" y="72"/>
                    <a:pt x="1" y="179"/>
                  </a:cubicBezTo>
                  <a:cubicBezTo>
                    <a:pt x="1" y="287"/>
                    <a:pt x="84" y="358"/>
                    <a:pt x="179" y="358"/>
                  </a:cubicBezTo>
                  <a:lnTo>
                    <a:pt x="239" y="358"/>
                  </a:lnTo>
                  <a:lnTo>
                    <a:pt x="239" y="2870"/>
                  </a:lnTo>
                  <a:cubicBezTo>
                    <a:pt x="239" y="4001"/>
                    <a:pt x="894" y="5013"/>
                    <a:pt x="1894" y="5478"/>
                  </a:cubicBezTo>
                  <a:cubicBezTo>
                    <a:pt x="894" y="5942"/>
                    <a:pt x="239" y="6966"/>
                    <a:pt x="239" y="8085"/>
                  </a:cubicBezTo>
                  <a:lnTo>
                    <a:pt x="239" y="10597"/>
                  </a:lnTo>
                  <a:lnTo>
                    <a:pt x="179" y="10597"/>
                  </a:lnTo>
                  <a:cubicBezTo>
                    <a:pt x="84" y="10597"/>
                    <a:pt x="1" y="10669"/>
                    <a:pt x="1" y="10776"/>
                  </a:cubicBezTo>
                  <a:cubicBezTo>
                    <a:pt x="1" y="10883"/>
                    <a:pt x="84" y="10955"/>
                    <a:pt x="179" y="10955"/>
                  </a:cubicBezTo>
                  <a:lnTo>
                    <a:pt x="6061" y="10955"/>
                  </a:lnTo>
                  <a:cubicBezTo>
                    <a:pt x="6168" y="10955"/>
                    <a:pt x="6240" y="10883"/>
                    <a:pt x="6240" y="10776"/>
                  </a:cubicBezTo>
                  <a:cubicBezTo>
                    <a:pt x="6240" y="10669"/>
                    <a:pt x="6144" y="10597"/>
                    <a:pt x="6061" y="10597"/>
                  </a:cubicBezTo>
                  <a:lnTo>
                    <a:pt x="6002" y="10597"/>
                  </a:lnTo>
                  <a:lnTo>
                    <a:pt x="6002" y="8085"/>
                  </a:lnTo>
                  <a:cubicBezTo>
                    <a:pt x="6002" y="6954"/>
                    <a:pt x="5347" y="5942"/>
                    <a:pt x="4347" y="5478"/>
                  </a:cubicBezTo>
                  <a:cubicBezTo>
                    <a:pt x="5347" y="5013"/>
                    <a:pt x="6002" y="3989"/>
                    <a:pt x="6002" y="2870"/>
                  </a:cubicBezTo>
                  <a:lnTo>
                    <a:pt x="6002" y="358"/>
                  </a:lnTo>
                  <a:lnTo>
                    <a:pt x="6061" y="358"/>
                  </a:lnTo>
                  <a:cubicBezTo>
                    <a:pt x="6168" y="358"/>
                    <a:pt x="6240" y="287"/>
                    <a:pt x="6240" y="179"/>
                  </a:cubicBezTo>
                  <a:cubicBezTo>
                    <a:pt x="6240" y="72"/>
                    <a:pt x="6168" y="1"/>
                    <a:pt x="6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3" name="Google Shape;10203;p59"/>
            <p:cNvSpPr/>
            <p:nvPr/>
          </p:nvSpPr>
          <p:spPr>
            <a:xfrm>
              <a:off x="2516267" y="4511784"/>
              <a:ext cx="139620" cy="95565"/>
            </a:xfrm>
            <a:custGeom>
              <a:avLst/>
              <a:gdLst/>
              <a:ahLst/>
              <a:cxnLst/>
              <a:rect l="l" t="t" r="r" b="b"/>
              <a:pathLst>
                <a:path w="4383" h="3000" extrusionOk="0">
                  <a:moveTo>
                    <a:pt x="1670" y="0"/>
                  </a:moveTo>
                  <a:cubicBezTo>
                    <a:pt x="1650" y="0"/>
                    <a:pt x="1629" y="4"/>
                    <a:pt x="1608" y="11"/>
                  </a:cubicBezTo>
                  <a:cubicBezTo>
                    <a:pt x="679" y="261"/>
                    <a:pt x="1" y="1130"/>
                    <a:pt x="1" y="2106"/>
                  </a:cubicBezTo>
                  <a:lnTo>
                    <a:pt x="1" y="2821"/>
                  </a:lnTo>
                  <a:cubicBezTo>
                    <a:pt x="1" y="2928"/>
                    <a:pt x="84" y="2999"/>
                    <a:pt x="179" y="2999"/>
                  </a:cubicBezTo>
                  <a:lnTo>
                    <a:pt x="4192" y="2999"/>
                  </a:lnTo>
                  <a:cubicBezTo>
                    <a:pt x="4299" y="2999"/>
                    <a:pt x="4370" y="2928"/>
                    <a:pt x="4370" y="2821"/>
                  </a:cubicBezTo>
                  <a:lnTo>
                    <a:pt x="4370" y="2106"/>
                  </a:lnTo>
                  <a:cubicBezTo>
                    <a:pt x="4382" y="1130"/>
                    <a:pt x="3727" y="261"/>
                    <a:pt x="2787" y="11"/>
                  </a:cubicBezTo>
                  <a:cubicBezTo>
                    <a:pt x="2770" y="4"/>
                    <a:pt x="2752" y="0"/>
                    <a:pt x="2735" y="0"/>
                  </a:cubicBezTo>
                  <a:cubicBezTo>
                    <a:pt x="2663" y="0"/>
                    <a:pt x="2589" y="54"/>
                    <a:pt x="2560" y="130"/>
                  </a:cubicBezTo>
                  <a:cubicBezTo>
                    <a:pt x="2537" y="213"/>
                    <a:pt x="2596" y="320"/>
                    <a:pt x="2680" y="356"/>
                  </a:cubicBezTo>
                  <a:cubicBezTo>
                    <a:pt x="3477" y="570"/>
                    <a:pt x="4025" y="1285"/>
                    <a:pt x="4025" y="2106"/>
                  </a:cubicBezTo>
                  <a:lnTo>
                    <a:pt x="4025" y="2642"/>
                  </a:lnTo>
                  <a:lnTo>
                    <a:pt x="382" y="2642"/>
                  </a:lnTo>
                  <a:lnTo>
                    <a:pt x="382" y="2106"/>
                  </a:lnTo>
                  <a:cubicBezTo>
                    <a:pt x="382" y="1285"/>
                    <a:pt x="929" y="558"/>
                    <a:pt x="1715" y="356"/>
                  </a:cubicBezTo>
                  <a:cubicBezTo>
                    <a:pt x="1810" y="320"/>
                    <a:pt x="1870" y="237"/>
                    <a:pt x="1834" y="130"/>
                  </a:cubicBezTo>
                  <a:cubicBezTo>
                    <a:pt x="1815" y="54"/>
                    <a:pt x="1750" y="0"/>
                    <a:pt x="16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4" name="Google Shape;10204;p59"/>
            <p:cNvSpPr/>
            <p:nvPr/>
          </p:nvSpPr>
          <p:spPr>
            <a:xfrm>
              <a:off x="2518911" y="4385065"/>
              <a:ext cx="134683" cy="105090"/>
            </a:xfrm>
            <a:custGeom>
              <a:avLst/>
              <a:gdLst/>
              <a:ahLst/>
              <a:cxnLst/>
              <a:rect l="l" t="t" r="r" b="b"/>
              <a:pathLst>
                <a:path w="4228" h="3299" extrusionOk="0">
                  <a:moveTo>
                    <a:pt x="191" y="0"/>
                  </a:moveTo>
                  <a:cubicBezTo>
                    <a:pt x="132" y="0"/>
                    <a:pt x="84" y="24"/>
                    <a:pt x="49" y="72"/>
                  </a:cubicBezTo>
                  <a:cubicBezTo>
                    <a:pt x="13" y="119"/>
                    <a:pt x="1" y="179"/>
                    <a:pt x="13" y="238"/>
                  </a:cubicBezTo>
                  <a:cubicBezTo>
                    <a:pt x="239" y="953"/>
                    <a:pt x="799" y="1512"/>
                    <a:pt x="1513" y="1691"/>
                  </a:cubicBezTo>
                  <a:cubicBezTo>
                    <a:pt x="1632" y="1727"/>
                    <a:pt x="1751" y="1750"/>
                    <a:pt x="1918" y="1774"/>
                  </a:cubicBezTo>
                  <a:lnTo>
                    <a:pt x="1954" y="3120"/>
                  </a:lnTo>
                  <a:cubicBezTo>
                    <a:pt x="1954" y="3227"/>
                    <a:pt x="2025" y="3298"/>
                    <a:pt x="2132" y="3298"/>
                  </a:cubicBezTo>
                  <a:cubicBezTo>
                    <a:pt x="2227" y="3298"/>
                    <a:pt x="2311" y="3227"/>
                    <a:pt x="2311" y="3120"/>
                  </a:cubicBezTo>
                  <a:lnTo>
                    <a:pt x="2311" y="1774"/>
                  </a:lnTo>
                  <a:cubicBezTo>
                    <a:pt x="2466" y="1750"/>
                    <a:pt x="2585" y="1727"/>
                    <a:pt x="2704" y="1691"/>
                  </a:cubicBezTo>
                  <a:cubicBezTo>
                    <a:pt x="3418" y="1512"/>
                    <a:pt x="4001" y="953"/>
                    <a:pt x="4216" y="238"/>
                  </a:cubicBezTo>
                  <a:cubicBezTo>
                    <a:pt x="4228" y="179"/>
                    <a:pt x="4216" y="119"/>
                    <a:pt x="4180" y="72"/>
                  </a:cubicBezTo>
                  <a:cubicBezTo>
                    <a:pt x="4156" y="24"/>
                    <a:pt x="4097" y="0"/>
                    <a:pt x="4037" y="0"/>
                  </a:cubicBezTo>
                  <a:lnTo>
                    <a:pt x="2454" y="0"/>
                  </a:lnTo>
                  <a:cubicBezTo>
                    <a:pt x="2347" y="0"/>
                    <a:pt x="2275" y="72"/>
                    <a:pt x="2275" y="179"/>
                  </a:cubicBezTo>
                  <a:cubicBezTo>
                    <a:pt x="2275" y="286"/>
                    <a:pt x="2347" y="357"/>
                    <a:pt x="2454" y="357"/>
                  </a:cubicBezTo>
                  <a:lnTo>
                    <a:pt x="3775" y="357"/>
                  </a:lnTo>
                  <a:cubicBezTo>
                    <a:pt x="3561" y="845"/>
                    <a:pt x="3120" y="1215"/>
                    <a:pt x="2608" y="1357"/>
                  </a:cubicBezTo>
                  <a:cubicBezTo>
                    <a:pt x="2501" y="1381"/>
                    <a:pt x="2335" y="1429"/>
                    <a:pt x="2108" y="1429"/>
                  </a:cubicBezTo>
                  <a:cubicBezTo>
                    <a:pt x="1894" y="1429"/>
                    <a:pt x="1739" y="1381"/>
                    <a:pt x="1620" y="1357"/>
                  </a:cubicBezTo>
                  <a:cubicBezTo>
                    <a:pt x="1096" y="1215"/>
                    <a:pt x="668" y="845"/>
                    <a:pt x="442" y="357"/>
                  </a:cubicBezTo>
                  <a:lnTo>
                    <a:pt x="1775" y="357"/>
                  </a:lnTo>
                  <a:cubicBezTo>
                    <a:pt x="1870" y="357"/>
                    <a:pt x="1954" y="286"/>
                    <a:pt x="1954" y="179"/>
                  </a:cubicBezTo>
                  <a:cubicBezTo>
                    <a:pt x="1954"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5" name="Google Shape;10205;p59"/>
            <p:cNvSpPr/>
            <p:nvPr/>
          </p:nvSpPr>
          <p:spPr>
            <a:xfrm>
              <a:off x="2580742" y="4501113"/>
              <a:ext cx="11786" cy="13315"/>
            </a:xfrm>
            <a:custGeom>
              <a:avLst/>
              <a:gdLst/>
              <a:ahLst/>
              <a:cxnLst/>
              <a:rect l="l" t="t" r="r" b="b"/>
              <a:pathLst>
                <a:path w="370" h="418" extrusionOk="0">
                  <a:moveTo>
                    <a:pt x="191" y="0"/>
                  </a:moveTo>
                  <a:cubicBezTo>
                    <a:pt x="84" y="0"/>
                    <a:pt x="1" y="72"/>
                    <a:pt x="1" y="179"/>
                  </a:cubicBezTo>
                  <a:lnTo>
                    <a:pt x="1" y="239"/>
                  </a:lnTo>
                  <a:cubicBezTo>
                    <a:pt x="1" y="346"/>
                    <a:pt x="84" y="417"/>
                    <a:pt x="191" y="417"/>
                  </a:cubicBezTo>
                  <a:cubicBezTo>
                    <a:pt x="286" y="417"/>
                    <a:pt x="370" y="346"/>
                    <a:pt x="370" y="239"/>
                  </a:cubicBezTo>
                  <a:lnTo>
                    <a:pt x="370" y="179"/>
                  </a:lnTo>
                  <a:cubicBezTo>
                    <a:pt x="370" y="96"/>
                    <a:pt x="286"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06" name="Google Shape;10206;p59"/>
          <p:cNvGrpSpPr/>
          <p:nvPr/>
        </p:nvGrpSpPr>
        <p:grpSpPr>
          <a:xfrm>
            <a:off x="2810958" y="4273923"/>
            <a:ext cx="353145" cy="361873"/>
            <a:chOff x="2810958" y="4273923"/>
            <a:chExt cx="353145" cy="361873"/>
          </a:xfrm>
        </p:grpSpPr>
        <p:sp>
          <p:nvSpPr>
            <p:cNvPr id="10207" name="Google Shape;10207;p59"/>
            <p:cNvSpPr/>
            <p:nvPr/>
          </p:nvSpPr>
          <p:spPr>
            <a:xfrm>
              <a:off x="2886837" y="4273923"/>
              <a:ext cx="53867" cy="169946"/>
            </a:xfrm>
            <a:custGeom>
              <a:avLst/>
              <a:gdLst/>
              <a:ahLst/>
              <a:cxnLst/>
              <a:rect l="l" t="t" r="r" b="b"/>
              <a:pathLst>
                <a:path w="1691" h="5335" extrusionOk="0">
                  <a:moveTo>
                    <a:pt x="1179" y="346"/>
                  </a:moveTo>
                  <a:cubicBezTo>
                    <a:pt x="1203" y="346"/>
                    <a:pt x="1250" y="382"/>
                    <a:pt x="1250" y="417"/>
                  </a:cubicBezTo>
                  <a:lnTo>
                    <a:pt x="1250" y="644"/>
                  </a:lnTo>
                  <a:lnTo>
                    <a:pt x="464" y="644"/>
                  </a:lnTo>
                  <a:lnTo>
                    <a:pt x="464" y="417"/>
                  </a:lnTo>
                  <a:cubicBezTo>
                    <a:pt x="452" y="382"/>
                    <a:pt x="488" y="346"/>
                    <a:pt x="524" y="346"/>
                  </a:cubicBezTo>
                  <a:close/>
                  <a:moveTo>
                    <a:pt x="1131" y="4275"/>
                  </a:moveTo>
                  <a:lnTo>
                    <a:pt x="845" y="4965"/>
                  </a:lnTo>
                  <a:lnTo>
                    <a:pt x="583" y="4275"/>
                  </a:lnTo>
                  <a:close/>
                  <a:moveTo>
                    <a:pt x="512" y="1"/>
                  </a:moveTo>
                  <a:cubicBezTo>
                    <a:pt x="298" y="1"/>
                    <a:pt x="119" y="179"/>
                    <a:pt x="119" y="405"/>
                  </a:cubicBezTo>
                  <a:lnTo>
                    <a:pt x="119" y="751"/>
                  </a:lnTo>
                  <a:cubicBezTo>
                    <a:pt x="36" y="822"/>
                    <a:pt x="0" y="929"/>
                    <a:pt x="0" y="1036"/>
                  </a:cubicBezTo>
                  <a:lnTo>
                    <a:pt x="0" y="3870"/>
                  </a:lnTo>
                  <a:cubicBezTo>
                    <a:pt x="0" y="4025"/>
                    <a:pt x="71" y="4156"/>
                    <a:pt x="191" y="4215"/>
                  </a:cubicBezTo>
                  <a:lnTo>
                    <a:pt x="560" y="5144"/>
                  </a:lnTo>
                  <a:cubicBezTo>
                    <a:pt x="607" y="5263"/>
                    <a:pt x="726" y="5335"/>
                    <a:pt x="845" y="5335"/>
                  </a:cubicBezTo>
                  <a:cubicBezTo>
                    <a:pt x="976" y="5335"/>
                    <a:pt x="1084" y="5263"/>
                    <a:pt x="1131" y="5144"/>
                  </a:cubicBezTo>
                  <a:lnTo>
                    <a:pt x="1500" y="4215"/>
                  </a:lnTo>
                  <a:cubicBezTo>
                    <a:pt x="1619" y="4144"/>
                    <a:pt x="1691" y="4025"/>
                    <a:pt x="1691" y="3870"/>
                  </a:cubicBezTo>
                  <a:lnTo>
                    <a:pt x="1691" y="3084"/>
                  </a:lnTo>
                  <a:cubicBezTo>
                    <a:pt x="1691" y="3001"/>
                    <a:pt x="1619" y="2918"/>
                    <a:pt x="1524" y="2918"/>
                  </a:cubicBezTo>
                  <a:cubicBezTo>
                    <a:pt x="1441" y="2918"/>
                    <a:pt x="1369" y="3001"/>
                    <a:pt x="1369" y="3084"/>
                  </a:cubicBezTo>
                  <a:lnTo>
                    <a:pt x="1369" y="3870"/>
                  </a:lnTo>
                  <a:cubicBezTo>
                    <a:pt x="1369" y="3906"/>
                    <a:pt x="1334" y="3953"/>
                    <a:pt x="1286" y="3953"/>
                  </a:cubicBezTo>
                  <a:lnTo>
                    <a:pt x="393" y="3953"/>
                  </a:lnTo>
                  <a:cubicBezTo>
                    <a:pt x="369" y="3953"/>
                    <a:pt x="322" y="3918"/>
                    <a:pt x="322" y="3870"/>
                  </a:cubicBezTo>
                  <a:lnTo>
                    <a:pt x="322" y="1036"/>
                  </a:lnTo>
                  <a:cubicBezTo>
                    <a:pt x="322" y="1001"/>
                    <a:pt x="357" y="953"/>
                    <a:pt x="393" y="953"/>
                  </a:cubicBezTo>
                  <a:lnTo>
                    <a:pt x="1286" y="953"/>
                  </a:lnTo>
                  <a:cubicBezTo>
                    <a:pt x="1322" y="953"/>
                    <a:pt x="1369" y="989"/>
                    <a:pt x="1369" y="1036"/>
                  </a:cubicBezTo>
                  <a:lnTo>
                    <a:pt x="1369" y="2358"/>
                  </a:lnTo>
                  <a:cubicBezTo>
                    <a:pt x="1369" y="2441"/>
                    <a:pt x="1441" y="2525"/>
                    <a:pt x="1524" y="2525"/>
                  </a:cubicBezTo>
                  <a:cubicBezTo>
                    <a:pt x="1619" y="2525"/>
                    <a:pt x="1691" y="2441"/>
                    <a:pt x="1691" y="2358"/>
                  </a:cubicBezTo>
                  <a:lnTo>
                    <a:pt x="1691" y="1036"/>
                  </a:lnTo>
                  <a:cubicBezTo>
                    <a:pt x="1691" y="929"/>
                    <a:pt x="1643" y="822"/>
                    <a:pt x="1572" y="751"/>
                  </a:cubicBezTo>
                  <a:lnTo>
                    <a:pt x="1572" y="405"/>
                  </a:lnTo>
                  <a:cubicBezTo>
                    <a:pt x="1572" y="179"/>
                    <a:pt x="1393"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8" name="Google Shape;10208;p59"/>
            <p:cNvSpPr/>
            <p:nvPr/>
          </p:nvSpPr>
          <p:spPr>
            <a:xfrm>
              <a:off x="2815131" y="4273923"/>
              <a:ext cx="57307" cy="279942"/>
            </a:xfrm>
            <a:custGeom>
              <a:avLst/>
              <a:gdLst/>
              <a:ahLst/>
              <a:cxnLst/>
              <a:rect l="l" t="t" r="r" b="b"/>
              <a:pathLst>
                <a:path w="1799" h="8788" extrusionOk="0">
                  <a:moveTo>
                    <a:pt x="906" y="382"/>
                  </a:moveTo>
                  <a:lnTo>
                    <a:pt x="1251" y="1239"/>
                  </a:lnTo>
                  <a:lnTo>
                    <a:pt x="572" y="1239"/>
                  </a:lnTo>
                  <a:lnTo>
                    <a:pt x="906" y="382"/>
                  </a:lnTo>
                  <a:close/>
                  <a:moveTo>
                    <a:pt x="751" y="1548"/>
                  </a:moveTo>
                  <a:lnTo>
                    <a:pt x="751" y="7466"/>
                  </a:lnTo>
                  <a:lnTo>
                    <a:pt x="346" y="7466"/>
                  </a:lnTo>
                  <a:lnTo>
                    <a:pt x="346" y="1644"/>
                  </a:lnTo>
                  <a:cubicBezTo>
                    <a:pt x="346" y="1596"/>
                    <a:pt x="394" y="1548"/>
                    <a:pt x="429" y="1548"/>
                  </a:cubicBezTo>
                  <a:close/>
                  <a:moveTo>
                    <a:pt x="1382" y="1572"/>
                  </a:moveTo>
                  <a:cubicBezTo>
                    <a:pt x="1430" y="1572"/>
                    <a:pt x="1477" y="1608"/>
                    <a:pt x="1477" y="1656"/>
                  </a:cubicBezTo>
                  <a:lnTo>
                    <a:pt x="1477" y="7478"/>
                  </a:lnTo>
                  <a:lnTo>
                    <a:pt x="1072" y="7478"/>
                  </a:lnTo>
                  <a:lnTo>
                    <a:pt x="1072" y="1572"/>
                  </a:lnTo>
                  <a:close/>
                  <a:moveTo>
                    <a:pt x="1489" y="7787"/>
                  </a:moveTo>
                  <a:lnTo>
                    <a:pt x="1489" y="8359"/>
                  </a:lnTo>
                  <a:cubicBezTo>
                    <a:pt x="1477" y="8418"/>
                    <a:pt x="1441" y="8442"/>
                    <a:pt x="1382" y="8442"/>
                  </a:cubicBezTo>
                  <a:lnTo>
                    <a:pt x="429" y="8442"/>
                  </a:lnTo>
                  <a:cubicBezTo>
                    <a:pt x="394" y="8442"/>
                    <a:pt x="346" y="8394"/>
                    <a:pt x="346" y="8359"/>
                  </a:cubicBezTo>
                  <a:lnTo>
                    <a:pt x="346" y="7787"/>
                  </a:lnTo>
                  <a:close/>
                  <a:moveTo>
                    <a:pt x="906" y="1"/>
                  </a:moveTo>
                  <a:cubicBezTo>
                    <a:pt x="775" y="1"/>
                    <a:pt x="656" y="84"/>
                    <a:pt x="608" y="215"/>
                  </a:cubicBezTo>
                  <a:lnTo>
                    <a:pt x="179" y="1310"/>
                  </a:lnTo>
                  <a:cubicBezTo>
                    <a:pt x="72" y="1394"/>
                    <a:pt x="13" y="1513"/>
                    <a:pt x="13" y="1656"/>
                  </a:cubicBezTo>
                  <a:lnTo>
                    <a:pt x="13" y="8371"/>
                  </a:lnTo>
                  <a:cubicBezTo>
                    <a:pt x="1" y="8597"/>
                    <a:pt x="191" y="8787"/>
                    <a:pt x="429" y="8787"/>
                  </a:cubicBezTo>
                  <a:lnTo>
                    <a:pt x="1382" y="8787"/>
                  </a:lnTo>
                  <a:cubicBezTo>
                    <a:pt x="1620" y="8787"/>
                    <a:pt x="1799" y="8597"/>
                    <a:pt x="1799" y="8371"/>
                  </a:cubicBezTo>
                  <a:lnTo>
                    <a:pt x="1799" y="1656"/>
                  </a:lnTo>
                  <a:cubicBezTo>
                    <a:pt x="1799" y="1525"/>
                    <a:pt x="1727" y="1394"/>
                    <a:pt x="1632" y="1310"/>
                  </a:cubicBezTo>
                  <a:lnTo>
                    <a:pt x="1203" y="215"/>
                  </a:lnTo>
                  <a:cubicBezTo>
                    <a:pt x="1168" y="96"/>
                    <a:pt x="1037" y="1"/>
                    <a:pt x="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9" name="Google Shape;10209;p59"/>
            <p:cNvSpPr/>
            <p:nvPr/>
          </p:nvSpPr>
          <p:spPr>
            <a:xfrm>
              <a:off x="2883396" y="4463173"/>
              <a:ext cx="60333" cy="90691"/>
            </a:xfrm>
            <a:custGeom>
              <a:avLst/>
              <a:gdLst/>
              <a:ahLst/>
              <a:cxnLst/>
              <a:rect l="l" t="t" r="r" b="b"/>
              <a:pathLst>
                <a:path w="1894" h="2847" extrusionOk="0">
                  <a:moveTo>
                    <a:pt x="1322" y="310"/>
                  </a:moveTo>
                  <a:cubicBezTo>
                    <a:pt x="1370" y="310"/>
                    <a:pt x="1418" y="358"/>
                    <a:pt x="1418" y="406"/>
                  </a:cubicBezTo>
                  <a:lnTo>
                    <a:pt x="1418" y="584"/>
                  </a:lnTo>
                  <a:lnTo>
                    <a:pt x="513" y="584"/>
                  </a:lnTo>
                  <a:lnTo>
                    <a:pt x="513" y="406"/>
                  </a:lnTo>
                  <a:cubicBezTo>
                    <a:pt x="513" y="358"/>
                    <a:pt x="537" y="310"/>
                    <a:pt x="596" y="310"/>
                  </a:cubicBezTo>
                  <a:close/>
                  <a:moveTo>
                    <a:pt x="1477" y="929"/>
                  </a:moveTo>
                  <a:cubicBezTo>
                    <a:pt x="1513" y="929"/>
                    <a:pt x="1561" y="965"/>
                    <a:pt x="1561" y="1013"/>
                  </a:cubicBezTo>
                  <a:lnTo>
                    <a:pt x="1561" y="2418"/>
                  </a:lnTo>
                  <a:cubicBezTo>
                    <a:pt x="1561" y="2453"/>
                    <a:pt x="1525" y="2501"/>
                    <a:pt x="1477" y="2501"/>
                  </a:cubicBezTo>
                  <a:lnTo>
                    <a:pt x="430" y="2501"/>
                  </a:lnTo>
                  <a:cubicBezTo>
                    <a:pt x="394" y="2501"/>
                    <a:pt x="346" y="2453"/>
                    <a:pt x="346" y="2418"/>
                  </a:cubicBezTo>
                  <a:lnTo>
                    <a:pt x="346" y="1013"/>
                  </a:lnTo>
                  <a:cubicBezTo>
                    <a:pt x="346" y="965"/>
                    <a:pt x="382" y="929"/>
                    <a:pt x="430" y="929"/>
                  </a:cubicBezTo>
                  <a:close/>
                  <a:moveTo>
                    <a:pt x="596" y="1"/>
                  </a:moveTo>
                  <a:cubicBezTo>
                    <a:pt x="358" y="1"/>
                    <a:pt x="179" y="191"/>
                    <a:pt x="179" y="418"/>
                  </a:cubicBezTo>
                  <a:lnTo>
                    <a:pt x="179" y="691"/>
                  </a:lnTo>
                  <a:cubicBezTo>
                    <a:pt x="72" y="763"/>
                    <a:pt x="13" y="882"/>
                    <a:pt x="13" y="1013"/>
                  </a:cubicBezTo>
                  <a:lnTo>
                    <a:pt x="13" y="2430"/>
                  </a:lnTo>
                  <a:cubicBezTo>
                    <a:pt x="1" y="2656"/>
                    <a:pt x="191" y="2846"/>
                    <a:pt x="430" y="2846"/>
                  </a:cubicBezTo>
                  <a:lnTo>
                    <a:pt x="1477" y="2846"/>
                  </a:lnTo>
                  <a:cubicBezTo>
                    <a:pt x="1715" y="2846"/>
                    <a:pt x="1894" y="2656"/>
                    <a:pt x="1894" y="2430"/>
                  </a:cubicBezTo>
                  <a:lnTo>
                    <a:pt x="1894" y="1013"/>
                  </a:lnTo>
                  <a:cubicBezTo>
                    <a:pt x="1894" y="882"/>
                    <a:pt x="1834" y="763"/>
                    <a:pt x="1727" y="691"/>
                  </a:cubicBezTo>
                  <a:lnTo>
                    <a:pt x="1727" y="418"/>
                  </a:lnTo>
                  <a:cubicBezTo>
                    <a:pt x="1727" y="179"/>
                    <a:pt x="1537" y="1"/>
                    <a:pt x="1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0" name="Google Shape;10210;p59"/>
            <p:cNvSpPr/>
            <p:nvPr/>
          </p:nvSpPr>
          <p:spPr>
            <a:xfrm>
              <a:off x="2955835" y="4273923"/>
              <a:ext cx="202948" cy="281439"/>
            </a:xfrm>
            <a:custGeom>
              <a:avLst/>
              <a:gdLst/>
              <a:ahLst/>
              <a:cxnLst/>
              <a:rect l="l" t="t" r="r" b="b"/>
              <a:pathLst>
                <a:path w="6371" h="8835" extrusionOk="0">
                  <a:moveTo>
                    <a:pt x="5692" y="524"/>
                  </a:moveTo>
                  <a:cubicBezTo>
                    <a:pt x="5883" y="524"/>
                    <a:pt x="6037" y="679"/>
                    <a:pt x="6037" y="870"/>
                  </a:cubicBezTo>
                  <a:lnTo>
                    <a:pt x="6037" y="7966"/>
                  </a:lnTo>
                  <a:cubicBezTo>
                    <a:pt x="6037" y="8156"/>
                    <a:pt x="5883" y="8311"/>
                    <a:pt x="5692" y="8311"/>
                  </a:cubicBezTo>
                  <a:lnTo>
                    <a:pt x="1811" y="8311"/>
                  </a:lnTo>
                  <a:lnTo>
                    <a:pt x="1811" y="524"/>
                  </a:lnTo>
                  <a:close/>
                  <a:moveTo>
                    <a:pt x="1465" y="346"/>
                  </a:moveTo>
                  <a:lnTo>
                    <a:pt x="1465" y="8490"/>
                  </a:lnTo>
                  <a:lnTo>
                    <a:pt x="1227" y="8490"/>
                  </a:lnTo>
                  <a:lnTo>
                    <a:pt x="1227" y="346"/>
                  </a:lnTo>
                  <a:close/>
                  <a:moveTo>
                    <a:pt x="1215" y="1"/>
                  </a:moveTo>
                  <a:cubicBezTo>
                    <a:pt x="1096" y="1"/>
                    <a:pt x="965" y="72"/>
                    <a:pt x="930" y="179"/>
                  </a:cubicBezTo>
                  <a:lnTo>
                    <a:pt x="418" y="179"/>
                  </a:lnTo>
                  <a:cubicBezTo>
                    <a:pt x="180" y="179"/>
                    <a:pt x="1" y="370"/>
                    <a:pt x="1" y="596"/>
                  </a:cubicBezTo>
                  <a:lnTo>
                    <a:pt x="1" y="2358"/>
                  </a:lnTo>
                  <a:cubicBezTo>
                    <a:pt x="1" y="2441"/>
                    <a:pt x="84" y="2513"/>
                    <a:pt x="168" y="2513"/>
                  </a:cubicBezTo>
                  <a:cubicBezTo>
                    <a:pt x="263" y="2513"/>
                    <a:pt x="334" y="2441"/>
                    <a:pt x="334" y="2358"/>
                  </a:cubicBezTo>
                  <a:lnTo>
                    <a:pt x="334" y="596"/>
                  </a:lnTo>
                  <a:cubicBezTo>
                    <a:pt x="334" y="548"/>
                    <a:pt x="382" y="513"/>
                    <a:pt x="418" y="513"/>
                  </a:cubicBezTo>
                  <a:lnTo>
                    <a:pt x="882" y="513"/>
                  </a:lnTo>
                  <a:lnTo>
                    <a:pt x="882" y="8287"/>
                  </a:lnTo>
                  <a:lnTo>
                    <a:pt x="418" y="8287"/>
                  </a:lnTo>
                  <a:cubicBezTo>
                    <a:pt x="382" y="8287"/>
                    <a:pt x="334" y="8252"/>
                    <a:pt x="334" y="8204"/>
                  </a:cubicBezTo>
                  <a:lnTo>
                    <a:pt x="334" y="3072"/>
                  </a:lnTo>
                  <a:cubicBezTo>
                    <a:pt x="334" y="2977"/>
                    <a:pt x="263" y="2906"/>
                    <a:pt x="168" y="2906"/>
                  </a:cubicBezTo>
                  <a:cubicBezTo>
                    <a:pt x="84" y="2906"/>
                    <a:pt x="1" y="2977"/>
                    <a:pt x="1" y="3072"/>
                  </a:cubicBezTo>
                  <a:lnTo>
                    <a:pt x="1" y="8204"/>
                  </a:lnTo>
                  <a:cubicBezTo>
                    <a:pt x="1" y="8454"/>
                    <a:pt x="203" y="8656"/>
                    <a:pt x="418" y="8656"/>
                  </a:cubicBezTo>
                  <a:lnTo>
                    <a:pt x="930" y="8656"/>
                  </a:lnTo>
                  <a:cubicBezTo>
                    <a:pt x="989" y="8752"/>
                    <a:pt x="1096" y="8835"/>
                    <a:pt x="1215" y="8835"/>
                  </a:cubicBezTo>
                  <a:lnTo>
                    <a:pt x="1477" y="8835"/>
                  </a:lnTo>
                  <a:cubicBezTo>
                    <a:pt x="1596" y="8835"/>
                    <a:pt x="1715" y="8752"/>
                    <a:pt x="1763" y="8656"/>
                  </a:cubicBezTo>
                  <a:lnTo>
                    <a:pt x="5692" y="8656"/>
                  </a:lnTo>
                  <a:cubicBezTo>
                    <a:pt x="6061" y="8656"/>
                    <a:pt x="6371" y="8359"/>
                    <a:pt x="6371" y="7966"/>
                  </a:cubicBezTo>
                  <a:lnTo>
                    <a:pt x="6371" y="870"/>
                  </a:lnTo>
                  <a:cubicBezTo>
                    <a:pt x="6371" y="489"/>
                    <a:pt x="6073" y="179"/>
                    <a:pt x="5692" y="179"/>
                  </a:cubicBezTo>
                  <a:lnTo>
                    <a:pt x="1763" y="179"/>
                  </a:lnTo>
                  <a:cubicBezTo>
                    <a:pt x="1704" y="72"/>
                    <a:pt x="1596"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1" name="Google Shape;10211;p59"/>
            <p:cNvSpPr/>
            <p:nvPr/>
          </p:nvSpPr>
          <p:spPr>
            <a:xfrm>
              <a:off x="3098067" y="4511720"/>
              <a:ext cx="29243" cy="10289"/>
            </a:xfrm>
            <a:custGeom>
              <a:avLst/>
              <a:gdLst/>
              <a:ahLst/>
              <a:cxnLst/>
              <a:rect l="l" t="t" r="r" b="b"/>
              <a:pathLst>
                <a:path w="918" h="323" extrusionOk="0">
                  <a:moveTo>
                    <a:pt x="168" y="1"/>
                  </a:moveTo>
                  <a:cubicBezTo>
                    <a:pt x="72" y="1"/>
                    <a:pt x="1" y="72"/>
                    <a:pt x="1" y="156"/>
                  </a:cubicBezTo>
                  <a:cubicBezTo>
                    <a:pt x="1" y="251"/>
                    <a:pt x="72" y="322"/>
                    <a:pt x="168" y="322"/>
                  </a:cubicBezTo>
                  <a:lnTo>
                    <a:pt x="751" y="322"/>
                  </a:lnTo>
                  <a:cubicBezTo>
                    <a:pt x="834" y="322"/>
                    <a:pt x="918" y="251"/>
                    <a:pt x="918" y="156"/>
                  </a:cubicBezTo>
                  <a:cubicBezTo>
                    <a:pt x="918" y="72"/>
                    <a:pt x="834" y="1"/>
                    <a:pt x="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2" name="Google Shape;10212;p59"/>
            <p:cNvSpPr/>
            <p:nvPr/>
          </p:nvSpPr>
          <p:spPr>
            <a:xfrm>
              <a:off x="3115906" y="4497704"/>
              <a:ext cx="10257" cy="10640"/>
            </a:xfrm>
            <a:custGeom>
              <a:avLst/>
              <a:gdLst/>
              <a:ahLst/>
              <a:cxnLst/>
              <a:rect l="l" t="t" r="r" b="b"/>
              <a:pathLst>
                <a:path w="322" h="334" extrusionOk="0">
                  <a:moveTo>
                    <a:pt x="155" y="0"/>
                  </a:moveTo>
                  <a:cubicBezTo>
                    <a:pt x="72" y="0"/>
                    <a:pt x="0" y="84"/>
                    <a:pt x="0" y="167"/>
                  </a:cubicBezTo>
                  <a:cubicBezTo>
                    <a:pt x="0" y="262"/>
                    <a:pt x="72" y="334"/>
                    <a:pt x="155" y="334"/>
                  </a:cubicBezTo>
                  <a:cubicBezTo>
                    <a:pt x="250" y="334"/>
                    <a:pt x="322" y="262"/>
                    <a:pt x="322" y="167"/>
                  </a:cubicBez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3" name="Google Shape;10213;p59"/>
            <p:cNvSpPr/>
            <p:nvPr/>
          </p:nvSpPr>
          <p:spPr>
            <a:xfrm>
              <a:off x="2810958" y="4563676"/>
              <a:ext cx="353145" cy="72120"/>
            </a:xfrm>
            <a:custGeom>
              <a:avLst/>
              <a:gdLst/>
              <a:ahLst/>
              <a:cxnLst/>
              <a:rect l="l" t="t" r="r" b="b"/>
              <a:pathLst>
                <a:path w="11086" h="2264" extrusionOk="0">
                  <a:moveTo>
                    <a:pt x="418" y="1"/>
                  </a:moveTo>
                  <a:cubicBezTo>
                    <a:pt x="179" y="1"/>
                    <a:pt x="1" y="191"/>
                    <a:pt x="1" y="418"/>
                  </a:cubicBezTo>
                  <a:lnTo>
                    <a:pt x="1" y="1846"/>
                  </a:lnTo>
                  <a:cubicBezTo>
                    <a:pt x="1" y="2085"/>
                    <a:pt x="191" y="2263"/>
                    <a:pt x="418" y="2263"/>
                  </a:cubicBezTo>
                  <a:lnTo>
                    <a:pt x="8442" y="2263"/>
                  </a:lnTo>
                  <a:cubicBezTo>
                    <a:pt x="8526" y="2263"/>
                    <a:pt x="8597" y="2192"/>
                    <a:pt x="8597" y="2096"/>
                  </a:cubicBezTo>
                  <a:cubicBezTo>
                    <a:pt x="8597" y="2013"/>
                    <a:pt x="8526" y="1930"/>
                    <a:pt x="8442" y="1930"/>
                  </a:cubicBezTo>
                  <a:lnTo>
                    <a:pt x="418" y="1930"/>
                  </a:lnTo>
                  <a:cubicBezTo>
                    <a:pt x="370" y="1930"/>
                    <a:pt x="322" y="1894"/>
                    <a:pt x="322" y="1846"/>
                  </a:cubicBezTo>
                  <a:lnTo>
                    <a:pt x="322" y="418"/>
                  </a:lnTo>
                  <a:cubicBezTo>
                    <a:pt x="322" y="370"/>
                    <a:pt x="370" y="322"/>
                    <a:pt x="418" y="322"/>
                  </a:cubicBezTo>
                  <a:lnTo>
                    <a:pt x="1037" y="322"/>
                  </a:lnTo>
                  <a:lnTo>
                    <a:pt x="1037" y="584"/>
                  </a:lnTo>
                  <a:cubicBezTo>
                    <a:pt x="1037" y="668"/>
                    <a:pt x="1120" y="739"/>
                    <a:pt x="1203" y="739"/>
                  </a:cubicBezTo>
                  <a:cubicBezTo>
                    <a:pt x="1299" y="739"/>
                    <a:pt x="1370" y="668"/>
                    <a:pt x="1370" y="584"/>
                  </a:cubicBezTo>
                  <a:lnTo>
                    <a:pt x="1370" y="322"/>
                  </a:lnTo>
                  <a:lnTo>
                    <a:pt x="1834" y="322"/>
                  </a:lnTo>
                  <a:lnTo>
                    <a:pt x="1834" y="584"/>
                  </a:lnTo>
                  <a:cubicBezTo>
                    <a:pt x="1834" y="668"/>
                    <a:pt x="1906" y="739"/>
                    <a:pt x="1989" y="739"/>
                  </a:cubicBezTo>
                  <a:cubicBezTo>
                    <a:pt x="2084" y="739"/>
                    <a:pt x="2156" y="668"/>
                    <a:pt x="2156" y="584"/>
                  </a:cubicBezTo>
                  <a:lnTo>
                    <a:pt x="2156" y="322"/>
                  </a:lnTo>
                  <a:lnTo>
                    <a:pt x="2620" y="322"/>
                  </a:lnTo>
                  <a:lnTo>
                    <a:pt x="2620" y="584"/>
                  </a:lnTo>
                  <a:cubicBezTo>
                    <a:pt x="2620" y="668"/>
                    <a:pt x="2692" y="739"/>
                    <a:pt x="2787" y="739"/>
                  </a:cubicBezTo>
                  <a:cubicBezTo>
                    <a:pt x="2870" y="739"/>
                    <a:pt x="2942" y="668"/>
                    <a:pt x="2942" y="584"/>
                  </a:cubicBezTo>
                  <a:lnTo>
                    <a:pt x="2942" y="322"/>
                  </a:lnTo>
                  <a:lnTo>
                    <a:pt x="3406" y="322"/>
                  </a:lnTo>
                  <a:lnTo>
                    <a:pt x="3406" y="584"/>
                  </a:lnTo>
                  <a:cubicBezTo>
                    <a:pt x="3406" y="668"/>
                    <a:pt x="3477" y="739"/>
                    <a:pt x="3573" y="739"/>
                  </a:cubicBezTo>
                  <a:cubicBezTo>
                    <a:pt x="3656" y="739"/>
                    <a:pt x="3739" y="668"/>
                    <a:pt x="3739" y="584"/>
                  </a:cubicBezTo>
                  <a:lnTo>
                    <a:pt x="3739" y="322"/>
                  </a:lnTo>
                  <a:lnTo>
                    <a:pt x="4192" y="322"/>
                  </a:lnTo>
                  <a:lnTo>
                    <a:pt x="4192" y="584"/>
                  </a:lnTo>
                  <a:cubicBezTo>
                    <a:pt x="4192" y="668"/>
                    <a:pt x="4275" y="739"/>
                    <a:pt x="4358" y="739"/>
                  </a:cubicBezTo>
                  <a:cubicBezTo>
                    <a:pt x="4454" y="739"/>
                    <a:pt x="4525" y="668"/>
                    <a:pt x="4525" y="584"/>
                  </a:cubicBezTo>
                  <a:lnTo>
                    <a:pt x="4525" y="322"/>
                  </a:lnTo>
                  <a:lnTo>
                    <a:pt x="4990" y="322"/>
                  </a:lnTo>
                  <a:lnTo>
                    <a:pt x="4990" y="584"/>
                  </a:lnTo>
                  <a:cubicBezTo>
                    <a:pt x="4990" y="668"/>
                    <a:pt x="5061" y="739"/>
                    <a:pt x="5144" y="739"/>
                  </a:cubicBezTo>
                  <a:cubicBezTo>
                    <a:pt x="5240" y="739"/>
                    <a:pt x="5311" y="668"/>
                    <a:pt x="5311" y="584"/>
                  </a:cubicBezTo>
                  <a:lnTo>
                    <a:pt x="5311" y="322"/>
                  </a:lnTo>
                  <a:lnTo>
                    <a:pt x="5775" y="322"/>
                  </a:lnTo>
                  <a:lnTo>
                    <a:pt x="5775" y="584"/>
                  </a:lnTo>
                  <a:cubicBezTo>
                    <a:pt x="5775" y="668"/>
                    <a:pt x="5847" y="739"/>
                    <a:pt x="5942" y="739"/>
                  </a:cubicBezTo>
                  <a:cubicBezTo>
                    <a:pt x="6025" y="739"/>
                    <a:pt x="6097" y="668"/>
                    <a:pt x="6097" y="584"/>
                  </a:cubicBezTo>
                  <a:lnTo>
                    <a:pt x="6097" y="322"/>
                  </a:lnTo>
                  <a:lnTo>
                    <a:pt x="6561" y="322"/>
                  </a:lnTo>
                  <a:lnTo>
                    <a:pt x="6561" y="584"/>
                  </a:lnTo>
                  <a:cubicBezTo>
                    <a:pt x="6561" y="668"/>
                    <a:pt x="6633" y="739"/>
                    <a:pt x="6728" y="739"/>
                  </a:cubicBezTo>
                  <a:cubicBezTo>
                    <a:pt x="6811" y="739"/>
                    <a:pt x="6895" y="668"/>
                    <a:pt x="6895" y="584"/>
                  </a:cubicBezTo>
                  <a:lnTo>
                    <a:pt x="6895" y="322"/>
                  </a:lnTo>
                  <a:lnTo>
                    <a:pt x="7347" y="322"/>
                  </a:lnTo>
                  <a:lnTo>
                    <a:pt x="7347" y="584"/>
                  </a:lnTo>
                  <a:cubicBezTo>
                    <a:pt x="7347" y="668"/>
                    <a:pt x="7430" y="739"/>
                    <a:pt x="7514" y="739"/>
                  </a:cubicBezTo>
                  <a:cubicBezTo>
                    <a:pt x="7609" y="739"/>
                    <a:pt x="7680" y="668"/>
                    <a:pt x="7680" y="584"/>
                  </a:cubicBezTo>
                  <a:lnTo>
                    <a:pt x="7680" y="322"/>
                  </a:lnTo>
                  <a:lnTo>
                    <a:pt x="8145" y="322"/>
                  </a:lnTo>
                  <a:lnTo>
                    <a:pt x="8145" y="584"/>
                  </a:lnTo>
                  <a:cubicBezTo>
                    <a:pt x="8145" y="668"/>
                    <a:pt x="8216" y="739"/>
                    <a:pt x="8299" y="739"/>
                  </a:cubicBezTo>
                  <a:cubicBezTo>
                    <a:pt x="8395" y="739"/>
                    <a:pt x="8466" y="668"/>
                    <a:pt x="8466" y="584"/>
                  </a:cubicBezTo>
                  <a:lnTo>
                    <a:pt x="8466" y="322"/>
                  </a:lnTo>
                  <a:lnTo>
                    <a:pt x="8930" y="322"/>
                  </a:lnTo>
                  <a:lnTo>
                    <a:pt x="8930" y="584"/>
                  </a:lnTo>
                  <a:cubicBezTo>
                    <a:pt x="8930" y="668"/>
                    <a:pt x="9002" y="739"/>
                    <a:pt x="9097" y="739"/>
                  </a:cubicBezTo>
                  <a:cubicBezTo>
                    <a:pt x="9181" y="739"/>
                    <a:pt x="9252" y="668"/>
                    <a:pt x="9252" y="584"/>
                  </a:cubicBezTo>
                  <a:lnTo>
                    <a:pt x="9252" y="322"/>
                  </a:lnTo>
                  <a:lnTo>
                    <a:pt x="9716" y="322"/>
                  </a:lnTo>
                  <a:lnTo>
                    <a:pt x="9716" y="584"/>
                  </a:lnTo>
                  <a:cubicBezTo>
                    <a:pt x="9716" y="668"/>
                    <a:pt x="9788" y="739"/>
                    <a:pt x="9883" y="739"/>
                  </a:cubicBezTo>
                  <a:cubicBezTo>
                    <a:pt x="9966" y="739"/>
                    <a:pt x="10050" y="668"/>
                    <a:pt x="10050" y="584"/>
                  </a:cubicBezTo>
                  <a:lnTo>
                    <a:pt x="10050" y="322"/>
                  </a:lnTo>
                  <a:lnTo>
                    <a:pt x="10669" y="322"/>
                  </a:lnTo>
                  <a:cubicBezTo>
                    <a:pt x="10716" y="322"/>
                    <a:pt x="10764" y="370"/>
                    <a:pt x="10764" y="418"/>
                  </a:cubicBezTo>
                  <a:lnTo>
                    <a:pt x="10764" y="1846"/>
                  </a:lnTo>
                  <a:cubicBezTo>
                    <a:pt x="10764" y="1894"/>
                    <a:pt x="10716" y="1930"/>
                    <a:pt x="10669" y="1930"/>
                  </a:cubicBezTo>
                  <a:lnTo>
                    <a:pt x="9192" y="1930"/>
                  </a:lnTo>
                  <a:cubicBezTo>
                    <a:pt x="9109" y="1930"/>
                    <a:pt x="9038" y="2013"/>
                    <a:pt x="9038" y="2096"/>
                  </a:cubicBezTo>
                  <a:cubicBezTo>
                    <a:pt x="9038" y="2192"/>
                    <a:pt x="9109" y="2263"/>
                    <a:pt x="9192" y="2263"/>
                  </a:cubicBezTo>
                  <a:lnTo>
                    <a:pt x="10669" y="2263"/>
                  </a:lnTo>
                  <a:cubicBezTo>
                    <a:pt x="10907" y="2263"/>
                    <a:pt x="11086" y="2073"/>
                    <a:pt x="11086" y="1846"/>
                  </a:cubicBezTo>
                  <a:lnTo>
                    <a:pt x="11086" y="418"/>
                  </a:lnTo>
                  <a:cubicBezTo>
                    <a:pt x="11062" y="191"/>
                    <a:pt x="10883" y="1"/>
                    <a:pt x="106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4" name="Google Shape;10214;p59"/>
          <p:cNvGrpSpPr/>
          <p:nvPr/>
        </p:nvGrpSpPr>
        <p:grpSpPr>
          <a:xfrm>
            <a:off x="6275635" y="4282651"/>
            <a:ext cx="209383" cy="366778"/>
            <a:chOff x="6275635" y="4282651"/>
            <a:chExt cx="209383" cy="366778"/>
          </a:xfrm>
        </p:grpSpPr>
        <p:sp>
          <p:nvSpPr>
            <p:cNvPr id="10215" name="Google Shape;10215;p59"/>
            <p:cNvSpPr/>
            <p:nvPr/>
          </p:nvSpPr>
          <p:spPr>
            <a:xfrm>
              <a:off x="6275635" y="4282651"/>
              <a:ext cx="89162" cy="366778"/>
            </a:xfrm>
            <a:custGeom>
              <a:avLst/>
              <a:gdLst/>
              <a:ahLst/>
              <a:cxnLst/>
              <a:rect l="l" t="t" r="r" b="b"/>
              <a:pathLst>
                <a:path w="2799" h="11514" extrusionOk="0">
                  <a:moveTo>
                    <a:pt x="1382" y="1751"/>
                  </a:moveTo>
                  <a:cubicBezTo>
                    <a:pt x="1667" y="1917"/>
                    <a:pt x="1929" y="2084"/>
                    <a:pt x="2132" y="2275"/>
                  </a:cubicBezTo>
                  <a:lnTo>
                    <a:pt x="620" y="2275"/>
                  </a:lnTo>
                  <a:cubicBezTo>
                    <a:pt x="822" y="2084"/>
                    <a:pt x="1084" y="1917"/>
                    <a:pt x="1382" y="1751"/>
                  </a:cubicBezTo>
                  <a:close/>
                  <a:moveTo>
                    <a:pt x="2370" y="2620"/>
                  </a:moveTo>
                  <a:cubicBezTo>
                    <a:pt x="2465" y="2822"/>
                    <a:pt x="2489" y="3048"/>
                    <a:pt x="2382" y="3298"/>
                  </a:cubicBezTo>
                  <a:lnTo>
                    <a:pt x="381" y="3298"/>
                  </a:lnTo>
                  <a:cubicBezTo>
                    <a:pt x="298" y="3084"/>
                    <a:pt x="286" y="2858"/>
                    <a:pt x="381" y="2620"/>
                  </a:cubicBezTo>
                  <a:close/>
                  <a:moveTo>
                    <a:pt x="2144" y="3644"/>
                  </a:moveTo>
                  <a:cubicBezTo>
                    <a:pt x="1953" y="3834"/>
                    <a:pt x="1679" y="4001"/>
                    <a:pt x="1382" y="4168"/>
                  </a:cubicBezTo>
                  <a:cubicBezTo>
                    <a:pt x="1096" y="4001"/>
                    <a:pt x="822" y="3834"/>
                    <a:pt x="620" y="3644"/>
                  </a:cubicBezTo>
                  <a:close/>
                  <a:moveTo>
                    <a:pt x="2441" y="5918"/>
                  </a:moveTo>
                  <a:cubicBezTo>
                    <a:pt x="2334" y="6394"/>
                    <a:pt x="1893" y="6680"/>
                    <a:pt x="1382" y="6966"/>
                  </a:cubicBezTo>
                  <a:cubicBezTo>
                    <a:pt x="881" y="6680"/>
                    <a:pt x="429" y="6394"/>
                    <a:pt x="346" y="5918"/>
                  </a:cubicBezTo>
                  <a:close/>
                  <a:moveTo>
                    <a:pt x="1382" y="7347"/>
                  </a:moveTo>
                  <a:cubicBezTo>
                    <a:pt x="1679" y="7513"/>
                    <a:pt x="1953" y="7680"/>
                    <a:pt x="2144" y="7870"/>
                  </a:cubicBezTo>
                  <a:lnTo>
                    <a:pt x="620" y="7870"/>
                  </a:lnTo>
                  <a:cubicBezTo>
                    <a:pt x="822" y="7680"/>
                    <a:pt x="1096" y="7513"/>
                    <a:pt x="1382" y="7347"/>
                  </a:cubicBezTo>
                  <a:close/>
                  <a:moveTo>
                    <a:pt x="2394" y="8216"/>
                  </a:moveTo>
                  <a:cubicBezTo>
                    <a:pt x="2489" y="8454"/>
                    <a:pt x="2489" y="8680"/>
                    <a:pt x="2382" y="8894"/>
                  </a:cubicBezTo>
                  <a:lnTo>
                    <a:pt x="405" y="8894"/>
                  </a:lnTo>
                  <a:cubicBezTo>
                    <a:pt x="298" y="8656"/>
                    <a:pt x="298" y="8442"/>
                    <a:pt x="405" y="8216"/>
                  </a:cubicBezTo>
                  <a:close/>
                  <a:moveTo>
                    <a:pt x="2132" y="9240"/>
                  </a:moveTo>
                  <a:cubicBezTo>
                    <a:pt x="1929" y="9430"/>
                    <a:pt x="1667" y="9597"/>
                    <a:pt x="1382" y="9764"/>
                  </a:cubicBezTo>
                  <a:cubicBezTo>
                    <a:pt x="1096" y="9597"/>
                    <a:pt x="834" y="9430"/>
                    <a:pt x="620" y="9240"/>
                  </a:cubicBezTo>
                  <a:close/>
                  <a:moveTo>
                    <a:pt x="167" y="0"/>
                  </a:moveTo>
                  <a:cubicBezTo>
                    <a:pt x="72" y="0"/>
                    <a:pt x="0" y="72"/>
                    <a:pt x="0" y="167"/>
                  </a:cubicBezTo>
                  <a:cubicBezTo>
                    <a:pt x="0" y="846"/>
                    <a:pt x="524" y="1251"/>
                    <a:pt x="1072" y="1560"/>
                  </a:cubicBezTo>
                  <a:cubicBezTo>
                    <a:pt x="500" y="1894"/>
                    <a:pt x="0" y="2310"/>
                    <a:pt x="0" y="2965"/>
                  </a:cubicBezTo>
                  <a:cubicBezTo>
                    <a:pt x="0" y="3644"/>
                    <a:pt x="524" y="4049"/>
                    <a:pt x="1072" y="4358"/>
                  </a:cubicBezTo>
                  <a:cubicBezTo>
                    <a:pt x="524" y="4668"/>
                    <a:pt x="0" y="5072"/>
                    <a:pt x="0" y="5763"/>
                  </a:cubicBezTo>
                  <a:cubicBezTo>
                    <a:pt x="0" y="6442"/>
                    <a:pt x="524" y="6847"/>
                    <a:pt x="1072" y="7156"/>
                  </a:cubicBezTo>
                  <a:cubicBezTo>
                    <a:pt x="524" y="7466"/>
                    <a:pt x="0" y="7870"/>
                    <a:pt x="0" y="8549"/>
                  </a:cubicBezTo>
                  <a:cubicBezTo>
                    <a:pt x="0" y="8799"/>
                    <a:pt x="72" y="9002"/>
                    <a:pt x="179" y="9180"/>
                  </a:cubicBezTo>
                  <a:cubicBezTo>
                    <a:pt x="227" y="9240"/>
                    <a:pt x="322" y="9525"/>
                    <a:pt x="1072" y="9954"/>
                  </a:cubicBezTo>
                  <a:cubicBezTo>
                    <a:pt x="524" y="10264"/>
                    <a:pt x="0" y="10668"/>
                    <a:pt x="0" y="11359"/>
                  </a:cubicBezTo>
                  <a:cubicBezTo>
                    <a:pt x="0" y="11442"/>
                    <a:pt x="72" y="11514"/>
                    <a:pt x="167" y="11514"/>
                  </a:cubicBezTo>
                  <a:cubicBezTo>
                    <a:pt x="250" y="11514"/>
                    <a:pt x="322" y="11442"/>
                    <a:pt x="322" y="11359"/>
                  </a:cubicBezTo>
                  <a:cubicBezTo>
                    <a:pt x="322" y="10776"/>
                    <a:pt x="834" y="10466"/>
                    <a:pt x="1393" y="10145"/>
                  </a:cubicBezTo>
                  <a:cubicBezTo>
                    <a:pt x="1965" y="10466"/>
                    <a:pt x="2465" y="10776"/>
                    <a:pt x="2465" y="11359"/>
                  </a:cubicBezTo>
                  <a:cubicBezTo>
                    <a:pt x="2465" y="11442"/>
                    <a:pt x="2548" y="11514"/>
                    <a:pt x="2632" y="11514"/>
                  </a:cubicBezTo>
                  <a:cubicBezTo>
                    <a:pt x="2727" y="11514"/>
                    <a:pt x="2798" y="11442"/>
                    <a:pt x="2798" y="11359"/>
                  </a:cubicBezTo>
                  <a:cubicBezTo>
                    <a:pt x="2798" y="10668"/>
                    <a:pt x="2274" y="10264"/>
                    <a:pt x="1727" y="9954"/>
                  </a:cubicBezTo>
                  <a:cubicBezTo>
                    <a:pt x="2286" y="9633"/>
                    <a:pt x="2798" y="9216"/>
                    <a:pt x="2798" y="8561"/>
                  </a:cubicBezTo>
                  <a:cubicBezTo>
                    <a:pt x="2798" y="7870"/>
                    <a:pt x="2274" y="7466"/>
                    <a:pt x="1727" y="7156"/>
                  </a:cubicBezTo>
                  <a:cubicBezTo>
                    <a:pt x="2274" y="6847"/>
                    <a:pt x="2798" y="6442"/>
                    <a:pt x="2798" y="5763"/>
                  </a:cubicBezTo>
                  <a:cubicBezTo>
                    <a:pt x="2798" y="5608"/>
                    <a:pt x="2763" y="5465"/>
                    <a:pt x="2727" y="5346"/>
                  </a:cubicBezTo>
                  <a:cubicBezTo>
                    <a:pt x="2699" y="5273"/>
                    <a:pt x="2629" y="5227"/>
                    <a:pt x="2560" y="5227"/>
                  </a:cubicBezTo>
                  <a:cubicBezTo>
                    <a:pt x="2539" y="5227"/>
                    <a:pt x="2519" y="5231"/>
                    <a:pt x="2501" y="5239"/>
                  </a:cubicBezTo>
                  <a:cubicBezTo>
                    <a:pt x="2405" y="5263"/>
                    <a:pt x="2370" y="5370"/>
                    <a:pt x="2394" y="5465"/>
                  </a:cubicBezTo>
                  <a:cubicBezTo>
                    <a:pt x="2405" y="5501"/>
                    <a:pt x="2405" y="5549"/>
                    <a:pt x="2405" y="5596"/>
                  </a:cubicBezTo>
                  <a:lnTo>
                    <a:pt x="322" y="5596"/>
                  </a:lnTo>
                  <a:cubicBezTo>
                    <a:pt x="417" y="5132"/>
                    <a:pt x="881" y="4834"/>
                    <a:pt x="1370" y="4549"/>
                  </a:cubicBezTo>
                  <a:cubicBezTo>
                    <a:pt x="1560" y="4656"/>
                    <a:pt x="1774" y="4775"/>
                    <a:pt x="1929" y="4906"/>
                  </a:cubicBezTo>
                  <a:cubicBezTo>
                    <a:pt x="1960" y="4932"/>
                    <a:pt x="1998" y="4944"/>
                    <a:pt x="2035" y="4944"/>
                  </a:cubicBezTo>
                  <a:cubicBezTo>
                    <a:pt x="2084" y="4944"/>
                    <a:pt x="2134" y="4923"/>
                    <a:pt x="2167" y="4882"/>
                  </a:cubicBezTo>
                  <a:cubicBezTo>
                    <a:pt x="2227" y="4811"/>
                    <a:pt x="2215" y="4703"/>
                    <a:pt x="2144" y="4644"/>
                  </a:cubicBezTo>
                  <a:cubicBezTo>
                    <a:pt x="2001" y="4537"/>
                    <a:pt x="1858" y="4453"/>
                    <a:pt x="1703" y="4358"/>
                  </a:cubicBezTo>
                  <a:cubicBezTo>
                    <a:pt x="2263" y="4049"/>
                    <a:pt x="2775" y="3644"/>
                    <a:pt x="2775" y="2965"/>
                  </a:cubicBezTo>
                  <a:cubicBezTo>
                    <a:pt x="2775" y="2727"/>
                    <a:pt x="2703" y="2513"/>
                    <a:pt x="2596" y="2334"/>
                  </a:cubicBezTo>
                  <a:cubicBezTo>
                    <a:pt x="2560" y="2275"/>
                    <a:pt x="2441" y="1989"/>
                    <a:pt x="1703" y="1560"/>
                  </a:cubicBezTo>
                  <a:cubicBezTo>
                    <a:pt x="2263" y="1239"/>
                    <a:pt x="2798" y="846"/>
                    <a:pt x="2798" y="167"/>
                  </a:cubicBezTo>
                  <a:cubicBezTo>
                    <a:pt x="2798" y="72"/>
                    <a:pt x="2727" y="0"/>
                    <a:pt x="2632" y="0"/>
                  </a:cubicBezTo>
                  <a:cubicBezTo>
                    <a:pt x="2548" y="0"/>
                    <a:pt x="2465" y="72"/>
                    <a:pt x="2465" y="167"/>
                  </a:cubicBezTo>
                  <a:cubicBezTo>
                    <a:pt x="2465" y="739"/>
                    <a:pt x="1965" y="1060"/>
                    <a:pt x="1393" y="1370"/>
                  </a:cubicBezTo>
                  <a:cubicBezTo>
                    <a:pt x="834" y="1060"/>
                    <a:pt x="322" y="727"/>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6" name="Google Shape;10216;p59"/>
            <p:cNvSpPr/>
            <p:nvPr/>
          </p:nvSpPr>
          <p:spPr>
            <a:xfrm>
              <a:off x="6395474" y="4282651"/>
              <a:ext cx="89544" cy="366778"/>
            </a:xfrm>
            <a:custGeom>
              <a:avLst/>
              <a:gdLst/>
              <a:ahLst/>
              <a:cxnLst/>
              <a:rect l="l" t="t" r="r" b="b"/>
              <a:pathLst>
                <a:path w="2811" h="11514" extrusionOk="0">
                  <a:moveTo>
                    <a:pt x="2799" y="2906"/>
                  </a:moveTo>
                  <a:cubicBezTo>
                    <a:pt x="2799" y="2912"/>
                    <a:pt x="2802" y="2914"/>
                    <a:pt x="2803" y="2914"/>
                  </a:cubicBezTo>
                  <a:cubicBezTo>
                    <a:pt x="2805" y="2914"/>
                    <a:pt x="2805" y="2912"/>
                    <a:pt x="2799" y="2906"/>
                  </a:cubicBezTo>
                  <a:close/>
                  <a:moveTo>
                    <a:pt x="2453" y="3096"/>
                  </a:moveTo>
                  <a:cubicBezTo>
                    <a:pt x="2382" y="3584"/>
                    <a:pt x="1918" y="3870"/>
                    <a:pt x="1406" y="4168"/>
                  </a:cubicBezTo>
                  <a:cubicBezTo>
                    <a:pt x="882" y="3870"/>
                    <a:pt x="417" y="3584"/>
                    <a:pt x="346" y="3096"/>
                  </a:cubicBezTo>
                  <a:close/>
                  <a:moveTo>
                    <a:pt x="1394" y="4549"/>
                  </a:moveTo>
                  <a:cubicBezTo>
                    <a:pt x="1680" y="4715"/>
                    <a:pt x="1965" y="4882"/>
                    <a:pt x="2156" y="5072"/>
                  </a:cubicBezTo>
                  <a:lnTo>
                    <a:pt x="644" y="5072"/>
                  </a:lnTo>
                  <a:cubicBezTo>
                    <a:pt x="834" y="4882"/>
                    <a:pt x="1120" y="4715"/>
                    <a:pt x="1394" y="4549"/>
                  </a:cubicBezTo>
                  <a:close/>
                  <a:moveTo>
                    <a:pt x="2394" y="5418"/>
                  </a:moveTo>
                  <a:cubicBezTo>
                    <a:pt x="2501" y="5644"/>
                    <a:pt x="2501" y="5858"/>
                    <a:pt x="2394" y="6096"/>
                  </a:cubicBezTo>
                  <a:lnTo>
                    <a:pt x="406" y="6096"/>
                  </a:lnTo>
                  <a:cubicBezTo>
                    <a:pt x="298" y="5858"/>
                    <a:pt x="298" y="5644"/>
                    <a:pt x="406" y="5418"/>
                  </a:cubicBezTo>
                  <a:close/>
                  <a:moveTo>
                    <a:pt x="2156" y="6442"/>
                  </a:moveTo>
                  <a:cubicBezTo>
                    <a:pt x="1965" y="6632"/>
                    <a:pt x="1680" y="6799"/>
                    <a:pt x="1406" y="6966"/>
                  </a:cubicBezTo>
                  <a:cubicBezTo>
                    <a:pt x="1120" y="6799"/>
                    <a:pt x="846" y="6632"/>
                    <a:pt x="644" y="6442"/>
                  </a:cubicBezTo>
                  <a:close/>
                  <a:moveTo>
                    <a:pt x="1406" y="7347"/>
                  </a:moveTo>
                  <a:cubicBezTo>
                    <a:pt x="1906" y="7632"/>
                    <a:pt x="2358" y="7918"/>
                    <a:pt x="2453" y="8382"/>
                  </a:cubicBezTo>
                  <a:lnTo>
                    <a:pt x="358" y="8382"/>
                  </a:lnTo>
                  <a:cubicBezTo>
                    <a:pt x="453" y="7918"/>
                    <a:pt x="906" y="7632"/>
                    <a:pt x="1406" y="7347"/>
                  </a:cubicBezTo>
                  <a:close/>
                  <a:moveTo>
                    <a:pt x="2442" y="8716"/>
                  </a:moveTo>
                  <a:cubicBezTo>
                    <a:pt x="2370" y="9180"/>
                    <a:pt x="1906" y="9478"/>
                    <a:pt x="1406" y="9764"/>
                  </a:cubicBezTo>
                  <a:cubicBezTo>
                    <a:pt x="894" y="9478"/>
                    <a:pt x="429" y="9192"/>
                    <a:pt x="346" y="8716"/>
                  </a:cubicBezTo>
                  <a:close/>
                  <a:moveTo>
                    <a:pt x="179" y="0"/>
                  </a:moveTo>
                  <a:cubicBezTo>
                    <a:pt x="96" y="0"/>
                    <a:pt x="13" y="72"/>
                    <a:pt x="13" y="167"/>
                  </a:cubicBezTo>
                  <a:cubicBezTo>
                    <a:pt x="13" y="858"/>
                    <a:pt x="548" y="1251"/>
                    <a:pt x="1084" y="1560"/>
                  </a:cubicBezTo>
                  <a:cubicBezTo>
                    <a:pt x="953" y="1632"/>
                    <a:pt x="834" y="1715"/>
                    <a:pt x="715" y="1786"/>
                  </a:cubicBezTo>
                  <a:cubicBezTo>
                    <a:pt x="584" y="1870"/>
                    <a:pt x="656" y="2096"/>
                    <a:pt x="822" y="2096"/>
                  </a:cubicBezTo>
                  <a:cubicBezTo>
                    <a:pt x="906" y="2096"/>
                    <a:pt x="870" y="2072"/>
                    <a:pt x="1430" y="1751"/>
                  </a:cubicBezTo>
                  <a:cubicBezTo>
                    <a:pt x="1918" y="2036"/>
                    <a:pt x="2370" y="2310"/>
                    <a:pt x="2477" y="2751"/>
                  </a:cubicBezTo>
                  <a:lnTo>
                    <a:pt x="406" y="2751"/>
                  </a:lnTo>
                  <a:cubicBezTo>
                    <a:pt x="417" y="2703"/>
                    <a:pt x="417" y="2644"/>
                    <a:pt x="429" y="2608"/>
                  </a:cubicBezTo>
                  <a:cubicBezTo>
                    <a:pt x="477" y="2513"/>
                    <a:pt x="429" y="2429"/>
                    <a:pt x="346" y="2382"/>
                  </a:cubicBezTo>
                  <a:cubicBezTo>
                    <a:pt x="320" y="2369"/>
                    <a:pt x="295" y="2363"/>
                    <a:pt x="271" y="2363"/>
                  </a:cubicBezTo>
                  <a:cubicBezTo>
                    <a:pt x="208" y="2363"/>
                    <a:pt x="154" y="2404"/>
                    <a:pt x="120" y="2465"/>
                  </a:cubicBezTo>
                  <a:cubicBezTo>
                    <a:pt x="60" y="2608"/>
                    <a:pt x="36" y="2751"/>
                    <a:pt x="13" y="2917"/>
                  </a:cubicBezTo>
                  <a:lnTo>
                    <a:pt x="13" y="2929"/>
                  </a:lnTo>
                  <a:cubicBezTo>
                    <a:pt x="1" y="3620"/>
                    <a:pt x="489" y="4013"/>
                    <a:pt x="1084" y="4358"/>
                  </a:cubicBezTo>
                  <a:cubicBezTo>
                    <a:pt x="537" y="4668"/>
                    <a:pt x="13" y="5072"/>
                    <a:pt x="13" y="5763"/>
                  </a:cubicBezTo>
                  <a:cubicBezTo>
                    <a:pt x="13" y="6442"/>
                    <a:pt x="537" y="6847"/>
                    <a:pt x="1084" y="7156"/>
                  </a:cubicBezTo>
                  <a:cubicBezTo>
                    <a:pt x="513" y="7501"/>
                    <a:pt x="13" y="7882"/>
                    <a:pt x="13" y="8561"/>
                  </a:cubicBezTo>
                  <a:cubicBezTo>
                    <a:pt x="13" y="9240"/>
                    <a:pt x="537" y="9644"/>
                    <a:pt x="1084" y="9954"/>
                  </a:cubicBezTo>
                  <a:cubicBezTo>
                    <a:pt x="537" y="10264"/>
                    <a:pt x="13" y="10668"/>
                    <a:pt x="13" y="11359"/>
                  </a:cubicBezTo>
                  <a:cubicBezTo>
                    <a:pt x="13" y="11442"/>
                    <a:pt x="96" y="11514"/>
                    <a:pt x="179" y="11514"/>
                  </a:cubicBezTo>
                  <a:cubicBezTo>
                    <a:pt x="275" y="11514"/>
                    <a:pt x="346" y="11442"/>
                    <a:pt x="346" y="11359"/>
                  </a:cubicBezTo>
                  <a:cubicBezTo>
                    <a:pt x="346" y="10776"/>
                    <a:pt x="846" y="10466"/>
                    <a:pt x="1418" y="10145"/>
                  </a:cubicBezTo>
                  <a:cubicBezTo>
                    <a:pt x="1977" y="10466"/>
                    <a:pt x="2489" y="10776"/>
                    <a:pt x="2489" y="11359"/>
                  </a:cubicBezTo>
                  <a:cubicBezTo>
                    <a:pt x="2489" y="11442"/>
                    <a:pt x="2561" y="11514"/>
                    <a:pt x="2656" y="11514"/>
                  </a:cubicBezTo>
                  <a:cubicBezTo>
                    <a:pt x="2739" y="11514"/>
                    <a:pt x="2811" y="11442"/>
                    <a:pt x="2811" y="11359"/>
                  </a:cubicBezTo>
                  <a:cubicBezTo>
                    <a:pt x="2811" y="10668"/>
                    <a:pt x="2299" y="10264"/>
                    <a:pt x="1739" y="9954"/>
                  </a:cubicBezTo>
                  <a:cubicBezTo>
                    <a:pt x="2322" y="9609"/>
                    <a:pt x="2811" y="9228"/>
                    <a:pt x="2811" y="8537"/>
                  </a:cubicBezTo>
                  <a:cubicBezTo>
                    <a:pt x="2811" y="7859"/>
                    <a:pt x="2299" y="7466"/>
                    <a:pt x="1739" y="7144"/>
                  </a:cubicBezTo>
                  <a:cubicBezTo>
                    <a:pt x="2299" y="6835"/>
                    <a:pt x="2811" y="6430"/>
                    <a:pt x="2811" y="5739"/>
                  </a:cubicBezTo>
                  <a:cubicBezTo>
                    <a:pt x="2811" y="5061"/>
                    <a:pt x="2299" y="4656"/>
                    <a:pt x="1739" y="4346"/>
                  </a:cubicBezTo>
                  <a:cubicBezTo>
                    <a:pt x="2358" y="4001"/>
                    <a:pt x="2799" y="3632"/>
                    <a:pt x="2799" y="2906"/>
                  </a:cubicBezTo>
                  <a:cubicBezTo>
                    <a:pt x="2775" y="2251"/>
                    <a:pt x="2263" y="1870"/>
                    <a:pt x="1739" y="1560"/>
                  </a:cubicBezTo>
                  <a:cubicBezTo>
                    <a:pt x="2299" y="1251"/>
                    <a:pt x="2811" y="846"/>
                    <a:pt x="2811" y="167"/>
                  </a:cubicBezTo>
                  <a:cubicBezTo>
                    <a:pt x="2811" y="72"/>
                    <a:pt x="2739" y="0"/>
                    <a:pt x="2656" y="0"/>
                  </a:cubicBezTo>
                  <a:cubicBezTo>
                    <a:pt x="2561" y="0"/>
                    <a:pt x="2489" y="72"/>
                    <a:pt x="2489" y="167"/>
                  </a:cubicBezTo>
                  <a:cubicBezTo>
                    <a:pt x="2489" y="739"/>
                    <a:pt x="1977" y="1060"/>
                    <a:pt x="1418" y="1370"/>
                  </a:cubicBezTo>
                  <a:cubicBezTo>
                    <a:pt x="846" y="1060"/>
                    <a:pt x="346" y="727"/>
                    <a:pt x="346" y="167"/>
                  </a:cubicBezTo>
                  <a:cubicBezTo>
                    <a:pt x="346" y="72"/>
                    <a:pt x="275"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17" name="Google Shape;10217;p59"/>
          <p:cNvGrpSpPr/>
          <p:nvPr/>
        </p:nvGrpSpPr>
        <p:grpSpPr>
          <a:xfrm>
            <a:off x="6701186" y="4283033"/>
            <a:ext cx="280292" cy="366396"/>
            <a:chOff x="6701186" y="4283033"/>
            <a:chExt cx="280292" cy="366396"/>
          </a:xfrm>
        </p:grpSpPr>
        <p:sp>
          <p:nvSpPr>
            <p:cNvPr id="10218" name="Google Shape;10218;p59"/>
            <p:cNvSpPr/>
            <p:nvPr/>
          </p:nvSpPr>
          <p:spPr>
            <a:xfrm>
              <a:off x="6772095" y="4345979"/>
              <a:ext cx="209383" cy="302686"/>
            </a:xfrm>
            <a:custGeom>
              <a:avLst/>
              <a:gdLst/>
              <a:ahLst/>
              <a:cxnLst/>
              <a:rect l="l" t="t" r="r" b="b"/>
              <a:pathLst>
                <a:path w="6573" h="9502" extrusionOk="0">
                  <a:moveTo>
                    <a:pt x="5751" y="894"/>
                  </a:moveTo>
                  <a:cubicBezTo>
                    <a:pt x="6013" y="894"/>
                    <a:pt x="6216" y="1120"/>
                    <a:pt x="6204" y="1394"/>
                  </a:cubicBezTo>
                  <a:lnTo>
                    <a:pt x="6156" y="1799"/>
                  </a:lnTo>
                  <a:lnTo>
                    <a:pt x="5501" y="1799"/>
                  </a:lnTo>
                  <a:cubicBezTo>
                    <a:pt x="5418" y="1799"/>
                    <a:pt x="5335" y="1882"/>
                    <a:pt x="5335" y="1965"/>
                  </a:cubicBezTo>
                  <a:cubicBezTo>
                    <a:pt x="5335" y="2061"/>
                    <a:pt x="5418" y="2132"/>
                    <a:pt x="5501" y="2132"/>
                  </a:cubicBezTo>
                  <a:lnTo>
                    <a:pt x="6132" y="2132"/>
                  </a:lnTo>
                  <a:lnTo>
                    <a:pt x="6085" y="2596"/>
                  </a:lnTo>
                  <a:lnTo>
                    <a:pt x="489" y="2596"/>
                  </a:lnTo>
                  <a:lnTo>
                    <a:pt x="370" y="1394"/>
                  </a:lnTo>
                  <a:cubicBezTo>
                    <a:pt x="334" y="1132"/>
                    <a:pt x="548" y="894"/>
                    <a:pt x="810" y="894"/>
                  </a:cubicBezTo>
                  <a:close/>
                  <a:moveTo>
                    <a:pt x="4561" y="7025"/>
                  </a:moveTo>
                  <a:lnTo>
                    <a:pt x="4549" y="7311"/>
                  </a:lnTo>
                  <a:cubicBezTo>
                    <a:pt x="4549" y="7490"/>
                    <a:pt x="4406" y="7621"/>
                    <a:pt x="4239" y="7621"/>
                  </a:cubicBezTo>
                  <a:lnTo>
                    <a:pt x="2334" y="7621"/>
                  </a:lnTo>
                  <a:cubicBezTo>
                    <a:pt x="2156" y="7621"/>
                    <a:pt x="2025" y="7478"/>
                    <a:pt x="2025" y="7311"/>
                  </a:cubicBezTo>
                  <a:lnTo>
                    <a:pt x="2025" y="7025"/>
                  </a:lnTo>
                  <a:close/>
                  <a:moveTo>
                    <a:pt x="3287" y="1"/>
                  </a:moveTo>
                  <a:cubicBezTo>
                    <a:pt x="3192" y="1"/>
                    <a:pt x="3120" y="84"/>
                    <a:pt x="3120" y="167"/>
                  </a:cubicBezTo>
                  <a:lnTo>
                    <a:pt x="3120" y="560"/>
                  </a:lnTo>
                  <a:lnTo>
                    <a:pt x="810" y="560"/>
                  </a:lnTo>
                  <a:cubicBezTo>
                    <a:pt x="358" y="560"/>
                    <a:pt x="1" y="953"/>
                    <a:pt x="36" y="1418"/>
                  </a:cubicBezTo>
                  <a:cubicBezTo>
                    <a:pt x="60" y="1596"/>
                    <a:pt x="215" y="3215"/>
                    <a:pt x="251" y="3501"/>
                  </a:cubicBezTo>
                  <a:cubicBezTo>
                    <a:pt x="262" y="3589"/>
                    <a:pt x="324" y="3657"/>
                    <a:pt x="409" y="3657"/>
                  </a:cubicBezTo>
                  <a:cubicBezTo>
                    <a:pt x="415" y="3657"/>
                    <a:pt x="422" y="3657"/>
                    <a:pt x="429" y="3656"/>
                  </a:cubicBezTo>
                  <a:cubicBezTo>
                    <a:pt x="513" y="3632"/>
                    <a:pt x="596" y="3561"/>
                    <a:pt x="572" y="3477"/>
                  </a:cubicBezTo>
                  <a:lnTo>
                    <a:pt x="513" y="2942"/>
                  </a:lnTo>
                  <a:lnTo>
                    <a:pt x="6025" y="2942"/>
                  </a:lnTo>
                  <a:lnTo>
                    <a:pt x="5978" y="3394"/>
                  </a:lnTo>
                  <a:lnTo>
                    <a:pt x="4799" y="3394"/>
                  </a:lnTo>
                  <a:cubicBezTo>
                    <a:pt x="4716" y="3394"/>
                    <a:pt x="4644" y="3477"/>
                    <a:pt x="4644" y="3561"/>
                  </a:cubicBezTo>
                  <a:cubicBezTo>
                    <a:pt x="4644" y="3656"/>
                    <a:pt x="4716" y="3727"/>
                    <a:pt x="4799" y="3727"/>
                  </a:cubicBezTo>
                  <a:lnTo>
                    <a:pt x="5954" y="3727"/>
                  </a:lnTo>
                  <a:lnTo>
                    <a:pt x="5906" y="4192"/>
                  </a:lnTo>
                  <a:lnTo>
                    <a:pt x="5489" y="4192"/>
                  </a:lnTo>
                  <a:cubicBezTo>
                    <a:pt x="5394" y="4192"/>
                    <a:pt x="5323" y="4263"/>
                    <a:pt x="5323" y="4347"/>
                  </a:cubicBezTo>
                  <a:cubicBezTo>
                    <a:pt x="5323" y="4442"/>
                    <a:pt x="5394" y="4513"/>
                    <a:pt x="5489" y="4513"/>
                  </a:cubicBezTo>
                  <a:lnTo>
                    <a:pt x="5870" y="4513"/>
                  </a:lnTo>
                  <a:lnTo>
                    <a:pt x="5835" y="4978"/>
                  </a:lnTo>
                  <a:lnTo>
                    <a:pt x="4799" y="4978"/>
                  </a:lnTo>
                  <a:cubicBezTo>
                    <a:pt x="4716" y="4978"/>
                    <a:pt x="4644" y="5049"/>
                    <a:pt x="4644" y="5144"/>
                  </a:cubicBezTo>
                  <a:cubicBezTo>
                    <a:pt x="4644" y="5228"/>
                    <a:pt x="4716" y="5299"/>
                    <a:pt x="4799" y="5299"/>
                  </a:cubicBezTo>
                  <a:lnTo>
                    <a:pt x="5787" y="5299"/>
                  </a:lnTo>
                  <a:lnTo>
                    <a:pt x="5728" y="5990"/>
                  </a:lnTo>
                  <a:cubicBezTo>
                    <a:pt x="5692" y="6275"/>
                    <a:pt x="5561" y="6656"/>
                    <a:pt x="4668" y="6656"/>
                  </a:cubicBezTo>
                  <a:lnTo>
                    <a:pt x="1882" y="6656"/>
                  </a:lnTo>
                  <a:cubicBezTo>
                    <a:pt x="989" y="6656"/>
                    <a:pt x="858" y="6287"/>
                    <a:pt x="834" y="5990"/>
                  </a:cubicBezTo>
                  <a:lnTo>
                    <a:pt x="632" y="4085"/>
                  </a:lnTo>
                  <a:cubicBezTo>
                    <a:pt x="621" y="3996"/>
                    <a:pt x="559" y="3929"/>
                    <a:pt x="474" y="3929"/>
                  </a:cubicBezTo>
                  <a:cubicBezTo>
                    <a:pt x="467" y="3929"/>
                    <a:pt x="460" y="3929"/>
                    <a:pt x="453" y="3930"/>
                  </a:cubicBezTo>
                  <a:cubicBezTo>
                    <a:pt x="370" y="3954"/>
                    <a:pt x="298" y="4025"/>
                    <a:pt x="310" y="4108"/>
                  </a:cubicBezTo>
                  <a:lnTo>
                    <a:pt x="501" y="6013"/>
                  </a:lnTo>
                  <a:cubicBezTo>
                    <a:pt x="548" y="6430"/>
                    <a:pt x="786" y="6906"/>
                    <a:pt x="1679" y="6990"/>
                  </a:cubicBezTo>
                  <a:lnTo>
                    <a:pt x="1679" y="7287"/>
                  </a:lnTo>
                  <a:cubicBezTo>
                    <a:pt x="1679" y="7645"/>
                    <a:pt x="1977" y="7942"/>
                    <a:pt x="2334" y="7942"/>
                  </a:cubicBezTo>
                  <a:lnTo>
                    <a:pt x="3120" y="7942"/>
                  </a:lnTo>
                  <a:lnTo>
                    <a:pt x="3120" y="9335"/>
                  </a:lnTo>
                  <a:cubicBezTo>
                    <a:pt x="3120" y="9430"/>
                    <a:pt x="3192" y="9502"/>
                    <a:pt x="3287" y="9502"/>
                  </a:cubicBezTo>
                  <a:cubicBezTo>
                    <a:pt x="3370" y="9502"/>
                    <a:pt x="3453" y="9430"/>
                    <a:pt x="3453" y="9335"/>
                  </a:cubicBezTo>
                  <a:lnTo>
                    <a:pt x="3453" y="7942"/>
                  </a:lnTo>
                  <a:lnTo>
                    <a:pt x="4239" y="7942"/>
                  </a:lnTo>
                  <a:cubicBezTo>
                    <a:pt x="4596" y="7942"/>
                    <a:pt x="4894" y="7645"/>
                    <a:pt x="4894" y="7287"/>
                  </a:cubicBezTo>
                  <a:lnTo>
                    <a:pt x="4894" y="6990"/>
                  </a:lnTo>
                  <a:cubicBezTo>
                    <a:pt x="5787" y="6930"/>
                    <a:pt x="6025" y="6430"/>
                    <a:pt x="6073" y="6013"/>
                  </a:cubicBezTo>
                  <a:cubicBezTo>
                    <a:pt x="6323" y="3442"/>
                    <a:pt x="6263" y="4156"/>
                    <a:pt x="6525" y="1418"/>
                  </a:cubicBezTo>
                  <a:cubicBezTo>
                    <a:pt x="6573" y="953"/>
                    <a:pt x="6216" y="560"/>
                    <a:pt x="5751" y="560"/>
                  </a:cubicBezTo>
                  <a:lnTo>
                    <a:pt x="3453" y="560"/>
                  </a:lnTo>
                  <a:lnTo>
                    <a:pt x="3453" y="167"/>
                  </a:lnTo>
                  <a:cubicBezTo>
                    <a:pt x="3453" y="84"/>
                    <a:pt x="3370" y="1"/>
                    <a:pt x="3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9" name="Google Shape;10219;p59"/>
            <p:cNvSpPr/>
            <p:nvPr/>
          </p:nvSpPr>
          <p:spPr>
            <a:xfrm>
              <a:off x="6701186" y="4283033"/>
              <a:ext cx="217347" cy="366396"/>
            </a:xfrm>
            <a:custGeom>
              <a:avLst/>
              <a:gdLst/>
              <a:ahLst/>
              <a:cxnLst/>
              <a:rect l="l" t="t" r="r" b="b"/>
              <a:pathLst>
                <a:path w="6823" h="11502" extrusionOk="0">
                  <a:moveTo>
                    <a:pt x="5513" y="0"/>
                  </a:moveTo>
                  <a:cubicBezTo>
                    <a:pt x="5418" y="0"/>
                    <a:pt x="5346" y="72"/>
                    <a:pt x="5346" y="167"/>
                  </a:cubicBezTo>
                  <a:lnTo>
                    <a:pt x="5346" y="369"/>
                  </a:lnTo>
                  <a:cubicBezTo>
                    <a:pt x="4882" y="429"/>
                    <a:pt x="4501" y="727"/>
                    <a:pt x="4310" y="1143"/>
                  </a:cubicBezTo>
                  <a:lnTo>
                    <a:pt x="1762" y="1143"/>
                  </a:lnTo>
                  <a:cubicBezTo>
                    <a:pt x="810" y="1143"/>
                    <a:pt x="24" y="1917"/>
                    <a:pt x="24" y="2894"/>
                  </a:cubicBezTo>
                  <a:lnTo>
                    <a:pt x="24" y="5072"/>
                  </a:lnTo>
                  <a:cubicBezTo>
                    <a:pt x="24" y="5168"/>
                    <a:pt x="95" y="5239"/>
                    <a:pt x="179" y="5239"/>
                  </a:cubicBezTo>
                  <a:cubicBezTo>
                    <a:pt x="274" y="5239"/>
                    <a:pt x="345" y="5168"/>
                    <a:pt x="345" y="5072"/>
                  </a:cubicBezTo>
                  <a:lnTo>
                    <a:pt x="345" y="2894"/>
                  </a:lnTo>
                  <a:cubicBezTo>
                    <a:pt x="345" y="2120"/>
                    <a:pt x="977" y="1489"/>
                    <a:pt x="1750" y="1489"/>
                  </a:cubicBezTo>
                  <a:lnTo>
                    <a:pt x="4394" y="1489"/>
                  </a:lnTo>
                  <a:cubicBezTo>
                    <a:pt x="4465" y="1489"/>
                    <a:pt x="4525" y="1441"/>
                    <a:pt x="4560" y="1370"/>
                  </a:cubicBezTo>
                  <a:cubicBezTo>
                    <a:pt x="4691" y="965"/>
                    <a:pt x="5060" y="703"/>
                    <a:pt x="5477" y="703"/>
                  </a:cubicBezTo>
                  <a:cubicBezTo>
                    <a:pt x="6013" y="703"/>
                    <a:pt x="6453" y="1131"/>
                    <a:pt x="6453" y="1667"/>
                  </a:cubicBezTo>
                  <a:cubicBezTo>
                    <a:pt x="6453" y="1774"/>
                    <a:pt x="6394" y="1846"/>
                    <a:pt x="6287" y="1882"/>
                  </a:cubicBezTo>
                  <a:cubicBezTo>
                    <a:pt x="6274" y="1884"/>
                    <a:pt x="6262" y="1885"/>
                    <a:pt x="6250" y="1885"/>
                  </a:cubicBezTo>
                  <a:cubicBezTo>
                    <a:pt x="6134" y="1885"/>
                    <a:pt x="6037" y="1786"/>
                    <a:pt x="6037" y="1667"/>
                  </a:cubicBezTo>
                  <a:cubicBezTo>
                    <a:pt x="6037" y="1330"/>
                    <a:pt x="5756" y="1100"/>
                    <a:pt x="5462" y="1100"/>
                  </a:cubicBezTo>
                  <a:cubicBezTo>
                    <a:pt x="5340" y="1100"/>
                    <a:pt x="5216" y="1140"/>
                    <a:pt x="5108" y="1227"/>
                  </a:cubicBezTo>
                  <a:cubicBezTo>
                    <a:pt x="4882" y="1405"/>
                    <a:pt x="4906" y="1667"/>
                    <a:pt x="4906" y="1679"/>
                  </a:cubicBezTo>
                  <a:cubicBezTo>
                    <a:pt x="4906" y="1798"/>
                    <a:pt x="4810" y="1893"/>
                    <a:pt x="4691" y="1893"/>
                  </a:cubicBezTo>
                  <a:lnTo>
                    <a:pt x="1727" y="1893"/>
                  </a:lnTo>
                  <a:cubicBezTo>
                    <a:pt x="1191" y="1893"/>
                    <a:pt x="750" y="2334"/>
                    <a:pt x="750" y="2870"/>
                  </a:cubicBezTo>
                  <a:lnTo>
                    <a:pt x="750" y="11180"/>
                  </a:lnTo>
                  <a:lnTo>
                    <a:pt x="334" y="11180"/>
                  </a:lnTo>
                  <a:lnTo>
                    <a:pt x="334" y="5692"/>
                  </a:lnTo>
                  <a:cubicBezTo>
                    <a:pt x="334" y="5596"/>
                    <a:pt x="262" y="5525"/>
                    <a:pt x="167" y="5525"/>
                  </a:cubicBezTo>
                  <a:cubicBezTo>
                    <a:pt x="84" y="5525"/>
                    <a:pt x="0" y="5596"/>
                    <a:pt x="0" y="5692"/>
                  </a:cubicBezTo>
                  <a:lnTo>
                    <a:pt x="0" y="11347"/>
                  </a:lnTo>
                  <a:cubicBezTo>
                    <a:pt x="0" y="11430"/>
                    <a:pt x="84" y="11502"/>
                    <a:pt x="167" y="11502"/>
                  </a:cubicBezTo>
                  <a:lnTo>
                    <a:pt x="929" y="11502"/>
                  </a:lnTo>
                  <a:cubicBezTo>
                    <a:pt x="1012" y="11502"/>
                    <a:pt x="1096" y="11430"/>
                    <a:pt x="1096" y="11347"/>
                  </a:cubicBezTo>
                  <a:lnTo>
                    <a:pt x="1096" y="2870"/>
                  </a:lnTo>
                  <a:cubicBezTo>
                    <a:pt x="1096" y="2513"/>
                    <a:pt x="1369" y="2239"/>
                    <a:pt x="1727" y="2239"/>
                  </a:cubicBezTo>
                  <a:lnTo>
                    <a:pt x="4703" y="2239"/>
                  </a:lnTo>
                  <a:cubicBezTo>
                    <a:pt x="5037" y="2215"/>
                    <a:pt x="5287" y="1977"/>
                    <a:pt x="5287" y="1679"/>
                  </a:cubicBezTo>
                  <a:lnTo>
                    <a:pt x="5287" y="1667"/>
                  </a:lnTo>
                  <a:cubicBezTo>
                    <a:pt x="5287" y="1548"/>
                    <a:pt x="5386" y="1438"/>
                    <a:pt x="5521" y="1438"/>
                  </a:cubicBezTo>
                  <a:cubicBezTo>
                    <a:pt x="5534" y="1438"/>
                    <a:pt x="5547" y="1439"/>
                    <a:pt x="5560" y="1441"/>
                  </a:cubicBezTo>
                  <a:cubicBezTo>
                    <a:pt x="5656" y="1465"/>
                    <a:pt x="5739" y="1560"/>
                    <a:pt x="5739" y="1667"/>
                  </a:cubicBezTo>
                  <a:cubicBezTo>
                    <a:pt x="5739" y="1978"/>
                    <a:pt x="5990" y="2212"/>
                    <a:pt x="6292" y="2212"/>
                  </a:cubicBezTo>
                  <a:cubicBezTo>
                    <a:pt x="6325" y="2212"/>
                    <a:pt x="6359" y="2209"/>
                    <a:pt x="6394" y="2203"/>
                  </a:cubicBezTo>
                  <a:cubicBezTo>
                    <a:pt x="6644" y="2155"/>
                    <a:pt x="6822" y="1917"/>
                    <a:pt x="6822" y="1667"/>
                  </a:cubicBezTo>
                  <a:cubicBezTo>
                    <a:pt x="6822" y="1000"/>
                    <a:pt x="6311" y="453"/>
                    <a:pt x="5679" y="369"/>
                  </a:cubicBezTo>
                  <a:lnTo>
                    <a:pt x="5679" y="167"/>
                  </a:lnTo>
                  <a:cubicBezTo>
                    <a:pt x="5679" y="72"/>
                    <a:pt x="5596" y="0"/>
                    <a:pt x="5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20" name="Google Shape;10220;p59"/>
          <p:cNvGrpSpPr/>
          <p:nvPr/>
        </p:nvGrpSpPr>
        <p:grpSpPr>
          <a:xfrm>
            <a:off x="2609571" y="3824958"/>
            <a:ext cx="373627" cy="347347"/>
            <a:chOff x="2609571" y="3824958"/>
            <a:chExt cx="373627" cy="347347"/>
          </a:xfrm>
        </p:grpSpPr>
        <p:sp>
          <p:nvSpPr>
            <p:cNvPr id="10221" name="Google Shape;10221;p59"/>
            <p:cNvSpPr/>
            <p:nvPr/>
          </p:nvSpPr>
          <p:spPr>
            <a:xfrm>
              <a:off x="2609571" y="3824958"/>
              <a:ext cx="373627" cy="347347"/>
            </a:xfrm>
            <a:custGeom>
              <a:avLst/>
              <a:gdLst/>
              <a:ahLst/>
              <a:cxnLst/>
              <a:rect l="l" t="t" r="r" b="b"/>
              <a:pathLst>
                <a:path w="11729" h="10904" extrusionOk="0">
                  <a:moveTo>
                    <a:pt x="10859" y="4201"/>
                  </a:moveTo>
                  <a:cubicBezTo>
                    <a:pt x="11157" y="4201"/>
                    <a:pt x="11395" y="4439"/>
                    <a:pt x="11395" y="4736"/>
                  </a:cubicBezTo>
                  <a:cubicBezTo>
                    <a:pt x="11395" y="5034"/>
                    <a:pt x="11157" y="5272"/>
                    <a:pt x="10859" y="5272"/>
                  </a:cubicBezTo>
                  <a:cubicBezTo>
                    <a:pt x="10561" y="5272"/>
                    <a:pt x="10323" y="5034"/>
                    <a:pt x="10323" y="4736"/>
                  </a:cubicBezTo>
                  <a:cubicBezTo>
                    <a:pt x="10323" y="4439"/>
                    <a:pt x="10561" y="4201"/>
                    <a:pt x="10859" y="4201"/>
                  </a:cubicBezTo>
                  <a:close/>
                  <a:moveTo>
                    <a:pt x="9549" y="8903"/>
                  </a:moveTo>
                  <a:cubicBezTo>
                    <a:pt x="9645" y="8903"/>
                    <a:pt x="9716" y="8975"/>
                    <a:pt x="9716" y="9070"/>
                  </a:cubicBezTo>
                  <a:lnTo>
                    <a:pt x="9716" y="10094"/>
                  </a:lnTo>
                  <a:cubicBezTo>
                    <a:pt x="9716" y="10189"/>
                    <a:pt x="9645" y="10261"/>
                    <a:pt x="9549" y="10261"/>
                  </a:cubicBezTo>
                  <a:lnTo>
                    <a:pt x="9180" y="10261"/>
                  </a:lnTo>
                  <a:cubicBezTo>
                    <a:pt x="9204" y="10130"/>
                    <a:pt x="9180" y="9963"/>
                    <a:pt x="9192" y="8903"/>
                  </a:cubicBezTo>
                  <a:close/>
                  <a:moveTo>
                    <a:pt x="5053" y="0"/>
                  </a:moveTo>
                  <a:cubicBezTo>
                    <a:pt x="4265" y="0"/>
                    <a:pt x="3460" y="208"/>
                    <a:pt x="2715" y="664"/>
                  </a:cubicBezTo>
                  <a:cubicBezTo>
                    <a:pt x="2644" y="700"/>
                    <a:pt x="2620" y="807"/>
                    <a:pt x="2656" y="879"/>
                  </a:cubicBezTo>
                  <a:cubicBezTo>
                    <a:pt x="2687" y="933"/>
                    <a:pt x="2744" y="962"/>
                    <a:pt x="2800" y="962"/>
                  </a:cubicBezTo>
                  <a:cubicBezTo>
                    <a:pt x="2829" y="962"/>
                    <a:pt x="2857" y="955"/>
                    <a:pt x="2882" y="938"/>
                  </a:cubicBezTo>
                  <a:cubicBezTo>
                    <a:pt x="3575" y="516"/>
                    <a:pt x="4322" y="323"/>
                    <a:pt x="5053" y="323"/>
                  </a:cubicBezTo>
                  <a:cubicBezTo>
                    <a:pt x="7249" y="323"/>
                    <a:pt x="9299" y="2063"/>
                    <a:pt x="9299" y="4546"/>
                  </a:cubicBezTo>
                  <a:cubicBezTo>
                    <a:pt x="9299" y="6883"/>
                    <a:pt x="7400" y="8772"/>
                    <a:pt x="5076" y="8772"/>
                  </a:cubicBezTo>
                  <a:cubicBezTo>
                    <a:pt x="4972" y="8772"/>
                    <a:pt x="4868" y="8768"/>
                    <a:pt x="4763" y="8761"/>
                  </a:cubicBezTo>
                  <a:cubicBezTo>
                    <a:pt x="2584" y="8594"/>
                    <a:pt x="858" y="6772"/>
                    <a:pt x="858" y="4546"/>
                  </a:cubicBezTo>
                  <a:cubicBezTo>
                    <a:pt x="858" y="3284"/>
                    <a:pt x="1429" y="2093"/>
                    <a:pt x="2394" y="1283"/>
                  </a:cubicBezTo>
                  <a:cubicBezTo>
                    <a:pt x="2465" y="1224"/>
                    <a:pt x="2465" y="1117"/>
                    <a:pt x="2418" y="1057"/>
                  </a:cubicBezTo>
                  <a:cubicBezTo>
                    <a:pt x="2386" y="1020"/>
                    <a:pt x="2346" y="1002"/>
                    <a:pt x="2305" y="1002"/>
                  </a:cubicBezTo>
                  <a:cubicBezTo>
                    <a:pt x="2268" y="1002"/>
                    <a:pt x="2232" y="1017"/>
                    <a:pt x="2203" y="1045"/>
                  </a:cubicBezTo>
                  <a:cubicBezTo>
                    <a:pt x="298" y="2629"/>
                    <a:pt x="1" y="5403"/>
                    <a:pt x="1501" y="7344"/>
                  </a:cubicBezTo>
                  <a:lnTo>
                    <a:pt x="751" y="8189"/>
                  </a:lnTo>
                  <a:cubicBezTo>
                    <a:pt x="620" y="8344"/>
                    <a:pt x="548" y="8546"/>
                    <a:pt x="548" y="8737"/>
                  </a:cubicBezTo>
                  <a:lnTo>
                    <a:pt x="548" y="10166"/>
                  </a:lnTo>
                  <a:cubicBezTo>
                    <a:pt x="548" y="10570"/>
                    <a:pt x="870" y="10904"/>
                    <a:pt x="1275" y="10904"/>
                  </a:cubicBezTo>
                  <a:lnTo>
                    <a:pt x="6847" y="10904"/>
                  </a:lnTo>
                  <a:cubicBezTo>
                    <a:pt x="6930" y="10904"/>
                    <a:pt x="7001" y="10820"/>
                    <a:pt x="7001" y="10737"/>
                  </a:cubicBezTo>
                  <a:cubicBezTo>
                    <a:pt x="7001" y="10642"/>
                    <a:pt x="6930" y="10570"/>
                    <a:pt x="6847" y="10570"/>
                  </a:cubicBezTo>
                  <a:lnTo>
                    <a:pt x="1275" y="10570"/>
                  </a:lnTo>
                  <a:cubicBezTo>
                    <a:pt x="1048" y="10570"/>
                    <a:pt x="870" y="10392"/>
                    <a:pt x="870" y="10166"/>
                  </a:cubicBezTo>
                  <a:lnTo>
                    <a:pt x="870" y="8737"/>
                  </a:lnTo>
                  <a:cubicBezTo>
                    <a:pt x="870" y="8618"/>
                    <a:pt x="917" y="8499"/>
                    <a:pt x="1013" y="8403"/>
                  </a:cubicBezTo>
                  <a:lnTo>
                    <a:pt x="1727" y="7594"/>
                  </a:lnTo>
                  <a:cubicBezTo>
                    <a:pt x="2622" y="8589"/>
                    <a:pt x="3864" y="9098"/>
                    <a:pt x="5110" y="9098"/>
                  </a:cubicBezTo>
                  <a:cubicBezTo>
                    <a:pt x="6233" y="9098"/>
                    <a:pt x="7359" y="8685"/>
                    <a:pt x="8240" y="7844"/>
                  </a:cubicBezTo>
                  <a:lnTo>
                    <a:pt x="8728" y="8415"/>
                  </a:lnTo>
                  <a:cubicBezTo>
                    <a:pt x="8823" y="8499"/>
                    <a:pt x="8859" y="8618"/>
                    <a:pt x="8859" y="8761"/>
                  </a:cubicBezTo>
                  <a:cubicBezTo>
                    <a:pt x="8847" y="10166"/>
                    <a:pt x="8906" y="10213"/>
                    <a:pt x="8811" y="10380"/>
                  </a:cubicBezTo>
                  <a:cubicBezTo>
                    <a:pt x="8728" y="10499"/>
                    <a:pt x="8609" y="10570"/>
                    <a:pt x="8466" y="10570"/>
                  </a:cubicBezTo>
                  <a:lnTo>
                    <a:pt x="7454" y="10570"/>
                  </a:lnTo>
                  <a:cubicBezTo>
                    <a:pt x="7359" y="10570"/>
                    <a:pt x="7287" y="10642"/>
                    <a:pt x="7287" y="10737"/>
                  </a:cubicBezTo>
                  <a:cubicBezTo>
                    <a:pt x="7287" y="10820"/>
                    <a:pt x="7359" y="10904"/>
                    <a:pt x="7454" y="10904"/>
                  </a:cubicBezTo>
                  <a:lnTo>
                    <a:pt x="8466" y="10904"/>
                  </a:lnTo>
                  <a:cubicBezTo>
                    <a:pt x="8704" y="10904"/>
                    <a:pt x="8906" y="10797"/>
                    <a:pt x="9049" y="10618"/>
                  </a:cubicBezTo>
                  <a:lnTo>
                    <a:pt x="9549" y="10618"/>
                  </a:lnTo>
                  <a:cubicBezTo>
                    <a:pt x="9811" y="10618"/>
                    <a:pt x="10038" y="10392"/>
                    <a:pt x="10038" y="10130"/>
                  </a:cubicBezTo>
                  <a:lnTo>
                    <a:pt x="10038" y="9737"/>
                  </a:lnTo>
                  <a:lnTo>
                    <a:pt x="10252" y="9737"/>
                  </a:lnTo>
                  <a:cubicBezTo>
                    <a:pt x="10680" y="9737"/>
                    <a:pt x="11038" y="9380"/>
                    <a:pt x="11038" y="8951"/>
                  </a:cubicBezTo>
                  <a:lnTo>
                    <a:pt x="11038" y="5570"/>
                  </a:lnTo>
                  <a:cubicBezTo>
                    <a:pt x="11431" y="5510"/>
                    <a:pt x="11728" y="5153"/>
                    <a:pt x="11728" y="4736"/>
                  </a:cubicBezTo>
                  <a:cubicBezTo>
                    <a:pt x="11728" y="4260"/>
                    <a:pt x="11335" y="3879"/>
                    <a:pt x="10859" y="3879"/>
                  </a:cubicBezTo>
                  <a:cubicBezTo>
                    <a:pt x="10383" y="3879"/>
                    <a:pt x="10002" y="4260"/>
                    <a:pt x="10002" y="4736"/>
                  </a:cubicBezTo>
                  <a:cubicBezTo>
                    <a:pt x="10002" y="5153"/>
                    <a:pt x="10299" y="5510"/>
                    <a:pt x="10692" y="5582"/>
                  </a:cubicBezTo>
                  <a:lnTo>
                    <a:pt x="10692" y="8963"/>
                  </a:lnTo>
                  <a:cubicBezTo>
                    <a:pt x="10692" y="9213"/>
                    <a:pt x="10490" y="9427"/>
                    <a:pt x="10240" y="9427"/>
                  </a:cubicBezTo>
                  <a:lnTo>
                    <a:pt x="10026" y="9427"/>
                  </a:lnTo>
                  <a:lnTo>
                    <a:pt x="10026" y="9082"/>
                  </a:lnTo>
                  <a:cubicBezTo>
                    <a:pt x="10026" y="8820"/>
                    <a:pt x="9799" y="8594"/>
                    <a:pt x="9537" y="8594"/>
                  </a:cubicBezTo>
                  <a:lnTo>
                    <a:pt x="9168" y="8594"/>
                  </a:lnTo>
                  <a:cubicBezTo>
                    <a:pt x="9133" y="8439"/>
                    <a:pt x="9073" y="8296"/>
                    <a:pt x="8966" y="8177"/>
                  </a:cubicBezTo>
                  <a:lnTo>
                    <a:pt x="8454" y="7594"/>
                  </a:lnTo>
                  <a:cubicBezTo>
                    <a:pt x="9180" y="6796"/>
                    <a:pt x="9621" y="5725"/>
                    <a:pt x="9621" y="4546"/>
                  </a:cubicBezTo>
                  <a:cubicBezTo>
                    <a:pt x="9621" y="1868"/>
                    <a:pt x="7413" y="0"/>
                    <a:pt x="50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2" name="Google Shape;10222;p59"/>
            <p:cNvSpPr/>
            <p:nvPr/>
          </p:nvSpPr>
          <p:spPr>
            <a:xfrm>
              <a:off x="2735494" y="3933329"/>
              <a:ext cx="72088" cy="72088"/>
            </a:xfrm>
            <a:custGeom>
              <a:avLst/>
              <a:gdLst/>
              <a:ahLst/>
              <a:cxnLst/>
              <a:rect l="l" t="t" r="r" b="b"/>
              <a:pathLst>
                <a:path w="2263" h="2263" extrusionOk="0">
                  <a:moveTo>
                    <a:pt x="1143" y="322"/>
                  </a:moveTo>
                  <a:cubicBezTo>
                    <a:pt x="1596" y="322"/>
                    <a:pt x="1953" y="679"/>
                    <a:pt x="1953" y="1132"/>
                  </a:cubicBezTo>
                  <a:cubicBezTo>
                    <a:pt x="1953" y="1572"/>
                    <a:pt x="1596" y="1930"/>
                    <a:pt x="1143" y="1930"/>
                  </a:cubicBezTo>
                  <a:cubicBezTo>
                    <a:pt x="703" y="1918"/>
                    <a:pt x="346" y="1561"/>
                    <a:pt x="346" y="1132"/>
                  </a:cubicBezTo>
                  <a:cubicBezTo>
                    <a:pt x="346" y="679"/>
                    <a:pt x="703" y="322"/>
                    <a:pt x="1143" y="322"/>
                  </a:cubicBezTo>
                  <a:close/>
                  <a:moveTo>
                    <a:pt x="1132" y="1"/>
                  </a:moveTo>
                  <a:cubicBezTo>
                    <a:pt x="501" y="1"/>
                    <a:pt x="0" y="501"/>
                    <a:pt x="0" y="1132"/>
                  </a:cubicBezTo>
                  <a:cubicBezTo>
                    <a:pt x="0" y="1751"/>
                    <a:pt x="501" y="2263"/>
                    <a:pt x="1132" y="2263"/>
                  </a:cubicBezTo>
                  <a:cubicBezTo>
                    <a:pt x="1763" y="2239"/>
                    <a:pt x="2263" y="1739"/>
                    <a:pt x="2263" y="1132"/>
                  </a:cubicBezTo>
                  <a:cubicBezTo>
                    <a:pt x="2263" y="501"/>
                    <a:pt x="1763"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3" name="Google Shape;10223;p59"/>
          <p:cNvSpPr/>
          <p:nvPr/>
        </p:nvSpPr>
        <p:spPr>
          <a:xfrm>
            <a:off x="1288576" y="3822410"/>
            <a:ext cx="363370" cy="351456"/>
          </a:xfrm>
          <a:custGeom>
            <a:avLst/>
            <a:gdLst/>
            <a:ahLst/>
            <a:cxnLst/>
            <a:rect l="l" t="t" r="r" b="b"/>
            <a:pathLst>
              <a:path w="11407" h="11033" extrusionOk="0">
                <a:moveTo>
                  <a:pt x="1698" y="1130"/>
                </a:moveTo>
                <a:cubicBezTo>
                  <a:pt x="1739" y="1130"/>
                  <a:pt x="1780" y="1133"/>
                  <a:pt x="1822" y="1137"/>
                </a:cubicBezTo>
                <a:lnTo>
                  <a:pt x="1143" y="3626"/>
                </a:lnTo>
                <a:cubicBezTo>
                  <a:pt x="643" y="3423"/>
                  <a:pt x="357" y="2852"/>
                  <a:pt x="512" y="2316"/>
                </a:cubicBezTo>
                <a:lnTo>
                  <a:pt x="607" y="1959"/>
                </a:lnTo>
                <a:cubicBezTo>
                  <a:pt x="750" y="1453"/>
                  <a:pt x="1207" y="1130"/>
                  <a:pt x="1698" y="1130"/>
                </a:cubicBezTo>
                <a:close/>
                <a:moveTo>
                  <a:pt x="2641" y="304"/>
                </a:moveTo>
                <a:cubicBezTo>
                  <a:pt x="2755" y="304"/>
                  <a:pt x="2867" y="357"/>
                  <a:pt x="2929" y="471"/>
                </a:cubicBezTo>
                <a:cubicBezTo>
                  <a:pt x="2977" y="542"/>
                  <a:pt x="2989" y="649"/>
                  <a:pt x="2965" y="732"/>
                </a:cubicBezTo>
                <a:lnTo>
                  <a:pt x="1941" y="4566"/>
                </a:lnTo>
                <a:cubicBezTo>
                  <a:pt x="1905" y="4650"/>
                  <a:pt x="1846" y="4733"/>
                  <a:pt x="1774" y="4769"/>
                </a:cubicBezTo>
                <a:cubicBezTo>
                  <a:pt x="1719" y="4806"/>
                  <a:pt x="1659" y="4822"/>
                  <a:pt x="1601" y="4822"/>
                </a:cubicBezTo>
                <a:cubicBezTo>
                  <a:pt x="1396" y="4822"/>
                  <a:pt x="1207" y="4619"/>
                  <a:pt x="1262" y="4388"/>
                </a:cubicBezTo>
                <a:cubicBezTo>
                  <a:pt x="1310" y="4209"/>
                  <a:pt x="2215" y="828"/>
                  <a:pt x="2298" y="566"/>
                </a:cubicBezTo>
                <a:cubicBezTo>
                  <a:pt x="2339" y="397"/>
                  <a:pt x="2491" y="304"/>
                  <a:pt x="2641" y="304"/>
                </a:cubicBezTo>
                <a:close/>
                <a:moveTo>
                  <a:pt x="8751" y="3792"/>
                </a:moveTo>
                <a:lnTo>
                  <a:pt x="10168" y="4173"/>
                </a:lnTo>
                <a:lnTo>
                  <a:pt x="9894" y="5185"/>
                </a:lnTo>
                <a:lnTo>
                  <a:pt x="8489" y="4804"/>
                </a:lnTo>
                <a:cubicBezTo>
                  <a:pt x="8525" y="4614"/>
                  <a:pt x="8704" y="3983"/>
                  <a:pt x="8751" y="3792"/>
                </a:cubicBezTo>
                <a:close/>
                <a:moveTo>
                  <a:pt x="10789" y="3812"/>
                </a:moveTo>
                <a:cubicBezTo>
                  <a:pt x="10804" y="3812"/>
                  <a:pt x="10819" y="3813"/>
                  <a:pt x="10835" y="3816"/>
                </a:cubicBezTo>
                <a:cubicBezTo>
                  <a:pt x="10954" y="3852"/>
                  <a:pt x="11025" y="3971"/>
                  <a:pt x="11001" y="4090"/>
                </a:cubicBezTo>
                <a:lnTo>
                  <a:pt x="10573" y="5662"/>
                </a:lnTo>
                <a:cubicBezTo>
                  <a:pt x="10542" y="5765"/>
                  <a:pt x="10447" y="5833"/>
                  <a:pt x="10345" y="5833"/>
                </a:cubicBezTo>
                <a:cubicBezTo>
                  <a:pt x="10330" y="5833"/>
                  <a:pt x="10314" y="5831"/>
                  <a:pt x="10299" y="5828"/>
                </a:cubicBezTo>
                <a:cubicBezTo>
                  <a:pt x="10180" y="5805"/>
                  <a:pt x="10120" y="5626"/>
                  <a:pt x="10132" y="5566"/>
                </a:cubicBezTo>
                <a:cubicBezTo>
                  <a:pt x="10179" y="5391"/>
                  <a:pt x="10560" y="3982"/>
                  <a:pt x="10573" y="3982"/>
                </a:cubicBezTo>
                <a:cubicBezTo>
                  <a:pt x="10573" y="3982"/>
                  <a:pt x="10573" y="3982"/>
                  <a:pt x="10573" y="3983"/>
                </a:cubicBezTo>
                <a:cubicBezTo>
                  <a:pt x="10594" y="3879"/>
                  <a:pt x="10687" y="3812"/>
                  <a:pt x="10789" y="3812"/>
                </a:cubicBezTo>
                <a:close/>
                <a:moveTo>
                  <a:pt x="4679" y="4983"/>
                </a:moveTo>
                <a:lnTo>
                  <a:pt x="6799" y="5447"/>
                </a:lnTo>
                <a:lnTo>
                  <a:pt x="6799" y="5924"/>
                </a:lnTo>
                <a:cubicBezTo>
                  <a:pt x="6799" y="6245"/>
                  <a:pt x="6537" y="6531"/>
                  <a:pt x="6191" y="6531"/>
                </a:cubicBezTo>
                <a:lnTo>
                  <a:pt x="5286" y="6531"/>
                </a:lnTo>
                <a:cubicBezTo>
                  <a:pt x="4953" y="6531"/>
                  <a:pt x="4667" y="6257"/>
                  <a:pt x="4667" y="5924"/>
                </a:cubicBezTo>
                <a:lnTo>
                  <a:pt x="4667" y="4983"/>
                </a:lnTo>
                <a:close/>
                <a:moveTo>
                  <a:pt x="2644" y="0"/>
                </a:moveTo>
                <a:cubicBezTo>
                  <a:pt x="2359" y="0"/>
                  <a:pt x="2075" y="175"/>
                  <a:pt x="1988" y="494"/>
                </a:cubicBezTo>
                <a:lnTo>
                  <a:pt x="1905" y="840"/>
                </a:lnTo>
                <a:cubicBezTo>
                  <a:pt x="1835" y="829"/>
                  <a:pt x="1764" y="824"/>
                  <a:pt x="1694" y="824"/>
                </a:cubicBezTo>
                <a:cubicBezTo>
                  <a:pt x="1065" y="824"/>
                  <a:pt x="469" y="1246"/>
                  <a:pt x="298" y="1899"/>
                </a:cubicBezTo>
                <a:lnTo>
                  <a:pt x="191" y="2256"/>
                </a:lnTo>
                <a:cubicBezTo>
                  <a:pt x="0" y="2947"/>
                  <a:pt x="369" y="3685"/>
                  <a:pt x="1048" y="3959"/>
                </a:cubicBezTo>
                <a:lnTo>
                  <a:pt x="953" y="4292"/>
                </a:lnTo>
                <a:cubicBezTo>
                  <a:pt x="822" y="4751"/>
                  <a:pt x="1191" y="5150"/>
                  <a:pt x="1609" y="5150"/>
                </a:cubicBezTo>
                <a:cubicBezTo>
                  <a:pt x="1723" y="5150"/>
                  <a:pt x="1840" y="5121"/>
                  <a:pt x="1953" y="5054"/>
                </a:cubicBezTo>
                <a:cubicBezTo>
                  <a:pt x="2274" y="4876"/>
                  <a:pt x="2274" y="4554"/>
                  <a:pt x="2322" y="4459"/>
                </a:cubicBezTo>
                <a:lnTo>
                  <a:pt x="4358" y="4912"/>
                </a:lnTo>
                <a:lnTo>
                  <a:pt x="4358" y="5924"/>
                </a:lnTo>
                <a:cubicBezTo>
                  <a:pt x="4358" y="6436"/>
                  <a:pt x="4775" y="6852"/>
                  <a:pt x="5298" y="6852"/>
                </a:cubicBezTo>
                <a:lnTo>
                  <a:pt x="5584" y="6852"/>
                </a:lnTo>
                <a:lnTo>
                  <a:pt x="5584" y="7638"/>
                </a:lnTo>
                <a:lnTo>
                  <a:pt x="4001" y="7638"/>
                </a:lnTo>
                <a:cubicBezTo>
                  <a:pt x="3703" y="7638"/>
                  <a:pt x="3453" y="7900"/>
                  <a:pt x="3453" y="8198"/>
                </a:cubicBezTo>
                <a:cubicBezTo>
                  <a:pt x="3453" y="8495"/>
                  <a:pt x="3703" y="8745"/>
                  <a:pt x="4001" y="8745"/>
                </a:cubicBezTo>
                <a:lnTo>
                  <a:pt x="4298" y="8745"/>
                </a:lnTo>
                <a:lnTo>
                  <a:pt x="2679" y="10758"/>
                </a:lnTo>
                <a:cubicBezTo>
                  <a:pt x="2584" y="10865"/>
                  <a:pt x="2667" y="11019"/>
                  <a:pt x="2810" y="11019"/>
                </a:cubicBezTo>
                <a:cubicBezTo>
                  <a:pt x="2858" y="11019"/>
                  <a:pt x="2905" y="11008"/>
                  <a:pt x="2941" y="10960"/>
                </a:cubicBezTo>
                <a:lnTo>
                  <a:pt x="4727" y="8745"/>
                </a:lnTo>
                <a:lnTo>
                  <a:pt x="5596" y="8745"/>
                </a:lnTo>
                <a:lnTo>
                  <a:pt x="5596" y="10865"/>
                </a:lnTo>
                <a:cubicBezTo>
                  <a:pt x="5596" y="10948"/>
                  <a:pt x="5667" y="11019"/>
                  <a:pt x="5763" y="11019"/>
                </a:cubicBezTo>
                <a:cubicBezTo>
                  <a:pt x="5846" y="11019"/>
                  <a:pt x="5918" y="10948"/>
                  <a:pt x="5918" y="10865"/>
                </a:cubicBezTo>
                <a:lnTo>
                  <a:pt x="5918" y="8745"/>
                </a:lnTo>
                <a:lnTo>
                  <a:pt x="6787" y="8745"/>
                </a:lnTo>
                <a:lnTo>
                  <a:pt x="8573" y="10960"/>
                </a:lnTo>
                <a:cubicBezTo>
                  <a:pt x="8607" y="11009"/>
                  <a:pt x="8658" y="11033"/>
                  <a:pt x="8706" y="11033"/>
                </a:cubicBezTo>
                <a:cubicBezTo>
                  <a:pt x="8741" y="11033"/>
                  <a:pt x="8774" y="11020"/>
                  <a:pt x="8799" y="10996"/>
                </a:cubicBezTo>
                <a:cubicBezTo>
                  <a:pt x="8870" y="10936"/>
                  <a:pt x="8870" y="10829"/>
                  <a:pt x="8823" y="10769"/>
                </a:cubicBezTo>
                <a:lnTo>
                  <a:pt x="7203" y="8757"/>
                </a:lnTo>
                <a:lnTo>
                  <a:pt x="7501" y="8757"/>
                </a:lnTo>
                <a:cubicBezTo>
                  <a:pt x="7799" y="8757"/>
                  <a:pt x="8049" y="8507"/>
                  <a:pt x="8049" y="8210"/>
                </a:cubicBezTo>
                <a:cubicBezTo>
                  <a:pt x="8049" y="7912"/>
                  <a:pt x="7799" y="7662"/>
                  <a:pt x="7501" y="7662"/>
                </a:cubicBezTo>
                <a:lnTo>
                  <a:pt x="7108" y="7662"/>
                </a:lnTo>
                <a:cubicBezTo>
                  <a:pt x="7025" y="7662"/>
                  <a:pt x="6953" y="7733"/>
                  <a:pt x="6953" y="7817"/>
                </a:cubicBezTo>
                <a:cubicBezTo>
                  <a:pt x="6953" y="7912"/>
                  <a:pt x="7025" y="7983"/>
                  <a:pt x="7108" y="7983"/>
                </a:cubicBezTo>
                <a:lnTo>
                  <a:pt x="7501" y="7983"/>
                </a:lnTo>
                <a:cubicBezTo>
                  <a:pt x="7620" y="7983"/>
                  <a:pt x="7727" y="8091"/>
                  <a:pt x="7727" y="8210"/>
                </a:cubicBezTo>
                <a:cubicBezTo>
                  <a:pt x="7727" y="8329"/>
                  <a:pt x="7620" y="8436"/>
                  <a:pt x="7501" y="8436"/>
                </a:cubicBezTo>
                <a:lnTo>
                  <a:pt x="4024" y="8436"/>
                </a:lnTo>
                <a:cubicBezTo>
                  <a:pt x="3905" y="8436"/>
                  <a:pt x="3798" y="8329"/>
                  <a:pt x="3798" y="8210"/>
                </a:cubicBezTo>
                <a:cubicBezTo>
                  <a:pt x="3798" y="8091"/>
                  <a:pt x="3905" y="7983"/>
                  <a:pt x="4024" y="7983"/>
                </a:cubicBezTo>
                <a:lnTo>
                  <a:pt x="6489" y="7983"/>
                </a:lnTo>
                <a:cubicBezTo>
                  <a:pt x="6584" y="7983"/>
                  <a:pt x="6656" y="7912"/>
                  <a:pt x="6656" y="7817"/>
                </a:cubicBezTo>
                <a:cubicBezTo>
                  <a:pt x="6656" y="7733"/>
                  <a:pt x="6584" y="7662"/>
                  <a:pt x="6489" y="7662"/>
                </a:cubicBezTo>
                <a:lnTo>
                  <a:pt x="5929" y="7662"/>
                </a:lnTo>
                <a:lnTo>
                  <a:pt x="5929" y="6876"/>
                </a:lnTo>
                <a:lnTo>
                  <a:pt x="6203" y="6876"/>
                </a:lnTo>
                <a:cubicBezTo>
                  <a:pt x="6727" y="6876"/>
                  <a:pt x="7144" y="6459"/>
                  <a:pt x="7144" y="5935"/>
                </a:cubicBezTo>
                <a:lnTo>
                  <a:pt x="7144" y="5531"/>
                </a:lnTo>
                <a:lnTo>
                  <a:pt x="7668" y="5650"/>
                </a:lnTo>
                <a:cubicBezTo>
                  <a:pt x="7713" y="5660"/>
                  <a:pt x="7758" y="5665"/>
                  <a:pt x="7803" y="5665"/>
                </a:cubicBezTo>
                <a:cubicBezTo>
                  <a:pt x="8075" y="5665"/>
                  <a:pt x="8322" y="5484"/>
                  <a:pt x="8394" y="5197"/>
                </a:cubicBezTo>
                <a:lnTo>
                  <a:pt x="8406" y="5126"/>
                </a:lnTo>
                <a:lnTo>
                  <a:pt x="9823" y="5519"/>
                </a:lnTo>
                <a:cubicBezTo>
                  <a:pt x="9763" y="5793"/>
                  <a:pt x="9930" y="6078"/>
                  <a:pt x="10228" y="6150"/>
                </a:cubicBezTo>
                <a:cubicBezTo>
                  <a:pt x="10279" y="6164"/>
                  <a:pt x="10331" y="6171"/>
                  <a:pt x="10382" y="6171"/>
                </a:cubicBezTo>
                <a:cubicBezTo>
                  <a:pt x="10622" y="6171"/>
                  <a:pt x="10835" y="6015"/>
                  <a:pt x="10894" y="5769"/>
                </a:cubicBezTo>
                <a:lnTo>
                  <a:pt x="11323" y="4185"/>
                </a:lnTo>
                <a:cubicBezTo>
                  <a:pt x="11406" y="3888"/>
                  <a:pt x="11240" y="3590"/>
                  <a:pt x="10942" y="3519"/>
                </a:cubicBezTo>
                <a:cubicBezTo>
                  <a:pt x="10897" y="3507"/>
                  <a:pt x="10852" y="3502"/>
                  <a:pt x="10807" y="3502"/>
                </a:cubicBezTo>
                <a:cubicBezTo>
                  <a:pt x="10568" y="3502"/>
                  <a:pt x="10345" y="3655"/>
                  <a:pt x="10275" y="3876"/>
                </a:cubicBezTo>
                <a:lnTo>
                  <a:pt x="8858" y="3495"/>
                </a:lnTo>
                <a:lnTo>
                  <a:pt x="8870" y="3411"/>
                </a:lnTo>
                <a:cubicBezTo>
                  <a:pt x="8966" y="3090"/>
                  <a:pt x="8775" y="2757"/>
                  <a:pt x="8454" y="2673"/>
                </a:cubicBezTo>
                <a:lnTo>
                  <a:pt x="5679" y="1792"/>
                </a:lnTo>
                <a:cubicBezTo>
                  <a:pt x="5663" y="1787"/>
                  <a:pt x="5646" y="1785"/>
                  <a:pt x="5629" y="1785"/>
                </a:cubicBezTo>
                <a:cubicBezTo>
                  <a:pt x="5561" y="1785"/>
                  <a:pt x="5496" y="1823"/>
                  <a:pt x="5477" y="1899"/>
                </a:cubicBezTo>
                <a:cubicBezTo>
                  <a:pt x="5453" y="1983"/>
                  <a:pt x="5489" y="2078"/>
                  <a:pt x="5584" y="2102"/>
                </a:cubicBezTo>
                <a:lnTo>
                  <a:pt x="8346" y="2983"/>
                </a:lnTo>
                <a:cubicBezTo>
                  <a:pt x="8501" y="3030"/>
                  <a:pt x="8585" y="3197"/>
                  <a:pt x="8549" y="3340"/>
                </a:cubicBezTo>
                <a:cubicBezTo>
                  <a:pt x="8049" y="5162"/>
                  <a:pt x="8144" y="4816"/>
                  <a:pt x="8073" y="5126"/>
                </a:cubicBezTo>
                <a:cubicBezTo>
                  <a:pt x="8030" y="5263"/>
                  <a:pt x="7904" y="5344"/>
                  <a:pt x="7776" y="5344"/>
                </a:cubicBezTo>
                <a:cubicBezTo>
                  <a:pt x="7760" y="5344"/>
                  <a:pt x="7743" y="5343"/>
                  <a:pt x="7727" y="5340"/>
                </a:cubicBezTo>
                <a:lnTo>
                  <a:pt x="2393" y="4161"/>
                </a:lnTo>
                <a:lnTo>
                  <a:pt x="3155" y="1352"/>
                </a:lnTo>
                <a:lnTo>
                  <a:pt x="4977" y="1923"/>
                </a:lnTo>
                <a:cubicBezTo>
                  <a:pt x="4996" y="1931"/>
                  <a:pt x="5016" y="1935"/>
                  <a:pt x="5035" y="1935"/>
                </a:cubicBezTo>
                <a:cubicBezTo>
                  <a:pt x="5100" y="1935"/>
                  <a:pt x="5161" y="1892"/>
                  <a:pt x="5179" y="1828"/>
                </a:cubicBezTo>
                <a:cubicBezTo>
                  <a:pt x="5203" y="1733"/>
                  <a:pt x="5167" y="1649"/>
                  <a:pt x="5072" y="1614"/>
                </a:cubicBezTo>
                <a:lnTo>
                  <a:pt x="3239" y="1030"/>
                </a:lnTo>
                <a:cubicBezTo>
                  <a:pt x="3262" y="935"/>
                  <a:pt x="3405" y="661"/>
                  <a:pt x="3227" y="340"/>
                </a:cubicBezTo>
                <a:cubicBezTo>
                  <a:pt x="3095" y="109"/>
                  <a:pt x="2869" y="0"/>
                  <a:pt x="2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24" name="Google Shape;10224;p59"/>
          <p:cNvGrpSpPr/>
          <p:nvPr/>
        </p:nvGrpSpPr>
        <p:grpSpPr>
          <a:xfrm>
            <a:off x="916127" y="3807056"/>
            <a:ext cx="221902" cy="380795"/>
            <a:chOff x="916127" y="3807056"/>
            <a:chExt cx="221902" cy="380795"/>
          </a:xfrm>
        </p:grpSpPr>
        <p:sp>
          <p:nvSpPr>
            <p:cNvPr id="10225" name="Google Shape;10225;p59"/>
            <p:cNvSpPr/>
            <p:nvPr/>
          </p:nvSpPr>
          <p:spPr>
            <a:xfrm>
              <a:off x="916127" y="3807056"/>
              <a:ext cx="221902" cy="380795"/>
            </a:xfrm>
            <a:custGeom>
              <a:avLst/>
              <a:gdLst/>
              <a:ahLst/>
              <a:cxnLst/>
              <a:rect l="l" t="t" r="r" b="b"/>
              <a:pathLst>
                <a:path w="6966" h="11954" extrusionOk="0">
                  <a:moveTo>
                    <a:pt x="4120" y="6429"/>
                  </a:moveTo>
                  <a:lnTo>
                    <a:pt x="4120" y="7799"/>
                  </a:lnTo>
                  <a:lnTo>
                    <a:pt x="2810" y="7799"/>
                  </a:lnTo>
                  <a:lnTo>
                    <a:pt x="2810" y="6429"/>
                  </a:lnTo>
                  <a:cubicBezTo>
                    <a:pt x="3024" y="6489"/>
                    <a:pt x="3245" y="6519"/>
                    <a:pt x="3465" y="6519"/>
                  </a:cubicBezTo>
                  <a:cubicBezTo>
                    <a:pt x="3685" y="6519"/>
                    <a:pt x="3905" y="6489"/>
                    <a:pt x="4120" y="6429"/>
                  </a:cubicBezTo>
                  <a:close/>
                  <a:moveTo>
                    <a:pt x="4882" y="8144"/>
                  </a:moveTo>
                  <a:lnTo>
                    <a:pt x="4882" y="8680"/>
                  </a:lnTo>
                  <a:lnTo>
                    <a:pt x="2060" y="8680"/>
                  </a:lnTo>
                  <a:lnTo>
                    <a:pt x="2060" y="8144"/>
                  </a:lnTo>
                  <a:close/>
                  <a:moveTo>
                    <a:pt x="5596" y="9037"/>
                  </a:moveTo>
                  <a:lnTo>
                    <a:pt x="5596" y="9335"/>
                  </a:lnTo>
                  <a:lnTo>
                    <a:pt x="1346" y="9335"/>
                  </a:lnTo>
                  <a:lnTo>
                    <a:pt x="1346" y="9037"/>
                  </a:lnTo>
                  <a:lnTo>
                    <a:pt x="2060" y="9037"/>
                  </a:lnTo>
                  <a:lnTo>
                    <a:pt x="2060" y="9049"/>
                  </a:lnTo>
                  <a:lnTo>
                    <a:pt x="4882" y="9049"/>
                  </a:lnTo>
                  <a:lnTo>
                    <a:pt x="4882" y="9037"/>
                  </a:lnTo>
                  <a:close/>
                  <a:moveTo>
                    <a:pt x="6227" y="9692"/>
                  </a:moveTo>
                  <a:cubicBezTo>
                    <a:pt x="6441" y="9692"/>
                    <a:pt x="6608" y="9858"/>
                    <a:pt x="6608" y="10061"/>
                  </a:cubicBezTo>
                  <a:lnTo>
                    <a:pt x="6608" y="11251"/>
                  </a:lnTo>
                  <a:cubicBezTo>
                    <a:pt x="6608" y="11466"/>
                    <a:pt x="6441" y="11620"/>
                    <a:pt x="6227" y="11620"/>
                  </a:cubicBezTo>
                  <a:lnTo>
                    <a:pt x="715" y="11620"/>
                  </a:lnTo>
                  <a:cubicBezTo>
                    <a:pt x="500" y="11620"/>
                    <a:pt x="334" y="11466"/>
                    <a:pt x="334" y="11251"/>
                  </a:cubicBezTo>
                  <a:lnTo>
                    <a:pt x="334" y="10061"/>
                  </a:lnTo>
                  <a:cubicBezTo>
                    <a:pt x="334" y="9858"/>
                    <a:pt x="500" y="9692"/>
                    <a:pt x="715" y="9692"/>
                  </a:cubicBezTo>
                  <a:close/>
                  <a:moveTo>
                    <a:pt x="655" y="0"/>
                  </a:moveTo>
                  <a:cubicBezTo>
                    <a:pt x="298" y="0"/>
                    <a:pt x="0" y="298"/>
                    <a:pt x="0" y="655"/>
                  </a:cubicBezTo>
                  <a:lnTo>
                    <a:pt x="0" y="964"/>
                  </a:lnTo>
                  <a:cubicBezTo>
                    <a:pt x="0" y="1322"/>
                    <a:pt x="298" y="1619"/>
                    <a:pt x="655" y="1619"/>
                  </a:cubicBezTo>
                  <a:lnTo>
                    <a:pt x="1012" y="1619"/>
                  </a:lnTo>
                  <a:lnTo>
                    <a:pt x="1012" y="4048"/>
                  </a:lnTo>
                  <a:cubicBezTo>
                    <a:pt x="1012" y="5060"/>
                    <a:pt x="1619" y="5929"/>
                    <a:pt x="2477" y="6310"/>
                  </a:cubicBezTo>
                  <a:lnTo>
                    <a:pt x="2477" y="7799"/>
                  </a:lnTo>
                  <a:lnTo>
                    <a:pt x="1905" y="7799"/>
                  </a:lnTo>
                  <a:cubicBezTo>
                    <a:pt x="1798" y="7799"/>
                    <a:pt x="1727" y="7870"/>
                    <a:pt x="1727" y="7977"/>
                  </a:cubicBezTo>
                  <a:lnTo>
                    <a:pt x="1727" y="8680"/>
                  </a:lnTo>
                  <a:lnTo>
                    <a:pt x="1191" y="8680"/>
                  </a:lnTo>
                  <a:cubicBezTo>
                    <a:pt x="1084" y="8680"/>
                    <a:pt x="1012" y="8751"/>
                    <a:pt x="1012" y="8858"/>
                  </a:cubicBezTo>
                  <a:lnTo>
                    <a:pt x="1012" y="9335"/>
                  </a:lnTo>
                  <a:lnTo>
                    <a:pt x="726" y="9335"/>
                  </a:lnTo>
                  <a:cubicBezTo>
                    <a:pt x="322" y="9335"/>
                    <a:pt x="12" y="9656"/>
                    <a:pt x="12" y="10049"/>
                  </a:cubicBezTo>
                  <a:lnTo>
                    <a:pt x="12" y="11240"/>
                  </a:lnTo>
                  <a:cubicBezTo>
                    <a:pt x="12" y="11644"/>
                    <a:pt x="334" y="11954"/>
                    <a:pt x="726" y="11954"/>
                  </a:cubicBezTo>
                  <a:lnTo>
                    <a:pt x="6251" y="11954"/>
                  </a:lnTo>
                  <a:cubicBezTo>
                    <a:pt x="6644" y="11954"/>
                    <a:pt x="6965" y="11620"/>
                    <a:pt x="6965" y="11240"/>
                  </a:cubicBezTo>
                  <a:lnTo>
                    <a:pt x="6965" y="10049"/>
                  </a:lnTo>
                  <a:cubicBezTo>
                    <a:pt x="6965" y="9644"/>
                    <a:pt x="6632" y="9335"/>
                    <a:pt x="6251" y="9335"/>
                  </a:cubicBezTo>
                  <a:lnTo>
                    <a:pt x="5953" y="9335"/>
                  </a:lnTo>
                  <a:lnTo>
                    <a:pt x="5953" y="8858"/>
                  </a:lnTo>
                  <a:cubicBezTo>
                    <a:pt x="5953" y="8751"/>
                    <a:pt x="5870" y="8680"/>
                    <a:pt x="5775" y="8680"/>
                  </a:cubicBezTo>
                  <a:lnTo>
                    <a:pt x="5239" y="8680"/>
                  </a:lnTo>
                  <a:lnTo>
                    <a:pt x="5239" y="7977"/>
                  </a:lnTo>
                  <a:cubicBezTo>
                    <a:pt x="5239" y="7870"/>
                    <a:pt x="5156" y="7799"/>
                    <a:pt x="5060" y="7799"/>
                  </a:cubicBezTo>
                  <a:lnTo>
                    <a:pt x="4477" y="7799"/>
                  </a:lnTo>
                  <a:lnTo>
                    <a:pt x="4477" y="6310"/>
                  </a:lnTo>
                  <a:cubicBezTo>
                    <a:pt x="4786" y="6179"/>
                    <a:pt x="5072" y="5965"/>
                    <a:pt x="5310" y="5703"/>
                  </a:cubicBezTo>
                  <a:cubicBezTo>
                    <a:pt x="5370" y="5632"/>
                    <a:pt x="5370" y="5525"/>
                    <a:pt x="5298" y="5453"/>
                  </a:cubicBezTo>
                  <a:cubicBezTo>
                    <a:pt x="5259" y="5425"/>
                    <a:pt x="5216" y="5410"/>
                    <a:pt x="5174" y="5410"/>
                  </a:cubicBezTo>
                  <a:cubicBezTo>
                    <a:pt x="5127" y="5410"/>
                    <a:pt x="5080" y="5428"/>
                    <a:pt x="5037" y="5465"/>
                  </a:cubicBezTo>
                  <a:cubicBezTo>
                    <a:pt x="4882" y="5644"/>
                    <a:pt x="4679" y="5786"/>
                    <a:pt x="4477" y="5906"/>
                  </a:cubicBezTo>
                  <a:cubicBezTo>
                    <a:pt x="4158" y="6080"/>
                    <a:pt x="3812" y="6165"/>
                    <a:pt x="3467" y="6165"/>
                  </a:cubicBezTo>
                  <a:cubicBezTo>
                    <a:pt x="3245" y="6165"/>
                    <a:pt x="3024" y="6130"/>
                    <a:pt x="2810" y="6060"/>
                  </a:cubicBezTo>
                  <a:cubicBezTo>
                    <a:pt x="1965" y="5786"/>
                    <a:pt x="1334" y="4989"/>
                    <a:pt x="1334" y="4036"/>
                  </a:cubicBezTo>
                  <a:lnTo>
                    <a:pt x="1334" y="1607"/>
                  </a:lnTo>
                  <a:lnTo>
                    <a:pt x="5572" y="1607"/>
                  </a:lnTo>
                  <a:lnTo>
                    <a:pt x="5572" y="4048"/>
                  </a:lnTo>
                  <a:cubicBezTo>
                    <a:pt x="5596" y="4358"/>
                    <a:pt x="5537" y="4655"/>
                    <a:pt x="5394" y="4929"/>
                  </a:cubicBezTo>
                  <a:cubicBezTo>
                    <a:pt x="5358" y="5013"/>
                    <a:pt x="5394" y="5120"/>
                    <a:pt x="5489" y="5167"/>
                  </a:cubicBezTo>
                  <a:cubicBezTo>
                    <a:pt x="5513" y="5179"/>
                    <a:pt x="5537" y="5179"/>
                    <a:pt x="5560" y="5179"/>
                  </a:cubicBezTo>
                  <a:cubicBezTo>
                    <a:pt x="5620" y="5179"/>
                    <a:pt x="5691" y="5132"/>
                    <a:pt x="5727" y="5072"/>
                  </a:cubicBezTo>
                  <a:cubicBezTo>
                    <a:pt x="5870" y="4751"/>
                    <a:pt x="5953" y="4405"/>
                    <a:pt x="5953" y="4048"/>
                  </a:cubicBezTo>
                  <a:lnTo>
                    <a:pt x="5953" y="1619"/>
                  </a:lnTo>
                  <a:lnTo>
                    <a:pt x="6310" y="1619"/>
                  </a:lnTo>
                  <a:cubicBezTo>
                    <a:pt x="6668" y="1619"/>
                    <a:pt x="6965" y="1322"/>
                    <a:pt x="6965" y="964"/>
                  </a:cubicBezTo>
                  <a:lnTo>
                    <a:pt x="6965" y="655"/>
                  </a:lnTo>
                  <a:cubicBezTo>
                    <a:pt x="6965" y="298"/>
                    <a:pt x="6668" y="0"/>
                    <a:pt x="6310" y="0"/>
                  </a:cubicBezTo>
                  <a:lnTo>
                    <a:pt x="2215" y="0"/>
                  </a:lnTo>
                  <a:cubicBezTo>
                    <a:pt x="2108" y="0"/>
                    <a:pt x="2036" y="71"/>
                    <a:pt x="2036" y="179"/>
                  </a:cubicBezTo>
                  <a:cubicBezTo>
                    <a:pt x="2036" y="286"/>
                    <a:pt x="2108" y="357"/>
                    <a:pt x="2215" y="357"/>
                  </a:cubicBezTo>
                  <a:lnTo>
                    <a:pt x="6310" y="357"/>
                  </a:lnTo>
                  <a:cubicBezTo>
                    <a:pt x="6465" y="357"/>
                    <a:pt x="6608" y="488"/>
                    <a:pt x="6608" y="655"/>
                  </a:cubicBezTo>
                  <a:lnTo>
                    <a:pt x="6608" y="964"/>
                  </a:lnTo>
                  <a:cubicBezTo>
                    <a:pt x="6608" y="1131"/>
                    <a:pt x="6465" y="1262"/>
                    <a:pt x="6310" y="1262"/>
                  </a:cubicBezTo>
                  <a:lnTo>
                    <a:pt x="655" y="1262"/>
                  </a:lnTo>
                  <a:cubicBezTo>
                    <a:pt x="488" y="1262"/>
                    <a:pt x="357" y="1131"/>
                    <a:pt x="357" y="964"/>
                  </a:cubicBezTo>
                  <a:lnTo>
                    <a:pt x="357" y="655"/>
                  </a:lnTo>
                  <a:cubicBezTo>
                    <a:pt x="357" y="488"/>
                    <a:pt x="488" y="357"/>
                    <a:pt x="655" y="357"/>
                  </a:cubicBezTo>
                  <a:lnTo>
                    <a:pt x="1500" y="357"/>
                  </a:lnTo>
                  <a:cubicBezTo>
                    <a:pt x="1608" y="357"/>
                    <a:pt x="1679" y="286"/>
                    <a:pt x="1679" y="179"/>
                  </a:cubicBezTo>
                  <a:cubicBezTo>
                    <a:pt x="1679" y="71"/>
                    <a:pt x="1608" y="0"/>
                    <a:pt x="1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6" name="Google Shape;10226;p59"/>
            <p:cNvSpPr/>
            <p:nvPr/>
          </p:nvSpPr>
          <p:spPr>
            <a:xfrm>
              <a:off x="969580" y="3869746"/>
              <a:ext cx="110792" cy="102955"/>
            </a:xfrm>
            <a:custGeom>
              <a:avLst/>
              <a:gdLst/>
              <a:ahLst/>
              <a:cxnLst/>
              <a:rect l="l" t="t" r="r" b="b"/>
              <a:pathLst>
                <a:path w="3478" h="3232" extrusionOk="0">
                  <a:moveTo>
                    <a:pt x="1815" y="1"/>
                  </a:moveTo>
                  <a:cubicBezTo>
                    <a:pt x="1680" y="1"/>
                    <a:pt x="1543" y="72"/>
                    <a:pt x="1477" y="211"/>
                  </a:cubicBezTo>
                  <a:cubicBezTo>
                    <a:pt x="1175" y="806"/>
                    <a:pt x="1156" y="843"/>
                    <a:pt x="1155" y="843"/>
                  </a:cubicBezTo>
                  <a:cubicBezTo>
                    <a:pt x="1155" y="843"/>
                    <a:pt x="1156" y="842"/>
                    <a:pt x="1156" y="842"/>
                  </a:cubicBezTo>
                  <a:lnTo>
                    <a:pt x="1156" y="842"/>
                  </a:lnTo>
                  <a:cubicBezTo>
                    <a:pt x="1052" y="977"/>
                    <a:pt x="1162" y="1139"/>
                    <a:pt x="1292" y="1139"/>
                  </a:cubicBezTo>
                  <a:cubicBezTo>
                    <a:pt x="1356" y="1139"/>
                    <a:pt x="1426" y="1099"/>
                    <a:pt x="1477" y="997"/>
                  </a:cubicBezTo>
                  <a:cubicBezTo>
                    <a:pt x="1762" y="396"/>
                    <a:pt x="1786" y="352"/>
                    <a:pt x="1795" y="352"/>
                  </a:cubicBezTo>
                  <a:cubicBezTo>
                    <a:pt x="1796" y="352"/>
                    <a:pt x="1797" y="354"/>
                    <a:pt x="1799" y="354"/>
                  </a:cubicBezTo>
                  <a:cubicBezTo>
                    <a:pt x="1801" y="354"/>
                    <a:pt x="1801" y="352"/>
                    <a:pt x="1803" y="352"/>
                  </a:cubicBezTo>
                  <a:cubicBezTo>
                    <a:pt x="1812" y="352"/>
                    <a:pt x="1837" y="396"/>
                    <a:pt x="2132" y="997"/>
                  </a:cubicBezTo>
                  <a:cubicBezTo>
                    <a:pt x="2192" y="1104"/>
                    <a:pt x="2287" y="1175"/>
                    <a:pt x="2406" y="1199"/>
                  </a:cubicBezTo>
                  <a:lnTo>
                    <a:pt x="3108" y="1306"/>
                  </a:lnTo>
                  <a:cubicBezTo>
                    <a:pt x="3120" y="1306"/>
                    <a:pt x="3120" y="1318"/>
                    <a:pt x="3120" y="1318"/>
                  </a:cubicBezTo>
                  <a:cubicBezTo>
                    <a:pt x="3120" y="1342"/>
                    <a:pt x="3156" y="1306"/>
                    <a:pt x="2608" y="1830"/>
                  </a:cubicBezTo>
                  <a:cubicBezTo>
                    <a:pt x="2525" y="1902"/>
                    <a:pt x="2489" y="1997"/>
                    <a:pt x="2489" y="2092"/>
                  </a:cubicBezTo>
                  <a:cubicBezTo>
                    <a:pt x="2489" y="2152"/>
                    <a:pt x="2608" y="2842"/>
                    <a:pt x="2608" y="2866"/>
                  </a:cubicBezTo>
                  <a:cubicBezTo>
                    <a:pt x="2608" y="2883"/>
                    <a:pt x="2596" y="2894"/>
                    <a:pt x="2584" y="2894"/>
                  </a:cubicBezTo>
                  <a:cubicBezTo>
                    <a:pt x="2580" y="2894"/>
                    <a:pt x="2576" y="2893"/>
                    <a:pt x="2573" y="2890"/>
                  </a:cubicBezTo>
                  <a:lnTo>
                    <a:pt x="1954" y="2556"/>
                  </a:lnTo>
                  <a:cubicBezTo>
                    <a:pt x="1900" y="2527"/>
                    <a:pt x="1840" y="2512"/>
                    <a:pt x="1781" y="2512"/>
                  </a:cubicBezTo>
                  <a:cubicBezTo>
                    <a:pt x="1721" y="2512"/>
                    <a:pt x="1662" y="2527"/>
                    <a:pt x="1608" y="2556"/>
                  </a:cubicBezTo>
                  <a:cubicBezTo>
                    <a:pt x="996" y="2879"/>
                    <a:pt x="977" y="2890"/>
                    <a:pt x="967" y="2890"/>
                  </a:cubicBezTo>
                  <a:cubicBezTo>
                    <a:pt x="967" y="2890"/>
                    <a:pt x="966" y="2890"/>
                    <a:pt x="965" y="2890"/>
                  </a:cubicBezTo>
                  <a:cubicBezTo>
                    <a:pt x="953" y="2890"/>
                    <a:pt x="953" y="2866"/>
                    <a:pt x="953" y="2854"/>
                  </a:cubicBezTo>
                  <a:cubicBezTo>
                    <a:pt x="1073" y="2116"/>
                    <a:pt x="1073" y="2152"/>
                    <a:pt x="1073" y="2092"/>
                  </a:cubicBezTo>
                  <a:cubicBezTo>
                    <a:pt x="1073" y="1997"/>
                    <a:pt x="1025" y="1902"/>
                    <a:pt x="953" y="1830"/>
                  </a:cubicBezTo>
                  <a:lnTo>
                    <a:pt x="441" y="1342"/>
                  </a:lnTo>
                  <a:cubicBezTo>
                    <a:pt x="430" y="1318"/>
                    <a:pt x="441" y="1306"/>
                    <a:pt x="465" y="1306"/>
                  </a:cubicBezTo>
                  <a:lnTo>
                    <a:pt x="608" y="1294"/>
                  </a:lnTo>
                  <a:cubicBezTo>
                    <a:pt x="703" y="1282"/>
                    <a:pt x="775" y="1187"/>
                    <a:pt x="763" y="1104"/>
                  </a:cubicBezTo>
                  <a:cubicBezTo>
                    <a:pt x="741" y="1016"/>
                    <a:pt x="668" y="948"/>
                    <a:pt x="581" y="948"/>
                  </a:cubicBezTo>
                  <a:cubicBezTo>
                    <a:pt x="574" y="948"/>
                    <a:pt x="568" y="948"/>
                    <a:pt x="561" y="949"/>
                  </a:cubicBezTo>
                  <a:lnTo>
                    <a:pt x="418" y="961"/>
                  </a:lnTo>
                  <a:cubicBezTo>
                    <a:pt x="108" y="1009"/>
                    <a:pt x="1" y="1378"/>
                    <a:pt x="203" y="1592"/>
                  </a:cubicBezTo>
                  <a:cubicBezTo>
                    <a:pt x="739" y="2116"/>
                    <a:pt x="727" y="2080"/>
                    <a:pt x="727" y="2092"/>
                  </a:cubicBezTo>
                  <a:cubicBezTo>
                    <a:pt x="608" y="2842"/>
                    <a:pt x="608" y="2806"/>
                    <a:pt x="608" y="2854"/>
                  </a:cubicBezTo>
                  <a:cubicBezTo>
                    <a:pt x="608" y="3074"/>
                    <a:pt x="785" y="3231"/>
                    <a:pt x="976" y="3231"/>
                  </a:cubicBezTo>
                  <a:cubicBezTo>
                    <a:pt x="1032" y="3231"/>
                    <a:pt x="1089" y="3217"/>
                    <a:pt x="1144" y="3187"/>
                  </a:cubicBezTo>
                  <a:cubicBezTo>
                    <a:pt x="1696" y="2896"/>
                    <a:pt x="1757" y="2851"/>
                    <a:pt x="1777" y="2851"/>
                  </a:cubicBezTo>
                  <a:cubicBezTo>
                    <a:pt x="1781" y="2851"/>
                    <a:pt x="1783" y="2852"/>
                    <a:pt x="1787" y="2854"/>
                  </a:cubicBezTo>
                  <a:cubicBezTo>
                    <a:pt x="2382" y="3152"/>
                    <a:pt x="2442" y="3223"/>
                    <a:pt x="2585" y="3223"/>
                  </a:cubicBezTo>
                  <a:cubicBezTo>
                    <a:pt x="2811" y="3223"/>
                    <a:pt x="2989" y="3021"/>
                    <a:pt x="2966" y="2795"/>
                  </a:cubicBezTo>
                  <a:cubicBezTo>
                    <a:pt x="2847" y="2068"/>
                    <a:pt x="2847" y="2092"/>
                    <a:pt x="2858" y="2080"/>
                  </a:cubicBezTo>
                  <a:lnTo>
                    <a:pt x="3359" y="1592"/>
                  </a:lnTo>
                  <a:cubicBezTo>
                    <a:pt x="3442" y="1521"/>
                    <a:pt x="3478" y="1425"/>
                    <a:pt x="3478" y="1318"/>
                  </a:cubicBezTo>
                  <a:cubicBezTo>
                    <a:pt x="3478" y="1128"/>
                    <a:pt x="3347" y="985"/>
                    <a:pt x="3168" y="949"/>
                  </a:cubicBezTo>
                  <a:lnTo>
                    <a:pt x="2466" y="842"/>
                  </a:lnTo>
                  <a:cubicBezTo>
                    <a:pt x="2465" y="842"/>
                    <a:pt x="2464" y="842"/>
                    <a:pt x="2463" y="842"/>
                  </a:cubicBezTo>
                  <a:cubicBezTo>
                    <a:pt x="2454" y="842"/>
                    <a:pt x="2444" y="821"/>
                    <a:pt x="2144" y="211"/>
                  </a:cubicBezTo>
                  <a:cubicBezTo>
                    <a:pt x="2079" y="70"/>
                    <a:pt x="1947" y="1"/>
                    <a:pt x="18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7" name="Google Shape;10227;p59"/>
            <p:cNvSpPr/>
            <p:nvPr/>
          </p:nvSpPr>
          <p:spPr>
            <a:xfrm>
              <a:off x="982863" y="4127517"/>
              <a:ext cx="88015" cy="11404"/>
            </a:xfrm>
            <a:custGeom>
              <a:avLst/>
              <a:gdLst/>
              <a:ahLst/>
              <a:cxnLst/>
              <a:rect l="l" t="t" r="r" b="b"/>
              <a:pathLst>
                <a:path w="2763" h="358" extrusionOk="0">
                  <a:moveTo>
                    <a:pt x="179" y="1"/>
                  </a:moveTo>
                  <a:cubicBezTo>
                    <a:pt x="72" y="1"/>
                    <a:pt x="1" y="72"/>
                    <a:pt x="1" y="179"/>
                  </a:cubicBezTo>
                  <a:cubicBezTo>
                    <a:pt x="1" y="287"/>
                    <a:pt x="72" y="358"/>
                    <a:pt x="179" y="358"/>
                  </a:cubicBezTo>
                  <a:lnTo>
                    <a:pt x="2584" y="358"/>
                  </a:lnTo>
                  <a:cubicBezTo>
                    <a:pt x="2691" y="358"/>
                    <a:pt x="2763" y="287"/>
                    <a:pt x="2763" y="179"/>
                  </a:cubicBezTo>
                  <a:cubicBezTo>
                    <a:pt x="2763"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8" name="Google Shape;10228;p59"/>
            <p:cNvSpPr/>
            <p:nvPr/>
          </p:nvSpPr>
          <p:spPr>
            <a:xfrm>
              <a:off x="982863" y="4152173"/>
              <a:ext cx="88015" cy="11404"/>
            </a:xfrm>
            <a:custGeom>
              <a:avLst/>
              <a:gdLst/>
              <a:ahLst/>
              <a:cxnLst/>
              <a:rect l="l" t="t" r="r" b="b"/>
              <a:pathLst>
                <a:path w="2763" h="358" extrusionOk="0">
                  <a:moveTo>
                    <a:pt x="179" y="1"/>
                  </a:moveTo>
                  <a:cubicBezTo>
                    <a:pt x="72" y="1"/>
                    <a:pt x="1" y="72"/>
                    <a:pt x="1" y="179"/>
                  </a:cubicBezTo>
                  <a:cubicBezTo>
                    <a:pt x="1" y="286"/>
                    <a:pt x="72" y="358"/>
                    <a:pt x="179" y="358"/>
                  </a:cubicBezTo>
                  <a:lnTo>
                    <a:pt x="2584" y="358"/>
                  </a:lnTo>
                  <a:cubicBezTo>
                    <a:pt x="2691" y="358"/>
                    <a:pt x="2763" y="286"/>
                    <a:pt x="2763" y="179"/>
                  </a:cubicBezTo>
                  <a:cubicBezTo>
                    <a:pt x="2751" y="72"/>
                    <a:pt x="2680"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29" name="Google Shape;10229;p59"/>
          <p:cNvSpPr/>
          <p:nvPr/>
        </p:nvSpPr>
        <p:spPr>
          <a:xfrm>
            <a:off x="3136771" y="3823174"/>
            <a:ext cx="224928" cy="349131"/>
          </a:xfrm>
          <a:custGeom>
            <a:avLst/>
            <a:gdLst/>
            <a:ahLst/>
            <a:cxnLst/>
            <a:rect l="l" t="t" r="r" b="b"/>
            <a:pathLst>
              <a:path w="7061" h="10960" extrusionOk="0">
                <a:moveTo>
                  <a:pt x="3906" y="5316"/>
                </a:moveTo>
                <a:cubicBezTo>
                  <a:pt x="4072" y="5316"/>
                  <a:pt x="4191" y="5447"/>
                  <a:pt x="4191" y="5602"/>
                </a:cubicBezTo>
                <a:cubicBezTo>
                  <a:pt x="4191" y="5757"/>
                  <a:pt x="4060" y="5876"/>
                  <a:pt x="3906" y="5876"/>
                </a:cubicBezTo>
                <a:lnTo>
                  <a:pt x="3370" y="5876"/>
                </a:lnTo>
                <a:cubicBezTo>
                  <a:pt x="3215" y="5876"/>
                  <a:pt x="3096" y="5745"/>
                  <a:pt x="3096" y="5602"/>
                </a:cubicBezTo>
                <a:cubicBezTo>
                  <a:pt x="3096" y="5435"/>
                  <a:pt x="3227" y="5316"/>
                  <a:pt x="3370" y="5316"/>
                </a:cubicBezTo>
                <a:close/>
                <a:moveTo>
                  <a:pt x="5370" y="8459"/>
                </a:moveTo>
                <a:cubicBezTo>
                  <a:pt x="5430" y="8471"/>
                  <a:pt x="5489" y="8519"/>
                  <a:pt x="5489" y="8578"/>
                </a:cubicBezTo>
                <a:lnTo>
                  <a:pt x="5489" y="9317"/>
                </a:lnTo>
                <a:cubicBezTo>
                  <a:pt x="5489" y="9376"/>
                  <a:pt x="5430" y="9436"/>
                  <a:pt x="5370" y="9436"/>
                </a:cubicBezTo>
                <a:lnTo>
                  <a:pt x="1929" y="9436"/>
                </a:lnTo>
                <a:cubicBezTo>
                  <a:pt x="1870" y="9436"/>
                  <a:pt x="1810" y="9376"/>
                  <a:pt x="1810" y="9317"/>
                </a:cubicBezTo>
                <a:lnTo>
                  <a:pt x="1810" y="8578"/>
                </a:lnTo>
                <a:cubicBezTo>
                  <a:pt x="1810" y="8519"/>
                  <a:pt x="1870" y="8459"/>
                  <a:pt x="1929" y="8459"/>
                </a:cubicBezTo>
                <a:close/>
                <a:moveTo>
                  <a:pt x="3645" y="0"/>
                </a:moveTo>
                <a:cubicBezTo>
                  <a:pt x="3527" y="0"/>
                  <a:pt x="3411" y="54"/>
                  <a:pt x="3346" y="161"/>
                </a:cubicBezTo>
                <a:lnTo>
                  <a:pt x="191" y="4792"/>
                </a:lnTo>
                <a:cubicBezTo>
                  <a:pt x="0" y="5078"/>
                  <a:pt x="36" y="5447"/>
                  <a:pt x="262" y="5685"/>
                </a:cubicBezTo>
                <a:lnTo>
                  <a:pt x="1762" y="7209"/>
                </a:lnTo>
                <a:cubicBezTo>
                  <a:pt x="1822" y="7269"/>
                  <a:pt x="1858" y="7340"/>
                  <a:pt x="1858" y="7412"/>
                </a:cubicBezTo>
                <a:lnTo>
                  <a:pt x="1858" y="8078"/>
                </a:lnTo>
                <a:cubicBezTo>
                  <a:pt x="1620" y="8114"/>
                  <a:pt x="1429" y="8317"/>
                  <a:pt x="1429" y="8578"/>
                </a:cubicBezTo>
                <a:lnTo>
                  <a:pt x="1429" y="9317"/>
                </a:lnTo>
                <a:cubicBezTo>
                  <a:pt x="1429" y="9602"/>
                  <a:pt x="1643" y="9829"/>
                  <a:pt x="1929" y="9829"/>
                </a:cubicBezTo>
                <a:lnTo>
                  <a:pt x="2155" y="9829"/>
                </a:lnTo>
                <a:lnTo>
                  <a:pt x="2155" y="10472"/>
                </a:lnTo>
                <a:cubicBezTo>
                  <a:pt x="2155" y="10734"/>
                  <a:pt x="2358" y="10960"/>
                  <a:pt x="2632" y="10960"/>
                </a:cubicBezTo>
                <a:lnTo>
                  <a:pt x="3179" y="10960"/>
                </a:lnTo>
                <a:cubicBezTo>
                  <a:pt x="3286" y="10960"/>
                  <a:pt x="3370" y="10864"/>
                  <a:pt x="3370" y="10757"/>
                </a:cubicBezTo>
                <a:cubicBezTo>
                  <a:pt x="3370" y="10662"/>
                  <a:pt x="3286" y="10567"/>
                  <a:pt x="3179" y="10567"/>
                </a:cubicBezTo>
                <a:lnTo>
                  <a:pt x="2632" y="10567"/>
                </a:lnTo>
                <a:cubicBezTo>
                  <a:pt x="2584" y="10567"/>
                  <a:pt x="2536" y="10519"/>
                  <a:pt x="2536" y="10483"/>
                </a:cubicBezTo>
                <a:lnTo>
                  <a:pt x="2536" y="9829"/>
                </a:lnTo>
                <a:lnTo>
                  <a:pt x="4763" y="9829"/>
                </a:lnTo>
                <a:lnTo>
                  <a:pt x="4763" y="10483"/>
                </a:lnTo>
                <a:cubicBezTo>
                  <a:pt x="4763" y="10519"/>
                  <a:pt x="4715" y="10567"/>
                  <a:pt x="4668" y="10567"/>
                </a:cubicBezTo>
                <a:lnTo>
                  <a:pt x="4072" y="10567"/>
                </a:lnTo>
                <a:cubicBezTo>
                  <a:pt x="3965" y="10567"/>
                  <a:pt x="3882" y="10662"/>
                  <a:pt x="3882" y="10757"/>
                </a:cubicBezTo>
                <a:cubicBezTo>
                  <a:pt x="3882" y="10864"/>
                  <a:pt x="3965" y="10960"/>
                  <a:pt x="4072" y="10960"/>
                </a:cubicBezTo>
                <a:lnTo>
                  <a:pt x="4668" y="10960"/>
                </a:lnTo>
                <a:cubicBezTo>
                  <a:pt x="4918" y="10960"/>
                  <a:pt x="5144" y="10745"/>
                  <a:pt x="5144" y="10472"/>
                </a:cubicBezTo>
                <a:lnTo>
                  <a:pt x="5144" y="9829"/>
                </a:lnTo>
                <a:lnTo>
                  <a:pt x="5370" y="9829"/>
                </a:lnTo>
                <a:cubicBezTo>
                  <a:pt x="5656" y="9829"/>
                  <a:pt x="5870" y="9602"/>
                  <a:pt x="5870" y="9317"/>
                </a:cubicBezTo>
                <a:lnTo>
                  <a:pt x="5870" y="8578"/>
                </a:lnTo>
                <a:cubicBezTo>
                  <a:pt x="5870" y="8317"/>
                  <a:pt x="5680" y="8114"/>
                  <a:pt x="5441" y="8078"/>
                </a:cubicBezTo>
                <a:lnTo>
                  <a:pt x="5441" y="7412"/>
                </a:lnTo>
                <a:cubicBezTo>
                  <a:pt x="5441" y="7340"/>
                  <a:pt x="5477" y="7269"/>
                  <a:pt x="5537" y="7209"/>
                </a:cubicBezTo>
                <a:lnTo>
                  <a:pt x="6977" y="5745"/>
                </a:lnTo>
                <a:cubicBezTo>
                  <a:pt x="7049" y="5673"/>
                  <a:pt x="7049" y="5554"/>
                  <a:pt x="6977" y="5483"/>
                </a:cubicBezTo>
                <a:cubicBezTo>
                  <a:pt x="6942" y="5441"/>
                  <a:pt x="6894" y="5420"/>
                  <a:pt x="6845" y="5420"/>
                </a:cubicBezTo>
                <a:cubicBezTo>
                  <a:pt x="6796" y="5420"/>
                  <a:pt x="6745" y="5441"/>
                  <a:pt x="6703" y="5483"/>
                </a:cubicBezTo>
                <a:lnTo>
                  <a:pt x="5263" y="6935"/>
                </a:lnTo>
                <a:cubicBezTo>
                  <a:pt x="5132" y="7066"/>
                  <a:pt x="5072" y="7233"/>
                  <a:pt x="5072" y="7412"/>
                </a:cubicBezTo>
                <a:lnTo>
                  <a:pt x="5072" y="8067"/>
                </a:lnTo>
                <a:lnTo>
                  <a:pt x="2262" y="8067"/>
                </a:lnTo>
                <a:lnTo>
                  <a:pt x="2262" y="7412"/>
                </a:lnTo>
                <a:cubicBezTo>
                  <a:pt x="2262" y="7233"/>
                  <a:pt x="2179" y="7054"/>
                  <a:pt x="2060" y="6935"/>
                </a:cubicBezTo>
                <a:lnTo>
                  <a:pt x="560" y="5423"/>
                </a:lnTo>
                <a:cubicBezTo>
                  <a:pt x="453" y="5316"/>
                  <a:pt x="441" y="5138"/>
                  <a:pt x="536" y="5019"/>
                </a:cubicBezTo>
                <a:lnTo>
                  <a:pt x="3477" y="685"/>
                </a:lnTo>
                <a:lnTo>
                  <a:pt x="3477" y="4923"/>
                </a:lnTo>
                <a:lnTo>
                  <a:pt x="3405" y="4923"/>
                </a:lnTo>
                <a:cubicBezTo>
                  <a:pt x="3036" y="4923"/>
                  <a:pt x="2739" y="5221"/>
                  <a:pt x="2739" y="5602"/>
                </a:cubicBezTo>
                <a:cubicBezTo>
                  <a:pt x="2739" y="5971"/>
                  <a:pt x="3036" y="6269"/>
                  <a:pt x="3405" y="6269"/>
                </a:cubicBezTo>
                <a:lnTo>
                  <a:pt x="3941" y="6269"/>
                </a:lnTo>
                <a:cubicBezTo>
                  <a:pt x="4310" y="6269"/>
                  <a:pt x="4608" y="5971"/>
                  <a:pt x="4608" y="5602"/>
                </a:cubicBezTo>
                <a:cubicBezTo>
                  <a:pt x="4608" y="5221"/>
                  <a:pt x="4310" y="4923"/>
                  <a:pt x="3941" y="4923"/>
                </a:cubicBezTo>
                <a:lnTo>
                  <a:pt x="3870" y="4923"/>
                </a:lnTo>
                <a:lnTo>
                  <a:pt x="3870" y="685"/>
                </a:lnTo>
                <a:lnTo>
                  <a:pt x="6692" y="4840"/>
                </a:lnTo>
                <a:cubicBezTo>
                  <a:pt x="6727" y="4889"/>
                  <a:pt x="6783" y="4918"/>
                  <a:pt x="6843" y="4918"/>
                </a:cubicBezTo>
                <a:cubicBezTo>
                  <a:pt x="6884" y="4918"/>
                  <a:pt x="6927" y="4905"/>
                  <a:pt x="6965" y="4876"/>
                </a:cubicBezTo>
                <a:cubicBezTo>
                  <a:pt x="7049" y="4816"/>
                  <a:pt x="7061" y="4697"/>
                  <a:pt x="7001" y="4614"/>
                </a:cubicBezTo>
                <a:lnTo>
                  <a:pt x="3953" y="161"/>
                </a:lnTo>
                <a:cubicBezTo>
                  <a:pt x="3882" y="54"/>
                  <a:pt x="3763"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0" name="Google Shape;10230;p59"/>
          <p:cNvSpPr/>
          <p:nvPr/>
        </p:nvSpPr>
        <p:spPr>
          <a:xfrm>
            <a:off x="2179465" y="3851048"/>
            <a:ext cx="362255" cy="292811"/>
          </a:xfrm>
          <a:custGeom>
            <a:avLst/>
            <a:gdLst/>
            <a:ahLst/>
            <a:cxnLst/>
            <a:rect l="l" t="t" r="r" b="b"/>
            <a:pathLst>
              <a:path w="11372" h="9192" extrusionOk="0">
                <a:moveTo>
                  <a:pt x="7264" y="345"/>
                </a:moveTo>
                <a:lnTo>
                  <a:pt x="7264" y="5513"/>
                </a:lnTo>
                <a:lnTo>
                  <a:pt x="6311" y="5513"/>
                </a:lnTo>
                <a:lnTo>
                  <a:pt x="6311" y="345"/>
                </a:lnTo>
                <a:close/>
                <a:moveTo>
                  <a:pt x="9478" y="345"/>
                </a:moveTo>
                <a:lnTo>
                  <a:pt x="9478" y="5513"/>
                </a:lnTo>
                <a:lnTo>
                  <a:pt x="8526" y="5513"/>
                </a:lnTo>
                <a:lnTo>
                  <a:pt x="8526" y="345"/>
                </a:lnTo>
                <a:close/>
                <a:moveTo>
                  <a:pt x="1549" y="345"/>
                </a:moveTo>
                <a:lnTo>
                  <a:pt x="1549" y="5691"/>
                </a:lnTo>
                <a:cubicBezTo>
                  <a:pt x="1549" y="5775"/>
                  <a:pt x="1620" y="5858"/>
                  <a:pt x="1715" y="5858"/>
                </a:cubicBezTo>
                <a:lnTo>
                  <a:pt x="2192" y="5858"/>
                </a:lnTo>
                <a:lnTo>
                  <a:pt x="2192" y="8858"/>
                </a:lnTo>
                <a:lnTo>
                  <a:pt x="322" y="8858"/>
                </a:lnTo>
                <a:lnTo>
                  <a:pt x="322" y="345"/>
                </a:lnTo>
                <a:close/>
                <a:moveTo>
                  <a:pt x="4394" y="357"/>
                </a:moveTo>
                <a:lnTo>
                  <a:pt x="4406" y="8858"/>
                </a:lnTo>
                <a:lnTo>
                  <a:pt x="2525" y="8858"/>
                </a:lnTo>
                <a:lnTo>
                  <a:pt x="2525" y="5858"/>
                </a:lnTo>
                <a:lnTo>
                  <a:pt x="3001" y="5858"/>
                </a:lnTo>
                <a:cubicBezTo>
                  <a:pt x="3097" y="5858"/>
                  <a:pt x="3168" y="5775"/>
                  <a:pt x="3168" y="5691"/>
                </a:cubicBezTo>
                <a:lnTo>
                  <a:pt x="3168" y="3203"/>
                </a:lnTo>
                <a:cubicBezTo>
                  <a:pt x="3168" y="3108"/>
                  <a:pt x="3097" y="3036"/>
                  <a:pt x="3001" y="3036"/>
                </a:cubicBezTo>
                <a:cubicBezTo>
                  <a:pt x="2918" y="3036"/>
                  <a:pt x="2846" y="3108"/>
                  <a:pt x="2846" y="3203"/>
                </a:cubicBezTo>
                <a:lnTo>
                  <a:pt x="2846" y="5525"/>
                </a:lnTo>
                <a:lnTo>
                  <a:pt x="1894" y="5525"/>
                </a:lnTo>
                <a:lnTo>
                  <a:pt x="1894" y="357"/>
                </a:lnTo>
                <a:lnTo>
                  <a:pt x="2846" y="357"/>
                </a:lnTo>
                <a:lnTo>
                  <a:pt x="2846" y="2417"/>
                </a:lnTo>
                <a:cubicBezTo>
                  <a:pt x="2846" y="2500"/>
                  <a:pt x="2918" y="2572"/>
                  <a:pt x="3001" y="2572"/>
                </a:cubicBezTo>
                <a:cubicBezTo>
                  <a:pt x="3097" y="2572"/>
                  <a:pt x="3168" y="2500"/>
                  <a:pt x="3168" y="2417"/>
                </a:cubicBezTo>
                <a:lnTo>
                  <a:pt x="3168" y="357"/>
                </a:lnTo>
                <a:close/>
                <a:moveTo>
                  <a:pt x="5966" y="345"/>
                </a:moveTo>
                <a:lnTo>
                  <a:pt x="5966" y="5691"/>
                </a:lnTo>
                <a:cubicBezTo>
                  <a:pt x="5966" y="5775"/>
                  <a:pt x="6037" y="5858"/>
                  <a:pt x="6133" y="5858"/>
                </a:cubicBezTo>
                <a:lnTo>
                  <a:pt x="6609" y="5858"/>
                </a:lnTo>
                <a:lnTo>
                  <a:pt x="6621" y="8858"/>
                </a:lnTo>
                <a:lnTo>
                  <a:pt x="4751" y="8858"/>
                </a:lnTo>
                <a:lnTo>
                  <a:pt x="4751" y="345"/>
                </a:lnTo>
                <a:close/>
                <a:moveTo>
                  <a:pt x="8157" y="345"/>
                </a:moveTo>
                <a:lnTo>
                  <a:pt x="8157" y="5691"/>
                </a:lnTo>
                <a:cubicBezTo>
                  <a:pt x="8157" y="5775"/>
                  <a:pt x="8228" y="5858"/>
                  <a:pt x="8323" y="5858"/>
                </a:cubicBezTo>
                <a:lnTo>
                  <a:pt x="8800" y="5858"/>
                </a:lnTo>
                <a:lnTo>
                  <a:pt x="8800" y="8858"/>
                </a:lnTo>
                <a:lnTo>
                  <a:pt x="6954" y="8858"/>
                </a:lnTo>
                <a:lnTo>
                  <a:pt x="6954" y="5858"/>
                </a:lnTo>
                <a:lnTo>
                  <a:pt x="7430" y="5858"/>
                </a:lnTo>
                <a:cubicBezTo>
                  <a:pt x="7514" y="5858"/>
                  <a:pt x="7585" y="5775"/>
                  <a:pt x="7585" y="5691"/>
                </a:cubicBezTo>
                <a:lnTo>
                  <a:pt x="7585" y="345"/>
                </a:lnTo>
                <a:close/>
                <a:moveTo>
                  <a:pt x="168" y="0"/>
                </a:moveTo>
                <a:cubicBezTo>
                  <a:pt x="72" y="0"/>
                  <a:pt x="1" y="72"/>
                  <a:pt x="1" y="167"/>
                </a:cubicBezTo>
                <a:lnTo>
                  <a:pt x="1" y="9025"/>
                </a:lnTo>
                <a:cubicBezTo>
                  <a:pt x="1" y="9108"/>
                  <a:pt x="72" y="9192"/>
                  <a:pt x="168" y="9192"/>
                </a:cubicBezTo>
                <a:lnTo>
                  <a:pt x="11181" y="9192"/>
                </a:lnTo>
                <a:cubicBezTo>
                  <a:pt x="11264" y="9192"/>
                  <a:pt x="11336" y="9108"/>
                  <a:pt x="11336" y="9025"/>
                </a:cubicBezTo>
                <a:lnTo>
                  <a:pt x="11336" y="4536"/>
                </a:lnTo>
                <a:cubicBezTo>
                  <a:pt x="11336" y="4453"/>
                  <a:pt x="11264" y="4382"/>
                  <a:pt x="11181" y="4382"/>
                </a:cubicBezTo>
                <a:cubicBezTo>
                  <a:pt x="11086" y="4382"/>
                  <a:pt x="11014" y="4453"/>
                  <a:pt x="11014" y="4536"/>
                </a:cubicBezTo>
                <a:lnTo>
                  <a:pt x="11014" y="8858"/>
                </a:lnTo>
                <a:lnTo>
                  <a:pt x="9133" y="8858"/>
                </a:lnTo>
                <a:lnTo>
                  <a:pt x="9133" y="5846"/>
                </a:lnTo>
                <a:lnTo>
                  <a:pt x="9609" y="5846"/>
                </a:lnTo>
                <a:cubicBezTo>
                  <a:pt x="9704" y="5846"/>
                  <a:pt x="9776" y="5775"/>
                  <a:pt x="9776" y="5691"/>
                </a:cubicBezTo>
                <a:lnTo>
                  <a:pt x="9776" y="345"/>
                </a:lnTo>
                <a:lnTo>
                  <a:pt x="11002" y="345"/>
                </a:lnTo>
                <a:lnTo>
                  <a:pt x="11002" y="3751"/>
                </a:lnTo>
                <a:cubicBezTo>
                  <a:pt x="11026" y="3846"/>
                  <a:pt x="11098" y="3917"/>
                  <a:pt x="11205" y="3917"/>
                </a:cubicBezTo>
                <a:cubicBezTo>
                  <a:pt x="11300" y="3917"/>
                  <a:pt x="11371" y="3846"/>
                  <a:pt x="11371" y="3751"/>
                </a:cubicBezTo>
                <a:lnTo>
                  <a:pt x="11371" y="167"/>
                </a:lnTo>
                <a:cubicBezTo>
                  <a:pt x="11371" y="72"/>
                  <a:pt x="11300" y="0"/>
                  <a:pt x="112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31" name="Google Shape;10231;p59"/>
          <p:cNvGrpSpPr/>
          <p:nvPr/>
        </p:nvGrpSpPr>
        <p:grpSpPr>
          <a:xfrm>
            <a:off x="3513010" y="3816134"/>
            <a:ext cx="362223" cy="361108"/>
            <a:chOff x="3513010" y="3816134"/>
            <a:chExt cx="362223" cy="361108"/>
          </a:xfrm>
        </p:grpSpPr>
        <p:sp>
          <p:nvSpPr>
            <p:cNvPr id="10232" name="Google Shape;10232;p59"/>
            <p:cNvSpPr/>
            <p:nvPr/>
          </p:nvSpPr>
          <p:spPr>
            <a:xfrm>
              <a:off x="3513010" y="3816134"/>
              <a:ext cx="362223" cy="361108"/>
            </a:xfrm>
            <a:custGeom>
              <a:avLst/>
              <a:gdLst/>
              <a:ahLst/>
              <a:cxnLst/>
              <a:rect l="l" t="t" r="r" b="b"/>
              <a:pathLst>
                <a:path w="11371" h="11336" extrusionOk="0">
                  <a:moveTo>
                    <a:pt x="1381" y="346"/>
                  </a:moveTo>
                  <a:cubicBezTo>
                    <a:pt x="1846" y="358"/>
                    <a:pt x="2262" y="715"/>
                    <a:pt x="2358" y="1191"/>
                  </a:cubicBezTo>
                  <a:lnTo>
                    <a:pt x="1881" y="1191"/>
                  </a:lnTo>
                  <a:cubicBezTo>
                    <a:pt x="1786" y="1191"/>
                    <a:pt x="1715" y="1263"/>
                    <a:pt x="1715" y="1358"/>
                  </a:cubicBezTo>
                  <a:cubicBezTo>
                    <a:pt x="1715" y="1727"/>
                    <a:pt x="1417" y="2025"/>
                    <a:pt x="1048" y="2025"/>
                  </a:cubicBezTo>
                  <a:cubicBezTo>
                    <a:pt x="667" y="2025"/>
                    <a:pt x="369" y="1727"/>
                    <a:pt x="369" y="1358"/>
                  </a:cubicBezTo>
                  <a:cubicBezTo>
                    <a:pt x="369" y="798"/>
                    <a:pt x="822" y="346"/>
                    <a:pt x="1381" y="346"/>
                  </a:cubicBezTo>
                  <a:close/>
                  <a:moveTo>
                    <a:pt x="2358" y="1537"/>
                  </a:moveTo>
                  <a:lnTo>
                    <a:pt x="2358" y="2037"/>
                  </a:lnTo>
                  <a:lnTo>
                    <a:pt x="1774" y="2037"/>
                  </a:lnTo>
                  <a:cubicBezTo>
                    <a:pt x="1893" y="1906"/>
                    <a:pt x="1977" y="1727"/>
                    <a:pt x="2012" y="1537"/>
                  </a:cubicBezTo>
                  <a:close/>
                  <a:moveTo>
                    <a:pt x="9109" y="4489"/>
                  </a:moveTo>
                  <a:lnTo>
                    <a:pt x="9109" y="4489"/>
                  </a:lnTo>
                  <a:cubicBezTo>
                    <a:pt x="8739" y="5049"/>
                    <a:pt x="8287" y="5585"/>
                    <a:pt x="7787" y="6085"/>
                  </a:cubicBezTo>
                  <a:cubicBezTo>
                    <a:pt x="7275" y="6597"/>
                    <a:pt x="6739" y="7037"/>
                    <a:pt x="6192" y="7406"/>
                  </a:cubicBezTo>
                  <a:cubicBezTo>
                    <a:pt x="6584" y="6859"/>
                    <a:pt x="7013" y="6323"/>
                    <a:pt x="7513" y="5823"/>
                  </a:cubicBezTo>
                  <a:cubicBezTo>
                    <a:pt x="8025" y="5311"/>
                    <a:pt x="8561" y="4870"/>
                    <a:pt x="9109" y="4489"/>
                  </a:cubicBezTo>
                  <a:close/>
                  <a:moveTo>
                    <a:pt x="4036" y="9359"/>
                  </a:moveTo>
                  <a:cubicBezTo>
                    <a:pt x="4346" y="9359"/>
                    <a:pt x="4620" y="9573"/>
                    <a:pt x="4691" y="9871"/>
                  </a:cubicBezTo>
                  <a:lnTo>
                    <a:pt x="3382" y="9871"/>
                  </a:lnTo>
                  <a:cubicBezTo>
                    <a:pt x="3453" y="9573"/>
                    <a:pt x="3727" y="9359"/>
                    <a:pt x="4036" y="9359"/>
                  </a:cubicBezTo>
                  <a:close/>
                  <a:moveTo>
                    <a:pt x="10359" y="9359"/>
                  </a:moveTo>
                  <a:cubicBezTo>
                    <a:pt x="10728" y="9359"/>
                    <a:pt x="11025" y="9657"/>
                    <a:pt x="11025" y="10026"/>
                  </a:cubicBezTo>
                  <a:cubicBezTo>
                    <a:pt x="11025" y="10597"/>
                    <a:pt x="10585" y="11038"/>
                    <a:pt x="10037" y="11038"/>
                  </a:cubicBezTo>
                  <a:lnTo>
                    <a:pt x="4584" y="11038"/>
                  </a:lnTo>
                  <a:cubicBezTo>
                    <a:pt x="4870" y="10788"/>
                    <a:pt x="5037" y="10431"/>
                    <a:pt x="5037" y="10026"/>
                  </a:cubicBezTo>
                  <a:cubicBezTo>
                    <a:pt x="5037" y="9776"/>
                    <a:pt x="4929" y="9538"/>
                    <a:pt x="4775" y="9359"/>
                  </a:cubicBezTo>
                  <a:close/>
                  <a:moveTo>
                    <a:pt x="1346" y="1"/>
                  </a:moveTo>
                  <a:cubicBezTo>
                    <a:pt x="596" y="1"/>
                    <a:pt x="0" y="596"/>
                    <a:pt x="0" y="1334"/>
                  </a:cubicBezTo>
                  <a:cubicBezTo>
                    <a:pt x="0" y="1906"/>
                    <a:pt x="465" y="2346"/>
                    <a:pt x="1012" y="2346"/>
                  </a:cubicBezTo>
                  <a:lnTo>
                    <a:pt x="2358" y="2346"/>
                  </a:lnTo>
                  <a:lnTo>
                    <a:pt x="2358" y="7514"/>
                  </a:lnTo>
                  <a:cubicBezTo>
                    <a:pt x="2358" y="7609"/>
                    <a:pt x="2429" y="7680"/>
                    <a:pt x="2512" y="7680"/>
                  </a:cubicBezTo>
                  <a:cubicBezTo>
                    <a:pt x="2608" y="7680"/>
                    <a:pt x="2679" y="7609"/>
                    <a:pt x="2679" y="7514"/>
                  </a:cubicBezTo>
                  <a:lnTo>
                    <a:pt x="2679" y="1334"/>
                  </a:lnTo>
                  <a:cubicBezTo>
                    <a:pt x="2679" y="929"/>
                    <a:pt x="2501" y="572"/>
                    <a:pt x="2239" y="322"/>
                  </a:cubicBezTo>
                  <a:lnTo>
                    <a:pt x="7680" y="322"/>
                  </a:lnTo>
                  <a:cubicBezTo>
                    <a:pt x="8227" y="322"/>
                    <a:pt x="8680" y="775"/>
                    <a:pt x="8680" y="1334"/>
                  </a:cubicBezTo>
                  <a:lnTo>
                    <a:pt x="8680" y="2870"/>
                  </a:lnTo>
                  <a:cubicBezTo>
                    <a:pt x="8192" y="3108"/>
                    <a:pt x="7739" y="3430"/>
                    <a:pt x="7358" y="3811"/>
                  </a:cubicBezTo>
                  <a:cubicBezTo>
                    <a:pt x="6549" y="4608"/>
                    <a:pt x="6537" y="5192"/>
                    <a:pt x="6525" y="6144"/>
                  </a:cubicBezTo>
                  <a:lnTo>
                    <a:pt x="6525" y="6394"/>
                  </a:lnTo>
                  <a:cubicBezTo>
                    <a:pt x="6132" y="6859"/>
                    <a:pt x="5811" y="7347"/>
                    <a:pt x="5513" y="7847"/>
                  </a:cubicBezTo>
                  <a:cubicBezTo>
                    <a:pt x="5465" y="7907"/>
                    <a:pt x="5477" y="7990"/>
                    <a:pt x="5537" y="8049"/>
                  </a:cubicBezTo>
                  <a:cubicBezTo>
                    <a:pt x="5572" y="8085"/>
                    <a:pt x="5608" y="8097"/>
                    <a:pt x="5656" y="8097"/>
                  </a:cubicBezTo>
                  <a:cubicBezTo>
                    <a:pt x="5691" y="8097"/>
                    <a:pt x="5715" y="8097"/>
                    <a:pt x="5751" y="8061"/>
                  </a:cubicBezTo>
                  <a:cubicBezTo>
                    <a:pt x="6251" y="7776"/>
                    <a:pt x="6727" y="7442"/>
                    <a:pt x="7192" y="7049"/>
                  </a:cubicBezTo>
                  <a:lnTo>
                    <a:pt x="7442" y="7049"/>
                  </a:lnTo>
                  <a:cubicBezTo>
                    <a:pt x="7930" y="7037"/>
                    <a:pt x="8323" y="7037"/>
                    <a:pt x="8692" y="6918"/>
                  </a:cubicBezTo>
                  <a:lnTo>
                    <a:pt x="8692" y="9002"/>
                  </a:lnTo>
                  <a:lnTo>
                    <a:pt x="4036" y="9002"/>
                  </a:lnTo>
                  <a:cubicBezTo>
                    <a:pt x="3465" y="9002"/>
                    <a:pt x="3024" y="9466"/>
                    <a:pt x="3024" y="10014"/>
                  </a:cubicBezTo>
                  <a:cubicBezTo>
                    <a:pt x="3024" y="10097"/>
                    <a:pt x="3096" y="10181"/>
                    <a:pt x="3191" y="10181"/>
                  </a:cubicBezTo>
                  <a:lnTo>
                    <a:pt x="4691" y="10181"/>
                  </a:lnTo>
                  <a:cubicBezTo>
                    <a:pt x="4620" y="10657"/>
                    <a:pt x="4203" y="11014"/>
                    <a:pt x="3691" y="11014"/>
                  </a:cubicBezTo>
                  <a:cubicBezTo>
                    <a:pt x="3144" y="11014"/>
                    <a:pt x="2679" y="10562"/>
                    <a:pt x="2679" y="10002"/>
                  </a:cubicBezTo>
                  <a:lnTo>
                    <a:pt x="2679" y="8168"/>
                  </a:lnTo>
                  <a:cubicBezTo>
                    <a:pt x="2679" y="8085"/>
                    <a:pt x="2608" y="8002"/>
                    <a:pt x="2512" y="8002"/>
                  </a:cubicBezTo>
                  <a:cubicBezTo>
                    <a:pt x="2429" y="8002"/>
                    <a:pt x="2358" y="8085"/>
                    <a:pt x="2358" y="8168"/>
                  </a:cubicBezTo>
                  <a:lnTo>
                    <a:pt x="2358" y="10002"/>
                  </a:lnTo>
                  <a:cubicBezTo>
                    <a:pt x="2358" y="10740"/>
                    <a:pt x="2953" y="11335"/>
                    <a:pt x="3691" y="11335"/>
                  </a:cubicBezTo>
                  <a:lnTo>
                    <a:pt x="10013" y="11335"/>
                  </a:lnTo>
                  <a:cubicBezTo>
                    <a:pt x="10764" y="11335"/>
                    <a:pt x="11359" y="10740"/>
                    <a:pt x="11359" y="10002"/>
                  </a:cubicBezTo>
                  <a:cubicBezTo>
                    <a:pt x="11371" y="9478"/>
                    <a:pt x="10930" y="9038"/>
                    <a:pt x="10359" y="9038"/>
                  </a:cubicBezTo>
                  <a:lnTo>
                    <a:pt x="9025" y="9038"/>
                  </a:lnTo>
                  <a:lnTo>
                    <a:pt x="9025" y="6811"/>
                  </a:lnTo>
                  <a:cubicBezTo>
                    <a:pt x="9263" y="6692"/>
                    <a:pt x="9513" y="6513"/>
                    <a:pt x="9775" y="6252"/>
                  </a:cubicBezTo>
                  <a:cubicBezTo>
                    <a:pt x="10013" y="6013"/>
                    <a:pt x="10228" y="5763"/>
                    <a:pt x="10406" y="5478"/>
                  </a:cubicBezTo>
                  <a:cubicBezTo>
                    <a:pt x="10430" y="5430"/>
                    <a:pt x="10430" y="5370"/>
                    <a:pt x="10418" y="5311"/>
                  </a:cubicBezTo>
                  <a:cubicBezTo>
                    <a:pt x="10394" y="5251"/>
                    <a:pt x="10347" y="5228"/>
                    <a:pt x="10299" y="5204"/>
                  </a:cubicBezTo>
                  <a:lnTo>
                    <a:pt x="9894" y="5132"/>
                  </a:lnTo>
                  <a:cubicBezTo>
                    <a:pt x="10728" y="4489"/>
                    <a:pt x="11264" y="3525"/>
                    <a:pt x="11323" y="2465"/>
                  </a:cubicBezTo>
                  <a:lnTo>
                    <a:pt x="11323" y="2453"/>
                  </a:lnTo>
                  <a:cubicBezTo>
                    <a:pt x="11323" y="2406"/>
                    <a:pt x="11311" y="2358"/>
                    <a:pt x="11287" y="2322"/>
                  </a:cubicBezTo>
                  <a:cubicBezTo>
                    <a:pt x="11252" y="2287"/>
                    <a:pt x="11204" y="2275"/>
                    <a:pt x="11145" y="2275"/>
                  </a:cubicBezTo>
                  <a:cubicBezTo>
                    <a:pt x="10764" y="2311"/>
                    <a:pt x="10394" y="2346"/>
                    <a:pt x="10037" y="2430"/>
                  </a:cubicBezTo>
                  <a:cubicBezTo>
                    <a:pt x="9942" y="2442"/>
                    <a:pt x="9882" y="2525"/>
                    <a:pt x="9894" y="2620"/>
                  </a:cubicBezTo>
                  <a:cubicBezTo>
                    <a:pt x="9916" y="2696"/>
                    <a:pt x="9988" y="2753"/>
                    <a:pt x="10073" y="2753"/>
                  </a:cubicBezTo>
                  <a:cubicBezTo>
                    <a:pt x="10080" y="2753"/>
                    <a:pt x="10089" y="2752"/>
                    <a:pt x="10097" y="2751"/>
                  </a:cubicBezTo>
                  <a:cubicBezTo>
                    <a:pt x="10371" y="2692"/>
                    <a:pt x="10656" y="2644"/>
                    <a:pt x="10966" y="2620"/>
                  </a:cubicBezTo>
                  <a:lnTo>
                    <a:pt x="10966" y="2620"/>
                  </a:lnTo>
                  <a:cubicBezTo>
                    <a:pt x="10847" y="3632"/>
                    <a:pt x="10275" y="4537"/>
                    <a:pt x="9382" y="5073"/>
                  </a:cubicBezTo>
                  <a:lnTo>
                    <a:pt x="9359" y="5085"/>
                  </a:lnTo>
                  <a:cubicBezTo>
                    <a:pt x="9299" y="5120"/>
                    <a:pt x="9275" y="5192"/>
                    <a:pt x="9287" y="5263"/>
                  </a:cubicBezTo>
                  <a:cubicBezTo>
                    <a:pt x="9299" y="5347"/>
                    <a:pt x="9359" y="5382"/>
                    <a:pt x="9418" y="5406"/>
                  </a:cubicBezTo>
                  <a:lnTo>
                    <a:pt x="9978" y="5490"/>
                  </a:lnTo>
                  <a:cubicBezTo>
                    <a:pt x="9835" y="5668"/>
                    <a:pt x="9692" y="5847"/>
                    <a:pt x="9525" y="6002"/>
                  </a:cubicBezTo>
                  <a:cubicBezTo>
                    <a:pt x="8870" y="6656"/>
                    <a:pt x="8406" y="6716"/>
                    <a:pt x="7573" y="6728"/>
                  </a:cubicBezTo>
                  <a:cubicBezTo>
                    <a:pt x="7727" y="6597"/>
                    <a:pt x="7870" y="6454"/>
                    <a:pt x="8013" y="6311"/>
                  </a:cubicBezTo>
                  <a:cubicBezTo>
                    <a:pt x="8728" y="5597"/>
                    <a:pt x="9299" y="4835"/>
                    <a:pt x="9775" y="4037"/>
                  </a:cubicBezTo>
                  <a:cubicBezTo>
                    <a:pt x="9823" y="3977"/>
                    <a:pt x="9811" y="3882"/>
                    <a:pt x="9751" y="3823"/>
                  </a:cubicBezTo>
                  <a:cubicBezTo>
                    <a:pt x="9718" y="3789"/>
                    <a:pt x="9681" y="3774"/>
                    <a:pt x="9639" y="3774"/>
                  </a:cubicBezTo>
                  <a:cubicBezTo>
                    <a:pt x="9608" y="3774"/>
                    <a:pt x="9574" y="3783"/>
                    <a:pt x="9537" y="3799"/>
                  </a:cubicBezTo>
                  <a:cubicBezTo>
                    <a:pt x="8739" y="4251"/>
                    <a:pt x="7966" y="4847"/>
                    <a:pt x="7263" y="5561"/>
                  </a:cubicBezTo>
                  <a:cubicBezTo>
                    <a:pt x="7120" y="5716"/>
                    <a:pt x="6977" y="5847"/>
                    <a:pt x="6846" y="6002"/>
                  </a:cubicBezTo>
                  <a:cubicBezTo>
                    <a:pt x="6882" y="5168"/>
                    <a:pt x="6918" y="4704"/>
                    <a:pt x="7573" y="4049"/>
                  </a:cubicBezTo>
                  <a:cubicBezTo>
                    <a:pt x="8085" y="3537"/>
                    <a:pt x="8728" y="3156"/>
                    <a:pt x="9454" y="2906"/>
                  </a:cubicBezTo>
                  <a:cubicBezTo>
                    <a:pt x="9537" y="2870"/>
                    <a:pt x="9585" y="2787"/>
                    <a:pt x="9561" y="2692"/>
                  </a:cubicBezTo>
                  <a:cubicBezTo>
                    <a:pt x="9531" y="2623"/>
                    <a:pt x="9470" y="2578"/>
                    <a:pt x="9395" y="2578"/>
                  </a:cubicBezTo>
                  <a:cubicBezTo>
                    <a:pt x="9379" y="2578"/>
                    <a:pt x="9363" y="2580"/>
                    <a:pt x="9347" y="2584"/>
                  </a:cubicBezTo>
                  <a:cubicBezTo>
                    <a:pt x="9228" y="2632"/>
                    <a:pt x="9109" y="2680"/>
                    <a:pt x="9001" y="2715"/>
                  </a:cubicBezTo>
                  <a:lnTo>
                    <a:pt x="9001" y="1334"/>
                  </a:lnTo>
                  <a:cubicBezTo>
                    <a:pt x="9001" y="596"/>
                    <a:pt x="8406" y="1"/>
                    <a:pt x="7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3" name="Google Shape;10233;p59"/>
            <p:cNvSpPr/>
            <p:nvPr/>
          </p:nvSpPr>
          <p:spPr>
            <a:xfrm>
              <a:off x="3618450" y="3879112"/>
              <a:ext cx="157045" cy="24688"/>
            </a:xfrm>
            <a:custGeom>
              <a:avLst/>
              <a:gdLst/>
              <a:ahLst/>
              <a:cxnLst/>
              <a:rect l="l" t="t" r="r" b="b"/>
              <a:pathLst>
                <a:path w="4930" h="775" extrusionOk="0">
                  <a:moveTo>
                    <a:pt x="155" y="0"/>
                  </a:moveTo>
                  <a:cubicBezTo>
                    <a:pt x="72" y="0"/>
                    <a:pt x="0" y="72"/>
                    <a:pt x="0" y="167"/>
                  </a:cubicBezTo>
                  <a:cubicBezTo>
                    <a:pt x="0" y="250"/>
                    <a:pt x="72" y="334"/>
                    <a:pt x="155" y="334"/>
                  </a:cubicBezTo>
                  <a:cubicBezTo>
                    <a:pt x="322" y="334"/>
                    <a:pt x="381" y="405"/>
                    <a:pt x="500" y="512"/>
                  </a:cubicBezTo>
                  <a:cubicBezTo>
                    <a:pt x="619" y="631"/>
                    <a:pt x="786" y="774"/>
                    <a:pt x="1084" y="774"/>
                  </a:cubicBezTo>
                  <a:cubicBezTo>
                    <a:pt x="1381" y="774"/>
                    <a:pt x="1524" y="631"/>
                    <a:pt x="1667" y="512"/>
                  </a:cubicBezTo>
                  <a:cubicBezTo>
                    <a:pt x="1762" y="405"/>
                    <a:pt x="1846" y="334"/>
                    <a:pt x="2000" y="334"/>
                  </a:cubicBezTo>
                  <a:cubicBezTo>
                    <a:pt x="2167" y="334"/>
                    <a:pt x="2227" y="405"/>
                    <a:pt x="2346" y="512"/>
                  </a:cubicBezTo>
                  <a:cubicBezTo>
                    <a:pt x="2465" y="631"/>
                    <a:pt x="2631" y="774"/>
                    <a:pt x="2929" y="774"/>
                  </a:cubicBezTo>
                  <a:cubicBezTo>
                    <a:pt x="3227" y="774"/>
                    <a:pt x="3370" y="631"/>
                    <a:pt x="3501" y="512"/>
                  </a:cubicBezTo>
                  <a:cubicBezTo>
                    <a:pt x="3608" y="405"/>
                    <a:pt x="3679" y="334"/>
                    <a:pt x="3846" y="334"/>
                  </a:cubicBezTo>
                  <a:cubicBezTo>
                    <a:pt x="4013" y="334"/>
                    <a:pt x="4072" y="405"/>
                    <a:pt x="4191" y="512"/>
                  </a:cubicBezTo>
                  <a:cubicBezTo>
                    <a:pt x="4310" y="631"/>
                    <a:pt x="4477" y="774"/>
                    <a:pt x="4775" y="774"/>
                  </a:cubicBezTo>
                  <a:cubicBezTo>
                    <a:pt x="4858" y="774"/>
                    <a:pt x="4929" y="703"/>
                    <a:pt x="4929" y="607"/>
                  </a:cubicBezTo>
                  <a:cubicBezTo>
                    <a:pt x="4929" y="524"/>
                    <a:pt x="4858" y="453"/>
                    <a:pt x="4775" y="453"/>
                  </a:cubicBezTo>
                  <a:cubicBezTo>
                    <a:pt x="4608" y="453"/>
                    <a:pt x="4548" y="369"/>
                    <a:pt x="4429" y="274"/>
                  </a:cubicBezTo>
                  <a:cubicBezTo>
                    <a:pt x="4310" y="155"/>
                    <a:pt x="4144" y="0"/>
                    <a:pt x="3846" y="0"/>
                  </a:cubicBezTo>
                  <a:cubicBezTo>
                    <a:pt x="3548" y="0"/>
                    <a:pt x="3405" y="155"/>
                    <a:pt x="3263" y="274"/>
                  </a:cubicBezTo>
                  <a:cubicBezTo>
                    <a:pt x="3167" y="369"/>
                    <a:pt x="3084" y="453"/>
                    <a:pt x="2929" y="453"/>
                  </a:cubicBezTo>
                  <a:cubicBezTo>
                    <a:pt x="2762" y="453"/>
                    <a:pt x="2703" y="369"/>
                    <a:pt x="2584" y="274"/>
                  </a:cubicBezTo>
                  <a:cubicBezTo>
                    <a:pt x="2465" y="155"/>
                    <a:pt x="2298" y="0"/>
                    <a:pt x="2000" y="0"/>
                  </a:cubicBezTo>
                  <a:cubicBezTo>
                    <a:pt x="1703" y="0"/>
                    <a:pt x="1560" y="155"/>
                    <a:pt x="1417" y="274"/>
                  </a:cubicBezTo>
                  <a:cubicBezTo>
                    <a:pt x="1322" y="369"/>
                    <a:pt x="1238" y="453"/>
                    <a:pt x="1084" y="453"/>
                  </a:cubicBezTo>
                  <a:cubicBezTo>
                    <a:pt x="917" y="453"/>
                    <a:pt x="857" y="369"/>
                    <a:pt x="738" y="274"/>
                  </a:cubicBezTo>
                  <a:cubicBezTo>
                    <a:pt x="619" y="155"/>
                    <a:pt x="45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4" name="Google Shape;10234;p59"/>
            <p:cNvSpPr/>
            <p:nvPr/>
          </p:nvSpPr>
          <p:spPr>
            <a:xfrm>
              <a:off x="3618450" y="3921192"/>
              <a:ext cx="127834" cy="24688"/>
            </a:xfrm>
            <a:custGeom>
              <a:avLst/>
              <a:gdLst/>
              <a:ahLst/>
              <a:cxnLst/>
              <a:rect l="l" t="t" r="r" b="b"/>
              <a:pathLst>
                <a:path w="4013" h="775" extrusionOk="0">
                  <a:moveTo>
                    <a:pt x="155" y="1"/>
                  </a:moveTo>
                  <a:cubicBezTo>
                    <a:pt x="72" y="1"/>
                    <a:pt x="0" y="84"/>
                    <a:pt x="0" y="167"/>
                  </a:cubicBezTo>
                  <a:cubicBezTo>
                    <a:pt x="0" y="263"/>
                    <a:pt x="72" y="334"/>
                    <a:pt x="155" y="334"/>
                  </a:cubicBezTo>
                  <a:cubicBezTo>
                    <a:pt x="322" y="334"/>
                    <a:pt x="381" y="406"/>
                    <a:pt x="500" y="513"/>
                  </a:cubicBezTo>
                  <a:cubicBezTo>
                    <a:pt x="619" y="632"/>
                    <a:pt x="786" y="775"/>
                    <a:pt x="1084" y="775"/>
                  </a:cubicBezTo>
                  <a:cubicBezTo>
                    <a:pt x="1381" y="775"/>
                    <a:pt x="1524" y="632"/>
                    <a:pt x="1667" y="513"/>
                  </a:cubicBezTo>
                  <a:cubicBezTo>
                    <a:pt x="1762" y="406"/>
                    <a:pt x="1846" y="334"/>
                    <a:pt x="2000" y="334"/>
                  </a:cubicBezTo>
                  <a:cubicBezTo>
                    <a:pt x="2167" y="334"/>
                    <a:pt x="2227" y="406"/>
                    <a:pt x="2346" y="513"/>
                  </a:cubicBezTo>
                  <a:cubicBezTo>
                    <a:pt x="2465" y="632"/>
                    <a:pt x="2631" y="775"/>
                    <a:pt x="2929" y="775"/>
                  </a:cubicBezTo>
                  <a:cubicBezTo>
                    <a:pt x="3227" y="775"/>
                    <a:pt x="3370" y="632"/>
                    <a:pt x="3501" y="513"/>
                  </a:cubicBezTo>
                  <a:cubicBezTo>
                    <a:pt x="3608" y="406"/>
                    <a:pt x="3679" y="334"/>
                    <a:pt x="3846" y="334"/>
                  </a:cubicBezTo>
                  <a:cubicBezTo>
                    <a:pt x="3941" y="334"/>
                    <a:pt x="4013" y="263"/>
                    <a:pt x="4013" y="167"/>
                  </a:cubicBezTo>
                  <a:cubicBezTo>
                    <a:pt x="4013" y="84"/>
                    <a:pt x="3941" y="1"/>
                    <a:pt x="3846" y="1"/>
                  </a:cubicBezTo>
                  <a:cubicBezTo>
                    <a:pt x="3548" y="1"/>
                    <a:pt x="3405" y="156"/>
                    <a:pt x="3263" y="275"/>
                  </a:cubicBezTo>
                  <a:cubicBezTo>
                    <a:pt x="3167" y="382"/>
                    <a:pt x="3084" y="453"/>
                    <a:pt x="2929" y="453"/>
                  </a:cubicBezTo>
                  <a:cubicBezTo>
                    <a:pt x="2762" y="453"/>
                    <a:pt x="2703" y="382"/>
                    <a:pt x="2584" y="275"/>
                  </a:cubicBezTo>
                  <a:cubicBezTo>
                    <a:pt x="2465" y="156"/>
                    <a:pt x="2298" y="1"/>
                    <a:pt x="2000" y="1"/>
                  </a:cubicBezTo>
                  <a:cubicBezTo>
                    <a:pt x="1703" y="1"/>
                    <a:pt x="1560" y="156"/>
                    <a:pt x="1417" y="275"/>
                  </a:cubicBezTo>
                  <a:cubicBezTo>
                    <a:pt x="1322" y="382"/>
                    <a:pt x="1238" y="453"/>
                    <a:pt x="1084" y="453"/>
                  </a:cubicBezTo>
                  <a:cubicBezTo>
                    <a:pt x="917" y="453"/>
                    <a:pt x="857" y="382"/>
                    <a:pt x="738" y="275"/>
                  </a:cubicBezTo>
                  <a:cubicBezTo>
                    <a:pt x="619" y="156"/>
                    <a:pt x="45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5" name="Google Shape;10235;p59"/>
            <p:cNvSpPr/>
            <p:nvPr/>
          </p:nvSpPr>
          <p:spPr>
            <a:xfrm>
              <a:off x="3617304" y="3962922"/>
              <a:ext cx="98655" cy="24688"/>
            </a:xfrm>
            <a:custGeom>
              <a:avLst/>
              <a:gdLst/>
              <a:ahLst/>
              <a:cxnLst/>
              <a:rect l="l" t="t" r="r" b="b"/>
              <a:pathLst>
                <a:path w="3097" h="775" extrusionOk="0">
                  <a:moveTo>
                    <a:pt x="167" y="0"/>
                  </a:moveTo>
                  <a:cubicBezTo>
                    <a:pt x="72" y="0"/>
                    <a:pt x="0" y="84"/>
                    <a:pt x="0" y="167"/>
                  </a:cubicBezTo>
                  <a:cubicBezTo>
                    <a:pt x="0" y="262"/>
                    <a:pt x="72" y="334"/>
                    <a:pt x="167" y="334"/>
                  </a:cubicBezTo>
                  <a:cubicBezTo>
                    <a:pt x="334" y="334"/>
                    <a:pt x="393" y="405"/>
                    <a:pt x="512" y="512"/>
                  </a:cubicBezTo>
                  <a:cubicBezTo>
                    <a:pt x="632" y="632"/>
                    <a:pt x="786" y="774"/>
                    <a:pt x="1084" y="774"/>
                  </a:cubicBezTo>
                  <a:cubicBezTo>
                    <a:pt x="1382" y="774"/>
                    <a:pt x="1536" y="632"/>
                    <a:pt x="1667" y="512"/>
                  </a:cubicBezTo>
                  <a:cubicBezTo>
                    <a:pt x="1775" y="405"/>
                    <a:pt x="1846" y="334"/>
                    <a:pt x="2013" y="334"/>
                  </a:cubicBezTo>
                  <a:cubicBezTo>
                    <a:pt x="2179" y="334"/>
                    <a:pt x="2239" y="405"/>
                    <a:pt x="2358" y="512"/>
                  </a:cubicBezTo>
                  <a:cubicBezTo>
                    <a:pt x="2477" y="632"/>
                    <a:pt x="2632" y="774"/>
                    <a:pt x="2929" y="774"/>
                  </a:cubicBezTo>
                  <a:cubicBezTo>
                    <a:pt x="3025" y="774"/>
                    <a:pt x="3096" y="703"/>
                    <a:pt x="3096" y="620"/>
                  </a:cubicBezTo>
                  <a:cubicBezTo>
                    <a:pt x="3096" y="524"/>
                    <a:pt x="3025" y="453"/>
                    <a:pt x="2929" y="453"/>
                  </a:cubicBezTo>
                  <a:cubicBezTo>
                    <a:pt x="2775" y="441"/>
                    <a:pt x="2691" y="381"/>
                    <a:pt x="2596" y="274"/>
                  </a:cubicBezTo>
                  <a:cubicBezTo>
                    <a:pt x="2477" y="155"/>
                    <a:pt x="2310" y="0"/>
                    <a:pt x="2013" y="0"/>
                  </a:cubicBezTo>
                  <a:cubicBezTo>
                    <a:pt x="1715" y="0"/>
                    <a:pt x="1560" y="155"/>
                    <a:pt x="1429" y="274"/>
                  </a:cubicBezTo>
                  <a:cubicBezTo>
                    <a:pt x="1322" y="381"/>
                    <a:pt x="1251" y="453"/>
                    <a:pt x="1084" y="453"/>
                  </a:cubicBezTo>
                  <a:cubicBezTo>
                    <a:pt x="929" y="453"/>
                    <a:pt x="870" y="381"/>
                    <a:pt x="751" y="274"/>
                  </a:cubicBezTo>
                  <a:cubicBezTo>
                    <a:pt x="632" y="155"/>
                    <a:pt x="46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36" name="Google Shape;10236;p59"/>
          <p:cNvGrpSpPr/>
          <p:nvPr/>
        </p:nvGrpSpPr>
        <p:grpSpPr>
          <a:xfrm>
            <a:off x="3950316" y="3820307"/>
            <a:ext cx="369805" cy="353782"/>
            <a:chOff x="3950316" y="3820307"/>
            <a:chExt cx="369805" cy="353782"/>
          </a:xfrm>
        </p:grpSpPr>
        <p:sp>
          <p:nvSpPr>
            <p:cNvPr id="10237" name="Google Shape;10237;p59"/>
            <p:cNvSpPr/>
            <p:nvPr/>
          </p:nvSpPr>
          <p:spPr>
            <a:xfrm>
              <a:off x="4040561" y="3880991"/>
              <a:ext cx="99802" cy="28383"/>
            </a:xfrm>
            <a:custGeom>
              <a:avLst/>
              <a:gdLst/>
              <a:ahLst/>
              <a:cxnLst/>
              <a:rect l="l" t="t" r="r" b="b"/>
              <a:pathLst>
                <a:path w="3133" h="891" extrusionOk="0">
                  <a:moveTo>
                    <a:pt x="1572" y="1"/>
                  </a:moveTo>
                  <a:cubicBezTo>
                    <a:pt x="1001" y="1"/>
                    <a:pt x="465" y="227"/>
                    <a:pt x="60" y="632"/>
                  </a:cubicBezTo>
                  <a:cubicBezTo>
                    <a:pt x="1" y="691"/>
                    <a:pt x="1" y="787"/>
                    <a:pt x="60" y="846"/>
                  </a:cubicBezTo>
                  <a:cubicBezTo>
                    <a:pt x="84" y="876"/>
                    <a:pt x="123" y="891"/>
                    <a:pt x="165" y="891"/>
                  </a:cubicBezTo>
                  <a:cubicBezTo>
                    <a:pt x="206" y="891"/>
                    <a:pt x="251" y="876"/>
                    <a:pt x="287" y="846"/>
                  </a:cubicBezTo>
                  <a:cubicBezTo>
                    <a:pt x="632" y="513"/>
                    <a:pt x="1072" y="310"/>
                    <a:pt x="1572" y="310"/>
                  </a:cubicBezTo>
                  <a:cubicBezTo>
                    <a:pt x="2061" y="310"/>
                    <a:pt x="2501" y="513"/>
                    <a:pt x="2846" y="846"/>
                  </a:cubicBezTo>
                  <a:cubicBezTo>
                    <a:pt x="2876" y="876"/>
                    <a:pt x="2918" y="891"/>
                    <a:pt x="2960" y="891"/>
                  </a:cubicBezTo>
                  <a:cubicBezTo>
                    <a:pt x="3001" y="891"/>
                    <a:pt x="3043" y="876"/>
                    <a:pt x="3073" y="846"/>
                  </a:cubicBezTo>
                  <a:cubicBezTo>
                    <a:pt x="3132" y="787"/>
                    <a:pt x="3132" y="691"/>
                    <a:pt x="3073" y="632"/>
                  </a:cubicBezTo>
                  <a:cubicBezTo>
                    <a:pt x="2668" y="227"/>
                    <a:pt x="2132"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8" name="Google Shape;10238;p59"/>
            <p:cNvSpPr/>
            <p:nvPr/>
          </p:nvSpPr>
          <p:spPr>
            <a:xfrm>
              <a:off x="3950316" y="3820307"/>
              <a:ext cx="369805" cy="353782"/>
            </a:xfrm>
            <a:custGeom>
              <a:avLst/>
              <a:gdLst/>
              <a:ahLst/>
              <a:cxnLst/>
              <a:rect l="l" t="t" r="r" b="b"/>
              <a:pathLst>
                <a:path w="11609" h="11106" extrusionOk="0">
                  <a:moveTo>
                    <a:pt x="7358" y="6728"/>
                  </a:moveTo>
                  <a:lnTo>
                    <a:pt x="7799" y="7156"/>
                  </a:lnTo>
                  <a:lnTo>
                    <a:pt x="7513" y="7442"/>
                  </a:lnTo>
                  <a:lnTo>
                    <a:pt x="7084" y="7014"/>
                  </a:lnTo>
                  <a:cubicBezTo>
                    <a:pt x="7180" y="6918"/>
                    <a:pt x="7275" y="6835"/>
                    <a:pt x="7358" y="6728"/>
                  </a:cubicBezTo>
                  <a:close/>
                  <a:moveTo>
                    <a:pt x="4395" y="358"/>
                  </a:moveTo>
                  <a:cubicBezTo>
                    <a:pt x="5337" y="358"/>
                    <a:pt x="6281" y="715"/>
                    <a:pt x="7001" y="1429"/>
                  </a:cubicBezTo>
                  <a:cubicBezTo>
                    <a:pt x="8370" y="2799"/>
                    <a:pt x="8430" y="4942"/>
                    <a:pt x="7239" y="6382"/>
                  </a:cubicBezTo>
                  <a:cubicBezTo>
                    <a:pt x="7096" y="6561"/>
                    <a:pt x="6930" y="6728"/>
                    <a:pt x="6763" y="6859"/>
                  </a:cubicBezTo>
                  <a:cubicBezTo>
                    <a:pt x="6075" y="7434"/>
                    <a:pt x="5230" y="7723"/>
                    <a:pt x="4386" y="7723"/>
                  </a:cubicBezTo>
                  <a:cubicBezTo>
                    <a:pt x="3448" y="7723"/>
                    <a:pt x="2513" y="7365"/>
                    <a:pt x="1798" y="6644"/>
                  </a:cubicBezTo>
                  <a:cubicBezTo>
                    <a:pt x="357" y="5192"/>
                    <a:pt x="357" y="2870"/>
                    <a:pt x="1798" y="1429"/>
                  </a:cubicBezTo>
                  <a:cubicBezTo>
                    <a:pt x="2512" y="715"/>
                    <a:pt x="3453" y="358"/>
                    <a:pt x="4395" y="358"/>
                  </a:cubicBezTo>
                  <a:close/>
                  <a:moveTo>
                    <a:pt x="8226" y="7228"/>
                  </a:moveTo>
                  <a:cubicBezTo>
                    <a:pt x="8260" y="7228"/>
                    <a:pt x="8293" y="7240"/>
                    <a:pt x="8311" y="7264"/>
                  </a:cubicBezTo>
                  <a:lnTo>
                    <a:pt x="8763" y="7668"/>
                  </a:lnTo>
                  <a:lnTo>
                    <a:pt x="8001" y="8430"/>
                  </a:lnTo>
                  <a:lnTo>
                    <a:pt x="7620" y="7966"/>
                  </a:lnTo>
                  <a:cubicBezTo>
                    <a:pt x="7573" y="7918"/>
                    <a:pt x="7573" y="7835"/>
                    <a:pt x="7620" y="7787"/>
                  </a:cubicBezTo>
                  <a:lnTo>
                    <a:pt x="8132" y="7264"/>
                  </a:lnTo>
                  <a:cubicBezTo>
                    <a:pt x="8156" y="7240"/>
                    <a:pt x="8192" y="7228"/>
                    <a:pt x="8226" y="7228"/>
                  </a:cubicBezTo>
                  <a:close/>
                  <a:moveTo>
                    <a:pt x="9013" y="7871"/>
                  </a:moveTo>
                  <a:lnTo>
                    <a:pt x="10871" y="9514"/>
                  </a:lnTo>
                  <a:cubicBezTo>
                    <a:pt x="11192" y="9800"/>
                    <a:pt x="11204" y="10276"/>
                    <a:pt x="10906" y="10573"/>
                  </a:cubicBezTo>
                  <a:cubicBezTo>
                    <a:pt x="10765" y="10715"/>
                    <a:pt x="10580" y="10784"/>
                    <a:pt x="10396" y="10784"/>
                  </a:cubicBezTo>
                  <a:cubicBezTo>
                    <a:pt x="10193" y="10784"/>
                    <a:pt x="9990" y="10700"/>
                    <a:pt x="9847" y="10538"/>
                  </a:cubicBezTo>
                  <a:lnTo>
                    <a:pt x="8227" y="8668"/>
                  </a:lnTo>
                  <a:lnTo>
                    <a:pt x="9013" y="7871"/>
                  </a:lnTo>
                  <a:close/>
                  <a:moveTo>
                    <a:pt x="4423" y="1"/>
                  </a:moveTo>
                  <a:cubicBezTo>
                    <a:pt x="3396" y="1"/>
                    <a:pt x="2370" y="394"/>
                    <a:pt x="1584" y="1179"/>
                  </a:cubicBezTo>
                  <a:cubicBezTo>
                    <a:pt x="0" y="2775"/>
                    <a:pt x="0" y="5299"/>
                    <a:pt x="1560" y="6883"/>
                  </a:cubicBezTo>
                  <a:cubicBezTo>
                    <a:pt x="2340" y="7663"/>
                    <a:pt x="3364" y="8052"/>
                    <a:pt x="4389" y="8052"/>
                  </a:cubicBezTo>
                  <a:cubicBezTo>
                    <a:pt x="5257" y="8052"/>
                    <a:pt x="6126" y="7773"/>
                    <a:pt x="6846" y="7216"/>
                  </a:cubicBezTo>
                  <a:lnTo>
                    <a:pt x="7323" y="7692"/>
                  </a:lnTo>
                  <a:cubicBezTo>
                    <a:pt x="7239" y="7859"/>
                    <a:pt x="7263" y="8049"/>
                    <a:pt x="7394" y="8180"/>
                  </a:cubicBezTo>
                  <a:lnTo>
                    <a:pt x="9644" y="10752"/>
                  </a:lnTo>
                  <a:cubicBezTo>
                    <a:pt x="9847" y="10986"/>
                    <a:pt x="10133" y="11105"/>
                    <a:pt x="10421" y="11105"/>
                  </a:cubicBezTo>
                  <a:cubicBezTo>
                    <a:pt x="10690" y="11105"/>
                    <a:pt x="10961" y="11001"/>
                    <a:pt x="11168" y="10788"/>
                  </a:cubicBezTo>
                  <a:cubicBezTo>
                    <a:pt x="11609" y="10359"/>
                    <a:pt x="11573" y="9657"/>
                    <a:pt x="11133" y="9264"/>
                  </a:cubicBezTo>
                  <a:lnTo>
                    <a:pt x="8573" y="7014"/>
                  </a:lnTo>
                  <a:cubicBezTo>
                    <a:pt x="8483" y="6939"/>
                    <a:pt x="8369" y="6897"/>
                    <a:pt x="8259" y="6897"/>
                  </a:cubicBezTo>
                  <a:cubicBezTo>
                    <a:pt x="8194" y="6897"/>
                    <a:pt x="8130" y="6911"/>
                    <a:pt x="8073" y="6942"/>
                  </a:cubicBezTo>
                  <a:lnTo>
                    <a:pt x="7596" y="6454"/>
                  </a:lnTo>
                  <a:cubicBezTo>
                    <a:pt x="8811" y="4894"/>
                    <a:pt x="8704" y="2632"/>
                    <a:pt x="7263" y="1179"/>
                  </a:cubicBezTo>
                  <a:cubicBezTo>
                    <a:pt x="6477" y="394"/>
                    <a:pt x="5450" y="1"/>
                    <a:pt x="44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9" name="Google Shape;10239;p59"/>
            <p:cNvSpPr/>
            <p:nvPr/>
          </p:nvSpPr>
          <p:spPr>
            <a:xfrm>
              <a:off x="4098219" y="3850602"/>
              <a:ext cx="101299" cy="195781"/>
            </a:xfrm>
            <a:custGeom>
              <a:avLst/>
              <a:gdLst/>
              <a:ahLst/>
              <a:cxnLst/>
              <a:rect l="l" t="t" r="r" b="b"/>
              <a:pathLst>
                <a:path w="3180" h="6146" extrusionOk="0">
                  <a:moveTo>
                    <a:pt x="194" y="1"/>
                  </a:moveTo>
                  <a:cubicBezTo>
                    <a:pt x="120" y="1"/>
                    <a:pt x="58" y="57"/>
                    <a:pt x="36" y="133"/>
                  </a:cubicBezTo>
                  <a:cubicBezTo>
                    <a:pt x="24" y="228"/>
                    <a:pt x="84" y="300"/>
                    <a:pt x="179" y="312"/>
                  </a:cubicBezTo>
                  <a:cubicBezTo>
                    <a:pt x="775" y="407"/>
                    <a:pt x="1322" y="669"/>
                    <a:pt x="1739" y="1110"/>
                  </a:cubicBezTo>
                  <a:cubicBezTo>
                    <a:pt x="2822" y="2193"/>
                    <a:pt x="2822" y="3967"/>
                    <a:pt x="1739" y="5050"/>
                  </a:cubicBezTo>
                  <a:cubicBezTo>
                    <a:pt x="1286" y="5479"/>
                    <a:pt x="739" y="5765"/>
                    <a:pt x="143" y="5836"/>
                  </a:cubicBezTo>
                  <a:cubicBezTo>
                    <a:pt x="60" y="5848"/>
                    <a:pt x="1" y="5932"/>
                    <a:pt x="13" y="6015"/>
                  </a:cubicBezTo>
                  <a:cubicBezTo>
                    <a:pt x="24" y="6086"/>
                    <a:pt x="84" y="6146"/>
                    <a:pt x="179" y="6146"/>
                  </a:cubicBezTo>
                  <a:lnTo>
                    <a:pt x="203" y="6146"/>
                  </a:lnTo>
                  <a:cubicBezTo>
                    <a:pt x="870" y="6063"/>
                    <a:pt x="1489" y="5753"/>
                    <a:pt x="1977" y="5277"/>
                  </a:cubicBezTo>
                  <a:cubicBezTo>
                    <a:pt x="3180" y="4062"/>
                    <a:pt x="3180" y="2086"/>
                    <a:pt x="1977" y="883"/>
                  </a:cubicBezTo>
                  <a:cubicBezTo>
                    <a:pt x="1501" y="407"/>
                    <a:pt x="894" y="97"/>
                    <a:pt x="215" y="2"/>
                  </a:cubicBezTo>
                  <a:cubicBezTo>
                    <a:pt x="208" y="1"/>
                    <a:pt x="201"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0" name="Google Shape;10240;p59"/>
            <p:cNvSpPr/>
            <p:nvPr/>
          </p:nvSpPr>
          <p:spPr>
            <a:xfrm>
              <a:off x="3981789" y="3849136"/>
              <a:ext cx="103178" cy="198011"/>
            </a:xfrm>
            <a:custGeom>
              <a:avLst/>
              <a:gdLst/>
              <a:ahLst/>
              <a:cxnLst/>
              <a:rect l="l" t="t" r="r" b="b"/>
              <a:pathLst>
                <a:path w="3239" h="6216" extrusionOk="0">
                  <a:moveTo>
                    <a:pt x="3036" y="1"/>
                  </a:moveTo>
                  <a:cubicBezTo>
                    <a:pt x="2346" y="120"/>
                    <a:pt x="1703" y="441"/>
                    <a:pt x="1215" y="929"/>
                  </a:cubicBezTo>
                  <a:cubicBezTo>
                    <a:pt x="0" y="2132"/>
                    <a:pt x="0" y="4108"/>
                    <a:pt x="1215" y="5323"/>
                  </a:cubicBezTo>
                  <a:cubicBezTo>
                    <a:pt x="1715" y="5823"/>
                    <a:pt x="2346" y="6120"/>
                    <a:pt x="3036" y="6216"/>
                  </a:cubicBezTo>
                  <a:lnTo>
                    <a:pt x="3060" y="6216"/>
                  </a:lnTo>
                  <a:cubicBezTo>
                    <a:pt x="3132" y="6216"/>
                    <a:pt x="3203" y="6156"/>
                    <a:pt x="3215" y="6061"/>
                  </a:cubicBezTo>
                  <a:cubicBezTo>
                    <a:pt x="3239" y="5978"/>
                    <a:pt x="3156" y="5894"/>
                    <a:pt x="3072" y="5882"/>
                  </a:cubicBezTo>
                  <a:cubicBezTo>
                    <a:pt x="2441" y="5811"/>
                    <a:pt x="1882" y="5537"/>
                    <a:pt x="1429" y="5085"/>
                  </a:cubicBezTo>
                  <a:cubicBezTo>
                    <a:pt x="346" y="3989"/>
                    <a:pt x="346" y="2215"/>
                    <a:pt x="1429" y="1132"/>
                  </a:cubicBezTo>
                  <a:cubicBezTo>
                    <a:pt x="1882" y="691"/>
                    <a:pt x="2441" y="405"/>
                    <a:pt x="3072" y="334"/>
                  </a:cubicBezTo>
                  <a:cubicBezTo>
                    <a:pt x="3156" y="322"/>
                    <a:pt x="3215" y="239"/>
                    <a:pt x="3215" y="155"/>
                  </a:cubicBezTo>
                  <a:cubicBezTo>
                    <a:pt x="3203" y="60"/>
                    <a:pt x="3132"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41" name="Google Shape;10241;p59"/>
          <p:cNvGrpSpPr/>
          <p:nvPr/>
        </p:nvGrpSpPr>
        <p:grpSpPr>
          <a:xfrm>
            <a:off x="1761909" y="3811961"/>
            <a:ext cx="307974" cy="371716"/>
            <a:chOff x="1761909" y="3811961"/>
            <a:chExt cx="307974" cy="371716"/>
          </a:xfrm>
        </p:grpSpPr>
        <p:sp>
          <p:nvSpPr>
            <p:cNvPr id="10242" name="Google Shape;10242;p59"/>
            <p:cNvSpPr/>
            <p:nvPr/>
          </p:nvSpPr>
          <p:spPr>
            <a:xfrm>
              <a:off x="1761909" y="3811961"/>
              <a:ext cx="307974" cy="371716"/>
            </a:xfrm>
            <a:custGeom>
              <a:avLst/>
              <a:gdLst/>
              <a:ahLst/>
              <a:cxnLst/>
              <a:rect l="l" t="t" r="r" b="b"/>
              <a:pathLst>
                <a:path w="9668" h="11669" extrusionOk="0">
                  <a:moveTo>
                    <a:pt x="8930" y="310"/>
                  </a:moveTo>
                  <a:cubicBezTo>
                    <a:pt x="8954" y="310"/>
                    <a:pt x="8977" y="334"/>
                    <a:pt x="8977" y="370"/>
                  </a:cubicBezTo>
                  <a:lnTo>
                    <a:pt x="8977" y="608"/>
                  </a:lnTo>
                  <a:cubicBezTo>
                    <a:pt x="8977" y="632"/>
                    <a:pt x="8954" y="668"/>
                    <a:pt x="8930" y="668"/>
                  </a:cubicBezTo>
                  <a:lnTo>
                    <a:pt x="7989" y="668"/>
                  </a:lnTo>
                  <a:cubicBezTo>
                    <a:pt x="7894" y="668"/>
                    <a:pt x="7811" y="739"/>
                    <a:pt x="7811" y="846"/>
                  </a:cubicBezTo>
                  <a:cubicBezTo>
                    <a:pt x="7811" y="953"/>
                    <a:pt x="7882" y="1025"/>
                    <a:pt x="7989" y="1025"/>
                  </a:cubicBezTo>
                  <a:lnTo>
                    <a:pt x="8668" y="1025"/>
                  </a:lnTo>
                  <a:lnTo>
                    <a:pt x="8668" y="10216"/>
                  </a:lnTo>
                  <a:lnTo>
                    <a:pt x="7263" y="10216"/>
                  </a:lnTo>
                  <a:cubicBezTo>
                    <a:pt x="7168" y="10216"/>
                    <a:pt x="7084" y="10288"/>
                    <a:pt x="7084" y="10395"/>
                  </a:cubicBezTo>
                  <a:cubicBezTo>
                    <a:pt x="7084" y="10502"/>
                    <a:pt x="7156" y="10574"/>
                    <a:pt x="7263" y="10574"/>
                  </a:cubicBezTo>
                  <a:lnTo>
                    <a:pt x="9168" y="10574"/>
                  </a:lnTo>
                  <a:cubicBezTo>
                    <a:pt x="9251" y="10574"/>
                    <a:pt x="9323" y="10657"/>
                    <a:pt x="9323" y="10740"/>
                  </a:cubicBezTo>
                  <a:lnTo>
                    <a:pt x="9323" y="11324"/>
                  </a:lnTo>
                  <a:lnTo>
                    <a:pt x="333" y="11324"/>
                  </a:lnTo>
                  <a:lnTo>
                    <a:pt x="333" y="10740"/>
                  </a:lnTo>
                  <a:cubicBezTo>
                    <a:pt x="333" y="10657"/>
                    <a:pt x="417" y="10574"/>
                    <a:pt x="500" y="10574"/>
                  </a:cubicBezTo>
                  <a:lnTo>
                    <a:pt x="6513" y="10574"/>
                  </a:lnTo>
                  <a:cubicBezTo>
                    <a:pt x="6608" y="10574"/>
                    <a:pt x="6691" y="10502"/>
                    <a:pt x="6691" y="10395"/>
                  </a:cubicBezTo>
                  <a:cubicBezTo>
                    <a:pt x="6691" y="10288"/>
                    <a:pt x="6620" y="10216"/>
                    <a:pt x="6513" y="10216"/>
                  </a:cubicBezTo>
                  <a:lnTo>
                    <a:pt x="976" y="10216"/>
                  </a:lnTo>
                  <a:lnTo>
                    <a:pt x="976" y="1025"/>
                  </a:lnTo>
                  <a:lnTo>
                    <a:pt x="7263" y="1025"/>
                  </a:lnTo>
                  <a:cubicBezTo>
                    <a:pt x="7346" y="1025"/>
                    <a:pt x="7442" y="953"/>
                    <a:pt x="7442" y="846"/>
                  </a:cubicBezTo>
                  <a:cubicBezTo>
                    <a:pt x="7442" y="739"/>
                    <a:pt x="7358" y="668"/>
                    <a:pt x="7263" y="668"/>
                  </a:cubicBezTo>
                  <a:lnTo>
                    <a:pt x="750" y="668"/>
                  </a:lnTo>
                  <a:cubicBezTo>
                    <a:pt x="726" y="668"/>
                    <a:pt x="691" y="632"/>
                    <a:pt x="691" y="608"/>
                  </a:cubicBezTo>
                  <a:lnTo>
                    <a:pt x="691" y="370"/>
                  </a:lnTo>
                  <a:cubicBezTo>
                    <a:pt x="691" y="334"/>
                    <a:pt x="726" y="310"/>
                    <a:pt x="750" y="310"/>
                  </a:cubicBezTo>
                  <a:close/>
                  <a:moveTo>
                    <a:pt x="738" y="1"/>
                  </a:moveTo>
                  <a:cubicBezTo>
                    <a:pt x="512" y="1"/>
                    <a:pt x="333" y="179"/>
                    <a:pt x="333" y="394"/>
                  </a:cubicBezTo>
                  <a:lnTo>
                    <a:pt x="333" y="632"/>
                  </a:lnTo>
                  <a:cubicBezTo>
                    <a:pt x="333" y="810"/>
                    <a:pt x="453" y="977"/>
                    <a:pt x="619" y="1025"/>
                  </a:cubicBezTo>
                  <a:lnTo>
                    <a:pt x="619" y="10240"/>
                  </a:lnTo>
                  <a:lnTo>
                    <a:pt x="500" y="10240"/>
                  </a:lnTo>
                  <a:cubicBezTo>
                    <a:pt x="214" y="10240"/>
                    <a:pt x="0" y="10454"/>
                    <a:pt x="0" y="10740"/>
                  </a:cubicBezTo>
                  <a:lnTo>
                    <a:pt x="0" y="11490"/>
                  </a:lnTo>
                  <a:cubicBezTo>
                    <a:pt x="0" y="11574"/>
                    <a:pt x="72" y="11669"/>
                    <a:pt x="179" y="11669"/>
                  </a:cubicBezTo>
                  <a:lnTo>
                    <a:pt x="9489" y="11669"/>
                  </a:lnTo>
                  <a:cubicBezTo>
                    <a:pt x="9585" y="11669"/>
                    <a:pt x="9668" y="11586"/>
                    <a:pt x="9668" y="11490"/>
                  </a:cubicBezTo>
                  <a:lnTo>
                    <a:pt x="9668" y="10740"/>
                  </a:lnTo>
                  <a:cubicBezTo>
                    <a:pt x="9656" y="10454"/>
                    <a:pt x="9430" y="10240"/>
                    <a:pt x="9144" y="10240"/>
                  </a:cubicBezTo>
                  <a:lnTo>
                    <a:pt x="9001" y="10240"/>
                  </a:lnTo>
                  <a:lnTo>
                    <a:pt x="9001" y="1025"/>
                  </a:lnTo>
                  <a:cubicBezTo>
                    <a:pt x="9180" y="977"/>
                    <a:pt x="9311" y="810"/>
                    <a:pt x="9311" y="632"/>
                  </a:cubicBezTo>
                  <a:lnTo>
                    <a:pt x="9311" y="394"/>
                  </a:lnTo>
                  <a:cubicBezTo>
                    <a:pt x="9311" y="179"/>
                    <a:pt x="9132" y="1"/>
                    <a:pt x="8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3" name="Google Shape;10243;p59"/>
            <p:cNvSpPr/>
            <p:nvPr/>
          </p:nvSpPr>
          <p:spPr>
            <a:xfrm>
              <a:off x="1921566" y="3855953"/>
              <a:ext cx="105854" cy="271213"/>
            </a:xfrm>
            <a:custGeom>
              <a:avLst/>
              <a:gdLst/>
              <a:ahLst/>
              <a:cxnLst/>
              <a:rect l="l" t="t" r="r" b="b"/>
              <a:pathLst>
                <a:path w="3323" h="8514" extrusionOk="0">
                  <a:moveTo>
                    <a:pt x="2977" y="346"/>
                  </a:moveTo>
                  <a:lnTo>
                    <a:pt x="2977" y="1370"/>
                  </a:lnTo>
                  <a:lnTo>
                    <a:pt x="2394" y="1370"/>
                  </a:lnTo>
                  <a:cubicBezTo>
                    <a:pt x="2203" y="1370"/>
                    <a:pt x="2049" y="1513"/>
                    <a:pt x="2049" y="1704"/>
                  </a:cubicBezTo>
                  <a:lnTo>
                    <a:pt x="2049" y="2168"/>
                  </a:lnTo>
                  <a:lnTo>
                    <a:pt x="1715" y="2168"/>
                  </a:lnTo>
                  <a:cubicBezTo>
                    <a:pt x="1548" y="2168"/>
                    <a:pt x="1417" y="2287"/>
                    <a:pt x="1382" y="2442"/>
                  </a:cubicBezTo>
                  <a:lnTo>
                    <a:pt x="1025" y="2442"/>
                  </a:lnTo>
                  <a:lnTo>
                    <a:pt x="1025" y="1739"/>
                  </a:lnTo>
                  <a:cubicBezTo>
                    <a:pt x="1025" y="1549"/>
                    <a:pt x="882" y="1394"/>
                    <a:pt x="679" y="1394"/>
                  </a:cubicBezTo>
                  <a:lnTo>
                    <a:pt x="346" y="1394"/>
                  </a:lnTo>
                  <a:lnTo>
                    <a:pt x="346" y="346"/>
                  </a:lnTo>
                  <a:close/>
                  <a:moveTo>
                    <a:pt x="679" y="1739"/>
                  </a:moveTo>
                  <a:lnTo>
                    <a:pt x="679" y="2763"/>
                  </a:lnTo>
                  <a:lnTo>
                    <a:pt x="679" y="3954"/>
                  </a:lnTo>
                  <a:lnTo>
                    <a:pt x="346" y="3954"/>
                  </a:lnTo>
                  <a:lnTo>
                    <a:pt x="346" y="1739"/>
                  </a:lnTo>
                  <a:close/>
                  <a:moveTo>
                    <a:pt x="1370" y="2763"/>
                  </a:moveTo>
                  <a:lnTo>
                    <a:pt x="1370" y="3954"/>
                  </a:lnTo>
                  <a:lnTo>
                    <a:pt x="1025" y="3954"/>
                  </a:lnTo>
                  <a:lnTo>
                    <a:pt x="1025" y="2763"/>
                  </a:lnTo>
                  <a:close/>
                  <a:moveTo>
                    <a:pt x="2049" y="2513"/>
                  </a:moveTo>
                  <a:lnTo>
                    <a:pt x="2049" y="3954"/>
                  </a:lnTo>
                  <a:lnTo>
                    <a:pt x="1715" y="3954"/>
                  </a:lnTo>
                  <a:lnTo>
                    <a:pt x="1715" y="2763"/>
                  </a:lnTo>
                  <a:lnTo>
                    <a:pt x="1715" y="2513"/>
                  </a:lnTo>
                  <a:close/>
                  <a:moveTo>
                    <a:pt x="2977" y="1727"/>
                  </a:moveTo>
                  <a:lnTo>
                    <a:pt x="2977" y="3954"/>
                  </a:lnTo>
                  <a:lnTo>
                    <a:pt x="2394" y="3954"/>
                  </a:lnTo>
                  <a:lnTo>
                    <a:pt x="2394" y="2513"/>
                  </a:lnTo>
                  <a:lnTo>
                    <a:pt x="2394" y="1727"/>
                  </a:lnTo>
                  <a:close/>
                  <a:moveTo>
                    <a:pt x="2977" y="4299"/>
                  </a:moveTo>
                  <a:lnTo>
                    <a:pt x="2977" y="4644"/>
                  </a:lnTo>
                  <a:lnTo>
                    <a:pt x="346" y="4644"/>
                  </a:lnTo>
                  <a:lnTo>
                    <a:pt x="346" y="4299"/>
                  </a:lnTo>
                  <a:close/>
                  <a:moveTo>
                    <a:pt x="2977" y="4990"/>
                  </a:moveTo>
                  <a:lnTo>
                    <a:pt x="2977" y="7347"/>
                  </a:lnTo>
                  <a:lnTo>
                    <a:pt x="2453" y="6085"/>
                  </a:lnTo>
                  <a:cubicBezTo>
                    <a:pt x="2430" y="6014"/>
                    <a:pt x="2346" y="5942"/>
                    <a:pt x="2275" y="5906"/>
                  </a:cubicBezTo>
                  <a:cubicBezTo>
                    <a:pt x="2239" y="5889"/>
                    <a:pt x="2197" y="5880"/>
                    <a:pt x="2154" y="5880"/>
                  </a:cubicBezTo>
                  <a:cubicBezTo>
                    <a:pt x="2111" y="5880"/>
                    <a:pt x="2066" y="5889"/>
                    <a:pt x="2025" y="5906"/>
                  </a:cubicBezTo>
                  <a:lnTo>
                    <a:pt x="1679" y="6061"/>
                  </a:lnTo>
                  <a:cubicBezTo>
                    <a:pt x="1596" y="6085"/>
                    <a:pt x="1537" y="6156"/>
                    <a:pt x="1501" y="6240"/>
                  </a:cubicBezTo>
                  <a:cubicBezTo>
                    <a:pt x="1477" y="6311"/>
                    <a:pt x="1477" y="6395"/>
                    <a:pt x="1501" y="6490"/>
                  </a:cubicBezTo>
                  <a:lnTo>
                    <a:pt x="1513" y="6537"/>
                  </a:lnTo>
                  <a:cubicBezTo>
                    <a:pt x="1477" y="6514"/>
                    <a:pt x="1429" y="6502"/>
                    <a:pt x="1382" y="6502"/>
                  </a:cubicBezTo>
                  <a:lnTo>
                    <a:pt x="1025" y="6502"/>
                  </a:lnTo>
                  <a:lnTo>
                    <a:pt x="1025" y="5942"/>
                  </a:lnTo>
                  <a:cubicBezTo>
                    <a:pt x="1025" y="5740"/>
                    <a:pt x="882" y="5597"/>
                    <a:pt x="679" y="5597"/>
                  </a:cubicBezTo>
                  <a:lnTo>
                    <a:pt x="346" y="5597"/>
                  </a:lnTo>
                  <a:lnTo>
                    <a:pt x="346" y="4990"/>
                  </a:lnTo>
                  <a:close/>
                  <a:moveTo>
                    <a:pt x="2132" y="6252"/>
                  </a:moveTo>
                  <a:lnTo>
                    <a:pt x="2858" y="7990"/>
                  </a:lnTo>
                  <a:lnTo>
                    <a:pt x="2549" y="8121"/>
                  </a:lnTo>
                  <a:lnTo>
                    <a:pt x="1810" y="6383"/>
                  </a:lnTo>
                  <a:lnTo>
                    <a:pt x="2132" y="6252"/>
                  </a:lnTo>
                  <a:close/>
                  <a:moveTo>
                    <a:pt x="679" y="5954"/>
                  </a:moveTo>
                  <a:lnTo>
                    <a:pt x="679" y="6835"/>
                  </a:lnTo>
                  <a:lnTo>
                    <a:pt x="679" y="8169"/>
                  </a:lnTo>
                  <a:lnTo>
                    <a:pt x="346" y="8169"/>
                  </a:lnTo>
                  <a:lnTo>
                    <a:pt x="346" y="5954"/>
                  </a:lnTo>
                  <a:close/>
                  <a:moveTo>
                    <a:pt x="1370" y="6847"/>
                  </a:moveTo>
                  <a:lnTo>
                    <a:pt x="1370" y="8169"/>
                  </a:lnTo>
                  <a:lnTo>
                    <a:pt x="1025" y="8169"/>
                  </a:lnTo>
                  <a:lnTo>
                    <a:pt x="1025" y="6847"/>
                  </a:lnTo>
                  <a:close/>
                  <a:moveTo>
                    <a:pt x="1715" y="6990"/>
                  </a:moveTo>
                  <a:lnTo>
                    <a:pt x="2203" y="8169"/>
                  </a:lnTo>
                  <a:lnTo>
                    <a:pt x="1715" y="8169"/>
                  </a:lnTo>
                  <a:lnTo>
                    <a:pt x="1715" y="6990"/>
                  </a:lnTo>
                  <a:close/>
                  <a:moveTo>
                    <a:pt x="251" y="1"/>
                  </a:moveTo>
                  <a:cubicBezTo>
                    <a:pt x="120" y="1"/>
                    <a:pt x="1" y="120"/>
                    <a:pt x="1" y="251"/>
                  </a:cubicBezTo>
                  <a:lnTo>
                    <a:pt x="1" y="8252"/>
                  </a:lnTo>
                  <a:cubicBezTo>
                    <a:pt x="1" y="8395"/>
                    <a:pt x="120" y="8514"/>
                    <a:pt x="251" y="8514"/>
                  </a:cubicBezTo>
                  <a:lnTo>
                    <a:pt x="3061" y="8514"/>
                  </a:lnTo>
                  <a:cubicBezTo>
                    <a:pt x="3203" y="8514"/>
                    <a:pt x="3322" y="8395"/>
                    <a:pt x="3322" y="8252"/>
                  </a:cubicBezTo>
                  <a:lnTo>
                    <a:pt x="3322" y="1704"/>
                  </a:lnTo>
                  <a:lnTo>
                    <a:pt x="3322" y="251"/>
                  </a:lnTo>
                  <a:cubicBezTo>
                    <a:pt x="3322" y="120"/>
                    <a:pt x="3203"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4" name="Google Shape;10244;p59"/>
            <p:cNvSpPr/>
            <p:nvPr/>
          </p:nvSpPr>
          <p:spPr>
            <a:xfrm>
              <a:off x="1803990" y="3855953"/>
              <a:ext cx="106619" cy="165773"/>
            </a:xfrm>
            <a:custGeom>
              <a:avLst/>
              <a:gdLst/>
              <a:ahLst/>
              <a:cxnLst/>
              <a:rect l="l" t="t" r="r" b="b"/>
              <a:pathLst>
                <a:path w="3347" h="5204" extrusionOk="0">
                  <a:moveTo>
                    <a:pt x="251" y="1"/>
                  </a:moveTo>
                  <a:cubicBezTo>
                    <a:pt x="120" y="1"/>
                    <a:pt x="1" y="120"/>
                    <a:pt x="1" y="251"/>
                  </a:cubicBezTo>
                  <a:lnTo>
                    <a:pt x="1" y="4954"/>
                  </a:lnTo>
                  <a:cubicBezTo>
                    <a:pt x="1" y="5085"/>
                    <a:pt x="120" y="5204"/>
                    <a:pt x="251" y="5204"/>
                  </a:cubicBezTo>
                  <a:lnTo>
                    <a:pt x="715" y="5204"/>
                  </a:lnTo>
                  <a:cubicBezTo>
                    <a:pt x="798" y="5204"/>
                    <a:pt x="894" y="5133"/>
                    <a:pt x="894" y="5025"/>
                  </a:cubicBezTo>
                  <a:cubicBezTo>
                    <a:pt x="894" y="4930"/>
                    <a:pt x="822" y="4847"/>
                    <a:pt x="715" y="4847"/>
                  </a:cubicBezTo>
                  <a:lnTo>
                    <a:pt x="346" y="4847"/>
                  </a:lnTo>
                  <a:lnTo>
                    <a:pt x="346" y="322"/>
                  </a:lnTo>
                  <a:lnTo>
                    <a:pt x="3001" y="322"/>
                  </a:lnTo>
                  <a:lnTo>
                    <a:pt x="3001" y="4847"/>
                  </a:lnTo>
                  <a:lnTo>
                    <a:pt x="1441" y="4847"/>
                  </a:lnTo>
                  <a:cubicBezTo>
                    <a:pt x="1358" y="4847"/>
                    <a:pt x="1263" y="4930"/>
                    <a:pt x="1263" y="5025"/>
                  </a:cubicBezTo>
                  <a:cubicBezTo>
                    <a:pt x="1263" y="5133"/>
                    <a:pt x="1334" y="5204"/>
                    <a:pt x="1441" y="5204"/>
                  </a:cubicBezTo>
                  <a:lnTo>
                    <a:pt x="3096" y="5204"/>
                  </a:lnTo>
                  <a:cubicBezTo>
                    <a:pt x="3227" y="5204"/>
                    <a:pt x="3346" y="5085"/>
                    <a:pt x="3346" y="4954"/>
                  </a:cubicBezTo>
                  <a:lnTo>
                    <a:pt x="3346" y="251"/>
                  </a:lnTo>
                  <a:cubicBezTo>
                    <a:pt x="3346" y="120"/>
                    <a:pt x="3227"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5" name="Google Shape;10245;p59"/>
            <p:cNvSpPr/>
            <p:nvPr/>
          </p:nvSpPr>
          <p:spPr>
            <a:xfrm>
              <a:off x="1824472" y="3932565"/>
              <a:ext cx="63360" cy="11436"/>
            </a:xfrm>
            <a:custGeom>
              <a:avLst/>
              <a:gdLst/>
              <a:ahLst/>
              <a:cxnLst/>
              <a:rect l="l" t="t" r="r" b="b"/>
              <a:pathLst>
                <a:path w="1989" h="359" extrusionOk="0">
                  <a:moveTo>
                    <a:pt x="179" y="1"/>
                  </a:moveTo>
                  <a:cubicBezTo>
                    <a:pt x="84" y="1"/>
                    <a:pt x="1" y="84"/>
                    <a:pt x="1" y="180"/>
                  </a:cubicBezTo>
                  <a:cubicBezTo>
                    <a:pt x="1" y="287"/>
                    <a:pt x="84" y="358"/>
                    <a:pt x="179" y="358"/>
                  </a:cubicBezTo>
                  <a:lnTo>
                    <a:pt x="1810" y="358"/>
                  </a:lnTo>
                  <a:cubicBezTo>
                    <a:pt x="1906" y="358"/>
                    <a:pt x="1989" y="287"/>
                    <a:pt x="1989" y="180"/>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6" name="Google Shape;10246;p59"/>
            <p:cNvSpPr/>
            <p:nvPr/>
          </p:nvSpPr>
          <p:spPr>
            <a:xfrm>
              <a:off x="1824472" y="3907941"/>
              <a:ext cx="63360" cy="11404"/>
            </a:xfrm>
            <a:custGeom>
              <a:avLst/>
              <a:gdLst/>
              <a:ahLst/>
              <a:cxnLst/>
              <a:rect l="l" t="t" r="r" b="b"/>
              <a:pathLst>
                <a:path w="1989" h="358" extrusionOk="0">
                  <a:moveTo>
                    <a:pt x="179" y="0"/>
                  </a:moveTo>
                  <a:cubicBezTo>
                    <a:pt x="84" y="0"/>
                    <a:pt x="1" y="72"/>
                    <a:pt x="1" y="179"/>
                  </a:cubicBezTo>
                  <a:cubicBezTo>
                    <a:pt x="1" y="286"/>
                    <a:pt x="84" y="357"/>
                    <a:pt x="179" y="357"/>
                  </a:cubicBezTo>
                  <a:lnTo>
                    <a:pt x="1810" y="357"/>
                  </a:lnTo>
                  <a:cubicBezTo>
                    <a:pt x="1906" y="357"/>
                    <a:pt x="1989" y="286"/>
                    <a:pt x="1989" y="179"/>
                  </a:cubicBezTo>
                  <a:cubicBezTo>
                    <a:pt x="1989" y="72"/>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7" name="Google Shape;10247;p59"/>
            <p:cNvSpPr/>
            <p:nvPr/>
          </p:nvSpPr>
          <p:spPr>
            <a:xfrm>
              <a:off x="1824472" y="3882903"/>
              <a:ext cx="63360" cy="11404"/>
            </a:xfrm>
            <a:custGeom>
              <a:avLst/>
              <a:gdLst/>
              <a:ahLst/>
              <a:cxnLst/>
              <a:rect l="l" t="t" r="r" b="b"/>
              <a:pathLst>
                <a:path w="1989" h="358" extrusionOk="0">
                  <a:moveTo>
                    <a:pt x="179" y="0"/>
                  </a:moveTo>
                  <a:cubicBezTo>
                    <a:pt x="84" y="0"/>
                    <a:pt x="1" y="72"/>
                    <a:pt x="1" y="179"/>
                  </a:cubicBezTo>
                  <a:cubicBezTo>
                    <a:pt x="13" y="286"/>
                    <a:pt x="84" y="357"/>
                    <a:pt x="179" y="357"/>
                  </a:cubicBezTo>
                  <a:lnTo>
                    <a:pt x="1810" y="357"/>
                  </a:lnTo>
                  <a:cubicBezTo>
                    <a:pt x="1906" y="357"/>
                    <a:pt x="1989" y="286"/>
                    <a:pt x="1989" y="179"/>
                  </a:cubicBezTo>
                  <a:cubicBezTo>
                    <a:pt x="1989" y="96"/>
                    <a:pt x="1918"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8" name="Google Shape;10248;p59"/>
            <p:cNvSpPr/>
            <p:nvPr/>
          </p:nvSpPr>
          <p:spPr>
            <a:xfrm>
              <a:off x="1824472" y="3957603"/>
              <a:ext cx="63360" cy="11786"/>
            </a:xfrm>
            <a:custGeom>
              <a:avLst/>
              <a:gdLst/>
              <a:ahLst/>
              <a:cxnLst/>
              <a:rect l="l" t="t" r="r" b="b"/>
              <a:pathLst>
                <a:path w="1989" h="370" extrusionOk="0">
                  <a:moveTo>
                    <a:pt x="179" y="1"/>
                  </a:moveTo>
                  <a:cubicBezTo>
                    <a:pt x="84" y="1"/>
                    <a:pt x="1" y="84"/>
                    <a:pt x="1" y="191"/>
                  </a:cubicBezTo>
                  <a:cubicBezTo>
                    <a:pt x="1" y="287"/>
                    <a:pt x="84" y="370"/>
                    <a:pt x="179" y="370"/>
                  </a:cubicBezTo>
                  <a:lnTo>
                    <a:pt x="1810" y="370"/>
                  </a:lnTo>
                  <a:cubicBezTo>
                    <a:pt x="1906" y="370"/>
                    <a:pt x="1989" y="287"/>
                    <a:pt x="1989" y="191"/>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9" name="Google Shape;10249;p59"/>
            <p:cNvSpPr/>
            <p:nvPr/>
          </p:nvSpPr>
          <p:spPr>
            <a:xfrm>
              <a:off x="1824472" y="3983023"/>
              <a:ext cx="63360" cy="11404"/>
            </a:xfrm>
            <a:custGeom>
              <a:avLst/>
              <a:gdLst/>
              <a:ahLst/>
              <a:cxnLst/>
              <a:rect l="l" t="t" r="r" b="b"/>
              <a:pathLst>
                <a:path w="1989" h="358" extrusionOk="0">
                  <a:moveTo>
                    <a:pt x="179" y="1"/>
                  </a:moveTo>
                  <a:cubicBezTo>
                    <a:pt x="84" y="1"/>
                    <a:pt x="1" y="72"/>
                    <a:pt x="1" y="179"/>
                  </a:cubicBezTo>
                  <a:cubicBezTo>
                    <a:pt x="13" y="286"/>
                    <a:pt x="84" y="358"/>
                    <a:pt x="179" y="358"/>
                  </a:cubicBezTo>
                  <a:lnTo>
                    <a:pt x="1810" y="358"/>
                  </a:lnTo>
                  <a:cubicBezTo>
                    <a:pt x="1906" y="358"/>
                    <a:pt x="1989" y="286"/>
                    <a:pt x="1989" y="179"/>
                  </a:cubicBezTo>
                  <a:cubicBezTo>
                    <a:pt x="1989" y="84"/>
                    <a:pt x="1918"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0" name="Google Shape;10250;p59"/>
            <p:cNvSpPr/>
            <p:nvPr/>
          </p:nvSpPr>
          <p:spPr>
            <a:xfrm>
              <a:off x="1852919" y="4057372"/>
              <a:ext cx="32269" cy="32269"/>
            </a:xfrm>
            <a:custGeom>
              <a:avLst/>
              <a:gdLst/>
              <a:ahLst/>
              <a:cxnLst/>
              <a:rect l="l" t="t" r="r" b="b"/>
              <a:pathLst>
                <a:path w="1013" h="1013" extrusionOk="0">
                  <a:moveTo>
                    <a:pt x="501" y="345"/>
                  </a:moveTo>
                  <a:cubicBezTo>
                    <a:pt x="596" y="345"/>
                    <a:pt x="667" y="417"/>
                    <a:pt x="667" y="512"/>
                  </a:cubicBezTo>
                  <a:cubicBezTo>
                    <a:pt x="667" y="595"/>
                    <a:pt x="596" y="667"/>
                    <a:pt x="501" y="667"/>
                  </a:cubicBezTo>
                  <a:cubicBezTo>
                    <a:pt x="417" y="667"/>
                    <a:pt x="334" y="595"/>
                    <a:pt x="334" y="512"/>
                  </a:cubicBezTo>
                  <a:cubicBezTo>
                    <a:pt x="334" y="417"/>
                    <a:pt x="417" y="345"/>
                    <a:pt x="501" y="345"/>
                  </a:cubicBezTo>
                  <a:close/>
                  <a:moveTo>
                    <a:pt x="501" y="0"/>
                  </a:moveTo>
                  <a:cubicBezTo>
                    <a:pt x="215" y="0"/>
                    <a:pt x="1" y="226"/>
                    <a:pt x="1" y="512"/>
                  </a:cubicBezTo>
                  <a:cubicBezTo>
                    <a:pt x="1" y="786"/>
                    <a:pt x="215" y="1012"/>
                    <a:pt x="501" y="1012"/>
                  </a:cubicBezTo>
                  <a:cubicBezTo>
                    <a:pt x="786" y="1012"/>
                    <a:pt x="1013" y="786"/>
                    <a:pt x="1013" y="512"/>
                  </a:cubicBezTo>
                  <a:cubicBezTo>
                    <a:pt x="1013" y="226"/>
                    <a:pt x="78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1" name="Google Shape;10251;p59"/>
            <p:cNvSpPr/>
            <p:nvPr/>
          </p:nvSpPr>
          <p:spPr>
            <a:xfrm>
              <a:off x="1803607" y="4031188"/>
              <a:ext cx="34563" cy="88398"/>
            </a:xfrm>
            <a:custGeom>
              <a:avLst/>
              <a:gdLst/>
              <a:ahLst/>
              <a:cxnLst/>
              <a:rect l="l" t="t" r="r" b="b"/>
              <a:pathLst>
                <a:path w="1085" h="2775" extrusionOk="0">
                  <a:moveTo>
                    <a:pt x="596" y="584"/>
                  </a:moveTo>
                  <a:cubicBezTo>
                    <a:pt x="668" y="584"/>
                    <a:pt x="739" y="644"/>
                    <a:pt x="739" y="739"/>
                  </a:cubicBezTo>
                  <a:lnTo>
                    <a:pt x="739" y="2025"/>
                  </a:lnTo>
                  <a:cubicBezTo>
                    <a:pt x="739" y="2108"/>
                    <a:pt x="679" y="2179"/>
                    <a:pt x="596" y="2179"/>
                  </a:cubicBezTo>
                  <a:lnTo>
                    <a:pt x="358" y="2179"/>
                  </a:lnTo>
                  <a:lnTo>
                    <a:pt x="358" y="584"/>
                  </a:lnTo>
                  <a:close/>
                  <a:moveTo>
                    <a:pt x="179" y="1"/>
                  </a:moveTo>
                  <a:cubicBezTo>
                    <a:pt x="84" y="1"/>
                    <a:pt x="1" y="84"/>
                    <a:pt x="1" y="179"/>
                  </a:cubicBezTo>
                  <a:lnTo>
                    <a:pt x="1" y="417"/>
                  </a:lnTo>
                  <a:lnTo>
                    <a:pt x="1" y="2358"/>
                  </a:lnTo>
                  <a:lnTo>
                    <a:pt x="1" y="2596"/>
                  </a:lnTo>
                  <a:cubicBezTo>
                    <a:pt x="1" y="2680"/>
                    <a:pt x="72" y="2775"/>
                    <a:pt x="179" y="2775"/>
                  </a:cubicBezTo>
                  <a:cubicBezTo>
                    <a:pt x="263" y="2775"/>
                    <a:pt x="358" y="2703"/>
                    <a:pt x="358" y="2596"/>
                  </a:cubicBezTo>
                  <a:lnTo>
                    <a:pt x="358" y="2525"/>
                  </a:lnTo>
                  <a:lnTo>
                    <a:pt x="596" y="2525"/>
                  </a:lnTo>
                  <a:cubicBezTo>
                    <a:pt x="858" y="2525"/>
                    <a:pt x="1084" y="2299"/>
                    <a:pt x="1084" y="2025"/>
                  </a:cubicBezTo>
                  <a:lnTo>
                    <a:pt x="1084" y="739"/>
                  </a:lnTo>
                  <a:cubicBezTo>
                    <a:pt x="1084" y="465"/>
                    <a:pt x="870" y="239"/>
                    <a:pt x="596" y="239"/>
                  </a:cubicBezTo>
                  <a:lnTo>
                    <a:pt x="358" y="239"/>
                  </a:lnTo>
                  <a:lnTo>
                    <a:pt x="358" y="179"/>
                  </a:lnTo>
                  <a:cubicBezTo>
                    <a:pt x="358" y="96"/>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52" name="Google Shape;10252;p59"/>
          <p:cNvGrpSpPr/>
          <p:nvPr/>
        </p:nvGrpSpPr>
        <p:grpSpPr>
          <a:xfrm>
            <a:off x="5373342" y="3808935"/>
            <a:ext cx="231395" cy="353145"/>
            <a:chOff x="5373342" y="3808935"/>
            <a:chExt cx="231395" cy="353145"/>
          </a:xfrm>
        </p:grpSpPr>
        <p:sp>
          <p:nvSpPr>
            <p:cNvPr id="10253" name="Google Shape;10253;p59"/>
            <p:cNvSpPr/>
            <p:nvPr/>
          </p:nvSpPr>
          <p:spPr>
            <a:xfrm>
              <a:off x="5422654" y="3832827"/>
              <a:ext cx="132772" cy="114200"/>
            </a:xfrm>
            <a:custGeom>
              <a:avLst/>
              <a:gdLst/>
              <a:ahLst/>
              <a:cxnLst/>
              <a:rect l="l" t="t" r="r" b="b"/>
              <a:pathLst>
                <a:path w="4168" h="3585" extrusionOk="0">
                  <a:moveTo>
                    <a:pt x="2072" y="322"/>
                  </a:moveTo>
                  <a:cubicBezTo>
                    <a:pt x="3036" y="322"/>
                    <a:pt x="3822" y="1108"/>
                    <a:pt x="3822" y="2084"/>
                  </a:cubicBezTo>
                  <a:lnTo>
                    <a:pt x="3846" y="2918"/>
                  </a:lnTo>
                  <a:cubicBezTo>
                    <a:pt x="3846" y="3108"/>
                    <a:pt x="3679" y="3275"/>
                    <a:pt x="3489" y="3275"/>
                  </a:cubicBezTo>
                  <a:lnTo>
                    <a:pt x="667" y="3275"/>
                  </a:lnTo>
                  <a:cubicBezTo>
                    <a:pt x="476" y="3275"/>
                    <a:pt x="310" y="3108"/>
                    <a:pt x="310" y="2918"/>
                  </a:cubicBezTo>
                  <a:lnTo>
                    <a:pt x="310" y="2084"/>
                  </a:lnTo>
                  <a:cubicBezTo>
                    <a:pt x="310" y="1108"/>
                    <a:pt x="1096" y="322"/>
                    <a:pt x="2072" y="322"/>
                  </a:cubicBezTo>
                  <a:close/>
                  <a:moveTo>
                    <a:pt x="2084" y="1"/>
                  </a:moveTo>
                  <a:cubicBezTo>
                    <a:pt x="941" y="1"/>
                    <a:pt x="0" y="929"/>
                    <a:pt x="0" y="2084"/>
                  </a:cubicBezTo>
                  <a:lnTo>
                    <a:pt x="0" y="2918"/>
                  </a:lnTo>
                  <a:cubicBezTo>
                    <a:pt x="0" y="3287"/>
                    <a:pt x="298" y="3584"/>
                    <a:pt x="667" y="3584"/>
                  </a:cubicBezTo>
                  <a:lnTo>
                    <a:pt x="3489" y="3584"/>
                  </a:lnTo>
                  <a:cubicBezTo>
                    <a:pt x="3858" y="3584"/>
                    <a:pt x="4156" y="3287"/>
                    <a:pt x="4156" y="2918"/>
                  </a:cubicBezTo>
                  <a:lnTo>
                    <a:pt x="4156" y="2084"/>
                  </a:lnTo>
                  <a:cubicBezTo>
                    <a:pt x="4167" y="929"/>
                    <a:pt x="322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4" name="Google Shape;10254;p59"/>
            <p:cNvSpPr/>
            <p:nvPr/>
          </p:nvSpPr>
          <p:spPr>
            <a:xfrm>
              <a:off x="5394590" y="3972415"/>
              <a:ext cx="45139" cy="37557"/>
            </a:xfrm>
            <a:custGeom>
              <a:avLst/>
              <a:gdLst/>
              <a:ahLst/>
              <a:cxnLst/>
              <a:rect l="l" t="t" r="r" b="b"/>
              <a:pathLst>
                <a:path w="1417" h="1179" extrusionOk="0">
                  <a:moveTo>
                    <a:pt x="953" y="334"/>
                  </a:moveTo>
                  <a:cubicBezTo>
                    <a:pt x="1024" y="334"/>
                    <a:pt x="1096" y="393"/>
                    <a:pt x="1096" y="464"/>
                  </a:cubicBezTo>
                  <a:lnTo>
                    <a:pt x="1096" y="715"/>
                  </a:lnTo>
                  <a:cubicBezTo>
                    <a:pt x="1096" y="798"/>
                    <a:pt x="1024" y="857"/>
                    <a:pt x="953" y="857"/>
                  </a:cubicBezTo>
                  <a:lnTo>
                    <a:pt x="465" y="857"/>
                  </a:lnTo>
                  <a:cubicBezTo>
                    <a:pt x="393" y="857"/>
                    <a:pt x="334" y="798"/>
                    <a:pt x="334" y="715"/>
                  </a:cubicBezTo>
                  <a:lnTo>
                    <a:pt x="334" y="464"/>
                  </a:lnTo>
                  <a:cubicBezTo>
                    <a:pt x="334" y="393"/>
                    <a:pt x="393" y="334"/>
                    <a:pt x="465" y="334"/>
                  </a:cubicBezTo>
                  <a:close/>
                  <a:moveTo>
                    <a:pt x="465" y="0"/>
                  </a:moveTo>
                  <a:cubicBezTo>
                    <a:pt x="214" y="0"/>
                    <a:pt x="0" y="214"/>
                    <a:pt x="0" y="464"/>
                  </a:cubicBezTo>
                  <a:lnTo>
                    <a:pt x="0" y="715"/>
                  </a:lnTo>
                  <a:cubicBezTo>
                    <a:pt x="0" y="976"/>
                    <a:pt x="214" y="1179"/>
                    <a:pt x="465" y="1179"/>
                  </a:cubicBezTo>
                  <a:lnTo>
                    <a:pt x="953" y="1179"/>
                  </a:lnTo>
                  <a:cubicBezTo>
                    <a:pt x="1215"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5" name="Google Shape;10255;p59"/>
            <p:cNvSpPr/>
            <p:nvPr/>
          </p:nvSpPr>
          <p:spPr>
            <a:xfrm>
              <a:off x="5460179" y="3972415"/>
              <a:ext cx="58072" cy="37557"/>
            </a:xfrm>
            <a:custGeom>
              <a:avLst/>
              <a:gdLst/>
              <a:ahLst/>
              <a:cxnLst/>
              <a:rect l="l" t="t" r="r" b="b"/>
              <a:pathLst>
                <a:path w="1823" h="1179" extrusionOk="0">
                  <a:moveTo>
                    <a:pt x="1346" y="334"/>
                  </a:moveTo>
                  <a:cubicBezTo>
                    <a:pt x="1430" y="334"/>
                    <a:pt x="1489" y="393"/>
                    <a:pt x="1489" y="464"/>
                  </a:cubicBezTo>
                  <a:lnTo>
                    <a:pt x="1489" y="715"/>
                  </a:lnTo>
                  <a:cubicBezTo>
                    <a:pt x="1489" y="798"/>
                    <a:pt x="1430" y="857"/>
                    <a:pt x="1346" y="857"/>
                  </a:cubicBezTo>
                  <a:lnTo>
                    <a:pt x="441" y="857"/>
                  </a:lnTo>
                  <a:cubicBezTo>
                    <a:pt x="370" y="857"/>
                    <a:pt x="311" y="798"/>
                    <a:pt x="311" y="715"/>
                  </a:cubicBezTo>
                  <a:lnTo>
                    <a:pt x="311" y="464"/>
                  </a:lnTo>
                  <a:cubicBezTo>
                    <a:pt x="311" y="393"/>
                    <a:pt x="370" y="334"/>
                    <a:pt x="441" y="334"/>
                  </a:cubicBezTo>
                  <a:close/>
                  <a:moveTo>
                    <a:pt x="453" y="0"/>
                  </a:moveTo>
                  <a:cubicBezTo>
                    <a:pt x="203" y="0"/>
                    <a:pt x="1" y="214"/>
                    <a:pt x="1" y="464"/>
                  </a:cubicBezTo>
                  <a:lnTo>
                    <a:pt x="1" y="715"/>
                  </a:lnTo>
                  <a:cubicBezTo>
                    <a:pt x="1" y="976"/>
                    <a:pt x="203" y="1179"/>
                    <a:pt x="453" y="1179"/>
                  </a:cubicBezTo>
                  <a:lnTo>
                    <a:pt x="1370" y="1179"/>
                  </a:lnTo>
                  <a:cubicBezTo>
                    <a:pt x="1620" y="1179"/>
                    <a:pt x="1823" y="976"/>
                    <a:pt x="1823" y="715"/>
                  </a:cubicBezTo>
                  <a:lnTo>
                    <a:pt x="1823" y="464"/>
                  </a:lnTo>
                  <a:cubicBezTo>
                    <a:pt x="1823" y="214"/>
                    <a:pt x="1620"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6" name="Google Shape;10256;p59"/>
            <p:cNvSpPr/>
            <p:nvPr/>
          </p:nvSpPr>
          <p:spPr>
            <a:xfrm>
              <a:off x="5538319" y="3972415"/>
              <a:ext cx="45170" cy="37557"/>
            </a:xfrm>
            <a:custGeom>
              <a:avLst/>
              <a:gdLst/>
              <a:ahLst/>
              <a:cxnLst/>
              <a:rect l="l" t="t" r="r" b="b"/>
              <a:pathLst>
                <a:path w="1418" h="1179" extrusionOk="0">
                  <a:moveTo>
                    <a:pt x="941" y="334"/>
                  </a:moveTo>
                  <a:cubicBezTo>
                    <a:pt x="1013" y="334"/>
                    <a:pt x="1072" y="393"/>
                    <a:pt x="1072" y="464"/>
                  </a:cubicBezTo>
                  <a:lnTo>
                    <a:pt x="1072" y="715"/>
                  </a:lnTo>
                  <a:cubicBezTo>
                    <a:pt x="1072" y="798"/>
                    <a:pt x="1013" y="857"/>
                    <a:pt x="941" y="857"/>
                  </a:cubicBezTo>
                  <a:lnTo>
                    <a:pt x="453" y="857"/>
                  </a:lnTo>
                  <a:cubicBezTo>
                    <a:pt x="370" y="857"/>
                    <a:pt x="310" y="798"/>
                    <a:pt x="310" y="715"/>
                  </a:cubicBezTo>
                  <a:lnTo>
                    <a:pt x="310" y="464"/>
                  </a:lnTo>
                  <a:cubicBezTo>
                    <a:pt x="310" y="393"/>
                    <a:pt x="370" y="334"/>
                    <a:pt x="453" y="334"/>
                  </a:cubicBezTo>
                  <a:close/>
                  <a:moveTo>
                    <a:pt x="465" y="0"/>
                  </a:moveTo>
                  <a:cubicBezTo>
                    <a:pt x="215" y="0"/>
                    <a:pt x="1" y="214"/>
                    <a:pt x="1" y="464"/>
                  </a:cubicBezTo>
                  <a:lnTo>
                    <a:pt x="1" y="715"/>
                  </a:lnTo>
                  <a:cubicBezTo>
                    <a:pt x="1" y="976"/>
                    <a:pt x="215" y="1179"/>
                    <a:pt x="465" y="1179"/>
                  </a:cubicBezTo>
                  <a:lnTo>
                    <a:pt x="953" y="1179"/>
                  </a:lnTo>
                  <a:cubicBezTo>
                    <a:pt x="1203" y="1179"/>
                    <a:pt x="1417" y="976"/>
                    <a:pt x="1417" y="715"/>
                  </a:cubicBezTo>
                  <a:lnTo>
                    <a:pt x="1417" y="464"/>
                  </a:lnTo>
                  <a:cubicBezTo>
                    <a:pt x="1417" y="214"/>
                    <a:pt x="1203"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7" name="Google Shape;10257;p59"/>
            <p:cNvSpPr/>
            <p:nvPr/>
          </p:nvSpPr>
          <p:spPr>
            <a:xfrm>
              <a:off x="5373342" y="3808935"/>
              <a:ext cx="231395" cy="353145"/>
            </a:xfrm>
            <a:custGeom>
              <a:avLst/>
              <a:gdLst/>
              <a:ahLst/>
              <a:cxnLst/>
              <a:rect l="l" t="t" r="r" b="b"/>
              <a:pathLst>
                <a:path w="7264" h="11086" extrusionOk="0">
                  <a:moveTo>
                    <a:pt x="4215" y="9502"/>
                  </a:moveTo>
                  <a:lnTo>
                    <a:pt x="4215" y="10764"/>
                  </a:lnTo>
                  <a:lnTo>
                    <a:pt x="3048" y="10764"/>
                  </a:lnTo>
                  <a:lnTo>
                    <a:pt x="3048" y="9502"/>
                  </a:lnTo>
                  <a:close/>
                  <a:moveTo>
                    <a:pt x="1810" y="1"/>
                  </a:moveTo>
                  <a:cubicBezTo>
                    <a:pt x="822" y="1"/>
                    <a:pt x="0" y="822"/>
                    <a:pt x="0" y="1822"/>
                  </a:cubicBezTo>
                  <a:lnTo>
                    <a:pt x="0" y="7144"/>
                  </a:lnTo>
                  <a:cubicBezTo>
                    <a:pt x="0" y="7728"/>
                    <a:pt x="477" y="8204"/>
                    <a:pt x="1060" y="8204"/>
                  </a:cubicBezTo>
                  <a:lnTo>
                    <a:pt x="2727" y="8204"/>
                  </a:lnTo>
                  <a:lnTo>
                    <a:pt x="2727" y="8275"/>
                  </a:lnTo>
                  <a:cubicBezTo>
                    <a:pt x="2727" y="8371"/>
                    <a:pt x="2798" y="8442"/>
                    <a:pt x="2882" y="8442"/>
                  </a:cubicBezTo>
                  <a:cubicBezTo>
                    <a:pt x="2977" y="8442"/>
                    <a:pt x="3048" y="8371"/>
                    <a:pt x="3048" y="8275"/>
                  </a:cubicBezTo>
                  <a:lnTo>
                    <a:pt x="3048" y="7144"/>
                  </a:lnTo>
                  <a:lnTo>
                    <a:pt x="4215" y="7144"/>
                  </a:lnTo>
                  <a:lnTo>
                    <a:pt x="4215" y="9168"/>
                  </a:lnTo>
                  <a:lnTo>
                    <a:pt x="3048" y="9168"/>
                  </a:lnTo>
                  <a:lnTo>
                    <a:pt x="3048" y="9049"/>
                  </a:lnTo>
                  <a:cubicBezTo>
                    <a:pt x="3048" y="8966"/>
                    <a:pt x="2977" y="8883"/>
                    <a:pt x="2882" y="8883"/>
                  </a:cubicBezTo>
                  <a:cubicBezTo>
                    <a:pt x="2798" y="8883"/>
                    <a:pt x="2727" y="8966"/>
                    <a:pt x="2727" y="9049"/>
                  </a:cubicBezTo>
                  <a:lnTo>
                    <a:pt x="2727" y="10930"/>
                  </a:lnTo>
                  <a:cubicBezTo>
                    <a:pt x="2727" y="11014"/>
                    <a:pt x="2798" y="11085"/>
                    <a:pt x="2882" y="11085"/>
                  </a:cubicBezTo>
                  <a:lnTo>
                    <a:pt x="4370" y="11085"/>
                  </a:lnTo>
                  <a:cubicBezTo>
                    <a:pt x="4465" y="11085"/>
                    <a:pt x="4537" y="11014"/>
                    <a:pt x="4537" y="10930"/>
                  </a:cubicBezTo>
                  <a:lnTo>
                    <a:pt x="4537" y="8192"/>
                  </a:lnTo>
                  <a:lnTo>
                    <a:pt x="6204" y="8192"/>
                  </a:lnTo>
                  <a:cubicBezTo>
                    <a:pt x="6787" y="8192"/>
                    <a:pt x="7263" y="7716"/>
                    <a:pt x="7263" y="7132"/>
                  </a:cubicBezTo>
                  <a:lnTo>
                    <a:pt x="7263" y="1798"/>
                  </a:lnTo>
                  <a:cubicBezTo>
                    <a:pt x="7263" y="810"/>
                    <a:pt x="6442" y="1"/>
                    <a:pt x="5453" y="1"/>
                  </a:cubicBezTo>
                  <a:lnTo>
                    <a:pt x="5132" y="1"/>
                  </a:lnTo>
                  <a:cubicBezTo>
                    <a:pt x="5049" y="1"/>
                    <a:pt x="4977" y="72"/>
                    <a:pt x="4977" y="167"/>
                  </a:cubicBezTo>
                  <a:cubicBezTo>
                    <a:pt x="4977" y="251"/>
                    <a:pt x="5049" y="334"/>
                    <a:pt x="5132" y="334"/>
                  </a:cubicBezTo>
                  <a:lnTo>
                    <a:pt x="5453" y="334"/>
                  </a:lnTo>
                  <a:cubicBezTo>
                    <a:pt x="6263" y="334"/>
                    <a:pt x="6942" y="1001"/>
                    <a:pt x="6942" y="1822"/>
                  </a:cubicBezTo>
                  <a:lnTo>
                    <a:pt x="6942" y="7144"/>
                  </a:lnTo>
                  <a:cubicBezTo>
                    <a:pt x="6942" y="7549"/>
                    <a:pt x="6608" y="7871"/>
                    <a:pt x="6204" y="7871"/>
                  </a:cubicBezTo>
                  <a:lnTo>
                    <a:pt x="4537" y="7871"/>
                  </a:lnTo>
                  <a:lnTo>
                    <a:pt x="4537" y="7144"/>
                  </a:lnTo>
                  <a:lnTo>
                    <a:pt x="4727" y="7144"/>
                  </a:lnTo>
                  <a:cubicBezTo>
                    <a:pt x="4822" y="7144"/>
                    <a:pt x="4894" y="7073"/>
                    <a:pt x="4894" y="6978"/>
                  </a:cubicBezTo>
                  <a:cubicBezTo>
                    <a:pt x="4894" y="6894"/>
                    <a:pt x="4822" y="6823"/>
                    <a:pt x="4727" y="6823"/>
                  </a:cubicBezTo>
                  <a:lnTo>
                    <a:pt x="2525" y="6823"/>
                  </a:lnTo>
                  <a:cubicBezTo>
                    <a:pt x="2441" y="6823"/>
                    <a:pt x="2370" y="6894"/>
                    <a:pt x="2370" y="6978"/>
                  </a:cubicBezTo>
                  <a:cubicBezTo>
                    <a:pt x="2370" y="7073"/>
                    <a:pt x="2441" y="7144"/>
                    <a:pt x="2525" y="7144"/>
                  </a:cubicBezTo>
                  <a:lnTo>
                    <a:pt x="2727" y="7144"/>
                  </a:lnTo>
                  <a:lnTo>
                    <a:pt x="2727" y="7871"/>
                  </a:lnTo>
                  <a:lnTo>
                    <a:pt x="1060" y="7871"/>
                  </a:lnTo>
                  <a:cubicBezTo>
                    <a:pt x="655" y="7871"/>
                    <a:pt x="322" y="7549"/>
                    <a:pt x="322" y="7144"/>
                  </a:cubicBezTo>
                  <a:lnTo>
                    <a:pt x="322" y="1822"/>
                  </a:lnTo>
                  <a:cubicBezTo>
                    <a:pt x="322" y="1001"/>
                    <a:pt x="1001" y="334"/>
                    <a:pt x="1810" y="334"/>
                  </a:cubicBezTo>
                  <a:lnTo>
                    <a:pt x="4191" y="334"/>
                  </a:lnTo>
                  <a:cubicBezTo>
                    <a:pt x="4287" y="334"/>
                    <a:pt x="4358" y="251"/>
                    <a:pt x="4358" y="167"/>
                  </a:cubicBezTo>
                  <a:cubicBezTo>
                    <a:pt x="4358" y="72"/>
                    <a:pt x="4287" y="1"/>
                    <a:pt x="4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8" name="Google Shape;10258;p59"/>
            <p:cNvSpPr/>
            <p:nvPr/>
          </p:nvSpPr>
          <p:spPr>
            <a:xfrm>
              <a:off x="5481426" y="4125255"/>
              <a:ext cx="15195" cy="15195"/>
            </a:xfrm>
            <a:custGeom>
              <a:avLst/>
              <a:gdLst/>
              <a:ahLst/>
              <a:cxnLst/>
              <a:rect l="l" t="t" r="r" b="b"/>
              <a:pathLst>
                <a:path w="477" h="477" extrusionOk="0">
                  <a:moveTo>
                    <a:pt x="239" y="0"/>
                  </a:moveTo>
                  <a:cubicBezTo>
                    <a:pt x="108" y="0"/>
                    <a:pt x="1" y="108"/>
                    <a:pt x="1" y="238"/>
                  </a:cubicBezTo>
                  <a:cubicBezTo>
                    <a:pt x="1" y="369"/>
                    <a:pt x="108" y="477"/>
                    <a:pt x="239" y="477"/>
                  </a:cubicBezTo>
                  <a:cubicBezTo>
                    <a:pt x="370" y="477"/>
                    <a:pt x="477" y="369"/>
                    <a:pt x="477" y="238"/>
                  </a:cubicBezTo>
                  <a:cubicBezTo>
                    <a:pt x="477"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9" name="Google Shape;10259;p59"/>
            <p:cNvSpPr/>
            <p:nvPr/>
          </p:nvSpPr>
          <p:spPr>
            <a:xfrm>
              <a:off x="5447692" y="3873792"/>
              <a:ext cx="29593" cy="48579"/>
            </a:xfrm>
            <a:custGeom>
              <a:avLst/>
              <a:gdLst/>
              <a:ahLst/>
              <a:cxnLst/>
              <a:rect l="l" t="t" r="r" b="b"/>
              <a:pathLst>
                <a:path w="929" h="1525" extrusionOk="0">
                  <a:moveTo>
                    <a:pt x="595" y="334"/>
                  </a:moveTo>
                  <a:lnTo>
                    <a:pt x="595" y="596"/>
                  </a:lnTo>
                  <a:lnTo>
                    <a:pt x="333" y="596"/>
                  </a:lnTo>
                  <a:lnTo>
                    <a:pt x="333" y="334"/>
                  </a:lnTo>
                  <a:close/>
                  <a:moveTo>
                    <a:pt x="595" y="917"/>
                  </a:moveTo>
                  <a:lnTo>
                    <a:pt x="595" y="1179"/>
                  </a:lnTo>
                  <a:lnTo>
                    <a:pt x="333" y="1179"/>
                  </a:lnTo>
                  <a:lnTo>
                    <a:pt x="333" y="917"/>
                  </a:lnTo>
                  <a:close/>
                  <a:moveTo>
                    <a:pt x="167" y="1"/>
                  </a:moveTo>
                  <a:cubicBezTo>
                    <a:pt x="83" y="1"/>
                    <a:pt x="0" y="84"/>
                    <a:pt x="0" y="167"/>
                  </a:cubicBezTo>
                  <a:lnTo>
                    <a:pt x="0" y="1358"/>
                  </a:lnTo>
                  <a:cubicBezTo>
                    <a:pt x="0" y="1453"/>
                    <a:pt x="83" y="1525"/>
                    <a:pt x="167" y="1525"/>
                  </a:cubicBezTo>
                  <a:lnTo>
                    <a:pt x="762" y="1525"/>
                  </a:lnTo>
                  <a:cubicBezTo>
                    <a:pt x="845" y="1525"/>
                    <a:pt x="929" y="1453"/>
                    <a:pt x="929" y="1358"/>
                  </a:cubicBezTo>
                  <a:lnTo>
                    <a:pt x="929" y="167"/>
                  </a:lnTo>
                  <a:cubicBezTo>
                    <a:pt x="929" y="84"/>
                    <a:pt x="84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0" name="Google Shape;10260;p59"/>
            <p:cNvSpPr/>
            <p:nvPr/>
          </p:nvSpPr>
          <p:spPr>
            <a:xfrm>
              <a:off x="5500762" y="3873792"/>
              <a:ext cx="29625" cy="48579"/>
            </a:xfrm>
            <a:custGeom>
              <a:avLst/>
              <a:gdLst/>
              <a:ahLst/>
              <a:cxnLst/>
              <a:rect l="l" t="t" r="r" b="b"/>
              <a:pathLst>
                <a:path w="930" h="1525" extrusionOk="0">
                  <a:moveTo>
                    <a:pt x="596" y="917"/>
                  </a:moveTo>
                  <a:lnTo>
                    <a:pt x="596" y="1179"/>
                  </a:lnTo>
                  <a:lnTo>
                    <a:pt x="334" y="1179"/>
                  </a:lnTo>
                  <a:lnTo>
                    <a:pt x="334" y="917"/>
                  </a:lnTo>
                  <a:close/>
                  <a:moveTo>
                    <a:pt x="168" y="1"/>
                  </a:moveTo>
                  <a:cubicBezTo>
                    <a:pt x="84" y="1"/>
                    <a:pt x="1" y="84"/>
                    <a:pt x="1" y="167"/>
                  </a:cubicBezTo>
                  <a:lnTo>
                    <a:pt x="1" y="1358"/>
                  </a:lnTo>
                  <a:cubicBezTo>
                    <a:pt x="1" y="1453"/>
                    <a:pt x="84" y="1525"/>
                    <a:pt x="168" y="1525"/>
                  </a:cubicBezTo>
                  <a:lnTo>
                    <a:pt x="763" y="1525"/>
                  </a:lnTo>
                  <a:cubicBezTo>
                    <a:pt x="858" y="1525"/>
                    <a:pt x="930" y="1453"/>
                    <a:pt x="930" y="1358"/>
                  </a:cubicBezTo>
                  <a:lnTo>
                    <a:pt x="930" y="763"/>
                  </a:lnTo>
                  <a:cubicBezTo>
                    <a:pt x="930" y="679"/>
                    <a:pt x="858" y="596"/>
                    <a:pt x="763" y="596"/>
                  </a:cubicBezTo>
                  <a:lnTo>
                    <a:pt x="334" y="596"/>
                  </a:lnTo>
                  <a:lnTo>
                    <a:pt x="334" y="334"/>
                  </a:lnTo>
                  <a:lnTo>
                    <a:pt x="763" y="334"/>
                  </a:lnTo>
                  <a:cubicBezTo>
                    <a:pt x="858" y="334"/>
                    <a:pt x="930" y="262"/>
                    <a:pt x="930" y="167"/>
                  </a:cubicBezTo>
                  <a:cubicBezTo>
                    <a:pt x="930" y="84"/>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1" name="Google Shape;10261;p59"/>
            <p:cNvSpPr/>
            <p:nvPr/>
          </p:nvSpPr>
          <p:spPr>
            <a:xfrm>
              <a:off x="5482573" y="3909533"/>
              <a:ext cx="15959" cy="17998"/>
            </a:xfrm>
            <a:custGeom>
              <a:avLst/>
              <a:gdLst/>
              <a:ahLst/>
              <a:cxnLst/>
              <a:rect l="l" t="t" r="r" b="b"/>
              <a:pathLst>
                <a:path w="501" h="565" extrusionOk="0">
                  <a:moveTo>
                    <a:pt x="324" y="1"/>
                  </a:moveTo>
                  <a:cubicBezTo>
                    <a:pt x="261" y="1"/>
                    <a:pt x="191" y="30"/>
                    <a:pt x="155" y="93"/>
                  </a:cubicBezTo>
                  <a:lnTo>
                    <a:pt x="36" y="331"/>
                  </a:lnTo>
                  <a:cubicBezTo>
                    <a:pt x="0" y="403"/>
                    <a:pt x="36" y="510"/>
                    <a:pt x="119" y="545"/>
                  </a:cubicBezTo>
                  <a:cubicBezTo>
                    <a:pt x="139" y="559"/>
                    <a:pt x="162" y="565"/>
                    <a:pt x="185" y="565"/>
                  </a:cubicBezTo>
                  <a:cubicBezTo>
                    <a:pt x="245" y="565"/>
                    <a:pt x="308" y="525"/>
                    <a:pt x="334" y="474"/>
                  </a:cubicBezTo>
                  <a:lnTo>
                    <a:pt x="453" y="236"/>
                  </a:lnTo>
                  <a:cubicBezTo>
                    <a:pt x="500" y="164"/>
                    <a:pt x="453" y="57"/>
                    <a:pt x="381" y="10"/>
                  </a:cubicBezTo>
                  <a:cubicBezTo>
                    <a:pt x="364" y="4"/>
                    <a:pt x="345" y="1"/>
                    <a:pt x="3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62" name="Google Shape;10262;p59"/>
          <p:cNvSpPr/>
          <p:nvPr/>
        </p:nvSpPr>
        <p:spPr>
          <a:xfrm>
            <a:off x="6738361" y="3809700"/>
            <a:ext cx="205210" cy="353399"/>
          </a:xfrm>
          <a:custGeom>
            <a:avLst/>
            <a:gdLst/>
            <a:ahLst/>
            <a:cxnLst/>
            <a:rect l="l" t="t" r="r" b="b"/>
            <a:pathLst>
              <a:path w="6442" h="11094" extrusionOk="0">
                <a:moveTo>
                  <a:pt x="2703" y="2120"/>
                </a:moveTo>
                <a:cubicBezTo>
                  <a:pt x="2965" y="2286"/>
                  <a:pt x="3620" y="2632"/>
                  <a:pt x="4489" y="2667"/>
                </a:cubicBezTo>
                <a:lnTo>
                  <a:pt x="4489" y="3763"/>
                </a:lnTo>
                <a:cubicBezTo>
                  <a:pt x="4489" y="4453"/>
                  <a:pt x="3929" y="5037"/>
                  <a:pt x="3215" y="5037"/>
                </a:cubicBezTo>
                <a:cubicBezTo>
                  <a:pt x="3207" y="5037"/>
                  <a:pt x="3200" y="5037"/>
                  <a:pt x="3193" y="5037"/>
                </a:cubicBezTo>
                <a:cubicBezTo>
                  <a:pt x="2512" y="5037"/>
                  <a:pt x="1953" y="4482"/>
                  <a:pt x="1953" y="3775"/>
                </a:cubicBezTo>
                <a:lnTo>
                  <a:pt x="1953" y="2632"/>
                </a:lnTo>
                <a:cubicBezTo>
                  <a:pt x="2286" y="2465"/>
                  <a:pt x="2560" y="2239"/>
                  <a:pt x="2703" y="2120"/>
                </a:cubicBezTo>
                <a:close/>
                <a:moveTo>
                  <a:pt x="3643" y="5394"/>
                </a:moveTo>
                <a:lnTo>
                  <a:pt x="3643" y="5858"/>
                </a:lnTo>
                <a:cubicBezTo>
                  <a:pt x="3500" y="5912"/>
                  <a:pt x="3361" y="5939"/>
                  <a:pt x="3222" y="5939"/>
                </a:cubicBezTo>
                <a:cubicBezTo>
                  <a:pt x="3084" y="5939"/>
                  <a:pt x="2947" y="5912"/>
                  <a:pt x="2810" y="5858"/>
                </a:cubicBezTo>
                <a:lnTo>
                  <a:pt x="2810" y="5394"/>
                </a:lnTo>
                <a:cubicBezTo>
                  <a:pt x="2947" y="5442"/>
                  <a:pt x="3090" y="5465"/>
                  <a:pt x="3231" y="5465"/>
                </a:cubicBezTo>
                <a:cubicBezTo>
                  <a:pt x="3372" y="5465"/>
                  <a:pt x="3512" y="5442"/>
                  <a:pt x="3643" y="5394"/>
                </a:cubicBezTo>
                <a:close/>
                <a:moveTo>
                  <a:pt x="2619" y="6144"/>
                </a:moveTo>
                <a:cubicBezTo>
                  <a:pt x="2703" y="6180"/>
                  <a:pt x="2798" y="6215"/>
                  <a:pt x="2881" y="6227"/>
                </a:cubicBezTo>
                <a:lnTo>
                  <a:pt x="2524" y="6573"/>
                </a:lnTo>
                <a:lnTo>
                  <a:pt x="2381" y="6144"/>
                </a:lnTo>
                <a:close/>
                <a:moveTo>
                  <a:pt x="3929" y="6144"/>
                </a:moveTo>
                <a:cubicBezTo>
                  <a:pt x="3989" y="6144"/>
                  <a:pt x="4036" y="6144"/>
                  <a:pt x="4060" y="6156"/>
                </a:cubicBezTo>
                <a:lnTo>
                  <a:pt x="3917" y="6573"/>
                </a:lnTo>
                <a:lnTo>
                  <a:pt x="3572" y="6215"/>
                </a:lnTo>
                <a:cubicBezTo>
                  <a:pt x="3643" y="6204"/>
                  <a:pt x="3739" y="6168"/>
                  <a:pt x="3810" y="6144"/>
                </a:cubicBezTo>
                <a:close/>
                <a:moveTo>
                  <a:pt x="2060" y="6227"/>
                </a:moveTo>
                <a:lnTo>
                  <a:pt x="2477" y="7370"/>
                </a:lnTo>
                <a:lnTo>
                  <a:pt x="2238" y="6954"/>
                </a:lnTo>
                <a:cubicBezTo>
                  <a:pt x="2203" y="6892"/>
                  <a:pt x="2149" y="6856"/>
                  <a:pt x="2094" y="6856"/>
                </a:cubicBezTo>
                <a:cubicBezTo>
                  <a:pt x="2074" y="6856"/>
                  <a:pt x="2055" y="6861"/>
                  <a:pt x="2036" y="6870"/>
                </a:cubicBezTo>
                <a:lnTo>
                  <a:pt x="1738" y="6989"/>
                </a:lnTo>
                <a:lnTo>
                  <a:pt x="1738" y="6989"/>
                </a:lnTo>
                <a:lnTo>
                  <a:pt x="1976" y="6239"/>
                </a:lnTo>
                <a:cubicBezTo>
                  <a:pt x="2012" y="6227"/>
                  <a:pt x="2036" y="6227"/>
                  <a:pt x="2060" y="6227"/>
                </a:cubicBezTo>
                <a:close/>
                <a:moveTo>
                  <a:pt x="4405" y="6204"/>
                </a:moveTo>
                <a:cubicBezTo>
                  <a:pt x="4453" y="6215"/>
                  <a:pt x="4512" y="6227"/>
                  <a:pt x="4548" y="6239"/>
                </a:cubicBezTo>
                <a:lnTo>
                  <a:pt x="4763" y="6977"/>
                </a:lnTo>
                <a:lnTo>
                  <a:pt x="4465" y="6858"/>
                </a:lnTo>
                <a:cubicBezTo>
                  <a:pt x="4446" y="6849"/>
                  <a:pt x="4425" y="6844"/>
                  <a:pt x="4404" y="6844"/>
                </a:cubicBezTo>
                <a:cubicBezTo>
                  <a:pt x="4347" y="6844"/>
                  <a:pt x="4292" y="6877"/>
                  <a:pt x="4274" y="6930"/>
                </a:cubicBezTo>
                <a:lnTo>
                  <a:pt x="3953" y="7477"/>
                </a:lnTo>
                <a:lnTo>
                  <a:pt x="3953" y="7477"/>
                </a:lnTo>
                <a:lnTo>
                  <a:pt x="4405" y="6204"/>
                </a:lnTo>
                <a:close/>
                <a:moveTo>
                  <a:pt x="3239" y="6334"/>
                </a:moveTo>
                <a:lnTo>
                  <a:pt x="3798" y="6918"/>
                </a:lnTo>
                <a:lnTo>
                  <a:pt x="3239" y="8501"/>
                </a:lnTo>
                <a:lnTo>
                  <a:pt x="2667" y="6918"/>
                </a:lnTo>
                <a:lnTo>
                  <a:pt x="3239" y="6334"/>
                </a:lnTo>
                <a:close/>
                <a:moveTo>
                  <a:pt x="4953" y="6477"/>
                </a:moveTo>
                <a:cubicBezTo>
                  <a:pt x="5251" y="6704"/>
                  <a:pt x="5465" y="7037"/>
                  <a:pt x="5560" y="7406"/>
                </a:cubicBezTo>
                <a:lnTo>
                  <a:pt x="6025" y="9311"/>
                </a:lnTo>
                <a:cubicBezTo>
                  <a:pt x="6084" y="9573"/>
                  <a:pt x="5965" y="9871"/>
                  <a:pt x="5715" y="10025"/>
                </a:cubicBezTo>
                <a:cubicBezTo>
                  <a:pt x="4941" y="10466"/>
                  <a:pt x="4167" y="10692"/>
                  <a:pt x="3405" y="10740"/>
                </a:cubicBezTo>
                <a:lnTo>
                  <a:pt x="3405" y="9061"/>
                </a:lnTo>
                <a:lnTo>
                  <a:pt x="4477" y="7227"/>
                </a:lnTo>
                <a:lnTo>
                  <a:pt x="4965" y="7406"/>
                </a:lnTo>
                <a:cubicBezTo>
                  <a:pt x="4983" y="7413"/>
                  <a:pt x="5002" y="7417"/>
                  <a:pt x="5020" y="7417"/>
                </a:cubicBezTo>
                <a:cubicBezTo>
                  <a:pt x="5123" y="7417"/>
                  <a:pt x="5220" y="7313"/>
                  <a:pt x="5179" y="7192"/>
                </a:cubicBezTo>
                <a:lnTo>
                  <a:pt x="4953" y="6477"/>
                </a:lnTo>
                <a:close/>
                <a:moveTo>
                  <a:pt x="2605" y="0"/>
                </a:moveTo>
                <a:cubicBezTo>
                  <a:pt x="1565" y="0"/>
                  <a:pt x="665" y="872"/>
                  <a:pt x="655" y="1977"/>
                </a:cubicBezTo>
                <a:cubicBezTo>
                  <a:pt x="655" y="2465"/>
                  <a:pt x="679" y="2989"/>
                  <a:pt x="774" y="3584"/>
                </a:cubicBezTo>
                <a:cubicBezTo>
                  <a:pt x="833" y="3977"/>
                  <a:pt x="1191" y="4299"/>
                  <a:pt x="1584" y="4299"/>
                </a:cubicBezTo>
                <a:lnTo>
                  <a:pt x="1691" y="4299"/>
                </a:lnTo>
                <a:cubicBezTo>
                  <a:pt x="1834" y="4691"/>
                  <a:pt x="2096" y="5013"/>
                  <a:pt x="2465" y="5203"/>
                </a:cubicBezTo>
                <a:lnTo>
                  <a:pt x="2465" y="5823"/>
                </a:lnTo>
                <a:cubicBezTo>
                  <a:pt x="1619" y="5846"/>
                  <a:pt x="786" y="6418"/>
                  <a:pt x="560" y="7347"/>
                </a:cubicBezTo>
                <a:lnTo>
                  <a:pt x="488" y="7644"/>
                </a:lnTo>
                <a:cubicBezTo>
                  <a:pt x="476" y="7728"/>
                  <a:pt x="524" y="7823"/>
                  <a:pt x="607" y="7835"/>
                </a:cubicBezTo>
                <a:cubicBezTo>
                  <a:pt x="617" y="7836"/>
                  <a:pt x="628" y="7837"/>
                  <a:pt x="638" y="7837"/>
                </a:cubicBezTo>
                <a:cubicBezTo>
                  <a:pt x="713" y="7837"/>
                  <a:pt x="787" y="7799"/>
                  <a:pt x="798" y="7716"/>
                </a:cubicBezTo>
                <a:lnTo>
                  <a:pt x="869" y="7418"/>
                </a:lnTo>
                <a:cubicBezTo>
                  <a:pt x="976" y="7001"/>
                  <a:pt x="1214" y="6680"/>
                  <a:pt x="1548" y="6454"/>
                </a:cubicBezTo>
                <a:lnTo>
                  <a:pt x="1548" y="6454"/>
                </a:lnTo>
                <a:lnTo>
                  <a:pt x="1310" y="7216"/>
                </a:lnTo>
                <a:cubicBezTo>
                  <a:pt x="1269" y="7326"/>
                  <a:pt x="1357" y="7429"/>
                  <a:pt x="1457" y="7429"/>
                </a:cubicBezTo>
                <a:cubicBezTo>
                  <a:pt x="1475" y="7429"/>
                  <a:pt x="1494" y="7425"/>
                  <a:pt x="1512" y="7418"/>
                </a:cubicBezTo>
                <a:lnTo>
                  <a:pt x="2012" y="7239"/>
                </a:lnTo>
                <a:lnTo>
                  <a:pt x="3084" y="9073"/>
                </a:lnTo>
                <a:lnTo>
                  <a:pt x="3084" y="10764"/>
                </a:lnTo>
                <a:cubicBezTo>
                  <a:pt x="2310" y="10740"/>
                  <a:pt x="1512" y="10514"/>
                  <a:pt x="714" y="10049"/>
                </a:cubicBezTo>
                <a:cubicBezTo>
                  <a:pt x="452" y="9906"/>
                  <a:pt x="345" y="9621"/>
                  <a:pt x="417" y="9335"/>
                </a:cubicBezTo>
                <a:lnTo>
                  <a:pt x="607" y="8501"/>
                </a:lnTo>
                <a:cubicBezTo>
                  <a:pt x="619" y="8418"/>
                  <a:pt x="572" y="8323"/>
                  <a:pt x="488" y="8311"/>
                </a:cubicBezTo>
                <a:cubicBezTo>
                  <a:pt x="480" y="8310"/>
                  <a:pt x="471" y="8309"/>
                  <a:pt x="462" y="8309"/>
                </a:cubicBezTo>
                <a:cubicBezTo>
                  <a:pt x="386" y="8309"/>
                  <a:pt x="308" y="8355"/>
                  <a:pt x="298" y="8430"/>
                </a:cubicBezTo>
                <a:lnTo>
                  <a:pt x="107" y="9263"/>
                </a:lnTo>
                <a:cubicBezTo>
                  <a:pt x="0" y="9680"/>
                  <a:pt x="191" y="10133"/>
                  <a:pt x="560" y="10335"/>
                </a:cubicBezTo>
                <a:cubicBezTo>
                  <a:pt x="1447" y="10841"/>
                  <a:pt x="2337" y="11094"/>
                  <a:pt x="3225" y="11094"/>
                </a:cubicBezTo>
                <a:cubicBezTo>
                  <a:pt x="4114" y="11094"/>
                  <a:pt x="5001" y="10841"/>
                  <a:pt x="5882" y="10335"/>
                </a:cubicBezTo>
                <a:cubicBezTo>
                  <a:pt x="6251" y="10085"/>
                  <a:pt x="6441" y="9656"/>
                  <a:pt x="6334" y="9240"/>
                </a:cubicBezTo>
                <a:lnTo>
                  <a:pt x="5882" y="7335"/>
                </a:lnTo>
                <a:cubicBezTo>
                  <a:pt x="5655" y="6394"/>
                  <a:pt x="4786" y="5823"/>
                  <a:pt x="3977" y="5811"/>
                </a:cubicBezTo>
                <a:lnTo>
                  <a:pt x="3977" y="5191"/>
                </a:lnTo>
                <a:cubicBezTo>
                  <a:pt x="4334" y="4989"/>
                  <a:pt x="4608" y="4668"/>
                  <a:pt x="4751" y="4275"/>
                </a:cubicBezTo>
                <a:lnTo>
                  <a:pt x="4774" y="4275"/>
                </a:lnTo>
                <a:cubicBezTo>
                  <a:pt x="5191" y="4275"/>
                  <a:pt x="5548" y="3965"/>
                  <a:pt x="5596" y="3548"/>
                </a:cubicBezTo>
                <a:cubicBezTo>
                  <a:pt x="5644" y="3144"/>
                  <a:pt x="5667" y="2786"/>
                  <a:pt x="5703" y="2453"/>
                </a:cubicBezTo>
                <a:cubicBezTo>
                  <a:pt x="5703" y="2358"/>
                  <a:pt x="5644" y="2286"/>
                  <a:pt x="5548" y="2263"/>
                </a:cubicBezTo>
                <a:cubicBezTo>
                  <a:pt x="5542" y="2262"/>
                  <a:pt x="5536" y="2261"/>
                  <a:pt x="5530" y="2261"/>
                </a:cubicBezTo>
                <a:cubicBezTo>
                  <a:pt x="5453" y="2261"/>
                  <a:pt x="5381" y="2329"/>
                  <a:pt x="5370" y="2417"/>
                </a:cubicBezTo>
                <a:cubicBezTo>
                  <a:pt x="5358" y="2763"/>
                  <a:pt x="5322" y="3108"/>
                  <a:pt x="5286" y="3501"/>
                </a:cubicBezTo>
                <a:cubicBezTo>
                  <a:pt x="5251" y="3739"/>
                  <a:pt x="5060" y="3918"/>
                  <a:pt x="4834" y="3929"/>
                </a:cubicBezTo>
                <a:cubicBezTo>
                  <a:pt x="4870" y="3596"/>
                  <a:pt x="4834" y="4144"/>
                  <a:pt x="4846" y="2536"/>
                </a:cubicBezTo>
                <a:cubicBezTo>
                  <a:pt x="4846" y="2524"/>
                  <a:pt x="4834" y="2489"/>
                  <a:pt x="4822" y="2477"/>
                </a:cubicBezTo>
                <a:cubicBezTo>
                  <a:pt x="4810" y="2465"/>
                  <a:pt x="4810" y="2429"/>
                  <a:pt x="4786" y="2417"/>
                </a:cubicBezTo>
                <a:cubicBezTo>
                  <a:pt x="4774" y="2405"/>
                  <a:pt x="4751" y="2405"/>
                  <a:pt x="4727" y="2382"/>
                </a:cubicBezTo>
                <a:cubicBezTo>
                  <a:pt x="4715" y="2382"/>
                  <a:pt x="4703" y="2358"/>
                  <a:pt x="4667" y="2358"/>
                </a:cubicBezTo>
                <a:cubicBezTo>
                  <a:pt x="3560" y="2346"/>
                  <a:pt x="2798" y="1774"/>
                  <a:pt x="2798" y="1774"/>
                </a:cubicBezTo>
                <a:cubicBezTo>
                  <a:pt x="2770" y="1752"/>
                  <a:pt x="2731" y="1740"/>
                  <a:pt x="2692" y="1740"/>
                </a:cubicBezTo>
                <a:cubicBezTo>
                  <a:pt x="2648" y="1740"/>
                  <a:pt x="2603" y="1755"/>
                  <a:pt x="2572" y="1786"/>
                </a:cubicBezTo>
                <a:cubicBezTo>
                  <a:pt x="2572" y="1786"/>
                  <a:pt x="2203" y="2179"/>
                  <a:pt x="1726" y="2370"/>
                </a:cubicBezTo>
                <a:cubicBezTo>
                  <a:pt x="1715" y="2370"/>
                  <a:pt x="1715" y="2382"/>
                  <a:pt x="1691" y="2405"/>
                </a:cubicBezTo>
                <a:cubicBezTo>
                  <a:pt x="1667" y="2417"/>
                  <a:pt x="1631" y="2465"/>
                  <a:pt x="1631" y="2513"/>
                </a:cubicBezTo>
                <a:cubicBezTo>
                  <a:pt x="1631" y="2524"/>
                  <a:pt x="1619" y="2524"/>
                  <a:pt x="1619" y="2536"/>
                </a:cubicBezTo>
                <a:lnTo>
                  <a:pt x="1619" y="3787"/>
                </a:lnTo>
                <a:cubicBezTo>
                  <a:pt x="1619" y="3846"/>
                  <a:pt x="1631" y="3906"/>
                  <a:pt x="1631" y="3953"/>
                </a:cubicBezTo>
                <a:lnTo>
                  <a:pt x="1595" y="3953"/>
                </a:lnTo>
                <a:cubicBezTo>
                  <a:pt x="1334" y="3953"/>
                  <a:pt x="1131" y="3775"/>
                  <a:pt x="1095" y="3525"/>
                </a:cubicBezTo>
                <a:cubicBezTo>
                  <a:pt x="1024" y="2953"/>
                  <a:pt x="976" y="2453"/>
                  <a:pt x="976" y="1977"/>
                </a:cubicBezTo>
                <a:cubicBezTo>
                  <a:pt x="976" y="1054"/>
                  <a:pt x="1746" y="325"/>
                  <a:pt x="2616" y="325"/>
                </a:cubicBezTo>
                <a:cubicBezTo>
                  <a:pt x="2802" y="325"/>
                  <a:pt x="2991" y="358"/>
                  <a:pt x="3179" y="429"/>
                </a:cubicBezTo>
                <a:cubicBezTo>
                  <a:pt x="3381" y="500"/>
                  <a:pt x="3536" y="608"/>
                  <a:pt x="3679" y="739"/>
                </a:cubicBezTo>
                <a:cubicBezTo>
                  <a:pt x="3709" y="768"/>
                  <a:pt x="3753" y="783"/>
                  <a:pt x="3798" y="783"/>
                </a:cubicBezTo>
                <a:cubicBezTo>
                  <a:pt x="3843" y="783"/>
                  <a:pt x="3887" y="768"/>
                  <a:pt x="3917" y="739"/>
                </a:cubicBezTo>
                <a:lnTo>
                  <a:pt x="3929" y="727"/>
                </a:lnTo>
                <a:cubicBezTo>
                  <a:pt x="4081" y="557"/>
                  <a:pt x="4294" y="466"/>
                  <a:pt x="4511" y="466"/>
                </a:cubicBezTo>
                <a:cubicBezTo>
                  <a:pt x="4599" y="466"/>
                  <a:pt x="4688" y="481"/>
                  <a:pt x="4774" y="512"/>
                </a:cubicBezTo>
                <a:cubicBezTo>
                  <a:pt x="5084" y="619"/>
                  <a:pt x="5298" y="881"/>
                  <a:pt x="5322" y="1215"/>
                </a:cubicBezTo>
                <a:cubicBezTo>
                  <a:pt x="5322" y="1262"/>
                  <a:pt x="5334" y="1298"/>
                  <a:pt x="5334" y="1334"/>
                </a:cubicBezTo>
                <a:cubicBezTo>
                  <a:pt x="5358" y="1465"/>
                  <a:pt x="5358" y="1524"/>
                  <a:pt x="5358" y="1715"/>
                </a:cubicBezTo>
                <a:cubicBezTo>
                  <a:pt x="5358" y="1810"/>
                  <a:pt x="5429" y="1882"/>
                  <a:pt x="5513" y="1882"/>
                </a:cubicBezTo>
                <a:cubicBezTo>
                  <a:pt x="5608" y="1882"/>
                  <a:pt x="5679" y="1810"/>
                  <a:pt x="5679" y="1715"/>
                </a:cubicBezTo>
                <a:cubicBezTo>
                  <a:pt x="5679" y="1512"/>
                  <a:pt x="5679" y="1441"/>
                  <a:pt x="5667" y="1298"/>
                </a:cubicBezTo>
                <a:cubicBezTo>
                  <a:pt x="5667" y="1274"/>
                  <a:pt x="5667" y="1227"/>
                  <a:pt x="5655" y="1179"/>
                </a:cubicBezTo>
                <a:cubicBezTo>
                  <a:pt x="5608" y="739"/>
                  <a:pt x="5310" y="369"/>
                  <a:pt x="4893" y="215"/>
                </a:cubicBezTo>
                <a:cubicBezTo>
                  <a:pt x="4768" y="171"/>
                  <a:pt x="4639" y="150"/>
                  <a:pt x="4512" y="150"/>
                </a:cubicBezTo>
                <a:cubicBezTo>
                  <a:pt x="4254" y="150"/>
                  <a:pt x="4002" y="238"/>
                  <a:pt x="3786" y="405"/>
                </a:cubicBezTo>
                <a:cubicBezTo>
                  <a:pt x="3643" y="286"/>
                  <a:pt x="3477" y="203"/>
                  <a:pt x="3298" y="131"/>
                </a:cubicBezTo>
                <a:cubicBezTo>
                  <a:pt x="3066" y="42"/>
                  <a:pt x="2832" y="0"/>
                  <a:pt x="26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63" name="Google Shape;10263;p59"/>
          <p:cNvGrpSpPr/>
          <p:nvPr/>
        </p:nvGrpSpPr>
        <p:grpSpPr>
          <a:xfrm>
            <a:off x="5833775" y="3809445"/>
            <a:ext cx="235185" cy="352253"/>
            <a:chOff x="5833775" y="3809445"/>
            <a:chExt cx="235185" cy="352253"/>
          </a:xfrm>
        </p:grpSpPr>
        <p:sp>
          <p:nvSpPr>
            <p:cNvPr id="10264" name="Google Shape;10264;p59"/>
            <p:cNvSpPr/>
            <p:nvPr/>
          </p:nvSpPr>
          <p:spPr>
            <a:xfrm>
              <a:off x="5859195" y="3855953"/>
              <a:ext cx="168417" cy="206866"/>
            </a:xfrm>
            <a:custGeom>
              <a:avLst/>
              <a:gdLst/>
              <a:ahLst/>
              <a:cxnLst/>
              <a:rect l="l" t="t" r="r" b="b"/>
              <a:pathLst>
                <a:path w="5287" h="6494" extrusionOk="0">
                  <a:moveTo>
                    <a:pt x="2584" y="1"/>
                  </a:moveTo>
                  <a:cubicBezTo>
                    <a:pt x="2489" y="1"/>
                    <a:pt x="2417" y="72"/>
                    <a:pt x="2417" y="156"/>
                  </a:cubicBezTo>
                  <a:cubicBezTo>
                    <a:pt x="2417" y="251"/>
                    <a:pt x="2489" y="322"/>
                    <a:pt x="2584" y="322"/>
                  </a:cubicBezTo>
                  <a:cubicBezTo>
                    <a:pt x="2894" y="334"/>
                    <a:pt x="3144" y="370"/>
                    <a:pt x="3489" y="501"/>
                  </a:cubicBezTo>
                  <a:cubicBezTo>
                    <a:pt x="4501" y="930"/>
                    <a:pt x="4679" y="2227"/>
                    <a:pt x="4406" y="3299"/>
                  </a:cubicBezTo>
                  <a:cubicBezTo>
                    <a:pt x="4513" y="2477"/>
                    <a:pt x="4275" y="1787"/>
                    <a:pt x="3691" y="1215"/>
                  </a:cubicBezTo>
                  <a:cubicBezTo>
                    <a:pt x="3607" y="1131"/>
                    <a:pt x="3484" y="1077"/>
                    <a:pt x="3356" y="1077"/>
                  </a:cubicBezTo>
                  <a:cubicBezTo>
                    <a:pt x="3285" y="1077"/>
                    <a:pt x="3212" y="1094"/>
                    <a:pt x="3144" y="1132"/>
                  </a:cubicBezTo>
                  <a:cubicBezTo>
                    <a:pt x="2977" y="1215"/>
                    <a:pt x="2894" y="1430"/>
                    <a:pt x="2953" y="1620"/>
                  </a:cubicBezTo>
                  <a:cubicBezTo>
                    <a:pt x="3632" y="4013"/>
                    <a:pt x="2834" y="5085"/>
                    <a:pt x="1298" y="5502"/>
                  </a:cubicBezTo>
                  <a:cubicBezTo>
                    <a:pt x="1191" y="5537"/>
                    <a:pt x="1191" y="5609"/>
                    <a:pt x="881" y="6049"/>
                  </a:cubicBezTo>
                  <a:cubicBezTo>
                    <a:pt x="845" y="6112"/>
                    <a:pt x="789" y="6141"/>
                    <a:pt x="732" y="6141"/>
                  </a:cubicBezTo>
                  <a:cubicBezTo>
                    <a:pt x="714" y="6141"/>
                    <a:pt x="696" y="6138"/>
                    <a:pt x="679" y="6133"/>
                  </a:cubicBezTo>
                  <a:cubicBezTo>
                    <a:pt x="560" y="6097"/>
                    <a:pt x="500" y="5966"/>
                    <a:pt x="560" y="5859"/>
                  </a:cubicBezTo>
                  <a:cubicBezTo>
                    <a:pt x="750" y="5442"/>
                    <a:pt x="1072" y="4894"/>
                    <a:pt x="941" y="3739"/>
                  </a:cubicBezTo>
                  <a:lnTo>
                    <a:pt x="941" y="3739"/>
                  </a:lnTo>
                  <a:lnTo>
                    <a:pt x="1786" y="4335"/>
                  </a:lnTo>
                  <a:cubicBezTo>
                    <a:pt x="1878" y="4393"/>
                    <a:pt x="1981" y="4421"/>
                    <a:pt x="2083" y="4421"/>
                  </a:cubicBezTo>
                  <a:cubicBezTo>
                    <a:pt x="2232" y="4421"/>
                    <a:pt x="2378" y="4360"/>
                    <a:pt x="2477" y="4240"/>
                  </a:cubicBezTo>
                  <a:cubicBezTo>
                    <a:pt x="2655" y="4013"/>
                    <a:pt x="2620" y="3644"/>
                    <a:pt x="2370" y="3478"/>
                  </a:cubicBezTo>
                  <a:lnTo>
                    <a:pt x="2024" y="3239"/>
                  </a:lnTo>
                  <a:cubicBezTo>
                    <a:pt x="1536" y="2882"/>
                    <a:pt x="1250" y="2323"/>
                    <a:pt x="1250" y="1704"/>
                  </a:cubicBezTo>
                  <a:cubicBezTo>
                    <a:pt x="1262" y="1192"/>
                    <a:pt x="1405" y="739"/>
                    <a:pt x="1893" y="477"/>
                  </a:cubicBezTo>
                  <a:cubicBezTo>
                    <a:pt x="1965" y="430"/>
                    <a:pt x="2001" y="322"/>
                    <a:pt x="1953" y="251"/>
                  </a:cubicBezTo>
                  <a:cubicBezTo>
                    <a:pt x="1920" y="202"/>
                    <a:pt x="1865" y="170"/>
                    <a:pt x="1807" y="170"/>
                  </a:cubicBezTo>
                  <a:cubicBezTo>
                    <a:pt x="1780" y="170"/>
                    <a:pt x="1753" y="176"/>
                    <a:pt x="1727" y="191"/>
                  </a:cubicBezTo>
                  <a:cubicBezTo>
                    <a:pt x="1346" y="406"/>
                    <a:pt x="1060" y="775"/>
                    <a:pt x="989" y="1203"/>
                  </a:cubicBezTo>
                  <a:cubicBezTo>
                    <a:pt x="798" y="2192"/>
                    <a:pt x="1167" y="3001"/>
                    <a:pt x="1834" y="3489"/>
                  </a:cubicBezTo>
                  <a:cubicBezTo>
                    <a:pt x="1839" y="3493"/>
                    <a:pt x="1841" y="3494"/>
                    <a:pt x="1841" y="3494"/>
                  </a:cubicBezTo>
                  <a:cubicBezTo>
                    <a:pt x="1840" y="3494"/>
                    <a:pt x="1839" y="3493"/>
                    <a:pt x="1839" y="3493"/>
                  </a:cubicBezTo>
                  <a:lnTo>
                    <a:pt x="1839" y="3493"/>
                  </a:lnTo>
                  <a:cubicBezTo>
                    <a:pt x="1837" y="3493"/>
                    <a:pt x="1859" y="3512"/>
                    <a:pt x="2179" y="3739"/>
                  </a:cubicBezTo>
                  <a:cubicBezTo>
                    <a:pt x="2263" y="3811"/>
                    <a:pt x="2286" y="3954"/>
                    <a:pt x="2215" y="4037"/>
                  </a:cubicBezTo>
                  <a:cubicBezTo>
                    <a:pt x="2182" y="4076"/>
                    <a:pt x="2139" y="4094"/>
                    <a:pt x="2094" y="4094"/>
                  </a:cubicBezTo>
                  <a:cubicBezTo>
                    <a:pt x="2058" y="4094"/>
                    <a:pt x="2021" y="4082"/>
                    <a:pt x="1989" y="4061"/>
                  </a:cubicBezTo>
                  <a:lnTo>
                    <a:pt x="1072" y="3418"/>
                  </a:lnTo>
                  <a:cubicBezTo>
                    <a:pt x="1022" y="3383"/>
                    <a:pt x="967" y="3367"/>
                    <a:pt x="914" y="3367"/>
                  </a:cubicBezTo>
                  <a:cubicBezTo>
                    <a:pt x="748" y="3367"/>
                    <a:pt x="593" y="3515"/>
                    <a:pt x="619" y="3704"/>
                  </a:cubicBezTo>
                  <a:cubicBezTo>
                    <a:pt x="822" y="5371"/>
                    <a:pt x="0" y="5597"/>
                    <a:pt x="238" y="6133"/>
                  </a:cubicBezTo>
                  <a:cubicBezTo>
                    <a:pt x="329" y="6327"/>
                    <a:pt x="521" y="6429"/>
                    <a:pt x="712" y="6429"/>
                  </a:cubicBezTo>
                  <a:cubicBezTo>
                    <a:pt x="873" y="6429"/>
                    <a:pt x="1033" y="6356"/>
                    <a:pt x="1131" y="6204"/>
                  </a:cubicBezTo>
                  <a:lnTo>
                    <a:pt x="1417" y="5775"/>
                  </a:lnTo>
                  <a:cubicBezTo>
                    <a:pt x="3477" y="5180"/>
                    <a:pt x="3834" y="3585"/>
                    <a:pt x="3239" y="1501"/>
                  </a:cubicBezTo>
                  <a:cubicBezTo>
                    <a:pt x="3221" y="1449"/>
                    <a:pt x="3242" y="1370"/>
                    <a:pt x="3321" y="1370"/>
                  </a:cubicBezTo>
                  <a:cubicBezTo>
                    <a:pt x="3349" y="1370"/>
                    <a:pt x="3385" y="1381"/>
                    <a:pt x="3429" y="1406"/>
                  </a:cubicBezTo>
                  <a:cubicBezTo>
                    <a:pt x="3429" y="1406"/>
                    <a:pt x="3441" y="1406"/>
                    <a:pt x="3441" y="1430"/>
                  </a:cubicBezTo>
                  <a:cubicBezTo>
                    <a:pt x="4525" y="2501"/>
                    <a:pt x="4251" y="4013"/>
                    <a:pt x="2560" y="6228"/>
                  </a:cubicBezTo>
                  <a:cubicBezTo>
                    <a:pt x="2501" y="6311"/>
                    <a:pt x="2513" y="6395"/>
                    <a:pt x="2596" y="6454"/>
                  </a:cubicBezTo>
                  <a:cubicBezTo>
                    <a:pt x="2623" y="6481"/>
                    <a:pt x="2657" y="6493"/>
                    <a:pt x="2692" y="6493"/>
                  </a:cubicBezTo>
                  <a:cubicBezTo>
                    <a:pt x="2734" y="6493"/>
                    <a:pt x="2777" y="6475"/>
                    <a:pt x="2810" y="6442"/>
                  </a:cubicBezTo>
                  <a:cubicBezTo>
                    <a:pt x="4120" y="5013"/>
                    <a:pt x="5287" y="3180"/>
                    <a:pt x="4668" y="1346"/>
                  </a:cubicBezTo>
                  <a:cubicBezTo>
                    <a:pt x="4370" y="453"/>
                    <a:pt x="3513" y="1"/>
                    <a:pt x="2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5" name="Google Shape;10265;p59"/>
            <p:cNvSpPr/>
            <p:nvPr/>
          </p:nvSpPr>
          <p:spPr>
            <a:xfrm>
              <a:off x="5833775" y="4034946"/>
              <a:ext cx="128981" cy="126751"/>
            </a:xfrm>
            <a:custGeom>
              <a:avLst/>
              <a:gdLst/>
              <a:ahLst/>
              <a:cxnLst/>
              <a:rect l="l" t="t" r="r" b="b"/>
              <a:pathLst>
                <a:path w="4049" h="3979" extrusionOk="0">
                  <a:moveTo>
                    <a:pt x="179" y="0"/>
                  </a:moveTo>
                  <a:cubicBezTo>
                    <a:pt x="171" y="0"/>
                    <a:pt x="163" y="1"/>
                    <a:pt x="155" y="2"/>
                  </a:cubicBezTo>
                  <a:cubicBezTo>
                    <a:pt x="72" y="25"/>
                    <a:pt x="13" y="97"/>
                    <a:pt x="24" y="180"/>
                  </a:cubicBezTo>
                  <a:cubicBezTo>
                    <a:pt x="120" y="811"/>
                    <a:pt x="132" y="1407"/>
                    <a:pt x="72" y="1954"/>
                  </a:cubicBezTo>
                  <a:cubicBezTo>
                    <a:pt x="1" y="2597"/>
                    <a:pt x="239" y="3204"/>
                    <a:pt x="715" y="3597"/>
                  </a:cubicBezTo>
                  <a:cubicBezTo>
                    <a:pt x="1036" y="3847"/>
                    <a:pt x="1394" y="3978"/>
                    <a:pt x="1810" y="3978"/>
                  </a:cubicBezTo>
                  <a:cubicBezTo>
                    <a:pt x="2441" y="3978"/>
                    <a:pt x="3013" y="3669"/>
                    <a:pt x="3394" y="3145"/>
                  </a:cubicBezTo>
                  <a:lnTo>
                    <a:pt x="3989" y="2311"/>
                  </a:lnTo>
                  <a:cubicBezTo>
                    <a:pt x="4049" y="2228"/>
                    <a:pt x="3977" y="2073"/>
                    <a:pt x="3834" y="2073"/>
                  </a:cubicBezTo>
                  <a:cubicBezTo>
                    <a:pt x="3834" y="2073"/>
                    <a:pt x="3831" y="2073"/>
                    <a:pt x="3825" y="2073"/>
                  </a:cubicBezTo>
                  <a:cubicBezTo>
                    <a:pt x="3793" y="2073"/>
                    <a:pt x="3686" y="2082"/>
                    <a:pt x="3656" y="2192"/>
                  </a:cubicBezTo>
                  <a:lnTo>
                    <a:pt x="3108" y="2966"/>
                  </a:lnTo>
                  <a:cubicBezTo>
                    <a:pt x="2633" y="3632"/>
                    <a:pt x="1970" y="3669"/>
                    <a:pt x="1826" y="3669"/>
                  </a:cubicBezTo>
                  <a:cubicBezTo>
                    <a:pt x="1808" y="3669"/>
                    <a:pt x="1798" y="3669"/>
                    <a:pt x="1798" y="3669"/>
                  </a:cubicBezTo>
                  <a:cubicBezTo>
                    <a:pt x="929" y="3669"/>
                    <a:pt x="263" y="2907"/>
                    <a:pt x="382" y="2002"/>
                  </a:cubicBezTo>
                  <a:cubicBezTo>
                    <a:pt x="453" y="1419"/>
                    <a:pt x="441" y="799"/>
                    <a:pt x="334" y="145"/>
                  </a:cubicBezTo>
                  <a:cubicBezTo>
                    <a:pt x="323" y="57"/>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6" name="Google Shape;10266;p59"/>
            <p:cNvSpPr/>
            <p:nvPr/>
          </p:nvSpPr>
          <p:spPr>
            <a:xfrm>
              <a:off x="5836068" y="3809445"/>
              <a:ext cx="232892" cy="278285"/>
            </a:xfrm>
            <a:custGeom>
              <a:avLst/>
              <a:gdLst/>
              <a:ahLst/>
              <a:cxnLst/>
              <a:rect l="l" t="t" r="r" b="b"/>
              <a:pathLst>
                <a:path w="7311" h="8736" extrusionOk="0">
                  <a:moveTo>
                    <a:pt x="3693" y="0"/>
                  </a:moveTo>
                  <a:cubicBezTo>
                    <a:pt x="3479" y="0"/>
                    <a:pt x="3263" y="26"/>
                    <a:pt x="3048" y="80"/>
                  </a:cubicBezTo>
                  <a:cubicBezTo>
                    <a:pt x="2334" y="258"/>
                    <a:pt x="1774" y="616"/>
                    <a:pt x="1322" y="1128"/>
                  </a:cubicBezTo>
                  <a:cubicBezTo>
                    <a:pt x="1012" y="1473"/>
                    <a:pt x="631" y="1663"/>
                    <a:pt x="167" y="1699"/>
                  </a:cubicBezTo>
                  <a:cubicBezTo>
                    <a:pt x="71" y="1699"/>
                    <a:pt x="0" y="1782"/>
                    <a:pt x="12" y="1878"/>
                  </a:cubicBezTo>
                  <a:cubicBezTo>
                    <a:pt x="12" y="1951"/>
                    <a:pt x="86" y="2025"/>
                    <a:pt x="161" y="2025"/>
                  </a:cubicBezTo>
                  <a:cubicBezTo>
                    <a:pt x="171" y="2025"/>
                    <a:pt x="181" y="2023"/>
                    <a:pt x="191" y="2021"/>
                  </a:cubicBezTo>
                  <a:cubicBezTo>
                    <a:pt x="726" y="1985"/>
                    <a:pt x="1226" y="1759"/>
                    <a:pt x="1584" y="1342"/>
                  </a:cubicBezTo>
                  <a:cubicBezTo>
                    <a:pt x="2196" y="655"/>
                    <a:pt x="2970" y="332"/>
                    <a:pt x="3709" y="332"/>
                  </a:cubicBezTo>
                  <a:cubicBezTo>
                    <a:pt x="4637" y="332"/>
                    <a:pt x="5511" y="841"/>
                    <a:pt x="5941" y="1782"/>
                  </a:cubicBezTo>
                  <a:cubicBezTo>
                    <a:pt x="7310" y="4807"/>
                    <a:pt x="4286" y="8247"/>
                    <a:pt x="4167" y="8486"/>
                  </a:cubicBezTo>
                  <a:cubicBezTo>
                    <a:pt x="4096" y="8593"/>
                    <a:pt x="4167" y="8736"/>
                    <a:pt x="4298" y="8736"/>
                  </a:cubicBezTo>
                  <a:cubicBezTo>
                    <a:pt x="4346" y="8736"/>
                    <a:pt x="4405" y="8712"/>
                    <a:pt x="4441" y="8664"/>
                  </a:cubicBezTo>
                  <a:cubicBezTo>
                    <a:pt x="5132" y="7676"/>
                    <a:pt x="5096" y="7736"/>
                    <a:pt x="5108" y="7724"/>
                  </a:cubicBezTo>
                  <a:cubicBezTo>
                    <a:pt x="6298" y="5878"/>
                    <a:pt x="7144" y="3675"/>
                    <a:pt x="6215" y="1651"/>
                  </a:cubicBezTo>
                  <a:cubicBezTo>
                    <a:pt x="5759" y="640"/>
                    <a:pt x="4758" y="0"/>
                    <a:pt x="36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67" name="Google Shape;10267;p59"/>
          <p:cNvGrpSpPr/>
          <p:nvPr/>
        </p:nvGrpSpPr>
        <p:grpSpPr>
          <a:xfrm>
            <a:off x="4942472" y="3809318"/>
            <a:ext cx="238976" cy="352762"/>
            <a:chOff x="4942472" y="3809318"/>
            <a:chExt cx="238976" cy="352762"/>
          </a:xfrm>
        </p:grpSpPr>
        <p:sp>
          <p:nvSpPr>
            <p:cNvPr id="10268" name="Google Shape;10268;p59"/>
            <p:cNvSpPr/>
            <p:nvPr/>
          </p:nvSpPr>
          <p:spPr>
            <a:xfrm>
              <a:off x="4975473" y="3837159"/>
              <a:ext cx="77790" cy="77790"/>
            </a:xfrm>
            <a:custGeom>
              <a:avLst/>
              <a:gdLst/>
              <a:ahLst/>
              <a:cxnLst/>
              <a:rect l="l" t="t" r="r" b="b"/>
              <a:pathLst>
                <a:path w="2442" h="2442" extrusionOk="0">
                  <a:moveTo>
                    <a:pt x="1206" y="334"/>
                  </a:moveTo>
                  <a:cubicBezTo>
                    <a:pt x="1372" y="334"/>
                    <a:pt x="1546" y="383"/>
                    <a:pt x="1715" y="496"/>
                  </a:cubicBezTo>
                  <a:lnTo>
                    <a:pt x="489" y="1722"/>
                  </a:lnTo>
                  <a:cubicBezTo>
                    <a:pt x="54" y="1069"/>
                    <a:pt x="566" y="334"/>
                    <a:pt x="1206" y="334"/>
                  </a:cubicBezTo>
                  <a:close/>
                  <a:moveTo>
                    <a:pt x="1941" y="722"/>
                  </a:moveTo>
                  <a:lnTo>
                    <a:pt x="1941" y="722"/>
                  </a:lnTo>
                  <a:cubicBezTo>
                    <a:pt x="2403" y="1372"/>
                    <a:pt x="1880" y="2119"/>
                    <a:pt x="1235" y="2119"/>
                  </a:cubicBezTo>
                  <a:cubicBezTo>
                    <a:pt x="1065" y="2119"/>
                    <a:pt x="886" y="2067"/>
                    <a:pt x="715" y="1948"/>
                  </a:cubicBezTo>
                  <a:lnTo>
                    <a:pt x="1941" y="722"/>
                  </a:lnTo>
                  <a:close/>
                  <a:moveTo>
                    <a:pt x="1243" y="1"/>
                  </a:moveTo>
                  <a:cubicBezTo>
                    <a:pt x="616" y="1"/>
                    <a:pt x="1" y="477"/>
                    <a:pt x="1" y="1210"/>
                  </a:cubicBezTo>
                  <a:cubicBezTo>
                    <a:pt x="1" y="1555"/>
                    <a:pt x="144" y="1853"/>
                    <a:pt x="358" y="2079"/>
                  </a:cubicBezTo>
                  <a:cubicBezTo>
                    <a:pt x="604" y="2330"/>
                    <a:pt x="909" y="2442"/>
                    <a:pt x="1209" y="2442"/>
                  </a:cubicBezTo>
                  <a:cubicBezTo>
                    <a:pt x="1837" y="2442"/>
                    <a:pt x="2442" y="1951"/>
                    <a:pt x="2442" y="1210"/>
                  </a:cubicBezTo>
                  <a:cubicBezTo>
                    <a:pt x="2442" y="889"/>
                    <a:pt x="2311" y="579"/>
                    <a:pt x="2084" y="353"/>
                  </a:cubicBezTo>
                  <a:cubicBezTo>
                    <a:pt x="1845" y="110"/>
                    <a:pt x="1543" y="1"/>
                    <a:pt x="12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9" name="Google Shape;10269;p59"/>
            <p:cNvSpPr/>
            <p:nvPr/>
          </p:nvSpPr>
          <p:spPr>
            <a:xfrm>
              <a:off x="5056640" y="3837000"/>
              <a:ext cx="90691" cy="77949"/>
            </a:xfrm>
            <a:custGeom>
              <a:avLst/>
              <a:gdLst/>
              <a:ahLst/>
              <a:cxnLst/>
              <a:rect l="l" t="t" r="r" b="b"/>
              <a:pathLst>
                <a:path w="2847" h="2447" extrusionOk="0">
                  <a:moveTo>
                    <a:pt x="1610" y="339"/>
                  </a:moveTo>
                  <a:cubicBezTo>
                    <a:pt x="1773" y="339"/>
                    <a:pt x="1944" y="388"/>
                    <a:pt x="2108" y="501"/>
                  </a:cubicBezTo>
                  <a:lnTo>
                    <a:pt x="894" y="1727"/>
                  </a:lnTo>
                  <a:cubicBezTo>
                    <a:pt x="459" y="1074"/>
                    <a:pt x="978" y="339"/>
                    <a:pt x="1610" y="339"/>
                  </a:cubicBezTo>
                  <a:close/>
                  <a:moveTo>
                    <a:pt x="2358" y="727"/>
                  </a:moveTo>
                  <a:lnTo>
                    <a:pt x="2358" y="727"/>
                  </a:lnTo>
                  <a:cubicBezTo>
                    <a:pt x="2801" y="1377"/>
                    <a:pt x="2289" y="2124"/>
                    <a:pt x="1649" y="2124"/>
                  </a:cubicBezTo>
                  <a:cubicBezTo>
                    <a:pt x="1481" y="2124"/>
                    <a:pt x="1303" y="2072"/>
                    <a:pt x="1132" y="1953"/>
                  </a:cubicBezTo>
                  <a:lnTo>
                    <a:pt x="2358" y="727"/>
                  </a:lnTo>
                  <a:close/>
                  <a:moveTo>
                    <a:pt x="1620" y="1"/>
                  </a:moveTo>
                  <a:cubicBezTo>
                    <a:pt x="525" y="1"/>
                    <a:pt x="1" y="1358"/>
                    <a:pt x="763" y="2084"/>
                  </a:cubicBezTo>
                  <a:cubicBezTo>
                    <a:pt x="1005" y="2335"/>
                    <a:pt x="1309" y="2447"/>
                    <a:pt x="1609" y="2447"/>
                  </a:cubicBezTo>
                  <a:cubicBezTo>
                    <a:pt x="2236" y="2447"/>
                    <a:pt x="2846" y="1956"/>
                    <a:pt x="2846" y="1215"/>
                  </a:cubicBezTo>
                  <a:cubicBezTo>
                    <a:pt x="2846" y="905"/>
                    <a:pt x="2727" y="596"/>
                    <a:pt x="2489" y="358"/>
                  </a:cubicBezTo>
                  <a:cubicBezTo>
                    <a:pt x="2275" y="143"/>
                    <a:pt x="1965"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0" name="Google Shape;10270;p59"/>
            <p:cNvSpPr/>
            <p:nvPr/>
          </p:nvSpPr>
          <p:spPr>
            <a:xfrm>
              <a:off x="4962572" y="3943969"/>
              <a:ext cx="90691" cy="77662"/>
            </a:xfrm>
            <a:custGeom>
              <a:avLst/>
              <a:gdLst/>
              <a:ahLst/>
              <a:cxnLst/>
              <a:rect l="l" t="t" r="r" b="b"/>
              <a:pathLst>
                <a:path w="2847" h="2438" extrusionOk="0">
                  <a:moveTo>
                    <a:pt x="1604" y="333"/>
                  </a:moveTo>
                  <a:cubicBezTo>
                    <a:pt x="1772" y="333"/>
                    <a:pt x="1949" y="383"/>
                    <a:pt x="2120" y="500"/>
                  </a:cubicBezTo>
                  <a:lnTo>
                    <a:pt x="894" y="1715"/>
                  </a:lnTo>
                  <a:cubicBezTo>
                    <a:pt x="461" y="1065"/>
                    <a:pt x="966" y="333"/>
                    <a:pt x="1604" y="333"/>
                  </a:cubicBezTo>
                  <a:close/>
                  <a:moveTo>
                    <a:pt x="2346" y="726"/>
                  </a:moveTo>
                  <a:lnTo>
                    <a:pt x="2346" y="726"/>
                  </a:lnTo>
                  <a:cubicBezTo>
                    <a:pt x="2808" y="1377"/>
                    <a:pt x="2285" y="2124"/>
                    <a:pt x="1640" y="2124"/>
                  </a:cubicBezTo>
                  <a:cubicBezTo>
                    <a:pt x="1470" y="2124"/>
                    <a:pt x="1291" y="2072"/>
                    <a:pt x="1120" y="1953"/>
                  </a:cubicBezTo>
                  <a:lnTo>
                    <a:pt x="2346" y="726"/>
                  </a:lnTo>
                  <a:close/>
                  <a:moveTo>
                    <a:pt x="1632" y="0"/>
                  </a:moveTo>
                  <a:cubicBezTo>
                    <a:pt x="561" y="0"/>
                    <a:pt x="1" y="1310"/>
                    <a:pt x="763" y="2072"/>
                  </a:cubicBezTo>
                  <a:cubicBezTo>
                    <a:pt x="1016" y="2325"/>
                    <a:pt x="1325" y="2438"/>
                    <a:pt x="1628" y="2438"/>
                  </a:cubicBezTo>
                  <a:cubicBezTo>
                    <a:pt x="2252" y="2438"/>
                    <a:pt x="2847" y="1956"/>
                    <a:pt x="2847" y="1227"/>
                  </a:cubicBezTo>
                  <a:cubicBezTo>
                    <a:pt x="2847" y="881"/>
                    <a:pt x="2716" y="584"/>
                    <a:pt x="2489" y="357"/>
                  </a:cubicBezTo>
                  <a:cubicBezTo>
                    <a:pt x="2287" y="155"/>
                    <a:pt x="1977" y="0"/>
                    <a:pt x="1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1" name="Google Shape;10271;p59"/>
            <p:cNvSpPr/>
            <p:nvPr/>
          </p:nvSpPr>
          <p:spPr>
            <a:xfrm>
              <a:off x="5056640" y="3943969"/>
              <a:ext cx="90691" cy="77949"/>
            </a:xfrm>
            <a:custGeom>
              <a:avLst/>
              <a:gdLst/>
              <a:ahLst/>
              <a:cxnLst/>
              <a:rect l="l" t="t" r="r" b="b"/>
              <a:pathLst>
                <a:path w="2847" h="2447" extrusionOk="0">
                  <a:moveTo>
                    <a:pt x="1606" y="335"/>
                  </a:moveTo>
                  <a:cubicBezTo>
                    <a:pt x="1769" y="335"/>
                    <a:pt x="1941" y="385"/>
                    <a:pt x="2108" y="500"/>
                  </a:cubicBezTo>
                  <a:lnTo>
                    <a:pt x="894" y="1715"/>
                  </a:lnTo>
                  <a:cubicBezTo>
                    <a:pt x="468" y="1081"/>
                    <a:pt x="974" y="335"/>
                    <a:pt x="1606" y="335"/>
                  </a:cubicBezTo>
                  <a:close/>
                  <a:moveTo>
                    <a:pt x="2358" y="726"/>
                  </a:moveTo>
                  <a:cubicBezTo>
                    <a:pt x="2801" y="1367"/>
                    <a:pt x="2289" y="2127"/>
                    <a:pt x="1649" y="2127"/>
                  </a:cubicBezTo>
                  <a:cubicBezTo>
                    <a:pt x="1481" y="2127"/>
                    <a:pt x="1303" y="2074"/>
                    <a:pt x="1132" y="1953"/>
                  </a:cubicBezTo>
                  <a:lnTo>
                    <a:pt x="2358" y="726"/>
                  </a:lnTo>
                  <a:close/>
                  <a:moveTo>
                    <a:pt x="1620" y="0"/>
                  </a:moveTo>
                  <a:cubicBezTo>
                    <a:pt x="525" y="0"/>
                    <a:pt x="1" y="1357"/>
                    <a:pt x="763" y="2084"/>
                  </a:cubicBezTo>
                  <a:cubicBezTo>
                    <a:pt x="1006" y="2335"/>
                    <a:pt x="1310" y="2447"/>
                    <a:pt x="1610" y="2447"/>
                  </a:cubicBezTo>
                  <a:cubicBezTo>
                    <a:pt x="2237" y="2447"/>
                    <a:pt x="2846" y="1959"/>
                    <a:pt x="2846" y="1227"/>
                  </a:cubicBezTo>
                  <a:cubicBezTo>
                    <a:pt x="2846" y="560"/>
                    <a:pt x="2311" y="0"/>
                    <a:pt x="1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2" name="Google Shape;10272;p59"/>
            <p:cNvSpPr/>
            <p:nvPr/>
          </p:nvSpPr>
          <p:spPr>
            <a:xfrm>
              <a:off x="4975473" y="4050492"/>
              <a:ext cx="77790" cy="78300"/>
            </a:xfrm>
            <a:custGeom>
              <a:avLst/>
              <a:gdLst/>
              <a:ahLst/>
              <a:cxnLst/>
              <a:rect l="l" t="t" r="r" b="b"/>
              <a:pathLst>
                <a:path w="2442" h="2458" extrusionOk="0">
                  <a:moveTo>
                    <a:pt x="1941" y="740"/>
                  </a:moveTo>
                  <a:lnTo>
                    <a:pt x="1941" y="740"/>
                  </a:lnTo>
                  <a:cubicBezTo>
                    <a:pt x="2401" y="1388"/>
                    <a:pt x="1892" y="2132"/>
                    <a:pt x="1247" y="2132"/>
                  </a:cubicBezTo>
                  <a:cubicBezTo>
                    <a:pt x="1074" y="2132"/>
                    <a:pt x="892" y="2078"/>
                    <a:pt x="715" y="1954"/>
                  </a:cubicBezTo>
                  <a:lnTo>
                    <a:pt x="1941" y="740"/>
                  </a:lnTo>
                  <a:close/>
                  <a:moveTo>
                    <a:pt x="1226" y="1"/>
                  </a:moveTo>
                  <a:cubicBezTo>
                    <a:pt x="1024" y="1"/>
                    <a:pt x="816" y="53"/>
                    <a:pt x="620" y="169"/>
                  </a:cubicBezTo>
                  <a:cubicBezTo>
                    <a:pt x="537" y="216"/>
                    <a:pt x="513" y="323"/>
                    <a:pt x="560" y="395"/>
                  </a:cubicBezTo>
                  <a:cubicBezTo>
                    <a:pt x="585" y="444"/>
                    <a:pt x="643" y="476"/>
                    <a:pt x="700" y="476"/>
                  </a:cubicBezTo>
                  <a:cubicBezTo>
                    <a:pt x="726" y="476"/>
                    <a:pt x="752" y="469"/>
                    <a:pt x="775" y="454"/>
                  </a:cubicBezTo>
                  <a:cubicBezTo>
                    <a:pt x="918" y="383"/>
                    <a:pt x="1072" y="335"/>
                    <a:pt x="1227" y="335"/>
                  </a:cubicBezTo>
                  <a:cubicBezTo>
                    <a:pt x="1406" y="335"/>
                    <a:pt x="1572" y="407"/>
                    <a:pt x="1715" y="502"/>
                  </a:cubicBezTo>
                  <a:lnTo>
                    <a:pt x="489" y="1716"/>
                  </a:lnTo>
                  <a:cubicBezTo>
                    <a:pt x="346" y="1502"/>
                    <a:pt x="287" y="1276"/>
                    <a:pt x="358" y="1026"/>
                  </a:cubicBezTo>
                  <a:cubicBezTo>
                    <a:pt x="370" y="931"/>
                    <a:pt x="334" y="847"/>
                    <a:pt x="239" y="823"/>
                  </a:cubicBezTo>
                  <a:cubicBezTo>
                    <a:pt x="230" y="822"/>
                    <a:pt x="222" y="822"/>
                    <a:pt x="213" y="822"/>
                  </a:cubicBezTo>
                  <a:cubicBezTo>
                    <a:pt x="137" y="822"/>
                    <a:pt x="59" y="868"/>
                    <a:pt x="48" y="942"/>
                  </a:cubicBezTo>
                  <a:cubicBezTo>
                    <a:pt x="36" y="1038"/>
                    <a:pt x="13" y="1145"/>
                    <a:pt x="13" y="1228"/>
                  </a:cubicBezTo>
                  <a:cubicBezTo>
                    <a:pt x="1" y="1573"/>
                    <a:pt x="144" y="1883"/>
                    <a:pt x="358" y="2097"/>
                  </a:cubicBezTo>
                  <a:cubicBezTo>
                    <a:pt x="607" y="2346"/>
                    <a:pt x="911" y="2457"/>
                    <a:pt x="1209" y="2457"/>
                  </a:cubicBezTo>
                  <a:cubicBezTo>
                    <a:pt x="1839" y="2457"/>
                    <a:pt x="2442" y="1963"/>
                    <a:pt x="2442" y="1228"/>
                  </a:cubicBezTo>
                  <a:cubicBezTo>
                    <a:pt x="2442" y="515"/>
                    <a:pt x="1860" y="1"/>
                    <a:pt x="1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3" name="Google Shape;10273;p59"/>
            <p:cNvSpPr/>
            <p:nvPr/>
          </p:nvSpPr>
          <p:spPr>
            <a:xfrm>
              <a:off x="5056640" y="4051288"/>
              <a:ext cx="90691" cy="77949"/>
            </a:xfrm>
            <a:custGeom>
              <a:avLst/>
              <a:gdLst/>
              <a:ahLst/>
              <a:cxnLst/>
              <a:rect l="l" t="t" r="r" b="b"/>
              <a:pathLst>
                <a:path w="2847" h="2447" extrusionOk="0">
                  <a:moveTo>
                    <a:pt x="1606" y="326"/>
                  </a:moveTo>
                  <a:cubicBezTo>
                    <a:pt x="1771" y="326"/>
                    <a:pt x="1943" y="375"/>
                    <a:pt x="2108" y="489"/>
                  </a:cubicBezTo>
                  <a:lnTo>
                    <a:pt x="894" y="1715"/>
                  </a:lnTo>
                  <a:cubicBezTo>
                    <a:pt x="459" y="1054"/>
                    <a:pt x="976" y="326"/>
                    <a:pt x="1606" y="326"/>
                  </a:cubicBezTo>
                  <a:close/>
                  <a:moveTo>
                    <a:pt x="2358" y="715"/>
                  </a:moveTo>
                  <a:lnTo>
                    <a:pt x="2358" y="715"/>
                  </a:lnTo>
                  <a:cubicBezTo>
                    <a:pt x="2809" y="1363"/>
                    <a:pt x="2297" y="2107"/>
                    <a:pt x="1658" y="2107"/>
                  </a:cubicBezTo>
                  <a:cubicBezTo>
                    <a:pt x="1486" y="2107"/>
                    <a:pt x="1306" y="2053"/>
                    <a:pt x="1132" y="1929"/>
                  </a:cubicBezTo>
                  <a:lnTo>
                    <a:pt x="2358" y="715"/>
                  </a:lnTo>
                  <a:close/>
                  <a:moveTo>
                    <a:pt x="1620" y="1"/>
                  </a:moveTo>
                  <a:cubicBezTo>
                    <a:pt x="536" y="1"/>
                    <a:pt x="1" y="1322"/>
                    <a:pt x="763" y="2084"/>
                  </a:cubicBezTo>
                  <a:cubicBezTo>
                    <a:pt x="1005" y="2335"/>
                    <a:pt x="1309" y="2447"/>
                    <a:pt x="1609" y="2447"/>
                  </a:cubicBezTo>
                  <a:cubicBezTo>
                    <a:pt x="2236" y="2447"/>
                    <a:pt x="2846" y="1956"/>
                    <a:pt x="2846" y="1215"/>
                  </a:cubicBezTo>
                  <a:cubicBezTo>
                    <a:pt x="2846" y="548"/>
                    <a:pt x="2311" y="1"/>
                    <a:pt x="1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4" name="Google Shape;10274;p59"/>
            <p:cNvSpPr/>
            <p:nvPr/>
          </p:nvSpPr>
          <p:spPr>
            <a:xfrm>
              <a:off x="4942472" y="3809318"/>
              <a:ext cx="238976" cy="352762"/>
            </a:xfrm>
            <a:custGeom>
              <a:avLst/>
              <a:gdLst/>
              <a:ahLst/>
              <a:cxnLst/>
              <a:rect l="l" t="t" r="r" b="b"/>
              <a:pathLst>
                <a:path w="7502" h="11074" extrusionOk="0">
                  <a:moveTo>
                    <a:pt x="775" y="0"/>
                  </a:moveTo>
                  <a:cubicBezTo>
                    <a:pt x="334" y="0"/>
                    <a:pt x="1" y="358"/>
                    <a:pt x="1" y="774"/>
                  </a:cubicBezTo>
                  <a:lnTo>
                    <a:pt x="1" y="10299"/>
                  </a:lnTo>
                  <a:cubicBezTo>
                    <a:pt x="1" y="10728"/>
                    <a:pt x="358" y="11073"/>
                    <a:pt x="775" y="11073"/>
                  </a:cubicBezTo>
                  <a:lnTo>
                    <a:pt x="6728" y="11073"/>
                  </a:lnTo>
                  <a:cubicBezTo>
                    <a:pt x="7157" y="11073"/>
                    <a:pt x="7502" y="10716"/>
                    <a:pt x="7502" y="10299"/>
                  </a:cubicBezTo>
                  <a:lnTo>
                    <a:pt x="7502" y="4799"/>
                  </a:lnTo>
                  <a:cubicBezTo>
                    <a:pt x="7502" y="4703"/>
                    <a:pt x="7419" y="4632"/>
                    <a:pt x="7335" y="4632"/>
                  </a:cubicBezTo>
                  <a:cubicBezTo>
                    <a:pt x="7252" y="4632"/>
                    <a:pt x="7168" y="4703"/>
                    <a:pt x="7168" y="4799"/>
                  </a:cubicBezTo>
                  <a:lnTo>
                    <a:pt x="7168" y="10299"/>
                  </a:lnTo>
                  <a:cubicBezTo>
                    <a:pt x="7168" y="10561"/>
                    <a:pt x="6966" y="10752"/>
                    <a:pt x="6728" y="10752"/>
                  </a:cubicBezTo>
                  <a:lnTo>
                    <a:pt x="775" y="10752"/>
                  </a:lnTo>
                  <a:cubicBezTo>
                    <a:pt x="525" y="10752"/>
                    <a:pt x="322" y="10537"/>
                    <a:pt x="322" y="10299"/>
                  </a:cubicBezTo>
                  <a:lnTo>
                    <a:pt x="322" y="774"/>
                  </a:lnTo>
                  <a:cubicBezTo>
                    <a:pt x="322" y="524"/>
                    <a:pt x="537" y="334"/>
                    <a:pt x="775" y="334"/>
                  </a:cubicBezTo>
                  <a:lnTo>
                    <a:pt x="6728" y="334"/>
                  </a:lnTo>
                  <a:cubicBezTo>
                    <a:pt x="6978" y="334"/>
                    <a:pt x="7168" y="536"/>
                    <a:pt x="7168" y="774"/>
                  </a:cubicBezTo>
                  <a:lnTo>
                    <a:pt x="7168" y="3930"/>
                  </a:lnTo>
                  <a:cubicBezTo>
                    <a:pt x="7168" y="4025"/>
                    <a:pt x="7252" y="4096"/>
                    <a:pt x="7335" y="4096"/>
                  </a:cubicBezTo>
                  <a:cubicBezTo>
                    <a:pt x="7419" y="4096"/>
                    <a:pt x="7502" y="4025"/>
                    <a:pt x="7502" y="3930"/>
                  </a:cubicBezTo>
                  <a:lnTo>
                    <a:pt x="7502" y="774"/>
                  </a:lnTo>
                  <a:cubicBezTo>
                    <a:pt x="7502" y="346"/>
                    <a:pt x="7145" y="0"/>
                    <a:pt x="6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75" name="Google Shape;10275;p59"/>
          <p:cNvGrpSpPr/>
          <p:nvPr/>
        </p:nvGrpSpPr>
        <p:grpSpPr>
          <a:xfrm>
            <a:off x="6266525" y="3807788"/>
            <a:ext cx="260223" cy="353527"/>
            <a:chOff x="6266525" y="3807788"/>
            <a:chExt cx="260223" cy="353527"/>
          </a:xfrm>
        </p:grpSpPr>
        <p:sp>
          <p:nvSpPr>
            <p:cNvPr id="10276" name="Google Shape;10276;p59"/>
            <p:cNvSpPr/>
            <p:nvPr/>
          </p:nvSpPr>
          <p:spPr>
            <a:xfrm>
              <a:off x="6266525" y="3807788"/>
              <a:ext cx="260223" cy="353527"/>
            </a:xfrm>
            <a:custGeom>
              <a:avLst/>
              <a:gdLst/>
              <a:ahLst/>
              <a:cxnLst/>
              <a:rect l="l" t="t" r="r" b="b"/>
              <a:pathLst>
                <a:path w="8169" h="11098" extrusionOk="0">
                  <a:moveTo>
                    <a:pt x="1322" y="1"/>
                  </a:moveTo>
                  <a:cubicBezTo>
                    <a:pt x="1239" y="1"/>
                    <a:pt x="1167" y="84"/>
                    <a:pt x="1167" y="168"/>
                  </a:cubicBezTo>
                  <a:lnTo>
                    <a:pt x="1167" y="1430"/>
                  </a:lnTo>
                  <a:cubicBezTo>
                    <a:pt x="1167" y="1953"/>
                    <a:pt x="1525" y="2382"/>
                    <a:pt x="2013" y="2513"/>
                  </a:cubicBezTo>
                  <a:lnTo>
                    <a:pt x="2025" y="2513"/>
                  </a:lnTo>
                  <a:cubicBezTo>
                    <a:pt x="2001" y="2573"/>
                    <a:pt x="1977" y="2620"/>
                    <a:pt x="1953" y="2692"/>
                  </a:cubicBezTo>
                  <a:lnTo>
                    <a:pt x="1858" y="2906"/>
                  </a:lnTo>
                  <a:cubicBezTo>
                    <a:pt x="1846" y="2942"/>
                    <a:pt x="1834" y="2965"/>
                    <a:pt x="1822" y="3013"/>
                  </a:cubicBezTo>
                  <a:cubicBezTo>
                    <a:pt x="1108" y="2823"/>
                    <a:pt x="596" y="2180"/>
                    <a:pt x="596" y="1441"/>
                  </a:cubicBezTo>
                  <a:lnTo>
                    <a:pt x="596" y="168"/>
                  </a:lnTo>
                  <a:cubicBezTo>
                    <a:pt x="596" y="84"/>
                    <a:pt x="525" y="13"/>
                    <a:pt x="429" y="13"/>
                  </a:cubicBezTo>
                  <a:cubicBezTo>
                    <a:pt x="346" y="13"/>
                    <a:pt x="274" y="84"/>
                    <a:pt x="274" y="168"/>
                  </a:cubicBezTo>
                  <a:lnTo>
                    <a:pt x="274" y="1441"/>
                  </a:lnTo>
                  <a:cubicBezTo>
                    <a:pt x="274" y="2311"/>
                    <a:pt x="870" y="3120"/>
                    <a:pt x="1763" y="3346"/>
                  </a:cubicBezTo>
                  <a:cubicBezTo>
                    <a:pt x="1656" y="4192"/>
                    <a:pt x="2001" y="4906"/>
                    <a:pt x="2441" y="5251"/>
                  </a:cubicBezTo>
                  <a:cubicBezTo>
                    <a:pt x="2668" y="5430"/>
                    <a:pt x="2656" y="5859"/>
                    <a:pt x="2334" y="5942"/>
                  </a:cubicBezTo>
                  <a:cubicBezTo>
                    <a:pt x="2239" y="5978"/>
                    <a:pt x="2144" y="6002"/>
                    <a:pt x="2060" y="6049"/>
                  </a:cubicBezTo>
                  <a:cubicBezTo>
                    <a:pt x="1560" y="6264"/>
                    <a:pt x="1239" y="6716"/>
                    <a:pt x="1167" y="7252"/>
                  </a:cubicBezTo>
                  <a:cubicBezTo>
                    <a:pt x="513" y="7335"/>
                    <a:pt x="1" y="7895"/>
                    <a:pt x="1" y="8561"/>
                  </a:cubicBezTo>
                  <a:lnTo>
                    <a:pt x="1" y="10931"/>
                  </a:lnTo>
                  <a:cubicBezTo>
                    <a:pt x="1" y="11026"/>
                    <a:pt x="72" y="11097"/>
                    <a:pt x="167" y="11097"/>
                  </a:cubicBezTo>
                  <a:cubicBezTo>
                    <a:pt x="251" y="11097"/>
                    <a:pt x="334" y="11026"/>
                    <a:pt x="334" y="10931"/>
                  </a:cubicBezTo>
                  <a:lnTo>
                    <a:pt x="334" y="8561"/>
                  </a:lnTo>
                  <a:cubicBezTo>
                    <a:pt x="334" y="8014"/>
                    <a:pt x="775" y="7573"/>
                    <a:pt x="1322" y="7573"/>
                  </a:cubicBezTo>
                  <a:cubicBezTo>
                    <a:pt x="1417" y="7573"/>
                    <a:pt x="1489" y="7490"/>
                    <a:pt x="1489" y="7418"/>
                  </a:cubicBezTo>
                  <a:cubicBezTo>
                    <a:pt x="1525" y="6942"/>
                    <a:pt x="1787" y="6525"/>
                    <a:pt x="2203" y="6347"/>
                  </a:cubicBezTo>
                  <a:cubicBezTo>
                    <a:pt x="2275" y="6311"/>
                    <a:pt x="2370" y="6287"/>
                    <a:pt x="2441" y="6252"/>
                  </a:cubicBezTo>
                  <a:cubicBezTo>
                    <a:pt x="2656" y="6192"/>
                    <a:pt x="2811" y="6037"/>
                    <a:pt x="2894" y="5823"/>
                  </a:cubicBezTo>
                  <a:cubicBezTo>
                    <a:pt x="2918" y="5740"/>
                    <a:pt x="2930" y="5621"/>
                    <a:pt x="2918" y="5513"/>
                  </a:cubicBezTo>
                  <a:cubicBezTo>
                    <a:pt x="3030" y="5443"/>
                    <a:pt x="3291" y="5320"/>
                    <a:pt x="3612" y="5320"/>
                  </a:cubicBezTo>
                  <a:cubicBezTo>
                    <a:pt x="3837" y="5320"/>
                    <a:pt x="4092" y="5380"/>
                    <a:pt x="4346" y="5561"/>
                  </a:cubicBezTo>
                  <a:cubicBezTo>
                    <a:pt x="4596" y="5732"/>
                    <a:pt x="4893" y="5799"/>
                    <a:pt x="5206" y="5799"/>
                  </a:cubicBezTo>
                  <a:cubicBezTo>
                    <a:pt x="5699" y="5799"/>
                    <a:pt x="6231" y="5632"/>
                    <a:pt x="6668" y="5442"/>
                  </a:cubicBezTo>
                  <a:lnTo>
                    <a:pt x="6668" y="5442"/>
                  </a:lnTo>
                  <a:cubicBezTo>
                    <a:pt x="6561" y="6049"/>
                    <a:pt x="6323" y="6645"/>
                    <a:pt x="5966" y="7168"/>
                  </a:cubicBezTo>
                  <a:cubicBezTo>
                    <a:pt x="5299" y="8145"/>
                    <a:pt x="4406" y="8680"/>
                    <a:pt x="3251" y="8823"/>
                  </a:cubicBezTo>
                  <a:cubicBezTo>
                    <a:pt x="3184" y="8831"/>
                    <a:pt x="3118" y="8834"/>
                    <a:pt x="3053" y="8834"/>
                  </a:cubicBezTo>
                  <a:cubicBezTo>
                    <a:pt x="2468" y="8834"/>
                    <a:pt x="1959" y="8555"/>
                    <a:pt x="1691" y="8180"/>
                  </a:cubicBezTo>
                  <a:cubicBezTo>
                    <a:pt x="1668" y="8133"/>
                    <a:pt x="1608" y="8109"/>
                    <a:pt x="1548" y="8109"/>
                  </a:cubicBezTo>
                  <a:lnTo>
                    <a:pt x="1322" y="8109"/>
                  </a:lnTo>
                  <a:cubicBezTo>
                    <a:pt x="1072" y="8109"/>
                    <a:pt x="870" y="8311"/>
                    <a:pt x="870" y="8561"/>
                  </a:cubicBezTo>
                  <a:lnTo>
                    <a:pt x="870" y="10931"/>
                  </a:lnTo>
                  <a:cubicBezTo>
                    <a:pt x="870" y="11026"/>
                    <a:pt x="941" y="11097"/>
                    <a:pt x="1025" y="11097"/>
                  </a:cubicBezTo>
                  <a:cubicBezTo>
                    <a:pt x="1120" y="11097"/>
                    <a:pt x="1191" y="11026"/>
                    <a:pt x="1191" y="10931"/>
                  </a:cubicBezTo>
                  <a:lnTo>
                    <a:pt x="1191" y="8561"/>
                  </a:lnTo>
                  <a:cubicBezTo>
                    <a:pt x="1191" y="8490"/>
                    <a:pt x="1251" y="8430"/>
                    <a:pt x="1322" y="8430"/>
                  </a:cubicBezTo>
                  <a:lnTo>
                    <a:pt x="1477" y="8430"/>
                  </a:lnTo>
                  <a:cubicBezTo>
                    <a:pt x="1814" y="8852"/>
                    <a:pt x="2374" y="9161"/>
                    <a:pt x="3018" y="9161"/>
                  </a:cubicBezTo>
                  <a:cubicBezTo>
                    <a:pt x="3103" y="9161"/>
                    <a:pt x="3188" y="9156"/>
                    <a:pt x="3275" y="9145"/>
                  </a:cubicBezTo>
                  <a:cubicBezTo>
                    <a:pt x="7144" y="8716"/>
                    <a:pt x="8168" y="3763"/>
                    <a:pt x="5847" y="1834"/>
                  </a:cubicBezTo>
                  <a:cubicBezTo>
                    <a:pt x="5818" y="1810"/>
                    <a:pt x="5783" y="1800"/>
                    <a:pt x="5750" y="1800"/>
                  </a:cubicBezTo>
                  <a:cubicBezTo>
                    <a:pt x="5700" y="1800"/>
                    <a:pt x="5654" y="1823"/>
                    <a:pt x="5632" y="1858"/>
                  </a:cubicBezTo>
                  <a:cubicBezTo>
                    <a:pt x="5573" y="1930"/>
                    <a:pt x="5585" y="2037"/>
                    <a:pt x="5644" y="2073"/>
                  </a:cubicBezTo>
                  <a:cubicBezTo>
                    <a:pt x="6501" y="2787"/>
                    <a:pt x="6835" y="3966"/>
                    <a:pt x="6740" y="5073"/>
                  </a:cubicBezTo>
                  <a:cubicBezTo>
                    <a:pt x="6517" y="5175"/>
                    <a:pt x="5841" y="5487"/>
                    <a:pt x="5230" y="5487"/>
                  </a:cubicBezTo>
                  <a:cubicBezTo>
                    <a:pt x="4990" y="5487"/>
                    <a:pt x="4761" y="5439"/>
                    <a:pt x="4573" y="5311"/>
                  </a:cubicBezTo>
                  <a:cubicBezTo>
                    <a:pt x="4275" y="5113"/>
                    <a:pt x="3955" y="5013"/>
                    <a:pt x="3632" y="5013"/>
                  </a:cubicBezTo>
                  <a:cubicBezTo>
                    <a:pt x="3373" y="5013"/>
                    <a:pt x="3112" y="5077"/>
                    <a:pt x="2858" y="5204"/>
                  </a:cubicBezTo>
                  <a:cubicBezTo>
                    <a:pt x="2811" y="5109"/>
                    <a:pt x="2751" y="5037"/>
                    <a:pt x="2680" y="4978"/>
                  </a:cubicBezTo>
                  <a:cubicBezTo>
                    <a:pt x="2239" y="4632"/>
                    <a:pt x="1941" y="3847"/>
                    <a:pt x="2191" y="3013"/>
                  </a:cubicBezTo>
                  <a:cubicBezTo>
                    <a:pt x="2470" y="2062"/>
                    <a:pt x="3289" y="1530"/>
                    <a:pt x="4171" y="1530"/>
                  </a:cubicBezTo>
                  <a:cubicBezTo>
                    <a:pt x="4459" y="1530"/>
                    <a:pt x="4753" y="1586"/>
                    <a:pt x="5037" y="1703"/>
                  </a:cubicBezTo>
                  <a:cubicBezTo>
                    <a:pt x="5059" y="1713"/>
                    <a:pt x="5081" y="1717"/>
                    <a:pt x="5103" y="1717"/>
                  </a:cubicBezTo>
                  <a:cubicBezTo>
                    <a:pt x="5165" y="1717"/>
                    <a:pt x="5222" y="1682"/>
                    <a:pt x="5239" y="1620"/>
                  </a:cubicBezTo>
                  <a:cubicBezTo>
                    <a:pt x="5275" y="1525"/>
                    <a:pt x="5239" y="1430"/>
                    <a:pt x="5156" y="1406"/>
                  </a:cubicBezTo>
                  <a:cubicBezTo>
                    <a:pt x="4841" y="1276"/>
                    <a:pt x="4506" y="1210"/>
                    <a:pt x="4171" y="1210"/>
                  </a:cubicBezTo>
                  <a:cubicBezTo>
                    <a:pt x="3432" y="1210"/>
                    <a:pt x="2699" y="1535"/>
                    <a:pt x="2215" y="2215"/>
                  </a:cubicBezTo>
                  <a:cubicBezTo>
                    <a:pt x="2215" y="2215"/>
                    <a:pt x="2120" y="2192"/>
                    <a:pt x="2084" y="2180"/>
                  </a:cubicBezTo>
                  <a:cubicBezTo>
                    <a:pt x="1727" y="2108"/>
                    <a:pt x="1489" y="1787"/>
                    <a:pt x="1489" y="1430"/>
                  </a:cubicBezTo>
                  <a:lnTo>
                    <a:pt x="1489" y="168"/>
                  </a:lnTo>
                  <a:cubicBezTo>
                    <a:pt x="1489" y="84"/>
                    <a:pt x="1417"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7" name="Google Shape;10277;p59"/>
            <p:cNvSpPr/>
            <p:nvPr/>
          </p:nvSpPr>
          <p:spPr>
            <a:xfrm>
              <a:off x="6370085" y="4004652"/>
              <a:ext cx="13284" cy="13284"/>
            </a:xfrm>
            <a:custGeom>
              <a:avLst/>
              <a:gdLst/>
              <a:ahLst/>
              <a:cxnLst/>
              <a:rect l="l" t="t" r="r" b="b"/>
              <a:pathLst>
                <a:path w="417" h="417" extrusionOk="0">
                  <a:moveTo>
                    <a:pt x="202" y="0"/>
                  </a:moveTo>
                  <a:cubicBezTo>
                    <a:pt x="83" y="0"/>
                    <a:pt x="0" y="95"/>
                    <a:pt x="0" y="214"/>
                  </a:cubicBezTo>
                  <a:cubicBezTo>
                    <a:pt x="0" y="334"/>
                    <a:pt x="83" y="417"/>
                    <a:pt x="202" y="417"/>
                  </a:cubicBezTo>
                  <a:cubicBezTo>
                    <a:pt x="322" y="417"/>
                    <a:pt x="417" y="334"/>
                    <a:pt x="417" y="214"/>
                  </a:cubicBezTo>
                  <a:cubicBezTo>
                    <a:pt x="417" y="95"/>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8" name="Google Shape;10278;p59"/>
            <p:cNvSpPr/>
            <p:nvPr/>
          </p:nvSpPr>
          <p:spPr>
            <a:xfrm>
              <a:off x="6423156" y="4017904"/>
              <a:ext cx="13315" cy="13315"/>
            </a:xfrm>
            <a:custGeom>
              <a:avLst/>
              <a:gdLst/>
              <a:ahLst/>
              <a:cxnLst/>
              <a:rect l="l" t="t" r="r" b="b"/>
              <a:pathLst>
                <a:path w="418" h="418" extrusionOk="0">
                  <a:moveTo>
                    <a:pt x="203" y="1"/>
                  </a:moveTo>
                  <a:cubicBezTo>
                    <a:pt x="84" y="1"/>
                    <a:pt x="1" y="96"/>
                    <a:pt x="1" y="215"/>
                  </a:cubicBezTo>
                  <a:cubicBezTo>
                    <a:pt x="1" y="334"/>
                    <a:pt x="84" y="418"/>
                    <a:pt x="203" y="418"/>
                  </a:cubicBezTo>
                  <a:cubicBezTo>
                    <a:pt x="322" y="418"/>
                    <a:pt x="418" y="334"/>
                    <a:pt x="418" y="215"/>
                  </a:cubicBezTo>
                  <a:cubicBezTo>
                    <a:pt x="418" y="108"/>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9" name="Google Shape;10279;p59"/>
            <p:cNvSpPr/>
            <p:nvPr/>
          </p:nvSpPr>
          <p:spPr>
            <a:xfrm>
              <a:off x="6364766" y="4050906"/>
              <a:ext cx="13315" cy="13315"/>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96"/>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280" name="Google Shape;10280;p59"/>
          <p:cNvSpPr/>
          <p:nvPr/>
        </p:nvSpPr>
        <p:spPr>
          <a:xfrm>
            <a:off x="7972870" y="3808967"/>
            <a:ext cx="348749" cy="353877"/>
          </a:xfrm>
          <a:custGeom>
            <a:avLst/>
            <a:gdLst/>
            <a:ahLst/>
            <a:cxnLst/>
            <a:rect l="l" t="t" r="r" b="b"/>
            <a:pathLst>
              <a:path w="10948" h="11109" extrusionOk="0">
                <a:moveTo>
                  <a:pt x="2620" y="1738"/>
                </a:moveTo>
                <a:lnTo>
                  <a:pt x="2620" y="1738"/>
                </a:lnTo>
                <a:cubicBezTo>
                  <a:pt x="2108" y="2262"/>
                  <a:pt x="2227" y="3107"/>
                  <a:pt x="2846" y="3488"/>
                </a:cubicBezTo>
                <a:cubicBezTo>
                  <a:pt x="2763" y="3524"/>
                  <a:pt x="2704" y="3571"/>
                  <a:pt x="2644" y="3631"/>
                </a:cubicBezTo>
                <a:cubicBezTo>
                  <a:pt x="2275" y="2559"/>
                  <a:pt x="1989" y="2595"/>
                  <a:pt x="2144" y="2238"/>
                </a:cubicBezTo>
                <a:cubicBezTo>
                  <a:pt x="2227" y="2012"/>
                  <a:pt x="2406" y="1845"/>
                  <a:pt x="2620" y="1738"/>
                </a:cubicBezTo>
                <a:close/>
                <a:moveTo>
                  <a:pt x="8740" y="4214"/>
                </a:moveTo>
                <a:cubicBezTo>
                  <a:pt x="8716" y="4345"/>
                  <a:pt x="8716" y="4500"/>
                  <a:pt x="8704" y="4643"/>
                </a:cubicBezTo>
                <a:cubicBezTo>
                  <a:pt x="8645" y="4572"/>
                  <a:pt x="8561" y="4512"/>
                  <a:pt x="8466" y="4452"/>
                </a:cubicBezTo>
                <a:cubicBezTo>
                  <a:pt x="8573" y="4393"/>
                  <a:pt x="8657" y="4298"/>
                  <a:pt x="8740" y="4214"/>
                </a:cubicBezTo>
                <a:close/>
                <a:moveTo>
                  <a:pt x="8025" y="1650"/>
                </a:moveTo>
                <a:cubicBezTo>
                  <a:pt x="8616" y="1650"/>
                  <a:pt x="9126" y="2169"/>
                  <a:pt x="8990" y="2798"/>
                </a:cubicBezTo>
                <a:cubicBezTo>
                  <a:pt x="8978" y="2869"/>
                  <a:pt x="8954" y="2952"/>
                  <a:pt x="8942" y="3036"/>
                </a:cubicBezTo>
                <a:cubicBezTo>
                  <a:pt x="8764" y="2655"/>
                  <a:pt x="8383" y="2381"/>
                  <a:pt x="7919" y="2381"/>
                </a:cubicBezTo>
                <a:cubicBezTo>
                  <a:pt x="7823" y="2381"/>
                  <a:pt x="7752" y="2452"/>
                  <a:pt x="7752" y="2547"/>
                </a:cubicBezTo>
                <a:cubicBezTo>
                  <a:pt x="7752" y="2631"/>
                  <a:pt x="7823" y="2714"/>
                  <a:pt x="7919" y="2714"/>
                </a:cubicBezTo>
                <a:cubicBezTo>
                  <a:pt x="8359" y="2714"/>
                  <a:pt x="8716" y="3071"/>
                  <a:pt x="8716" y="3512"/>
                </a:cubicBezTo>
                <a:cubicBezTo>
                  <a:pt x="8716" y="3964"/>
                  <a:pt x="8359" y="4322"/>
                  <a:pt x="7919" y="4322"/>
                </a:cubicBezTo>
                <a:lnTo>
                  <a:pt x="7907" y="4322"/>
                </a:lnTo>
                <a:cubicBezTo>
                  <a:pt x="7765" y="4329"/>
                  <a:pt x="6934" y="4515"/>
                  <a:pt x="5736" y="4515"/>
                </a:cubicBezTo>
                <a:cubicBezTo>
                  <a:pt x="5124" y="4515"/>
                  <a:pt x="4417" y="4466"/>
                  <a:pt x="3656" y="4322"/>
                </a:cubicBezTo>
                <a:cubicBezTo>
                  <a:pt x="3643" y="4317"/>
                  <a:pt x="3630" y="4315"/>
                  <a:pt x="3617" y="4315"/>
                </a:cubicBezTo>
                <a:cubicBezTo>
                  <a:pt x="3557" y="4315"/>
                  <a:pt x="3497" y="4358"/>
                  <a:pt x="3477" y="4417"/>
                </a:cubicBezTo>
                <a:cubicBezTo>
                  <a:pt x="3454" y="4512"/>
                  <a:pt x="3513" y="4619"/>
                  <a:pt x="3597" y="4643"/>
                </a:cubicBezTo>
                <a:cubicBezTo>
                  <a:pt x="4287" y="4774"/>
                  <a:pt x="5001" y="4857"/>
                  <a:pt x="5740" y="4857"/>
                </a:cubicBezTo>
                <a:lnTo>
                  <a:pt x="5752" y="4857"/>
                </a:lnTo>
                <a:cubicBezTo>
                  <a:pt x="6466" y="4857"/>
                  <a:pt x="7204" y="4798"/>
                  <a:pt x="7930" y="4655"/>
                </a:cubicBezTo>
                <a:cubicBezTo>
                  <a:pt x="8359" y="4655"/>
                  <a:pt x="8716" y="5012"/>
                  <a:pt x="8716" y="5465"/>
                </a:cubicBezTo>
                <a:cubicBezTo>
                  <a:pt x="8716" y="5905"/>
                  <a:pt x="8359" y="6262"/>
                  <a:pt x="7919" y="6262"/>
                </a:cubicBezTo>
                <a:cubicBezTo>
                  <a:pt x="7807" y="6262"/>
                  <a:pt x="7088" y="6463"/>
                  <a:pt x="5862" y="6463"/>
                </a:cubicBezTo>
                <a:cubicBezTo>
                  <a:pt x="5249" y="6463"/>
                  <a:pt x="4509" y="6413"/>
                  <a:pt x="3656" y="6262"/>
                </a:cubicBezTo>
                <a:cubicBezTo>
                  <a:pt x="3649" y="6261"/>
                  <a:pt x="3642" y="6261"/>
                  <a:pt x="3635" y="6261"/>
                </a:cubicBezTo>
                <a:cubicBezTo>
                  <a:pt x="3557" y="6261"/>
                  <a:pt x="3476" y="6318"/>
                  <a:pt x="3466" y="6405"/>
                </a:cubicBezTo>
                <a:cubicBezTo>
                  <a:pt x="3454" y="6488"/>
                  <a:pt x="3513" y="6584"/>
                  <a:pt x="3597" y="6596"/>
                </a:cubicBezTo>
                <a:cubicBezTo>
                  <a:pt x="4370" y="6727"/>
                  <a:pt x="5121" y="6786"/>
                  <a:pt x="5835" y="6786"/>
                </a:cubicBezTo>
                <a:cubicBezTo>
                  <a:pt x="6549" y="6786"/>
                  <a:pt x="7240" y="6727"/>
                  <a:pt x="7930" y="6596"/>
                </a:cubicBezTo>
                <a:cubicBezTo>
                  <a:pt x="8240" y="6596"/>
                  <a:pt x="8526" y="6465"/>
                  <a:pt x="8728" y="6238"/>
                </a:cubicBezTo>
                <a:lnTo>
                  <a:pt x="8728" y="6238"/>
                </a:lnTo>
                <a:cubicBezTo>
                  <a:pt x="8752" y="6536"/>
                  <a:pt x="8776" y="6881"/>
                  <a:pt x="8573" y="7334"/>
                </a:cubicBezTo>
                <a:cubicBezTo>
                  <a:pt x="8454" y="7370"/>
                  <a:pt x="7919" y="7500"/>
                  <a:pt x="6811" y="7560"/>
                </a:cubicBezTo>
                <a:cubicBezTo>
                  <a:pt x="6523" y="7574"/>
                  <a:pt x="6226" y="7581"/>
                  <a:pt x="5931" y="7581"/>
                </a:cubicBezTo>
                <a:cubicBezTo>
                  <a:pt x="5238" y="7581"/>
                  <a:pt x="4559" y="7543"/>
                  <a:pt x="4049" y="7477"/>
                </a:cubicBezTo>
                <a:cubicBezTo>
                  <a:pt x="3263" y="7370"/>
                  <a:pt x="3108" y="7215"/>
                  <a:pt x="3096" y="7203"/>
                </a:cubicBezTo>
                <a:cubicBezTo>
                  <a:pt x="3108" y="6715"/>
                  <a:pt x="3108" y="6191"/>
                  <a:pt x="3061" y="5691"/>
                </a:cubicBezTo>
                <a:cubicBezTo>
                  <a:pt x="3188" y="5623"/>
                  <a:pt x="3279" y="5601"/>
                  <a:pt x="3418" y="5601"/>
                </a:cubicBezTo>
                <a:cubicBezTo>
                  <a:pt x="3697" y="5601"/>
                  <a:pt x="4168" y="5691"/>
                  <a:pt x="5502" y="5691"/>
                </a:cubicBezTo>
                <a:cubicBezTo>
                  <a:pt x="5568" y="5692"/>
                  <a:pt x="5637" y="5692"/>
                  <a:pt x="5707" y="5692"/>
                </a:cubicBezTo>
                <a:cubicBezTo>
                  <a:pt x="6578" y="5692"/>
                  <a:pt x="7678" y="5627"/>
                  <a:pt x="7799" y="5572"/>
                </a:cubicBezTo>
                <a:cubicBezTo>
                  <a:pt x="7962" y="5490"/>
                  <a:pt x="7887" y="5250"/>
                  <a:pt x="7716" y="5250"/>
                </a:cubicBezTo>
                <a:cubicBezTo>
                  <a:pt x="7712" y="5250"/>
                  <a:pt x="7708" y="5250"/>
                  <a:pt x="7704" y="5250"/>
                </a:cubicBezTo>
                <a:cubicBezTo>
                  <a:pt x="7043" y="5304"/>
                  <a:pt x="6391" y="5347"/>
                  <a:pt x="5732" y="5347"/>
                </a:cubicBezTo>
                <a:cubicBezTo>
                  <a:pt x="5655" y="5347"/>
                  <a:pt x="5579" y="5347"/>
                  <a:pt x="5502" y="5345"/>
                </a:cubicBezTo>
                <a:cubicBezTo>
                  <a:pt x="4394" y="5334"/>
                  <a:pt x="3501" y="5250"/>
                  <a:pt x="3442" y="5250"/>
                </a:cubicBezTo>
                <a:cubicBezTo>
                  <a:pt x="3287" y="5250"/>
                  <a:pt x="3144" y="5214"/>
                  <a:pt x="3001" y="5131"/>
                </a:cubicBezTo>
                <a:cubicBezTo>
                  <a:pt x="2942" y="4738"/>
                  <a:pt x="2870" y="4357"/>
                  <a:pt x="2787" y="4000"/>
                </a:cubicBezTo>
                <a:cubicBezTo>
                  <a:pt x="2930" y="3798"/>
                  <a:pt x="3168" y="3667"/>
                  <a:pt x="3418" y="3667"/>
                </a:cubicBezTo>
                <a:cubicBezTo>
                  <a:pt x="4180" y="3810"/>
                  <a:pt x="4954" y="3881"/>
                  <a:pt x="5716" y="3881"/>
                </a:cubicBezTo>
                <a:cubicBezTo>
                  <a:pt x="6549" y="3881"/>
                  <a:pt x="7383" y="3762"/>
                  <a:pt x="7764" y="3667"/>
                </a:cubicBezTo>
                <a:cubicBezTo>
                  <a:pt x="7955" y="3610"/>
                  <a:pt x="7912" y="3342"/>
                  <a:pt x="7727" y="3342"/>
                </a:cubicBezTo>
                <a:cubicBezTo>
                  <a:pt x="7716" y="3342"/>
                  <a:pt x="7704" y="3343"/>
                  <a:pt x="7692" y="3345"/>
                </a:cubicBezTo>
                <a:cubicBezTo>
                  <a:pt x="6962" y="3512"/>
                  <a:pt x="6268" y="3567"/>
                  <a:pt x="5659" y="3567"/>
                </a:cubicBezTo>
                <a:cubicBezTo>
                  <a:pt x="4443" y="3567"/>
                  <a:pt x="3573" y="3345"/>
                  <a:pt x="3454" y="3345"/>
                </a:cubicBezTo>
                <a:cubicBezTo>
                  <a:pt x="3001" y="3345"/>
                  <a:pt x="2644" y="2988"/>
                  <a:pt x="2644" y="2547"/>
                </a:cubicBezTo>
                <a:cubicBezTo>
                  <a:pt x="2644" y="2095"/>
                  <a:pt x="3001" y="1738"/>
                  <a:pt x="3454" y="1738"/>
                </a:cubicBezTo>
                <a:lnTo>
                  <a:pt x="3466" y="1738"/>
                </a:lnTo>
                <a:cubicBezTo>
                  <a:pt x="3477" y="1738"/>
                  <a:pt x="3477" y="1762"/>
                  <a:pt x="3501" y="1762"/>
                </a:cubicBezTo>
                <a:cubicBezTo>
                  <a:pt x="4177" y="2057"/>
                  <a:pt x="4860" y="2207"/>
                  <a:pt x="5550" y="2207"/>
                </a:cubicBezTo>
                <a:cubicBezTo>
                  <a:pt x="5724" y="2207"/>
                  <a:pt x="5898" y="2198"/>
                  <a:pt x="6073" y="2178"/>
                </a:cubicBezTo>
                <a:lnTo>
                  <a:pt x="6073" y="2178"/>
                </a:lnTo>
                <a:cubicBezTo>
                  <a:pt x="5883" y="2333"/>
                  <a:pt x="5621" y="2476"/>
                  <a:pt x="5359" y="2476"/>
                </a:cubicBezTo>
                <a:cubicBezTo>
                  <a:pt x="4811" y="2452"/>
                  <a:pt x="4228" y="2428"/>
                  <a:pt x="3644" y="2369"/>
                </a:cubicBezTo>
                <a:cubicBezTo>
                  <a:pt x="3638" y="2368"/>
                  <a:pt x="3632" y="2368"/>
                  <a:pt x="3626" y="2368"/>
                </a:cubicBezTo>
                <a:cubicBezTo>
                  <a:pt x="3549" y="2368"/>
                  <a:pt x="3477" y="2435"/>
                  <a:pt x="3466" y="2512"/>
                </a:cubicBezTo>
                <a:cubicBezTo>
                  <a:pt x="3454" y="2607"/>
                  <a:pt x="3525" y="2678"/>
                  <a:pt x="3620" y="2690"/>
                </a:cubicBezTo>
                <a:cubicBezTo>
                  <a:pt x="4398" y="2763"/>
                  <a:pt x="5186" y="2808"/>
                  <a:pt x="5967" y="2808"/>
                </a:cubicBezTo>
                <a:cubicBezTo>
                  <a:pt x="6346" y="2808"/>
                  <a:pt x="6724" y="2797"/>
                  <a:pt x="7097" y="2774"/>
                </a:cubicBezTo>
                <a:cubicBezTo>
                  <a:pt x="7192" y="2774"/>
                  <a:pt x="7264" y="2678"/>
                  <a:pt x="7252" y="2595"/>
                </a:cubicBezTo>
                <a:cubicBezTo>
                  <a:pt x="7252" y="2507"/>
                  <a:pt x="7170" y="2439"/>
                  <a:pt x="7092" y="2439"/>
                </a:cubicBezTo>
                <a:cubicBezTo>
                  <a:pt x="7085" y="2439"/>
                  <a:pt x="7079" y="2439"/>
                  <a:pt x="7073" y="2440"/>
                </a:cubicBezTo>
                <a:cubicBezTo>
                  <a:pt x="6787" y="2452"/>
                  <a:pt x="6502" y="2476"/>
                  <a:pt x="6216" y="2476"/>
                </a:cubicBezTo>
                <a:cubicBezTo>
                  <a:pt x="6371" y="2357"/>
                  <a:pt x="6502" y="2214"/>
                  <a:pt x="6597" y="2083"/>
                </a:cubicBezTo>
                <a:cubicBezTo>
                  <a:pt x="6930" y="2012"/>
                  <a:pt x="7264" y="1893"/>
                  <a:pt x="7609" y="1738"/>
                </a:cubicBezTo>
                <a:cubicBezTo>
                  <a:pt x="7747" y="1678"/>
                  <a:pt x="7888" y="1650"/>
                  <a:pt x="8025" y="1650"/>
                </a:cubicBezTo>
                <a:close/>
                <a:moveTo>
                  <a:pt x="8009" y="0"/>
                </a:moveTo>
                <a:cubicBezTo>
                  <a:pt x="7651" y="0"/>
                  <a:pt x="7281" y="75"/>
                  <a:pt x="6918" y="238"/>
                </a:cubicBezTo>
                <a:cubicBezTo>
                  <a:pt x="6448" y="446"/>
                  <a:pt x="5987" y="550"/>
                  <a:pt x="5525" y="550"/>
                </a:cubicBezTo>
                <a:cubicBezTo>
                  <a:pt x="5064" y="550"/>
                  <a:pt x="4603" y="446"/>
                  <a:pt x="4132" y="238"/>
                </a:cubicBezTo>
                <a:cubicBezTo>
                  <a:pt x="3787" y="81"/>
                  <a:pt x="3416" y="3"/>
                  <a:pt x="3046" y="3"/>
                </a:cubicBezTo>
                <a:cubicBezTo>
                  <a:pt x="2714" y="3"/>
                  <a:pt x="2383" y="66"/>
                  <a:pt x="2073" y="190"/>
                </a:cubicBezTo>
                <a:cubicBezTo>
                  <a:pt x="739" y="714"/>
                  <a:pt x="1" y="2262"/>
                  <a:pt x="775" y="3488"/>
                </a:cubicBezTo>
                <a:cubicBezTo>
                  <a:pt x="977" y="3810"/>
                  <a:pt x="1144" y="4214"/>
                  <a:pt x="1251" y="4703"/>
                </a:cubicBezTo>
                <a:cubicBezTo>
                  <a:pt x="1261" y="4779"/>
                  <a:pt x="1323" y="4832"/>
                  <a:pt x="1391" y="4832"/>
                </a:cubicBezTo>
                <a:cubicBezTo>
                  <a:pt x="1408" y="4832"/>
                  <a:pt x="1425" y="4829"/>
                  <a:pt x="1442" y="4822"/>
                </a:cubicBezTo>
                <a:cubicBezTo>
                  <a:pt x="1525" y="4810"/>
                  <a:pt x="1584" y="4714"/>
                  <a:pt x="1561" y="4631"/>
                </a:cubicBezTo>
                <a:cubicBezTo>
                  <a:pt x="1442" y="4119"/>
                  <a:pt x="1263" y="3679"/>
                  <a:pt x="1037" y="3321"/>
                </a:cubicBezTo>
                <a:cubicBezTo>
                  <a:pt x="198" y="2014"/>
                  <a:pt x="1460" y="347"/>
                  <a:pt x="3047" y="347"/>
                </a:cubicBezTo>
                <a:cubicBezTo>
                  <a:pt x="3353" y="347"/>
                  <a:pt x="3672" y="409"/>
                  <a:pt x="3989" y="547"/>
                </a:cubicBezTo>
                <a:cubicBezTo>
                  <a:pt x="4501" y="779"/>
                  <a:pt x="5007" y="895"/>
                  <a:pt x="5513" y="895"/>
                </a:cubicBezTo>
                <a:cubicBezTo>
                  <a:pt x="6019" y="895"/>
                  <a:pt x="6525" y="779"/>
                  <a:pt x="7037" y="547"/>
                </a:cubicBezTo>
                <a:cubicBezTo>
                  <a:pt x="7358" y="404"/>
                  <a:pt x="7683" y="338"/>
                  <a:pt x="7998" y="338"/>
                </a:cubicBezTo>
                <a:cubicBezTo>
                  <a:pt x="9380" y="338"/>
                  <a:pt x="10560" y="1602"/>
                  <a:pt x="10240" y="3095"/>
                </a:cubicBezTo>
                <a:cubicBezTo>
                  <a:pt x="10026" y="4024"/>
                  <a:pt x="9954" y="5072"/>
                  <a:pt x="10014" y="6346"/>
                </a:cubicBezTo>
                <a:cubicBezTo>
                  <a:pt x="10074" y="7655"/>
                  <a:pt x="9359" y="8858"/>
                  <a:pt x="8169" y="9405"/>
                </a:cubicBezTo>
                <a:cubicBezTo>
                  <a:pt x="8049" y="9465"/>
                  <a:pt x="8097" y="9501"/>
                  <a:pt x="7752" y="10513"/>
                </a:cubicBezTo>
                <a:cubicBezTo>
                  <a:pt x="7704" y="10596"/>
                  <a:pt x="7633" y="10763"/>
                  <a:pt x="7538" y="10763"/>
                </a:cubicBezTo>
                <a:cubicBezTo>
                  <a:pt x="7478" y="10763"/>
                  <a:pt x="7478" y="10763"/>
                  <a:pt x="7418" y="10668"/>
                </a:cubicBezTo>
                <a:cubicBezTo>
                  <a:pt x="7276" y="10406"/>
                  <a:pt x="7264" y="10191"/>
                  <a:pt x="7145" y="9822"/>
                </a:cubicBezTo>
                <a:cubicBezTo>
                  <a:pt x="7002" y="9298"/>
                  <a:pt x="7240" y="8751"/>
                  <a:pt x="7740" y="8513"/>
                </a:cubicBezTo>
                <a:cubicBezTo>
                  <a:pt x="8538" y="8143"/>
                  <a:pt x="9062" y="7310"/>
                  <a:pt x="9014" y="6381"/>
                </a:cubicBezTo>
                <a:cubicBezTo>
                  <a:pt x="8954" y="5036"/>
                  <a:pt x="9026" y="3881"/>
                  <a:pt x="9252" y="2869"/>
                </a:cubicBezTo>
                <a:cubicBezTo>
                  <a:pt x="9446" y="2036"/>
                  <a:pt x="8772" y="1321"/>
                  <a:pt x="7976" y="1321"/>
                </a:cubicBezTo>
                <a:cubicBezTo>
                  <a:pt x="7793" y="1321"/>
                  <a:pt x="7605" y="1358"/>
                  <a:pt x="7418" y="1440"/>
                </a:cubicBezTo>
                <a:cubicBezTo>
                  <a:pt x="6781" y="1726"/>
                  <a:pt x="6139" y="1869"/>
                  <a:pt x="5497" y="1869"/>
                </a:cubicBezTo>
                <a:cubicBezTo>
                  <a:pt x="4856" y="1869"/>
                  <a:pt x="4216" y="1726"/>
                  <a:pt x="3585" y="1440"/>
                </a:cubicBezTo>
                <a:cubicBezTo>
                  <a:pt x="3395" y="1357"/>
                  <a:pt x="3206" y="1320"/>
                  <a:pt x="3026" y="1320"/>
                </a:cubicBezTo>
                <a:cubicBezTo>
                  <a:pt x="2152" y="1320"/>
                  <a:pt x="1473" y="2184"/>
                  <a:pt x="1858" y="2786"/>
                </a:cubicBezTo>
                <a:cubicBezTo>
                  <a:pt x="2096" y="3143"/>
                  <a:pt x="2275" y="3560"/>
                  <a:pt x="2406" y="4036"/>
                </a:cubicBezTo>
                <a:cubicBezTo>
                  <a:pt x="2858" y="5536"/>
                  <a:pt x="2763" y="7417"/>
                  <a:pt x="2620" y="8965"/>
                </a:cubicBezTo>
                <a:cubicBezTo>
                  <a:pt x="2587" y="9208"/>
                  <a:pt x="2380" y="9409"/>
                  <a:pt x="2142" y="9409"/>
                </a:cubicBezTo>
                <a:cubicBezTo>
                  <a:pt x="2123" y="9409"/>
                  <a:pt x="2104" y="9408"/>
                  <a:pt x="2084" y="9405"/>
                </a:cubicBezTo>
                <a:cubicBezTo>
                  <a:pt x="1811" y="9382"/>
                  <a:pt x="1620" y="9144"/>
                  <a:pt x="1632" y="8870"/>
                </a:cubicBezTo>
                <a:cubicBezTo>
                  <a:pt x="1739" y="7870"/>
                  <a:pt x="1823" y="6596"/>
                  <a:pt x="1680" y="5417"/>
                </a:cubicBezTo>
                <a:cubicBezTo>
                  <a:pt x="1668" y="5334"/>
                  <a:pt x="1584" y="5274"/>
                  <a:pt x="1501" y="5274"/>
                </a:cubicBezTo>
                <a:cubicBezTo>
                  <a:pt x="1406" y="5286"/>
                  <a:pt x="1346" y="5357"/>
                  <a:pt x="1346" y="5453"/>
                </a:cubicBezTo>
                <a:cubicBezTo>
                  <a:pt x="1489" y="6596"/>
                  <a:pt x="1394" y="7858"/>
                  <a:pt x="1311" y="8846"/>
                </a:cubicBezTo>
                <a:cubicBezTo>
                  <a:pt x="1263" y="9286"/>
                  <a:pt x="1584" y="9691"/>
                  <a:pt x="2037" y="9739"/>
                </a:cubicBezTo>
                <a:cubicBezTo>
                  <a:pt x="2059" y="9741"/>
                  <a:pt x="2082" y="9742"/>
                  <a:pt x="2104" y="9742"/>
                </a:cubicBezTo>
                <a:cubicBezTo>
                  <a:pt x="2518" y="9742"/>
                  <a:pt x="2885" y="9430"/>
                  <a:pt x="2930" y="9001"/>
                </a:cubicBezTo>
                <a:cubicBezTo>
                  <a:pt x="2977" y="8501"/>
                  <a:pt x="3013" y="8024"/>
                  <a:pt x="3037" y="7596"/>
                </a:cubicBezTo>
                <a:cubicBezTo>
                  <a:pt x="3347" y="7739"/>
                  <a:pt x="3918" y="7810"/>
                  <a:pt x="4251" y="7846"/>
                </a:cubicBezTo>
                <a:cubicBezTo>
                  <a:pt x="4751" y="7905"/>
                  <a:pt x="5347" y="7917"/>
                  <a:pt x="5942" y="7917"/>
                </a:cubicBezTo>
                <a:cubicBezTo>
                  <a:pt x="6323" y="7917"/>
                  <a:pt x="6716" y="7905"/>
                  <a:pt x="7085" y="7893"/>
                </a:cubicBezTo>
                <a:cubicBezTo>
                  <a:pt x="7442" y="7870"/>
                  <a:pt x="7883" y="7834"/>
                  <a:pt x="8228" y="7751"/>
                </a:cubicBezTo>
                <a:lnTo>
                  <a:pt x="8228" y="7751"/>
                </a:lnTo>
                <a:cubicBezTo>
                  <a:pt x="7990" y="8036"/>
                  <a:pt x="7764" y="8143"/>
                  <a:pt x="7561" y="8262"/>
                </a:cubicBezTo>
                <a:cubicBezTo>
                  <a:pt x="6966" y="8560"/>
                  <a:pt x="6656" y="9275"/>
                  <a:pt x="6835" y="9929"/>
                </a:cubicBezTo>
                <a:cubicBezTo>
                  <a:pt x="6930" y="10287"/>
                  <a:pt x="6966" y="10537"/>
                  <a:pt x="7145" y="10846"/>
                </a:cubicBezTo>
                <a:cubicBezTo>
                  <a:pt x="7204" y="10965"/>
                  <a:pt x="7299" y="11108"/>
                  <a:pt x="7526" y="11108"/>
                </a:cubicBezTo>
                <a:cubicBezTo>
                  <a:pt x="7533" y="11108"/>
                  <a:pt x="7540" y="11109"/>
                  <a:pt x="7547" y="11109"/>
                </a:cubicBezTo>
                <a:cubicBezTo>
                  <a:pt x="7806" y="11109"/>
                  <a:pt x="7934" y="10899"/>
                  <a:pt x="8049" y="10668"/>
                </a:cubicBezTo>
                <a:cubicBezTo>
                  <a:pt x="8073" y="10596"/>
                  <a:pt x="8014" y="10763"/>
                  <a:pt x="8359" y="9691"/>
                </a:cubicBezTo>
                <a:cubicBezTo>
                  <a:pt x="9645" y="9060"/>
                  <a:pt x="10419" y="7751"/>
                  <a:pt x="10335" y="6346"/>
                </a:cubicBezTo>
                <a:cubicBezTo>
                  <a:pt x="10276" y="5107"/>
                  <a:pt x="10335" y="4060"/>
                  <a:pt x="10550" y="3190"/>
                </a:cubicBezTo>
                <a:cubicBezTo>
                  <a:pt x="10948" y="1453"/>
                  <a:pt x="9589" y="0"/>
                  <a:pt x="8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281" name="Google Shape;10281;p59"/>
          <p:cNvGrpSpPr/>
          <p:nvPr/>
        </p:nvGrpSpPr>
        <p:grpSpPr>
          <a:xfrm>
            <a:off x="7184363" y="3809604"/>
            <a:ext cx="202184" cy="352762"/>
            <a:chOff x="7184363" y="3809604"/>
            <a:chExt cx="202184" cy="352762"/>
          </a:xfrm>
        </p:grpSpPr>
        <p:sp>
          <p:nvSpPr>
            <p:cNvPr id="10282" name="Google Shape;10282;p59"/>
            <p:cNvSpPr/>
            <p:nvPr/>
          </p:nvSpPr>
          <p:spPr>
            <a:xfrm>
              <a:off x="7273111" y="3823716"/>
              <a:ext cx="23541" cy="23573"/>
            </a:xfrm>
            <a:custGeom>
              <a:avLst/>
              <a:gdLst/>
              <a:ahLst/>
              <a:cxnLst/>
              <a:rect l="l" t="t" r="r" b="b"/>
              <a:pathLst>
                <a:path w="739" h="740" extrusionOk="0">
                  <a:moveTo>
                    <a:pt x="370" y="1"/>
                  </a:moveTo>
                  <a:cubicBezTo>
                    <a:pt x="287" y="1"/>
                    <a:pt x="203" y="72"/>
                    <a:pt x="203" y="168"/>
                  </a:cubicBezTo>
                  <a:lnTo>
                    <a:pt x="203" y="203"/>
                  </a:lnTo>
                  <a:lnTo>
                    <a:pt x="168" y="203"/>
                  </a:lnTo>
                  <a:cubicBezTo>
                    <a:pt x="72" y="203"/>
                    <a:pt x="1" y="287"/>
                    <a:pt x="1" y="370"/>
                  </a:cubicBezTo>
                  <a:cubicBezTo>
                    <a:pt x="1" y="465"/>
                    <a:pt x="72" y="537"/>
                    <a:pt x="168" y="537"/>
                  </a:cubicBezTo>
                  <a:lnTo>
                    <a:pt x="203" y="537"/>
                  </a:lnTo>
                  <a:lnTo>
                    <a:pt x="203" y="584"/>
                  </a:lnTo>
                  <a:cubicBezTo>
                    <a:pt x="203" y="668"/>
                    <a:pt x="287" y="739"/>
                    <a:pt x="370" y="739"/>
                  </a:cubicBezTo>
                  <a:cubicBezTo>
                    <a:pt x="453" y="739"/>
                    <a:pt x="537" y="668"/>
                    <a:pt x="537" y="584"/>
                  </a:cubicBezTo>
                  <a:lnTo>
                    <a:pt x="537" y="537"/>
                  </a:lnTo>
                  <a:lnTo>
                    <a:pt x="572" y="537"/>
                  </a:lnTo>
                  <a:cubicBezTo>
                    <a:pt x="668" y="537"/>
                    <a:pt x="739" y="465"/>
                    <a:pt x="739" y="370"/>
                  </a:cubicBezTo>
                  <a:cubicBezTo>
                    <a:pt x="739" y="287"/>
                    <a:pt x="668" y="203"/>
                    <a:pt x="572" y="203"/>
                  </a:cubicBezTo>
                  <a:lnTo>
                    <a:pt x="537" y="203"/>
                  </a:lnTo>
                  <a:lnTo>
                    <a:pt x="537" y="168"/>
                  </a:lnTo>
                  <a:cubicBezTo>
                    <a:pt x="537" y="72"/>
                    <a:pt x="453" y="1"/>
                    <a:pt x="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3" name="Google Shape;10283;p59"/>
            <p:cNvSpPr/>
            <p:nvPr/>
          </p:nvSpPr>
          <p:spPr>
            <a:xfrm>
              <a:off x="7184363" y="3809604"/>
              <a:ext cx="202184" cy="352762"/>
            </a:xfrm>
            <a:custGeom>
              <a:avLst/>
              <a:gdLst/>
              <a:ahLst/>
              <a:cxnLst/>
              <a:rect l="l" t="t" r="r" b="b"/>
              <a:pathLst>
                <a:path w="6347" h="11074" extrusionOk="0">
                  <a:moveTo>
                    <a:pt x="3159" y="310"/>
                  </a:moveTo>
                  <a:cubicBezTo>
                    <a:pt x="3623" y="310"/>
                    <a:pt x="4091" y="390"/>
                    <a:pt x="4561" y="551"/>
                  </a:cubicBezTo>
                  <a:lnTo>
                    <a:pt x="4347" y="1087"/>
                  </a:lnTo>
                  <a:lnTo>
                    <a:pt x="4168" y="1563"/>
                  </a:lnTo>
                  <a:cubicBezTo>
                    <a:pt x="3841" y="1450"/>
                    <a:pt x="3510" y="1393"/>
                    <a:pt x="3175" y="1393"/>
                  </a:cubicBezTo>
                  <a:cubicBezTo>
                    <a:pt x="2840" y="1393"/>
                    <a:pt x="2501" y="1450"/>
                    <a:pt x="2156" y="1563"/>
                  </a:cubicBezTo>
                  <a:lnTo>
                    <a:pt x="1775" y="551"/>
                  </a:lnTo>
                  <a:cubicBezTo>
                    <a:pt x="2233" y="390"/>
                    <a:pt x="2695" y="310"/>
                    <a:pt x="3159" y="310"/>
                  </a:cubicBezTo>
                  <a:close/>
                  <a:moveTo>
                    <a:pt x="4549" y="1408"/>
                  </a:moveTo>
                  <a:cubicBezTo>
                    <a:pt x="5025" y="1754"/>
                    <a:pt x="5299" y="2301"/>
                    <a:pt x="5299" y="2885"/>
                  </a:cubicBezTo>
                  <a:cubicBezTo>
                    <a:pt x="5299" y="3289"/>
                    <a:pt x="5287" y="4075"/>
                    <a:pt x="5240" y="4421"/>
                  </a:cubicBezTo>
                  <a:cubicBezTo>
                    <a:pt x="5192" y="4849"/>
                    <a:pt x="4835" y="5171"/>
                    <a:pt x="4406" y="5171"/>
                  </a:cubicBezTo>
                  <a:lnTo>
                    <a:pt x="4001" y="5171"/>
                  </a:lnTo>
                  <a:cubicBezTo>
                    <a:pt x="4430" y="4897"/>
                    <a:pt x="4716" y="4397"/>
                    <a:pt x="4716" y="3849"/>
                  </a:cubicBezTo>
                  <a:lnTo>
                    <a:pt x="4716" y="2611"/>
                  </a:lnTo>
                  <a:cubicBezTo>
                    <a:pt x="4716" y="2599"/>
                    <a:pt x="4692" y="2551"/>
                    <a:pt x="4692" y="2527"/>
                  </a:cubicBezTo>
                  <a:lnTo>
                    <a:pt x="4632" y="2468"/>
                  </a:lnTo>
                  <a:cubicBezTo>
                    <a:pt x="4168" y="2277"/>
                    <a:pt x="3799" y="1896"/>
                    <a:pt x="3799" y="1885"/>
                  </a:cubicBezTo>
                  <a:cubicBezTo>
                    <a:pt x="3767" y="1853"/>
                    <a:pt x="3726" y="1838"/>
                    <a:pt x="3685" y="1838"/>
                  </a:cubicBezTo>
                  <a:cubicBezTo>
                    <a:pt x="3649" y="1838"/>
                    <a:pt x="3613" y="1850"/>
                    <a:pt x="3585" y="1873"/>
                  </a:cubicBezTo>
                  <a:cubicBezTo>
                    <a:pt x="3585" y="1873"/>
                    <a:pt x="2823" y="2432"/>
                    <a:pt x="1727" y="2456"/>
                  </a:cubicBezTo>
                  <a:cubicBezTo>
                    <a:pt x="1715" y="2456"/>
                    <a:pt x="1680" y="2468"/>
                    <a:pt x="1668" y="2480"/>
                  </a:cubicBezTo>
                  <a:cubicBezTo>
                    <a:pt x="1656" y="2492"/>
                    <a:pt x="1620" y="2492"/>
                    <a:pt x="1608" y="2516"/>
                  </a:cubicBezTo>
                  <a:cubicBezTo>
                    <a:pt x="1596" y="2527"/>
                    <a:pt x="1596" y="2551"/>
                    <a:pt x="1572" y="2575"/>
                  </a:cubicBezTo>
                  <a:cubicBezTo>
                    <a:pt x="1560" y="2587"/>
                    <a:pt x="1549" y="2599"/>
                    <a:pt x="1549" y="2635"/>
                  </a:cubicBezTo>
                  <a:lnTo>
                    <a:pt x="1549" y="3087"/>
                  </a:lnTo>
                  <a:cubicBezTo>
                    <a:pt x="1549" y="3182"/>
                    <a:pt x="1620" y="3254"/>
                    <a:pt x="1715" y="3254"/>
                  </a:cubicBezTo>
                  <a:cubicBezTo>
                    <a:pt x="1799" y="3254"/>
                    <a:pt x="1870" y="3182"/>
                    <a:pt x="1870" y="3087"/>
                  </a:cubicBezTo>
                  <a:lnTo>
                    <a:pt x="1870" y="2778"/>
                  </a:lnTo>
                  <a:cubicBezTo>
                    <a:pt x="2751" y="2730"/>
                    <a:pt x="3406" y="2397"/>
                    <a:pt x="3644" y="2230"/>
                  </a:cubicBezTo>
                  <a:cubicBezTo>
                    <a:pt x="3775" y="2349"/>
                    <a:pt x="4061" y="2575"/>
                    <a:pt x="4394" y="2730"/>
                  </a:cubicBezTo>
                  <a:lnTo>
                    <a:pt x="4394" y="3861"/>
                  </a:lnTo>
                  <a:cubicBezTo>
                    <a:pt x="4394" y="4563"/>
                    <a:pt x="3823" y="5135"/>
                    <a:pt x="3120" y="5135"/>
                  </a:cubicBezTo>
                  <a:cubicBezTo>
                    <a:pt x="2430" y="5135"/>
                    <a:pt x="1858" y="4563"/>
                    <a:pt x="1858" y="3861"/>
                  </a:cubicBezTo>
                  <a:cubicBezTo>
                    <a:pt x="1858" y="3778"/>
                    <a:pt x="1787" y="3706"/>
                    <a:pt x="1691" y="3706"/>
                  </a:cubicBezTo>
                  <a:cubicBezTo>
                    <a:pt x="1608" y="3706"/>
                    <a:pt x="1537" y="3778"/>
                    <a:pt x="1537" y="3861"/>
                  </a:cubicBezTo>
                  <a:cubicBezTo>
                    <a:pt x="1537" y="4421"/>
                    <a:pt x="1811" y="4909"/>
                    <a:pt x="2251" y="5194"/>
                  </a:cubicBezTo>
                  <a:lnTo>
                    <a:pt x="1846" y="5194"/>
                  </a:lnTo>
                  <a:cubicBezTo>
                    <a:pt x="1441" y="5171"/>
                    <a:pt x="1084" y="4849"/>
                    <a:pt x="1049" y="4421"/>
                  </a:cubicBezTo>
                  <a:cubicBezTo>
                    <a:pt x="1013" y="4063"/>
                    <a:pt x="989" y="3289"/>
                    <a:pt x="989" y="2885"/>
                  </a:cubicBezTo>
                  <a:cubicBezTo>
                    <a:pt x="989" y="2289"/>
                    <a:pt x="1263" y="1754"/>
                    <a:pt x="1727" y="1408"/>
                  </a:cubicBezTo>
                  <a:cubicBezTo>
                    <a:pt x="1906" y="1825"/>
                    <a:pt x="1858" y="1885"/>
                    <a:pt x="2001" y="1932"/>
                  </a:cubicBezTo>
                  <a:cubicBezTo>
                    <a:pt x="2013" y="1932"/>
                    <a:pt x="2025" y="1944"/>
                    <a:pt x="2037" y="1944"/>
                  </a:cubicBezTo>
                  <a:cubicBezTo>
                    <a:pt x="2049" y="1944"/>
                    <a:pt x="2084" y="1944"/>
                    <a:pt x="2096" y="1932"/>
                  </a:cubicBezTo>
                  <a:cubicBezTo>
                    <a:pt x="2453" y="1795"/>
                    <a:pt x="2802" y="1727"/>
                    <a:pt x="3147" y="1727"/>
                  </a:cubicBezTo>
                  <a:cubicBezTo>
                    <a:pt x="3492" y="1727"/>
                    <a:pt x="3835" y="1795"/>
                    <a:pt x="4180" y="1932"/>
                  </a:cubicBezTo>
                  <a:cubicBezTo>
                    <a:pt x="4204" y="1938"/>
                    <a:pt x="4227" y="1941"/>
                    <a:pt x="4248" y="1941"/>
                  </a:cubicBezTo>
                  <a:cubicBezTo>
                    <a:pt x="4269" y="1941"/>
                    <a:pt x="4287" y="1938"/>
                    <a:pt x="4299" y="1932"/>
                  </a:cubicBezTo>
                  <a:cubicBezTo>
                    <a:pt x="4347" y="1920"/>
                    <a:pt x="4382" y="1885"/>
                    <a:pt x="4394" y="1837"/>
                  </a:cubicBezTo>
                  <a:lnTo>
                    <a:pt x="4549" y="1408"/>
                  </a:lnTo>
                  <a:close/>
                  <a:moveTo>
                    <a:pt x="3573" y="5445"/>
                  </a:moveTo>
                  <a:lnTo>
                    <a:pt x="3573" y="6028"/>
                  </a:lnTo>
                  <a:cubicBezTo>
                    <a:pt x="3573" y="6111"/>
                    <a:pt x="3644" y="6183"/>
                    <a:pt x="3739" y="6183"/>
                  </a:cubicBezTo>
                  <a:lnTo>
                    <a:pt x="3954" y="6183"/>
                  </a:lnTo>
                  <a:lnTo>
                    <a:pt x="3156" y="7576"/>
                  </a:lnTo>
                  <a:lnTo>
                    <a:pt x="2346" y="6183"/>
                  </a:lnTo>
                  <a:lnTo>
                    <a:pt x="2573" y="6183"/>
                  </a:lnTo>
                  <a:cubicBezTo>
                    <a:pt x="2668" y="6183"/>
                    <a:pt x="2739" y="6111"/>
                    <a:pt x="2739" y="6028"/>
                  </a:cubicBezTo>
                  <a:lnTo>
                    <a:pt x="2739" y="5445"/>
                  </a:lnTo>
                  <a:cubicBezTo>
                    <a:pt x="2876" y="5480"/>
                    <a:pt x="3019" y="5498"/>
                    <a:pt x="3160" y="5498"/>
                  </a:cubicBezTo>
                  <a:cubicBezTo>
                    <a:pt x="3302" y="5498"/>
                    <a:pt x="3442" y="5480"/>
                    <a:pt x="3573" y="5445"/>
                  </a:cubicBezTo>
                  <a:close/>
                  <a:moveTo>
                    <a:pt x="3180" y="0"/>
                  </a:moveTo>
                  <a:cubicBezTo>
                    <a:pt x="2626" y="0"/>
                    <a:pt x="2072" y="105"/>
                    <a:pt x="1525" y="313"/>
                  </a:cubicBezTo>
                  <a:cubicBezTo>
                    <a:pt x="1477" y="325"/>
                    <a:pt x="1441" y="349"/>
                    <a:pt x="1430" y="396"/>
                  </a:cubicBezTo>
                  <a:cubicBezTo>
                    <a:pt x="1418" y="444"/>
                    <a:pt x="1418" y="492"/>
                    <a:pt x="1430" y="515"/>
                  </a:cubicBezTo>
                  <a:lnTo>
                    <a:pt x="1656" y="1099"/>
                  </a:lnTo>
                  <a:cubicBezTo>
                    <a:pt x="1060" y="1504"/>
                    <a:pt x="703" y="2158"/>
                    <a:pt x="703" y="2861"/>
                  </a:cubicBezTo>
                  <a:cubicBezTo>
                    <a:pt x="703" y="3218"/>
                    <a:pt x="715" y="4051"/>
                    <a:pt x="763" y="4444"/>
                  </a:cubicBezTo>
                  <a:cubicBezTo>
                    <a:pt x="822" y="5040"/>
                    <a:pt x="1322" y="5504"/>
                    <a:pt x="1918" y="5504"/>
                  </a:cubicBezTo>
                  <a:lnTo>
                    <a:pt x="2453" y="5504"/>
                  </a:lnTo>
                  <a:lnTo>
                    <a:pt x="2453" y="5861"/>
                  </a:lnTo>
                  <a:cubicBezTo>
                    <a:pt x="1549" y="5873"/>
                    <a:pt x="775" y="6480"/>
                    <a:pt x="572" y="7361"/>
                  </a:cubicBezTo>
                  <a:lnTo>
                    <a:pt x="108" y="9255"/>
                  </a:lnTo>
                  <a:cubicBezTo>
                    <a:pt x="1" y="9671"/>
                    <a:pt x="191" y="10100"/>
                    <a:pt x="572" y="10314"/>
                  </a:cubicBezTo>
                  <a:cubicBezTo>
                    <a:pt x="1441" y="10820"/>
                    <a:pt x="2320" y="11073"/>
                    <a:pt x="3199" y="11073"/>
                  </a:cubicBezTo>
                  <a:cubicBezTo>
                    <a:pt x="4079" y="11073"/>
                    <a:pt x="4960" y="10820"/>
                    <a:pt x="5835" y="10314"/>
                  </a:cubicBezTo>
                  <a:cubicBezTo>
                    <a:pt x="6168" y="10100"/>
                    <a:pt x="6347" y="9659"/>
                    <a:pt x="6240" y="9255"/>
                  </a:cubicBezTo>
                  <a:lnTo>
                    <a:pt x="6061" y="8504"/>
                  </a:lnTo>
                  <a:cubicBezTo>
                    <a:pt x="6050" y="8430"/>
                    <a:pt x="5972" y="8384"/>
                    <a:pt x="5896" y="8384"/>
                  </a:cubicBezTo>
                  <a:cubicBezTo>
                    <a:pt x="5888" y="8384"/>
                    <a:pt x="5879" y="8384"/>
                    <a:pt x="5871" y="8385"/>
                  </a:cubicBezTo>
                  <a:cubicBezTo>
                    <a:pt x="5775" y="8409"/>
                    <a:pt x="5728" y="8493"/>
                    <a:pt x="5751" y="8588"/>
                  </a:cubicBezTo>
                  <a:lnTo>
                    <a:pt x="5930" y="9326"/>
                  </a:lnTo>
                  <a:cubicBezTo>
                    <a:pt x="5990" y="9600"/>
                    <a:pt x="5871" y="9897"/>
                    <a:pt x="5632" y="10028"/>
                  </a:cubicBezTo>
                  <a:cubicBezTo>
                    <a:pt x="4799" y="10505"/>
                    <a:pt x="3980" y="10743"/>
                    <a:pt x="3162" y="10743"/>
                  </a:cubicBezTo>
                  <a:cubicBezTo>
                    <a:pt x="2343" y="10743"/>
                    <a:pt x="1525" y="10505"/>
                    <a:pt x="691" y="10028"/>
                  </a:cubicBezTo>
                  <a:cubicBezTo>
                    <a:pt x="453" y="9897"/>
                    <a:pt x="310" y="9600"/>
                    <a:pt x="394" y="9326"/>
                  </a:cubicBezTo>
                  <a:lnTo>
                    <a:pt x="846" y="7433"/>
                  </a:lnTo>
                  <a:cubicBezTo>
                    <a:pt x="1001" y="6838"/>
                    <a:pt x="1441" y="6397"/>
                    <a:pt x="2025" y="6242"/>
                  </a:cubicBezTo>
                  <a:lnTo>
                    <a:pt x="3025" y="7992"/>
                  </a:lnTo>
                  <a:cubicBezTo>
                    <a:pt x="3055" y="8040"/>
                    <a:pt x="3111" y="8064"/>
                    <a:pt x="3168" y="8064"/>
                  </a:cubicBezTo>
                  <a:cubicBezTo>
                    <a:pt x="3224" y="8064"/>
                    <a:pt x="3281" y="8040"/>
                    <a:pt x="3311" y="7992"/>
                  </a:cubicBezTo>
                  <a:lnTo>
                    <a:pt x="4299" y="6242"/>
                  </a:lnTo>
                  <a:cubicBezTo>
                    <a:pt x="4870" y="6397"/>
                    <a:pt x="5335" y="6838"/>
                    <a:pt x="5478" y="7433"/>
                  </a:cubicBezTo>
                  <a:lnTo>
                    <a:pt x="5573" y="7826"/>
                  </a:lnTo>
                  <a:cubicBezTo>
                    <a:pt x="5584" y="7901"/>
                    <a:pt x="5652" y="7947"/>
                    <a:pt x="5735" y="7947"/>
                  </a:cubicBezTo>
                  <a:cubicBezTo>
                    <a:pt x="5744" y="7947"/>
                    <a:pt x="5754" y="7946"/>
                    <a:pt x="5763" y="7945"/>
                  </a:cubicBezTo>
                  <a:cubicBezTo>
                    <a:pt x="5847" y="7921"/>
                    <a:pt x="5894" y="7838"/>
                    <a:pt x="5882" y="7754"/>
                  </a:cubicBezTo>
                  <a:lnTo>
                    <a:pt x="5787" y="7361"/>
                  </a:lnTo>
                  <a:cubicBezTo>
                    <a:pt x="5585" y="6480"/>
                    <a:pt x="4811" y="5873"/>
                    <a:pt x="3906" y="5861"/>
                  </a:cubicBezTo>
                  <a:lnTo>
                    <a:pt x="3906" y="5504"/>
                  </a:lnTo>
                  <a:lnTo>
                    <a:pt x="4442" y="5504"/>
                  </a:lnTo>
                  <a:cubicBezTo>
                    <a:pt x="5037" y="5504"/>
                    <a:pt x="5537" y="5052"/>
                    <a:pt x="5597" y="4444"/>
                  </a:cubicBezTo>
                  <a:cubicBezTo>
                    <a:pt x="5644" y="4051"/>
                    <a:pt x="5656" y="3218"/>
                    <a:pt x="5656" y="2861"/>
                  </a:cubicBezTo>
                  <a:cubicBezTo>
                    <a:pt x="5656" y="2135"/>
                    <a:pt x="5287" y="1492"/>
                    <a:pt x="4704" y="1099"/>
                  </a:cubicBezTo>
                  <a:lnTo>
                    <a:pt x="4930" y="515"/>
                  </a:lnTo>
                  <a:cubicBezTo>
                    <a:pt x="4954" y="432"/>
                    <a:pt x="4918" y="337"/>
                    <a:pt x="4835" y="313"/>
                  </a:cubicBezTo>
                  <a:cubicBezTo>
                    <a:pt x="4287" y="105"/>
                    <a:pt x="3733" y="0"/>
                    <a:pt x="3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84" name="Google Shape;10284;p59"/>
          <p:cNvGrpSpPr/>
          <p:nvPr/>
        </p:nvGrpSpPr>
        <p:grpSpPr>
          <a:xfrm>
            <a:off x="7571624" y="3808935"/>
            <a:ext cx="292047" cy="352762"/>
            <a:chOff x="7571624" y="3808935"/>
            <a:chExt cx="292047" cy="352762"/>
          </a:xfrm>
        </p:grpSpPr>
        <p:sp>
          <p:nvSpPr>
            <p:cNvPr id="10285" name="Google Shape;10285;p59"/>
            <p:cNvSpPr/>
            <p:nvPr/>
          </p:nvSpPr>
          <p:spPr>
            <a:xfrm>
              <a:off x="7802955" y="4057755"/>
              <a:ext cx="15227" cy="15195"/>
            </a:xfrm>
            <a:custGeom>
              <a:avLst/>
              <a:gdLst/>
              <a:ahLst/>
              <a:cxnLst/>
              <a:rect l="l" t="t" r="r" b="b"/>
              <a:pathLst>
                <a:path w="478" h="477" extrusionOk="0">
                  <a:moveTo>
                    <a:pt x="239" y="0"/>
                  </a:moveTo>
                  <a:cubicBezTo>
                    <a:pt x="120" y="0"/>
                    <a:pt x="1" y="107"/>
                    <a:pt x="1" y="238"/>
                  </a:cubicBezTo>
                  <a:cubicBezTo>
                    <a:pt x="1" y="381"/>
                    <a:pt x="108" y="476"/>
                    <a:pt x="239" y="476"/>
                  </a:cubicBezTo>
                  <a:cubicBezTo>
                    <a:pt x="382" y="476"/>
                    <a:pt x="477" y="381"/>
                    <a:pt x="477" y="238"/>
                  </a:cubicBezTo>
                  <a:cubicBezTo>
                    <a:pt x="477" y="107"/>
                    <a:pt x="382"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6" name="Google Shape;10286;p59"/>
            <p:cNvSpPr/>
            <p:nvPr/>
          </p:nvSpPr>
          <p:spPr>
            <a:xfrm>
              <a:off x="7764665" y="4115763"/>
              <a:ext cx="13315" cy="13315"/>
            </a:xfrm>
            <a:custGeom>
              <a:avLst/>
              <a:gdLst/>
              <a:ahLst/>
              <a:cxnLst/>
              <a:rect l="l" t="t" r="r" b="b"/>
              <a:pathLst>
                <a:path w="418" h="418" extrusionOk="0">
                  <a:moveTo>
                    <a:pt x="215" y="1"/>
                  </a:moveTo>
                  <a:cubicBezTo>
                    <a:pt x="84" y="1"/>
                    <a:pt x="0" y="84"/>
                    <a:pt x="0" y="203"/>
                  </a:cubicBezTo>
                  <a:cubicBezTo>
                    <a:pt x="0" y="322"/>
                    <a:pt x="84"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7" name="Google Shape;10287;p59"/>
            <p:cNvSpPr/>
            <p:nvPr/>
          </p:nvSpPr>
          <p:spPr>
            <a:xfrm>
              <a:off x="7653141" y="4048262"/>
              <a:ext cx="13315" cy="13315"/>
            </a:xfrm>
            <a:custGeom>
              <a:avLst/>
              <a:gdLst/>
              <a:ahLst/>
              <a:cxnLst/>
              <a:rect l="l" t="t" r="r" b="b"/>
              <a:pathLst>
                <a:path w="418" h="418" extrusionOk="0">
                  <a:moveTo>
                    <a:pt x="215" y="0"/>
                  </a:moveTo>
                  <a:cubicBezTo>
                    <a:pt x="96" y="0"/>
                    <a:pt x="1" y="96"/>
                    <a:pt x="1" y="215"/>
                  </a:cubicBezTo>
                  <a:cubicBezTo>
                    <a:pt x="1" y="334"/>
                    <a:pt x="96" y="417"/>
                    <a:pt x="215" y="417"/>
                  </a:cubicBezTo>
                  <a:cubicBezTo>
                    <a:pt x="334" y="417"/>
                    <a:pt x="418" y="334"/>
                    <a:pt x="418" y="215"/>
                  </a:cubicBezTo>
                  <a:cubicBezTo>
                    <a:pt x="418" y="96"/>
                    <a:pt x="334" y="0"/>
                    <a:pt x="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8" name="Google Shape;10288;p59"/>
            <p:cNvSpPr/>
            <p:nvPr/>
          </p:nvSpPr>
          <p:spPr>
            <a:xfrm>
              <a:off x="7675917" y="4115763"/>
              <a:ext cx="13284" cy="13315"/>
            </a:xfrm>
            <a:custGeom>
              <a:avLst/>
              <a:gdLst/>
              <a:ahLst/>
              <a:cxnLst/>
              <a:rect l="l" t="t" r="r" b="b"/>
              <a:pathLst>
                <a:path w="417"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9" name="Google Shape;10289;p59"/>
            <p:cNvSpPr/>
            <p:nvPr/>
          </p:nvSpPr>
          <p:spPr>
            <a:xfrm>
              <a:off x="7715736" y="4062660"/>
              <a:ext cx="16342" cy="15959"/>
            </a:xfrm>
            <a:custGeom>
              <a:avLst/>
              <a:gdLst/>
              <a:ahLst/>
              <a:cxnLst/>
              <a:rect l="l" t="t" r="r" b="b"/>
              <a:pathLst>
                <a:path w="513" h="501" extrusionOk="0">
                  <a:moveTo>
                    <a:pt x="262" y="1"/>
                  </a:moveTo>
                  <a:cubicBezTo>
                    <a:pt x="119" y="1"/>
                    <a:pt x="0" y="120"/>
                    <a:pt x="0" y="251"/>
                  </a:cubicBezTo>
                  <a:cubicBezTo>
                    <a:pt x="0" y="382"/>
                    <a:pt x="119" y="501"/>
                    <a:pt x="262" y="501"/>
                  </a:cubicBezTo>
                  <a:cubicBezTo>
                    <a:pt x="393" y="501"/>
                    <a:pt x="512" y="406"/>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0" name="Google Shape;10290;p59"/>
            <p:cNvSpPr/>
            <p:nvPr/>
          </p:nvSpPr>
          <p:spPr>
            <a:xfrm>
              <a:off x="7571624" y="3808935"/>
              <a:ext cx="292047" cy="352762"/>
            </a:xfrm>
            <a:custGeom>
              <a:avLst/>
              <a:gdLst/>
              <a:ahLst/>
              <a:cxnLst/>
              <a:rect l="l" t="t" r="r" b="b"/>
              <a:pathLst>
                <a:path w="9168" h="11074" extrusionOk="0">
                  <a:moveTo>
                    <a:pt x="3085" y="6536"/>
                  </a:moveTo>
                  <a:cubicBezTo>
                    <a:pt x="3680" y="6536"/>
                    <a:pt x="4251" y="6687"/>
                    <a:pt x="4786" y="7001"/>
                  </a:cubicBezTo>
                  <a:cubicBezTo>
                    <a:pt x="5364" y="7337"/>
                    <a:pt x="5926" y="7449"/>
                    <a:pt x="6422" y="7449"/>
                  </a:cubicBezTo>
                  <a:cubicBezTo>
                    <a:pt x="6805" y="7449"/>
                    <a:pt x="7149" y="7382"/>
                    <a:pt x="7430" y="7299"/>
                  </a:cubicBezTo>
                  <a:cubicBezTo>
                    <a:pt x="7858" y="7180"/>
                    <a:pt x="8192" y="7001"/>
                    <a:pt x="8382" y="6882"/>
                  </a:cubicBezTo>
                  <a:lnTo>
                    <a:pt x="8382" y="6882"/>
                  </a:lnTo>
                  <a:cubicBezTo>
                    <a:pt x="8739" y="8156"/>
                    <a:pt x="8430" y="9502"/>
                    <a:pt x="7477" y="10454"/>
                  </a:cubicBezTo>
                  <a:cubicBezTo>
                    <a:pt x="7287" y="10645"/>
                    <a:pt x="7013" y="10764"/>
                    <a:pt x="6727" y="10764"/>
                  </a:cubicBezTo>
                  <a:lnTo>
                    <a:pt x="3000" y="10764"/>
                  </a:lnTo>
                  <a:cubicBezTo>
                    <a:pt x="2715" y="10764"/>
                    <a:pt x="2441" y="10645"/>
                    <a:pt x="2250" y="10454"/>
                  </a:cubicBezTo>
                  <a:cubicBezTo>
                    <a:pt x="1393" y="9573"/>
                    <a:pt x="988" y="8311"/>
                    <a:pt x="1334" y="6966"/>
                  </a:cubicBezTo>
                  <a:cubicBezTo>
                    <a:pt x="1476" y="6894"/>
                    <a:pt x="1846" y="6716"/>
                    <a:pt x="2357" y="6609"/>
                  </a:cubicBezTo>
                  <a:cubicBezTo>
                    <a:pt x="2603" y="6561"/>
                    <a:pt x="2846" y="6536"/>
                    <a:pt x="3085" y="6536"/>
                  </a:cubicBezTo>
                  <a:close/>
                  <a:moveTo>
                    <a:pt x="3322" y="1"/>
                  </a:moveTo>
                  <a:cubicBezTo>
                    <a:pt x="3084" y="1"/>
                    <a:pt x="2893" y="191"/>
                    <a:pt x="2893" y="429"/>
                  </a:cubicBezTo>
                  <a:lnTo>
                    <a:pt x="2893" y="822"/>
                  </a:lnTo>
                  <a:cubicBezTo>
                    <a:pt x="2893" y="1060"/>
                    <a:pt x="3084" y="1251"/>
                    <a:pt x="3322" y="1251"/>
                  </a:cubicBezTo>
                  <a:lnTo>
                    <a:pt x="3548" y="1251"/>
                  </a:lnTo>
                  <a:lnTo>
                    <a:pt x="3548" y="2584"/>
                  </a:lnTo>
                  <a:cubicBezTo>
                    <a:pt x="3548" y="2679"/>
                    <a:pt x="3620" y="2751"/>
                    <a:pt x="3715" y="2751"/>
                  </a:cubicBezTo>
                  <a:cubicBezTo>
                    <a:pt x="3798" y="2751"/>
                    <a:pt x="3870" y="2679"/>
                    <a:pt x="3870" y="2584"/>
                  </a:cubicBezTo>
                  <a:lnTo>
                    <a:pt x="3870" y="1251"/>
                  </a:lnTo>
                  <a:lnTo>
                    <a:pt x="5822" y="1251"/>
                  </a:lnTo>
                  <a:lnTo>
                    <a:pt x="5822" y="3965"/>
                  </a:lnTo>
                  <a:cubicBezTo>
                    <a:pt x="5822" y="4203"/>
                    <a:pt x="5977" y="4418"/>
                    <a:pt x="6191" y="4513"/>
                  </a:cubicBezTo>
                  <a:cubicBezTo>
                    <a:pt x="7168" y="4894"/>
                    <a:pt x="7894" y="5656"/>
                    <a:pt x="8251" y="6597"/>
                  </a:cubicBezTo>
                  <a:cubicBezTo>
                    <a:pt x="8084" y="6704"/>
                    <a:pt x="7763" y="6894"/>
                    <a:pt x="7299" y="7025"/>
                  </a:cubicBezTo>
                  <a:cubicBezTo>
                    <a:pt x="6992" y="7113"/>
                    <a:pt x="6689" y="7157"/>
                    <a:pt x="6391" y="7157"/>
                  </a:cubicBezTo>
                  <a:cubicBezTo>
                    <a:pt x="5879" y="7157"/>
                    <a:pt x="5384" y="7027"/>
                    <a:pt x="4917" y="6763"/>
                  </a:cubicBezTo>
                  <a:cubicBezTo>
                    <a:pt x="4326" y="6419"/>
                    <a:pt x="3678" y="6255"/>
                    <a:pt x="3027" y="6255"/>
                  </a:cubicBezTo>
                  <a:cubicBezTo>
                    <a:pt x="2486" y="6255"/>
                    <a:pt x="1942" y="6368"/>
                    <a:pt x="1429" y="6585"/>
                  </a:cubicBezTo>
                  <a:cubicBezTo>
                    <a:pt x="1786" y="5656"/>
                    <a:pt x="2512" y="4894"/>
                    <a:pt x="3489" y="4513"/>
                  </a:cubicBezTo>
                  <a:cubicBezTo>
                    <a:pt x="3703" y="4418"/>
                    <a:pt x="3858" y="4215"/>
                    <a:pt x="3858" y="3977"/>
                  </a:cubicBezTo>
                  <a:lnTo>
                    <a:pt x="3858" y="3394"/>
                  </a:lnTo>
                  <a:cubicBezTo>
                    <a:pt x="3858" y="3310"/>
                    <a:pt x="3786" y="3227"/>
                    <a:pt x="3691" y="3227"/>
                  </a:cubicBezTo>
                  <a:cubicBezTo>
                    <a:pt x="3608" y="3227"/>
                    <a:pt x="3536" y="3310"/>
                    <a:pt x="3536" y="3394"/>
                  </a:cubicBezTo>
                  <a:lnTo>
                    <a:pt x="3536" y="3942"/>
                  </a:lnTo>
                  <a:cubicBezTo>
                    <a:pt x="3536" y="4049"/>
                    <a:pt x="3465" y="4156"/>
                    <a:pt x="3370" y="4180"/>
                  </a:cubicBezTo>
                  <a:cubicBezTo>
                    <a:pt x="714" y="5239"/>
                    <a:pt x="0" y="8668"/>
                    <a:pt x="1988" y="10669"/>
                  </a:cubicBezTo>
                  <a:cubicBezTo>
                    <a:pt x="2238" y="10930"/>
                    <a:pt x="2596" y="11073"/>
                    <a:pt x="2953" y="11073"/>
                  </a:cubicBezTo>
                  <a:lnTo>
                    <a:pt x="6703" y="11073"/>
                  </a:lnTo>
                  <a:cubicBezTo>
                    <a:pt x="7060" y="11073"/>
                    <a:pt x="7418" y="10930"/>
                    <a:pt x="7680" y="10657"/>
                  </a:cubicBezTo>
                  <a:cubicBezTo>
                    <a:pt x="9132" y="9240"/>
                    <a:pt x="9168" y="7097"/>
                    <a:pt x="8120" y="5596"/>
                  </a:cubicBezTo>
                  <a:cubicBezTo>
                    <a:pt x="7668" y="4954"/>
                    <a:pt x="7049" y="4477"/>
                    <a:pt x="6334" y="4203"/>
                  </a:cubicBezTo>
                  <a:cubicBezTo>
                    <a:pt x="6227" y="4156"/>
                    <a:pt x="6167" y="4061"/>
                    <a:pt x="6167" y="3965"/>
                  </a:cubicBezTo>
                  <a:lnTo>
                    <a:pt x="6167" y="1251"/>
                  </a:lnTo>
                  <a:lnTo>
                    <a:pt x="6394" y="1251"/>
                  </a:lnTo>
                  <a:cubicBezTo>
                    <a:pt x="6632" y="1251"/>
                    <a:pt x="6822" y="1060"/>
                    <a:pt x="6822" y="822"/>
                  </a:cubicBezTo>
                  <a:lnTo>
                    <a:pt x="6822" y="429"/>
                  </a:lnTo>
                  <a:cubicBezTo>
                    <a:pt x="6822" y="191"/>
                    <a:pt x="6632" y="1"/>
                    <a:pt x="6394" y="1"/>
                  </a:cubicBezTo>
                  <a:lnTo>
                    <a:pt x="5525" y="1"/>
                  </a:lnTo>
                  <a:cubicBezTo>
                    <a:pt x="5441" y="1"/>
                    <a:pt x="5358" y="72"/>
                    <a:pt x="5358" y="167"/>
                  </a:cubicBezTo>
                  <a:cubicBezTo>
                    <a:pt x="5358" y="251"/>
                    <a:pt x="5441" y="334"/>
                    <a:pt x="5525" y="334"/>
                  </a:cubicBezTo>
                  <a:lnTo>
                    <a:pt x="6394" y="334"/>
                  </a:lnTo>
                  <a:cubicBezTo>
                    <a:pt x="6453" y="334"/>
                    <a:pt x="6489" y="370"/>
                    <a:pt x="6489" y="429"/>
                  </a:cubicBezTo>
                  <a:lnTo>
                    <a:pt x="6489" y="822"/>
                  </a:lnTo>
                  <a:cubicBezTo>
                    <a:pt x="6489" y="882"/>
                    <a:pt x="6453" y="929"/>
                    <a:pt x="6394" y="929"/>
                  </a:cubicBezTo>
                  <a:lnTo>
                    <a:pt x="3322" y="929"/>
                  </a:lnTo>
                  <a:cubicBezTo>
                    <a:pt x="3262" y="929"/>
                    <a:pt x="3215" y="882"/>
                    <a:pt x="3215" y="822"/>
                  </a:cubicBezTo>
                  <a:lnTo>
                    <a:pt x="3215" y="429"/>
                  </a:lnTo>
                  <a:cubicBezTo>
                    <a:pt x="3215" y="370"/>
                    <a:pt x="3262" y="334"/>
                    <a:pt x="3322" y="334"/>
                  </a:cubicBezTo>
                  <a:lnTo>
                    <a:pt x="4739" y="334"/>
                  </a:lnTo>
                  <a:cubicBezTo>
                    <a:pt x="4822" y="334"/>
                    <a:pt x="4905" y="251"/>
                    <a:pt x="4905" y="167"/>
                  </a:cubicBezTo>
                  <a:cubicBezTo>
                    <a:pt x="4905" y="72"/>
                    <a:pt x="4822"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1" name="Google Shape;10291;p59"/>
          <p:cNvGrpSpPr/>
          <p:nvPr/>
        </p:nvGrpSpPr>
        <p:grpSpPr>
          <a:xfrm>
            <a:off x="2174559" y="3356116"/>
            <a:ext cx="364135" cy="359930"/>
            <a:chOff x="2174559" y="3356116"/>
            <a:chExt cx="364135" cy="359930"/>
          </a:xfrm>
        </p:grpSpPr>
        <p:sp>
          <p:nvSpPr>
            <p:cNvPr id="10292" name="Google Shape;10292;p59"/>
            <p:cNvSpPr/>
            <p:nvPr/>
          </p:nvSpPr>
          <p:spPr>
            <a:xfrm>
              <a:off x="2273915" y="3452414"/>
              <a:ext cx="166920" cy="166920"/>
            </a:xfrm>
            <a:custGeom>
              <a:avLst/>
              <a:gdLst/>
              <a:ahLst/>
              <a:cxnLst/>
              <a:rect l="l" t="t" r="r" b="b"/>
              <a:pathLst>
                <a:path w="5240" h="5240" extrusionOk="0">
                  <a:moveTo>
                    <a:pt x="4715" y="358"/>
                  </a:moveTo>
                  <a:cubicBezTo>
                    <a:pt x="4763" y="358"/>
                    <a:pt x="4787" y="370"/>
                    <a:pt x="4811" y="406"/>
                  </a:cubicBezTo>
                  <a:cubicBezTo>
                    <a:pt x="4846" y="429"/>
                    <a:pt x="4858" y="477"/>
                    <a:pt x="4858" y="513"/>
                  </a:cubicBezTo>
                  <a:cubicBezTo>
                    <a:pt x="4858" y="548"/>
                    <a:pt x="4846" y="584"/>
                    <a:pt x="4811" y="608"/>
                  </a:cubicBezTo>
                  <a:lnTo>
                    <a:pt x="4418" y="1013"/>
                  </a:lnTo>
                  <a:lnTo>
                    <a:pt x="4192" y="787"/>
                  </a:lnTo>
                  <a:lnTo>
                    <a:pt x="4608" y="406"/>
                  </a:lnTo>
                  <a:cubicBezTo>
                    <a:pt x="4644" y="370"/>
                    <a:pt x="4680" y="358"/>
                    <a:pt x="4715" y="358"/>
                  </a:cubicBezTo>
                  <a:close/>
                  <a:moveTo>
                    <a:pt x="3965" y="1048"/>
                  </a:moveTo>
                  <a:lnTo>
                    <a:pt x="4192" y="1263"/>
                  </a:lnTo>
                  <a:lnTo>
                    <a:pt x="3358" y="2084"/>
                  </a:lnTo>
                  <a:lnTo>
                    <a:pt x="3132" y="1858"/>
                  </a:lnTo>
                  <a:lnTo>
                    <a:pt x="3965" y="1048"/>
                  </a:lnTo>
                  <a:close/>
                  <a:moveTo>
                    <a:pt x="2894" y="2096"/>
                  </a:moveTo>
                  <a:lnTo>
                    <a:pt x="3120" y="2322"/>
                  </a:lnTo>
                  <a:lnTo>
                    <a:pt x="2287" y="3156"/>
                  </a:lnTo>
                  <a:lnTo>
                    <a:pt x="2060" y="2930"/>
                  </a:lnTo>
                  <a:lnTo>
                    <a:pt x="2894" y="2096"/>
                  </a:lnTo>
                  <a:close/>
                  <a:moveTo>
                    <a:pt x="1846" y="3168"/>
                  </a:moveTo>
                  <a:lnTo>
                    <a:pt x="2060" y="3394"/>
                  </a:lnTo>
                  <a:lnTo>
                    <a:pt x="1227" y="4227"/>
                  </a:lnTo>
                  <a:lnTo>
                    <a:pt x="1013" y="4001"/>
                  </a:lnTo>
                  <a:lnTo>
                    <a:pt x="1846" y="3168"/>
                  </a:lnTo>
                  <a:close/>
                  <a:moveTo>
                    <a:pt x="774" y="4227"/>
                  </a:moveTo>
                  <a:lnTo>
                    <a:pt x="989" y="4454"/>
                  </a:lnTo>
                  <a:lnTo>
                    <a:pt x="596" y="4858"/>
                  </a:lnTo>
                  <a:cubicBezTo>
                    <a:pt x="560" y="4882"/>
                    <a:pt x="513" y="4894"/>
                    <a:pt x="489" y="4894"/>
                  </a:cubicBezTo>
                  <a:cubicBezTo>
                    <a:pt x="441" y="4894"/>
                    <a:pt x="417" y="4882"/>
                    <a:pt x="382" y="4858"/>
                  </a:cubicBezTo>
                  <a:cubicBezTo>
                    <a:pt x="358" y="4823"/>
                    <a:pt x="334" y="4775"/>
                    <a:pt x="334" y="4751"/>
                  </a:cubicBezTo>
                  <a:cubicBezTo>
                    <a:pt x="322" y="4704"/>
                    <a:pt x="334" y="4656"/>
                    <a:pt x="370" y="4632"/>
                  </a:cubicBezTo>
                  <a:lnTo>
                    <a:pt x="774" y="4227"/>
                  </a:lnTo>
                  <a:close/>
                  <a:moveTo>
                    <a:pt x="4739" y="1"/>
                  </a:moveTo>
                  <a:cubicBezTo>
                    <a:pt x="4608" y="1"/>
                    <a:pt x="4489" y="48"/>
                    <a:pt x="4406" y="144"/>
                  </a:cubicBezTo>
                  <a:lnTo>
                    <a:pt x="4001" y="548"/>
                  </a:lnTo>
                  <a:lnTo>
                    <a:pt x="3846" y="406"/>
                  </a:lnTo>
                  <a:cubicBezTo>
                    <a:pt x="3816" y="376"/>
                    <a:pt x="3772" y="361"/>
                    <a:pt x="3727" y="361"/>
                  </a:cubicBezTo>
                  <a:cubicBezTo>
                    <a:pt x="3683" y="361"/>
                    <a:pt x="3638" y="376"/>
                    <a:pt x="3608" y="406"/>
                  </a:cubicBezTo>
                  <a:cubicBezTo>
                    <a:pt x="3549" y="465"/>
                    <a:pt x="3549" y="584"/>
                    <a:pt x="3608" y="644"/>
                  </a:cubicBezTo>
                  <a:lnTo>
                    <a:pt x="3763" y="787"/>
                  </a:lnTo>
                  <a:lnTo>
                    <a:pt x="2929" y="1620"/>
                  </a:lnTo>
                  <a:lnTo>
                    <a:pt x="2775" y="1477"/>
                  </a:lnTo>
                  <a:cubicBezTo>
                    <a:pt x="2745" y="1447"/>
                    <a:pt x="2700" y="1432"/>
                    <a:pt x="2656" y="1432"/>
                  </a:cubicBezTo>
                  <a:cubicBezTo>
                    <a:pt x="2611" y="1432"/>
                    <a:pt x="2566" y="1447"/>
                    <a:pt x="2537" y="1477"/>
                  </a:cubicBezTo>
                  <a:cubicBezTo>
                    <a:pt x="2477" y="1537"/>
                    <a:pt x="2477" y="1656"/>
                    <a:pt x="2537" y="1715"/>
                  </a:cubicBezTo>
                  <a:lnTo>
                    <a:pt x="2691" y="1858"/>
                  </a:lnTo>
                  <a:lnTo>
                    <a:pt x="1858" y="2692"/>
                  </a:lnTo>
                  <a:lnTo>
                    <a:pt x="1703" y="2549"/>
                  </a:lnTo>
                  <a:cubicBezTo>
                    <a:pt x="1673" y="2519"/>
                    <a:pt x="1629" y="2504"/>
                    <a:pt x="1584" y="2504"/>
                  </a:cubicBezTo>
                  <a:cubicBezTo>
                    <a:pt x="1539" y="2504"/>
                    <a:pt x="1495" y="2519"/>
                    <a:pt x="1465" y="2549"/>
                  </a:cubicBezTo>
                  <a:cubicBezTo>
                    <a:pt x="1405" y="2608"/>
                    <a:pt x="1405" y="2727"/>
                    <a:pt x="1465" y="2787"/>
                  </a:cubicBezTo>
                  <a:lnTo>
                    <a:pt x="1620" y="2930"/>
                  </a:lnTo>
                  <a:lnTo>
                    <a:pt x="786" y="3763"/>
                  </a:lnTo>
                  <a:lnTo>
                    <a:pt x="632" y="3620"/>
                  </a:lnTo>
                  <a:cubicBezTo>
                    <a:pt x="602" y="3590"/>
                    <a:pt x="557" y="3576"/>
                    <a:pt x="513" y="3576"/>
                  </a:cubicBezTo>
                  <a:cubicBezTo>
                    <a:pt x="468" y="3576"/>
                    <a:pt x="423" y="3590"/>
                    <a:pt x="393" y="3620"/>
                  </a:cubicBezTo>
                  <a:cubicBezTo>
                    <a:pt x="334" y="3680"/>
                    <a:pt x="334" y="3799"/>
                    <a:pt x="393" y="3858"/>
                  </a:cubicBezTo>
                  <a:lnTo>
                    <a:pt x="548" y="4001"/>
                  </a:lnTo>
                  <a:lnTo>
                    <a:pt x="143" y="4406"/>
                  </a:lnTo>
                  <a:cubicBezTo>
                    <a:pt x="36" y="4477"/>
                    <a:pt x="1" y="4620"/>
                    <a:pt x="1" y="4751"/>
                  </a:cubicBezTo>
                  <a:cubicBezTo>
                    <a:pt x="1" y="4882"/>
                    <a:pt x="36" y="5001"/>
                    <a:pt x="143" y="5097"/>
                  </a:cubicBezTo>
                  <a:cubicBezTo>
                    <a:pt x="239" y="5180"/>
                    <a:pt x="370" y="5239"/>
                    <a:pt x="489" y="5239"/>
                  </a:cubicBezTo>
                  <a:cubicBezTo>
                    <a:pt x="620" y="5239"/>
                    <a:pt x="739" y="5192"/>
                    <a:pt x="834" y="5097"/>
                  </a:cubicBezTo>
                  <a:lnTo>
                    <a:pt x="1227" y="4692"/>
                  </a:lnTo>
                  <a:lnTo>
                    <a:pt x="1382" y="4835"/>
                  </a:lnTo>
                  <a:cubicBezTo>
                    <a:pt x="1405" y="4870"/>
                    <a:pt x="1453" y="4882"/>
                    <a:pt x="1501" y="4882"/>
                  </a:cubicBezTo>
                  <a:cubicBezTo>
                    <a:pt x="1548" y="4882"/>
                    <a:pt x="1584" y="4870"/>
                    <a:pt x="1620" y="4835"/>
                  </a:cubicBezTo>
                  <a:cubicBezTo>
                    <a:pt x="1679" y="4775"/>
                    <a:pt x="1679" y="4656"/>
                    <a:pt x="1620" y="4597"/>
                  </a:cubicBezTo>
                  <a:lnTo>
                    <a:pt x="1465" y="4454"/>
                  </a:lnTo>
                  <a:lnTo>
                    <a:pt x="2298" y="3620"/>
                  </a:lnTo>
                  <a:lnTo>
                    <a:pt x="2453" y="3763"/>
                  </a:lnTo>
                  <a:cubicBezTo>
                    <a:pt x="2477" y="3799"/>
                    <a:pt x="2525" y="3811"/>
                    <a:pt x="2572" y="3811"/>
                  </a:cubicBezTo>
                  <a:cubicBezTo>
                    <a:pt x="2620" y="3811"/>
                    <a:pt x="2656" y="3799"/>
                    <a:pt x="2691" y="3763"/>
                  </a:cubicBezTo>
                  <a:cubicBezTo>
                    <a:pt x="2751" y="3704"/>
                    <a:pt x="2751" y="3584"/>
                    <a:pt x="2691" y="3525"/>
                  </a:cubicBezTo>
                  <a:lnTo>
                    <a:pt x="2537" y="3382"/>
                  </a:lnTo>
                  <a:lnTo>
                    <a:pt x="3370" y="2549"/>
                  </a:lnTo>
                  <a:lnTo>
                    <a:pt x="3525" y="2692"/>
                  </a:lnTo>
                  <a:cubicBezTo>
                    <a:pt x="3549" y="2727"/>
                    <a:pt x="3596" y="2739"/>
                    <a:pt x="3644" y="2739"/>
                  </a:cubicBezTo>
                  <a:cubicBezTo>
                    <a:pt x="3691" y="2739"/>
                    <a:pt x="3727" y="2727"/>
                    <a:pt x="3763" y="2692"/>
                  </a:cubicBezTo>
                  <a:cubicBezTo>
                    <a:pt x="3822" y="2632"/>
                    <a:pt x="3822" y="2513"/>
                    <a:pt x="3763" y="2453"/>
                  </a:cubicBezTo>
                  <a:lnTo>
                    <a:pt x="3608" y="2311"/>
                  </a:lnTo>
                  <a:lnTo>
                    <a:pt x="4442" y="1477"/>
                  </a:lnTo>
                  <a:lnTo>
                    <a:pt x="4596" y="1620"/>
                  </a:lnTo>
                  <a:cubicBezTo>
                    <a:pt x="4620" y="1656"/>
                    <a:pt x="4668" y="1668"/>
                    <a:pt x="4715" y="1668"/>
                  </a:cubicBezTo>
                  <a:cubicBezTo>
                    <a:pt x="4763" y="1668"/>
                    <a:pt x="4799" y="1656"/>
                    <a:pt x="4834" y="1620"/>
                  </a:cubicBezTo>
                  <a:cubicBezTo>
                    <a:pt x="4894" y="1560"/>
                    <a:pt x="4894" y="1441"/>
                    <a:pt x="4834" y="1382"/>
                  </a:cubicBezTo>
                  <a:lnTo>
                    <a:pt x="4680" y="1239"/>
                  </a:lnTo>
                  <a:lnTo>
                    <a:pt x="5085" y="834"/>
                  </a:lnTo>
                  <a:cubicBezTo>
                    <a:pt x="5180" y="739"/>
                    <a:pt x="5239" y="608"/>
                    <a:pt x="5239" y="489"/>
                  </a:cubicBezTo>
                  <a:cubicBezTo>
                    <a:pt x="5239" y="358"/>
                    <a:pt x="5192" y="239"/>
                    <a:pt x="5085" y="144"/>
                  </a:cubicBezTo>
                  <a:cubicBezTo>
                    <a:pt x="5001" y="60"/>
                    <a:pt x="4858"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3" name="Google Shape;10293;p59"/>
            <p:cNvSpPr/>
            <p:nvPr/>
          </p:nvSpPr>
          <p:spPr>
            <a:xfrm>
              <a:off x="2174559" y="3356116"/>
              <a:ext cx="364135" cy="359930"/>
            </a:xfrm>
            <a:custGeom>
              <a:avLst/>
              <a:gdLst/>
              <a:ahLst/>
              <a:cxnLst/>
              <a:rect l="l" t="t" r="r" b="b"/>
              <a:pathLst>
                <a:path w="11431" h="11299" extrusionOk="0">
                  <a:moveTo>
                    <a:pt x="8142" y="339"/>
                  </a:moveTo>
                  <a:cubicBezTo>
                    <a:pt x="8988" y="339"/>
                    <a:pt x="9829" y="482"/>
                    <a:pt x="10632" y="750"/>
                  </a:cubicBezTo>
                  <a:cubicBezTo>
                    <a:pt x="10930" y="1631"/>
                    <a:pt x="11061" y="2583"/>
                    <a:pt x="11037" y="3500"/>
                  </a:cubicBezTo>
                  <a:lnTo>
                    <a:pt x="7858" y="345"/>
                  </a:lnTo>
                  <a:cubicBezTo>
                    <a:pt x="7953" y="341"/>
                    <a:pt x="8048" y="339"/>
                    <a:pt x="8142" y="339"/>
                  </a:cubicBezTo>
                  <a:close/>
                  <a:moveTo>
                    <a:pt x="572" y="6453"/>
                  </a:moveTo>
                  <a:lnTo>
                    <a:pt x="4917" y="10798"/>
                  </a:lnTo>
                  <a:cubicBezTo>
                    <a:pt x="4620" y="10858"/>
                    <a:pt x="4322" y="10894"/>
                    <a:pt x="4001" y="10929"/>
                  </a:cubicBezTo>
                  <a:lnTo>
                    <a:pt x="441" y="7358"/>
                  </a:lnTo>
                  <a:cubicBezTo>
                    <a:pt x="464" y="7060"/>
                    <a:pt x="512" y="6750"/>
                    <a:pt x="572" y="6453"/>
                  </a:cubicBezTo>
                  <a:close/>
                  <a:moveTo>
                    <a:pt x="405" y="7798"/>
                  </a:moveTo>
                  <a:lnTo>
                    <a:pt x="3560" y="10953"/>
                  </a:lnTo>
                  <a:cubicBezTo>
                    <a:pt x="3462" y="10957"/>
                    <a:pt x="3363" y="10959"/>
                    <a:pt x="3264" y="10959"/>
                  </a:cubicBezTo>
                  <a:cubicBezTo>
                    <a:pt x="2440" y="10959"/>
                    <a:pt x="1596" y="10826"/>
                    <a:pt x="810" y="10560"/>
                  </a:cubicBezTo>
                  <a:cubicBezTo>
                    <a:pt x="512" y="9679"/>
                    <a:pt x="381" y="8727"/>
                    <a:pt x="405" y="7798"/>
                  </a:cubicBezTo>
                  <a:close/>
                  <a:moveTo>
                    <a:pt x="8188" y="1"/>
                  </a:moveTo>
                  <a:cubicBezTo>
                    <a:pt x="7942" y="1"/>
                    <a:pt x="7697" y="12"/>
                    <a:pt x="7453" y="35"/>
                  </a:cubicBezTo>
                  <a:cubicBezTo>
                    <a:pt x="7013" y="71"/>
                    <a:pt x="6560" y="154"/>
                    <a:pt x="6132" y="261"/>
                  </a:cubicBezTo>
                  <a:cubicBezTo>
                    <a:pt x="4739" y="607"/>
                    <a:pt x="3453" y="1345"/>
                    <a:pt x="2429" y="2369"/>
                  </a:cubicBezTo>
                  <a:cubicBezTo>
                    <a:pt x="1893" y="2905"/>
                    <a:pt x="1429" y="3512"/>
                    <a:pt x="1072" y="4167"/>
                  </a:cubicBezTo>
                  <a:cubicBezTo>
                    <a:pt x="1024" y="4250"/>
                    <a:pt x="1060" y="4345"/>
                    <a:pt x="1131" y="4393"/>
                  </a:cubicBezTo>
                  <a:cubicBezTo>
                    <a:pt x="1154" y="4408"/>
                    <a:pt x="1180" y="4415"/>
                    <a:pt x="1206" y="4415"/>
                  </a:cubicBezTo>
                  <a:cubicBezTo>
                    <a:pt x="1264" y="4415"/>
                    <a:pt x="1325" y="4382"/>
                    <a:pt x="1357" y="4333"/>
                  </a:cubicBezTo>
                  <a:cubicBezTo>
                    <a:pt x="1703" y="3714"/>
                    <a:pt x="2143" y="3131"/>
                    <a:pt x="2655" y="2607"/>
                  </a:cubicBezTo>
                  <a:cubicBezTo>
                    <a:pt x="3620" y="1643"/>
                    <a:pt x="4810" y="952"/>
                    <a:pt x="6108" y="595"/>
                  </a:cubicBezTo>
                  <a:lnTo>
                    <a:pt x="9156" y="3655"/>
                  </a:lnTo>
                  <a:cubicBezTo>
                    <a:pt x="9180" y="3679"/>
                    <a:pt x="9227" y="3690"/>
                    <a:pt x="9275" y="3690"/>
                  </a:cubicBezTo>
                  <a:cubicBezTo>
                    <a:pt x="9323" y="3690"/>
                    <a:pt x="9358" y="3679"/>
                    <a:pt x="9394" y="3655"/>
                  </a:cubicBezTo>
                  <a:cubicBezTo>
                    <a:pt x="9454" y="3595"/>
                    <a:pt x="9454" y="3476"/>
                    <a:pt x="9394" y="3417"/>
                  </a:cubicBezTo>
                  <a:lnTo>
                    <a:pt x="6489" y="511"/>
                  </a:lnTo>
                  <a:cubicBezTo>
                    <a:pt x="6787" y="452"/>
                    <a:pt x="7084" y="404"/>
                    <a:pt x="7394" y="381"/>
                  </a:cubicBezTo>
                  <a:lnTo>
                    <a:pt x="10966" y="3952"/>
                  </a:lnTo>
                  <a:cubicBezTo>
                    <a:pt x="10942" y="4250"/>
                    <a:pt x="10894" y="4560"/>
                    <a:pt x="10835" y="4857"/>
                  </a:cubicBezTo>
                  <a:lnTo>
                    <a:pt x="9954" y="3976"/>
                  </a:lnTo>
                  <a:cubicBezTo>
                    <a:pt x="9924" y="3946"/>
                    <a:pt x="9879" y="3932"/>
                    <a:pt x="9835" y="3932"/>
                  </a:cubicBezTo>
                  <a:cubicBezTo>
                    <a:pt x="9790" y="3932"/>
                    <a:pt x="9745" y="3946"/>
                    <a:pt x="9716" y="3976"/>
                  </a:cubicBezTo>
                  <a:cubicBezTo>
                    <a:pt x="9656" y="4036"/>
                    <a:pt x="9656" y="4155"/>
                    <a:pt x="9716" y="4214"/>
                  </a:cubicBezTo>
                  <a:lnTo>
                    <a:pt x="10751" y="5238"/>
                  </a:lnTo>
                  <a:cubicBezTo>
                    <a:pt x="10394" y="6548"/>
                    <a:pt x="9704" y="7739"/>
                    <a:pt x="8751" y="8691"/>
                  </a:cubicBezTo>
                  <a:cubicBezTo>
                    <a:pt x="7787" y="9667"/>
                    <a:pt x="6596" y="10346"/>
                    <a:pt x="5298" y="10703"/>
                  </a:cubicBezTo>
                  <a:lnTo>
                    <a:pt x="679" y="6060"/>
                  </a:lnTo>
                  <a:cubicBezTo>
                    <a:pt x="762" y="5715"/>
                    <a:pt x="881" y="5381"/>
                    <a:pt x="1012" y="5048"/>
                  </a:cubicBezTo>
                  <a:cubicBezTo>
                    <a:pt x="1048" y="4964"/>
                    <a:pt x="1012" y="4869"/>
                    <a:pt x="929" y="4822"/>
                  </a:cubicBezTo>
                  <a:cubicBezTo>
                    <a:pt x="906" y="4816"/>
                    <a:pt x="884" y="4813"/>
                    <a:pt x="864" y="4813"/>
                  </a:cubicBezTo>
                  <a:cubicBezTo>
                    <a:pt x="796" y="4813"/>
                    <a:pt x="739" y="4844"/>
                    <a:pt x="703" y="4917"/>
                  </a:cubicBezTo>
                  <a:cubicBezTo>
                    <a:pt x="536" y="5286"/>
                    <a:pt x="417" y="5679"/>
                    <a:pt x="322" y="6072"/>
                  </a:cubicBezTo>
                  <a:cubicBezTo>
                    <a:pt x="214" y="6512"/>
                    <a:pt x="143" y="6953"/>
                    <a:pt x="95" y="7405"/>
                  </a:cubicBezTo>
                  <a:cubicBezTo>
                    <a:pt x="0" y="8548"/>
                    <a:pt x="143" y="9667"/>
                    <a:pt x="512" y="10751"/>
                  </a:cubicBezTo>
                  <a:cubicBezTo>
                    <a:pt x="524" y="10798"/>
                    <a:pt x="572" y="10834"/>
                    <a:pt x="619" y="10858"/>
                  </a:cubicBezTo>
                  <a:cubicBezTo>
                    <a:pt x="1465" y="11156"/>
                    <a:pt x="2381" y="11299"/>
                    <a:pt x="3298" y="11299"/>
                  </a:cubicBezTo>
                  <a:cubicBezTo>
                    <a:pt x="3512" y="11299"/>
                    <a:pt x="3739" y="11287"/>
                    <a:pt x="3965" y="11275"/>
                  </a:cubicBezTo>
                  <a:cubicBezTo>
                    <a:pt x="4405" y="11227"/>
                    <a:pt x="4858" y="11156"/>
                    <a:pt x="5286" y="11049"/>
                  </a:cubicBezTo>
                  <a:cubicBezTo>
                    <a:pt x="6680" y="10691"/>
                    <a:pt x="7965" y="9965"/>
                    <a:pt x="8989" y="8929"/>
                  </a:cubicBezTo>
                  <a:cubicBezTo>
                    <a:pt x="10013" y="7905"/>
                    <a:pt x="10751" y="6631"/>
                    <a:pt x="11109" y="5226"/>
                  </a:cubicBezTo>
                  <a:cubicBezTo>
                    <a:pt x="11204" y="4798"/>
                    <a:pt x="11287" y="4345"/>
                    <a:pt x="11323" y="3905"/>
                  </a:cubicBezTo>
                  <a:cubicBezTo>
                    <a:pt x="11430" y="2774"/>
                    <a:pt x="11287" y="1631"/>
                    <a:pt x="10906" y="559"/>
                  </a:cubicBezTo>
                  <a:cubicBezTo>
                    <a:pt x="10894" y="511"/>
                    <a:pt x="10859" y="464"/>
                    <a:pt x="10811" y="452"/>
                  </a:cubicBezTo>
                  <a:cubicBezTo>
                    <a:pt x="9980" y="153"/>
                    <a:pt x="9082" y="1"/>
                    <a:pt x="8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4" name="Google Shape;10294;p59"/>
          <p:cNvGrpSpPr/>
          <p:nvPr/>
        </p:nvGrpSpPr>
        <p:grpSpPr>
          <a:xfrm>
            <a:off x="1731934" y="3355639"/>
            <a:ext cx="368371" cy="361554"/>
            <a:chOff x="1731934" y="3355639"/>
            <a:chExt cx="368371" cy="361554"/>
          </a:xfrm>
        </p:grpSpPr>
        <p:sp>
          <p:nvSpPr>
            <p:cNvPr id="10295" name="Google Shape;10295;p59"/>
            <p:cNvSpPr/>
            <p:nvPr/>
          </p:nvSpPr>
          <p:spPr>
            <a:xfrm>
              <a:off x="1812336" y="3533963"/>
              <a:ext cx="41762" cy="41762"/>
            </a:xfrm>
            <a:custGeom>
              <a:avLst/>
              <a:gdLst/>
              <a:ahLst/>
              <a:cxnLst/>
              <a:rect l="l" t="t" r="r" b="b"/>
              <a:pathLst>
                <a:path w="1311" h="1311" extrusionOk="0">
                  <a:moveTo>
                    <a:pt x="655" y="322"/>
                  </a:moveTo>
                  <a:cubicBezTo>
                    <a:pt x="834" y="322"/>
                    <a:pt x="989" y="477"/>
                    <a:pt x="989" y="655"/>
                  </a:cubicBezTo>
                  <a:cubicBezTo>
                    <a:pt x="989" y="834"/>
                    <a:pt x="834" y="989"/>
                    <a:pt x="655" y="989"/>
                  </a:cubicBezTo>
                  <a:cubicBezTo>
                    <a:pt x="477" y="989"/>
                    <a:pt x="334" y="834"/>
                    <a:pt x="334" y="655"/>
                  </a:cubicBezTo>
                  <a:cubicBezTo>
                    <a:pt x="334" y="477"/>
                    <a:pt x="477" y="322"/>
                    <a:pt x="655" y="322"/>
                  </a:cubicBezTo>
                  <a:close/>
                  <a:moveTo>
                    <a:pt x="655" y="1"/>
                  </a:moveTo>
                  <a:cubicBezTo>
                    <a:pt x="298" y="1"/>
                    <a:pt x="1" y="298"/>
                    <a:pt x="1" y="655"/>
                  </a:cubicBezTo>
                  <a:cubicBezTo>
                    <a:pt x="1" y="1013"/>
                    <a:pt x="298" y="1310"/>
                    <a:pt x="655" y="1310"/>
                  </a:cubicBezTo>
                  <a:cubicBezTo>
                    <a:pt x="1013" y="1310"/>
                    <a:pt x="1310" y="1013"/>
                    <a:pt x="1310" y="655"/>
                  </a:cubicBezTo>
                  <a:cubicBezTo>
                    <a:pt x="1310" y="298"/>
                    <a:pt x="1013" y="1"/>
                    <a:pt x="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6" name="Google Shape;10296;p59"/>
            <p:cNvSpPr/>
            <p:nvPr/>
          </p:nvSpPr>
          <p:spPr>
            <a:xfrm>
              <a:off x="1731934" y="3355639"/>
              <a:ext cx="368371" cy="361554"/>
            </a:xfrm>
            <a:custGeom>
              <a:avLst/>
              <a:gdLst/>
              <a:ahLst/>
              <a:cxnLst/>
              <a:rect l="l" t="t" r="r" b="b"/>
              <a:pathLst>
                <a:path w="11564" h="11350" extrusionOk="0">
                  <a:moveTo>
                    <a:pt x="4572" y="330"/>
                  </a:moveTo>
                  <a:cubicBezTo>
                    <a:pt x="4619" y="330"/>
                    <a:pt x="4691" y="407"/>
                    <a:pt x="5251" y="753"/>
                  </a:cubicBezTo>
                  <a:lnTo>
                    <a:pt x="4882" y="1348"/>
                  </a:lnTo>
                  <a:lnTo>
                    <a:pt x="4239" y="943"/>
                  </a:lnTo>
                  <a:cubicBezTo>
                    <a:pt x="4215" y="907"/>
                    <a:pt x="4192" y="872"/>
                    <a:pt x="4215" y="836"/>
                  </a:cubicBezTo>
                  <a:cubicBezTo>
                    <a:pt x="4513" y="396"/>
                    <a:pt x="4489" y="348"/>
                    <a:pt x="4549" y="336"/>
                  </a:cubicBezTo>
                  <a:cubicBezTo>
                    <a:pt x="4557" y="333"/>
                    <a:pt x="4564" y="330"/>
                    <a:pt x="4572" y="330"/>
                  </a:cubicBezTo>
                  <a:close/>
                  <a:moveTo>
                    <a:pt x="5975" y="398"/>
                  </a:moveTo>
                  <a:cubicBezTo>
                    <a:pt x="6005" y="398"/>
                    <a:pt x="6035" y="404"/>
                    <a:pt x="6061" y="419"/>
                  </a:cubicBezTo>
                  <a:lnTo>
                    <a:pt x="7394" y="1253"/>
                  </a:lnTo>
                  <a:lnTo>
                    <a:pt x="6275" y="3039"/>
                  </a:lnTo>
                  <a:lnTo>
                    <a:pt x="4942" y="2205"/>
                  </a:lnTo>
                  <a:cubicBezTo>
                    <a:pt x="4846" y="2146"/>
                    <a:pt x="4834" y="2039"/>
                    <a:pt x="4882" y="1967"/>
                  </a:cubicBezTo>
                  <a:cubicBezTo>
                    <a:pt x="5073" y="1658"/>
                    <a:pt x="5501" y="979"/>
                    <a:pt x="5823" y="479"/>
                  </a:cubicBezTo>
                  <a:cubicBezTo>
                    <a:pt x="5847" y="430"/>
                    <a:pt x="5911" y="398"/>
                    <a:pt x="5975" y="398"/>
                  </a:cubicBezTo>
                  <a:close/>
                  <a:moveTo>
                    <a:pt x="10180" y="2860"/>
                  </a:moveTo>
                  <a:cubicBezTo>
                    <a:pt x="10323" y="2979"/>
                    <a:pt x="10847" y="3158"/>
                    <a:pt x="11002" y="3789"/>
                  </a:cubicBezTo>
                  <a:cubicBezTo>
                    <a:pt x="11195" y="4581"/>
                    <a:pt x="10555" y="5231"/>
                    <a:pt x="9842" y="5231"/>
                  </a:cubicBezTo>
                  <a:cubicBezTo>
                    <a:pt x="9633" y="5231"/>
                    <a:pt x="9418" y="5175"/>
                    <a:pt x="9216" y="5051"/>
                  </a:cubicBezTo>
                  <a:lnTo>
                    <a:pt x="8918" y="4872"/>
                  </a:lnTo>
                  <a:lnTo>
                    <a:pt x="10180" y="2860"/>
                  </a:lnTo>
                  <a:close/>
                  <a:moveTo>
                    <a:pt x="5644" y="3039"/>
                  </a:moveTo>
                  <a:lnTo>
                    <a:pt x="6204" y="3396"/>
                  </a:lnTo>
                  <a:lnTo>
                    <a:pt x="6216" y="3408"/>
                  </a:lnTo>
                  <a:lnTo>
                    <a:pt x="4287" y="5349"/>
                  </a:lnTo>
                  <a:cubicBezTo>
                    <a:pt x="4132" y="5170"/>
                    <a:pt x="3941" y="5039"/>
                    <a:pt x="3751" y="4944"/>
                  </a:cubicBezTo>
                  <a:lnTo>
                    <a:pt x="5644" y="3039"/>
                  </a:lnTo>
                  <a:close/>
                  <a:moveTo>
                    <a:pt x="3195" y="5176"/>
                  </a:moveTo>
                  <a:cubicBezTo>
                    <a:pt x="3355" y="5176"/>
                    <a:pt x="3520" y="5212"/>
                    <a:pt x="3680" y="5289"/>
                  </a:cubicBezTo>
                  <a:cubicBezTo>
                    <a:pt x="4705" y="5802"/>
                    <a:pt x="4316" y="7363"/>
                    <a:pt x="3195" y="7363"/>
                  </a:cubicBezTo>
                  <a:cubicBezTo>
                    <a:pt x="3170" y="7363"/>
                    <a:pt x="3145" y="7362"/>
                    <a:pt x="3120" y="7361"/>
                  </a:cubicBezTo>
                  <a:cubicBezTo>
                    <a:pt x="2548" y="7325"/>
                    <a:pt x="2096" y="6849"/>
                    <a:pt x="2096" y="6265"/>
                  </a:cubicBezTo>
                  <a:cubicBezTo>
                    <a:pt x="2096" y="5640"/>
                    <a:pt x="2615" y="5176"/>
                    <a:pt x="3195" y="5176"/>
                  </a:cubicBezTo>
                  <a:close/>
                  <a:moveTo>
                    <a:pt x="5144" y="8992"/>
                  </a:moveTo>
                  <a:cubicBezTo>
                    <a:pt x="5358" y="8992"/>
                    <a:pt x="5537" y="9159"/>
                    <a:pt x="5537" y="9385"/>
                  </a:cubicBezTo>
                  <a:lnTo>
                    <a:pt x="5537" y="9694"/>
                  </a:lnTo>
                  <a:lnTo>
                    <a:pt x="4537" y="9694"/>
                  </a:lnTo>
                  <a:lnTo>
                    <a:pt x="4537" y="9385"/>
                  </a:lnTo>
                  <a:lnTo>
                    <a:pt x="4525" y="9385"/>
                  </a:lnTo>
                  <a:cubicBezTo>
                    <a:pt x="4525" y="9170"/>
                    <a:pt x="4692" y="8992"/>
                    <a:pt x="4906" y="8992"/>
                  </a:cubicBezTo>
                  <a:close/>
                  <a:moveTo>
                    <a:pt x="6085" y="10016"/>
                  </a:moveTo>
                  <a:cubicBezTo>
                    <a:pt x="6454" y="10016"/>
                    <a:pt x="6751" y="10313"/>
                    <a:pt x="6751" y="10694"/>
                  </a:cubicBezTo>
                  <a:lnTo>
                    <a:pt x="6751" y="10992"/>
                  </a:lnTo>
                  <a:lnTo>
                    <a:pt x="322" y="10992"/>
                  </a:lnTo>
                  <a:lnTo>
                    <a:pt x="322" y="10694"/>
                  </a:lnTo>
                  <a:cubicBezTo>
                    <a:pt x="322" y="10313"/>
                    <a:pt x="620" y="10016"/>
                    <a:pt x="1001" y="10016"/>
                  </a:cubicBezTo>
                  <a:close/>
                  <a:moveTo>
                    <a:pt x="4558" y="1"/>
                  </a:moveTo>
                  <a:cubicBezTo>
                    <a:pt x="4419" y="1"/>
                    <a:pt x="4281" y="69"/>
                    <a:pt x="4203" y="193"/>
                  </a:cubicBezTo>
                  <a:lnTo>
                    <a:pt x="3906" y="669"/>
                  </a:lnTo>
                  <a:cubicBezTo>
                    <a:pt x="3787" y="872"/>
                    <a:pt x="3846" y="1122"/>
                    <a:pt x="4049" y="1241"/>
                  </a:cubicBezTo>
                  <a:lnTo>
                    <a:pt x="4680" y="1646"/>
                  </a:lnTo>
                  <a:cubicBezTo>
                    <a:pt x="4644" y="1741"/>
                    <a:pt x="4442" y="1908"/>
                    <a:pt x="4525" y="2193"/>
                  </a:cubicBezTo>
                  <a:cubicBezTo>
                    <a:pt x="4549" y="2324"/>
                    <a:pt x="4620" y="2431"/>
                    <a:pt x="4739" y="2503"/>
                  </a:cubicBezTo>
                  <a:lnTo>
                    <a:pt x="5335" y="2872"/>
                  </a:lnTo>
                  <a:lnTo>
                    <a:pt x="3358" y="4872"/>
                  </a:lnTo>
                  <a:cubicBezTo>
                    <a:pt x="3297" y="4865"/>
                    <a:pt x="3237" y="4861"/>
                    <a:pt x="3177" y="4861"/>
                  </a:cubicBezTo>
                  <a:cubicBezTo>
                    <a:pt x="2398" y="4861"/>
                    <a:pt x="1751" y="5493"/>
                    <a:pt x="1751" y="6289"/>
                  </a:cubicBezTo>
                  <a:cubicBezTo>
                    <a:pt x="1751" y="6765"/>
                    <a:pt x="1989" y="7194"/>
                    <a:pt x="2346" y="7444"/>
                  </a:cubicBezTo>
                  <a:lnTo>
                    <a:pt x="2346" y="8397"/>
                  </a:lnTo>
                  <a:cubicBezTo>
                    <a:pt x="2346" y="8492"/>
                    <a:pt x="2417" y="8563"/>
                    <a:pt x="2513" y="8563"/>
                  </a:cubicBezTo>
                  <a:cubicBezTo>
                    <a:pt x="2596" y="8563"/>
                    <a:pt x="2679" y="8492"/>
                    <a:pt x="2679" y="8397"/>
                  </a:cubicBezTo>
                  <a:lnTo>
                    <a:pt x="2679" y="7623"/>
                  </a:lnTo>
                  <a:cubicBezTo>
                    <a:pt x="2828" y="7675"/>
                    <a:pt x="2995" y="7708"/>
                    <a:pt x="3163" y="7708"/>
                  </a:cubicBezTo>
                  <a:cubicBezTo>
                    <a:pt x="3224" y="7708"/>
                    <a:pt x="3286" y="7704"/>
                    <a:pt x="3346" y="7694"/>
                  </a:cubicBezTo>
                  <a:lnTo>
                    <a:pt x="3346" y="9706"/>
                  </a:lnTo>
                  <a:lnTo>
                    <a:pt x="2679" y="9706"/>
                  </a:lnTo>
                  <a:lnTo>
                    <a:pt x="2679" y="9028"/>
                  </a:lnTo>
                  <a:cubicBezTo>
                    <a:pt x="2679" y="8932"/>
                    <a:pt x="2596" y="8861"/>
                    <a:pt x="2513" y="8861"/>
                  </a:cubicBezTo>
                  <a:cubicBezTo>
                    <a:pt x="2417" y="8861"/>
                    <a:pt x="2346" y="8932"/>
                    <a:pt x="2346" y="9028"/>
                  </a:cubicBezTo>
                  <a:lnTo>
                    <a:pt x="2346" y="9706"/>
                  </a:lnTo>
                  <a:lnTo>
                    <a:pt x="989" y="9706"/>
                  </a:lnTo>
                  <a:cubicBezTo>
                    <a:pt x="441" y="9706"/>
                    <a:pt x="1" y="10159"/>
                    <a:pt x="1" y="10706"/>
                  </a:cubicBezTo>
                  <a:lnTo>
                    <a:pt x="1" y="11183"/>
                  </a:lnTo>
                  <a:cubicBezTo>
                    <a:pt x="1" y="11266"/>
                    <a:pt x="72" y="11349"/>
                    <a:pt x="155" y="11349"/>
                  </a:cubicBezTo>
                  <a:lnTo>
                    <a:pt x="6918" y="11349"/>
                  </a:lnTo>
                  <a:cubicBezTo>
                    <a:pt x="7001" y="11349"/>
                    <a:pt x="7085" y="11266"/>
                    <a:pt x="7085" y="11183"/>
                  </a:cubicBezTo>
                  <a:lnTo>
                    <a:pt x="7085" y="10706"/>
                  </a:lnTo>
                  <a:cubicBezTo>
                    <a:pt x="7085" y="10159"/>
                    <a:pt x="6632" y="9706"/>
                    <a:pt x="6085" y="9706"/>
                  </a:cubicBezTo>
                  <a:lnTo>
                    <a:pt x="5846" y="9706"/>
                  </a:lnTo>
                  <a:lnTo>
                    <a:pt x="5846" y="9397"/>
                  </a:lnTo>
                  <a:cubicBezTo>
                    <a:pt x="5846" y="9004"/>
                    <a:pt x="5537" y="8682"/>
                    <a:pt x="5132" y="8682"/>
                  </a:cubicBezTo>
                  <a:lnTo>
                    <a:pt x="4894" y="8682"/>
                  </a:lnTo>
                  <a:cubicBezTo>
                    <a:pt x="4501" y="8682"/>
                    <a:pt x="4180" y="9004"/>
                    <a:pt x="4180" y="9397"/>
                  </a:cubicBezTo>
                  <a:lnTo>
                    <a:pt x="4180" y="9706"/>
                  </a:lnTo>
                  <a:lnTo>
                    <a:pt x="3668" y="9706"/>
                  </a:lnTo>
                  <a:lnTo>
                    <a:pt x="3668" y="7611"/>
                  </a:lnTo>
                  <a:cubicBezTo>
                    <a:pt x="4465" y="7313"/>
                    <a:pt x="4823" y="6384"/>
                    <a:pt x="4442" y="5646"/>
                  </a:cubicBezTo>
                  <a:lnTo>
                    <a:pt x="6370" y="3717"/>
                  </a:lnTo>
                  <a:lnTo>
                    <a:pt x="7585" y="5801"/>
                  </a:lnTo>
                  <a:cubicBezTo>
                    <a:pt x="7670" y="5947"/>
                    <a:pt x="7817" y="6018"/>
                    <a:pt x="7962" y="6018"/>
                  </a:cubicBezTo>
                  <a:cubicBezTo>
                    <a:pt x="8100" y="6018"/>
                    <a:pt x="8235" y="5953"/>
                    <a:pt x="8311" y="5825"/>
                  </a:cubicBezTo>
                  <a:lnTo>
                    <a:pt x="8716" y="5182"/>
                  </a:lnTo>
                  <a:lnTo>
                    <a:pt x="9014" y="5360"/>
                  </a:lnTo>
                  <a:cubicBezTo>
                    <a:pt x="9273" y="5514"/>
                    <a:pt x="9548" y="5584"/>
                    <a:pt x="9813" y="5584"/>
                  </a:cubicBezTo>
                  <a:cubicBezTo>
                    <a:pt x="10740" y="5584"/>
                    <a:pt x="11564" y="4739"/>
                    <a:pt x="11323" y="3694"/>
                  </a:cubicBezTo>
                  <a:cubicBezTo>
                    <a:pt x="11145" y="2908"/>
                    <a:pt x="10490" y="2670"/>
                    <a:pt x="10359" y="2562"/>
                  </a:cubicBezTo>
                  <a:lnTo>
                    <a:pt x="10764" y="1920"/>
                  </a:lnTo>
                  <a:cubicBezTo>
                    <a:pt x="10942" y="1658"/>
                    <a:pt x="10740" y="1300"/>
                    <a:pt x="10430" y="1265"/>
                  </a:cubicBezTo>
                  <a:lnTo>
                    <a:pt x="9359" y="1181"/>
                  </a:lnTo>
                  <a:cubicBezTo>
                    <a:pt x="9353" y="1180"/>
                    <a:pt x="9346" y="1180"/>
                    <a:pt x="9340" y="1180"/>
                  </a:cubicBezTo>
                  <a:cubicBezTo>
                    <a:pt x="9262" y="1180"/>
                    <a:pt x="9180" y="1247"/>
                    <a:pt x="9180" y="1324"/>
                  </a:cubicBezTo>
                  <a:cubicBezTo>
                    <a:pt x="9168" y="1419"/>
                    <a:pt x="9240" y="1503"/>
                    <a:pt x="9335" y="1503"/>
                  </a:cubicBezTo>
                  <a:lnTo>
                    <a:pt x="10407" y="1598"/>
                  </a:lnTo>
                  <a:cubicBezTo>
                    <a:pt x="10478" y="1598"/>
                    <a:pt x="10526" y="1681"/>
                    <a:pt x="10478" y="1741"/>
                  </a:cubicBezTo>
                  <a:cubicBezTo>
                    <a:pt x="10109" y="2324"/>
                    <a:pt x="8347" y="5134"/>
                    <a:pt x="8049" y="5610"/>
                  </a:cubicBezTo>
                  <a:cubicBezTo>
                    <a:pt x="8025" y="5640"/>
                    <a:pt x="7993" y="5655"/>
                    <a:pt x="7961" y="5655"/>
                  </a:cubicBezTo>
                  <a:cubicBezTo>
                    <a:pt x="7930" y="5655"/>
                    <a:pt x="7900" y="5640"/>
                    <a:pt x="7882" y="5610"/>
                  </a:cubicBezTo>
                  <a:lnTo>
                    <a:pt x="6525" y="3313"/>
                  </a:lnTo>
                  <a:lnTo>
                    <a:pt x="6513" y="3277"/>
                  </a:lnTo>
                  <a:lnTo>
                    <a:pt x="7704" y="1372"/>
                  </a:lnTo>
                  <a:lnTo>
                    <a:pt x="8704" y="1467"/>
                  </a:lnTo>
                  <a:cubicBezTo>
                    <a:pt x="8710" y="1468"/>
                    <a:pt x="8716" y="1468"/>
                    <a:pt x="8722" y="1468"/>
                  </a:cubicBezTo>
                  <a:cubicBezTo>
                    <a:pt x="8801" y="1468"/>
                    <a:pt x="8883" y="1401"/>
                    <a:pt x="8883" y="1312"/>
                  </a:cubicBezTo>
                  <a:cubicBezTo>
                    <a:pt x="8894" y="1229"/>
                    <a:pt x="8823" y="1134"/>
                    <a:pt x="8728" y="1134"/>
                  </a:cubicBezTo>
                  <a:lnTo>
                    <a:pt x="7656" y="1050"/>
                  </a:lnTo>
                  <a:lnTo>
                    <a:pt x="6216" y="134"/>
                  </a:lnTo>
                  <a:cubicBezTo>
                    <a:pt x="6133" y="84"/>
                    <a:pt x="6042" y="60"/>
                    <a:pt x="5952" y="60"/>
                  </a:cubicBezTo>
                  <a:cubicBezTo>
                    <a:pt x="5781" y="60"/>
                    <a:pt x="5614" y="145"/>
                    <a:pt x="5513" y="300"/>
                  </a:cubicBezTo>
                  <a:lnTo>
                    <a:pt x="5418" y="467"/>
                  </a:lnTo>
                  <a:lnTo>
                    <a:pt x="4775" y="62"/>
                  </a:lnTo>
                  <a:cubicBezTo>
                    <a:pt x="4708" y="21"/>
                    <a:pt x="4633" y="1"/>
                    <a:pt x="45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297" name="Google Shape;10297;p59"/>
          <p:cNvGrpSpPr/>
          <p:nvPr/>
        </p:nvGrpSpPr>
        <p:grpSpPr>
          <a:xfrm>
            <a:off x="3990517" y="3354173"/>
            <a:ext cx="279559" cy="363402"/>
            <a:chOff x="3990517" y="3354173"/>
            <a:chExt cx="279559" cy="363402"/>
          </a:xfrm>
        </p:grpSpPr>
        <p:sp>
          <p:nvSpPr>
            <p:cNvPr id="10298" name="Google Shape;10298;p59"/>
            <p:cNvSpPr/>
            <p:nvPr/>
          </p:nvSpPr>
          <p:spPr>
            <a:xfrm>
              <a:off x="3990517" y="3354173"/>
              <a:ext cx="279559" cy="363402"/>
            </a:xfrm>
            <a:custGeom>
              <a:avLst/>
              <a:gdLst/>
              <a:ahLst/>
              <a:cxnLst/>
              <a:rect l="l" t="t" r="r" b="b"/>
              <a:pathLst>
                <a:path w="8776" h="11408" extrusionOk="0">
                  <a:moveTo>
                    <a:pt x="6322" y="346"/>
                  </a:moveTo>
                  <a:lnTo>
                    <a:pt x="6322" y="715"/>
                  </a:lnTo>
                  <a:lnTo>
                    <a:pt x="5537" y="715"/>
                  </a:lnTo>
                  <a:lnTo>
                    <a:pt x="5537" y="346"/>
                  </a:lnTo>
                  <a:close/>
                  <a:moveTo>
                    <a:pt x="6692" y="1049"/>
                  </a:moveTo>
                  <a:lnTo>
                    <a:pt x="6692" y="5121"/>
                  </a:lnTo>
                  <a:lnTo>
                    <a:pt x="5179" y="5121"/>
                  </a:lnTo>
                  <a:lnTo>
                    <a:pt x="5179" y="1049"/>
                  </a:lnTo>
                  <a:close/>
                  <a:moveTo>
                    <a:pt x="5763" y="5466"/>
                  </a:moveTo>
                  <a:lnTo>
                    <a:pt x="5763" y="6014"/>
                  </a:lnTo>
                  <a:lnTo>
                    <a:pt x="5465" y="6014"/>
                  </a:lnTo>
                  <a:lnTo>
                    <a:pt x="5465" y="5466"/>
                  </a:lnTo>
                  <a:close/>
                  <a:moveTo>
                    <a:pt x="6394" y="5466"/>
                  </a:moveTo>
                  <a:lnTo>
                    <a:pt x="6394" y="6633"/>
                  </a:lnTo>
                  <a:lnTo>
                    <a:pt x="6096" y="6633"/>
                  </a:lnTo>
                  <a:lnTo>
                    <a:pt x="6096" y="5466"/>
                  </a:lnTo>
                  <a:close/>
                  <a:moveTo>
                    <a:pt x="6953" y="8038"/>
                  </a:moveTo>
                  <a:cubicBezTo>
                    <a:pt x="7168" y="8038"/>
                    <a:pt x="7346" y="8216"/>
                    <a:pt x="7346" y="8443"/>
                  </a:cubicBezTo>
                  <a:cubicBezTo>
                    <a:pt x="7346" y="8669"/>
                    <a:pt x="7168" y="8847"/>
                    <a:pt x="6953" y="8847"/>
                  </a:cubicBezTo>
                  <a:lnTo>
                    <a:pt x="4584" y="8847"/>
                  </a:lnTo>
                  <a:lnTo>
                    <a:pt x="4584" y="8038"/>
                  </a:lnTo>
                  <a:close/>
                  <a:moveTo>
                    <a:pt x="6549" y="9193"/>
                  </a:moveTo>
                  <a:cubicBezTo>
                    <a:pt x="6537" y="9502"/>
                    <a:pt x="6275" y="9740"/>
                    <a:pt x="5965" y="9740"/>
                  </a:cubicBezTo>
                  <a:lnTo>
                    <a:pt x="4584" y="9740"/>
                  </a:lnTo>
                  <a:lnTo>
                    <a:pt x="4584" y="9193"/>
                  </a:lnTo>
                  <a:close/>
                  <a:moveTo>
                    <a:pt x="5882" y="10086"/>
                  </a:moveTo>
                  <a:lnTo>
                    <a:pt x="5882" y="10359"/>
                  </a:lnTo>
                  <a:lnTo>
                    <a:pt x="4584" y="10359"/>
                  </a:lnTo>
                  <a:lnTo>
                    <a:pt x="4584" y="10086"/>
                  </a:lnTo>
                  <a:close/>
                  <a:moveTo>
                    <a:pt x="4953" y="1"/>
                  </a:moveTo>
                  <a:cubicBezTo>
                    <a:pt x="4870" y="1"/>
                    <a:pt x="4787" y="72"/>
                    <a:pt x="4787" y="168"/>
                  </a:cubicBezTo>
                  <a:cubicBezTo>
                    <a:pt x="4787" y="263"/>
                    <a:pt x="4870" y="334"/>
                    <a:pt x="4953" y="334"/>
                  </a:cubicBezTo>
                  <a:lnTo>
                    <a:pt x="5144" y="334"/>
                  </a:lnTo>
                  <a:lnTo>
                    <a:pt x="5144" y="703"/>
                  </a:lnTo>
                  <a:lnTo>
                    <a:pt x="4953" y="703"/>
                  </a:lnTo>
                  <a:cubicBezTo>
                    <a:pt x="4870" y="703"/>
                    <a:pt x="4787" y="775"/>
                    <a:pt x="4787" y="870"/>
                  </a:cubicBezTo>
                  <a:lnTo>
                    <a:pt x="4787" y="1334"/>
                  </a:lnTo>
                  <a:lnTo>
                    <a:pt x="4370" y="1334"/>
                  </a:lnTo>
                  <a:cubicBezTo>
                    <a:pt x="3644" y="1334"/>
                    <a:pt x="2929" y="1513"/>
                    <a:pt x="2310" y="1846"/>
                  </a:cubicBezTo>
                  <a:cubicBezTo>
                    <a:pt x="2215" y="1894"/>
                    <a:pt x="2191" y="2001"/>
                    <a:pt x="2227" y="2073"/>
                  </a:cubicBezTo>
                  <a:cubicBezTo>
                    <a:pt x="2262" y="2132"/>
                    <a:pt x="2322" y="2168"/>
                    <a:pt x="2381" y="2168"/>
                  </a:cubicBezTo>
                  <a:cubicBezTo>
                    <a:pt x="2405" y="2168"/>
                    <a:pt x="2441" y="2168"/>
                    <a:pt x="2453" y="2144"/>
                  </a:cubicBezTo>
                  <a:cubicBezTo>
                    <a:pt x="3036" y="1835"/>
                    <a:pt x="3691" y="1668"/>
                    <a:pt x="4358" y="1668"/>
                  </a:cubicBezTo>
                  <a:lnTo>
                    <a:pt x="4775" y="1668"/>
                  </a:lnTo>
                  <a:lnTo>
                    <a:pt x="4775" y="3382"/>
                  </a:lnTo>
                  <a:lnTo>
                    <a:pt x="4358" y="3382"/>
                  </a:lnTo>
                  <a:cubicBezTo>
                    <a:pt x="3060" y="3382"/>
                    <a:pt x="2024" y="4430"/>
                    <a:pt x="2024" y="5716"/>
                  </a:cubicBezTo>
                  <a:cubicBezTo>
                    <a:pt x="2024" y="6954"/>
                    <a:pt x="2977" y="7966"/>
                    <a:pt x="4191" y="8038"/>
                  </a:cubicBezTo>
                  <a:lnTo>
                    <a:pt x="4191" y="9740"/>
                  </a:lnTo>
                  <a:cubicBezTo>
                    <a:pt x="2048" y="9645"/>
                    <a:pt x="346" y="7883"/>
                    <a:pt x="346" y="5716"/>
                  </a:cubicBezTo>
                  <a:cubicBezTo>
                    <a:pt x="346" y="4454"/>
                    <a:pt x="917" y="3299"/>
                    <a:pt x="1917" y="2525"/>
                  </a:cubicBezTo>
                  <a:cubicBezTo>
                    <a:pt x="1989" y="2466"/>
                    <a:pt x="2012" y="2358"/>
                    <a:pt x="1953" y="2287"/>
                  </a:cubicBezTo>
                  <a:cubicBezTo>
                    <a:pt x="1918" y="2238"/>
                    <a:pt x="1867" y="2214"/>
                    <a:pt x="1817" y="2214"/>
                  </a:cubicBezTo>
                  <a:cubicBezTo>
                    <a:pt x="1780" y="2214"/>
                    <a:pt x="1744" y="2226"/>
                    <a:pt x="1715" y="2251"/>
                  </a:cubicBezTo>
                  <a:cubicBezTo>
                    <a:pt x="1191" y="2656"/>
                    <a:pt x="762" y="3180"/>
                    <a:pt x="465" y="3751"/>
                  </a:cubicBezTo>
                  <a:cubicBezTo>
                    <a:pt x="143" y="4371"/>
                    <a:pt x="0" y="5037"/>
                    <a:pt x="0" y="5716"/>
                  </a:cubicBezTo>
                  <a:cubicBezTo>
                    <a:pt x="0" y="8073"/>
                    <a:pt x="1858" y="9990"/>
                    <a:pt x="4191" y="10086"/>
                  </a:cubicBezTo>
                  <a:lnTo>
                    <a:pt x="4191" y="10359"/>
                  </a:lnTo>
                  <a:lnTo>
                    <a:pt x="2036" y="10359"/>
                  </a:lnTo>
                  <a:cubicBezTo>
                    <a:pt x="1739" y="10359"/>
                    <a:pt x="1512" y="10598"/>
                    <a:pt x="1512" y="10883"/>
                  </a:cubicBezTo>
                  <a:cubicBezTo>
                    <a:pt x="1512" y="11181"/>
                    <a:pt x="1750" y="11407"/>
                    <a:pt x="2036" y="11407"/>
                  </a:cubicBezTo>
                  <a:lnTo>
                    <a:pt x="8263" y="11407"/>
                  </a:lnTo>
                  <a:cubicBezTo>
                    <a:pt x="8561" y="11407"/>
                    <a:pt x="8775" y="11169"/>
                    <a:pt x="8775" y="10883"/>
                  </a:cubicBezTo>
                  <a:cubicBezTo>
                    <a:pt x="8775" y="10598"/>
                    <a:pt x="8537" y="10359"/>
                    <a:pt x="8263" y="10359"/>
                  </a:cubicBezTo>
                  <a:lnTo>
                    <a:pt x="7465" y="10359"/>
                  </a:lnTo>
                  <a:cubicBezTo>
                    <a:pt x="7382" y="10359"/>
                    <a:pt x="7311" y="10443"/>
                    <a:pt x="7311" y="10526"/>
                  </a:cubicBezTo>
                  <a:cubicBezTo>
                    <a:pt x="7311" y="10621"/>
                    <a:pt x="7382" y="10693"/>
                    <a:pt x="7465" y="10693"/>
                  </a:cubicBezTo>
                  <a:lnTo>
                    <a:pt x="8263" y="10693"/>
                  </a:lnTo>
                  <a:cubicBezTo>
                    <a:pt x="8358" y="10693"/>
                    <a:pt x="8454" y="10776"/>
                    <a:pt x="8454" y="10883"/>
                  </a:cubicBezTo>
                  <a:cubicBezTo>
                    <a:pt x="8454" y="10990"/>
                    <a:pt x="8358" y="11074"/>
                    <a:pt x="8263" y="11074"/>
                  </a:cubicBezTo>
                  <a:lnTo>
                    <a:pt x="2084" y="11074"/>
                  </a:lnTo>
                  <a:cubicBezTo>
                    <a:pt x="1977" y="11074"/>
                    <a:pt x="1893" y="10990"/>
                    <a:pt x="1893" y="10883"/>
                  </a:cubicBezTo>
                  <a:cubicBezTo>
                    <a:pt x="1893" y="10776"/>
                    <a:pt x="1977" y="10693"/>
                    <a:pt x="2084" y="10693"/>
                  </a:cubicBezTo>
                  <a:lnTo>
                    <a:pt x="6787" y="10693"/>
                  </a:lnTo>
                  <a:cubicBezTo>
                    <a:pt x="6870" y="10693"/>
                    <a:pt x="6953" y="10621"/>
                    <a:pt x="6953" y="10526"/>
                  </a:cubicBezTo>
                  <a:cubicBezTo>
                    <a:pt x="6953" y="10443"/>
                    <a:pt x="6870" y="10359"/>
                    <a:pt x="6787" y="10359"/>
                  </a:cubicBezTo>
                  <a:lnTo>
                    <a:pt x="6203" y="10359"/>
                  </a:lnTo>
                  <a:lnTo>
                    <a:pt x="6203" y="10050"/>
                  </a:lnTo>
                  <a:cubicBezTo>
                    <a:pt x="6596" y="9943"/>
                    <a:pt x="6870" y="9609"/>
                    <a:pt x="6870" y="9193"/>
                  </a:cubicBezTo>
                  <a:lnTo>
                    <a:pt x="6930" y="9193"/>
                  </a:lnTo>
                  <a:cubicBezTo>
                    <a:pt x="7334" y="9193"/>
                    <a:pt x="7680" y="8859"/>
                    <a:pt x="7680" y="8443"/>
                  </a:cubicBezTo>
                  <a:cubicBezTo>
                    <a:pt x="7680" y="8038"/>
                    <a:pt x="7346" y="7704"/>
                    <a:pt x="6930" y="7704"/>
                  </a:cubicBezTo>
                  <a:lnTo>
                    <a:pt x="4406" y="7704"/>
                  </a:lnTo>
                  <a:cubicBezTo>
                    <a:pt x="3298" y="7704"/>
                    <a:pt x="2405" y="6811"/>
                    <a:pt x="2405" y="5704"/>
                  </a:cubicBezTo>
                  <a:cubicBezTo>
                    <a:pt x="2405" y="4609"/>
                    <a:pt x="3298" y="3716"/>
                    <a:pt x="4406" y="3716"/>
                  </a:cubicBezTo>
                  <a:lnTo>
                    <a:pt x="4822" y="3716"/>
                  </a:lnTo>
                  <a:lnTo>
                    <a:pt x="4822" y="5287"/>
                  </a:lnTo>
                  <a:cubicBezTo>
                    <a:pt x="4822" y="5383"/>
                    <a:pt x="4894" y="5454"/>
                    <a:pt x="4989" y="5454"/>
                  </a:cubicBezTo>
                  <a:lnTo>
                    <a:pt x="5108" y="5454"/>
                  </a:lnTo>
                  <a:lnTo>
                    <a:pt x="5108" y="6180"/>
                  </a:lnTo>
                  <a:cubicBezTo>
                    <a:pt x="5108" y="6276"/>
                    <a:pt x="5179" y="6347"/>
                    <a:pt x="5263" y="6347"/>
                  </a:cubicBezTo>
                  <a:lnTo>
                    <a:pt x="5727" y="6347"/>
                  </a:lnTo>
                  <a:lnTo>
                    <a:pt x="5727" y="6788"/>
                  </a:lnTo>
                  <a:cubicBezTo>
                    <a:pt x="5727" y="6883"/>
                    <a:pt x="5799" y="6954"/>
                    <a:pt x="5894" y="6954"/>
                  </a:cubicBezTo>
                  <a:lnTo>
                    <a:pt x="6537" y="6954"/>
                  </a:lnTo>
                  <a:cubicBezTo>
                    <a:pt x="6620" y="6954"/>
                    <a:pt x="6692" y="6883"/>
                    <a:pt x="6692" y="6788"/>
                  </a:cubicBezTo>
                  <a:lnTo>
                    <a:pt x="6692" y="5454"/>
                  </a:lnTo>
                  <a:lnTo>
                    <a:pt x="6811" y="5454"/>
                  </a:lnTo>
                  <a:cubicBezTo>
                    <a:pt x="6906" y="5454"/>
                    <a:pt x="6977" y="5383"/>
                    <a:pt x="6977" y="5287"/>
                  </a:cubicBezTo>
                  <a:lnTo>
                    <a:pt x="6977" y="870"/>
                  </a:lnTo>
                  <a:cubicBezTo>
                    <a:pt x="6977" y="775"/>
                    <a:pt x="6906" y="703"/>
                    <a:pt x="6811" y="703"/>
                  </a:cubicBezTo>
                  <a:lnTo>
                    <a:pt x="6620" y="703"/>
                  </a:lnTo>
                  <a:lnTo>
                    <a:pt x="6620" y="334"/>
                  </a:lnTo>
                  <a:lnTo>
                    <a:pt x="6811" y="334"/>
                  </a:lnTo>
                  <a:cubicBezTo>
                    <a:pt x="6906" y="334"/>
                    <a:pt x="6977" y="263"/>
                    <a:pt x="6977" y="168"/>
                  </a:cubicBezTo>
                  <a:cubicBezTo>
                    <a:pt x="6977" y="72"/>
                    <a:pt x="6906" y="1"/>
                    <a:pt x="68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9" name="Google Shape;10299;p59"/>
            <p:cNvSpPr/>
            <p:nvPr/>
          </p:nvSpPr>
          <p:spPr>
            <a:xfrm>
              <a:off x="4102009" y="3418680"/>
              <a:ext cx="36824" cy="37175"/>
            </a:xfrm>
            <a:custGeom>
              <a:avLst/>
              <a:gdLst/>
              <a:ahLst/>
              <a:cxnLst/>
              <a:rect l="l" t="t" r="r" b="b"/>
              <a:pathLst>
                <a:path w="1156" h="1167" extrusionOk="0">
                  <a:moveTo>
                    <a:pt x="572" y="345"/>
                  </a:moveTo>
                  <a:cubicBezTo>
                    <a:pt x="715" y="345"/>
                    <a:pt x="810" y="452"/>
                    <a:pt x="810" y="583"/>
                  </a:cubicBezTo>
                  <a:cubicBezTo>
                    <a:pt x="810" y="714"/>
                    <a:pt x="715" y="822"/>
                    <a:pt x="572" y="822"/>
                  </a:cubicBezTo>
                  <a:cubicBezTo>
                    <a:pt x="441" y="822"/>
                    <a:pt x="334" y="714"/>
                    <a:pt x="334" y="583"/>
                  </a:cubicBezTo>
                  <a:cubicBezTo>
                    <a:pt x="334" y="452"/>
                    <a:pt x="441" y="345"/>
                    <a:pt x="572" y="345"/>
                  </a:cubicBezTo>
                  <a:close/>
                  <a:moveTo>
                    <a:pt x="572" y="0"/>
                  </a:moveTo>
                  <a:cubicBezTo>
                    <a:pt x="263" y="0"/>
                    <a:pt x="1" y="262"/>
                    <a:pt x="1" y="583"/>
                  </a:cubicBezTo>
                  <a:cubicBezTo>
                    <a:pt x="1" y="893"/>
                    <a:pt x="251" y="1167"/>
                    <a:pt x="572" y="1167"/>
                  </a:cubicBezTo>
                  <a:cubicBezTo>
                    <a:pt x="894" y="1167"/>
                    <a:pt x="1156" y="893"/>
                    <a:pt x="1156" y="583"/>
                  </a:cubicBezTo>
                  <a:cubicBezTo>
                    <a:pt x="1156" y="274"/>
                    <a:pt x="906"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0" name="Google Shape;10300;p59"/>
            <p:cNvSpPr/>
            <p:nvPr/>
          </p:nvSpPr>
          <p:spPr>
            <a:xfrm>
              <a:off x="4083820" y="3615129"/>
              <a:ext cx="37175" cy="36824"/>
            </a:xfrm>
            <a:custGeom>
              <a:avLst/>
              <a:gdLst/>
              <a:ahLst/>
              <a:cxnLst/>
              <a:rect l="l" t="t" r="r" b="b"/>
              <a:pathLst>
                <a:path w="1167" h="1156" extrusionOk="0">
                  <a:moveTo>
                    <a:pt x="584" y="346"/>
                  </a:moveTo>
                  <a:cubicBezTo>
                    <a:pt x="715" y="346"/>
                    <a:pt x="822" y="441"/>
                    <a:pt x="822" y="584"/>
                  </a:cubicBezTo>
                  <a:cubicBezTo>
                    <a:pt x="822" y="715"/>
                    <a:pt x="715" y="822"/>
                    <a:pt x="584" y="822"/>
                  </a:cubicBezTo>
                  <a:cubicBezTo>
                    <a:pt x="453" y="822"/>
                    <a:pt x="345" y="715"/>
                    <a:pt x="345" y="584"/>
                  </a:cubicBezTo>
                  <a:cubicBezTo>
                    <a:pt x="345" y="441"/>
                    <a:pt x="453" y="346"/>
                    <a:pt x="584" y="346"/>
                  </a:cubicBezTo>
                  <a:close/>
                  <a:moveTo>
                    <a:pt x="584" y="0"/>
                  </a:moveTo>
                  <a:cubicBezTo>
                    <a:pt x="274" y="0"/>
                    <a:pt x="0" y="251"/>
                    <a:pt x="0" y="584"/>
                  </a:cubicBezTo>
                  <a:cubicBezTo>
                    <a:pt x="0" y="905"/>
                    <a:pt x="250" y="1155"/>
                    <a:pt x="584" y="1155"/>
                  </a:cubicBezTo>
                  <a:cubicBezTo>
                    <a:pt x="905" y="1155"/>
                    <a:pt x="1167" y="893"/>
                    <a:pt x="1167" y="584"/>
                  </a:cubicBezTo>
                  <a:cubicBezTo>
                    <a:pt x="1167" y="262"/>
                    <a:pt x="90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1" name="Google Shape;10301;p59"/>
          <p:cNvGrpSpPr/>
          <p:nvPr/>
        </p:nvGrpSpPr>
        <p:grpSpPr>
          <a:xfrm>
            <a:off x="3497847" y="3417374"/>
            <a:ext cx="379680" cy="237606"/>
            <a:chOff x="3497847" y="3417374"/>
            <a:chExt cx="379680" cy="237606"/>
          </a:xfrm>
        </p:grpSpPr>
        <p:sp>
          <p:nvSpPr>
            <p:cNvPr id="10302" name="Google Shape;10302;p59"/>
            <p:cNvSpPr/>
            <p:nvPr/>
          </p:nvSpPr>
          <p:spPr>
            <a:xfrm>
              <a:off x="3557767" y="3444833"/>
              <a:ext cx="113818" cy="113818"/>
            </a:xfrm>
            <a:custGeom>
              <a:avLst/>
              <a:gdLst/>
              <a:ahLst/>
              <a:cxnLst/>
              <a:rect l="l" t="t" r="r" b="b"/>
              <a:pathLst>
                <a:path w="3573" h="3573" extrusionOk="0">
                  <a:moveTo>
                    <a:pt x="1786" y="358"/>
                  </a:moveTo>
                  <a:cubicBezTo>
                    <a:pt x="2572" y="358"/>
                    <a:pt x="3215" y="1001"/>
                    <a:pt x="3215" y="1787"/>
                  </a:cubicBezTo>
                  <a:cubicBezTo>
                    <a:pt x="3215" y="2572"/>
                    <a:pt x="2572" y="3215"/>
                    <a:pt x="1786" y="3215"/>
                  </a:cubicBezTo>
                  <a:cubicBezTo>
                    <a:pt x="988" y="3215"/>
                    <a:pt x="357" y="2572"/>
                    <a:pt x="357" y="1787"/>
                  </a:cubicBezTo>
                  <a:cubicBezTo>
                    <a:pt x="334" y="1001"/>
                    <a:pt x="988" y="358"/>
                    <a:pt x="1786" y="358"/>
                  </a:cubicBezTo>
                  <a:close/>
                  <a:moveTo>
                    <a:pt x="1786" y="1"/>
                  </a:moveTo>
                  <a:cubicBezTo>
                    <a:pt x="798" y="1"/>
                    <a:pt x="0" y="810"/>
                    <a:pt x="0" y="1787"/>
                  </a:cubicBezTo>
                  <a:cubicBezTo>
                    <a:pt x="0" y="2787"/>
                    <a:pt x="798" y="3572"/>
                    <a:pt x="1786" y="3572"/>
                  </a:cubicBezTo>
                  <a:cubicBezTo>
                    <a:pt x="2762" y="3572"/>
                    <a:pt x="3572" y="2775"/>
                    <a:pt x="3572" y="1787"/>
                  </a:cubicBezTo>
                  <a:cubicBezTo>
                    <a:pt x="3572" y="810"/>
                    <a:pt x="2762"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3" name="Google Shape;10303;p59"/>
            <p:cNvSpPr/>
            <p:nvPr/>
          </p:nvSpPr>
          <p:spPr>
            <a:xfrm>
              <a:off x="3706434" y="3518418"/>
              <a:ext cx="62595" cy="62595"/>
            </a:xfrm>
            <a:custGeom>
              <a:avLst/>
              <a:gdLst/>
              <a:ahLst/>
              <a:cxnLst/>
              <a:rect l="l" t="t" r="r" b="b"/>
              <a:pathLst>
                <a:path w="1965" h="1965" extrusionOk="0">
                  <a:moveTo>
                    <a:pt x="989" y="358"/>
                  </a:moveTo>
                  <a:cubicBezTo>
                    <a:pt x="1322" y="358"/>
                    <a:pt x="1608" y="643"/>
                    <a:pt x="1608" y="977"/>
                  </a:cubicBezTo>
                  <a:cubicBezTo>
                    <a:pt x="1608" y="1322"/>
                    <a:pt x="1322" y="1608"/>
                    <a:pt x="989" y="1608"/>
                  </a:cubicBezTo>
                  <a:cubicBezTo>
                    <a:pt x="982" y="1608"/>
                    <a:pt x="975" y="1608"/>
                    <a:pt x="968" y="1608"/>
                  </a:cubicBezTo>
                  <a:cubicBezTo>
                    <a:pt x="632" y="1608"/>
                    <a:pt x="358" y="1327"/>
                    <a:pt x="358" y="977"/>
                  </a:cubicBezTo>
                  <a:cubicBezTo>
                    <a:pt x="358" y="643"/>
                    <a:pt x="643" y="358"/>
                    <a:pt x="989" y="358"/>
                  </a:cubicBezTo>
                  <a:close/>
                  <a:moveTo>
                    <a:pt x="989" y="0"/>
                  </a:moveTo>
                  <a:cubicBezTo>
                    <a:pt x="441" y="0"/>
                    <a:pt x="0" y="429"/>
                    <a:pt x="0" y="977"/>
                  </a:cubicBezTo>
                  <a:cubicBezTo>
                    <a:pt x="0" y="1512"/>
                    <a:pt x="429" y="1965"/>
                    <a:pt x="989" y="1965"/>
                  </a:cubicBezTo>
                  <a:cubicBezTo>
                    <a:pt x="1524" y="1965"/>
                    <a:pt x="1965" y="1536"/>
                    <a:pt x="1965" y="977"/>
                  </a:cubicBezTo>
                  <a:cubicBezTo>
                    <a:pt x="1965" y="441"/>
                    <a:pt x="1536" y="0"/>
                    <a:pt x="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4" name="Google Shape;10304;p59"/>
            <p:cNvSpPr/>
            <p:nvPr/>
          </p:nvSpPr>
          <p:spPr>
            <a:xfrm>
              <a:off x="3780019" y="3518418"/>
              <a:ext cx="62595" cy="62595"/>
            </a:xfrm>
            <a:custGeom>
              <a:avLst/>
              <a:gdLst/>
              <a:ahLst/>
              <a:cxnLst/>
              <a:rect l="l" t="t" r="r" b="b"/>
              <a:pathLst>
                <a:path w="1965" h="1965" extrusionOk="0">
                  <a:moveTo>
                    <a:pt x="1000" y="358"/>
                  </a:moveTo>
                  <a:cubicBezTo>
                    <a:pt x="1334" y="358"/>
                    <a:pt x="1620" y="643"/>
                    <a:pt x="1620" y="977"/>
                  </a:cubicBezTo>
                  <a:cubicBezTo>
                    <a:pt x="1620" y="1322"/>
                    <a:pt x="1334" y="1608"/>
                    <a:pt x="1000" y="1608"/>
                  </a:cubicBezTo>
                  <a:cubicBezTo>
                    <a:pt x="655" y="1608"/>
                    <a:pt x="369" y="1334"/>
                    <a:pt x="369" y="977"/>
                  </a:cubicBezTo>
                  <a:cubicBezTo>
                    <a:pt x="369" y="643"/>
                    <a:pt x="655" y="358"/>
                    <a:pt x="1000" y="358"/>
                  </a:cubicBezTo>
                  <a:close/>
                  <a:moveTo>
                    <a:pt x="977" y="0"/>
                  </a:moveTo>
                  <a:cubicBezTo>
                    <a:pt x="429" y="0"/>
                    <a:pt x="0" y="429"/>
                    <a:pt x="0" y="977"/>
                  </a:cubicBezTo>
                  <a:cubicBezTo>
                    <a:pt x="0" y="1512"/>
                    <a:pt x="429" y="1965"/>
                    <a:pt x="977" y="1965"/>
                  </a:cubicBezTo>
                  <a:cubicBezTo>
                    <a:pt x="1536" y="1965"/>
                    <a:pt x="1965" y="1536"/>
                    <a:pt x="1965" y="977"/>
                  </a:cubicBezTo>
                  <a:cubicBezTo>
                    <a:pt x="1965" y="441"/>
                    <a:pt x="15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5" name="Google Shape;10305;p59"/>
            <p:cNvSpPr/>
            <p:nvPr/>
          </p:nvSpPr>
          <p:spPr>
            <a:xfrm>
              <a:off x="3497847" y="3417374"/>
              <a:ext cx="379680" cy="237606"/>
            </a:xfrm>
            <a:custGeom>
              <a:avLst/>
              <a:gdLst/>
              <a:ahLst/>
              <a:cxnLst/>
              <a:rect l="l" t="t" r="r" b="b"/>
              <a:pathLst>
                <a:path w="11919" h="7459" extrusionOk="0">
                  <a:moveTo>
                    <a:pt x="9144" y="1315"/>
                  </a:moveTo>
                  <a:cubicBezTo>
                    <a:pt x="9418" y="1315"/>
                    <a:pt x="9656" y="1506"/>
                    <a:pt x="9739" y="1756"/>
                  </a:cubicBezTo>
                  <a:lnTo>
                    <a:pt x="8096" y="1756"/>
                  </a:lnTo>
                  <a:cubicBezTo>
                    <a:pt x="8168" y="1506"/>
                    <a:pt x="8406" y="1315"/>
                    <a:pt x="8692" y="1315"/>
                  </a:cubicBezTo>
                  <a:close/>
                  <a:moveTo>
                    <a:pt x="3822" y="6566"/>
                  </a:moveTo>
                  <a:lnTo>
                    <a:pt x="3822" y="6970"/>
                  </a:lnTo>
                  <a:cubicBezTo>
                    <a:pt x="3822" y="7042"/>
                    <a:pt x="3762" y="7113"/>
                    <a:pt x="3679" y="7113"/>
                  </a:cubicBezTo>
                  <a:lnTo>
                    <a:pt x="2024" y="7113"/>
                  </a:lnTo>
                  <a:cubicBezTo>
                    <a:pt x="1953" y="7113"/>
                    <a:pt x="1881" y="7054"/>
                    <a:pt x="1881" y="6970"/>
                  </a:cubicBezTo>
                  <a:lnTo>
                    <a:pt x="1881" y="6566"/>
                  </a:lnTo>
                  <a:close/>
                  <a:moveTo>
                    <a:pt x="10001" y="6566"/>
                  </a:moveTo>
                  <a:lnTo>
                    <a:pt x="10001" y="6970"/>
                  </a:lnTo>
                  <a:lnTo>
                    <a:pt x="10013" y="6970"/>
                  </a:lnTo>
                  <a:cubicBezTo>
                    <a:pt x="10013" y="7042"/>
                    <a:pt x="9954" y="7113"/>
                    <a:pt x="9870" y="7113"/>
                  </a:cubicBezTo>
                  <a:lnTo>
                    <a:pt x="8215" y="7113"/>
                  </a:lnTo>
                  <a:cubicBezTo>
                    <a:pt x="8144" y="7113"/>
                    <a:pt x="8072" y="7054"/>
                    <a:pt x="8072" y="6970"/>
                  </a:cubicBezTo>
                  <a:lnTo>
                    <a:pt x="8072" y="6566"/>
                  </a:lnTo>
                  <a:close/>
                  <a:moveTo>
                    <a:pt x="3660" y="1"/>
                  </a:moveTo>
                  <a:cubicBezTo>
                    <a:pt x="3359" y="1"/>
                    <a:pt x="3052" y="52"/>
                    <a:pt x="2750" y="160"/>
                  </a:cubicBezTo>
                  <a:cubicBezTo>
                    <a:pt x="2667" y="196"/>
                    <a:pt x="2619" y="291"/>
                    <a:pt x="2655" y="386"/>
                  </a:cubicBezTo>
                  <a:cubicBezTo>
                    <a:pt x="2675" y="455"/>
                    <a:pt x="2751" y="500"/>
                    <a:pt x="2824" y="500"/>
                  </a:cubicBezTo>
                  <a:cubicBezTo>
                    <a:pt x="2840" y="500"/>
                    <a:pt x="2855" y="498"/>
                    <a:pt x="2869" y="493"/>
                  </a:cubicBezTo>
                  <a:cubicBezTo>
                    <a:pt x="3132" y="398"/>
                    <a:pt x="3397" y="353"/>
                    <a:pt x="3656" y="353"/>
                  </a:cubicBezTo>
                  <a:cubicBezTo>
                    <a:pt x="4845" y="353"/>
                    <a:pt x="5906" y="1294"/>
                    <a:pt x="5965" y="2565"/>
                  </a:cubicBezTo>
                  <a:cubicBezTo>
                    <a:pt x="6025" y="3887"/>
                    <a:pt x="4965" y="4970"/>
                    <a:pt x="3667" y="4970"/>
                  </a:cubicBezTo>
                  <a:cubicBezTo>
                    <a:pt x="2381" y="4970"/>
                    <a:pt x="1357" y="3934"/>
                    <a:pt x="1357" y="2649"/>
                  </a:cubicBezTo>
                  <a:cubicBezTo>
                    <a:pt x="1357" y="1922"/>
                    <a:pt x="1715" y="1220"/>
                    <a:pt x="2310" y="803"/>
                  </a:cubicBezTo>
                  <a:cubicBezTo>
                    <a:pt x="2381" y="744"/>
                    <a:pt x="2393" y="636"/>
                    <a:pt x="2346" y="565"/>
                  </a:cubicBezTo>
                  <a:cubicBezTo>
                    <a:pt x="2307" y="519"/>
                    <a:pt x="2254" y="493"/>
                    <a:pt x="2198" y="493"/>
                  </a:cubicBezTo>
                  <a:cubicBezTo>
                    <a:pt x="2168" y="493"/>
                    <a:pt x="2137" y="500"/>
                    <a:pt x="2107" y="517"/>
                  </a:cubicBezTo>
                  <a:cubicBezTo>
                    <a:pt x="1679" y="839"/>
                    <a:pt x="1357" y="1279"/>
                    <a:pt x="1179" y="1767"/>
                  </a:cubicBezTo>
                  <a:lnTo>
                    <a:pt x="655" y="1767"/>
                  </a:lnTo>
                  <a:cubicBezTo>
                    <a:pt x="298" y="1767"/>
                    <a:pt x="0" y="2065"/>
                    <a:pt x="0" y="2422"/>
                  </a:cubicBezTo>
                  <a:lnTo>
                    <a:pt x="0" y="5911"/>
                  </a:lnTo>
                  <a:cubicBezTo>
                    <a:pt x="0" y="6268"/>
                    <a:pt x="298" y="6566"/>
                    <a:pt x="655" y="6566"/>
                  </a:cubicBezTo>
                  <a:lnTo>
                    <a:pt x="1560" y="6566"/>
                  </a:lnTo>
                  <a:lnTo>
                    <a:pt x="1560" y="6970"/>
                  </a:lnTo>
                  <a:cubicBezTo>
                    <a:pt x="1560" y="7232"/>
                    <a:pt x="1786" y="7459"/>
                    <a:pt x="2048" y="7459"/>
                  </a:cubicBezTo>
                  <a:lnTo>
                    <a:pt x="3703" y="7459"/>
                  </a:lnTo>
                  <a:cubicBezTo>
                    <a:pt x="3977" y="7459"/>
                    <a:pt x="4191" y="7232"/>
                    <a:pt x="4191" y="6970"/>
                  </a:cubicBezTo>
                  <a:lnTo>
                    <a:pt x="4191" y="6566"/>
                  </a:lnTo>
                  <a:lnTo>
                    <a:pt x="6537" y="6566"/>
                  </a:lnTo>
                  <a:cubicBezTo>
                    <a:pt x="6620" y="6566"/>
                    <a:pt x="6715" y="6494"/>
                    <a:pt x="6715" y="6387"/>
                  </a:cubicBezTo>
                  <a:cubicBezTo>
                    <a:pt x="6715" y="6292"/>
                    <a:pt x="6644" y="6208"/>
                    <a:pt x="6537" y="6208"/>
                  </a:cubicBezTo>
                  <a:lnTo>
                    <a:pt x="655" y="6208"/>
                  </a:lnTo>
                  <a:cubicBezTo>
                    <a:pt x="476" y="6208"/>
                    <a:pt x="345" y="6066"/>
                    <a:pt x="345" y="5887"/>
                  </a:cubicBezTo>
                  <a:lnTo>
                    <a:pt x="345" y="2410"/>
                  </a:lnTo>
                  <a:cubicBezTo>
                    <a:pt x="345" y="2232"/>
                    <a:pt x="476" y="2101"/>
                    <a:pt x="655" y="2101"/>
                  </a:cubicBezTo>
                  <a:lnTo>
                    <a:pt x="1072" y="2101"/>
                  </a:lnTo>
                  <a:cubicBezTo>
                    <a:pt x="726" y="3708"/>
                    <a:pt x="1953" y="5292"/>
                    <a:pt x="3655" y="5292"/>
                  </a:cubicBezTo>
                  <a:cubicBezTo>
                    <a:pt x="5358" y="5292"/>
                    <a:pt x="6608" y="3720"/>
                    <a:pt x="6251" y="2101"/>
                  </a:cubicBezTo>
                  <a:lnTo>
                    <a:pt x="11263" y="2101"/>
                  </a:lnTo>
                  <a:cubicBezTo>
                    <a:pt x="11430" y="2101"/>
                    <a:pt x="11573" y="2232"/>
                    <a:pt x="11573" y="2410"/>
                  </a:cubicBezTo>
                  <a:lnTo>
                    <a:pt x="11573" y="5887"/>
                  </a:lnTo>
                  <a:cubicBezTo>
                    <a:pt x="11573" y="6054"/>
                    <a:pt x="11442" y="6208"/>
                    <a:pt x="11263" y="6208"/>
                  </a:cubicBezTo>
                  <a:lnTo>
                    <a:pt x="7168" y="6208"/>
                  </a:lnTo>
                  <a:cubicBezTo>
                    <a:pt x="7084" y="6208"/>
                    <a:pt x="6989" y="6280"/>
                    <a:pt x="6989" y="6387"/>
                  </a:cubicBezTo>
                  <a:cubicBezTo>
                    <a:pt x="6989" y="6470"/>
                    <a:pt x="7072" y="6566"/>
                    <a:pt x="7168" y="6566"/>
                  </a:cubicBezTo>
                  <a:lnTo>
                    <a:pt x="7727" y="6566"/>
                  </a:lnTo>
                  <a:lnTo>
                    <a:pt x="7727" y="6970"/>
                  </a:lnTo>
                  <a:cubicBezTo>
                    <a:pt x="7727" y="7232"/>
                    <a:pt x="7941" y="7459"/>
                    <a:pt x="8215" y="7459"/>
                  </a:cubicBezTo>
                  <a:lnTo>
                    <a:pt x="9870" y="7459"/>
                  </a:lnTo>
                  <a:cubicBezTo>
                    <a:pt x="10132" y="7459"/>
                    <a:pt x="10358" y="7232"/>
                    <a:pt x="10358" y="6970"/>
                  </a:cubicBezTo>
                  <a:lnTo>
                    <a:pt x="10358" y="6566"/>
                  </a:lnTo>
                  <a:lnTo>
                    <a:pt x="11263" y="6566"/>
                  </a:lnTo>
                  <a:cubicBezTo>
                    <a:pt x="11621" y="6566"/>
                    <a:pt x="11918" y="6268"/>
                    <a:pt x="11918" y="5911"/>
                  </a:cubicBezTo>
                  <a:lnTo>
                    <a:pt x="11918" y="2422"/>
                  </a:lnTo>
                  <a:cubicBezTo>
                    <a:pt x="11918" y="2053"/>
                    <a:pt x="11621" y="1756"/>
                    <a:pt x="11263" y="1756"/>
                  </a:cubicBezTo>
                  <a:lnTo>
                    <a:pt x="10108" y="1756"/>
                  </a:lnTo>
                  <a:cubicBezTo>
                    <a:pt x="10013" y="1291"/>
                    <a:pt x="9632" y="958"/>
                    <a:pt x="9144" y="958"/>
                  </a:cubicBezTo>
                  <a:lnTo>
                    <a:pt x="8692" y="958"/>
                  </a:lnTo>
                  <a:cubicBezTo>
                    <a:pt x="8215" y="958"/>
                    <a:pt x="7811" y="1291"/>
                    <a:pt x="7727" y="1756"/>
                  </a:cubicBezTo>
                  <a:lnTo>
                    <a:pt x="6167" y="1756"/>
                  </a:lnTo>
                  <a:cubicBezTo>
                    <a:pt x="5766" y="673"/>
                    <a:pt x="4751" y="1"/>
                    <a:pt x="36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6" name="Google Shape;10306;p59"/>
          <p:cNvGrpSpPr/>
          <p:nvPr/>
        </p:nvGrpSpPr>
        <p:grpSpPr>
          <a:xfrm>
            <a:off x="2612597" y="3367075"/>
            <a:ext cx="376271" cy="337982"/>
            <a:chOff x="2612597" y="3367075"/>
            <a:chExt cx="376271" cy="337982"/>
          </a:xfrm>
        </p:grpSpPr>
        <p:sp>
          <p:nvSpPr>
            <p:cNvPr id="10307" name="Google Shape;10307;p59"/>
            <p:cNvSpPr/>
            <p:nvPr/>
          </p:nvSpPr>
          <p:spPr>
            <a:xfrm>
              <a:off x="2612597" y="3367075"/>
              <a:ext cx="376271" cy="337982"/>
            </a:xfrm>
            <a:custGeom>
              <a:avLst/>
              <a:gdLst/>
              <a:ahLst/>
              <a:cxnLst/>
              <a:rect l="l" t="t" r="r" b="b"/>
              <a:pathLst>
                <a:path w="11812" h="10610" extrusionOk="0">
                  <a:moveTo>
                    <a:pt x="7561" y="346"/>
                  </a:moveTo>
                  <a:cubicBezTo>
                    <a:pt x="7490" y="668"/>
                    <a:pt x="7192" y="918"/>
                    <a:pt x="6835" y="918"/>
                  </a:cubicBezTo>
                  <a:lnTo>
                    <a:pt x="4966" y="918"/>
                  </a:lnTo>
                  <a:cubicBezTo>
                    <a:pt x="4609" y="918"/>
                    <a:pt x="4311" y="668"/>
                    <a:pt x="4228" y="346"/>
                  </a:cubicBezTo>
                  <a:close/>
                  <a:moveTo>
                    <a:pt x="7918" y="358"/>
                  </a:moveTo>
                  <a:cubicBezTo>
                    <a:pt x="8264" y="418"/>
                    <a:pt x="8526" y="727"/>
                    <a:pt x="8526" y="1108"/>
                  </a:cubicBezTo>
                  <a:lnTo>
                    <a:pt x="8526" y="1918"/>
                  </a:lnTo>
                  <a:lnTo>
                    <a:pt x="3263" y="1918"/>
                  </a:lnTo>
                  <a:lnTo>
                    <a:pt x="3263" y="1108"/>
                  </a:lnTo>
                  <a:cubicBezTo>
                    <a:pt x="3263" y="727"/>
                    <a:pt x="3525" y="429"/>
                    <a:pt x="3870" y="358"/>
                  </a:cubicBezTo>
                  <a:cubicBezTo>
                    <a:pt x="3966" y="882"/>
                    <a:pt x="4406" y="1287"/>
                    <a:pt x="4954" y="1287"/>
                  </a:cubicBezTo>
                  <a:lnTo>
                    <a:pt x="6835" y="1287"/>
                  </a:lnTo>
                  <a:cubicBezTo>
                    <a:pt x="7383" y="1287"/>
                    <a:pt x="7835" y="882"/>
                    <a:pt x="7918" y="358"/>
                  </a:cubicBezTo>
                  <a:close/>
                  <a:moveTo>
                    <a:pt x="7502" y="5180"/>
                  </a:moveTo>
                  <a:cubicBezTo>
                    <a:pt x="7835" y="5180"/>
                    <a:pt x="8097" y="5454"/>
                    <a:pt x="8097" y="5775"/>
                  </a:cubicBezTo>
                  <a:lnTo>
                    <a:pt x="8097" y="7323"/>
                  </a:lnTo>
                  <a:cubicBezTo>
                    <a:pt x="7764" y="7395"/>
                    <a:pt x="7430" y="7442"/>
                    <a:pt x="7073" y="7478"/>
                  </a:cubicBezTo>
                  <a:lnTo>
                    <a:pt x="7073" y="6942"/>
                  </a:lnTo>
                  <a:cubicBezTo>
                    <a:pt x="7085" y="6561"/>
                    <a:pt x="6764" y="6240"/>
                    <a:pt x="6371" y="6240"/>
                  </a:cubicBezTo>
                  <a:lnTo>
                    <a:pt x="5406" y="6240"/>
                  </a:lnTo>
                  <a:cubicBezTo>
                    <a:pt x="5025" y="6240"/>
                    <a:pt x="4704" y="6549"/>
                    <a:pt x="4704" y="6942"/>
                  </a:cubicBezTo>
                  <a:lnTo>
                    <a:pt x="4704" y="7478"/>
                  </a:lnTo>
                  <a:cubicBezTo>
                    <a:pt x="4370" y="7442"/>
                    <a:pt x="4025" y="7383"/>
                    <a:pt x="3680" y="7323"/>
                  </a:cubicBezTo>
                  <a:lnTo>
                    <a:pt x="3680" y="5775"/>
                  </a:lnTo>
                  <a:cubicBezTo>
                    <a:pt x="3680" y="5454"/>
                    <a:pt x="3954" y="5180"/>
                    <a:pt x="4275" y="5180"/>
                  </a:cubicBezTo>
                  <a:close/>
                  <a:moveTo>
                    <a:pt x="6371" y="6585"/>
                  </a:moveTo>
                  <a:cubicBezTo>
                    <a:pt x="6573" y="6585"/>
                    <a:pt x="6728" y="6740"/>
                    <a:pt x="6728" y="6942"/>
                  </a:cubicBezTo>
                  <a:lnTo>
                    <a:pt x="6728" y="8430"/>
                  </a:lnTo>
                  <a:cubicBezTo>
                    <a:pt x="6728" y="8621"/>
                    <a:pt x="6573" y="8788"/>
                    <a:pt x="6371" y="8788"/>
                  </a:cubicBezTo>
                  <a:lnTo>
                    <a:pt x="5406" y="8788"/>
                  </a:lnTo>
                  <a:cubicBezTo>
                    <a:pt x="5216" y="8788"/>
                    <a:pt x="5049" y="8621"/>
                    <a:pt x="5049" y="8430"/>
                  </a:cubicBezTo>
                  <a:lnTo>
                    <a:pt x="5049" y="6942"/>
                  </a:lnTo>
                  <a:cubicBezTo>
                    <a:pt x="5049" y="6740"/>
                    <a:pt x="5216" y="6585"/>
                    <a:pt x="5406" y="6585"/>
                  </a:cubicBezTo>
                  <a:close/>
                  <a:moveTo>
                    <a:pt x="4025" y="1"/>
                  </a:moveTo>
                  <a:cubicBezTo>
                    <a:pt x="3406" y="1"/>
                    <a:pt x="2918" y="489"/>
                    <a:pt x="2918" y="1108"/>
                  </a:cubicBezTo>
                  <a:lnTo>
                    <a:pt x="2918" y="1918"/>
                  </a:lnTo>
                  <a:lnTo>
                    <a:pt x="1084" y="1918"/>
                  </a:lnTo>
                  <a:cubicBezTo>
                    <a:pt x="489" y="1918"/>
                    <a:pt x="1" y="2418"/>
                    <a:pt x="1" y="3013"/>
                  </a:cubicBezTo>
                  <a:lnTo>
                    <a:pt x="1" y="6168"/>
                  </a:lnTo>
                  <a:cubicBezTo>
                    <a:pt x="1" y="6228"/>
                    <a:pt x="37" y="6287"/>
                    <a:pt x="96" y="6311"/>
                  </a:cubicBezTo>
                  <a:cubicBezTo>
                    <a:pt x="203" y="6371"/>
                    <a:pt x="322" y="6430"/>
                    <a:pt x="418" y="6490"/>
                  </a:cubicBezTo>
                  <a:lnTo>
                    <a:pt x="418" y="7311"/>
                  </a:lnTo>
                  <a:cubicBezTo>
                    <a:pt x="418" y="7418"/>
                    <a:pt x="501" y="7490"/>
                    <a:pt x="596" y="7490"/>
                  </a:cubicBezTo>
                  <a:cubicBezTo>
                    <a:pt x="703" y="7490"/>
                    <a:pt x="775" y="7418"/>
                    <a:pt x="775" y="7311"/>
                  </a:cubicBezTo>
                  <a:lnTo>
                    <a:pt x="775" y="6668"/>
                  </a:lnTo>
                  <a:cubicBezTo>
                    <a:pt x="2013" y="7299"/>
                    <a:pt x="3358" y="7668"/>
                    <a:pt x="4740" y="7811"/>
                  </a:cubicBezTo>
                  <a:lnTo>
                    <a:pt x="4740" y="8407"/>
                  </a:lnTo>
                  <a:cubicBezTo>
                    <a:pt x="4740" y="8800"/>
                    <a:pt x="5049" y="9109"/>
                    <a:pt x="5442" y="9109"/>
                  </a:cubicBezTo>
                  <a:lnTo>
                    <a:pt x="6406" y="9109"/>
                  </a:lnTo>
                  <a:cubicBezTo>
                    <a:pt x="6787" y="9109"/>
                    <a:pt x="7109" y="8800"/>
                    <a:pt x="7109" y="8407"/>
                  </a:cubicBezTo>
                  <a:lnTo>
                    <a:pt x="7109" y="7811"/>
                  </a:lnTo>
                  <a:cubicBezTo>
                    <a:pt x="8490" y="7668"/>
                    <a:pt x="9812" y="7299"/>
                    <a:pt x="11062" y="6668"/>
                  </a:cubicBezTo>
                  <a:lnTo>
                    <a:pt x="11062" y="9526"/>
                  </a:lnTo>
                  <a:cubicBezTo>
                    <a:pt x="11062" y="9931"/>
                    <a:pt x="10740" y="10276"/>
                    <a:pt x="10324" y="10276"/>
                  </a:cubicBezTo>
                  <a:lnTo>
                    <a:pt x="1489" y="10276"/>
                  </a:lnTo>
                  <a:cubicBezTo>
                    <a:pt x="1096" y="10276"/>
                    <a:pt x="751" y="9943"/>
                    <a:pt x="751" y="9526"/>
                  </a:cubicBezTo>
                  <a:lnTo>
                    <a:pt x="751" y="8026"/>
                  </a:lnTo>
                  <a:cubicBezTo>
                    <a:pt x="751" y="7918"/>
                    <a:pt x="679" y="7847"/>
                    <a:pt x="572" y="7847"/>
                  </a:cubicBezTo>
                  <a:cubicBezTo>
                    <a:pt x="465" y="7847"/>
                    <a:pt x="394" y="7918"/>
                    <a:pt x="394" y="8026"/>
                  </a:cubicBezTo>
                  <a:lnTo>
                    <a:pt x="394" y="9526"/>
                  </a:lnTo>
                  <a:cubicBezTo>
                    <a:pt x="394" y="10121"/>
                    <a:pt x="882" y="10609"/>
                    <a:pt x="1477" y="10609"/>
                  </a:cubicBezTo>
                  <a:lnTo>
                    <a:pt x="10300" y="10609"/>
                  </a:lnTo>
                  <a:cubicBezTo>
                    <a:pt x="10895" y="10609"/>
                    <a:pt x="11395" y="10121"/>
                    <a:pt x="11395" y="9526"/>
                  </a:cubicBezTo>
                  <a:lnTo>
                    <a:pt x="11395" y="6490"/>
                  </a:lnTo>
                  <a:cubicBezTo>
                    <a:pt x="11490" y="6430"/>
                    <a:pt x="11609" y="6371"/>
                    <a:pt x="11717" y="6311"/>
                  </a:cubicBezTo>
                  <a:cubicBezTo>
                    <a:pt x="11776" y="6287"/>
                    <a:pt x="11812" y="6228"/>
                    <a:pt x="11812" y="6168"/>
                  </a:cubicBezTo>
                  <a:lnTo>
                    <a:pt x="11812" y="3013"/>
                  </a:lnTo>
                  <a:cubicBezTo>
                    <a:pt x="11812" y="2394"/>
                    <a:pt x="11312" y="1918"/>
                    <a:pt x="10716" y="1918"/>
                  </a:cubicBezTo>
                  <a:lnTo>
                    <a:pt x="10276" y="1918"/>
                  </a:lnTo>
                  <a:cubicBezTo>
                    <a:pt x="10169" y="1918"/>
                    <a:pt x="10097" y="2001"/>
                    <a:pt x="10097" y="2096"/>
                  </a:cubicBezTo>
                  <a:cubicBezTo>
                    <a:pt x="10097" y="2203"/>
                    <a:pt x="10169" y="2275"/>
                    <a:pt x="10276" y="2275"/>
                  </a:cubicBezTo>
                  <a:lnTo>
                    <a:pt x="10716" y="2275"/>
                  </a:lnTo>
                  <a:cubicBezTo>
                    <a:pt x="11121" y="2275"/>
                    <a:pt x="11467" y="2608"/>
                    <a:pt x="11467" y="3025"/>
                  </a:cubicBezTo>
                  <a:lnTo>
                    <a:pt x="11467" y="6073"/>
                  </a:lnTo>
                  <a:cubicBezTo>
                    <a:pt x="11359" y="6133"/>
                    <a:pt x="11252" y="6192"/>
                    <a:pt x="11133" y="6252"/>
                  </a:cubicBezTo>
                  <a:cubicBezTo>
                    <a:pt x="10288" y="6704"/>
                    <a:pt x="9395" y="7037"/>
                    <a:pt x="8454" y="7252"/>
                  </a:cubicBezTo>
                  <a:lnTo>
                    <a:pt x="8454" y="5775"/>
                  </a:lnTo>
                  <a:cubicBezTo>
                    <a:pt x="8454" y="5251"/>
                    <a:pt x="8026" y="4823"/>
                    <a:pt x="7502" y="4823"/>
                  </a:cubicBezTo>
                  <a:lnTo>
                    <a:pt x="4275" y="4823"/>
                  </a:lnTo>
                  <a:cubicBezTo>
                    <a:pt x="3751" y="4823"/>
                    <a:pt x="3323" y="5251"/>
                    <a:pt x="3323" y="5775"/>
                  </a:cubicBezTo>
                  <a:lnTo>
                    <a:pt x="3323" y="7252"/>
                  </a:lnTo>
                  <a:cubicBezTo>
                    <a:pt x="2275" y="7014"/>
                    <a:pt x="1275" y="6609"/>
                    <a:pt x="334" y="6073"/>
                  </a:cubicBezTo>
                  <a:lnTo>
                    <a:pt x="334" y="3025"/>
                  </a:lnTo>
                  <a:cubicBezTo>
                    <a:pt x="334" y="2620"/>
                    <a:pt x="656" y="2275"/>
                    <a:pt x="1072" y="2275"/>
                  </a:cubicBezTo>
                  <a:lnTo>
                    <a:pt x="9562" y="2275"/>
                  </a:lnTo>
                  <a:cubicBezTo>
                    <a:pt x="9657" y="2275"/>
                    <a:pt x="9740" y="2203"/>
                    <a:pt x="9740" y="2096"/>
                  </a:cubicBezTo>
                  <a:cubicBezTo>
                    <a:pt x="9740" y="2001"/>
                    <a:pt x="9657" y="1918"/>
                    <a:pt x="9562" y="1918"/>
                  </a:cubicBezTo>
                  <a:lnTo>
                    <a:pt x="8871" y="1918"/>
                  </a:lnTo>
                  <a:lnTo>
                    <a:pt x="8871" y="1108"/>
                  </a:lnTo>
                  <a:cubicBezTo>
                    <a:pt x="8871" y="489"/>
                    <a:pt x="8383" y="1"/>
                    <a:pt x="77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8" name="Google Shape;10308;p59"/>
            <p:cNvSpPr/>
            <p:nvPr/>
          </p:nvSpPr>
          <p:spPr>
            <a:xfrm>
              <a:off x="2784805" y="3588212"/>
              <a:ext cx="31505" cy="47432"/>
            </a:xfrm>
            <a:custGeom>
              <a:avLst/>
              <a:gdLst/>
              <a:ahLst/>
              <a:cxnLst/>
              <a:rect l="l" t="t" r="r" b="b"/>
              <a:pathLst>
                <a:path w="989" h="1489" extrusionOk="0">
                  <a:moveTo>
                    <a:pt x="631" y="357"/>
                  </a:moveTo>
                  <a:lnTo>
                    <a:pt x="631" y="1143"/>
                  </a:lnTo>
                  <a:lnTo>
                    <a:pt x="346" y="1143"/>
                  </a:lnTo>
                  <a:lnTo>
                    <a:pt x="346" y="357"/>
                  </a:lnTo>
                  <a:close/>
                  <a:moveTo>
                    <a:pt x="179" y="0"/>
                  </a:moveTo>
                  <a:cubicBezTo>
                    <a:pt x="72" y="0"/>
                    <a:pt x="0" y="72"/>
                    <a:pt x="0" y="179"/>
                  </a:cubicBezTo>
                  <a:lnTo>
                    <a:pt x="0" y="1310"/>
                  </a:lnTo>
                  <a:cubicBezTo>
                    <a:pt x="0" y="1405"/>
                    <a:pt x="72" y="1488"/>
                    <a:pt x="179" y="1488"/>
                  </a:cubicBezTo>
                  <a:lnTo>
                    <a:pt x="810" y="1488"/>
                  </a:lnTo>
                  <a:cubicBezTo>
                    <a:pt x="905" y="1488"/>
                    <a:pt x="988" y="1405"/>
                    <a:pt x="988" y="1310"/>
                  </a:cubicBezTo>
                  <a:lnTo>
                    <a:pt x="988" y="179"/>
                  </a:lnTo>
                  <a:cubicBezTo>
                    <a:pt x="965" y="83"/>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09" name="Google Shape;10309;p59"/>
          <p:cNvGrpSpPr/>
          <p:nvPr/>
        </p:nvGrpSpPr>
        <p:grpSpPr>
          <a:xfrm>
            <a:off x="3071914" y="3364431"/>
            <a:ext cx="343652" cy="342505"/>
            <a:chOff x="3071914" y="3364431"/>
            <a:chExt cx="343652" cy="342505"/>
          </a:xfrm>
        </p:grpSpPr>
        <p:sp>
          <p:nvSpPr>
            <p:cNvPr id="10310" name="Google Shape;10310;p59"/>
            <p:cNvSpPr/>
            <p:nvPr/>
          </p:nvSpPr>
          <p:spPr>
            <a:xfrm>
              <a:off x="3157636" y="3408390"/>
              <a:ext cx="12519" cy="11054"/>
            </a:xfrm>
            <a:custGeom>
              <a:avLst/>
              <a:gdLst/>
              <a:ahLst/>
              <a:cxnLst/>
              <a:rect l="l" t="t" r="r" b="b"/>
              <a:pathLst>
                <a:path w="393" h="347" extrusionOk="0">
                  <a:moveTo>
                    <a:pt x="212" y="0"/>
                  </a:moveTo>
                  <a:cubicBezTo>
                    <a:pt x="205" y="0"/>
                    <a:pt x="198" y="1"/>
                    <a:pt x="191" y="2"/>
                  </a:cubicBezTo>
                  <a:lnTo>
                    <a:pt x="143" y="13"/>
                  </a:lnTo>
                  <a:cubicBezTo>
                    <a:pt x="60" y="25"/>
                    <a:pt x="0" y="121"/>
                    <a:pt x="12" y="204"/>
                  </a:cubicBezTo>
                  <a:cubicBezTo>
                    <a:pt x="24" y="287"/>
                    <a:pt x="83" y="347"/>
                    <a:pt x="179" y="347"/>
                  </a:cubicBezTo>
                  <a:lnTo>
                    <a:pt x="203" y="347"/>
                  </a:lnTo>
                  <a:lnTo>
                    <a:pt x="250" y="323"/>
                  </a:lnTo>
                  <a:cubicBezTo>
                    <a:pt x="333" y="311"/>
                    <a:pt x="393" y="216"/>
                    <a:pt x="381" y="133"/>
                  </a:cubicBezTo>
                  <a:cubicBezTo>
                    <a:pt x="370" y="56"/>
                    <a:pt x="290"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1" name="Google Shape;10311;p59"/>
            <p:cNvSpPr/>
            <p:nvPr/>
          </p:nvSpPr>
          <p:spPr>
            <a:xfrm>
              <a:off x="3072679" y="3696678"/>
              <a:ext cx="11404" cy="10257"/>
            </a:xfrm>
            <a:custGeom>
              <a:avLst/>
              <a:gdLst/>
              <a:ahLst/>
              <a:cxnLst/>
              <a:rect l="l" t="t" r="r" b="b"/>
              <a:pathLst>
                <a:path w="358" h="322" extrusionOk="0">
                  <a:moveTo>
                    <a:pt x="167" y="0"/>
                  </a:moveTo>
                  <a:cubicBezTo>
                    <a:pt x="72" y="0"/>
                    <a:pt x="0" y="72"/>
                    <a:pt x="0" y="167"/>
                  </a:cubicBezTo>
                  <a:cubicBezTo>
                    <a:pt x="0" y="250"/>
                    <a:pt x="72" y="322"/>
                    <a:pt x="167" y="322"/>
                  </a:cubicBezTo>
                  <a:lnTo>
                    <a:pt x="191" y="322"/>
                  </a:lnTo>
                  <a:cubicBezTo>
                    <a:pt x="286" y="322"/>
                    <a:pt x="357" y="250"/>
                    <a:pt x="357" y="167"/>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2" name="Google Shape;10312;p59"/>
            <p:cNvSpPr/>
            <p:nvPr/>
          </p:nvSpPr>
          <p:spPr>
            <a:xfrm>
              <a:off x="3231571" y="3530937"/>
              <a:ext cx="11404" cy="10640"/>
            </a:xfrm>
            <a:custGeom>
              <a:avLst/>
              <a:gdLst/>
              <a:ahLst/>
              <a:cxnLst/>
              <a:rect l="l" t="t" r="r" b="b"/>
              <a:pathLst>
                <a:path w="358" h="334" extrusionOk="0">
                  <a:moveTo>
                    <a:pt x="156" y="0"/>
                  </a:moveTo>
                  <a:cubicBezTo>
                    <a:pt x="72" y="0"/>
                    <a:pt x="1" y="84"/>
                    <a:pt x="1" y="167"/>
                  </a:cubicBezTo>
                  <a:cubicBezTo>
                    <a:pt x="1" y="262"/>
                    <a:pt x="72" y="334"/>
                    <a:pt x="156" y="334"/>
                  </a:cubicBezTo>
                  <a:lnTo>
                    <a:pt x="191" y="334"/>
                  </a:lnTo>
                  <a:cubicBezTo>
                    <a:pt x="275" y="334"/>
                    <a:pt x="358" y="262"/>
                    <a:pt x="358" y="167"/>
                  </a:cubicBezTo>
                  <a:cubicBezTo>
                    <a:pt x="358" y="84"/>
                    <a:pt x="27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3" name="Google Shape;10313;p59"/>
            <p:cNvSpPr/>
            <p:nvPr/>
          </p:nvSpPr>
          <p:spPr>
            <a:xfrm>
              <a:off x="3317293" y="3653005"/>
              <a:ext cx="12933" cy="10703"/>
            </a:xfrm>
            <a:custGeom>
              <a:avLst/>
              <a:gdLst/>
              <a:ahLst/>
              <a:cxnLst/>
              <a:rect l="l" t="t" r="r" b="b"/>
              <a:pathLst>
                <a:path w="406" h="336" extrusionOk="0">
                  <a:moveTo>
                    <a:pt x="215" y="1"/>
                  </a:moveTo>
                  <a:cubicBezTo>
                    <a:pt x="207" y="1"/>
                    <a:pt x="199" y="1"/>
                    <a:pt x="191" y="2"/>
                  </a:cubicBezTo>
                  <a:lnTo>
                    <a:pt x="144" y="14"/>
                  </a:lnTo>
                  <a:cubicBezTo>
                    <a:pt x="60" y="26"/>
                    <a:pt x="1" y="121"/>
                    <a:pt x="13" y="205"/>
                  </a:cubicBezTo>
                  <a:cubicBezTo>
                    <a:pt x="24" y="288"/>
                    <a:pt x="108" y="335"/>
                    <a:pt x="179" y="335"/>
                  </a:cubicBezTo>
                  <a:lnTo>
                    <a:pt x="203" y="335"/>
                  </a:lnTo>
                  <a:lnTo>
                    <a:pt x="251" y="324"/>
                  </a:lnTo>
                  <a:cubicBezTo>
                    <a:pt x="346" y="312"/>
                    <a:pt x="405" y="216"/>
                    <a:pt x="382" y="133"/>
                  </a:cubicBezTo>
                  <a:cubicBezTo>
                    <a:pt x="371" y="57"/>
                    <a:pt x="300"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4" name="Google Shape;10314;p59"/>
            <p:cNvSpPr/>
            <p:nvPr/>
          </p:nvSpPr>
          <p:spPr>
            <a:xfrm>
              <a:off x="3071914" y="3364431"/>
              <a:ext cx="343652" cy="342505"/>
            </a:xfrm>
            <a:custGeom>
              <a:avLst/>
              <a:gdLst/>
              <a:ahLst/>
              <a:cxnLst/>
              <a:rect l="l" t="t" r="r" b="b"/>
              <a:pathLst>
                <a:path w="10788" h="10752" extrusionOk="0">
                  <a:moveTo>
                    <a:pt x="5394" y="334"/>
                  </a:moveTo>
                  <a:cubicBezTo>
                    <a:pt x="6632" y="334"/>
                    <a:pt x="7775" y="786"/>
                    <a:pt x="8656" y="1524"/>
                  </a:cubicBezTo>
                  <a:cubicBezTo>
                    <a:pt x="7644" y="1263"/>
                    <a:pt x="6525" y="1132"/>
                    <a:pt x="5394" y="1132"/>
                  </a:cubicBezTo>
                  <a:cubicBezTo>
                    <a:pt x="4775" y="1132"/>
                    <a:pt x="4156" y="1167"/>
                    <a:pt x="3560" y="1239"/>
                  </a:cubicBezTo>
                  <a:cubicBezTo>
                    <a:pt x="3477" y="1263"/>
                    <a:pt x="3405" y="1346"/>
                    <a:pt x="3417" y="1441"/>
                  </a:cubicBezTo>
                  <a:cubicBezTo>
                    <a:pt x="3428" y="1518"/>
                    <a:pt x="3511" y="1585"/>
                    <a:pt x="3589" y="1585"/>
                  </a:cubicBezTo>
                  <a:cubicBezTo>
                    <a:pt x="3596" y="1585"/>
                    <a:pt x="3602" y="1585"/>
                    <a:pt x="3608" y="1584"/>
                  </a:cubicBezTo>
                  <a:cubicBezTo>
                    <a:pt x="4191" y="1513"/>
                    <a:pt x="4799" y="1465"/>
                    <a:pt x="5394" y="1465"/>
                  </a:cubicBezTo>
                  <a:cubicBezTo>
                    <a:pt x="6739" y="1465"/>
                    <a:pt x="8025" y="1655"/>
                    <a:pt x="9156" y="2036"/>
                  </a:cubicBezTo>
                  <a:cubicBezTo>
                    <a:pt x="9740" y="2691"/>
                    <a:pt x="10156" y="3501"/>
                    <a:pt x="10335" y="4394"/>
                  </a:cubicBezTo>
                  <a:cubicBezTo>
                    <a:pt x="10049" y="4096"/>
                    <a:pt x="9644" y="3846"/>
                    <a:pt x="9144" y="3608"/>
                  </a:cubicBezTo>
                  <a:cubicBezTo>
                    <a:pt x="8132" y="3179"/>
                    <a:pt x="6811" y="2929"/>
                    <a:pt x="5394" y="2929"/>
                  </a:cubicBezTo>
                  <a:cubicBezTo>
                    <a:pt x="3977" y="2929"/>
                    <a:pt x="2643" y="3168"/>
                    <a:pt x="1643" y="3608"/>
                  </a:cubicBezTo>
                  <a:cubicBezTo>
                    <a:pt x="1119" y="3834"/>
                    <a:pt x="715" y="4096"/>
                    <a:pt x="453" y="4394"/>
                  </a:cubicBezTo>
                  <a:cubicBezTo>
                    <a:pt x="893" y="2096"/>
                    <a:pt x="2953" y="334"/>
                    <a:pt x="5394" y="334"/>
                  </a:cubicBezTo>
                  <a:close/>
                  <a:moveTo>
                    <a:pt x="5394" y="3287"/>
                  </a:moveTo>
                  <a:cubicBezTo>
                    <a:pt x="6763" y="3287"/>
                    <a:pt x="8037" y="3525"/>
                    <a:pt x="9013" y="3941"/>
                  </a:cubicBezTo>
                  <a:cubicBezTo>
                    <a:pt x="9918" y="4322"/>
                    <a:pt x="10442" y="4858"/>
                    <a:pt x="10442" y="5382"/>
                  </a:cubicBezTo>
                  <a:cubicBezTo>
                    <a:pt x="10442" y="5906"/>
                    <a:pt x="9918" y="6442"/>
                    <a:pt x="9013" y="6823"/>
                  </a:cubicBezTo>
                  <a:cubicBezTo>
                    <a:pt x="8037" y="7239"/>
                    <a:pt x="6763" y="7478"/>
                    <a:pt x="5394" y="7478"/>
                  </a:cubicBezTo>
                  <a:cubicBezTo>
                    <a:pt x="4025" y="7478"/>
                    <a:pt x="2751" y="7239"/>
                    <a:pt x="1774" y="6823"/>
                  </a:cubicBezTo>
                  <a:cubicBezTo>
                    <a:pt x="977" y="6466"/>
                    <a:pt x="465" y="6025"/>
                    <a:pt x="357" y="5549"/>
                  </a:cubicBezTo>
                  <a:lnTo>
                    <a:pt x="4489" y="5549"/>
                  </a:lnTo>
                  <a:cubicBezTo>
                    <a:pt x="4572" y="5549"/>
                    <a:pt x="4656" y="5477"/>
                    <a:pt x="4656" y="5382"/>
                  </a:cubicBezTo>
                  <a:cubicBezTo>
                    <a:pt x="4668" y="5299"/>
                    <a:pt x="4596" y="5215"/>
                    <a:pt x="4489" y="5215"/>
                  </a:cubicBezTo>
                  <a:lnTo>
                    <a:pt x="357" y="5215"/>
                  </a:lnTo>
                  <a:cubicBezTo>
                    <a:pt x="465" y="4763"/>
                    <a:pt x="953" y="4299"/>
                    <a:pt x="1774" y="3941"/>
                  </a:cubicBezTo>
                  <a:cubicBezTo>
                    <a:pt x="2751" y="3525"/>
                    <a:pt x="4025" y="3287"/>
                    <a:pt x="5394" y="3287"/>
                  </a:cubicBezTo>
                  <a:close/>
                  <a:moveTo>
                    <a:pt x="453" y="6370"/>
                  </a:moveTo>
                  <a:lnTo>
                    <a:pt x="453" y="6370"/>
                  </a:lnTo>
                  <a:cubicBezTo>
                    <a:pt x="738" y="6668"/>
                    <a:pt x="1143" y="6918"/>
                    <a:pt x="1643" y="7156"/>
                  </a:cubicBezTo>
                  <a:cubicBezTo>
                    <a:pt x="2655" y="7585"/>
                    <a:pt x="3977" y="7835"/>
                    <a:pt x="5394" y="7835"/>
                  </a:cubicBezTo>
                  <a:cubicBezTo>
                    <a:pt x="6811" y="7835"/>
                    <a:pt x="8144" y="7597"/>
                    <a:pt x="9144" y="7156"/>
                  </a:cubicBezTo>
                  <a:cubicBezTo>
                    <a:pt x="9668" y="6930"/>
                    <a:pt x="10073" y="6668"/>
                    <a:pt x="10335" y="6370"/>
                  </a:cubicBezTo>
                  <a:lnTo>
                    <a:pt x="10335" y="6370"/>
                  </a:lnTo>
                  <a:cubicBezTo>
                    <a:pt x="9894" y="8692"/>
                    <a:pt x="7847" y="10430"/>
                    <a:pt x="5394" y="10430"/>
                  </a:cubicBezTo>
                  <a:cubicBezTo>
                    <a:pt x="4156" y="10430"/>
                    <a:pt x="3024" y="9978"/>
                    <a:pt x="2155" y="9240"/>
                  </a:cubicBezTo>
                  <a:lnTo>
                    <a:pt x="2155" y="9240"/>
                  </a:lnTo>
                  <a:cubicBezTo>
                    <a:pt x="3167" y="9502"/>
                    <a:pt x="4263" y="9645"/>
                    <a:pt x="5394" y="9645"/>
                  </a:cubicBezTo>
                  <a:cubicBezTo>
                    <a:pt x="6025" y="9645"/>
                    <a:pt x="6632" y="9597"/>
                    <a:pt x="7227" y="9525"/>
                  </a:cubicBezTo>
                  <a:cubicBezTo>
                    <a:pt x="7311" y="9502"/>
                    <a:pt x="7394" y="9418"/>
                    <a:pt x="7370" y="9323"/>
                  </a:cubicBezTo>
                  <a:cubicBezTo>
                    <a:pt x="7359" y="9246"/>
                    <a:pt x="7277" y="9179"/>
                    <a:pt x="7198" y="9179"/>
                  </a:cubicBezTo>
                  <a:cubicBezTo>
                    <a:pt x="7192" y="9179"/>
                    <a:pt x="7186" y="9179"/>
                    <a:pt x="7180" y="9180"/>
                  </a:cubicBezTo>
                  <a:cubicBezTo>
                    <a:pt x="6596" y="9252"/>
                    <a:pt x="5989" y="9299"/>
                    <a:pt x="5394" y="9299"/>
                  </a:cubicBezTo>
                  <a:cubicBezTo>
                    <a:pt x="4072" y="9299"/>
                    <a:pt x="2763" y="9109"/>
                    <a:pt x="1631" y="8728"/>
                  </a:cubicBezTo>
                  <a:cubicBezTo>
                    <a:pt x="1048" y="8073"/>
                    <a:pt x="631" y="7263"/>
                    <a:pt x="453" y="6370"/>
                  </a:cubicBezTo>
                  <a:close/>
                  <a:moveTo>
                    <a:pt x="5394" y="0"/>
                  </a:moveTo>
                  <a:cubicBezTo>
                    <a:pt x="3953" y="0"/>
                    <a:pt x="2596" y="560"/>
                    <a:pt x="1584" y="1572"/>
                  </a:cubicBezTo>
                  <a:cubicBezTo>
                    <a:pt x="572" y="2584"/>
                    <a:pt x="0" y="3941"/>
                    <a:pt x="0" y="5382"/>
                  </a:cubicBezTo>
                  <a:cubicBezTo>
                    <a:pt x="0" y="6704"/>
                    <a:pt x="488" y="7978"/>
                    <a:pt x="1358" y="8954"/>
                  </a:cubicBezTo>
                  <a:cubicBezTo>
                    <a:pt x="1381" y="8990"/>
                    <a:pt x="1393" y="9002"/>
                    <a:pt x="1417" y="9013"/>
                  </a:cubicBezTo>
                  <a:cubicBezTo>
                    <a:pt x="1477" y="9073"/>
                    <a:pt x="1524" y="9133"/>
                    <a:pt x="1584" y="9192"/>
                  </a:cubicBezTo>
                  <a:cubicBezTo>
                    <a:pt x="2132" y="9740"/>
                    <a:pt x="2786" y="10156"/>
                    <a:pt x="3501" y="10430"/>
                  </a:cubicBezTo>
                  <a:lnTo>
                    <a:pt x="1096" y="10430"/>
                  </a:lnTo>
                  <a:cubicBezTo>
                    <a:pt x="1000" y="10430"/>
                    <a:pt x="929" y="10502"/>
                    <a:pt x="929" y="10597"/>
                  </a:cubicBezTo>
                  <a:cubicBezTo>
                    <a:pt x="929" y="10680"/>
                    <a:pt x="1000" y="10752"/>
                    <a:pt x="1096" y="10752"/>
                  </a:cubicBezTo>
                  <a:lnTo>
                    <a:pt x="9025" y="10752"/>
                  </a:lnTo>
                  <a:cubicBezTo>
                    <a:pt x="9109" y="10752"/>
                    <a:pt x="9192" y="10680"/>
                    <a:pt x="9192" y="10597"/>
                  </a:cubicBezTo>
                  <a:cubicBezTo>
                    <a:pt x="9192" y="10502"/>
                    <a:pt x="9109" y="10430"/>
                    <a:pt x="9025" y="10430"/>
                  </a:cubicBezTo>
                  <a:lnTo>
                    <a:pt x="7287" y="10430"/>
                  </a:lnTo>
                  <a:cubicBezTo>
                    <a:pt x="8001" y="10156"/>
                    <a:pt x="8656" y="9740"/>
                    <a:pt x="9204" y="9192"/>
                  </a:cubicBezTo>
                  <a:cubicBezTo>
                    <a:pt x="10228" y="8180"/>
                    <a:pt x="10787" y="6823"/>
                    <a:pt x="10787" y="5382"/>
                  </a:cubicBezTo>
                  <a:cubicBezTo>
                    <a:pt x="10787" y="3941"/>
                    <a:pt x="10216" y="2584"/>
                    <a:pt x="9204" y="1572"/>
                  </a:cubicBezTo>
                  <a:cubicBezTo>
                    <a:pt x="8192" y="560"/>
                    <a:pt x="6834" y="0"/>
                    <a:pt x="5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15" name="Google Shape;10315;p59"/>
          <p:cNvGrpSpPr/>
          <p:nvPr/>
        </p:nvGrpSpPr>
        <p:grpSpPr>
          <a:xfrm>
            <a:off x="897141" y="3359875"/>
            <a:ext cx="257962" cy="352762"/>
            <a:chOff x="897141" y="3359875"/>
            <a:chExt cx="257962" cy="352762"/>
          </a:xfrm>
        </p:grpSpPr>
        <p:sp>
          <p:nvSpPr>
            <p:cNvPr id="10316" name="Google Shape;10316;p59"/>
            <p:cNvSpPr/>
            <p:nvPr/>
          </p:nvSpPr>
          <p:spPr>
            <a:xfrm>
              <a:off x="897141" y="3359875"/>
              <a:ext cx="257962" cy="352762"/>
            </a:xfrm>
            <a:custGeom>
              <a:avLst/>
              <a:gdLst/>
              <a:ahLst/>
              <a:cxnLst/>
              <a:rect l="l" t="t" r="r" b="b"/>
              <a:pathLst>
                <a:path w="8098" h="11074" extrusionOk="0">
                  <a:moveTo>
                    <a:pt x="5204" y="334"/>
                  </a:moveTo>
                  <a:cubicBezTo>
                    <a:pt x="5240" y="334"/>
                    <a:pt x="5252" y="358"/>
                    <a:pt x="5252" y="382"/>
                  </a:cubicBezTo>
                  <a:lnTo>
                    <a:pt x="5252" y="810"/>
                  </a:lnTo>
                  <a:cubicBezTo>
                    <a:pt x="5252" y="834"/>
                    <a:pt x="5216" y="846"/>
                    <a:pt x="5204" y="846"/>
                  </a:cubicBezTo>
                  <a:lnTo>
                    <a:pt x="2870" y="846"/>
                  </a:lnTo>
                  <a:cubicBezTo>
                    <a:pt x="2865" y="848"/>
                    <a:pt x="2861" y="848"/>
                    <a:pt x="2857" y="848"/>
                  </a:cubicBezTo>
                  <a:cubicBezTo>
                    <a:pt x="2832" y="848"/>
                    <a:pt x="2823" y="817"/>
                    <a:pt x="2823" y="786"/>
                  </a:cubicBezTo>
                  <a:lnTo>
                    <a:pt x="2823" y="382"/>
                  </a:lnTo>
                  <a:cubicBezTo>
                    <a:pt x="2823" y="346"/>
                    <a:pt x="2858" y="334"/>
                    <a:pt x="2870" y="334"/>
                  </a:cubicBezTo>
                  <a:close/>
                  <a:moveTo>
                    <a:pt x="2882" y="1"/>
                  </a:moveTo>
                  <a:cubicBezTo>
                    <a:pt x="2680" y="1"/>
                    <a:pt x="2513" y="167"/>
                    <a:pt x="2513" y="382"/>
                  </a:cubicBezTo>
                  <a:lnTo>
                    <a:pt x="2513" y="810"/>
                  </a:lnTo>
                  <a:cubicBezTo>
                    <a:pt x="2513" y="1001"/>
                    <a:pt x="2656" y="1167"/>
                    <a:pt x="2858" y="1179"/>
                  </a:cubicBezTo>
                  <a:lnTo>
                    <a:pt x="2858" y="4811"/>
                  </a:lnTo>
                  <a:cubicBezTo>
                    <a:pt x="2858" y="4906"/>
                    <a:pt x="2835" y="4977"/>
                    <a:pt x="2799" y="5061"/>
                  </a:cubicBezTo>
                  <a:lnTo>
                    <a:pt x="1906" y="6728"/>
                  </a:lnTo>
                  <a:lnTo>
                    <a:pt x="965" y="8502"/>
                  </a:lnTo>
                  <a:lnTo>
                    <a:pt x="489" y="9383"/>
                  </a:lnTo>
                  <a:lnTo>
                    <a:pt x="120" y="10085"/>
                  </a:lnTo>
                  <a:cubicBezTo>
                    <a:pt x="1" y="10288"/>
                    <a:pt x="13" y="10538"/>
                    <a:pt x="132" y="10752"/>
                  </a:cubicBezTo>
                  <a:cubicBezTo>
                    <a:pt x="251" y="10954"/>
                    <a:pt x="477" y="11073"/>
                    <a:pt x="715" y="11073"/>
                  </a:cubicBezTo>
                  <a:lnTo>
                    <a:pt x="3668" y="11073"/>
                  </a:lnTo>
                  <a:cubicBezTo>
                    <a:pt x="3763" y="11073"/>
                    <a:pt x="3835" y="11002"/>
                    <a:pt x="3835" y="10919"/>
                  </a:cubicBezTo>
                  <a:cubicBezTo>
                    <a:pt x="3835" y="10823"/>
                    <a:pt x="3763" y="10752"/>
                    <a:pt x="3668" y="10752"/>
                  </a:cubicBezTo>
                  <a:lnTo>
                    <a:pt x="715" y="10752"/>
                  </a:lnTo>
                  <a:cubicBezTo>
                    <a:pt x="596" y="10752"/>
                    <a:pt x="477" y="10692"/>
                    <a:pt x="418" y="10585"/>
                  </a:cubicBezTo>
                  <a:cubicBezTo>
                    <a:pt x="358" y="10478"/>
                    <a:pt x="334" y="10347"/>
                    <a:pt x="394" y="10240"/>
                  </a:cubicBezTo>
                  <a:lnTo>
                    <a:pt x="727" y="9621"/>
                  </a:lnTo>
                  <a:lnTo>
                    <a:pt x="1168" y="9621"/>
                  </a:lnTo>
                  <a:cubicBezTo>
                    <a:pt x="1263" y="9621"/>
                    <a:pt x="1334" y="9549"/>
                    <a:pt x="1334" y="9454"/>
                  </a:cubicBezTo>
                  <a:cubicBezTo>
                    <a:pt x="1334" y="9371"/>
                    <a:pt x="1263" y="9287"/>
                    <a:pt x="1168" y="9287"/>
                  </a:cubicBezTo>
                  <a:lnTo>
                    <a:pt x="894" y="9287"/>
                  </a:lnTo>
                  <a:lnTo>
                    <a:pt x="1191" y="8728"/>
                  </a:lnTo>
                  <a:lnTo>
                    <a:pt x="1632" y="8728"/>
                  </a:lnTo>
                  <a:cubicBezTo>
                    <a:pt x="1727" y="8728"/>
                    <a:pt x="1799" y="8656"/>
                    <a:pt x="1799" y="8561"/>
                  </a:cubicBezTo>
                  <a:cubicBezTo>
                    <a:pt x="1799" y="8478"/>
                    <a:pt x="1727" y="8394"/>
                    <a:pt x="1632" y="8394"/>
                  </a:cubicBezTo>
                  <a:lnTo>
                    <a:pt x="1370" y="8394"/>
                  </a:lnTo>
                  <a:lnTo>
                    <a:pt x="1668" y="7835"/>
                  </a:lnTo>
                  <a:lnTo>
                    <a:pt x="2108" y="7835"/>
                  </a:lnTo>
                  <a:cubicBezTo>
                    <a:pt x="2204" y="7835"/>
                    <a:pt x="2275" y="7763"/>
                    <a:pt x="2275" y="7668"/>
                  </a:cubicBezTo>
                  <a:cubicBezTo>
                    <a:pt x="2275" y="7585"/>
                    <a:pt x="2204" y="7502"/>
                    <a:pt x="2108" y="7502"/>
                  </a:cubicBezTo>
                  <a:lnTo>
                    <a:pt x="1834" y="7502"/>
                  </a:lnTo>
                  <a:lnTo>
                    <a:pt x="2132" y="6942"/>
                  </a:lnTo>
                  <a:lnTo>
                    <a:pt x="2585" y="6942"/>
                  </a:lnTo>
                  <a:cubicBezTo>
                    <a:pt x="2668" y="6942"/>
                    <a:pt x="2751" y="6870"/>
                    <a:pt x="2751" y="6775"/>
                  </a:cubicBezTo>
                  <a:cubicBezTo>
                    <a:pt x="2751" y="6692"/>
                    <a:pt x="2668" y="6609"/>
                    <a:pt x="2585" y="6609"/>
                  </a:cubicBezTo>
                  <a:lnTo>
                    <a:pt x="2311" y="6609"/>
                  </a:lnTo>
                  <a:lnTo>
                    <a:pt x="3085" y="5180"/>
                  </a:lnTo>
                  <a:cubicBezTo>
                    <a:pt x="3144" y="5061"/>
                    <a:pt x="3192" y="4930"/>
                    <a:pt x="3192" y="4775"/>
                  </a:cubicBezTo>
                  <a:lnTo>
                    <a:pt x="3192" y="1144"/>
                  </a:lnTo>
                  <a:lnTo>
                    <a:pt x="4930" y="1144"/>
                  </a:lnTo>
                  <a:lnTo>
                    <a:pt x="4930" y="4775"/>
                  </a:lnTo>
                  <a:cubicBezTo>
                    <a:pt x="4930" y="4918"/>
                    <a:pt x="4966" y="5061"/>
                    <a:pt x="5037" y="5180"/>
                  </a:cubicBezTo>
                  <a:lnTo>
                    <a:pt x="7716" y="10216"/>
                  </a:lnTo>
                  <a:cubicBezTo>
                    <a:pt x="7776" y="10323"/>
                    <a:pt x="7776" y="10454"/>
                    <a:pt x="7704" y="10550"/>
                  </a:cubicBezTo>
                  <a:cubicBezTo>
                    <a:pt x="7645" y="10657"/>
                    <a:pt x="7526" y="10716"/>
                    <a:pt x="7407" y="10716"/>
                  </a:cubicBezTo>
                  <a:lnTo>
                    <a:pt x="4430" y="10716"/>
                  </a:lnTo>
                  <a:cubicBezTo>
                    <a:pt x="4335" y="10716"/>
                    <a:pt x="4263" y="10788"/>
                    <a:pt x="4263" y="10883"/>
                  </a:cubicBezTo>
                  <a:cubicBezTo>
                    <a:pt x="4263" y="10978"/>
                    <a:pt x="4335" y="11050"/>
                    <a:pt x="4430" y="11050"/>
                  </a:cubicBezTo>
                  <a:lnTo>
                    <a:pt x="7407" y="11050"/>
                  </a:lnTo>
                  <a:cubicBezTo>
                    <a:pt x="7645" y="11050"/>
                    <a:pt x="7871" y="10931"/>
                    <a:pt x="7990" y="10716"/>
                  </a:cubicBezTo>
                  <a:cubicBezTo>
                    <a:pt x="8097" y="10538"/>
                    <a:pt x="8097" y="10288"/>
                    <a:pt x="7990" y="10085"/>
                  </a:cubicBezTo>
                  <a:lnTo>
                    <a:pt x="5311" y="5049"/>
                  </a:lnTo>
                  <a:cubicBezTo>
                    <a:pt x="5263" y="4977"/>
                    <a:pt x="5252" y="4882"/>
                    <a:pt x="5252" y="4799"/>
                  </a:cubicBezTo>
                  <a:lnTo>
                    <a:pt x="5252" y="1167"/>
                  </a:lnTo>
                  <a:cubicBezTo>
                    <a:pt x="5442" y="1155"/>
                    <a:pt x="5597" y="989"/>
                    <a:pt x="5597" y="798"/>
                  </a:cubicBezTo>
                  <a:lnTo>
                    <a:pt x="5597" y="382"/>
                  </a:lnTo>
                  <a:cubicBezTo>
                    <a:pt x="5597" y="167"/>
                    <a:pt x="5430" y="1"/>
                    <a:pt x="5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7" name="Google Shape;10317;p59"/>
            <p:cNvSpPr/>
            <p:nvPr/>
          </p:nvSpPr>
          <p:spPr>
            <a:xfrm>
              <a:off x="945688" y="3593691"/>
              <a:ext cx="160485" cy="89736"/>
            </a:xfrm>
            <a:custGeom>
              <a:avLst/>
              <a:gdLst/>
              <a:ahLst/>
              <a:cxnLst/>
              <a:rect l="l" t="t" r="r" b="b"/>
              <a:pathLst>
                <a:path w="5038" h="2817" extrusionOk="0">
                  <a:moveTo>
                    <a:pt x="2535" y="339"/>
                  </a:moveTo>
                  <a:cubicBezTo>
                    <a:pt x="2817" y="339"/>
                    <a:pt x="3097" y="363"/>
                    <a:pt x="3370" y="412"/>
                  </a:cubicBezTo>
                  <a:lnTo>
                    <a:pt x="3513" y="447"/>
                  </a:lnTo>
                  <a:cubicBezTo>
                    <a:pt x="3608" y="459"/>
                    <a:pt x="3668" y="519"/>
                    <a:pt x="3716" y="602"/>
                  </a:cubicBezTo>
                  <a:lnTo>
                    <a:pt x="4680" y="2424"/>
                  </a:lnTo>
                  <a:cubicBezTo>
                    <a:pt x="4692" y="2459"/>
                    <a:pt x="4680" y="2471"/>
                    <a:pt x="4680" y="2483"/>
                  </a:cubicBezTo>
                  <a:cubicBezTo>
                    <a:pt x="4680" y="2495"/>
                    <a:pt x="4668" y="2519"/>
                    <a:pt x="4632" y="2519"/>
                  </a:cubicBezTo>
                  <a:lnTo>
                    <a:pt x="406" y="2519"/>
                  </a:lnTo>
                  <a:cubicBezTo>
                    <a:pt x="382" y="2519"/>
                    <a:pt x="358" y="2495"/>
                    <a:pt x="358" y="2483"/>
                  </a:cubicBezTo>
                  <a:cubicBezTo>
                    <a:pt x="358" y="2471"/>
                    <a:pt x="346" y="2459"/>
                    <a:pt x="358" y="2424"/>
                  </a:cubicBezTo>
                  <a:lnTo>
                    <a:pt x="1334" y="602"/>
                  </a:lnTo>
                  <a:cubicBezTo>
                    <a:pt x="1358" y="507"/>
                    <a:pt x="1430" y="459"/>
                    <a:pt x="1513" y="447"/>
                  </a:cubicBezTo>
                  <a:cubicBezTo>
                    <a:pt x="1847" y="375"/>
                    <a:pt x="2192" y="339"/>
                    <a:pt x="2535" y="339"/>
                  </a:cubicBezTo>
                  <a:close/>
                  <a:moveTo>
                    <a:pt x="2520" y="0"/>
                  </a:moveTo>
                  <a:cubicBezTo>
                    <a:pt x="2155" y="0"/>
                    <a:pt x="1791" y="42"/>
                    <a:pt x="1430" y="126"/>
                  </a:cubicBezTo>
                  <a:cubicBezTo>
                    <a:pt x="1275" y="162"/>
                    <a:pt x="1120" y="281"/>
                    <a:pt x="1037" y="435"/>
                  </a:cubicBezTo>
                  <a:lnTo>
                    <a:pt x="60" y="2269"/>
                  </a:lnTo>
                  <a:cubicBezTo>
                    <a:pt x="1" y="2388"/>
                    <a:pt x="1" y="2531"/>
                    <a:pt x="84" y="2638"/>
                  </a:cubicBezTo>
                  <a:cubicBezTo>
                    <a:pt x="156" y="2757"/>
                    <a:pt x="275" y="2817"/>
                    <a:pt x="406" y="2817"/>
                  </a:cubicBezTo>
                  <a:lnTo>
                    <a:pt x="4632" y="2817"/>
                  </a:lnTo>
                  <a:cubicBezTo>
                    <a:pt x="4763" y="2817"/>
                    <a:pt x="4882" y="2745"/>
                    <a:pt x="4954" y="2638"/>
                  </a:cubicBezTo>
                  <a:cubicBezTo>
                    <a:pt x="5037" y="2519"/>
                    <a:pt x="5037" y="2388"/>
                    <a:pt x="4978" y="2269"/>
                  </a:cubicBezTo>
                  <a:lnTo>
                    <a:pt x="4001" y="435"/>
                  </a:lnTo>
                  <a:cubicBezTo>
                    <a:pt x="3918" y="269"/>
                    <a:pt x="3763" y="162"/>
                    <a:pt x="3585" y="126"/>
                  </a:cubicBezTo>
                  <a:lnTo>
                    <a:pt x="3442" y="90"/>
                  </a:lnTo>
                  <a:cubicBezTo>
                    <a:pt x="3136" y="30"/>
                    <a:pt x="2828" y="0"/>
                    <a:pt x="25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8" name="Google Shape;10318;p59"/>
            <p:cNvSpPr/>
            <p:nvPr/>
          </p:nvSpPr>
          <p:spPr>
            <a:xfrm>
              <a:off x="1045076" y="3638256"/>
              <a:ext cx="27332" cy="27714"/>
            </a:xfrm>
            <a:custGeom>
              <a:avLst/>
              <a:gdLst/>
              <a:ahLst/>
              <a:cxnLst/>
              <a:rect l="l" t="t" r="r" b="b"/>
              <a:pathLst>
                <a:path w="858" h="870" extrusionOk="0">
                  <a:moveTo>
                    <a:pt x="429" y="310"/>
                  </a:moveTo>
                  <a:cubicBezTo>
                    <a:pt x="488" y="310"/>
                    <a:pt x="548" y="358"/>
                    <a:pt x="548" y="429"/>
                  </a:cubicBezTo>
                  <a:cubicBezTo>
                    <a:pt x="548" y="489"/>
                    <a:pt x="500" y="548"/>
                    <a:pt x="429" y="548"/>
                  </a:cubicBezTo>
                  <a:cubicBezTo>
                    <a:pt x="369" y="548"/>
                    <a:pt x="310" y="501"/>
                    <a:pt x="310" y="429"/>
                  </a:cubicBezTo>
                  <a:cubicBezTo>
                    <a:pt x="322" y="370"/>
                    <a:pt x="369" y="310"/>
                    <a:pt x="429" y="310"/>
                  </a:cubicBezTo>
                  <a:close/>
                  <a:moveTo>
                    <a:pt x="429" y="1"/>
                  </a:moveTo>
                  <a:cubicBezTo>
                    <a:pt x="191" y="1"/>
                    <a:pt x="0" y="191"/>
                    <a:pt x="0" y="429"/>
                  </a:cubicBezTo>
                  <a:cubicBezTo>
                    <a:pt x="0" y="668"/>
                    <a:pt x="191" y="870"/>
                    <a:pt x="429" y="870"/>
                  </a:cubicBezTo>
                  <a:cubicBezTo>
                    <a:pt x="667" y="870"/>
                    <a:pt x="858" y="668"/>
                    <a:pt x="858" y="429"/>
                  </a:cubicBezTo>
                  <a:cubicBezTo>
                    <a:pt x="858" y="191"/>
                    <a:pt x="667"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9" name="Google Shape;10319;p59"/>
            <p:cNvSpPr/>
            <p:nvPr/>
          </p:nvSpPr>
          <p:spPr>
            <a:xfrm>
              <a:off x="976046" y="3643194"/>
              <a:ext cx="28096" cy="27332"/>
            </a:xfrm>
            <a:custGeom>
              <a:avLst/>
              <a:gdLst/>
              <a:ahLst/>
              <a:cxnLst/>
              <a:rect l="l" t="t" r="r" b="b"/>
              <a:pathLst>
                <a:path w="882" h="858" extrusionOk="0">
                  <a:moveTo>
                    <a:pt x="453" y="310"/>
                  </a:moveTo>
                  <a:cubicBezTo>
                    <a:pt x="512" y="310"/>
                    <a:pt x="572" y="346"/>
                    <a:pt x="572" y="429"/>
                  </a:cubicBezTo>
                  <a:cubicBezTo>
                    <a:pt x="572" y="489"/>
                    <a:pt x="524" y="548"/>
                    <a:pt x="453" y="548"/>
                  </a:cubicBezTo>
                  <a:cubicBezTo>
                    <a:pt x="393" y="548"/>
                    <a:pt x="334" y="501"/>
                    <a:pt x="334" y="429"/>
                  </a:cubicBezTo>
                  <a:cubicBezTo>
                    <a:pt x="334" y="358"/>
                    <a:pt x="393" y="310"/>
                    <a:pt x="453" y="310"/>
                  </a:cubicBezTo>
                  <a:close/>
                  <a:moveTo>
                    <a:pt x="453" y="1"/>
                  </a:moveTo>
                  <a:cubicBezTo>
                    <a:pt x="215" y="1"/>
                    <a:pt x="24" y="191"/>
                    <a:pt x="24" y="429"/>
                  </a:cubicBezTo>
                  <a:cubicBezTo>
                    <a:pt x="0" y="667"/>
                    <a:pt x="215" y="858"/>
                    <a:pt x="453" y="858"/>
                  </a:cubicBezTo>
                  <a:cubicBezTo>
                    <a:pt x="691" y="858"/>
                    <a:pt x="881" y="667"/>
                    <a:pt x="881" y="429"/>
                  </a:cubicBezTo>
                  <a:cubicBezTo>
                    <a:pt x="881" y="191"/>
                    <a:pt x="691"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0" name="Google Shape;10320;p59"/>
            <p:cNvSpPr/>
            <p:nvPr/>
          </p:nvSpPr>
          <p:spPr>
            <a:xfrm>
              <a:off x="1004493" y="3613218"/>
              <a:ext cx="31505" cy="31154"/>
            </a:xfrm>
            <a:custGeom>
              <a:avLst/>
              <a:gdLst/>
              <a:ahLst/>
              <a:cxnLst/>
              <a:rect l="l" t="t" r="r" b="b"/>
              <a:pathLst>
                <a:path w="989" h="978" extrusionOk="0">
                  <a:moveTo>
                    <a:pt x="500" y="322"/>
                  </a:moveTo>
                  <a:cubicBezTo>
                    <a:pt x="584" y="322"/>
                    <a:pt x="655" y="406"/>
                    <a:pt x="655" y="489"/>
                  </a:cubicBezTo>
                  <a:cubicBezTo>
                    <a:pt x="655" y="584"/>
                    <a:pt x="584" y="656"/>
                    <a:pt x="500" y="656"/>
                  </a:cubicBezTo>
                  <a:cubicBezTo>
                    <a:pt x="405" y="656"/>
                    <a:pt x="334" y="584"/>
                    <a:pt x="334" y="489"/>
                  </a:cubicBezTo>
                  <a:cubicBezTo>
                    <a:pt x="334" y="406"/>
                    <a:pt x="405" y="322"/>
                    <a:pt x="500" y="322"/>
                  </a:cubicBezTo>
                  <a:close/>
                  <a:moveTo>
                    <a:pt x="500" y="1"/>
                  </a:moveTo>
                  <a:cubicBezTo>
                    <a:pt x="227" y="1"/>
                    <a:pt x="0" y="227"/>
                    <a:pt x="0" y="489"/>
                  </a:cubicBezTo>
                  <a:cubicBezTo>
                    <a:pt x="0" y="763"/>
                    <a:pt x="227" y="977"/>
                    <a:pt x="500" y="977"/>
                  </a:cubicBezTo>
                  <a:cubicBezTo>
                    <a:pt x="762" y="977"/>
                    <a:pt x="989" y="763"/>
                    <a:pt x="989" y="489"/>
                  </a:cubicBezTo>
                  <a:cubicBezTo>
                    <a:pt x="989"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1" name="Google Shape;10321;p59"/>
            <p:cNvSpPr/>
            <p:nvPr/>
          </p:nvSpPr>
          <p:spPr>
            <a:xfrm>
              <a:off x="991209" y="3555975"/>
              <a:ext cx="31505" cy="31122"/>
            </a:xfrm>
            <a:custGeom>
              <a:avLst/>
              <a:gdLst/>
              <a:ahLst/>
              <a:cxnLst/>
              <a:rect l="l" t="t" r="r" b="b"/>
              <a:pathLst>
                <a:path w="989" h="977" extrusionOk="0">
                  <a:moveTo>
                    <a:pt x="513" y="322"/>
                  </a:moveTo>
                  <a:cubicBezTo>
                    <a:pt x="596" y="322"/>
                    <a:pt x="679" y="393"/>
                    <a:pt x="679" y="488"/>
                  </a:cubicBezTo>
                  <a:cubicBezTo>
                    <a:pt x="679" y="572"/>
                    <a:pt x="596" y="655"/>
                    <a:pt x="513" y="655"/>
                  </a:cubicBezTo>
                  <a:cubicBezTo>
                    <a:pt x="417" y="655"/>
                    <a:pt x="346" y="572"/>
                    <a:pt x="346" y="488"/>
                  </a:cubicBezTo>
                  <a:cubicBezTo>
                    <a:pt x="346" y="393"/>
                    <a:pt x="417" y="322"/>
                    <a:pt x="513" y="322"/>
                  </a:cubicBezTo>
                  <a:close/>
                  <a:moveTo>
                    <a:pt x="501" y="0"/>
                  </a:moveTo>
                  <a:cubicBezTo>
                    <a:pt x="227" y="0"/>
                    <a:pt x="1" y="214"/>
                    <a:pt x="1" y="488"/>
                  </a:cubicBezTo>
                  <a:cubicBezTo>
                    <a:pt x="1" y="750"/>
                    <a:pt x="227" y="976"/>
                    <a:pt x="501" y="976"/>
                  </a:cubicBezTo>
                  <a:cubicBezTo>
                    <a:pt x="763" y="976"/>
                    <a:pt x="989" y="750"/>
                    <a:pt x="989" y="488"/>
                  </a:cubicBezTo>
                  <a:cubicBezTo>
                    <a:pt x="989" y="214"/>
                    <a:pt x="763"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2" name="Google Shape;10322;p59"/>
            <p:cNvSpPr/>
            <p:nvPr/>
          </p:nvSpPr>
          <p:spPr>
            <a:xfrm>
              <a:off x="1023447" y="3528261"/>
              <a:ext cx="31505" cy="31154"/>
            </a:xfrm>
            <a:custGeom>
              <a:avLst/>
              <a:gdLst/>
              <a:ahLst/>
              <a:cxnLst/>
              <a:rect l="l" t="t" r="r" b="b"/>
              <a:pathLst>
                <a:path w="989" h="978" extrusionOk="0">
                  <a:moveTo>
                    <a:pt x="501" y="311"/>
                  </a:moveTo>
                  <a:cubicBezTo>
                    <a:pt x="584" y="311"/>
                    <a:pt x="655" y="394"/>
                    <a:pt x="655" y="477"/>
                  </a:cubicBezTo>
                  <a:cubicBezTo>
                    <a:pt x="655" y="572"/>
                    <a:pt x="584" y="644"/>
                    <a:pt x="501" y="644"/>
                  </a:cubicBezTo>
                  <a:cubicBezTo>
                    <a:pt x="405" y="644"/>
                    <a:pt x="334" y="572"/>
                    <a:pt x="334" y="477"/>
                  </a:cubicBezTo>
                  <a:cubicBezTo>
                    <a:pt x="334" y="394"/>
                    <a:pt x="405" y="311"/>
                    <a:pt x="501" y="311"/>
                  </a:cubicBezTo>
                  <a:close/>
                  <a:moveTo>
                    <a:pt x="501" y="1"/>
                  </a:moveTo>
                  <a:cubicBezTo>
                    <a:pt x="227" y="1"/>
                    <a:pt x="1" y="215"/>
                    <a:pt x="1" y="489"/>
                  </a:cubicBezTo>
                  <a:cubicBezTo>
                    <a:pt x="1" y="763"/>
                    <a:pt x="227" y="977"/>
                    <a:pt x="501" y="977"/>
                  </a:cubicBezTo>
                  <a:cubicBezTo>
                    <a:pt x="763" y="977"/>
                    <a:pt x="989" y="763"/>
                    <a:pt x="989" y="489"/>
                  </a:cubicBezTo>
                  <a:cubicBezTo>
                    <a:pt x="989" y="227"/>
                    <a:pt x="763"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3" name="Google Shape;10323;p59"/>
            <p:cNvSpPr/>
            <p:nvPr/>
          </p:nvSpPr>
          <p:spPr>
            <a:xfrm>
              <a:off x="1008284" y="3488442"/>
              <a:ext cx="28096" cy="27714"/>
            </a:xfrm>
            <a:custGeom>
              <a:avLst/>
              <a:gdLst/>
              <a:ahLst/>
              <a:cxnLst/>
              <a:rect l="l" t="t" r="r" b="b"/>
              <a:pathLst>
                <a:path w="882" h="870" extrusionOk="0">
                  <a:moveTo>
                    <a:pt x="441" y="310"/>
                  </a:moveTo>
                  <a:cubicBezTo>
                    <a:pt x="500" y="310"/>
                    <a:pt x="560" y="358"/>
                    <a:pt x="560" y="429"/>
                  </a:cubicBezTo>
                  <a:cubicBezTo>
                    <a:pt x="560" y="513"/>
                    <a:pt x="512" y="548"/>
                    <a:pt x="441" y="548"/>
                  </a:cubicBezTo>
                  <a:cubicBezTo>
                    <a:pt x="381" y="548"/>
                    <a:pt x="322" y="513"/>
                    <a:pt x="322" y="429"/>
                  </a:cubicBezTo>
                  <a:cubicBezTo>
                    <a:pt x="322" y="370"/>
                    <a:pt x="358" y="310"/>
                    <a:pt x="441" y="310"/>
                  </a:cubicBezTo>
                  <a:close/>
                  <a:moveTo>
                    <a:pt x="441" y="1"/>
                  </a:moveTo>
                  <a:cubicBezTo>
                    <a:pt x="203" y="1"/>
                    <a:pt x="0" y="191"/>
                    <a:pt x="0" y="429"/>
                  </a:cubicBezTo>
                  <a:cubicBezTo>
                    <a:pt x="0" y="668"/>
                    <a:pt x="203" y="870"/>
                    <a:pt x="441" y="870"/>
                  </a:cubicBezTo>
                  <a:cubicBezTo>
                    <a:pt x="679" y="870"/>
                    <a:pt x="870" y="668"/>
                    <a:pt x="870" y="429"/>
                  </a:cubicBezTo>
                  <a:cubicBezTo>
                    <a:pt x="881" y="191"/>
                    <a:pt x="69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4" name="Google Shape;10324;p59"/>
          <p:cNvGrpSpPr/>
          <p:nvPr/>
        </p:nvGrpSpPr>
        <p:grpSpPr>
          <a:xfrm>
            <a:off x="1333682" y="3344330"/>
            <a:ext cx="271213" cy="383088"/>
            <a:chOff x="1333682" y="3344330"/>
            <a:chExt cx="271213" cy="383088"/>
          </a:xfrm>
        </p:grpSpPr>
        <p:sp>
          <p:nvSpPr>
            <p:cNvPr id="10325" name="Google Shape;10325;p59"/>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6" name="Google Shape;10326;p59"/>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7" name="Google Shape;10327;p59"/>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8" name="Google Shape;10328;p59"/>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9" name="Google Shape;10329;p59"/>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0" name="Google Shape;10330;p59"/>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1" name="Google Shape;10331;p59"/>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2" name="Google Shape;10332;p59"/>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3" name="Google Shape;10333;p59"/>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4" name="Google Shape;10334;p59"/>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5" name="Google Shape;10335;p59"/>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36" name="Google Shape;10336;p59"/>
          <p:cNvGrpSpPr/>
          <p:nvPr/>
        </p:nvGrpSpPr>
        <p:grpSpPr>
          <a:xfrm>
            <a:off x="6664394" y="3346974"/>
            <a:ext cx="353113" cy="351998"/>
            <a:chOff x="6664394" y="3346974"/>
            <a:chExt cx="353113" cy="351998"/>
          </a:xfrm>
        </p:grpSpPr>
        <p:sp>
          <p:nvSpPr>
            <p:cNvPr id="10337" name="Google Shape;10337;p59"/>
            <p:cNvSpPr/>
            <p:nvPr/>
          </p:nvSpPr>
          <p:spPr>
            <a:xfrm>
              <a:off x="6788023" y="3450917"/>
              <a:ext cx="37207" cy="37175"/>
            </a:xfrm>
            <a:custGeom>
              <a:avLst/>
              <a:gdLst/>
              <a:ahLst/>
              <a:cxnLst/>
              <a:rect l="l" t="t" r="r" b="b"/>
              <a:pathLst>
                <a:path w="1168" h="1167" extrusionOk="0">
                  <a:moveTo>
                    <a:pt x="572" y="333"/>
                  </a:moveTo>
                  <a:cubicBezTo>
                    <a:pt x="703" y="333"/>
                    <a:pt x="822" y="453"/>
                    <a:pt x="822" y="583"/>
                  </a:cubicBezTo>
                  <a:cubicBezTo>
                    <a:pt x="822" y="738"/>
                    <a:pt x="703" y="834"/>
                    <a:pt x="572" y="834"/>
                  </a:cubicBezTo>
                  <a:cubicBezTo>
                    <a:pt x="429" y="834"/>
                    <a:pt x="310" y="738"/>
                    <a:pt x="310" y="583"/>
                  </a:cubicBezTo>
                  <a:cubicBezTo>
                    <a:pt x="310" y="441"/>
                    <a:pt x="429" y="333"/>
                    <a:pt x="572" y="333"/>
                  </a:cubicBezTo>
                  <a:close/>
                  <a:moveTo>
                    <a:pt x="584" y="0"/>
                  </a:moveTo>
                  <a:cubicBezTo>
                    <a:pt x="251" y="0"/>
                    <a:pt x="1" y="274"/>
                    <a:pt x="1" y="583"/>
                  </a:cubicBezTo>
                  <a:cubicBezTo>
                    <a:pt x="1" y="917"/>
                    <a:pt x="275" y="1167"/>
                    <a:pt x="584" y="1167"/>
                  </a:cubicBezTo>
                  <a:cubicBezTo>
                    <a:pt x="894" y="1167"/>
                    <a:pt x="1168" y="917"/>
                    <a:pt x="1168" y="583"/>
                  </a:cubicBezTo>
                  <a:cubicBezTo>
                    <a:pt x="1168" y="262"/>
                    <a:pt x="894"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8" name="Google Shape;10338;p59"/>
            <p:cNvSpPr/>
            <p:nvPr/>
          </p:nvSpPr>
          <p:spPr>
            <a:xfrm>
              <a:off x="6874892" y="3495641"/>
              <a:ext cx="36824" cy="36824"/>
            </a:xfrm>
            <a:custGeom>
              <a:avLst/>
              <a:gdLst/>
              <a:ahLst/>
              <a:cxnLst/>
              <a:rect l="l" t="t" r="r" b="b"/>
              <a:pathLst>
                <a:path w="1156" h="1156" extrusionOk="0">
                  <a:moveTo>
                    <a:pt x="584" y="311"/>
                  </a:moveTo>
                  <a:cubicBezTo>
                    <a:pt x="727" y="311"/>
                    <a:pt x="834" y="430"/>
                    <a:pt x="834" y="561"/>
                  </a:cubicBezTo>
                  <a:cubicBezTo>
                    <a:pt x="834" y="715"/>
                    <a:pt x="715" y="823"/>
                    <a:pt x="584" y="823"/>
                  </a:cubicBezTo>
                  <a:cubicBezTo>
                    <a:pt x="441" y="823"/>
                    <a:pt x="322" y="703"/>
                    <a:pt x="322" y="561"/>
                  </a:cubicBezTo>
                  <a:cubicBezTo>
                    <a:pt x="322" y="430"/>
                    <a:pt x="441" y="311"/>
                    <a:pt x="584" y="311"/>
                  </a:cubicBezTo>
                  <a:close/>
                  <a:moveTo>
                    <a:pt x="563" y="1"/>
                  </a:moveTo>
                  <a:cubicBezTo>
                    <a:pt x="251" y="1"/>
                    <a:pt x="0" y="258"/>
                    <a:pt x="0" y="584"/>
                  </a:cubicBezTo>
                  <a:cubicBezTo>
                    <a:pt x="0" y="906"/>
                    <a:pt x="262" y="1156"/>
                    <a:pt x="584" y="1156"/>
                  </a:cubicBezTo>
                  <a:cubicBezTo>
                    <a:pt x="905" y="1156"/>
                    <a:pt x="1155" y="894"/>
                    <a:pt x="1155" y="584"/>
                  </a:cubicBezTo>
                  <a:cubicBezTo>
                    <a:pt x="1155" y="251"/>
                    <a:pt x="893" y="1"/>
                    <a:pt x="584" y="1"/>
                  </a:cubicBezTo>
                  <a:cubicBezTo>
                    <a:pt x="577" y="1"/>
                    <a:pt x="570" y="1"/>
                    <a:pt x="5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9" name="Google Shape;10339;p59"/>
            <p:cNvSpPr/>
            <p:nvPr/>
          </p:nvSpPr>
          <p:spPr>
            <a:xfrm>
              <a:off x="6780059" y="3538136"/>
              <a:ext cx="53134" cy="53134"/>
            </a:xfrm>
            <a:custGeom>
              <a:avLst/>
              <a:gdLst/>
              <a:ahLst/>
              <a:cxnLst/>
              <a:rect l="l" t="t" r="r" b="b"/>
              <a:pathLst>
                <a:path w="1668" h="1668" extrusionOk="0">
                  <a:moveTo>
                    <a:pt x="834" y="334"/>
                  </a:moveTo>
                  <a:cubicBezTo>
                    <a:pt x="1120" y="334"/>
                    <a:pt x="1334" y="560"/>
                    <a:pt x="1334" y="834"/>
                  </a:cubicBezTo>
                  <a:cubicBezTo>
                    <a:pt x="1334" y="1120"/>
                    <a:pt x="1120" y="1346"/>
                    <a:pt x="834" y="1346"/>
                  </a:cubicBezTo>
                  <a:cubicBezTo>
                    <a:pt x="548" y="1346"/>
                    <a:pt x="322" y="1120"/>
                    <a:pt x="322" y="834"/>
                  </a:cubicBezTo>
                  <a:cubicBezTo>
                    <a:pt x="322" y="572"/>
                    <a:pt x="548" y="334"/>
                    <a:pt x="834" y="334"/>
                  </a:cubicBezTo>
                  <a:close/>
                  <a:moveTo>
                    <a:pt x="834" y="1"/>
                  </a:moveTo>
                  <a:cubicBezTo>
                    <a:pt x="370" y="24"/>
                    <a:pt x="1" y="393"/>
                    <a:pt x="1" y="834"/>
                  </a:cubicBezTo>
                  <a:cubicBezTo>
                    <a:pt x="1" y="1298"/>
                    <a:pt x="370" y="1667"/>
                    <a:pt x="834" y="1667"/>
                  </a:cubicBezTo>
                  <a:cubicBezTo>
                    <a:pt x="1298" y="1667"/>
                    <a:pt x="1668" y="1298"/>
                    <a:pt x="1668" y="834"/>
                  </a:cubicBezTo>
                  <a:cubicBezTo>
                    <a:pt x="1668" y="382"/>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0" name="Google Shape;10340;p59"/>
            <p:cNvSpPr/>
            <p:nvPr/>
          </p:nvSpPr>
          <p:spPr>
            <a:xfrm>
              <a:off x="6664394" y="3346974"/>
              <a:ext cx="353113" cy="351998"/>
            </a:xfrm>
            <a:custGeom>
              <a:avLst/>
              <a:gdLst/>
              <a:ahLst/>
              <a:cxnLst/>
              <a:rect l="l" t="t" r="r" b="b"/>
              <a:pathLst>
                <a:path w="11085" h="11050" extrusionOk="0">
                  <a:moveTo>
                    <a:pt x="5549" y="358"/>
                  </a:moveTo>
                  <a:cubicBezTo>
                    <a:pt x="5680" y="358"/>
                    <a:pt x="5799" y="477"/>
                    <a:pt x="5799" y="620"/>
                  </a:cubicBezTo>
                  <a:cubicBezTo>
                    <a:pt x="5799" y="763"/>
                    <a:pt x="5680" y="870"/>
                    <a:pt x="5549" y="870"/>
                  </a:cubicBezTo>
                  <a:cubicBezTo>
                    <a:pt x="5418" y="870"/>
                    <a:pt x="5299" y="763"/>
                    <a:pt x="5299" y="620"/>
                  </a:cubicBezTo>
                  <a:cubicBezTo>
                    <a:pt x="5299" y="465"/>
                    <a:pt x="5418" y="358"/>
                    <a:pt x="5549" y="358"/>
                  </a:cubicBezTo>
                  <a:close/>
                  <a:moveTo>
                    <a:pt x="9752" y="1001"/>
                  </a:moveTo>
                  <a:cubicBezTo>
                    <a:pt x="10061" y="1001"/>
                    <a:pt x="10228" y="1394"/>
                    <a:pt x="10002" y="1620"/>
                  </a:cubicBezTo>
                  <a:cubicBezTo>
                    <a:pt x="9936" y="1686"/>
                    <a:pt x="9844" y="1718"/>
                    <a:pt x="9750" y="1718"/>
                  </a:cubicBezTo>
                  <a:cubicBezTo>
                    <a:pt x="9656" y="1718"/>
                    <a:pt x="9561" y="1686"/>
                    <a:pt x="9490" y="1620"/>
                  </a:cubicBezTo>
                  <a:cubicBezTo>
                    <a:pt x="9275" y="1394"/>
                    <a:pt x="9430" y="1001"/>
                    <a:pt x="9752" y="1001"/>
                  </a:cubicBezTo>
                  <a:close/>
                  <a:moveTo>
                    <a:pt x="1554" y="1203"/>
                  </a:moveTo>
                  <a:cubicBezTo>
                    <a:pt x="1655" y="1203"/>
                    <a:pt x="1756" y="1239"/>
                    <a:pt x="1834" y="1310"/>
                  </a:cubicBezTo>
                  <a:cubicBezTo>
                    <a:pt x="1977" y="1465"/>
                    <a:pt x="1977" y="1715"/>
                    <a:pt x="1834" y="1870"/>
                  </a:cubicBezTo>
                  <a:cubicBezTo>
                    <a:pt x="1756" y="1941"/>
                    <a:pt x="1658" y="1977"/>
                    <a:pt x="1559" y="1977"/>
                  </a:cubicBezTo>
                  <a:cubicBezTo>
                    <a:pt x="1459" y="1977"/>
                    <a:pt x="1358" y="1941"/>
                    <a:pt x="1274" y="1870"/>
                  </a:cubicBezTo>
                  <a:cubicBezTo>
                    <a:pt x="1131" y="1715"/>
                    <a:pt x="1131" y="1465"/>
                    <a:pt x="1274" y="1310"/>
                  </a:cubicBezTo>
                  <a:cubicBezTo>
                    <a:pt x="1352" y="1239"/>
                    <a:pt x="1453" y="1203"/>
                    <a:pt x="1554" y="1203"/>
                  </a:cubicBezTo>
                  <a:close/>
                  <a:moveTo>
                    <a:pt x="596" y="5323"/>
                  </a:moveTo>
                  <a:cubicBezTo>
                    <a:pt x="727" y="5323"/>
                    <a:pt x="846" y="5442"/>
                    <a:pt x="846" y="5573"/>
                  </a:cubicBezTo>
                  <a:cubicBezTo>
                    <a:pt x="858" y="5704"/>
                    <a:pt x="738" y="5823"/>
                    <a:pt x="596" y="5823"/>
                  </a:cubicBezTo>
                  <a:cubicBezTo>
                    <a:pt x="441" y="5823"/>
                    <a:pt x="346" y="5704"/>
                    <a:pt x="346" y="5573"/>
                  </a:cubicBezTo>
                  <a:cubicBezTo>
                    <a:pt x="346" y="5430"/>
                    <a:pt x="465" y="5323"/>
                    <a:pt x="596" y="5323"/>
                  </a:cubicBezTo>
                  <a:close/>
                  <a:moveTo>
                    <a:pt x="10502" y="5323"/>
                  </a:moveTo>
                  <a:cubicBezTo>
                    <a:pt x="10656" y="5323"/>
                    <a:pt x="10764" y="5442"/>
                    <a:pt x="10764" y="5573"/>
                  </a:cubicBezTo>
                  <a:cubicBezTo>
                    <a:pt x="10764" y="5704"/>
                    <a:pt x="10644" y="5823"/>
                    <a:pt x="10502" y="5823"/>
                  </a:cubicBezTo>
                  <a:cubicBezTo>
                    <a:pt x="10359" y="5823"/>
                    <a:pt x="10252" y="5704"/>
                    <a:pt x="10252" y="5573"/>
                  </a:cubicBezTo>
                  <a:cubicBezTo>
                    <a:pt x="10252" y="5430"/>
                    <a:pt x="10371" y="5323"/>
                    <a:pt x="10502" y="5323"/>
                  </a:cubicBezTo>
                  <a:close/>
                  <a:moveTo>
                    <a:pt x="2036" y="8799"/>
                  </a:moveTo>
                  <a:cubicBezTo>
                    <a:pt x="2274" y="8823"/>
                    <a:pt x="2393" y="9085"/>
                    <a:pt x="2227" y="9252"/>
                  </a:cubicBezTo>
                  <a:cubicBezTo>
                    <a:pt x="2179" y="9305"/>
                    <a:pt x="2114" y="9332"/>
                    <a:pt x="2047" y="9332"/>
                  </a:cubicBezTo>
                  <a:cubicBezTo>
                    <a:pt x="1980" y="9332"/>
                    <a:pt x="1911" y="9305"/>
                    <a:pt x="1858" y="9252"/>
                  </a:cubicBezTo>
                  <a:cubicBezTo>
                    <a:pt x="1691" y="9085"/>
                    <a:pt x="1810" y="8799"/>
                    <a:pt x="2036" y="8799"/>
                  </a:cubicBezTo>
                  <a:close/>
                  <a:moveTo>
                    <a:pt x="5549" y="10264"/>
                  </a:moveTo>
                  <a:cubicBezTo>
                    <a:pt x="5680" y="10264"/>
                    <a:pt x="5799" y="10383"/>
                    <a:pt x="5799" y="10514"/>
                  </a:cubicBezTo>
                  <a:cubicBezTo>
                    <a:pt x="5799" y="10669"/>
                    <a:pt x="5680" y="10764"/>
                    <a:pt x="5549" y="10764"/>
                  </a:cubicBezTo>
                  <a:cubicBezTo>
                    <a:pt x="5418" y="10764"/>
                    <a:pt x="5299" y="10645"/>
                    <a:pt x="5299" y="10514"/>
                  </a:cubicBezTo>
                  <a:cubicBezTo>
                    <a:pt x="5299" y="10371"/>
                    <a:pt x="5418" y="10264"/>
                    <a:pt x="5549" y="10264"/>
                  </a:cubicBezTo>
                  <a:close/>
                  <a:moveTo>
                    <a:pt x="5501" y="1"/>
                  </a:moveTo>
                  <a:cubicBezTo>
                    <a:pt x="5180" y="1"/>
                    <a:pt x="4918" y="275"/>
                    <a:pt x="4918" y="584"/>
                  </a:cubicBezTo>
                  <a:cubicBezTo>
                    <a:pt x="4918" y="858"/>
                    <a:pt x="5096" y="1060"/>
                    <a:pt x="5334" y="1132"/>
                  </a:cubicBezTo>
                  <a:lnTo>
                    <a:pt x="5334" y="2025"/>
                  </a:lnTo>
                  <a:cubicBezTo>
                    <a:pt x="5299" y="2013"/>
                    <a:pt x="5251" y="2001"/>
                    <a:pt x="5191" y="1989"/>
                  </a:cubicBezTo>
                  <a:cubicBezTo>
                    <a:pt x="5015" y="1924"/>
                    <a:pt x="4880" y="1886"/>
                    <a:pt x="4761" y="1886"/>
                  </a:cubicBezTo>
                  <a:cubicBezTo>
                    <a:pt x="4576" y="1886"/>
                    <a:pt x="4430" y="1978"/>
                    <a:pt x="4227" y="2203"/>
                  </a:cubicBezTo>
                  <a:cubicBezTo>
                    <a:pt x="4144" y="2299"/>
                    <a:pt x="4072" y="2370"/>
                    <a:pt x="4001" y="2406"/>
                  </a:cubicBezTo>
                  <a:cubicBezTo>
                    <a:pt x="3929" y="2442"/>
                    <a:pt x="3810" y="2442"/>
                    <a:pt x="3703" y="2465"/>
                  </a:cubicBezTo>
                  <a:cubicBezTo>
                    <a:pt x="3370" y="2489"/>
                    <a:pt x="3179" y="2537"/>
                    <a:pt x="3036" y="2823"/>
                  </a:cubicBezTo>
                  <a:lnTo>
                    <a:pt x="2120" y="1906"/>
                  </a:lnTo>
                  <a:cubicBezTo>
                    <a:pt x="2286" y="1632"/>
                    <a:pt x="2274" y="1275"/>
                    <a:pt x="2036" y="1037"/>
                  </a:cubicBezTo>
                  <a:cubicBezTo>
                    <a:pt x="1893" y="894"/>
                    <a:pt x="1712" y="822"/>
                    <a:pt x="1530" y="822"/>
                  </a:cubicBezTo>
                  <a:cubicBezTo>
                    <a:pt x="1349" y="822"/>
                    <a:pt x="1167" y="894"/>
                    <a:pt x="1024" y="1037"/>
                  </a:cubicBezTo>
                  <a:cubicBezTo>
                    <a:pt x="546" y="1505"/>
                    <a:pt x="939" y="2252"/>
                    <a:pt x="1509" y="2252"/>
                  </a:cubicBezTo>
                  <a:cubicBezTo>
                    <a:pt x="1635" y="2252"/>
                    <a:pt x="1770" y="2216"/>
                    <a:pt x="1905" y="2132"/>
                  </a:cubicBezTo>
                  <a:lnTo>
                    <a:pt x="2917" y="3144"/>
                  </a:lnTo>
                  <a:cubicBezTo>
                    <a:pt x="2846" y="3370"/>
                    <a:pt x="2810" y="3394"/>
                    <a:pt x="2572" y="3549"/>
                  </a:cubicBezTo>
                  <a:cubicBezTo>
                    <a:pt x="2143" y="3799"/>
                    <a:pt x="2084" y="3966"/>
                    <a:pt x="2143" y="4442"/>
                  </a:cubicBezTo>
                  <a:cubicBezTo>
                    <a:pt x="2155" y="4561"/>
                    <a:pt x="2167" y="4668"/>
                    <a:pt x="2155" y="4751"/>
                  </a:cubicBezTo>
                  <a:cubicBezTo>
                    <a:pt x="2108" y="4918"/>
                    <a:pt x="1941" y="5061"/>
                    <a:pt x="1846" y="5359"/>
                  </a:cubicBezTo>
                  <a:lnTo>
                    <a:pt x="1131" y="5359"/>
                  </a:lnTo>
                  <a:cubicBezTo>
                    <a:pt x="1060" y="5120"/>
                    <a:pt x="846" y="4942"/>
                    <a:pt x="584" y="4942"/>
                  </a:cubicBezTo>
                  <a:cubicBezTo>
                    <a:pt x="250" y="4942"/>
                    <a:pt x="0" y="5216"/>
                    <a:pt x="0" y="5525"/>
                  </a:cubicBezTo>
                  <a:cubicBezTo>
                    <a:pt x="0" y="5859"/>
                    <a:pt x="262" y="6109"/>
                    <a:pt x="584" y="6109"/>
                  </a:cubicBezTo>
                  <a:cubicBezTo>
                    <a:pt x="846" y="6109"/>
                    <a:pt x="1060" y="5930"/>
                    <a:pt x="1131" y="5692"/>
                  </a:cubicBezTo>
                  <a:lnTo>
                    <a:pt x="1846" y="5692"/>
                  </a:lnTo>
                  <a:cubicBezTo>
                    <a:pt x="1929" y="5990"/>
                    <a:pt x="2108" y="6132"/>
                    <a:pt x="2155" y="6299"/>
                  </a:cubicBezTo>
                  <a:cubicBezTo>
                    <a:pt x="2203" y="6513"/>
                    <a:pt x="2036" y="6871"/>
                    <a:pt x="2179" y="7156"/>
                  </a:cubicBezTo>
                  <a:cubicBezTo>
                    <a:pt x="2322" y="7430"/>
                    <a:pt x="2703" y="7526"/>
                    <a:pt x="2822" y="7704"/>
                  </a:cubicBezTo>
                  <a:cubicBezTo>
                    <a:pt x="2870" y="7764"/>
                    <a:pt x="2894" y="7835"/>
                    <a:pt x="2929" y="7930"/>
                  </a:cubicBezTo>
                  <a:lnTo>
                    <a:pt x="2322" y="8538"/>
                  </a:lnTo>
                  <a:cubicBezTo>
                    <a:pt x="2229" y="8489"/>
                    <a:pt x="2127" y="8464"/>
                    <a:pt x="2025" y="8464"/>
                  </a:cubicBezTo>
                  <a:cubicBezTo>
                    <a:pt x="1880" y="8464"/>
                    <a:pt x="1737" y="8515"/>
                    <a:pt x="1631" y="8621"/>
                  </a:cubicBezTo>
                  <a:cubicBezTo>
                    <a:pt x="1262" y="9002"/>
                    <a:pt x="1536" y="9621"/>
                    <a:pt x="2048" y="9621"/>
                  </a:cubicBezTo>
                  <a:cubicBezTo>
                    <a:pt x="2489" y="9621"/>
                    <a:pt x="2786" y="9157"/>
                    <a:pt x="2560" y="8764"/>
                  </a:cubicBezTo>
                  <a:lnTo>
                    <a:pt x="3084" y="8240"/>
                  </a:lnTo>
                  <a:cubicBezTo>
                    <a:pt x="3322" y="8704"/>
                    <a:pt x="3810" y="8538"/>
                    <a:pt x="4060" y="8657"/>
                  </a:cubicBezTo>
                  <a:cubicBezTo>
                    <a:pt x="4251" y="8740"/>
                    <a:pt x="4418" y="9085"/>
                    <a:pt x="4727" y="9157"/>
                  </a:cubicBezTo>
                  <a:cubicBezTo>
                    <a:pt x="4769" y="9167"/>
                    <a:pt x="4811" y="9172"/>
                    <a:pt x="4853" y="9172"/>
                  </a:cubicBezTo>
                  <a:cubicBezTo>
                    <a:pt x="5045" y="9172"/>
                    <a:pt x="5230" y="9075"/>
                    <a:pt x="5406" y="9026"/>
                  </a:cubicBezTo>
                  <a:lnTo>
                    <a:pt x="5406" y="9919"/>
                  </a:lnTo>
                  <a:cubicBezTo>
                    <a:pt x="5168" y="9990"/>
                    <a:pt x="4989" y="10204"/>
                    <a:pt x="4989" y="10466"/>
                  </a:cubicBezTo>
                  <a:cubicBezTo>
                    <a:pt x="4989" y="10800"/>
                    <a:pt x="5251" y="11050"/>
                    <a:pt x="5561" y="11050"/>
                  </a:cubicBezTo>
                  <a:cubicBezTo>
                    <a:pt x="5894" y="11050"/>
                    <a:pt x="6144" y="10788"/>
                    <a:pt x="6144" y="10466"/>
                  </a:cubicBezTo>
                  <a:cubicBezTo>
                    <a:pt x="6144" y="10204"/>
                    <a:pt x="5965" y="9990"/>
                    <a:pt x="5727" y="9919"/>
                  </a:cubicBezTo>
                  <a:lnTo>
                    <a:pt x="5727" y="9026"/>
                  </a:lnTo>
                  <a:cubicBezTo>
                    <a:pt x="5903" y="9075"/>
                    <a:pt x="6080" y="9172"/>
                    <a:pt x="6269" y="9172"/>
                  </a:cubicBezTo>
                  <a:cubicBezTo>
                    <a:pt x="6310" y="9172"/>
                    <a:pt x="6352" y="9167"/>
                    <a:pt x="6394" y="9157"/>
                  </a:cubicBezTo>
                  <a:cubicBezTo>
                    <a:pt x="6715" y="9085"/>
                    <a:pt x="6894" y="8740"/>
                    <a:pt x="7073" y="8657"/>
                  </a:cubicBezTo>
                  <a:cubicBezTo>
                    <a:pt x="7323" y="8538"/>
                    <a:pt x="7799" y="8704"/>
                    <a:pt x="8049" y="8240"/>
                  </a:cubicBezTo>
                  <a:lnTo>
                    <a:pt x="8216" y="8407"/>
                  </a:lnTo>
                  <a:cubicBezTo>
                    <a:pt x="8245" y="8436"/>
                    <a:pt x="8287" y="8451"/>
                    <a:pt x="8329" y="8451"/>
                  </a:cubicBezTo>
                  <a:cubicBezTo>
                    <a:pt x="8370" y="8451"/>
                    <a:pt x="8412" y="8436"/>
                    <a:pt x="8442" y="8407"/>
                  </a:cubicBezTo>
                  <a:cubicBezTo>
                    <a:pt x="8501" y="8347"/>
                    <a:pt x="8501" y="8240"/>
                    <a:pt x="8442" y="8180"/>
                  </a:cubicBezTo>
                  <a:lnTo>
                    <a:pt x="8168" y="7907"/>
                  </a:lnTo>
                  <a:cubicBezTo>
                    <a:pt x="8239" y="7692"/>
                    <a:pt x="8275" y="7656"/>
                    <a:pt x="8513" y="7514"/>
                  </a:cubicBezTo>
                  <a:cubicBezTo>
                    <a:pt x="8942" y="7252"/>
                    <a:pt x="9013" y="7097"/>
                    <a:pt x="8942" y="6621"/>
                  </a:cubicBezTo>
                  <a:cubicBezTo>
                    <a:pt x="8894" y="6323"/>
                    <a:pt x="8918" y="6287"/>
                    <a:pt x="9073" y="6037"/>
                  </a:cubicBezTo>
                  <a:cubicBezTo>
                    <a:pt x="9156" y="5930"/>
                    <a:pt x="9216" y="5811"/>
                    <a:pt x="9240" y="5692"/>
                  </a:cubicBezTo>
                  <a:lnTo>
                    <a:pt x="9954" y="5692"/>
                  </a:lnTo>
                  <a:cubicBezTo>
                    <a:pt x="10025" y="5930"/>
                    <a:pt x="10240" y="6109"/>
                    <a:pt x="10502" y="6109"/>
                  </a:cubicBezTo>
                  <a:cubicBezTo>
                    <a:pt x="10835" y="6109"/>
                    <a:pt x="11085" y="5847"/>
                    <a:pt x="11085" y="5525"/>
                  </a:cubicBezTo>
                  <a:cubicBezTo>
                    <a:pt x="11085" y="5251"/>
                    <a:pt x="10823" y="4989"/>
                    <a:pt x="10502" y="4989"/>
                  </a:cubicBezTo>
                  <a:cubicBezTo>
                    <a:pt x="10240" y="4989"/>
                    <a:pt x="10025" y="5168"/>
                    <a:pt x="9954" y="5406"/>
                  </a:cubicBezTo>
                  <a:lnTo>
                    <a:pt x="9240" y="5406"/>
                  </a:lnTo>
                  <a:cubicBezTo>
                    <a:pt x="9156" y="5109"/>
                    <a:pt x="8978" y="4966"/>
                    <a:pt x="8930" y="4799"/>
                  </a:cubicBezTo>
                  <a:cubicBezTo>
                    <a:pt x="8882" y="4585"/>
                    <a:pt x="9049" y="4239"/>
                    <a:pt x="8894" y="3954"/>
                  </a:cubicBezTo>
                  <a:cubicBezTo>
                    <a:pt x="8763" y="3668"/>
                    <a:pt x="8382" y="3573"/>
                    <a:pt x="8263" y="3394"/>
                  </a:cubicBezTo>
                  <a:cubicBezTo>
                    <a:pt x="8216" y="3335"/>
                    <a:pt x="8180" y="3263"/>
                    <a:pt x="8156" y="3180"/>
                  </a:cubicBezTo>
                  <a:lnTo>
                    <a:pt x="9406" y="1930"/>
                  </a:lnTo>
                  <a:cubicBezTo>
                    <a:pt x="9513" y="1989"/>
                    <a:pt x="9632" y="2025"/>
                    <a:pt x="9752" y="2025"/>
                  </a:cubicBezTo>
                  <a:cubicBezTo>
                    <a:pt x="9930" y="2025"/>
                    <a:pt x="10109" y="1953"/>
                    <a:pt x="10228" y="1834"/>
                  </a:cubicBezTo>
                  <a:cubicBezTo>
                    <a:pt x="10490" y="1572"/>
                    <a:pt x="10490" y="1132"/>
                    <a:pt x="10228" y="870"/>
                  </a:cubicBezTo>
                  <a:cubicBezTo>
                    <a:pt x="10091" y="733"/>
                    <a:pt x="9915" y="665"/>
                    <a:pt x="9740" y="665"/>
                  </a:cubicBezTo>
                  <a:cubicBezTo>
                    <a:pt x="9564" y="665"/>
                    <a:pt x="9388" y="733"/>
                    <a:pt x="9251" y="870"/>
                  </a:cubicBezTo>
                  <a:cubicBezTo>
                    <a:pt x="9037" y="1096"/>
                    <a:pt x="9001" y="1430"/>
                    <a:pt x="9168" y="1691"/>
                  </a:cubicBezTo>
                  <a:lnTo>
                    <a:pt x="8025" y="2834"/>
                  </a:lnTo>
                  <a:cubicBezTo>
                    <a:pt x="7918" y="2644"/>
                    <a:pt x="7799" y="2537"/>
                    <a:pt x="7501" y="2489"/>
                  </a:cubicBezTo>
                  <a:cubicBezTo>
                    <a:pt x="7493" y="2488"/>
                    <a:pt x="7485" y="2488"/>
                    <a:pt x="7477" y="2488"/>
                  </a:cubicBezTo>
                  <a:cubicBezTo>
                    <a:pt x="7394" y="2488"/>
                    <a:pt x="7334" y="2545"/>
                    <a:pt x="7323" y="2632"/>
                  </a:cubicBezTo>
                  <a:cubicBezTo>
                    <a:pt x="7311" y="2715"/>
                    <a:pt x="7370" y="2787"/>
                    <a:pt x="7454" y="2811"/>
                  </a:cubicBezTo>
                  <a:cubicBezTo>
                    <a:pt x="7680" y="2834"/>
                    <a:pt x="7727" y="2906"/>
                    <a:pt x="7811" y="3192"/>
                  </a:cubicBezTo>
                  <a:cubicBezTo>
                    <a:pt x="7930" y="3549"/>
                    <a:pt x="7989" y="3644"/>
                    <a:pt x="8323" y="3835"/>
                  </a:cubicBezTo>
                  <a:cubicBezTo>
                    <a:pt x="8632" y="4025"/>
                    <a:pt x="8644" y="4061"/>
                    <a:pt x="8597" y="4418"/>
                  </a:cubicBezTo>
                  <a:cubicBezTo>
                    <a:pt x="8537" y="4799"/>
                    <a:pt x="8573" y="4906"/>
                    <a:pt x="8775" y="5216"/>
                  </a:cubicBezTo>
                  <a:cubicBezTo>
                    <a:pt x="8990" y="5525"/>
                    <a:pt x="8990" y="5573"/>
                    <a:pt x="8775" y="5871"/>
                  </a:cubicBezTo>
                  <a:cubicBezTo>
                    <a:pt x="8573" y="6180"/>
                    <a:pt x="8561" y="6287"/>
                    <a:pt x="8597" y="6668"/>
                  </a:cubicBezTo>
                  <a:cubicBezTo>
                    <a:pt x="8644" y="7025"/>
                    <a:pt x="8632" y="7061"/>
                    <a:pt x="8323" y="7252"/>
                  </a:cubicBezTo>
                  <a:cubicBezTo>
                    <a:pt x="7989" y="7442"/>
                    <a:pt x="7930" y="7537"/>
                    <a:pt x="7811" y="7895"/>
                  </a:cubicBezTo>
                  <a:cubicBezTo>
                    <a:pt x="7692" y="8240"/>
                    <a:pt x="7668" y="8264"/>
                    <a:pt x="7311" y="8299"/>
                  </a:cubicBezTo>
                  <a:cubicBezTo>
                    <a:pt x="6918" y="8323"/>
                    <a:pt x="6834" y="8383"/>
                    <a:pt x="6561" y="8657"/>
                  </a:cubicBezTo>
                  <a:cubicBezTo>
                    <a:pt x="6411" y="8813"/>
                    <a:pt x="6334" y="8876"/>
                    <a:pt x="6228" y="8876"/>
                  </a:cubicBezTo>
                  <a:cubicBezTo>
                    <a:pt x="6156" y="8876"/>
                    <a:pt x="6071" y="8847"/>
                    <a:pt x="5942" y="8799"/>
                  </a:cubicBezTo>
                  <a:cubicBezTo>
                    <a:pt x="5799" y="8752"/>
                    <a:pt x="5668" y="8692"/>
                    <a:pt x="5525" y="8692"/>
                  </a:cubicBezTo>
                  <a:cubicBezTo>
                    <a:pt x="5261" y="8692"/>
                    <a:pt x="4987" y="8875"/>
                    <a:pt x="4806" y="8875"/>
                  </a:cubicBezTo>
                  <a:cubicBezTo>
                    <a:pt x="4791" y="8875"/>
                    <a:pt x="4777" y="8874"/>
                    <a:pt x="4763" y="8871"/>
                  </a:cubicBezTo>
                  <a:cubicBezTo>
                    <a:pt x="4668" y="8859"/>
                    <a:pt x="4572" y="8752"/>
                    <a:pt x="4477" y="8657"/>
                  </a:cubicBezTo>
                  <a:cubicBezTo>
                    <a:pt x="4227" y="8383"/>
                    <a:pt x="4120" y="8323"/>
                    <a:pt x="3739" y="8299"/>
                  </a:cubicBezTo>
                  <a:cubicBezTo>
                    <a:pt x="3382" y="8264"/>
                    <a:pt x="3346" y="8240"/>
                    <a:pt x="3227" y="7895"/>
                  </a:cubicBezTo>
                  <a:cubicBezTo>
                    <a:pt x="3108" y="7537"/>
                    <a:pt x="3048" y="7442"/>
                    <a:pt x="2727" y="7252"/>
                  </a:cubicBezTo>
                  <a:cubicBezTo>
                    <a:pt x="2405" y="7061"/>
                    <a:pt x="2393" y="7025"/>
                    <a:pt x="2441" y="6668"/>
                  </a:cubicBezTo>
                  <a:cubicBezTo>
                    <a:pt x="2501" y="6287"/>
                    <a:pt x="2465" y="6180"/>
                    <a:pt x="2262" y="5871"/>
                  </a:cubicBezTo>
                  <a:cubicBezTo>
                    <a:pt x="2048" y="5561"/>
                    <a:pt x="2048" y="5513"/>
                    <a:pt x="2262" y="5216"/>
                  </a:cubicBezTo>
                  <a:cubicBezTo>
                    <a:pt x="2465" y="4906"/>
                    <a:pt x="2477" y="4799"/>
                    <a:pt x="2441" y="4418"/>
                  </a:cubicBezTo>
                  <a:cubicBezTo>
                    <a:pt x="2393" y="4061"/>
                    <a:pt x="2405" y="4025"/>
                    <a:pt x="2727" y="3835"/>
                  </a:cubicBezTo>
                  <a:cubicBezTo>
                    <a:pt x="2846" y="3763"/>
                    <a:pt x="2965" y="3680"/>
                    <a:pt x="3048" y="3585"/>
                  </a:cubicBezTo>
                  <a:cubicBezTo>
                    <a:pt x="3144" y="3477"/>
                    <a:pt x="3179" y="3323"/>
                    <a:pt x="3227" y="3192"/>
                  </a:cubicBezTo>
                  <a:cubicBezTo>
                    <a:pt x="3275" y="3061"/>
                    <a:pt x="3322" y="2942"/>
                    <a:pt x="3394" y="2882"/>
                  </a:cubicBezTo>
                  <a:cubicBezTo>
                    <a:pt x="3465" y="2823"/>
                    <a:pt x="3596" y="2799"/>
                    <a:pt x="3739" y="2787"/>
                  </a:cubicBezTo>
                  <a:cubicBezTo>
                    <a:pt x="4120" y="2763"/>
                    <a:pt x="4215" y="2703"/>
                    <a:pt x="4477" y="2430"/>
                  </a:cubicBezTo>
                  <a:cubicBezTo>
                    <a:pt x="4626" y="2273"/>
                    <a:pt x="4699" y="2210"/>
                    <a:pt x="4807" y="2210"/>
                  </a:cubicBezTo>
                  <a:cubicBezTo>
                    <a:pt x="4880" y="2210"/>
                    <a:pt x="4969" y="2239"/>
                    <a:pt x="5108" y="2287"/>
                  </a:cubicBezTo>
                  <a:cubicBezTo>
                    <a:pt x="5287" y="2352"/>
                    <a:pt x="5406" y="2385"/>
                    <a:pt x="5525" y="2385"/>
                  </a:cubicBezTo>
                  <a:cubicBezTo>
                    <a:pt x="5644" y="2385"/>
                    <a:pt x="5763" y="2352"/>
                    <a:pt x="5942" y="2287"/>
                  </a:cubicBezTo>
                  <a:cubicBezTo>
                    <a:pt x="6081" y="2233"/>
                    <a:pt x="6168" y="2206"/>
                    <a:pt x="6236" y="2206"/>
                  </a:cubicBezTo>
                  <a:cubicBezTo>
                    <a:pt x="6366" y="2206"/>
                    <a:pt x="6425" y="2306"/>
                    <a:pt x="6644" y="2525"/>
                  </a:cubicBezTo>
                  <a:cubicBezTo>
                    <a:pt x="6680" y="2555"/>
                    <a:pt x="6721" y="2570"/>
                    <a:pt x="6762" y="2570"/>
                  </a:cubicBezTo>
                  <a:cubicBezTo>
                    <a:pt x="6802" y="2570"/>
                    <a:pt x="6840" y="2555"/>
                    <a:pt x="6870" y="2525"/>
                  </a:cubicBezTo>
                  <a:cubicBezTo>
                    <a:pt x="6930" y="2465"/>
                    <a:pt x="6930" y="2358"/>
                    <a:pt x="6870" y="2299"/>
                  </a:cubicBezTo>
                  <a:lnTo>
                    <a:pt x="6787" y="2203"/>
                  </a:lnTo>
                  <a:cubicBezTo>
                    <a:pt x="6569" y="1978"/>
                    <a:pt x="6422" y="1886"/>
                    <a:pt x="6241" y="1886"/>
                  </a:cubicBezTo>
                  <a:cubicBezTo>
                    <a:pt x="6125" y="1886"/>
                    <a:pt x="5994" y="1924"/>
                    <a:pt x="5822" y="1989"/>
                  </a:cubicBezTo>
                  <a:cubicBezTo>
                    <a:pt x="5775" y="2001"/>
                    <a:pt x="5715" y="2013"/>
                    <a:pt x="5668" y="2025"/>
                  </a:cubicBezTo>
                  <a:lnTo>
                    <a:pt x="5668" y="1132"/>
                  </a:lnTo>
                  <a:cubicBezTo>
                    <a:pt x="5906" y="1060"/>
                    <a:pt x="6084" y="858"/>
                    <a:pt x="6084" y="584"/>
                  </a:cubicBezTo>
                  <a:cubicBezTo>
                    <a:pt x="6084" y="263"/>
                    <a:pt x="5822"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1" name="Google Shape;10341;p59"/>
            <p:cNvSpPr/>
            <p:nvPr/>
          </p:nvSpPr>
          <p:spPr>
            <a:xfrm>
              <a:off x="6938984" y="3622042"/>
              <a:ext cx="53899" cy="51605"/>
            </a:xfrm>
            <a:custGeom>
              <a:avLst/>
              <a:gdLst/>
              <a:ahLst/>
              <a:cxnLst/>
              <a:rect l="l" t="t" r="r" b="b"/>
              <a:pathLst>
                <a:path w="1692" h="1620" extrusionOk="0">
                  <a:moveTo>
                    <a:pt x="919" y="548"/>
                  </a:moveTo>
                  <a:cubicBezTo>
                    <a:pt x="1015" y="548"/>
                    <a:pt x="1114" y="587"/>
                    <a:pt x="1191" y="665"/>
                  </a:cubicBezTo>
                  <a:cubicBezTo>
                    <a:pt x="1334" y="796"/>
                    <a:pt x="1334" y="1046"/>
                    <a:pt x="1191" y="1200"/>
                  </a:cubicBezTo>
                  <a:cubicBezTo>
                    <a:pt x="1114" y="1272"/>
                    <a:pt x="1015" y="1307"/>
                    <a:pt x="919" y="1307"/>
                  </a:cubicBezTo>
                  <a:cubicBezTo>
                    <a:pt x="822" y="1307"/>
                    <a:pt x="727" y="1272"/>
                    <a:pt x="655" y="1200"/>
                  </a:cubicBezTo>
                  <a:cubicBezTo>
                    <a:pt x="500" y="1046"/>
                    <a:pt x="500" y="807"/>
                    <a:pt x="655" y="665"/>
                  </a:cubicBezTo>
                  <a:cubicBezTo>
                    <a:pt x="727" y="587"/>
                    <a:pt x="822" y="548"/>
                    <a:pt x="919" y="548"/>
                  </a:cubicBezTo>
                  <a:close/>
                  <a:moveTo>
                    <a:pt x="167" y="1"/>
                  </a:moveTo>
                  <a:cubicBezTo>
                    <a:pt x="128" y="1"/>
                    <a:pt x="90" y="16"/>
                    <a:pt x="60" y="45"/>
                  </a:cubicBezTo>
                  <a:cubicBezTo>
                    <a:pt x="0" y="105"/>
                    <a:pt x="0" y="212"/>
                    <a:pt x="60" y="272"/>
                  </a:cubicBezTo>
                  <a:lnTo>
                    <a:pt x="334" y="557"/>
                  </a:lnTo>
                  <a:cubicBezTo>
                    <a:pt x="179" y="819"/>
                    <a:pt x="191" y="1177"/>
                    <a:pt x="429" y="1415"/>
                  </a:cubicBezTo>
                  <a:cubicBezTo>
                    <a:pt x="560" y="1552"/>
                    <a:pt x="739" y="1620"/>
                    <a:pt x="920" y="1620"/>
                  </a:cubicBezTo>
                  <a:cubicBezTo>
                    <a:pt x="1102" y="1620"/>
                    <a:pt x="1286" y="1552"/>
                    <a:pt x="1429" y="1415"/>
                  </a:cubicBezTo>
                  <a:cubicBezTo>
                    <a:pt x="1691" y="1153"/>
                    <a:pt x="1691" y="700"/>
                    <a:pt x="1429" y="415"/>
                  </a:cubicBezTo>
                  <a:cubicBezTo>
                    <a:pt x="1294" y="286"/>
                    <a:pt x="1120" y="223"/>
                    <a:pt x="945" y="223"/>
                  </a:cubicBezTo>
                  <a:cubicBezTo>
                    <a:pt x="812" y="223"/>
                    <a:pt x="678" y="259"/>
                    <a:pt x="560" y="331"/>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2" name="Google Shape;10342;p59"/>
          <p:cNvGrpSpPr/>
          <p:nvPr/>
        </p:nvGrpSpPr>
        <p:grpSpPr>
          <a:xfrm>
            <a:off x="849741" y="1959307"/>
            <a:ext cx="399398" cy="375443"/>
            <a:chOff x="849741" y="1959307"/>
            <a:chExt cx="399398" cy="375443"/>
          </a:xfrm>
        </p:grpSpPr>
        <p:sp>
          <p:nvSpPr>
            <p:cNvPr id="10343" name="Google Shape;10343;p59"/>
            <p:cNvSpPr/>
            <p:nvPr/>
          </p:nvSpPr>
          <p:spPr>
            <a:xfrm>
              <a:off x="849741" y="1959307"/>
              <a:ext cx="399398" cy="375443"/>
            </a:xfrm>
            <a:custGeom>
              <a:avLst/>
              <a:gdLst/>
              <a:ahLst/>
              <a:cxnLst/>
              <a:rect l="l" t="t" r="r" b="b"/>
              <a:pathLst>
                <a:path w="12538" h="11786" extrusionOk="0">
                  <a:moveTo>
                    <a:pt x="2441" y="7273"/>
                  </a:moveTo>
                  <a:lnTo>
                    <a:pt x="5251" y="10082"/>
                  </a:lnTo>
                  <a:lnTo>
                    <a:pt x="4537" y="10797"/>
                  </a:lnTo>
                  <a:lnTo>
                    <a:pt x="1727" y="7987"/>
                  </a:lnTo>
                  <a:lnTo>
                    <a:pt x="2441" y="7273"/>
                  </a:lnTo>
                  <a:close/>
                  <a:moveTo>
                    <a:pt x="8661" y="1"/>
                  </a:moveTo>
                  <a:cubicBezTo>
                    <a:pt x="8400" y="1"/>
                    <a:pt x="8138" y="99"/>
                    <a:pt x="7942" y="296"/>
                  </a:cubicBezTo>
                  <a:lnTo>
                    <a:pt x="1846" y="6392"/>
                  </a:lnTo>
                  <a:cubicBezTo>
                    <a:pt x="1763" y="6463"/>
                    <a:pt x="1763" y="6582"/>
                    <a:pt x="1846" y="6665"/>
                  </a:cubicBezTo>
                  <a:lnTo>
                    <a:pt x="2168" y="6987"/>
                  </a:lnTo>
                  <a:lnTo>
                    <a:pt x="1322" y="7832"/>
                  </a:lnTo>
                  <a:cubicBezTo>
                    <a:pt x="1251" y="7916"/>
                    <a:pt x="1251" y="8035"/>
                    <a:pt x="1322" y="8106"/>
                  </a:cubicBezTo>
                  <a:lnTo>
                    <a:pt x="1941" y="8725"/>
                  </a:lnTo>
                  <a:lnTo>
                    <a:pt x="1465" y="9201"/>
                  </a:lnTo>
                  <a:cubicBezTo>
                    <a:pt x="1394" y="9285"/>
                    <a:pt x="1394" y="9404"/>
                    <a:pt x="1465" y="9475"/>
                  </a:cubicBezTo>
                  <a:cubicBezTo>
                    <a:pt x="1507" y="9511"/>
                    <a:pt x="1557" y="9529"/>
                    <a:pt x="1606" y="9529"/>
                  </a:cubicBezTo>
                  <a:cubicBezTo>
                    <a:pt x="1656" y="9529"/>
                    <a:pt x="1703" y="9511"/>
                    <a:pt x="1739" y="9475"/>
                  </a:cubicBezTo>
                  <a:lnTo>
                    <a:pt x="2215" y="8999"/>
                  </a:lnTo>
                  <a:lnTo>
                    <a:pt x="3525" y="10309"/>
                  </a:lnTo>
                  <a:lnTo>
                    <a:pt x="2453" y="11380"/>
                  </a:lnTo>
                  <a:lnTo>
                    <a:pt x="536" y="10678"/>
                  </a:lnTo>
                  <a:lnTo>
                    <a:pt x="1167" y="10035"/>
                  </a:lnTo>
                  <a:cubicBezTo>
                    <a:pt x="1251" y="9963"/>
                    <a:pt x="1251" y="9844"/>
                    <a:pt x="1167" y="9773"/>
                  </a:cubicBezTo>
                  <a:cubicBezTo>
                    <a:pt x="1132" y="9737"/>
                    <a:pt x="1084" y="9719"/>
                    <a:pt x="1036" y="9719"/>
                  </a:cubicBezTo>
                  <a:cubicBezTo>
                    <a:pt x="989" y="9719"/>
                    <a:pt x="941" y="9737"/>
                    <a:pt x="905" y="9773"/>
                  </a:cubicBezTo>
                  <a:lnTo>
                    <a:pt x="60" y="10618"/>
                  </a:lnTo>
                  <a:cubicBezTo>
                    <a:pt x="12" y="10666"/>
                    <a:pt x="1" y="10737"/>
                    <a:pt x="12" y="10797"/>
                  </a:cubicBezTo>
                  <a:cubicBezTo>
                    <a:pt x="24" y="10856"/>
                    <a:pt x="72" y="10916"/>
                    <a:pt x="132" y="10928"/>
                  </a:cubicBezTo>
                  <a:lnTo>
                    <a:pt x="2441" y="11761"/>
                  </a:lnTo>
                  <a:cubicBezTo>
                    <a:pt x="2453" y="11785"/>
                    <a:pt x="2477" y="11785"/>
                    <a:pt x="2501" y="11785"/>
                  </a:cubicBezTo>
                  <a:cubicBezTo>
                    <a:pt x="2537" y="11785"/>
                    <a:pt x="2596" y="11761"/>
                    <a:pt x="2632" y="11726"/>
                  </a:cubicBezTo>
                  <a:lnTo>
                    <a:pt x="3787" y="10559"/>
                  </a:lnTo>
                  <a:lnTo>
                    <a:pt x="4418" y="11190"/>
                  </a:lnTo>
                  <a:cubicBezTo>
                    <a:pt x="4442" y="11214"/>
                    <a:pt x="4501" y="11249"/>
                    <a:pt x="4549" y="11249"/>
                  </a:cubicBezTo>
                  <a:cubicBezTo>
                    <a:pt x="4596" y="11249"/>
                    <a:pt x="4656" y="11225"/>
                    <a:pt x="4680" y="11190"/>
                  </a:cubicBezTo>
                  <a:lnTo>
                    <a:pt x="5537" y="10332"/>
                  </a:lnTo>
                  <a:lnTo>
                    <a:pt x="5858" y="10666"/>
                  </a:lnTo>
                  <a:cubicBezTo>
                    <a:pt x="5894" y="10690"/>
                    <a:pt x="5954" y="10725"/>
                    <a:pt x="5989" y="10725"/>
                  </a:cubicBezTo>
                  <a:cubicBezTo>
                    <a:pt x="6037" y="10725"/>
                    <a:pt x="6097" y="10702"/>
                    <a:pt x="6132" y="10666"/>
                  </a:cubicBezTo>
                  <a:lnTo>
                    <a:pt x="10788" y="6011"/>
                  </a:lnTo>
                  <a:cubicBezTo>
                    <a:pt x="10859" y="5927"/>
                    <a:pt x="10859" y="5808"/>
                    <a:pt x="10788" y="5737"/>
                  </a:cubicBezTo>
                  <a:cubicBezTo>
                    <a:pt x="10752" y="5701"/>
                    <a:pt x="10704" y="5683"/>
                    <a:pt x="10655" y="5683"/>
                  </a:cubicBezTo>
                  <a:cubicBezTo>
                    <a:pt x="10606" y="5683"/>
                    <a:pt x="10555" y="5701"/>
                    <a:pt x="10514" y="5737"/>
                  </a:cubicBezTo>
                  <a:lnTo>
                    <a:pt x="5989" y="10261"/>
                  </a:lnTo>
                  <a:lnTo>
                    <a:pt x="2263" y="6523"/>
                  </a:lnTo>
                  <a:lnTo>
                    <a:pt x="8240" y="546"/>
                  </a:lnTo>
                  <a:cubicBezTo>
                    <a:pt x="8365" y="415"/>
                    <a:pt x="8525" y="349"/>
                    <a:pt x="8686" y="349"/>
                  </a:cubicBezTo>
                  <a:cubicBezTo>
                    <a:pt x="8847" y="349"/>
                    <a:pt x="9008" y="415"/>
                    <a:pt x="9133" y="546"/>
                  </a:cubicBezTo>
                  <a:lnTo>
                    <a:pt x="11978" y="3379"/>
                  </a:lnTo>
                  <a:cubicBezTo>
                    <a:pt x="12097" y="3510"/>
                    <a:pt x="12157" y="3665"/>
                    <a:pt x="12157" y="3832"/>
                  </a:cubicBezTo>
                  <a:cubicBezTo>
                    <a:pt x="12157" y="3998"/>
                    <a:pt x="12097" y="4153"/>
                    <a:pt x="11978" y="4272"/>
                  </a:cubicBezTo>
                  <a:lnTo>
                    <a:pt x="11050" y="5201"/>
                  </a:lnTo>
                  <a:cubicBezTo>
                    <a:pt x="10978" y="5272"/>
                    <a:pt x="10978" y="5391"/>
                    <a:pt x="11050" y="5463"/>
                  </a:cubicBezTo>
                  <a:cubicBezTo>
                    <a:pt x="11091" y="5505"/>
                    <a:pt x="11142" y="5525"/>
                    <a:pt x="11191" y="5525"/>
                  </a:cubicBezTo>
                  <a:cubicBezTo>
                    <a:pt x="11240" y="5525"/>
                    <a:pt x="11288" y="5505"/>
                    <a:pt x="11323" y="5463"/>
                  </a:cubicBezTo>
                  <a:lnTo>
                    <a:pt x="12240" y="4546"/>
                  </a:lnTo>
                  <a:cubicBezTo>
                    <a:pt x="12443" y="4356"/>
                    <a:pt x="12538" y="4106"/>
                    <a:pt x="12538" y="3832"/>
                  </a:cubicBezTo>
                  <a:cubicBezTo>
                    <a:pt x="12526" y="3582"/>
                    <a:pt x="12419" y="3332"/>
                    <a:pt x="12228" y="3129"/>
                  </a:cubicBezTo>
                  <a:lnTo>
                    <a:pt x="9371" y="296"/>
                  </a:lnTo>
                  <a:cubicBezTo>
                    <a:pt x="9180" y="99"/>
                    <a:pt x="8921" y="1"/>
                    <a:pt x="86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4" name="Google Shape;10344;p59"/>
            <p:cNvSpPr/>
            <p:nvPr/>
          </p:nvSpPr>
          <p:spPr>
            <a:xfrm>
              <a:off x="986654" y="2041588"/>
              <a:ext cx="180204" cy="177082"/>
            </a:xfrm>
            <a:custGeom>
              <a:avLst/>
              <a:gdLst/>
              <a:ahLst/>
              <a:cxnLst/>
              <a:rect l="l" t="t" r="r" b="b"/>
              <a:pathLst>
                <a:path w="5657" h="5559" extrusionOk="0">
                  <a:moveTo>
                    <a:pt x="3811" y="368"/>
                  </a:moveTo>
                  <a:cubicBezTo>
                    <a:pt x="3894" y="368"/>
                    <a:pt x="3989" y="403"/>
                    <a:pt x="4061" y="475"/>
                  </a:cubicBezTo>
                  <a:lnTo>
                    <a:pt x="5168" y="1582"/>
                  </a:lnTo>
                  <a:cubicBezTo>
                    <a:pt x="5228" y="1642"/>
                    <a:pt x="5263" y="1725"/>
                    <a:pt x="5263" y="1832"/>
                  </a:cubicBezTo>
                  <a:cubicBezTo>
                    <a:pt x="5263" y="1915"/>
                    <a:pt x="5228" y="2023"/>
                    <a:pt x="5168" y="2082"/>
                  </a:cubicBezTo>
                  <a:lnTo>
                    <a:pt x="2156" y="5094"/>
                  </a:lnTo>
                  <a:cubicBezTo>
                    <a:pt x="2090" y="5160"/>
                    <a:pt x="1998" y="5193"/>
                    <a:pt x="1906" y="5193"/>
                  </a:cubicBezTo>
                  <a:cubicBezTo>
                    <a:pt x="1813" y="5193"/>
                    <a:pt x="1721" y="5160"/>
                    <a:pt x="1656" y="5094"/>
                  </a:cubicBezTo>
                  <a:lnTo>
                    <a:pt x="548" y="3987"/>
                  </a:lnTo>
                  <a:cubicBezTo>
                    <a:pt x="417" y="3856"/>
                    <a:pt x="417" y="3618"/>
                    <a:pt x="548" y="3487"/>
                  </a:cubicBezTo>
                  <a:lnTo>
                    <a:pt x="3561" y="475"/>
                  </a:lnTo>
                  <a:cubicBezTo>
                    <a:pt x="3632" y="403"/>
                    <a:pt x="3715" y="368"/>
                    <a:pt x="3811" y="368"/>
                  </a:cubicBezTo>
                  <a:close/>
                  <a:moveTo>
                    <a:pt x="3800" y="0"/>
                  </a:moveTo>
                  <a:cubicBezTo>
                    <a:pt x="3613" y="0"/>
                    <a:pt x="3428" y="71"/>
                    <a:pt x="3287" y="213"/>
                  </a:cubicBezTo>
                  <a:lnTo>
                    <a:pt x="286" y="3213"/>
                  </a:lnTo>
                  <a:cubicBezTo>
                    <a:pt x="1" y="3499"/>
                    <a:pt x="1" y="3975"/>
                    <a:pt x="286" y="4261"/>
                  </a:cubicBezTo>
                  <a:lnTo>
                    <a:pt x="1382" y="5356"/>
                  </a:lnTo>
                  <a:cubicBezTo>
                    <a:pt x="1537" y="5511"/>
                    <a:pt x="1715" y="5559"/>
                    <a:pt x="1906" y="5559"/>
                  </a:cubicBezTo>
                  <a:cubicBezTo>
                    <a:pt x="2096" y="5559"/>
                    <a:pt x="2275" y="5487"/>
                    <a:pt x="2430" y="5356"/>
                  </a:cubicBezTo>
                  <a:lnTo>
                    <a:pt x="5430" y="2368"/>
                  </a:lnTo>
                  <a:cubicBezTo>
                    <a:pt x="5561" y="2237"/>
                    <a:pt x="5656" y="2035"/>
                    <a:pt x="5656" y="1844"/>
                  </a:cubicBezTo>
                  <a:cubicBezTo>
                    <a:pt x="5656" y="1654"/>
                    <a:pt x="5585" y="1451"/>
                    <a:pt x="5430" y="1320"/>
                  </a:cubicBezTo>
                  <a:lnTo>
                    <a:pt x="4335" y="225"/>
                  </a:lnTo>
                  <a:cubicBezTo>
                    <a:pt x="4184" y="74"/>
                    <a:pt x="3991" y="0"/>
                    <a:pt x="38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5" name="Google Shape;10345;p59"/>
          <p:cNvGrpSpPr/>
          <p:nvPr/>
        </p:nvGrpSpPr>
        <p:grpSpPr>
          <a:xfrm>
            <a:off x="1284212" y="1963766"/>
            <a:ext cx="379489" cy="366046"/>
            <a:chOff x="1284212" y="1963766"/>
            <a:chExt cx="379489" cy="366046"/>
          </a:xfrm>
        </p:grpSpPr>
        <p:sp>
          <p:nvSpPr>
            <p:cNvPr id="10346" name="Google Shape;10346;p59"/>
            <p:cNvSpPr/>
            <p:nvPr/>
          </p:nvSpPr>
          <p:spPr>
            <a:xfrm>
              <a:off x="1436861" y="2112975"/>
              <a:ext cx="69444" cy="68902"/>
            </a:xfrm>
            <a:custGeom>
              <a:avLst/>
              <a:gdLst/>
              <a:ahLst/>
              <a:cxnLst/>
              <a:rect l="l" t="t" r="r" b="b"/>
              <a:pathLst>
                <a:path w="2180" h="2163" extrusionOk="0">
                  <a:moveTo>
                    <a:pt x="1086" y="1"/>
                  </a:moveTo>
                  <a:cubicBezTo>
                    <a:pt x="526" y="1"/>
                    <a:pt x="0" y="443"/>
                    <a:pt x="0" y="1079"/>
                  </a:cubicBezTo>
                  <a:cubicBezTo>
                    <a:pt x="0" y="1675"/>
                    <a:pt x="501" y="2163"/>
                    <a:pt x="1096" y="2163"/>
                  </a:cubicBezTo>
                  <a:cubicBezTo>
                    <a:pt x="1703" y="2163"/>
                    <a:pt x="2179" y="1675"/>
                    <a:pt x="2179" y="1079"/>
                  </a:cubicBezTo>
                  <a:cubicBezTo>
                    <a:pt x="2144" y="1020"/>
                    <a:pt x="2144" y="960"/>
                    <a:pt x="2132" y="889"/>
                  </a:cubicBezTo>
                  <a:cubicBezTo>
                    <a:pt x="2121" y="802"/>
                    <a:pt x="2040" y="744"/>
                    <a:pt x="1963" y="744"/>
                  </a:cubicBezTo>
                  <a:cubicBezTo>
                    <a:pt x="1955" y="744"/>
                    <a:pt x="1948" y="745"/>
                    <a:pt x="1941" y="746"/>
                  </a:cubicBezTo>
                  <a:cubicBezTo>
                    <a:pt x="1846" y="770"/>
                    <a:pt x="1786" y="853"/>
                    <a:pt x="1810" y="948"/>
                  </a:cubicBezTo>
                  <a:cubicBezTo>
                    <a:pt x="1883" y="1428"/>
                    <a:pt x="1488" y="1811"/>
                    <a:pt x="1059" y="1811"/>
                  </a:cubicBezTo>
                  <a:cubicBezTo>
                    <a:pt x="923" y="1811"/>
                    <a:pt x="784" y="1772"/>
                    <a:pt x="655" y="1687"/>
                  </a:cubicBezTo>
                  <a:cubicBezTo>
                    <a:pt x="48" y="1282"/>
                    <a:pt x="346" y="329"/>
                    <a:pt x="1072" y="329"/>
                  </a:cubicBezTo>
                  <a:cubicBezTo>
                    <a:pt x="1239" y="329"/>
                    <a:pt x="1405" y="389"/>
                    <a:pt x="1536" y="496"/>
                  </a:cubicBezTo>
                  <a:cubicBezTo>
                    <a:pt x="1567" y="522"/>
                    <a:pt x="1605" y="534"/>
                    <a:pt x="1642" y="534"/>
                  </a:cubicBezTo>
                  <a:cubicBezTo>
                    <a:pt x="1692" y="534"/>
                    <a:pt x="1741" y="513"/>
                    <a:pt x="1774" y="472"/>
                  </a:cubicBezTo>
                  <a:cubicBezTo>
                    <a:pt x="1834" y="389"/>
                    <a:pt x="1822" y="294"/>
                    <a:pt x="1751" y="234"/>
                  </a:cubicBezTo>
                  <a:cubicBezTo>
                    <a:pt x="1545" y="73"/>
                    <a:pt x="1313" y="1"/>
                    <a:pt x="10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7" name="Google Shape;10347;p59"/>
            <p:cNvSpPr/>
            <p:nvPr/>
          </p:nvSpPr>
          <p:spPr>
            <a:xfrm>
              <a:off x="1284212" y="1963766"/>
              <a:ext cx="379489" cy="366046"/>
            </a:xfrm>
            <a:custGeom>
              <a:avLst/>
              <a:gdLst/>
              <a:ahLst/>
              <a:cxnLst/>
              <a:rect l="l" t="t" r="r" b="b"/>
              <a:pathLst>
                <a:path w="11913" h="11491" extrusionOk="0">
                  <a:moveTo>
                    <a:pt x="1031" y="2185"/>
                  </a:moveTo>
                  <a:cubicBezTo>
                    <a:pt x="1151" y="2185"/>
                    <a:pt x="1275" y="2224"/>
                    <a:pt x="1387" y="2311"/>
                  </a:cubicBezTo>
                  <a:cubicBezTo>
                    <a:pt x="1625" y="2489"/>
                    <a:pt x="1673" y="2834"/>
                    <a:pt x="1506" y="3084"/>
                  </a:cubicBezTo>
                  <a:cubicBezTo>
                    <a:pt x="1389" y="3256"/>
                    <a:pt x="1207" y="3337"/>
                    <a:pt x="1026" y="3337"/>
                  </a:cubicBezTo>
                  <a:cubicBezTo>
                    <a:pt x="767" y="3337"/>
                    <a:pt x="510" y="3171"/>
                    <a:pt x="447" y="2870"/>
                  </a:cubicBezTo>
                  <a:cubicBezTo>
                    <a:pt x="376" y="2492"/>
                    <a:pt x="689" y="2185"/>
                    <a:pt x="1031" y="2185"/>
                  </a:cubicBezTo>
                  <a:close/>
                  <a:moveTo>
                    <a:pt x="4269" y="3025"/>
                  </a:moveTo>
                  <a:cubicBezTo>
                    <a:pt x="4364" y="3073"/>
                    <a:pt x="5435" y="3680"/>
                    <a:pt x="5519" y="3739"/>
                  </a:cubicBezTo>
                  <a:lnTo>
                    <a:pt x="4269" y="4454"/>
                  </a:lnTo>
                  <a:lnTo>
                    <a:pt x="4269" y="3025"/>
                  </a:lnTo>
                  <a:close/>
                  <a:moveTo>
                    <a:pt x="7448" y="3025"/>
                  </a:moveTo>
                  <a:lnTo>
                    <a:pt x="7448" y="4454"/>
                  </a:lnTo>
                  <a:lnTo>
                    <a:pt x="6197" y="3739"/>
                  </a:lnTo>
                  <a:lnTo>
                    <a:pt x="7448" y="3025"/>
                  </a:lnTo>
                  <a:close/>
                  <a:moveTo>
                    <a:pt x="2550" y="2268"/>
                  </a:moveTo>
                  <a:cubicBezTo>
                    <a:pt x="2817" y="2268"/>
                    <a:pt x="3085" y="2336"/>
                    <a:pt x="3328" y="2477"/>
                  </a:cubicBezTo>
                  <a:cubicBezTo>
                    <a:pt x="3697" y="2692"/>
                    <a:pt x="3566" y="2608"/>
                    <a:pt x="3935" y="2811"/>
                  </a:cubicBezTo>
                  <a:lnTo>
                    <a:pt x="3935" y="4644"/>
                  </a:lnTo>
                  <a:lnTo>
                    <a:pt x="2328" y="5573"/>
                  </a:lnTo>
                  <a:lnTo>
                    <a:pt x="1744" y="5240"/>
                  </a:lnTo>
                  <a:cubicBezTo>
                    <a:pt x="1375" y="5037"/>
                    <a:pt x="1125" y="4692"/>
                    <a:pt x="1006" y="4275"/>
                  </a:cubicBezTo>
                  <a:cubicBezTo>
                    <a:pt x="947" y="4085"/>
                    <a:pt x="923" y="3870"/>
                    <a:pt x="959" y="3680"/>
                  </a:cubicBezTo>
                  <a:lnTo>
                    <a:pt x="959" y="3680"/>
                  </a:lnTo>
                  <a:cubicBezTo>
                    <a:pt x="981" y="3681"/>
                    <a:pt x="1003" y="3682"/>
                    <a:pt x="1025" y="3682"/>
                  </a:cubicBezTo>
                  <a:cubicBezTo>
                    <a:pt x="1659" y="3682"/>
                    <a:pt x="2129" y="3028"/>
                    <a:pt x="1875" y="2418"/>
                  </a:cubicBezTo>
                  <a:cubicBezTo>
                    <a:pt x="2090" y="2319"/>
                    <a:pt x="2320" y="2268"/>
                    <a:pt x="2550" y="2268"/>
                  </a:cubicBezTo>
                  <a:close/>
                  <a:moveTo>
                    <a:pt x="9186" y="2275"/>
                  </a:moveTo>
                  <a:cubicBezTo>
                    <a:pt x="10067" y="2275"/>
                    <a:pt x="10781" y="2977"/>
                    <a:pt x="10781" y="3858"/>
                  </a:cubicBezTo>
                  <a:cubicBezTo>
                    <a:pt x="10781" y="4418"/>
                    <a:pt x="10460" y="4954"/>
                    <a:pt x="9972" y="5240"/>
                  </a:cubicBezTo>
                  <a:lnTo>
                    <a:pt x="9400" y="5573"/>
                  </a:lnTo>
                  <a:cubicBezTo>
                    <a:pt x="9186" y="5454"/>
                    <a:pt x="7983" y="4751"/>
                    <a:pt x="7793" y="4644"/>
                  </a:cubicBezTo>
                  <a:lnTo>
                    <a:pt x="7793" y="2834"/>
                  </a:lnTo>
                  <a:cubicBezTo>
                    <a:pt x="8245" y="2596"/>
                    <a:pt x="8567" y="2275"/>
                    <a:pt x="9186" y="2275"/>
                  </a:cubicBezTo>
                  <a:close/>
                  <a:moveTo>
                    <a:pt x="3935" y="5013"/>
                  </a:moveTo>
                  <a:lnTo>
                    <a:pt x="3935" y="6478"/>
                  </a:lnTo>
                  <a:lnTo>
                    <a:pt x="2673" y="5751"/>
                  </a:lnTo>
                  <a:lnTo>
                    <a:pt x="3935" y="5013"/>
                  </a:lnTo>
                  <a:close/>
                  <a:moveTo>
                    <a:pt x="7793" y="5037"/>
                  </a:moveTo>
                  <a:cubicBezTo>
                    <a:pt x="7948" y="5120"/>
                    <a:pt x="8900" y="5668"/>
                    <a:pt x="9055" y="5763"/>
                  </a:cubicBezTo>
                  <a:lnTo>
                    <a:pt x="7793" y="6490"/>
                  </a:lnTo>
                  <a:lnTo>
                    <a:pt x="7793" y="5037"/>
                  </a:lnTo>
                  <a:close/>
                  <a:moveTo>
                    <a:pt x="5852" y="3918"/>
                  </a:moveTo>
                  <a:lnTo>
                    <a:pt x="7448" y="4823"/>
                  </a:lnTo>
                  <a:lnTo>
                    <a:pt x="7448" y="6668"/>
                  </a:lnTo>
                  <a:lnTo>
                    <a:pt x="5852" y="7573"/>
                  </a:lnTo>
                  <a:lnTo>
                    <a:pt x="4257" y="6668"/>
                  </a:lnTo>
                  <a:lnTo>
                    <a:pt x="4257" y="4823"/>
                  </a:lnTo>
                  <a:lnTo>
                    <a:pt x="5852" y="3918"/>
                  </a:lnTo>
                  <a:close/>
                  <a:moveTo>
                    <a:pt x="7448" y="7061"/>
                  </a:moveTo>
                  <a:lnTo>
                    <a:pt x="7448" y="8490"/>
                  </a:lnTo>
                  <a:cubicBezTo>
                    <a:pt x="7352" y="8442"/>
                    <a:pt x="6281" y="7835"/>
                    <a:pt x="6197" y="7776"/>
                  </a:cubicBezTo>
                  <a:lnTo>
                    <a:pt x="7448" y="7061"/>
                  </a:lnTo>
                  <a:close/>
                  <a:moveTo>
                    <a:pt x="4269" y="7073"/>
                  </a:moveTo>
                  <a:lnTo>
                    <a:pt x="5519" y="7787"/>
                  </a:lnTo>
                  <a:lnTo>
                    <a:pt x="4269" y="8502"/>
                  </a:lnTo>
                  <a:lnTo>
                    <a:pt x="4269" y="7073"/>
                  </a:lnTo>
                  <a:close/>
                  <a:moveTo>
                    <a:pt x="9376" y="5954"/>
                  </a:moveTo>
                  <a:lnTo>
                    <a:pt x="9960" y="6287"/>
                  </a:lnTo>
                  <a:cubicBezTo>
                    <a:pt x="10329" y="6490"/>
                    <a:pt x="10579" y="6835"/>
                    <a:pt x="10710" y="7252"/>
                  </a:cubicBezTo>
                  <a:cubicBezTo>
                    <a:pt x="10746" y="7430"/>
                    <a:pt x="10757" y="7609"/>
                    <a:pt x="10757" y="7787"/>
                  </a:cubicBezTo>
                  <a:cubicBezTo>
                    <a:pt x="10736" y="7786"/>
                    <a:pt x="10714" y="7785"/>
                    <a:pt x="10693" y="7785"/>
                  </a:cubicBezTo>
                  <a:cubicBezTo>
                    <a:pt x="10049" y="7785"/>
                    <a:pt x="9612" y="8474"/>
                    <a:pt x="9888" y="9085"/>
                  </a:cubicBezTo>
                  <a:cubicBezTo>
                    <a:pt x="9662" y="9190"/>
                    <a:pt x="9412" y="9249"/>
                    <a:pt x="9161" y="9249"/>
                  </a:cubicBezTo>
                  <a:cubicBezTo>
                    <a:pt x="8898" y="9249"/>
                    <a:pt x="8632" y="9184"/>
                    <a:pt x="8388" y="9038"/>
                  </a:cubicBezTo>
                  <a:cubicBezTo>
                    <a:pt x="8007" y="8811"/>
                    <a:pt x="8138" y="8907"/>
                    <a:pt x="7769" y="8692"/>
                  </a:cubicBezTo>
                  <a:lnTo>
                    <a:pt x="7769" y="6883"/>
                  </a:lnTo>
                  <a:lnTo>
                    <a:pt x="9376" y="5954"/>
                  </a:lnTo>
                  <a:close/>
                  <a:moveTo>
                    <a:pt x="10731" y="8111"/>
                  </a:moveTo>
                  <a:cubicBezTo>
                    <a:pt x="10841" y="8111"/>
                    <a:pt x="10950" y="8142"/>
                    <a:pt x="11043" y="8204"/>
                  </a:cubicBezTo>
                  <a:cubicBezTo>
                    <a:pt x="11484" y="8502"/>
                    <a:pt x="11329" y="9157"/>
                    <a:pt x="10841" y="9264"/>
                  </a:cubicBezTo>
                  <a:cubicBezTo>
                    <a:pt x="10802" y="9271"/>
                    <a:pt x="10764" y="9275"/>
                    <a:pt x="10726" y="9275"/>
                  </a:cubicBezTo>
                  <a:cubicBezTo>
                    <a:pt x="10276" y="9275"/>
                    <a:pt x="9982" y="8767"/>
                    <a:pt x="10246" y="8371"/>
                  </a:cubicBezTo>
                  <a:cubicBezTo>
                    <a:pt x="10358" y="8199"/>
                    <a:pt x="10545" y="8111"/>
                    <a:pt x="10731" y="8111"/>
                  </a:cubicBezTo>
                  <a:close/>
                  <a:moveTo>
                    <a:pt x="5852" y="7978"/>
                  </a:moveTo>
                  <a:cubicBezTo>
                    <a:pt x="6043" y="8097"/>
                    <a:pt x="7233" y="8764"/>
                    <a:pt x="7448" y="8883"/>
                  </a:cubicBezTo>
                  <a:lnTo>
                    <a:pt x="7448" y="9585"/>
                  </a:lnTo>
                  <a:cubicBezTo>
                    <a:pt x="7448" y="10466"/>
                    <a:pt x="6733" y="11181"/>
                    <a:pt x="5852" y="11181"/>
                  </a:cubicBezTo>
                  <a:cubicBezTo>
                    <a:pt x="4971" y="11181"/>
                    <a:pt x="4257" y="10466"/>
                    <a:pt x="4257" y="9585"/>
                  </a:cubicBezTo>
                  <a:lnTo>
                    <a:pt x="4257" y="8883"/>
                  </a:lnTo>
                  <a:lnTo>
                    <a:pt x="5852" y="7978"/>
                  </a:lnTo>
                  <a:close/>
                  <a:moveTo>
                    <a:pt x="5852" y="1"/>
                  </a:moveTo>
                  <a:cubicBezTo>
                    <a:pt x="4792" y="1"/>
                    <a:pt x="3935" y="870"/>
                    <a:pt x="3935" y="1918"/>
                  </a:cubicBezTo>
                  <a:lnTo>
                    <a:pt x="3935" y="2430"/>
                  </a:lnTo>
                  <a:cubicBezTo>
                    <a:pt x="3649" y="2263"/>
                    <a:pt x="3757" y="2322"/>
                    <a:pt x="3483" y="2180"/>
                  </a:cubicBezTo>
                  <a:cubicBezTo>
                    <a:pt x="3183" y="2005"/>
                    <a:pt x="2854" y="1922"/>
                    <a:pt x="2529" y="1922"/>
                  </a:cubicBezTo>
                  <a:cubicBezTo>
                    <a:pt x="2235" y="1922"/>
                    <a:pt x="1945" y="1990"/>
                    <a:pt x="1685" y="2120"/>
                  </a:cubicBezTo>
                  <a:cubicBezTo>
                    <a:pt x="1491" y="1915"/>
                    <a:pt x="1256" y="1827"/>
                    <a:pt x="1027" y="1827"/>
                  </a:cubicBezTo>
                  <a:cubicBezTo>
                    <a:pt x="497" y="1827"/>
                    <a:pt x="0" y="2303"/>
                    <a:pt x="125" y="2918"/>
                  </a:cubicBezTo>
                  <a:cubicBezTo>
                    <a:pt x="185" y="3215"/>
                    <a:pt x="375" y="3454"/>
                    <a:pt x="625" y="3573"/>
                  </a:cubicBezTo>
                  <a:cubicBezTo>
                    <a:pt x="530" y="4335"/>
                    <a:pt x="887" y="5109"/>
                    <a:pt x="1578" y="5501"/>
                  </a:cubicBezTo>
                  <a:cubicBezTo>
                    <a:pt x="1816" y="5644"/>
                    <a:pt x="1744" y="5597"/>
                    <a:pt x="1983" y="5728"/>
                  </a:cubicBezTo>
                  <a:lnTo>
                    <a:pt x="1578" y="5954"/>
                  </a:lnTo>
                  <a:cubicBezTo>
                    <a:pt x="982" y="6299"/>
                    <a:pt x="613" y="6942"/>
                    <a:pt x="613" y="7633"/>
                  </a:cubicBezTo>
                  <a:cubicBezTo>
                    <a:pt x="613" y="8633"/>
                    <a:pt x="1375" y="9466"/>
                    <a:pt x="2375" y="9538"/>
                  </a:cubicBezTo>
                  <a:lnTo>
                    <a:pt x="2387" y="9538"/>
                  </a:lnTo>
                  <a:cubicBezTo>
                    <a:pt x="2471" y="9538"/>
                    <a:pt x="2554" y="9478"/>
                    <a:pt x="2554" y="9395"/>
                  </a:cubicBezTo>
                  <a:cubicBezTo>
                    <a:pt x="2566" y="9300"/>
                    <a:pt x="2495" y="9216"/>
                    <a:pt x="2399" y="9216"/>
                  </a:cubicBezTo>
                  <a:cubicBezTo>
                    <a:pt x="1578" y="9145"/>
                    <a:pt x="959" y="8454"/>
                    <a:pt x="959" y="7633"/>
                  </a:cubicBezTo>
                  <a:cubicBezTo>
                    <a:pt x="959" y="7073"/>
                    <a:pt x="1268" y="6537"/>
                    <a:pt x="1756" y="6252"/>
                  </a:cubicBezTo>
                  <a:lnTo>
                    <a:pt x="2340" y="5918"/>
                  </a:lnTo>
                  <a:lnTo>
                    <a:pt x="3947" y="6847"/>
                  </a:lnTo>
                  <a:lnTo>
                    <a:pt x="3947" y="8657"/>
                  </a:lnTo>
                  <a:cubicBezTo>
                    <a:pt x="3411" y="8954"/>
                    <a:pt x="3280" y="9061"/>
                    <a:pt x="3030" y="9157"/>
                  </a:cubicBezTo>
                  <a:cubicBezTo>
                    <a:pt x="2935" y="9180"/>
                    <a:pt x="2887" y="9276"/>
                    <a:pt x="2911" y="9359"/>
                  </a:cubicBezTo>
                  <a:cubicBezTo>
                    <a:pt x="2932" y="9443"/>
                    <a:pt x="3008" y="9480"/>
                    <a:pt x="3082" y="9480"/>
                  </a:cubicBezTo>
                  <a:cubicBezTo>
                    <a:pt x="3093" y="9480"/>
                    <a:pt x="3103" y="9480"/>
                    <a:pt x="3114" y="9478"/>
                  </a:cubicBezTo>
                  <a:cubicBezTo>
                    <a:pt x="3423" y="9395"/>
                    <a:pt x="3578" y="9252"/>
                    <a:pt x="3947" y="9061"/>
                  </a:cubicBezTo>
                  <a:lnTo>
                    <a:pt x="3947" y="9573"/>
                  </a:lnTo>
                  <a:cubicBezTo>
                    <a:pt x="3947" y="10621"/>
                    <a:pt x="4816" y="11490"/>
                    <a:pt x="5864" y="11490"/>
                  </a:cubicBezTo>
                  <a:cubicBezTo>
                    <a:pt x="6924" y="11490"/>
                    <a:pt x="7793" y="10621"/>
                    <a:pt x="7793" y="9573"/>
                  </a:cubicBezTo>
                  <a:lnTo>
                    <a:pt x="7793" y="9085"/>
                  </a:lnTo>
                  <a:cubicBezTo>
                    <a:pt x="8269" y="9347"/>
                    <a:pt x="8591" y="9585"/>
                    <a:pt x="9186" y="9585"/>
                  </a:cubicBezTo>
                  <a:cubicBezTo>
                    <a:pt x="9495" y="9585"/>
                    <a:pt x="9829" y="9514"/>
                    <a:pt x="10115" y="9359"/>
                  </a:cubicBezTo>
                  <a:cubicBezTo>
                    <a:pt x="10277" y="9521"/>
                    <a:pt x="10500" y="9615"/>
                    <a:pt x="10736" y="9615"/>
                  </a:cubicBezTo>
                  <a:cubicBezTo>
                    <a:pt x="10794" y="9615"/>
                    <a:pt x="10853" y="9609"/>
                    <a:pt x="10912" y="9597"/>
                  </a:cubicBezTo>
                  <a:cubicBezTo>
                    <a:pt x="11781" y="9419"/>
                    <a:pt x="11912" y="8216"/>
                    <a:pt x="11091" y="7847"/>
                  </a:cubicBezTo>
                  <a:cubicBezTo>
                    <a:pt x="11162" y="7121"/>
                    <a:pt x="10805" y="6371"/>
                    <a:pt x="10138" y="5990"/>
                  </a:cubicBezTo>
                  <a:cubicBezTo>
                    <a:pt x="9900" y="5847"/>
                    <a:pt x="9972" y="5894"/>
                    <a:pt x="9734" y="5763"/>
                  </a:cubicBezTo>
                  <a:lnTo>
                    <a:pt x="10138" y="5537"/>
                  </a:lnTo>
                  <a:cubicBezTo>
                    <a:pt x="11067" y="5013"/>
                    <a:pt x="11377" y="3823"/>
                    <a:pt x="10853" y="2906"/>
                  </a:cubicBezTo>
                  <a:cubicBezTo>
                    <a:pt x="10507" y="2311"/>
                    <a:pt x="9876" y="1941"/>
                    <a:pt x="9174" y="1941"/>
                  </a:cubicBezTo>
                  <a:cubicBezTo>
                    <a:pt x="8471" y="1941"/>
                    <a:pt x="8067" y="2311"/>
                    <a:pt x="7769" y="2442"/>
                  </a:cubicBezTo>
                  <a:cubicBezTo>
                    <a:pt x="7757" y="2025"/>
                    <a:pt x="7805" y="1834"/>
                    <a:pt x="7733" y="1525"/>
                  </a:cubicBezTo>
                  <a:cubicBezTo>
                    <a:pt x="7711" y="1438"/>
                    <a:pt x="7640" y="1380"/>
                    <a:pt x="7546" y="1380"/>
                  </a:cubicBezTo>
                  <a:cubicBezTo>
                    <a:pt x="7537" y="1380"/>
                    <a:pt x="7528" y="1381"/>
                    <a:pt x="7519" y="1382"/>
                  </a:cubicBezTo>
                  <a:cubicBezTo>
                    <a:pt x="7436" y="1406"/>
                    <a:pt x="7376" y="1489"/>
                    <a:pt x="7388" y="1596"/>
                  </a:cubicBezTo>
                  <a:cubicBezTo>
                    <a:pt x="7448" y="1858"/>
                    <a:pt x="7412" y="2013"/>
                    <a:pt x="7436" y="2632"/>
                  </a:cubicBezTo>
                  <a:lnTo>
                    <a:pt x="5840" y="3549"/>
                  </a:lnTo>
                  <a:lnTo>
                    <a:pt x="4245" y="2632"/>
                  </a:lnTo>
                  <a:lnTo>
                    <a:pt x="4245" y="1941"/>
                  </a:lnTo>
                  <a:cubicBezTo>
                    <a:pt x="4245" y="1060"/>
                    <a:pt x="4959" y="346"/>
                    <a:pt x="5840" y="346"/>
                  </a:cubicBezTo>
                  <a:cubicBezTo>
                    <a:pt x="6364" y="346"/>
                    <a:pt x="6840" y="596"/>
                    <a:pt x="7150" y="1025"/>
                  </a:cubicBezTo>
                  <a:cubicBezTo>
                    <a:pt x="7186" y="1076"/>
                    <a:pt x="7241" y="1100"/>
                    <a:pt x="7294" y="1100"/>
                  </a:cubicBezTo>
                  <a:cubicBezTo>
                    <a:pt x="7328" y="1100"/>
                    <a:pt x="7360" y="1091"/>
                    <a:pt x="7388" y="1072"/>
                  </a:cubicBezTo>
                  <a:cubicBezTo>
                    <a:pt x="7459" y="1013"/>
                    <a:pt x="7471" y="906"/>
                    <a:pt x="7436" y="834"/>
                  </a:cubicBezTo>
                  <a:cubicBezTo>
                    <a:pt x="7078" y="310"/>
                    <a:pt x="6483" y="1"/>
                    <a:pt x="58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48" name="Google Shape;10348;p59"/>
          <p:cNvGrpSpPr/>
          <p:nvPr/>
        </p:nvGrpSpPr>
        <p:grpSpPr>
          <a:xfrm>
            <a:off x="3037766" y="1969564"/>
            <a:ext cx="370219" cy="354928"/>
            <a:chOff x="3037766" y="1969564"/>
            <a:chExt cx="370219" cy="354928"/>
          </a:xfrm>
        </p:grpSpPr>
        <p:sp>
          <p:nvSpPr>
            <p:cNvPr id="10349" name="Google Shape;10349;p59"/>
            <p:cNvSpPr/>
            <p:nvPr/>
          </p:nvSpPr>
          <p:spPr>
            <a:xfrm>
              <a:off x="3037766" y="1969564"/>
              <a:ext cx="370219" cy="354928"/>
            </a:xfrm>
            <a:custGeom>
              <a:avLst/>
              <a:gdLst/>
              <a:ahLst/>
              <a:cxnLst/>
              <a:rect l="l" t="t" r="r" b="b"/>
              <a:pathLst>
                <a:path w="11622" h="11142" extrusionOk="0">
                  <a:moveTo>
                    <a:pt x="5609" y="366"/>
                  </a:moveTo>
                  <a:lnTo>
                    <a:pt x="7299" y="2069"/>
                  </a:lnTo>
                  <a:lnTo>
                    <a:pt x="6180" y="3188"/>
                  </a:lnTo>
                  <a:lnTo>
                    <a:pt x="4489" y="1486"/>
                  </a:lnTo>
                  <a:lnTo>
                    <a:pt x="5609" y="366"/>
                  </a:lnTo>
                  <a:close/>
                  <a:moveTo>
                    <a:pt x="4263" y="1700"/>
                  </a:moveTo>
                  <a:lnTo>
                    <a:pt x="5954" y="3391"/>
                  </a:lnTo>
                  <a:lnTo>
                    <a:pt x="3596" y="5772"/>
                  </a:lnTo>
                  <a:cubicBezTo>
                    <a:pt x="2989" y="6379"/>
                    <a:pt x="2989" y="7379"/>
                    <a:pt x="3596" y="7986"/>
                  </a:cubicBezTo>
                  <a:cubicBezTo>
                    <a:pt x="3900" y="8296"/>
                    <a:pt x="4302" y="8451"/>
                    <a:pt x="4704" y="8451"/>
                  </a:cubicBezTo>
                  <a:cubicBezTo>
                    <a:pt x="5106" y="8451"/>
                    <a:pt x="5507" y="8296"/>
                    <a:pt x="5811" y="7986"/>
                  </a:cubicBezTo>
                  <a:lnTo>
                    <a:pt x="8180" y="5629"/>
                  </a:lnTo>
                  <a:lnTo>
                    <a:pt x="9097" y="6546"/>
                  </a:lnTo>
                  <a:cubicBezTo>
                    <a:pt x="9127" y="6576"/>
                    <a:pt x="9169" y="6590"/>
                    <a:pt x="9210" y="6590"/>
                  </a:cubicBezTo>
                  <a:cubicBezTo>
                    <a:pt x="9252" y="6590"/>
                    <a:pt x="9294" y="6576"/>
                    <a:pt x="9323" y="6546"/>
                  </a:cubicBezTo>
                  <a:cubicBezTo>
                    <a:pt x="9383" y="6486"/>
                    <a:pt x="9383" y="6379"/>
                    <a:pt x="9323" y="6320"/>
                  </a:cubicBezTo>
                  <a:lnTo>
                    <a:pt x="8407" y="5403"/>
                  </a:lnTo>
                  <a:lnTo>
                    <a:pt x="9514" y="4284"/>
                  </a:lnTo>
                  <a:lnTo>
                    <a:pt x="11216" y="5986"/>
                  </a:lnTo>
                  <a:lnTo>
                    <a:pt x="10097" y="7093"/>
                  </a:lnTo>
                  <a:lnTo>
                    <a:pt x="9776" y="6772"/>
                  </a:lnTo>
                  <a:cubicBezTo>
                    <a:pt x="9746" y="6742"/>
                    <a:pt x="9704" y="6727"/>
                    <a:pt x="9663" y="6727"/>
                  </a:cubicBezTo>
                  <a:cubicBezTo>
                    <a:pt x="9621" y="6727"/>
                    <a:pt x="9579" y="6742"/>
                    <a:pt x="9550" y="6772"/>
                  </a:cubicBezTo>
                  <a:cubicBezTo>
                    <a:pt x="9490" y="6832"/>
                    <a:pt x="9490" y="6939"/>
                    <a:pt x="9550" y="6998"/>
                  </a:cubicBezTo>
                  <a:lnTo>
                    <a:pt x="9871" y="7320"/>
                  </a:lnTo>
                  <a:lnTo>
                    <a:pt x="7514" y="9689"/>
                  </a:lnTo>
                  <a:cubicBezTo>
                    <a:pt x="6746" y="10463"/>
                    <a:pt x="5728" y="10850"/>
                    <a:pt x="4708" y="10850"/>
                  </a:cubicBezTo>
                  <a:cubicBezTo>
                    <a:pt x="3689" y="10850"/>
                    <a:pt x="2668" y="10463"/>
                    <a:pt x="1894" y="9689"/>
                  </a:cubicBezTo>
                  <a:cubicBezTo>
                    <a:pt x="346" y="8141"/>
                    <a:pt x="346" y="5605"/>
                    <a:pt x="1894" y="4057"/>
                  </a:cubicBezTo>
                  <a:lnTo>
                    <a:pt x="4263" y="1700"/>
                  </a:lnTo>
                  <a:close/>
                  <a:moveTo>
                    <a:pt x="5615" y="0"/>
                  </a:moveTo>
                  <a:cubicBezTo>
                    <a:pt x="5573" y="0"/>
                    <a:pt x="5531" y="15"/>
                    <a:pt x="5501" y="45"/>
                  </a:cubicBezTo>
                  <a:lnTo>
                    <a:pt x="1668" y="3843"/>
                  </a:lnTo>
                  <a:cubicBezTo>
                    <a:pt x="1" y="5510"/>
                    <a:pt x="1" y="8225"/>
                    <a:pt x="1668" y="9891"/>
                  </a:cubicBezTo>
                  <a:cubicBezTo>
                    <a:pt x="2507" y="10725"/>
                    <a:pt x="3605" y="11142"/>
                    <a:pt x="4702" y="11142"/>
                  </a:cubicBezTo>
                  <a:cubicBezTo>
                    <a:pt x="5799" y="11142"/>
                    <a:pt x="6894" y="10725"/>
                    <a:pt x="7728" y="9891"/>
                  </a:cubicBezTo>
                  <a:lnTo>
                    <a:pt x="11538" y="6081"/>
                  </a:lnTo>
                  <a:cubicBezTo>
                    <a:pt x="11621" y="6046"/>
                    <a:pt x="11621" y="5939"/>
                    <a:pt x="11562" y="5879"/>
                  </a:cubicBezTo>
                  <a:lnTo>
                    <a:pt x="9633" y="3962"/>
                  </a:lnTo>
                  <a:cubicBezTo>
                    <a:pt x="9603" y="3932"/>
                    <a:pt x="9564" y="3917"/>
                    <a:pt x="9526" y="3917"/>
                  </a:cubicBezTo>
                  <a:cubicBezTo>
                    <a:pt x="9487" y="3917"/>
                    <a:pt x="9448" y="3932"/>
                    <a:pt x="9419" y="3962"/>
                  </a:cubicBezTo>
                  <a:lnTo>
                    <a:pt x="5609" y="7772"/>
                  </a:lnTo>
                  <a:cubicBezTo>
                    <a:pt x="5359" y="8016"/>
                    <a:pt x="5037" y="8138"/>
                    <a:pt x="4717" y="8138"/>
                  </a:cubicBezTo>
                  <a:cubicBezTo>
                    <a:pt x="4397" y="8138"/>
                    <a:pt x="4079" y="8016"/>
                    <a:pt x="3835" y="7772"/>
                  </a:cubicBezTo>
                  <a:cubicBezTo>
                    <a:pt x="3346" y="7272"/>
                    <a:pt x="3346" y="6486"/>
                    <a:pt x="3835" y="5998"/>
                  </a:cubicBezTo>
                  <a:lnTo>
                    <a:pt x="7645" y="2188"/>
                  </a:lnTo>
                  <a:cubicBezTo>
                    <a:pt x="7704" y="2129"/>
                    <a:pt x="7704" y="2021"/>
                    <a:pt x="7645" y="1962"/>
                  </a:cubicBezTo>
                  <a:lnTo>
                    <a:pt x="5728" y="45"/>
                  </a:lnTo>
                  <a:cubicBezTo>
                    <a:pt x="5698" y="15"/>
                    <a:pt x="5656" y="0"/>
                    <a:pt x="5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0" name="Google Shape;10350;p59"/>
            <p:cNvSpPr/>
            <p:nvPr/>
          </p:nvSpPr>
          <p:spPr>
            <a:xfrm>
              <a:off x="3081757" y="2197136"/>
              <a:ext cx="11436" cy="10448"/>
            </a:xfrm>
            <a:custGeom>
              <a:avLst/>
              <a:gdLst/>
              <a:ahLst/>
              <a:cxnLst/>
              <a:rect l="l" t="t" r="r" b="b"/>
              <a:pathLst>
                <a:path w="359" h="328" extrusionOk="0">
                  <a:moveTo>
                    <a:pt x="173" y="0"/>
                  </a:moveTo>
                  <a:cubicBezTo>
                    <a:pt x="132" y="0"/>
                    <a:pt x="90" y="15"/>
                    <a:pt x="60" y="45"/>
                  </a:cubicBezTo>
                  <a:cubicBezTo>
                    <a:pt x="1" y="116"/>
                    <a:pt x="1" y="211"/>
                    <a:pt x="60" y="283"/>
                  </a:cubicBezTo>
                  <a:cubicBezTo>
                    <a:pt x="90" y="313"/>
                    <a:pt x="132" y="327"/>
                    <a:pt x="173" y="327"/>
                  </a:cubicBezTo>
                  <a:cubicBezTo>
                    <a:pt x="215" y="327"/>
                    <a:pt x="257" y="313"/>
                    <a:pt x="287" y="283"/>
                  </a:cubicBezTo>
                  <a:cubicBezTo>
                    <a:pt x="358" y="211"/>
                    <a:pt x="358" y="116"/>
                    <a:pt x="287" y="45"/>
                  </a:cubicBez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1" name="Google Shape;10351;p59"/>
            <p:cNvSpPr/>
            <p:nvPr/>
          </p:nvSpPr>
          <p:spPr>
            <a:xfrm>
              <a:off x="3081375" y="2168689"/>
              <a:ext cx="11436" cy="10448"/>
            </a:xfrm>
            <a:custGeom>
              <a:avLst/>
              <a:gdLst/>
              <a:ahLst/>
              <a:cxnLst/>
              <a:rect l="l" t="t" r="r" b="b"/>
              <a:pathLst>
                <a:path w="359" h="328" extrusionOk="0">
                  <a:moveTo>
                    <a:pt x="185" y="0"/>
                  </a:moveTo>
                  <a:cubicBezTo>
                    <a:pt x="144" y="0"/>
                    <a:pt x="102" y="15"/>
                    <a:pt x="72" y="45"/>
                  </a:cubicBezTo>
                  <a:cubicBezTo>
                    <a:pt x="1" y="116"/>
                    <a:pt x="1" y="223"/>
                    <a:pt x="72" y="283"/>
                  </a:cubicBezTo>
                  <a:cubicBezTo>
                    <a:pt x="102" y="313"/>
                    <a:pt x="144" y="328"/>
                    <a:pt x="185" y="328"/>
                  </a:cubicBezTo>
                  <a:cubicBezTo>
                    <a:pt x="227" y="328"/>
                    <a:pt x="269" y="313"/>
                    <a:pt x="299" y="283"/>
                  </a:cubicBezTo>
                  <a:cubicBezTo>
                    <a:pt x="358" y="223"/>
                    <a:pt x="358" y="116"/>
                    <a:pt x="299" y="45"/>
                  </a:cubicBezTo>
                  <a:cubicBezTo>
                    <a:pt x="269" y="15"/>
                    <a:pt x="227"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2" name="Google Shape;10352;p59"/>
            <p:cNvSpPr/>
            <p:nvPr/>
          </p:nvSpPr>
          <p:spPr>
            <a:xfrm>
              <a:off x="3298340" y="2210770"/>
              <a:ext cx="11404" cy="10480"/>
            </a:xfrm>
            <a:custGeom>
              <a:avLst/>
              <a:gdLst/>
              <a:ahLst/>
              <a:cxnLst/>
              <a:rect l="l" t="t" r="r" b="b"/>
              <a:pathLst>
                <a:path w="358" h="329" extrusionOk="0">
                  <a:moveTo>
                    <a:pt x="179" y="1"/>
                  </a:moveTo>
                  <a:cubicBezTo>
                    <a:pt x="137" y="1"/>
                    <a:pt x="96" y="16"/>
                    <a:pt x="60" y="45"/>
                  </a:cubicBezTo>
                  <a:cubicBezTo>
                    <a:pt x="0" y="117"/>
                    <a:pt x="0" y="212"/>
                    <a:pt x="60" y="283"/>
                  </a:cubicBezTo>
                  <a:cubicBezTo>
                    <a:pt x="96" y="313"/>
                    <a:pt x="137" y="328"/>
                    <a:pt x="179" y="328"/>
                  </a:cubicBezTo>
                  <a:cubicBezTo>
                    <a:pt x="221" y="328"/>
                    <a:pt x="262" y="313"/>
                    <a:pt x="298" y="283"/>
                  </a:cubicBezTo>
                  <a:cubicBezTo>
                    <a:pt x="358" y="212"/>
                    <a:pt x="358" y="117"/>
                    <a:pt x="298" y="45"/>
                  </a:cubicBezTo>
                  <a:cubicBezTo>
                    <a:pt x="262" y="16"/>
                    <a:pt x="221"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3" name="Google Shape;10353;p59"/>
          <p:cNvGrpSpPr/>
          <p:nvPr/>
        </p:nvGrpSpPr>
        <p:grpSpPr>
          <a:xfrm>
            <a:off x="3982553" y="1971730"/>
            <a:ext cx="304566" cy="350501"/>
            <a:chOff x="3982553" y="1971730"/>
            <a:chExt cx="304566" cy="350501"/>
          </a:xfrm>
        </p:grpSpPr>
        <p:sp>
          <p:nvSpPr>
            <p:cNvPr id="10354" name="Google Shape;10354;p59"/>
            <p:cNvSpPr/>
            <p:nvPr/>
          </p:nvSpPr>
          <p:spPr>
            <a:xfrm>
              <a:off x="4037535" y="2176558"/>
              <a:ext cx="196513" cy="145673"/>
            </a:xfrm>
            <a:custGeom>
              <a:avLst/>
              <a:gdLst/>
              <a:ahLst/>
              <a:cxnLst/>
              <a:rect l="l" t="t" r="r" b="b"/>
              <a:pathLst>
                <a:path w="6169" h="4573" extrusionOk="0">
                  <a:moveTo>
                    <a:pt x="1441" y="322"/>
                  </a:moveTo>
                  <a:cubicBezTo>
                    <a:pt x="1584" y="322"/>
                    <a:pt x="1727" y="441"/>
                    <a:pt x="1727" y="595"/>
                  </a:cubicBezTo>
                  <a:lnTo>
                    <a:pt x="1727" y="4251"/>
                  </a:lnTo>
                  <a:lnTo>
                    <a:pt x="1167" y="4251"/>
                  </a:lnTo>
                  <a:lnTo>
                    <a:pt x="1167" y="595"/>
                  </a:lnTo>
                  <a:lnTo>
                    <a:pt x="1156" y="595"/>
                  </a:lnTo>
                  <a:cubicBezTo>
                    <a:pt x="1156" y="453"/>
                    <a:pt x="1275" y="322"/>
                    <a:pt x="1441" y="322"/>
                  </a:cubicBezTo>
                  <a:close/>
                  <a:moveTo>
                    <a:pt x="3061" y="322"/>
                  </a:moveTo>
                  <a:cubicBezTo>
                    <a:pt x="3227" y="322"/>
                    <a:pt x="3346" y="441"/>
                    <a:pt x="3346" y="595"/>
                  </a:cubicBezTo>
                  <a:lnTo>
                    <a:pt x="3346" y="4251"/>
                  </a:lnTo>
                  <a:lnTo>
                    <a:pt x="2799" y="4251"/>
                  </a:lnTo>
                  <a:lnTo>
                    <a:pt x="2799" y="595"/>
                  </a:lnTo>
                  <a:lnTo>
                    <a:pt x="2775" y="595"/>
                  </a:lnTo>
                  <a:cubicBezTo>
                    <a:pt x="2775" y="453"/>
                    <a:pt x="2894" y="322"/>
                    <a:pt x="3061" y="322"/>
                  </a:cubicBezTo>
                  <a:close/>
                  <a:moveTo>
                    <a:pt x="4680" y="322"/>
                  </a:moveTo>
                  <a:cubicBezTo>
                    <a:pt x="4835" y="322"/>
                    <a:pt x="4966" y="441"/>
                    <a:pt x="4966" y="595"/>
                  </a:cubicBezTo>
                  <a:lnTo>
                    <a:pt x="4966" y="4251"/>
                  </a:lnTo>
                  <a:lnTo>
                    <a:pt x="4406" y="4251"/>
                  </a:lnTo>
                  <a:lnTo>
                    <a:pt x="4406" y="595"/>
                  </a:lnTo>
                  <a:cubicBezTo>
                    <a:pt x="4406" y="453"/>
                    <a:pt x="4525" y="322"/>
                    <a:pt x="4680" y="322"/>
                  </a:cubicBezTo>
                  <a:close/>
                  <a:moveTo>
                    <a:pt x="1441" y="0"/>
                  </a:moveTo>
                  <a:cubicBezTo>
                    <a:pt x="1108" y="0"/>
                    <a:pt x="846" y="274"/>
                    <a:pt x="846" y="595"/>
                  </a:cubicBezTo>
                  <a:lnTo>
                    <a:pt x="846" y="4251"/>
                  </a:lnTo>
                  <a:lnTo>
                    <a:pt x="322" y="4251"/>
                  </a:lnTo>
                  <a:lnTo>
                    <a:pt x="322" y="2536"/>
                  </a:lnTo>
                  <a:cubicBezTo>
                    <a:pt x="322" y="2441"/>
                    <a:pt x="251" y="2370"/>
                    <a:pt x="155" y="2370"/>
                  </a:cubicBezTo>
                  <a:cubicBezTo>
                    <a:pt x="72" y="2370"/>
                    <a:pt x="1" y="2441"/>
                    <a:pt x="1" y="2536"/>
                  </a:cubicBezTo>
                  <a:lnTo>
                    <a:pt x="1" y="4405"/>
                  </a:lnTo>
                  <a:cubicBezTo>
                    <a:pt x="1" y="4501"/>
                    <a:pt x="72" y="4572"/>
                    <a:pt x="155" y="4572"/>
                  </a:cubicBezTo>
                  <a:lnTo>
                    <a:pt x="6001" y="4572"/>
                  </a:lnTo>
                  <a:cubicBezTo>
                    <a:pt x="6097" y="4572"/>
                    <a:pt x="6168" y="4501"/>
                    <a:pt x="6168" y="4405"/>
                  </a:cubicBezTo>
                  <a:lnTo>
                    <a:pt x="6168" y="834"/>
                  </a:lnTo>
                  <a:cubicBezTo>
                    <a:pt x="6144" y="750"/>
                    <a:pt x="6073" y="679"/>
                    <a:pt x="5978" y="679"/>
                  </a:cubicBezTo>
                  <a:cubicBezTo>
                    <a:pt x="5894" y="679"/>
                    <a:pt x="5811" y="750"/>
                    <a:pt x="5811" y="834"/>
                  </a:cubicBezTo>
                  <a:lnTo>
                    <a:pt x="5811" y="4251"/>
                  </a:lnTo>
                  <a:lnTo>
                    <a:pt x="5299" y="4251"/>
                  </a:lnTo>
                  <a:lnTo>
                    <a:pt x="5299" y="595"/>
                  </a:lnTo>
                  <a:cubicBezTo>
                    <a:pt x="5299" y="274"/>
                    <a:pt x="5025" y="0"/>
                    <a:pt x="4704" y="0"/>
                  </a:cubicBezTo>
                  <a:cubicBezTo>
                    <a:pt x="4370" y="0"/>
                    <a:pt x="4108" y="274"/>
                    <a:pt x="4108" y="595"/>
                  </a:cubicBezTo>
                  <a:lnTo>
                    <a:pt x="4108" y="4251"/>
                  </a:lnTo>
                  <a:lnTo>
                    <a:pt x="3656" y="4251"/>
                  </a:lnTo>
                  <a:lnTo>
                    <a:pt x="3656" y="595"/>
                  </a:lnTo>
                  <a:cubicBezTo>
                    <a:pt x="3656" y="274"/>
                    <a:pt x="3394" y="0"/>
                    <a:pt x="3061" y="0"/>
                  </a:cubicBezTo>
                  <a:cubicBezTo>
                    <a:pt x="2739" y="0"/>
                    <a:pt x="2465" y="274"/>
                    <a:pt x="2465" y="595"/>
                  </a:cubicBezTo>
                  <a:lnTo>
                    <a:pt x="2465" y="4251"/>
                  </a:lnTo>
                  <a:lnTo>
                    <a:pt x="2037" y="4251"/>
                  </a:lnTo>
                  <a:lnTo>
                    <a:pt x="2037" y="595"/>
                  </a:lnTo>
                  <a:cubicBezTo>
                    <a:pt x="2037" y="274"/>
                    <a:pt x="1763"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5" name="Google Shape;10355;p59"/>
            <p:cNvSpPr/>
            <p:nvPr/>
          </p:nvSpPr>
          <p:spPr>
            <a:xfrm>
              <a:off x="3982553" y="1971730"/>
              <a:ext cx="304566" cy="272360"/>
            </a:xfrm>
            <a:custGeom>
              <a:avLst/>
              <a:gdLst/>
              <a:ahLst/>
              <a:cxnLst/>
              <a:rect l="l" t="t" r="r" b="b"/>
              <a:pathLst>
                <a:path w="9561" h="8550" extrusionOk="0">
                  <a:moveTo>
                    <a:pt x="8632" y="346"/>
                  </a:moveTo>
                  <a:cubicBezTo>
                    <a:pt x="8966" y="346"/>
                    <a:pt x="9239" y="632"/>
                    <a:pt x="9239" y="953"/>
                  </a:cubicBezTo>
                  <a:cubicBezTo>
                    <a:pt x="9239" y="1287"/>
                    <a:pt x="8954" y="1572"/>
                    <a:pt x="8632" y="1572"/>
                  </a:cubicBezTo>
                  <a:lnTo>
                    <a:pt x="929" y="1572"/>
                  </a:lnTo>
                  <a:cubicBezTo>
                    <a:pt x="596" y="1572"/>
                    <a:pt x="322" y="1287"/>
                    <a:pt x="322" y="953"/>
                  </a:cubicBezTo>
                  <a:cubicBezTo>
                    <a:pt x="322" y="632"/>
                    <a:pt x="607" y="346"/>
                    <a:pt x="929" y="346"/>
                  </a:cubicBezTo>
                  <a:close/>
                  <a:moveTo>
                    <a:pt x="6787" y="3835"/>
                  </a:moveTo>
                  <a:cubicBezTo>
                    <a:pt x="6811" y="4073"/>
                    <a:pt x="6930" y="4275"/>
                    <a:pt x="7096" y="4442"/>
                  </a:cubicBezTo>
                  <a:lnTo>
                    <a:pt x="2524" y="4442"/>
                  </a:lnTo>
                  <a:cubicBezTo>
                    <a:pt x="2715" y="4275"/>
                    <a:pt x="2822" y="4049"/>
                    <a:pt x="2858" y="3835"/>
                  </a:cubicBezTo>
                  <a:close/>
                  <a:moveTo>
                    <a:pt x="7870" y="1882"/>
                  </a:moveTo>
                  <a:cubicBezTo>
                    <a:pt x="8573" y="1882"/>
                    <a:pt x="9144" y="2453"/>
                    <a:pt x="9144" y="3156"/>
                  </a:cubicBezTo>
                  <a:cubicBezTo>
                    <a:pt x="9168" y="3870"/>
                    <a:pt x="8597" y="4442"/>
                    <a:pt x="7894" y="4442"/>
                  </a:cubicBezTo>
                  <a:lnTo>
                    <a:pt x="7823" y="4442"/>
                  </a:lnTo>
                  <a:cubicBezTo>
                    <a:pt x="7644" y="4406"/>
                    <a:pt x="7477" y="4335"/>
                    <a:pt x="7334" y="4216"/>
                  </a:cubicBezTo>
                  <a:cubicBezTo>
                    <a:pt x="7203" y="4097"/>
                    <a:pt x="7108" y="3918"/>
                    <a:pt x="7096" y="3716"/>
                  </a:cubicBezTo>
                  <a:cubicBezTo>
                    <a:pt x="7084" y="3513"/>
                    <a:pt x="7156" y="3323"/>
                    <a:pt x="7275" y="3192"/>
                  </a:cubicBezTo>
                  <a:cubicBezTo>
                    <a:pt x="7377" y="3070"/>
                    <a:pt x="7523" y="3011"/>
                    <a:pt x="7672" y="3011"/>
                  </a:cubicBezTo>
                  <a:cubicBezTo>
                    <a:pt x="7801" y="3011"/>
                    <a:pt x="7932" y="3056"/>
                    <a:pt x="8037" y="3144"/>
                  </a:cubicBezTo>
                  <a:cubicBezTo>
                    <a:pt x="8108" y="3215"/>
                    <a:pt x="8156" y="3311"/>
                    <a:pt x="8168" y="3418"/>
                  </a:cubicBezTo>
                  <a:cubicBezTo>
                    <a:pt x="8168" y="3513"/>
                    <a:pt x="8132" y="3620"/>
                    <a:pt x="8061" y="3692"/>
                  </a:cubicBezTo>
                  <a:cubicBezTo>
                    <a:pt x="8001" y="3751"/>
                    <a:pt x="8001" y="3858"/>
                    <a:pt x="8073" y="3918"/>
                  </a:cubicBezTo>
                  <a:cubicBezTo>
                    <a:pt x="8101" y="3946"/>
                    <a:pt x="8140" y="3961"/>
                    <a:pt x="8180" y="3961"/>
                  </a:cubicBezTo>
                  <a:cubicBezTo>
                    <a:pt x="8224" y="3961"/>
                    <a:pt x="8268" y="3943"/>
                    <a:pt x="8299" y="3906"/>
                  </a:cubicBezTo>
                  <a:cubicBezTo>
                    <a:pt x="8430" y="3751"/>
                    <a:pt x="8489" y="3573"/>
                    <a:pt x="8477" y="3382"/>
                  </a:cubicBezTo>
                  <a:cubicBezTo>
                    <a:pt x="8466" y="3192"/>
                    <a:pt x="8394" y="3013"/>
                    <a:pt x="8239" y="2894"/>
                  </a:cubicBezTo>
                  <a:cubicBezTo>
                    <a:pt x="8075" y="2746"/>
                    <a:pt x="7872" y="2674"/>
                    <a:pt x="7672" y="2674"/>
                  </a:cubicBezTo>
                  <a:cubicBezTo>
                    <a:pt x="7437" y="2674"/>
                    <a:pt x="7204" y="2773"/>
                    <a:pt x="7037" y="2965"/>
                  </a:cubicBezTo>
                  <a:cubicBezTo>
                    <a:pt x="6906" y="3120"/>
                    <a:pt x="6811" y="3287"/>
                    <a:pt x="6787" y="3489"/>
                  </a:cubicBezTo>
                  <a:lnTo>
                    <a:pt x="2858" y="3489"/>
                  </a:lnTo>
                  <a:cubicBezTo>
                    <a:pt x="2822" y="3287"/>
                    <a:pt x="2751" y="3120"/>
                    <a:pt x="2596" y="2965"/>
                  </a:cubicBezTo>
                  <a:cubicBezTo>
                    <a:pt x="2453" y="2799"/>
                    <a:pt x="2239" y="2692"/>
                    <a:pt x="2000" y="2680"/>
                  </a:cubicBezTo>
                  <a:cubicBezTo>
                    <a:pt x="1985" y="2679"/>
                    <a:pt x="1970" y="2678"/>
                    <a:pt x="1954" y="2678"/>
                  </a:cubicBezTo>
                  <a:cubicBezTo>
                    <a:pt x="1754" y="2678"/>
                    <a:pt x="1547" y="2750"/>
                    <a:pt x="1381" y="2894"/>
                  </a:cubicBezTo>
                  <a:cubicBezTo>
                    <a:pt x="1227" y="3025"/>
                    <a:pt x="1155" y="3192"/>
                    <a:pt x="1143" y="3382"/>
                  </a:cubicBezTo>
                  <a:cubicBezTo>
                    <a:pt x="1119" y="3573"/>
                    <a:pt x="1203" y="3751"/>
                    <a:pt x="1322" y="3906"/>
                  </a:cubicBezTo>
                  <a:cubicBezTo>
                    <a:pt x="1355" y="3939"/>
                    <a:pt x="1402" y="3957"/>
                    <a:pt x="1447" y="3957"/>
                  </a:cubicBezTo>
                  <a:cubicBezTo>
                    <a:pt x="1485" y="3957"/>
                    <a:pt x="1521" y="3945"/>
                    <a:pt x="1548" y="3918"/>
                  </a:cubicBezTo>
                  <a:cubicBezTo>
                    <a:pt x="1596" y="3858"/>
                    <a:pt x="1619" y="3751"/>
                    <a:pt x="1560" y="3692"/>
                  </a:cubicBezTo>
                  <a:cubicBezTo>
                    <a:pt x="1488" y="3620"/>
                    <a:pt x="1453" y="3513"/>
                    <a:pt x="1453" y="3418"/>
                  </a:cubicBezTo>
                  <a:cubicBezTo>
                    <a:pt x="1453" y="3311"/>
                    <a:pt x="1512" y="3204"/>
                    <a:pt x="1584" y="3144"/>
                  </a:cubicBezTo>
                  <a:cubicBezTo>
                    <a:pt x="1682" y="3068"/>
                    <a:pt x="1800" y="3012"/>
                    <a:pt x="1937" y="3012"/>
                  </a:cubicBezTo>
                  <a:cubicBezTo>
                    <a:pt x="1950" y="3012"/>
                    <a:pt x="1963" y="3012"/>
                    <a:pt x="1977" y="3013"/>
                  </a:cubicBezTo>
                  <a:cubicBezTo>
                    <a:pt x="2120" y="3025"/>
                    <a:pt x="2239" y="3085"/>
                    <a:pt x="2346" y="3192"/>
                  </a:cubicBezTo>
                  <a:cubicBezTo>
                    <a:pt x="2608" y="3489"/>
                    <a:pt x="2584" y="3954"/>
                    <a:pt x="2286" y="4216"/>
                  </a:cubicBezTo>
                  <a:cubicBezTo>
                    <a:pt x="2155" y="4335"/>
                    <a:pt x="1977" y="4406"/>
                    <a:pt x="1798" y="4442"/>
                  </a:cubicBezTo>
                  <a:lnTo>
                    <a:pt x="1727" y="4442"/>
                  </a:lnTo>
                  <a:cubicBezTo>
                    <a:pt x="1024" y="4442"/>
                    <a:pt x="441" y="3858"/>
                    <a:pt x="441" y="3156"/>
                  </a:cubicBezTo>
                  <a:cubicBezTo>
                    <a:pt x="441" y="2465"/>
                    <a:pt x="1024" y="1882"/>
                    <a:pt x="1727" y="1882"/>
                  </a:cubicBezTo>
                  <a:close/>
                  <a:moveTo>
                    <a:pt x="7537" y="4763"/>
                  </a:moveTo>
                  <a:lnTo>
                    <a:pt x="7537" y="5573"/>
                  </a:lnTo>
                  <a:lnTo>
                    <a:pt x="2036" y="5573"/>
                  </a:lnTo>
                  <a:lnTo>
                    <a:pt x="2036" y="4763"/>
                  </a:lnTo>
                  <a:close/>
                  <a:moveTo>
                    <a:pt x="929" y="1"/>
                  </a:moveTo>
                  <a:cubicBezTo>
                    <a:pt x="417" y="1"/>
                    <a:pt x="0" y="418"/>
                    <a:pt x="0" y="941"/>
                  </a:cubicBezTo>
                  <a:cubicBezTo>
                    <a:pt x="0" y="1418"/>
                    <a:pt x="357" y="1811"/>
                    <a:pt x="798" y="1870"/>
                  </a:cubicBezTo>
                  <a:cubicBezTo>
                    <a:pt x="393" y="2168"/>
                    <a:pt x="143" y="2620"/>
                    <a:pt x="143" y="3144"/>
                  </a:cubicBezTo>
                  <a:cubicBezTo>
                    <a:pt x="143" y="4013"/>
                    <a:pt x="834" y="4728"/>
                    <a:pt x="1691" y="4739"/>
                  </a:cubicBezTo>
                  <a:lnTo>
                    <a:pt x="1703" y="4739"/>
                  </a:lnTo>
                  <a:lnTo>
                    <a:pt x="1703" y="5704"/>
                  </a:lnTo>
                  <a:lnTo>
                    <a:pt x="1703" y="8383"/>
                  </a:lnTo>
                  <a:cubicBezTo>
                    <a:pt x="1703" y="8478"/>
                    <a:pt x="1786" y="8549"/>
                    <a:pt x="1869" y="8549"/>
                  </a:cubicBezTo>
                  <a:cubicBezTo>
                    <a:pt x="1965" y="8549"/>
                    <a:pt x="2036" y="8478"/>
                    <a:pt x="2036" y="8383"/>
                  </a:cubicBezTo>
                  <a:lnTo>
                    <a:pt x="2036" y="5894"/>
                  </a:lnTo>
                  <a:lnTo>
                    <a:pt x="7537" y="5894"/>
                  </a:lnTo>
                  <a:lnTo>
                    <a:pt x="7537" y="6692"/>
                  </a:lnTo>
                  <a:cubicBezTo>
                    <a:pt x="7537" y="6775"/>
                    <a:pt x="7620" y="6847"/>
                    <a:pt x="7704" y="6847"/>
                  </a:cubicBezTo>
                  <a:cubicBezTo>
                    <a:pt x="7799" y="6847"/>
                    <a:pt x="7870" y="6775"/>
                    <a:pt x="7870" y="6692"/>
                  </a:cubicBezTo>
                  <a:lnTo>
                    <a:pt x="7870" y="5740"/>
                  </a:lnTo>
                  <a:lnTo>
                    <a:pt x="7870" y="4763"/>
                  </a:lnTo>
                  <a:lnTo>
                    <a:pt x="7918" y="4763"/>
                  </a:lnTo>
                  <a:cubicBezTo>
                    <a:pt x="7930" y="4763"/>
                    <a:pt x="7942" y="4763"/>
                    <a:pt x="7954" y="4751"/>
                  </a:cubicBezTo>
                  <a:cubicBezTo>
                    <a:pt x="8823" y="4728"/>
                    <a:pt x="9501" y="4025"/>
                    <a:pt x="9501" y="3156"/>
                  </a:cubicBezTo>
                  <a:cubicBezTo>
                    <a:pt x="9489" y="2644"/>
                    <a:pt x="9228" y="2168"/>
                    <a:pt x="8823" y="1870"/>
                  </a:cubicBezTo>
                  <a:cubicBezTo>
                    <a:pt x="9251" y="1775"/>
                    <a:pt x="9561" y="1406"/>
                    <a:pt x="9561" y="941"/>
                  </a:cubicBezTo>
                  <a:cubicBezTo>
                    <a:pt x="9561" y="418"/>
                    <a:pt x="9144" y="1"/>
                    <a:pt x="8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56" name="Google Shape;10356;p59"/>
          <p:cNvGrpSpPr/>
          <p:nvPr/>
        </p:nvGrpSpPr>
        <p:grpSpPr>
          <a:xfrm>
            <a:off x="2567841" y="1994124"/>
            <a:ext cx="399812" cy="306477"/>
            <a:chOff x="2567841" y="1994124"/>
            <a:chExt cx="399812" cy="306477"/>
          </a:xfrm>
        </p:grpSpPr>
        <p:sp>
          <p:nvSpPr>
            <p:cNvPr id="10357" name="Google Shape;10357;p59"/>
            <p:cNvSpPr/>
            <p:nvPr/>
          </p:nvSpPr>
          <p:spPr>
            <a:xfrm>
              <a:off x="2567841" y="1994124"/>
              <a:ext cx="399812" cy="306477"/>
            </a:xfrm>
            <a:custGeom>
              <a:avLst/>
              <a:gdLst/>
              <a:ahLst/>
              <a:cxnLst/>
              <a:rect l="l" t="t" r="r" b="b"/>
              <a:pathLst>
                <a:path w="12551" h="9621" extrusionOk="0">
                  <a:moveTo>
                    <a:pt x="11157" y="346"/>
                  </a:moveTo>
                  <a:lnTo>
                    <a:pt x="11157" y="6584"/>
                  </a:lnTo>
                  <a:lnTo>
                    <a:pt x="1334" y="6584"/>
                  </a:lnTo>
                  <a:lnTo>
                    <a:pt x="1334" y="346"/>
                  </a:lnTo>
                  <a:close/>
                  <a:moveTo>
                    <a:pt x="7442" y="7930"/>
                  </a:moveTo>
                  <a:lnTo>
                    <a:pt x="7621" y="8561"/>
                  </a:lnTo>
                  <a:lnTo>
                    <a:pt x="4859" y="8561"/>
                  </a:lnTo>
                  <a:lnTo>
                    <a:pt x="5037" y="7930"/>
                  </a:lnTo>
                  <a:close/>
                  <a:moveTo>
                    <a:pt x="11217" y="6954"/>
                  </a:moveTo>
                  <a:lnTo>
                    <a:pt x="12038" y="8561"/>
                  </a:lnTo>
                  <a:lnTo>
                    <a:pt x="7990" y="8561"/>
                  </a:lnTo>
                  <a:lnTo>
                    <a:pt x="7776" y="7835"/>
                  </a:lnTo>
                  <a:cubicBezTo>
                    <a:pt x="7740" y="7680"/>
                    <a:pt x="7597" y="7573"/>
                    <a:pt x="7454" y="7573"/>
                  </a:cubicBezTo>
                  <a:lnTo>
                    <a:pt x="5013" y="7573"/>
                  </a:lnTo>
                  <a:cubicBezTo>
                    <a:pt x="4859" y="7573"/>
                    <a:pt x="4716" y="7680"/>
                    <a:pt x="4680" y="7835"/>
                  </a:cubicBezTo>
                  <a:lnTo>
                    <a:pt x="4478" y="8561"/>
                  </a:lnTo>
                  <a:lnTo>
                    <a:pt x="430" y="8561"/>
                  </a:lnTo>
                  <a:lnTo>
                    <a:pt x="1263" y="6954"/>
                  </a:lnTo>
                  <a:close/>
                  <a:moveTo>
                    <a:pt x="12157" y="8930"/>
                  </a:moveTo>
                  <a:lnTo>
                    <a:pt x="12157" y="9216"/>
                  </a:lnTo>
                  <a:lnTo>
                    <a:pt x="12169" y="9216"/>
                  </a:lnTo>
                  <a:cubicBezTo>
                    <a:pt x="12169" y="9239"/>
                    <a:pt x="12145" y="9275"/>
                    <a:pt x="12110" y="9275"/>
                  </a:cubicBezTo>
                  <a:lnTo>
                    <a:pt x="382" y="9275"/>
                  </a:lnTo>
                  <a:cubicBezTo>
                    <a:pt x="346" y="9275"/>
                    <a:pt x="322" y="9239"/>
                    <a:pt x="322" y="9216"/>
                  </a:cubicBezTo>
                  <a:lnTo>
                    <a:pt x="322" y="8930"/>
                  </a:lnTo>
                  <a:close/>
                  <a:moveTo>
                    <a:pt x="1334" y="0"/>
                  </a:moveTo>
                  <a:cubicBezTo>
                    <a:pt x="1144" y="0"/>
                    <a:pt x="977" y="167"/>
                    <a:pt x="977" y="357"/>
                  </a:cubicBezTo>
                  <a:lnTo>
                    <a:pt x="977" y="6739"/>
                  </a:lnTo>
                  <a:lnTo>
                    <a:pt x="1" y="8680"/>
                  </a:lnTo>
                  <a:lnTo>
                    <a:pt x="1" y="8692"/>
                  </a:lnTo>
                  <a:lnTo>
                    <a:pt x="1" y="8704"/>
                  </a:lnTo>
                  <a:lnTo>
                    <a:pt x="1" y="8728"/>
                  </a:lnTo>
                  <a:lnTo>
                    <a:pt x="1" y="8739"/>
                  </a:lnTo>
                  <a:lnTo>
                    <a:pt x="1" y="9204"/>
                  </a:lnTo>
                  <a:cubicBezTo>
                    <a:pt x="1" y="9442"/>
                    <a:pt x="191" y="9620"/>
                    <a:pt x="406" y="9620"/>
                  </a:cubicBezTo>
                  <a:lnTo>
                    <a:pt x="12133" y="9620"/>
                  </a:lnTo>
                  <a:cubicBezTo>
                    <a:pt x="12371" y="9620"/>
                    <a:pt x="12550" y="9418"/>
                    <a:pt x="12550" y="9204"/>
                  </a:cubicBezTo>
                  <a:lnTo>
                    <a:pt x="12526" y="8739"/>
                  </a:lnTo>
                  <a:lnTo>
                    <a:pt x="12526" y="8704"/>
                  </a:lnTo>
                  <a:lnTo>
                    <a:pt x="12526" y="8692"/>
                  </a:lnTo>
                  <a:lnTo>
                    <a:pt x="12526" y="8680"/>
                  </a:lnTo>
                  <a:lnTo>
                    <a:pt x="11550" y="6739"/>
                  </a:lnTo>
                  <a:lnTo>
                    <a:pt x="11550" y="357"/>
                  </a:lnTo>
                  <a:cubicBezTo>
                    <a:pt x="11550" y="167"/>
                    <a:pt x="11383" y="0"/>
                    <a:pt x="11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8" name="Google Shape;10358;p59"/>
            <p:cNvSpPr/>
            <p:nvPr/>
          </p:nvSpPr>
          <p:spPr>
            <a:xfrm>
              <a:off x="2623237" y="2113963"/>
              <a:ext cx="287523" cy="77025"/>
            </a:xfrm>
            <a:custGeom>
              <a:avLst/>
              <a:gdLst/>
              <a:ahLst/>
              <a:cxnLst/>
              <a:rect l="l" t="t" r="r" b="b"/>
              <a:pathLst>
                <a:path w="9026" h="2418" extrusionOk="0">
                  <a:moveTo>
                    <a:pt x="179" y="1"/>
                  </a:moveTo>
                  <a:cubicBezTo>
                    <a:pt x="72" y="1"/>
                    <a:pt x="0" y="96"/>
                    <a:pt x="0" y="179"/>
                  </a:cubicBezTo>
                  <a:lnTo>
                    <a:pt x="0" y="2132"/>
                  </a:lnTo>
                  <a:cubicBezTo>
                    <a:pt x="0" y="2299"/>
                    <a:pt x="131" y="2418"/>
                    <a:pt x="274" y="2418"/>
                  </a:cubicBezTo>
                  <a:lnTo>
                    <a:pt x="8727" y="2418"/>
                  </a:lnTo>
                  <a:cubicBezTo>
                    <a:pt x="8894" y="2418"/>
                    <a:pt x="9013" y="2287"/>
                    <a:pt x="9013" y="2132"/>
                  </a:cubicBezTo>
                  <a:lnTo>
                    <a:pt x="9013" y="179"/>
                  </a:lnTo>
                  <a:cubicBezTo>
                    <a:pt x="9025" y="96"/>
                    <a:pt x="8942" y="1"/>
                    <a:pt x="8835" y="1"/>
                  </a:cubicBezTo>
                  <a:cubicBezTo>
                    <a:pt x="8727" y="1"/>
                    <a:pt x="8656" y="96"/>
                    <a:pt x="8656" y="179"/>
                  </a:cubicBezTo>
                  <a:lnTo>
                    <a:pt x="8656" y="2049"/>
                  </a:lnTo>
                  <a:lnTo>
                    <a:pt x="357" y="2049"/>
                  </a:lnTo>
                  <a:lnTo>
                    <a:pt x="357" y="179"/>
                  </a:lnTo>
                  <a:cubicBezTo>
                    <a:pt x="357"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9" name="Google Shape;10359;p59"/>
            <p:cNvSpPr/>
            <p:nvPr/>
          </p:nvSpPr>
          <p:spPr>
            <a:xfrm>
              <a:off x="2623237" y="2017251"/>
              <a:ext cx="287523" cy="77025"/>
            </a:xfrm>
            <a:custGeom>
              <a:avLst/>
              <a:gdLst/>
              <a:ahLst/>
              <a:cxnLst/>
              <a:rect l="l" t="t" r="r" b="b"/>
              <a:pathLst>
                <a:path w="9026" h="2418" extrusionOk="0">
                  <a:moveTo>
                    <a:pt x="286" y="1"/>
                  </a:moveTo>
                  <a:cubicBezTo>
                    <a:pt x="119" y="1"/>
                    <a:pt x="0" y="143"/>
                    <a:pt x="0" y="286"/>
                  </a:cubicBezTo>
                  <a:lnTo>
                    <a:pt x="0" y="2239"/>
                  </a:lnTo>
                  <a:cubicBezTo>
                    <a:pt x="0" y="2346"/>
                    <a:pt x="84" y="2418"/>
                    <a:pt x="179" y="2418"/>
                  </a:cubicBezTo>
                  <a:cubicBezTo>
                    <a:pt x="286" y="2418"/>
                    <a:pt x="357" y="2322"/>
                    <a:pt x="357" y="2239"/>
                  </a:cubicBezTo>
                  <a:lnTo>
                    <a:pt x="357" y="382"/>
                  </a:lnTo>
                  <a:lnTo>
                    <a:pt x="8656" y="382"/>
                  </a:lnTo>
                  <a:lnTo>
                    <a:pt x="8656" y="2239"/>
                  </a:lnTo>
                  <a:cubicBezTo>
                    <a:pt x="8656" y="2346"/>
                    <a:pt x="8751" y="2418"/>
                    <a:pt x="8835" y="2418"/>
                  </a:cubicBezTo>
                  <a:cubicBezTo>
                    <a:pt x="8942" y="2418"/>
                    <a:pt x="9013" y="2322"/>
                    <a:pt x="9013" y="2239"/>
                  </a:cubicBezTo>
                  <a:lnTo>
                    <a:pt x="9013" y="286"/>
                  </a:lnTo>
                  <a:cubicBezTo>
                    <a:pt x="9025" y="143"/>
                    <a:pt x="8894" y="1"/>
                    <a:pt x="8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0" name="Google Shape;10360;p59"/>
          <p:cNvGrpSpPr/>
          <p:nvPr/>
        </p:nvGrpSpPr>
        <p:grpSpPr>
          <a:xfrm>
            <a:off x="2212084" y="1960358"/>
            <a:ext cx="324698" cy="372863"/>
            <a:chOff x="2212084" y="1960358"/>
            <a:chExt cx="324698" cy="372863"/>
          </a:xfrm>
        </p:grpSpPr>
        <p:sp>
          <p:nvSpPr>
            <p:cNvPr id="10361" name="Google Shape;10361;p59"/>
            <p:cNvSpPr/>
            <p:nvPr/>
          </p:nvSpPr>
          <p:spPr>
            <a:xfrm>
              <a:off x="2291371" y="2128011"/>
              <a:ext cx="166888" cy="166888"/>
            </a:xfrm>
            <a:custGeom>
              <a:avLst/>
              <a:gdLst/>
              <a:ahLst/>
              <a:cxnLst/>
              <a:rect l="l" t="t" r="r" b="b"/>
              <a:pathLst>
                <a:path w="5239" h="5239" extrusionOk="0">
                  <a:moveTo>
                    <a:pt x="2620" y="357"/>
                  </a:moveTo>
                  <a:cubicBezTo>
                    <a:pt x="3870" y="357"/>
                    <a:pt x="4894" y="1369"/>
                    <a:pt x="4894" y="2631"/>
                  </a:cubicBezTo>
                  <a:cubicBezTo>
                    <a:pt x="4894" y="3882"/>
                    <a:pt x="3882" y="4906"/>
                    <a:pt x="2620" y="4906"/>
                  </a:cubicBezTo>
                  <a:cubicBezTo>
                    <a:pt x="1369" y="4906"/>
                    <a:pt x="346" y="3894"/>
                    <a:pt x="346" y="2631"/>
                  </a:cubicBezTo>
                  <a:cubicBezTo>
                    <a:pt x="346" y="1369"/>
                    <a:pt x="1369" y="357"/>
                    <a:pt x="2620" y="357"/>
                  </a:cubicBezTo>
                  <a:close/>
                  <a:moveTo>
                    <a:pt x="2620" y="0"/>
                  </a:moveTo>
                  <a:cubicBezTo>
                    <a:pt x="1179" y="0"/>
                    <a:pt x="0" y="1167"/>
                    <a:pt x="0" y="2620"/>
                  </a:cubicBezTo>
                  <a:cubicBezTo>
                    <a:pt x="0" y="4060"/>
                    <a:pt x="1179" y="5239"/>
                    <a:pt x="2620" y="5239"/>
                  </a:cubicBezTo>
                  <a:cubicBezTo>
                    <a:pt x="4060" y="5239"/>
                    <a:pt x="5239" y="4060"/>
                    <a:pt x="5239" y="2620"/>
                  </a:cubicBezTo>
                  <a:cubicBezTo>
                    <a:pt x="5239" y="1167"/>
                    <a:pt x="4060"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2" name="Google Shape;10362;p59"/>
            <p:cNvSpPr/>
            <p:nvPr/>
          </p:nvSpPr>
          <p:spPr>
            <a:xfrm>
              <a:off x="2212084" y="1960358"/>
              <a:ext cx="324698" cy="372863"/>
            </a:xfrm>
            <a:custGeom>
              <a:avLst/>
              <a:gdLst/>
              <a:ahLst/>
              <a:cxnLst/>
              <a:rect l="l" t="t" r="r" b="b"/>
              <a:pathLst>
                <a:path w="10193" h="11705" extrusionOk="0">
                  <a:moveTo>
                    <a:pt x="7502" y="358"/>
                  </a:moveTo>
                  <a:lnTo>
                    <a:pt x="6383" y="2644"/>
                  </a:lnTo>
                  <a:lnTo>
                    <a:pt x="3811" y="2644"/>
                  </a:lnTo>
                  <a:lnTo>
                    <a:pt x="2692" y="358"/>
                  </a:lnTo>
                  <a:close/>
                  <a:moveTo>
                    <a:pt x="6228" y="3001"/>
                  </a:moveTo>
                  <a:lnTo>
                    <a:pt x="5692" y="4096"/>
                  </a:lnTo>
                  <a:cubicBezTo>
                    <a:pt x="5490" y="4073"/>
                    <a:pt x="5299" y="4049"/>
                    <a:pt x="5109" y="4049"/>
                  </a:cubicBezTo>
                  <a:cubicBezTo>
                    <a:pt x="4918" y="4049"/>
                    <a:pt x="4716" y="4073"/>
                    <a:pt x="4525" y="4096"/>
                  </a:cubicBezTo>
                  <a:lnTo>
                    <a:pt x="3989" y="3001"/>
                  </a:lnTo>
                  <a:close/>
                  <a:moveTo>
                    <a:pt x="2334" y="405"/>
                  </a:moveTo>
                  <a:lnTo>
                    <a:pt x="4168" y="4156"/>
                  </a:lnTo>
                  <a:cubicBezTo>
                    <a:pt x="3382" y="4370"/>
                    <a:pt x="2692" y="4799"/>
                    <a:pt x="2180" y="5406"/>
                  </a:cubicBezTo>
                  <a:lnTo>
                    <a:pt x="608" y="2227"/>
                  </a:lnTo>
                  <a:cubicBezTo>
                    <a:pt x="406" y="1787"/>
                    <a:pt x="584" y="1275"/>
                    <a:pt x="1013" y="1060"/>
                  </a:cubicBezTo>
                  <a:lnTo>
                    <a:pt x="2334" y="405"/>
                  </a:lnTo>
                  <a:close/>
                  <a:moveTo>
                    <a:pt x="2418" y="1"/>
                  </a:moveTo>
                  <a:cubicBezTo>
                    <a:pt x="2382" y="1"/>
                    <a:pt x="2358" y="1"/>
                    <a:pt x="2334" y="24"/>
                  </a:cubicBezTo>
                  <a:lnTo>
                    <a:pt x="846" y="751"/>
                  </a:lnTo>
                  <a:cubicBezTo>
                    <a:pt x="251" y="1048"/>
                    <a:pt x="1" y="1775"/>
                    <a:pt x="298" y="2370"/>
                  </a:cubicBezTo>
                  <a:lnTo>
                    <a:pt x="1942" y="5704"/>
                  </a:lnTo>
                  <a:cubicBezTo>
                    <a:pt x="1525" y="6311"/>
                    <a:pt x="1263" y="7073"/>
                    <a:pt x="1263" y="7883"/>
                  </a:cubicBezTo>
                  <a:cubicBezTo>
                    <a:pt x="1263" y="8275"/>
                    <a:pt x="1322" y="8680"/>
                    <a:pt x="1441" y="9049"/>
                  </a:cubicBezTo>
                  <a:cubicBezTo>
                    <a:pt x="1470" y="9126"/>
                    <a:pt x="1544" y="9179"/>
                    <a:pt x="1616" y="9179"/>
                  </a:cubicBezTo>
                  <a:cubicBezTo>
                    <a:pt x="1633" y="9179"/>
                    <a:pt x="1651" y="9176"/>
                    <a:pt x="1668" y="9168"/>
                  </a:cubicBezTo>
                  <a:cubicBezTo>
                    <a:pt x="1763" y="9145"/>
                    <a:pt x="1822" y="9037"/>
                    <a:pt x="1787" y="8954"/>
                  </a:cubicBezTo>
                  <a:cubicBezTo>
                    <a:pt x="1668" y="8609"/>
                    <a:pt x="1620" y="8240"/>
                    <a:pt x="1620" y="7883"/>
                  </a:cubicBezTo>
                  <a:cubicBezTo>
                    <a:pt x="1620" y="5954"/>
                    <a:pt x="3192" y="4394"/>
                    <a:pt x="5109" y="4394"/>
                  </a:cubicBezTo>
                  <a:cubicBezTo>
                    <a:pt x="7026" y="4394"/>
                    <a:pt x="8585" y="5954"/>
                    <a:pt x="8585" y="7883"/>
                  </a:cubicBezTo>
                  <a:cubicBezTo>
                    <a:pt x="8585" y="9799"/>
                    <a:pt x="7026" y="11359"/>
                    <a:pt x="5109" y="11359"/>
                  </a:cubicBezTo>
                  <a:cubicBezTo>
                    <a:pt x="3823" y="11359"/>
                    <a:pt x="2656" y="10657"/>
                    <a:pt x="2037" y="9526"/>
                  </a:cubicBezTo>
                  <a:cubicBezTo>
                    <a:pt x="2012" y="9468"/>
                    <a:pt x="1953" y="9433"/>
                    <a:pt x="1887" y="9433"/>
                  </a:cubicBezTo>
                  <a:cubicBezTo>
                    <a:pt x="1858" y="9433"/>
                    <a:pt x="1828" y="9440"/>
                    <a:pt x="1799" y="9454"/>
                  </a:cubicBezTo>
                  <a:cubicBezTo>
                    <a:pt x="1715" y="9502"/>
                    <a:pt x="1680" y="9597"/>
                    <a:pt x="1727" y="9692"/>
                  </a:cubicBezTo>
                  <a:cubicBezTo>
                    <a:pt x="2394" y="10931"/>
                    <a:pt x="3692" y="11704"/>
                    <a:pt x="5109" y="11704"/>
                  </a:cubicBezTo>
                  <a:cubicBezTo>
                    <a:pt x="7216" y="11704"/>
                    <a:pt x="8942" y="9978"/>
                    <a:pt x="8942" y="7859"/>
                  </a:cubicBezTo>
                  <a:cubicBezTo>
                    <a:pt x="8942" y="7061"/>
                    <a:pt x="8692" y="6311"/>
                    <a:pt x="8276" y="5692"/>
                  </a:cubicBezTo>
                  <a:lnTo>
                    <a:pt x="8966" y="4299"/>
                  </a:lnTo>
                  <a:cubicBezTo>
                    <a:pt x="9002" y="4215"/>
                    <a:pt x="8966" y="4108"/>
                    <a:pt x="8883" y="4061"/>
                  </a:cubicBezTo>
                  <a:cubicBezTo>
                    <a:pt x="8861" y="4051"/>
                    <a:pt x="8838" y="4047"/>
                    <a:pt x="8814" y="4047"/>
                  </a:cubicBezTo>
                  <a:cubicBezTo>
                    <a:pt x="8748" y="4047"/>
                    <a:pt x="8680" y="4082"/>
                    <a:pt x="8645" y="4144"/>
                  </a:cubicBezTo>
                  <a:lnTo>
                    <a:pt x="8038" y="5370"/>
                  </a:lnTo>
                  <a:cubicBezTo>
                    <a:pt x="7537" y="4763"/>
                    <a:pt x="6835" y="4334"/>
                    <a:pt x="6049" y="4120"/>
                  </a:cubicBezTo>
                  <a:lnTo>
                    <a:pt x="7871" y="370"/>
                  </a:lnTo>
                  <a:lnTo>
                    <a:pt x="9204" y="1025"/>
                  </a:lnTo>
                  <a:cubicBezTo>
                    <a:pt x="9633" y="1239"/>
                    <a:pt x="9812" y="1763"/>
                    <a:pt x="9597" y="2191"/>
                  </a:cubicBezTo>
                  <a:lnTo>
                    <a:pt x="8942" y="3513"/>
                  </a:lnTo>
                  <a:cubicBezTo>
                    <a:pt x="8907" y="3608"/>
                    <a:pt x="8942" y="3703"/>
                    <a:pt x="9026" y="3751"/>
                  </a:cubicBezTo>
                  <a:cubicBezTo>
                    <a:pt x="9049" y="3764"/>
                    <a:pt x="9074" y="3770"/>
                    <a:pt x="9099" y="3770"/>
                  </a:cubicBezTo>
                  <a:cubicBezTo>
                    <a:pt x="9164" y="3770"/>
                    <a:pt x="9230" y="3731"/>
                    <a:pt x="9264" y="3680"/>
                  </a:cubicBezTo>
                  <a:lnTo>
                    <a:pt x="9919" y="2358"/>
                  </a:lnTo>
                  <a:cubicBezTo>
                    <a:pt x="10193" y="1775"/>
                    <a:pt x="9943" y="1048"/>
                    <a:pt x="9347" y="751"/>
                  </a:cubicBezTo>
                  <a:lnTo>
                    <a:pt x="7859" y="24"/>
                  </a:lnTo>
                  <a:cubicBezTo>
                    <a:pt x="7835" y="1"/>
                    <a:pt x="7811" y="1"/>
                    <a:pt x="7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3" name="Google Shape;10363;p59"/>
            <p:cNvSpPr/>
            <p:nvPr/>
          </p:nvSpPr>
          <p:spPr>
            <a:xfrm>
              <a:off x="2319435" y="2157190"/>
              <a:ext cx="108880" cy="103210"/>
            </a:xfrm>
            <a:custGeom>
              <a:avLst/>
              <a:gdLst/>
              <a:ahLst/>
              <a:cxnLst/>
              <a:rect l="l" t="t" r="r" b="b"/>
              <a:pathLst>
                <a:path w="3418" h="3240" extrusionOk="0">
                  <a:moveTo>
                    <a:pt x="1739" y="346"/>
                  </a:moveTo>
                  <a:cubicBezTo>
                    <a:pt x="1822" y="346"/>
                    <a:pt x="1881" y="394"/>
                    <a:pt x="1929" y="465"/>
                  </a:cubicBezTo>
                  <a:lnTo>
                    <a:pt x="2096" y="787"/>
                  </a:lnTo>
                  <a:cubicBezTo>
                    <a:pt x="2179" y="953"/>
                    <a:pt x="2334" y="1073"/>
                    <a:pt x="2513" y="1108"/>
                  </a:cubicBezTo>
                  <a:lnTo>
                    <a:pt x="2870" y="1144"/>
                  </a:lnTo>
                  <a:cubicBezTo>
                    <a:pt x="2953" y="1168"/>
                    <a:pt x="3013" y="1203"/>
                    <a:pt x="3048" y="1299"/>
                  </a:cubicBezTo>
                  <a:cubicBezTo>
                    <a:pt x="3072" y="1370"/>
                    <a:pt x="3048" y="1465"/>
                    <a:pt x="2989" y="1525"/>
                  </a:cubicBezTo>
                  <a:lnTo>
                    <a:pt x="2739" y="1775"/>
                  </a:lnTo>
                  <a:cubicBezTo>
                    <a:pt x="2596" y="1906"/>
                    <a:pt x="2536" y="2085"/>
                    <a:pt x="2572" y="2263"/>
                  </a:cubicBezTo>
                  <a:lnTo>
                    <a:pt x="2632" y="2620"/>
                  </a:lnTo>
                  <a:cubicBezTo>
                    <a:pt x="2643" y="2692"/>
                    <a:pt x="2620" y="2787"/>
                    <a:pt x="2536" y="2823"/>
                  </a:cubicBezTo>
                  <a:cubicBezTo>
                    <a:pt x="2493" y="2852"/>
                    <a:pt x="2450" y="2867"/>
                    <a:pt x="2407" y="2867"/>
                  </a:cubicBezTo>
                  <a:cubicBezTo>
                    <a:pt x="2378" y="2867"/>
                    <a:pt x="2350" y="2861"/>
                    <a:pt x="2322" y="2847"/>
                  </a:cubicBezTo>
                  <a:lnTo>
                    <a:pt x="2001" y="2680"/>
                  </a:lnTo>
                  <a:cubicBezTo>
                    <a:pt x="1917" y="2632"/>
                    <a:pt x="1822" y="2620"/>
                    <a:pt x="1739" y="2620"/>
                  </a:cubicBezTo>
                  <a:cubicBezTo>
                    <a:pt x="1643" y="2620"/>
                    <a:pt x="1560" y="2632"/>
                    <a:pt x="1465" y="2680"/>
                  </a:cubicBezTo>
                  <a:lnTo>
                    <a:pt x="1155" y="2847"/>
                  </a:lnTo>
                  <a:cubicBezTo>
                    <a:pt x="1128" y="2865"/>
                    <a:pt x="1097" y="2872"/>
                    <a:pt x="1066" y="2872"/>
                  </a:cubicBezTo>
                  <a:cubicBezTo>
                    <a:pt x="1016" y="2872"/>
                    <a:pt x="966" y="2852"/>
                    <a:pt x="929" y="2823"/>
                  </a:cubicBezTo>
                  <a:cubicBezTo>
                    <a:pt x="858" y="2787"/>
                    <a:pt x="822" y="2692"/>
                    <a:pt x="846" y="2620"/>
                  </a:cubicBezTo>
                  <a:lnTo>
                    <a:pt x="905" y="2263"/>
                  </a:lnTo>
                  <a:cubicBezTo>
                    <a:pt x="929" y="2085"/>
                    <a:pt x="869" y="1894"/>
                    <a:pt x="738" y="1775"/>
                  </a:cubicBezTo>
                  <a:lnTo>
                    <a:pt x="488" y="1525"/>
                  </a:lnTo>
                  <a:cubicBezTo>
                    <a:pt x="429" y="1465"/>
                    <a:pt x="393" y="1382"/>
                    <a:pt x="429" y="1299"/>
                  </a:cubicBezTo>
                  <a:cubicBezTo>
                    <a:pt x="453" y="1227"/>
                    <a:pt x="512" y="1168"/>
                    <a:pt x="608" y="1144"/>
                  </a:cubicBezTo>
                  <a:lnTo>
                    <a:pt x="965" y="1108"/>
                  </a:lnTo>
                  <a:cubicBezTo>
                    <a:pt x="1143" y="1073"/>
                    <a:pt x="1298" y="953"/>
                    <a:pt x="1381" y="787"/>
                  </a:cubicBezTo>
                  <a:lnTo>
                    <a:pt x="1548" y="465"/>
                  </a:lnTo>
                  <a:cubicBezTo>
                    <a:pt x="1572" y="394"/>
                    <a:pt x="1643" y="346"/>
                    <a:pt x="1739" y="346"/>
                  </a:cubicBezTo>
                  <a:close/>
                  <a:moveTo>
                    <a:pt x="1703" y="1"/>
                  </a:moveTo>
                  <a:cubicBezTo>
                    <a:pt x="1489" y="1"/>
                    <a:pt x="1310" y="120"/>
                    <a:pt x="1203" y="311"/>
                  </a:cubicBezTo>
                  <a:lnTo>
                    <a:pt x="1036" y="644"/>
                  </a:lnTo>
                  <a:cubicBezTo>
                    <a:pt x="1012" y="703"/>
                    <a:pt x="953" y="739"/>
                    <a:pt x="869" y="763"/>
                  </a:cubicBezTo>
                  <a:lnTo>
                    <a:pt x="512" y="811"/>
                  </a:lnTo>
                  <a:cubicBezTo>
                    <a:pt x="310" y="834"/>
                    <a:pt x="131" y="989"/>
                    <a:pt x="60" y="1192"/>
                  </a:cubicBezTo>
                  <a:cubicBezTo>
                    <a:pt x="0" y="1406"/>
                    <a:pt x="36" y="1620"/>
                    <a:pt x="203" y="1775"/>
                  </a:cubicBezTo>
                  <a:lnTo>
                    <a:pt x="500" y="2025"/>
                  </a:lnTo>
                  <a:cubicBezTo>
                    <a:pt x="548" y="2073"/>
                    <a:pt x="572" y="2144"/>
                    <a:pt x="560" y="2216"/>
                  </a:cubicBezTo>
                  <a:lnTo>
                    <a:pt x="500" y="2573"/>
                  </a:lnTo>
                  <a:cubicBezTo>
                    <a:pt x="477" y="2787"/>
                    <a:pt x="548" y="2989"/>
                    <a:pt x="727" y="3120"/>
                  </a:cubicBezTo>
                  <a:cubicBezTo>
                    <a:pt x="834" y="3204"/>
                    <a:pt x="929" y="3228"/>
                    <a:pt x="1048" y="3228"/>
                  </a:cubicBezTo>
                  <a:cubicBezTo>
                    <a:pt x="1143" y="3228"/>
                    <a:pt x="1227" y="3216"/>
                    <a:pt x="1322" y="3168"/>
                  </a:cubicBezTo>
                  <a:lnTo>
                    <a:pt x="1631" y="3001"/>
                  </a:lnTo>
                  <a:cubicBezTo>
                    <a:pt x="1661" y="2989"/>
                    <a:pt x="1694" y="2983"/>
                    <a:pt x="1727" y="2983"/>
                  </a:cubicBezTo>
                  <a:cubicBezTo>
                    <a:pt x="1759" y="2983"/>
                    <a:pt x="1792" y="2989"/>
                    <a:pt x="1822" y="3001"/>
                  </a:cubicBezTo>
                  <a:lnTo>
                    <a:pt x="2143" y="3168"/>
                  </a:lnTo>
                  <a:cubicBezTo>
                    <a:pt x="2227" y="3215"/>
                    <a:pt x="2318" y="3239"/>
                    <a:pt x="2409" y="3239"/>
                  </a:cubicBezTo>
                  <a:cubicBezTo>
                    <a:pt x="2524" y="3239"/>
                    <a:pt x="2639" y="3200"/>
                    <a:pt x="2739" y="3120"/>
                  </a:cubicBezTo>
                  <a:cubicBezTo>
                    <a:pt x="2917" y="2989"/>
                    <a:pt x="2989" y="2787"/>
                    <a:pt x="2953" y="2573"/>
                  </a:cubicBezTo>
                  <a:lnTo>
                    <a:pt x="2894" y="2216"/>
                  </a:lnTo>
                  <a:cubicBezTo>
                    <a:pt x="2882" y="2144"/>
                    <a:pt x="2917" y="2085"/>
                    <a:pt x="2953" y="2025"/>
                  </a:cubicBezTo>
                  <a:lnTo>
                    <a:pt x="3215" y="1775"/>
                  </a:lnTo>
                  <a:cubicBezTo>
                    <a:pt x="3358" y="1620"/>
                    <a:pt x="3417" y="1406"/>
                    <a:pt x="3358" y="1192"/>
                  </a:cubicBezTo>
                  <a:cubicBezTo>
                    <a:pt x="3298" y="989"/>
                    <a:pt x="3120" y="834"/>
                    <a:pt x="2894" y="811"/>
                  </a:cubicBezTo>
                  <a:lnTo>
                    <a:pt x="2536" y="763"/>
                  </a:lnTo>
                  <a:cubicBezTo>
                    <a:pt x="2465" y="739"/>
                    <a:pt x="2405" y="703"/>
                    <a:pt x="2382" y="644"/>
                  </a:cubicBezTo>
                  <a:lnTo>
                    <a:pt x="2215" y="311"/>
                  </a:lnTo>
                  <a:cubicBezTo>
                    <a:pt x="2120" y="120"/>
                    <a:pt x="1929"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64" name="Google Shape;10364;p59"/>
          <p:cNvGrpSpPr/>
          <p:nvPr/>
        </p:nvGrpSpPr>
        <p:grpSpPr>
          <a:xfrm>
            <a:off x="1805901" y="1960358"/>
            <a:ext cx="284847" cy="373627"/>
            <a:chOff x="1805901" y="1960358"/>
            <a:chExt cx="284847" cy="373627"/>
          </a:xfrm>
        </p:grpSpPr>
        <p:sp>
          <p:nvSpPr>
            <p:cNvPr id="10365" name="Google Shape;10365;p59"/>
            <p:cNvSpPr/>
            <p:nvPr/>
          </p:nvSpPr>
          <p:spPr>
            <a:xfrm>
              <a:off x="1805901" y="1960358"/>
              <a:ext cx="284847" cy="373627"/>
            </a:xfrm>
            <a:custGeom>
              <a:avLst/>
              <a:gdLst/>
              <a:ahLst/>
              <a:cxnLst/>
              <a:rect l="l" t="t" r="r" b="b"/>
              <a:pathLst>
                <a:path w="8942" h="11729" extrusionOk="0">
                  <a:moveTo>
                    <a:pt x="8525" y="9395"/>
                  </a:moveTo>
                  <a:lnTo>
                    <a:pt x="8525" y="9764"/>
                  </a:lnTo>
                  <a:lnTo>
                    <a:pt x="3358" y="9764"/>
                  </a:lnTo>
                  <a:cubicBezTo>
                    <a:pt x="3239" y="9764"/>
                    <a:pt x="3155" y="9859"/>
                    <a:pt x="3155" y="9978"/>
                  </a:cubicBezTo>
                  <a:cubicBezTo>
                    <a:pt x="3155" y="10097"/>
                    <a:pt x="3239" y="10180"/>
                    <a:pt x="3358" y="10180"/>
                  </a:cubicBezTo>
                  <a:lnTo>
                    <a:pt x="8525" y="10180"/>
                  </a:lnTo>
                  <a:lnTo>
                    <a:pt x="8525" y="10490"/>
                  </a:lnTo>
                  <a:lnTo>
                    <a:pt x="6775" y="10490"/>
                  </a:lnTo>
                  <a:cubicBezTo>
                    <a:pt x="6656" y="10490"/>
                    <a:pt x="6561" y="10585"/>
                    <a:pt x="6561" y="10704"/>
                  </a:cubicBezTo>
                  <a:cubicBezTo>
                    <a:pt x="6561" y="10823"/>
                    <a:pt x="6656" y="10907"/>
                    <a:pt x="6775" y="10907"/>
                  </a:cubicBezTo>
                  <a:lnTo>
                    <a:pt x="8525" y="10907"/>
                  </a:lnTo>
                  <a:lnTo>
                    <a:pt x="8525" y="11264"/>
                  </a:lnTo>
                  <a:lnTo>
                    <a:pt x="1381" y="11264"/>
                  </a:lnTo>
                  <a:cubicBezTo>
                    <a:pt x="857" y="11264"/>
                    <a:pt x="441" y="10847"/>
                    <a:pt x="441" y="10335"/>
                  </a:cubicBezTo>
                  <a:cubicBezTo>
                    <a:pt x="441" y="10073"/>
                    <a:pt x="548" y="9835"/>
                    <a:pt x="715" y="9657"/>
                  </a:cubicBezTo>
                  <a:cubicBezTo>
                    <a:pt x="893" y="9478"/>
                    <a:pt x="1131" y="9395"/>
                    <a:pt x="1381" y="9395"/>
                  </a:cubicBezTo>
                  <a:close/>
                  <a:moveTo>
                    <a:pt x="1369" y="1"/>
                  </a:moveTo>
                  <a:cubicBezTo>
                    <a:pt x="619" y="1"/>
                    <a:pt x="0" y="620"/>
                    <a:pt x="0" y="1370"/>
                  </a:cubicBezTo>
                  <a:lnTo>
                    <a:pt x="0" y="10359"/>
                  </a:lnTo>
                  <a:cubicBezTo>
                    <a:pt x="0" y="11109"/>
                    <a:pt x="607" y="11728"/>
                    <a:pt x="1369" y="11728"/>
                  </a:cubicBezTo>
                  <a:lnTo>
                    <a:pt x="8739" y="11728"/>
                  </a:lnTo>
                  <a:cubicBezTo>
                    <a:pt x="8858" y="11728"/>
                    <a:pt x="8942" y="11645"/>
                    <a:pt x="8942" y="11526"/>
                  </a:cubicBezTo>
                  <a:lnTo>
                    <a:pt x="8942" y="2191"/>
                  </a:lnTo>
                  <a:cubicBezTo>
                    <a:pt x="8942" y="2072"/>
                    <a:pt x="8858" y="1989"/>
                    <a:pt x="8739" y="1989"/>
                  </a:cubicBezTo>
                  <a:cubicBezTo>
                    <a:pt x="8620" y="1989"/>
                    <a:pt x="8525" y="2072"/>
                    <a:pt x="8525" y="2191"/>
                  </a:cubicBezTo>
                  <a:lnTo>
                    <a:pt x="8525" y="8990"/>
                  </a:lnTo>
                  <a:lnTo>
                    <a:pt x="1596" y="8990"/>
                  </a:lnTo>
                  <a:lnTo>
                    <a:pt x="1596" y="7787"/>
                  </a:lnTo>
                  <a:cubicBezTo>
                    <a:pt x="1596" y="7668"/>
                    <a:pt x="1500" y="7585"/>
                    <a:pt x="1381" y="7585"/>
                  </a:cubicBezTo>
                  <a:cubicBezTo>
                    <a:pt x="1262" y="7585"/>
                    <a:pt x="1179" y="7668"/>
                    <a:pt x="1179" y="7787"/>
                  </a:cubicBezTo>
                  <a:lnTo>
                    <a:pt x="1179" y="9002"/>
                  </a:lnTo>
                  <a:cubicBezTo>
                    <a:pt x="905" y="9049"/>
                    <a:pt x="655" y="9168"/>
                    <a:pt x="441" y="9359"/>
                  </a:cubicBezTo>
                  <a:lnTo>
                    <a:pt x="441" y="1370"/>
                  </a:lnTo>
                  <a:cubicBezTo>
                    <a:pt x="441" y="929"/>
                    <a:pt x="762" y="548"/>
                    <a:pt x="1179" y="465"/>
                  </a:cubicBezTo>
                  <a:lnTo>
                    <a:pt x="1179" y="7109"/>
                  </a:lnTo>
                  <a:cubicBezTo>
                    <a:pt x="1179" y="7228"/>
                    <a:pt x="1262" y="7311"/>
                    <a:pt x="1381" y="7311"/>
                  </a:cubicBezTo>
                  <a:cubicBezTo>
                    <a:pt x="1500" y="7311"/>
                    <a:pt x="1596" y="7216"/>
                    <a:pt x="1596" y="7109"/>
                  </a:cubicBezTo>
                  <a:lnTo>
                    <a:pt x="1596" y="441"/>
                  </a:lnTo>
                  <a:lnTo>
                    <a:pt x="8525" y="441"/>
                  </a:lnTo>
                  <a:lnTo>
                    <a:pt x="8525" y="1489"/>
                  </a:lnTo>
                  <a:cubicBezTo>
                    <a:pt x="8525" y="1608"/>
                    <a:pt x="8620" y="1703"/>
                    <a:pt x="8739" y="1703"/>
                  </a:cubicBezTo>
                  <a:cubicBezTo>
                    <a:pt x="8847" y="1703"/>
                    <a:pt x="8942" y="1608"/>
                    <a:pt x="8942" y="1489"/>
                  </a:cubicBezTo>
                  <a:lnTo>
                    <a:pt x="8942" y="215"/>
                  </a:lnTo>
                  <a:cubicBezTo>
                    <a:pt x="8942" y="96"/>
                    <a:pt x="8847" y="1"/>
                    <a:pt x="8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6" name="Google Shape;10366;p59"/>
            <p:cNvSpPr/>
            <p:nvPr/>
          </p:nvSpPr>
          <p:spPr>
            <a:xfrm>
              <a:off x="1841929" y="2295249"/>
              <a:ext cx="165773" cy="13315"/>
            </a:xfrm>
            <a:custGeom>
              <a:avLst/>
              <a:gdLst/>
              <a:ahLst/>
              <a:cxnLst/>
              <a:rect l="l" t="t" r="r" b="b"/>
              <a:pathLst>
                <a:path w="5204" h="418" extrusionOk="0">
                  <a:moveTo>
                    <a:pt x="203" y="1"/>
                  </a:moveTo>
                  <a:cubicBezTo>
                    <a:pt x="84" y="1"/>
                    <a:pt x="0" y="84"/>
                    <a:pt x="0" y="203"/>
                  </a:cubicBezTo>
                  <a:cubicBezTo>
                    <a:pt x="0" y="322"/>
                    <a:pt x="84" y="418"/>
                    <a:pt x="203" y="418"/>
                  </a:cubicBezTo>
                  <a:lnTo>
                    <a:pt x="5001" y="418"/>
                  </a:lnTo>
                  <a:cubicBezTo>
                    <a:pt x="5120" y="418"/>
                    <a:pt x="5203" y="322"/>
                    <a:pt x="5203" y="203"/>
                  </a:cubicBezTo>
                  <a:cubicBezTo>
                    <a:pt x="5203" y="84"/>
                    <a:pt x="5120" y="1"/>
                    <a:pt x="5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67" name="Google Shape;10367;p59"/>
          <p:cNvSpPr/>
          <p:nvPr/>
        </p:nvSpPr>
        <p:spPr>
          <a:xfrm>
            <a:off x="3505429" y="1980076"/>
            <a:ext cx="342505" cy="334191"/>
          </a:xfrm>
          <a:custGeom>
            <a:avLst/>
            <a:gdLst/>
            <a:ahLst/>
            <a:cxnLst/>
            <a:rect l="l" t="t" r="r" b="b"/>
            <a:pathLst>
              <a:path w="10752" h="10491" extrusionOk="0">
                <a:moveTo>
                  <a:pt x="9632" y="1406"/>
                </a:moveTo>
                <a:lnTo>
                  <a:pt x="9632" y="2418"/>
                </a:lnTo>
                <a:lnTo>
                  <a:pt x="3584" y="2418"/>
                </a:lnTo>
                <a:lnTo>
                  <a:pt x="3584" y="1918"/>
                </a:lnTo>
                <a:cubicBezTo>
                  <a:pt x="3584" y="1787"/>
                  <a:pt x="3477" y="1680"/>
                  <a:pt x="3346" y="1680"/>
                </a:cubicBezTo>
                <a:lnTo>
                  <a:pt x="1905" y="1680"/>
                </a:lnTo>
                <a:cubicBezTo>
                  <a:pt x="1774" y="1680"/>
                  <a:pt x="1667" y="1787"/>
                  <a:pt x="1667" y="1918"/>
                </a:cubicBezTo>
                <a:lnTo>
                  <a:pt x="1667" y="2358"/>
                </a:lnTo>
                <a:cubicBezTo>
                  <a:pt x="1500" y="2275"/>
                  <a:pt x="1381" y="2108"/>
                  <a:pt x="1381" y="1918"/>
                </a:cubicBezTo>
                <a:cubicBezTo>
                  <a:pt x="1381" y="1632"/>
                  <a:pt x="1607" y="1406"/>
                  <a:pt x="1893" y="1406"/>
                </a:cubicBezTo>
                <a:close/>
                <a:moveTo>
                  <a:pt x="3131" y="2156"/>
                </a:moveTo>
                <a:lnTo>
                  <a:pt x="3131" y="3168"/>
                </a:lnTo>
                <a:lnTo>
                  <a:pt x="2739" y="3001"/>
                </a:lnTo>
                <a:cubicBezTo>
                  <a:pt x="2709" y="2989"/>
                  <a:pt x="2679" y="2983"/>
                  <a:pt x="2649" y="2983"/>
                </a:cubicBezTo>
                <a:cubicBezTo>
                  <a:pt x="2620" y="2983"/>
                  <a:pt x="2590" y="2989"/>
                  <a:pt x="2560" y="3001"/>
                </a:cubicBezTo>
                <a:lnTo>
                  <a:pt x="2143" y="3180"/>
                </a:lnTo>
                <a:lnTo>
                  <a:pt x="2143" y="2156"/>
                </a:lnTo>
                <a:close/>
                <a:moveTo>
                  <a:pt x="10275" y="2882"/>
                </a:moveTo>
                <a:lnTo>
                  <a:pt x="10275" y="3346"/>
                </a:lnTo>
                <a:lnTo>
                  <a:pt x="3584" y="3346"/>
                </a:lnTo>
                <a:lnTo>
                  <a:pt x="3584" y="2882"/>
                </a:lnTo>
                <a:close/>
                <a:moveTo>
                  <a:pt x="8823" y="4728"/>
                </a:moveTo>
                <a:cubicBezTo>
                  <a:pt x="9108" y="4728"/>
                  <a:pt x="9335" y="4954"/>
                  <a:pt x="9335" y="5239"/>
                </a:cubicBezTo>
                <a:cubicBezTo>
                  <a:pt x="9335" y="5430"/>
                  <a:pt x="9216" y="5609"/>
                  <a:pt x="9049" y="5680"/>
                </a:cubicBezTo>
                <a:lnTo>
                  <a:pt x="9049" y="5239"/>
                </a:lnTo>
                <a:cubicBezTo>
                  <a:pt x="9049" y="5097"/>
                  <a:pt x="8942" y="4989"/>
                  <a:pt x="8811" y="4989"/>
                </a:cubicBezTo>
                <a:lnTo>
                  <a:pt x="7358" y="4989"/>
                </a:lnTo>
                <a:cubicBezTo>
                  <a:pt x="7215" y="4989"/>
                  <a:pt x="7120" y="5097"/>
                  <a:pt x="7120" y="5239"/>
                </a:cubicBezTo>
                <a:lnTo>
                  <a:pt x="7120" y="5740"/>
                </a:lnTo>
                <a:lnTo>
                  <a:pt x="1060" y="5740"/>
                </a:lnTo>
                <a:lnTo>
                  <a:pt x="1060" y="4728"/>
                </a:lnTo>
                <a:close/>
                <a:moveTo>
                  <a:pt x="8608" y="5454"/>
                </a:moveTo>
                <a:lnTo>
                  <a:pt x="8608" y="6502"/>
                </a:lnTo>
                <a:lnTo>
                  <a:pt x="8192" y="6323"/>
                </a:lnTo>
                <a:cubicBezTo>
                  <a:pt x="8156" y="6311"/>
                  <a:pt x="8132" y="6311"/>
                  <a:pt x="8096" y="6311"/>
                </a:cubicBezTo>
                <a:cubicBezTo>
                  <a:pt x="8073" y="6311"/>
                  <a:pt x="8037" y="6311"/>
                  <a:pt x="8013" y="6323"/>
                </a:cubicBezTo>
                <a:lnTo>
                  <a:pt x="7620" y="6490"/>
                </a:lnTo>
                <a:lnTo>
                  <a:pt x="7620" y="5454"/>
                </a:lnTo>
                <a:close/>
                <a:moveTo>
                  <a:pt x="8846" y="3811"/>
                </a:moveTo>
                <a:cubicBezTo>
                  <a:pt x="9632" y="3811"/>
                  <a:pt x="10275" y="4442"/>
                  <a:pt x="10275" y="5251"/>
                </a:cubicBezTo>
                <a:cubicBezTo>
                  <a:pt x="10275" y="5632"/>
                  <a:pt x="10120" y="5990"/>
                  <a:pt x="9859" y="6263"/>
                </a:cubicBezTo>
                <a:cubicBezTo>
                  <a:pt x="9632" y="6490"/>
                  <a:pt x="9358" y="6621"/>
                  <a:pt x="9061" y="6668"/>
                </a:cubicBezTo>
                <a:lnTo>
                  <a:pt x="9061" y="6192"/>
                </a:lnTo>
                <a:cubicBezTo>
                  <a:pt x="9501" y="6085"/>
                  <a:pt x="9811" y="5692"/>
                  <a:pt x="9811" y="5239"/>
                </a:cubicBezTo>
                <a:cubicBezTo>
                  <a:pt x="9811" y="4704"/>
                  <a:pt x="9382" y="4263"/>
                  <a:pt x="8846" y="4263"/>
                </a:cubicBezTo>
                <a:lnTo>
                  <a:pt x="476" y="4263"/>
                </a:lnTo>
                <a:lnTo>
                  <a:pt x="476" y="3811"/>
                </a:lnTo>
                <a:close/>
                <a:moveTo>
                  <a:pt x="7144" y="6216"/>
                </a:moveTo>
                <a:lnTo>
                  <a:pt x="7144" y="6680"/>
                </a:lnTo>
                <a:lnTo>
                  <a:pt x="464" y="6680"/>
                </a:lnTo>
                <a:lnTo>
                  <a:pt x="464" y="6216"/>
                </a:lnTo>
                <a:close/>
                <a:moveTo>
                  <a:pt x="9632" y="8073"/>
                </a:moveTo>
                <a:lnTo>
                  <a:pt x="9632" y="9085"/>
                </a:lnTo>
                <a:lnTo>
                  <a:pt x="3584" y="9085"/>
                </a:lnTo>
                <a:lnTo>
                  <a:pt x="3584" y="8585"/>
                </a:lnTo>
                <a:cubicBezTo>
                  <a:pt x="3584" y="8454"/>
                  <a:pt x="3477" y="8347"/>
                  <a:pt x="3346" y="8347"/>
                </a:cubicBezTo>
                <a:lnTo>
                  <a:pt x="1905" y="8347"/>
                </a:lnTo>
                <a:cubicBezTo>
                  <a:pt x="1774" y="8347"/>
                  <a:pt x="1667" y="8454"/>
                  <a:pt x="1667" y="8585"/>
                </a:cubicBezTo>
                <a:lnTo>
                  <a:pt x="1667" y="9026"/>
                </a:lnTo>
                <a:cubicBezTo>
                  <a:pt x="1500" y="8942"/>
                  <a:pt x="1381" y="8776"/>
                  <a:pt x="1381" y="8585"/>
                </a:cubicBezTo>
                <a:cubicBezTo>
                  <a:pt x="1381" y="8299"/>
                  <a:pt x="1607" y="8073"/>
                  <a:pt x="1893" y="8073"/>
                </a:cubicBezTo>
                <a:close/>
                <a:moveTo>
                  <a:pt x="3131" y="8823"/>
                </a:moveTo>
                <a:lnTo>
                  <a:pt x="3131" y="9835"/>
                </a:lnTo>
                <a:lnTo>
                  <a:pt x="2739" y="9669"/>
                </a:lnTo>
                <a:cubicBezTo>
                  <a:pt x="2709" y="9657"/>
                  <a:pt x="2679" y="9651"/>
                  <a:pt x="2649" y="9651"/>
                </a:cubicBezTo>
                <a:cubicBezTo>
                  <a:pt x="2620" y="9651"/>
                  <a:pt x="2590" y="9657"/>
                  <a:pt x="2560" y="9669"/>
                </a:cubicBezTo>
                <a:lnTo>
                  <a:pt x="2143" y="9847"/>
                </a:lnTo>
                <a:lnTo>
                  <a:pt x="2143" y="8823"/>
                </a:lnTo>
                <a:close/>
                <a:moveTo>
                  <a:pt x="10275" y="7144"/>
                </a:moveTo>
                <a:lnTo>
                  <a:pt x="10275" y="7597"/>
                </a:lnTo>
                <a:lnTo>
                  <a:pt x="1905" y="7597"/>
                </a:lnTo>
                <a:cubicBezTo>
                  <a:pt x="1369" y="7597"/>
                  <a:pt x="941" y="8037"/>
                  <a:pt x="941" y="8573"/>
                </a:cubicBezTo>
                <a:cubicBezTo>
                  <a:pt x="941" y="9026"/>
                  <a:pt x="1250" y="9419"/>
                  <a:pt x="1679" y="9526"/>
                </a:cubicBezTo>
                <a:lnTo>
                  <a:pt x="1679" y="10002"/>
                </a:lnTo>
                <a:cubicBezTo>
                  <a:pt x="1381" y="9954"/>
                  <a:pt x="1119" y="9800"/>
                  <a:pt x="893" y="9597"/>
                </a:cubicBezTo>
                <a:cubicBezTo>
                  <a:pt x="631" y="9323"/>
                  <a:pt x="476" y="8954"/>
                  <a:pt x="476" y="8585"/>
                </a:cubicBezTo>
                <a:cubicBezTo>
                  <a:pt x="476" y="7787"/>
                  <a:pt x="1119" y="7144"/>
                  <a:pt x="1917" y="7144"/>
                </a:cubicBezTo>
                <a:close/>
                <a:moveTo>
                  <a:pt x="1917" y="1"/>
                </a:moveTo>
                <a:cubicBezTo>
                  <a:pt x="881" y="1"/>
                  <a:pt x="12" y="846"/>
                  <a:pt x="12" y="1906"/>
                </a:cubicBezTo>
                <a:cubicBezTo>
                  <a:pt x="12" y="2406"/>
                  <a:pt x="214" y="2882"/>
                  <a:pt x="572" y="3239"/>
                </a:cubicBezTo>
                <a:cubicBezTo>
                  <a:pt x="595" y="3275"/>
                  <a:pt x="631" y="3299"/>
                  <a:pt x="667" y="3334"/>
                </a:cubicBezTo>
                <a:lnTo>
                  <a:pt x="238" y="3334"/>
                </a:lnTo>
                <a:cubicBezTo>
                  <a:pt x="107" y="3334"/>
                  <a:pt x="0" y="3430"/>
                  <a:pt x="0" y="3573"/>
                </a:cubicBezTo>
                <a:lnTo>
                  <a:pt x="0" y="4489"/>
                </a:lnTo>
                <a:cubicBezTo>
                  <a:pt x="0" y="4620"/>
                  <a:pt x="107" y="4728"/>
                  <a:pt x="238" y="4728"/>
                </a:cubicBezTo>
                <a:lnTo>
                  <a:pt x="631" y="4728"/>
                </a:lnTo>
                <a:lnTo>
                  <a:pt x="631" y="5751"/>
                </a:lnTo>
                <a:lnTo>
                  <a:pt x="238" y="5751"/>
                </a:lnTo>
                <a:cubicBezTo>
                  <a:pt x="107" y="5751"/>
                  <a:pt x="0" y="5859"/>
                  <a:pt x="0" y="5990"/>
                </a:cubicBezTo>
                <a:lnTo>
                  <a:pt x="0" y="6918"/>
                </a:lnTo>
                <a:cubicBezTo>
                  <a:pt x="0" y="7049"/>
                  <a:pt x="107" y="7156"/>
                  <a:pt x="238" y="7156"/>
                </a:cubicBezTo>
                <a:lnTo>
                  <a:pt x="667" y="7156"/>
                </a:lnTo>
                <a:cubicBezTo>
                  <a:pt x="274" y="7502"/>
                  <a:pt x="12" y="8014"/>
                  <a:pt x="12" y="8597"/>
                </a:cubicBezTo>
                <a:cubicBezTo>
                  <a:pt x="12" y="9109"/>
                  <a:pt x="214" y="9585"/>
                  <a:pt x="572" y="9942"/>
                </a:cubicBezTo>
                <a:cubicBezTo>
                  <a:pt x="929" y="10300"/>
                  <a:pt x="1405" y="10490"/>
                  <a:pt x="1905" y="10490"/>
                </a:cubicBezTo>
                <a:lnTo>
                  <a:pt x="5394" y="10490"/>
                </a:lnTo>
                <a:cubicBezTo>
                  <a:pt x="5525" y="10490"/>
                  <a:pt x="5632" y="10383"/>
                  <a:pt x="5632" y="10252"/>
                </a:cubicBezTo>
                <a:cubicBezTo>
                  <a:pt x="5632" y="10121"/>
                  <a:pt x="5525" y="10014"/>
                  <a:pt x="5394" y="10014"/>
                </a:cubicBezTo>
                <a:lnTo>
                  <a:pt x="3584" y="10014"/>
                </a:lnTo>
                <a:lnTo>
                  <a:pt x="3584" y="9550"/>
                </a:lnTo>
                <a:lnTo>
                  <a:pt x="10275" y="9550"/>
                </a:lnTo>
                <a:lnTo>
                  <a:pt x="10275" y="10014"/>
                </a:lnTo>
                <a:lnTo>
                  <a:pt x="6477" y="10014"/>
                </a:lnTo>
                <a:cubicBezTo>
                  <a:pt x="6346" y="10014"/>
                  <a:pt x="6239" y="10121"/>
                  <a:pt x="6239" y="10252"/>
                </a:cubicBezTo>
                <a:cubicBezTo>
                  <a:pt x="6239" y="10383"/>
                  <a:pt x="6346" y="10490"/>
                  <a:pt x="6477" y="10490"/>
                </a:cubicBezTo>
                <a:lnTo>
                  <a:pt x="10513" y="10490"/>
                </a:lnTo>
                <a:cubicBezTo>
                  <a:pt x="10644" y="10490"/>
                  <a:pt x="10751" y="10383"/>
                  <a:pt x="10751" y="10252"/>
                </a:cubicBezTo>
                <a:lnTo>
                  <a:pt x="10751" y="9323"/>
                </a:lnTo>
                <a:cubicBezTo>
                  <a:pt x="10751" y="9192"/>
                  <a:pt x="10644" y="9085"/>
                  <a:pt x="10513" y="9085"/>
                </a:cubicBezTo>
                <a:lnTo>
                  <a:pt x="10120" y="9085"/>
                </a:lnTo>
                <a:lnTo>
                  <a:pt x="10120" y="8061"/>
                </a:lnTo>
                <a:lnTo>
                  <a:pt x="10513" y="8061"/>
                </a:lnTo>
                <a:cubicBezTo>
                  <a:pt x="10644" y="8061"/>
                  <a:pt x="10751" y="7954"/>
                  <a:pt x="10751" y="7823"/>
                </a:cubicBezTo>
                <a:lnTo>
                  <a:pt x="10751" y="6906"/>
                </a:lnTo>
                <a:cubicBezTo>
                  <a:pt x="10751" y="6763"/>
                  <a:pt x="10644" y="6668"/>
                  <a:pt x="10513" y="6668"/>
                </a:cubicBezTo>
                <a:lnTo>
                  <a:pt x="10073" y="6668"/>
                </a:lnTo>
                <a:cubicBezTo>
                  <a:pt x="10109" y="6633"/>
                  <a:pt x="10156" y="6609"/>
                  <a:pt x="10180" y="6573"/>
                </a:cubicBezTo>
                <a:cubicBezTo>
                  <a:pt x="10537" y="6216"/>
                  <a:pt x="10728" y="5740"/>
                  <a:pt x="10728" y="5239"/>
                </a:cubicBezTo>
                <a:cubicBezTo>
                  <a:pt x="10728" y="4656"/>
                  <a:pt x="10478" y="4144"/>
                  <a:pt x="10073" y="3787"/>
                </a:cubicBezTo>
                <a:lnTo>
                  <a:pt x="10513" y="3787"/>
                </a:lnTo>
                <a:cubicBezTo>
                  <a:pt x="10644" y="3787"/>
                  <a:pt x="10751" y="3692"/>
                  <a:pt x="10751" y="3549"/>
                </a:cubicBezTo>
                <a:lnTo>
                  <a:pt x="10751" y="2632"/>
                </a:lnTo>
                <a:cubicBezTo>
                  <a:pt x="10751" y="2501"/>
                  <a:pt x="10644" y="2394"/>
                  <a:pt x="10513" y="2394"/>
                </a:cubicBezTo>
                <a:lnTo>
                  <a:pt x="10120" y="2394"/>
                </a:lnTo>
                <a:lnTo>
                  <a:pt x="10120" y="1370"/>
                </a:lnTo>
                <a:lnTo>
                  <a:pt x="10513" y="1394"/>
                </a:lnTo>
                <a:cubicBezTo>
                  <a:pt x="10644" y="1394"/>
                  <a:pt x="10751" y="1287"/>
                  <a:pt x="10751" y="1156"/>
                </a:cubicBezTo>
                <a:lnTo>
                  <a:pt x="10751" y="239"/>
                </a:lnTo>
                <a:cubicBezTo>
                  <a:pt x="10751" y="96"/>
                  <a:pt x="10644" y="1"/>
                  <a:pt x="10513" y="1"/>
                </a:cubicBezTo>
                <a:lnTo>
                  <a:pt x="8942" y="1"/>
                </a:lnTo>
                <a:cubicBezTo>
                  <a:pt x="8811" y="1"/>
                  <a:pt x="8704" y="96"/>
                  <a:pt x="8704" y="239"/>
                </a:cubicBezTo>
                <a:cubicBezTo>
                  <a:pt x="8704" y="370"/>
                  <a:pt x="8811" y="477"/>
                  <a:pt x="8942" y="477"/>
                </a:cubicBezTo>
                <a:lnTo>
                  <a:pt x="10287" y="477"/>
                </a:lnTo>
                <a:lnTo>
                  <a:pt x="10287" y="929"/>
                </a:lnTo>
                <a:lnTo>
                  <a:pt x="1905" y="929"/>
                </a:lnTo>
                <a:cubicBezTo>
                  <a:pt x="1369" y="929"/>
                  <a:pt x="941" y="1370"/>
                  <a:pt x="941" y="1906"/>
                </a:cubicBezTo>
                <a:cubicBezTo>
                  <a:pt x="941" y="2358"/>
                  <a:pt x="1250" y="2751"/>
                  <a:pt x="1679" y="2858"/>
                </a:cubicBezTo>
                <a:lnTo>
                  <a:pt x="1679" y="3334"/>
                </a:lnTo>
                <a:cubicBezTo>
                  <a:pt x="1381" y="3287"/>
                  <a:pt x="1119" y="3156"/>
                  <a:pt x="893" y="2930"/>
                </a:cubicBezTo>
                <a:cubicBezTo>
                  <a:pt x="631" y="2656"/>
                  <a:pt x="476" y="2287"/>
                  <a:pt x="476" y="1918"/>
                </a:cubicBezTo>
                <a:cubicBezTo>
                  <a:pt x="476" y="1132"/>
                  <a:pt x="1119" y="477"/>
                  <a:pt x="1917" y="477"/>
                </a:cubicBezTo>
                <a:lnTo>
                  <a:pt x="7870" y="477"/>
                </a:lnTo>
                <a:cubicBezTo>
                  <a:pt x="8013" y="477"/>
                  <a:pt x="8108" y="370"/>
                  <a:pt x="8108" y="239"/>
                </a:cubicBezTo>
                <a:cubicBezTo>
                  <a:pt x="8108" y="96"/>
                  <a:pt x="8013" y="1"/>
                  <a:pt x="7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8" name="Google Shape;10368;p59"/>
          <p:cNvSpPr/>
          <p:nvPr/>
        </p:nvSpPr>
        <p:spPr>
          <a:xfrm>
            <a:off x="7100552" y="1984249"/>
            <a:ext cx="368690" cy="334541"/>
          </a:xfrm>
          <a:custGeom>
            <a:avLst/>
            <a:gdLst/>
            <a:ahLst/>
            <a:cxnLst/>
            <a:rect l="l" t="t" r="r" b="b"/>
            <a:pathLst>
              <a:path w="11574" h="10502" extrusionOk="0">
                <a:moveTo>
                  <a:pt x="4370" y="1560"/>
                </a:moveTo>
                <a:lnTo>
                  <a:pt x="4287" y="2668"/>
                </a:lnTo>
                <a:cubicBezTo>
                  <a:pt x="4287" y="2692"/>
                  <a:pt x="4251" y="2703"/>
                  <a:pt x="4227" y="2703"/>
                </a:cubicBezTo>
                <a:lnTo>
                  <a:pt x="3525" y="2703"/>
                </a:lnTo>
                <a:cubicBezTo>
                  <a:pt x="3489" y="2703"/>
                  <a:pt x="3465" y="2680"/>
                  <a:pt x="3465" y="2668"/>
                </a:cubicBezTo>
                <a:lnTo>
                  <a:pt x="3358" y="1560"/>
                </a:lnTo>
                <a:close/>
                <a:moveTo>
                  <a:pt x="1084" y="3442"/>
                </a:moveTo>
                <a:cubicBezTo>
                  <a:pt x="2048" y="3525"/>
                  <a:pt x="2858" y="4335"/>
                  <a:pt x="2941" y="5311"/>
                </a:cubicBezTo>
                <a:lnTo>
                  <a:pt x="1084" y="5311"/>
                </a:lnTo>
                <a:lnTo>
                  <a:pt x="1084" y="3442"/>
                </a:lnTo>
                <a:close/>
                <a:moveTo>
                  <a:pt x="3989" y="5656"/>
                </a:moveTo>
                <a:lnTo>
                  <a:pt x="3989" y="8264"/>
                </a:lnTo>
                <a:lnTo>
                  <a:pt x="1072" y="8264"/>
                </a:lnTo>
                <a:lnTo>
                  <a:pt x="1072" y="5656"/>
                </a:lnTo>
                <a:close/>
                <a:moveTo>
                  <a:pt x="2370" y="8585"/>
                </a:moveTo>
                <a:lnTo>
                  <a:pt x="2370" y="10192"/>
                </a:lnTo>
                <a:lnTo>
                  <a:pt x="2191" y="10192"/>
                </a:lnTo>
                <a:lnTo>
                  <a:pt x="2191" y="8585"/>
                </a:lnTo>
                <a:close/>
                <a:moveTo>
                  <a:pt x="11026" y="4311"/>
                </a:moveTo>
                <a:cubicBezTo>
                  <a:pt x="11133" y="4311"/>
                  <a:pt x="11216" y="4406"/>
                  <a:pt x="11216" y="4513"/>
                </a:cubicBezTo>
                <a:lnTo>
                  <a:pt x="11240" y="10192"/>
                </a:lnTo>
                <a:lnTo>
                  <a:pt x="10835" y="10192"/>
                </a:lnTo>
                <a:lnTo>
                  <a:pt x="10835" y="4513"/>
                </a:lnTo>
                <a:cubicBezTo>
                  <a:pt x="10835" y="4406"/>
                  <a:pt x="10919" y="4311"/>
                  <a:pt x="11026" y="4311"/>
                </a:cubicBezTo>
                <a:close/>
                <a:moveTo>
                  <a:pt x="2334" y="1"/>
                </a:moveTo>
                <a:cubicBezTo>
                  <a:pt x="2072" y="1"/>
                  <a:pt x="1858" y="227"/>
                  <a:pt x="1858" y="477"/>
                </a:cubicBezTo>
                <a:lnTo>
                  <a:pt x="1858" y="3263"/>
                </a:lnTo>
                <a:cubicBezTo>
                  <a:pt x="1620" y="3156"/>
                  <a:pt x="1358" y="3096"/>
                  <a:pt x="1084" y="3084"/>
                </a:cubicBezTo>
                <a:lnTo>
                  <a:pt x="1084" y="1370"/>
                </a:lnTo>
                <a:cubicBezTo>
                  <a:pt x="1084" y="1072"/>
                  <a:pt x="846" y="834"/>
                  <a:pt x="548" y="834"/>
                </a:cubicBezTo>
                <a:cubicBezTo>
                  <a:pt x="251" y="834"/>
                  <a:pt x="12" y="1072"/>
                  <a:pt x="12" y="1370"/>
                </a:cubicBezTo>
                <a:lnTo>
                  <a:pt x="12" y="4954"/>
                </a:lnTo>
                <a:cubicBezTo>
                  <a:pt x="12" y="5049"/>
                  <a:pt x="84" y="5120"/>
                  <a:pt x="179" y="5120"/>
                </a:cubicBezTo>
                <a:cubicBezTo>
                  <a:pt x="262" y="5120"/>
                  <a:pt x="346" y="5049"/>
                  <a:pt x="346" y="4954"/>
                </a:cubicBezTo>
                <a:lnTo>
                  <a:pt x="346" y="1370"/>
                </a:lnTo>
                <a:cubicBezTo>
                  <a:pt x="346" y="1263"/>
                  <a:pt x="429" y="1179"/>
                  <a:pt x="536" y="1179"/>
                </a:cubicBezTo>
                <a:cubicBezTo>
                  <a:pt x="643" y="1179"/>
                  <a:pt x="727" y="1263"/>
                  <a:pt x="727" y="1370"/>
                </a:cubicBezTo>
                <a:lnTo>
                  <a:pt x="727" y="10133"/>
                </a:lnTo>
                <a:lnTo>
                  <a:pt x="322" y="10133"/>
                </a:lnTo>
                <a:lnTo>
                  <a:pt x="322" y="5775"/>
                </a:lnTo>
                <a:cubicBezTo>
                  <a:pt x="322" y="5680"/>
                  <a:pt x="251" y="5609"/>
                  <a:pt x="167" y="5609"/>
                </a:cubicBezTo>
                <a:cubicBezTo>
                  <a:pt x="72" y="5609"/>
                  <a:pt x="0" y="5680"/>
                  <a:pt x="0" y="5775"/>
                </a:cubicBezTo>
                <a:lnTo>
                  <a:pt x="0" y="10300"/>
                </a:lnTo>
                <a:cubicBezTo>
                  <a:pt x="0" y="10383"/>
                  <a:pt x="72" y="10466"/>
                  <a:pt x="167" y="10466"/>
                </a:cubicBezTo>
                <a:lnTo>
                  <a:pt x="893" y="10466"/>
                </a:lnTo>
                <a:cubicBezTo>
                  <a:pt x="977" y="10466"/>
                  <a:pt x="1060" y="10383"/>
                  <a:pt x="1060" y="10300"/>
                </a:cubicBezTo>
                <a:lnTo>
                  <a:pt x="1060" y="8537"/>
                </a:lnTo>
                <a:lnTo>
                  <a:pt x="1834" y="8537"/>
                </a:lnTo>
                <a:lnTo>
                  <a:pt x="1834" y="10300"/>
                </a:lnTo>
                <a:cubicBezTo>
                  <a:pt x="1834" y="10383"/>
                  <a:pt x="1905" y="10466"/>
                  <a:pt x="1989" y="10466"/>
                </a:cubicBezTo>
                <a:lnTo>
                  <a:pt x="2513" y="10466"/>
                </a:lnTo>
                <a:cubicBezTo>
                  <a:pt x="2596" y="10466"/>
                  <a:pt x="2679" y="10383"/>
                  <a:pt x="2679" y="10300"/>
                </a:cubicBezTo>
                <a:lnTo>
                  <a:pt x="2679" y="8537"/>
                </a:lnTo>
                <a:lnTo>
                  <a:pt x="3965" y="8537"/>
                </a:lnTo>
                <a:lnTo>
                  <a:pt x="3965" y="8954"/>
                </a:lnTo>
                <a:cubicBezTo>
                  <a:pt x="3965" y="9049"/>
                  <a:pt x="4049" y="9121"/>
                  <a:pt x="4132" y="9121"/>
                </a:cubicBezTo>
                <a:lnTo>
                  <a:pt x="7299" y="9121"/>
                </a:lnTo>
                <a:cubicBezTo>
                  <a:pt x="7394" y="9121"/>
                  <a:pt x="7466" y="9049"/>
                  <a:pt x="7466" y="8954"/>
                </a:cubicBezTo>
                <a:cubicBezTo>
                  <a:pt x="7466" y="8871"/>
                  <a:pt x="7394" y="8799"/>
                  <a:pt x="7299" y="8799"/>
                </a:cubicBezTo>
                <a:lnTo>
                  <a:pt x="4311" y="8799"/>
                </a:lnTo>
                <a:lnTo>
                  <a:pt x="4311" y="5168"/>
                </a:lnTo>
                <a:lnTo>
                  <a:pt x="10490" y="5168"/>
                </a:lnTo>
                <a:lnTo>
                  <a:pt x="10490" y="8835"/>
                </a:lnTo>
                <a:lnTo>
                  <a:pt x="8109" y="8835"/>
                </a:lnTo>
                <a:cubicBezTo>
                  <a:pt x="8025" y="8835"/>
                  <a:pt x="7942" y="8918"/>
                  <a:pt x="7942" y="9002"/>
                </a:cubicBezTo>
                <a:cubicBezTo>
                  <a:pt x="7942" y="9097"/>
                  <a:pt x="8025" y="9168"/>
                  <a:pt x="8109" y="9168"/>
                </a:cubicBezTo>
                <a:lnTo>
                  <a:pt x="10490" y="9168"/>
                </a:lnTo>
                <a:lnTo>
                  <a:pt x="10490" y="10347"/>
                </a:lnTo>
                <a:cubicBezTo>
                  <a:pt x="10490" y="10431"/>
                  <a:pt x="10561" y="10502"/>
                  <a:pt x="10657" y="10502"/>
                </a:cubicBezTo>
                <a:lnTo>
                  <a:pt x="11383" y="10502"/>
                </a:lnTo>
                <a:cubicBezTo>
                  <a:pt x="11466" y="10502"/>
                  <a:pt x="11550" y="10431"/>
                  <a:pt x="11550" y="10347"/>
                </a:cubicBezTo>
                <a:lnTo>
                  <a:pt x="11550" y="4477"/>
                </a:lnTo>
                <a:cubicBezTo>
                  <a:pt x="11573" y="4192"/>
                  <a:pt x="11323" y="3954"/>
                  <a:pt x="11026" y="3954"/>
                </a:cubicBezTo>
                <a:cubicBezTo>
                  <a:pt x="10728" y="3954"/>
                  <a:pt x="10490" y="4192"/>
                  <a:pt x="10490" y="4489"/>
                </a:cubicBezTo>
                <a:lnTo>
                  <a:pt x="10490" y="4823"/>
                </a:lnTo>
                <a:lnTo>
                  <a:pt x="4156" y="4823"/>
                </a:lnTo>
                <a:cubicBezTo>
                  <a:pt x="4061" y="4823"/>
                  <a:pt x="3989" y="4894"/>
                  <a:pt x="3989" y="4989"/>
                </a:cubicBezTo>
                <a:lnTo>
                  <a:pt x="3989" y="5311"/>
                </a:lnTo>
                <a:lnTo>
                  <a:pt x="3275" y="5311"/>
                </a:lnTo>
                <a:cubicBezTo>
                  <a:pt x="3227" y="4787"/>
                  <a:pt x="3025" y="4311"/>
                  <a:pt x="2703" y="3930"/>
                </a:cubicBezTo>
                <a:lnTo>
                  <a:pt x="2703" y="882"/>
                </a:lnTo>
                <a:lnTo>
                  <a:pt x="3715" y="882"/>
                </a:lnTo>
                <a:lnTo>
                  <a:pt x="3715" y="1203"/>
                </a:lnTo>
                <a:lnTo>
                  <a:pt x="3203" y="1203"/>
                </a:lnTo>
                <a:cubicBezTo>
                  <a:pt x="3096" y="1203"/>
                  <a:pt x="3025" y="1298"/>
                  <a:pt x="3037" y="1394"/>
                </a:cubicBezTo>
                <a:lnTo>
                  <a:pt x="3156" y="2680"/>
                </a:lnTo>
                <a:cubicBezTo>
                  <a:pt x="3168" y="2882"/>
                  <a:pt x="3346" y="3037"/>
                  <a:pt x="3537" y="3037"/>
                </a:cubicBezTo>
                <a:lnTo>
                  <a:pt x="3715" y="3037"/>
                </a:lnTo>
                <a:lnTo>
                  <a:pt x="3715" y="3989"/>
                </a:lnTo>
                <a:cubicBezTo>
                  <a:pt x="3715" y="4073"/>
                  <a:pt x="3799" y="4156"/>
                  <a:pt x="3882" y="4156"/>
                </a:cubicBezTo>
                <a:cubicBezTo>
                  <a:pt x="3977" y="4156"/>
                  <a:pt x="4049" y="4073"/>
                  <a:pt x="4049" y="3989"/>
                </a:cubicBezTo>
                <a:lnTo>
                  <a:pt x="4049" y="3037"/>
                </a:lnTo>
                <a:lnTo>
                  <a:pt x="4227" y="3037"/>
                </a:lnTo>
                <a:cubicBezTo>
                  <a:pt x="4430" y="3037"/>
                  <a:pt x="4596" y="2882"/>
                  <a:pt x="4608" y="2680"/>
                </a:cubicBezTo>
                <a:lnTo>
                  <a:pt x="4727" y="1394"/>
                </a:lnTo>
                <a:cubicBezTo>
                  <a:pt x="4727" y="1358"/>
                  <a:pt x="4715" y="1310"/>
                  <a:pt x="4692" y="1263"/>
                </a:cubicBezTo>
                <a:cubicBezTo>
                  <a:pt x="4656" y="1239"/>
                  <a:pt x="4608" y="1203"/>
                  <a:pt x="4572" y="1203"/>
                </a:cubicBezTo>
                <a:lnTo>
                  <a:pt x="4049" y="1203"/>
                </a:lnTo>
                <a:lnTo>
                  <a:pt x="4049" y="882"/>
                </a:lnTo>
                <a:lnTo>
                  <a:pt x="4394" y="882"/>
                </a:lnTo>
                <a:cubicBezTo>
                  <a:pt x="4632" y="882"/>
                  <a:pt x="4823" y="679"/>
                  <a:pt x="4823" y="441"/>
                </a:cubicBezTo>
                <a:cubicBezTo>
                  <a:pt x="4823" y="203"/>
                  <a:pt x="4632" y="13"/>
                  <a:pt x="4394" y="13"/>
                </a:cubicBezTo>
                <a:lnTo>
                  <a:pt x="3632" y="13"/>
                </a:lnTo>
                <a:cubicBezTo>
                  <a:pt x="3537" y="13"/>
                  <a:pt x="3465" y="84"/>
                  <a:pt x="3465" y="179"/>
                </a:cubicBezTo>
                <a:cubicBezTo>
                  <a:pt x="3465" y="263"/>
                  <a:pt x="3537" y="346"/>
                  <a:pt x="3632" y="346"/>
                </a:cubicBezTo>
                <a:lnTo>
                  <a:pt x="4394" y="346"/>
                </a:lnTo>
                <a:cubicBezTo>
                  <a:pt x="4430" y="346"/>
                  <a:pt x="4477" y="382"/>
                  <a:pt x="4477" y="429"/>
                </a:cubicBezTo>
                <a:cubicBezTo>
                  <a:pt x="4477" y="477"/>
                  <a:pt x="4430" y="525"/>
                  <a:pt x="4394" y="525"/>
                </a:cubicBezTo>
                <a:lnTo>
                  <a:pt x="2525" y="525"/>
                </a:lnTo>
                <a:cubicBezTo>
                  <a:pt x="2441" y="525"/>
                  <a:pt x="2370" y="596"/>
                  <a:pt x="2370" y="679"/>
                </a:cubicBezTo>
                <a:lnTo>
                  <a:pt x="2370" y="3573"/>
                </a:lnTo>
                <a:cubicBezTo>
                  <a:pt x="2334" y="3561"/>
                  <a:pt x="2191" y="3442"/>
                  <a:pt x="2191" y="3442"/>
                </a:cubicBezTo>
                <a:lnTo>
                  <a:pt x="2191" y="477"/>
                </a:lnTo>
                <a:cubicBezTo>
                  <a:pt x="2191" y="406"/>
                  <a:pt x="2251" y="322"/>
                  <a:pt x="2334" y="322"/>
                </a:cubicBezTo>
                <a:lnTo>
                  <a:pt x="2870" y="322"/>
                </a:lnTo>
                <a:cubicBezTo>
                  <a:pt x="2965" y="322"/>
                  <a:pt x="3037" y="251"/>
                  <a:pt x="3037" y="167"/>
                </a:cubicBezTo>
                <a:cubicBezTo>
                  <a:pt x="3037" y="72"/>
                  <a:pt x="2965"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9" name="Google Shape;10369;p59"/>
          <p:cNvSpPr/>
          <p:nvPr/>
        </p:nvSpPr>
        <p:spPr>
          <a:xfrm>
            <a:off x="7955445" y="2011198"/>
            <a:ext cx="383088" cy="286472"/>
          </a:xfrm>
          <a:custGeom>
            <a:avLst/>
            <a:gdLst/>
            <a:ahLst/>
            <a:cxnLst/>
            <a:rect l="l" t="t" r="r" b="b"/>
            <a:pathLst>
              <a:path w="12026" h="8993" extrusionOk="0">
                <a:moveTo>
                  <a:pt x="3929" y="0"/>
                </a:moveTo>
                <a:cubicBezTo>
                  <a:pt x="1691" y="0"/>
                  <a:pt x="0" y="2322"/>
                  <a:pt x="1167" y="4763"/>
                </a:cubicBezTo>
                <a:lnTo>
                  <a:pt x="453" y="4763"/>
                </a:lnTo>
                <a:cubicBezTo>
                  <a:pt x="369" y="4763"/>
                  <a:pt x="298" y="4834"/>
                  <a:pt x="298" y="4929"/>
                </a:cubicBezTo>
                <a:cubicBezTo>
                  <a:pt x="298" y="5013"/>
                  <a:pt x="369" y="5096"/>
                  <a:pt x="453" y="5096"/>
                </a:cubicBezTo>
                <a:lnTo>
                  <a:pt x="1346" y="5096"/>
                </a:lnTo>
                <a:cubicBezTo>
                  <a:pt x="2334" y="6727"/>
                  <a:pt x="4382" y="7918"/>
                  <a:pt x="5977" y="8965"/>
                </a:cubicBezTo>
                <a:cubicBezTo>
                  <a:pt x="6007" y="8983"/>
                  <a:pt x="6040" y="8992"/>
                  <a:pt x="6071" y="8992"/>
                </a:cubicBezTo>
                <a:cubicBezTo>
                  <a:pt x="6102" y="8992"/>
                  <a:pt x="6132" y="8983"/>
                  <a:pt x="6156" y="8965"/>
                </a:cubicBezTo>
                <a:cubicBezTo>
                  <a:pt x="7751" y="7930"/>
                  <a:pt x="9799" y="6739"/>
                  <a:pt x="10787" y="5096"/>
                </a:cubicBezTo>
                <a:lnTo>
                  <a:pt x="11680" y="5096"/>
                </a:lnTo>
                <a:cubicBezTo>
                  <a:pt x="11764" y="5096"/>
                  <a:pt x="11847" y="5013"/>
                  <a:pt x="11847" y="4929"/>
                </a:cubicBezTo>
                <a:cubicBezTo>
                  <a:pt x="11883" y="4774"/>
                  <a:pt x="11811" y="4703"/>
                  <a:pt x="11704" y="4703"/>
                </a:cubicBezTo>
                <a:lnTo>
                  <a:pt x="10990" y="4703"/>
                </a:lnTo>
                <a:cubicBezTo>
                  <a:pt x="12025" y="2572"/>
                  <a:pt x="10859" y="452"/>
                  <a:pt x="8930" y="12"/>
                </a:cubicBezTo>
                <a:cubicBezTo>
                  <a:pt x="8922" y="11"/>
                  <a:pt x="8914" y="10"/>
                  <a:pt x="8906" y="10"/>
                </a:cubicBezTo>
                <a:cubicBezTo>
                  <a:pt x="8821" y="10"/>
                  <a:pt x="8748" y="68"/>
                  <a:pt x="8716" y="155"/>
                </a:cubicBezTo>
                <a:cubicBezTo>
                  <a:pt x="8704" y="238"/>
                  <a:pt x="8763" y="333"/>
                  <a:pt x="8847" y="357"/>
                </a:cubicBezTo>
                <a:cubicBezTo>
                  <a:pt x="10609" y="762"/>
                  <a:pt x="11668" y="2738"/>
                  <a:pt x="10621" y="4715"/>
                </a:cubicBezTo>
                <a:lnTo>
                  <a:pt x="10001" y="4715"/>
                </a:lnTo>
                <a:lnTo>
                  <a:pt x="9418" y="3548"/>
                </a:lnTo>
                <a:cubicBezTo>
                  <a:pt x="9385" y="3483"/>
                  <a:pt x="9325" y="3452"/>
                  <a:pt x="9266" y="3452"/>
                </a:cubicBezTo>
                <a:cubicBezTo>
                  <a:pt x="9196" y="3452"/>
                  <a:pt x="9128" y="3495"/>
                  <a:pt x="9108" y="3572"/>
                </a:cubicBezTo>
                <a:lnTo>
                  <a:pt x="8573" y="5251"/>
                </a:lnTo>
                <a:lnTo>
                  <a:pt x="7954" y="3870"/>
                </a:lnTo>
                <a:cubicBezTo>
                  <a:pt x="7927" y="3808"/>
                  <a:pt x="7868" y="3772"/>
                  <a:pt x="7806" y="3772"/>
                </a:cubicBezTo>
                <a:cubicBezTo>
                  <a:pt x="7784" y="3772"/>
                  <a:pt x="7761" y="3777"/>
                  <a:pt x="7739" y="3786"/>
                </a:cubicBezTo>
                <a:cubicBezTo>
                  <a:pt x="7644" y="3822"/>
                  <a:pt x="7620" y="3917"/>
                  <a:pt x="7644" y="4001"/>
                </a:cubicBezTo>
                <a:lnTo>
                  <a:pt x="8430" y="5810"/>
                </a:lnTo>
                <a:cubicBezTo>
                  <a:pt x="8458" y="5877"/>
                  <a:pt x="8520" y="5910"/>
                  <a:pt x="8583" y="5910"/>
                </a:cubicBezTo>
                <a:cubicBezTo>
                  <a:pt x="8654" y="5910"/>
                  <a:pt x="8726" y="5869"/>
                  <a:pt x="8751" y="5786"/>
                </a:cubicBezTo>
                <a:lnTo>
                  <a:pt x="9299" y="4084"/>
                </a:lnTo>
                <a:lnTo>
                  <a:pt x="9739" y="4989"/>
                </a:lnTo>
                <a:cubicBezTo>
                  <a:pt x="9775" y="5048"/>
                  <a:pt x="9835" y="5072"/>
                  <a:pt x="9894" y="5072"/>
                </a:cubicBezTo>
                <a:lnTo>
                  <a:pt x="10418" y="5072"/>
                </a:lnTo>
                <a:cubicBezTo>
                  <a:pt x="9323" y="6715"/>
                  <a:pt x="6989" y="7965"/>
                  <a:pt x="6084" y="8584"/>
                </a:cubicBezTo>
                <a:cubicBezTo>
                  <a:pt x="4644" y="7656"/>
                  <a:pt x="2715" y="6537"/>
                  <a:pt x="1750" y="5072"/>
                </a:cubicBezTo>
                <a:lnTo>
                  <a:pt x="2572" y="5072"/>
                </a:lnTo>
                <a:cubicBezTo>
                  <a:pt x="2631" y="5072"/>
                  <a:pt x="2691" y="5036"/>
                  <a:pt x="2715" y="4989"/>
                </a:cubicBezTo>
                <a:lnTo>
                  <a:pt x="3453" y="3500"/>
                </a:lnTo>
                <a:lnTo>
                  <a:pt x="4358" y="6167"/>
                </a:lnTo>
                <a:cubicBezTo>
                  <a:pt x="4387" y="6243"/>
                  <a:pt x="4456" y="6279"/>
                  <a:pt x="4523" y="6279"/>
                </a:cubicBezTo>
                <a:cubicBezTo>
                  <a:pt x="4593" y="6279"/>
                  <a:pt x="4661" y="6240"/>
                  <a:pt x="4679" y="6167"/>
                </a:cubicBezTo>
                <a:lnTo>
                  <a:pt x="5394" y="3739"/>
                </a:lnTo>
                <a:lnTo>
                  <a:pt x="6049" y="4822"/>
                </a:lnTo>
                <a:cubicBezTo>
                  <a:pt x="6087" y="4877"/>
                  <a:pt x="6146" y="4904"/>
                  <a:pt x="6202" y="4904"/>
                </a:cubicBezTo>
                <a:cubicBezTo>
                  <a:pt x="6267" y="4904"/>
                  <a:pt x="6327" y="4868"/>
                  <a:pt x="6346" y="4798"/>
                </a:cubicBezTo>
                <a:lnTo>
                  <a:pt x="7120" y="2893"/>
                </a:lnTo>
                <a:lnTo>
                  <a:pt x="7358" y="3429"/>
                </a:lnTo>
                <a:cubicBezTo>
                  <a:pt x="7393" y="3491"/>
                  <a:pt x="7455" y="3526"/>
                  <a:pt x="7518" y="3526"/>
                </a:cubicBezTo>
                <a:cubicBezTo>
                  <a:pt x="7540" y="3526"/>
                  <a:pt x="7563" y="3522"/>
                  <a:pt x="7584" y="3512"/>
                </a:cubicBezTo>
                <a:cubicBezTo>
                  <a:pt x="7680" y="3465"/>
                  <a:pt x="7704" y="3381"/>
                  <a:pt x="7680" y="3286"/>
                </a:cubicBezTo>
                <a:lnTo>
                  <a:pt x="7287" y="2393"/>
                </a:lnTo>
                <a:cubicBezTo>
                  <a:pt x="7257" y="2328"/>
                  <a:pt x="7195" y="2295"/>
                  <a:pt x="7132" y="2295"/>
                </a:cubicBezTo>
                <a:cubicBezTo>
                  <a:pt x="7070" y="2295"/>
                  <a:pt x="7007" y="2328"/>
                  <a:pt x="6977" y="2393"/>
                </a:cubicBezTo>
                <a:lnTo>
                  <a:pt x="6168" y="4358"/>
                </a:lnTo>
                <a:lnTo>
                  <a:pt x="5501" y="3227"/>
                </a:lnTo>
                <a:cubicBezTo>
                  <a:pt x="5470" y="3171"/>
                  <a:pt x="5419" y="3145"/>
                  <a:pt x="5365" y="3145"/>
                </a:cubicBezTo>
                <a:cubicBezTo>
                  <a:pt x="5293" y="3145"/>
                  <a:pt x="5219" y="3192"/>
                  <a:pt x="5191" y="3274"/>
                </a:cubicBezTo>
                <a:lnTo>
                  <a:pt x="4501" y="5572"/>
                </a:lnTo>
                <a:lnTo>
                  <a:pt x="3643" y="3024"/>
                </a:lnTo>
                <a:cubicBezTo>
                  <a:pt x="3618" y="2942"/>
                  <a:pt x="3550" y="2900"/>
                  <a:pt x="3482" y="2900"/>
                </a:cubicBezTo>
                <a:cubicBezTo>
                  <a:pt x="3421" y="2900"/>
                  <a:pt x="3362" y="2933"/>
                  <a:pt x="3334" y="3000"/>
                </a:cubicBezTo>
                <a:lnTo>
                  <a:pt x="2465" y="4774"/>
                </a:lnTo>
                <a:lnTo>
                  <a:pt x="1548" y="4774"/>
                </a:lnTo>
                <a:cubicBezTo>
                  <a:pt x="357" y="2548"/>
                  <a:pt x="1869" y="345"/>
                  <a:pt x="3929" y="345"/>
                </a:cubicBezTo>
                <a:cubicBezTo>
                  <a:pt x="4703" y="345"/>
                  <a:pt x="5418" y="655"/>
                  <a:pt x="5953" y="1203"/>
                </a:cubicBezTo>
                <a:cubicBezTo>
                  <a:pt x="5989" y="1238"/>
                  <a:pt x="6034" y="1256"/>
                  <a:pt x="6078" y="1256"/>
                </a:cubicBezTo>
                <a:cubicBezTo>
                  <a:pt x="6123" y="1256"/>
                  <a:pt x="6168" y="1238"/>
                  <a:pt x="6203" y="1203"/>
                </a:cubicBezTo>
                <a:cubicBezTo>
                  <a:pt x="6668" y="714"/>
                  <a:pt x="7287" y="417"/>
                  <a:pt x="7954" y="357"/>
                </a:cubicBezTo>
                <a:cubicBezTo>
                  <a:pt x="8049" y="345"/>
                  <a:pt x="8120" y="262"/>
                  <a:pt x="8108" y="167"/>
                </a:cubicBezTo>
                <a:cubicBezTo>
                  <a:pt x="8097" y="78"/>
                  <a:pt x="8025" y="11"/>
                  <a:pt x="7939" y="11"/>
                </a:cubicBezTo>
                <a:cubicBezTo>
                  <a:pt x="7932" y="11"/>
                  <a:pt x="7925" y="11"/>
                  <a:pt x="7918" y="12"/>
                </a:cubicBezTo>
                <a:cubicBezTo>
                  <a:pt x="7215" y="83"/>
                  <a:pt x="6572" y="369"/>
                  <a:pt x="6072" y="845"/>
                </a:cubicBezTo>
                <a:cubicBezTo>
                  <a:pt x="5489" y="298"/>
                  <a:pt x="4727" y="0"/>
                  <a:pt x="3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70" name="Google Shape;10370;p59"/>
          <p:cNvGrpSpPr/>
          <p:nvPr/>
        </p:nvGrpSpPr>
        <p:grpSpPr>
          <a:xfrm>
            <a:off x="6656812" y="2029388"/>
            <a:ext cx="368690" cy="245793"/>
            <a:chOff x="6656812" y="2029388"/>
            <a:chExt cx="368690" cy="245793"/>
          </a:xfrm>
        </p:grpSpPr>
        <p:sp>
          <p:nvSpPr>
            <p:cNvPr id="10371" name="Google Shape;10371;p59"/>
            <p:cNvSpPr/>
            <p:nvPr/>
          </p:nvSpPr>
          <p:spPr>
            <a:xfrm>
              <a:off x="6915475" y="2164007"/>
              <a:ext cx="73967" cy="73999"/>
            </a:xfrm>
            <a:custGeom>
              <a:avLst/>
              <a:gdLst/>
              <a:ahLst/>
              <a:cxnLst/>
              <a:rect l="l" t="t" r="r" b="b"/>
              <a:pathLst>
                <a:path w="2322" h="2323" extrusionOk="0">
                  <a:moveTo>
                    <a:pt x="1167" y="323"/>
                  </a:moveTo>
                  <a:cubicBezTo>
                    <a:pt x="1631" y="323"/>
                    <a:pt x="2000" y="692"/>
                    <a:pt x="2000" y="1156"/>
                  </a:cubicBezTo>
                  <a:cubicBezTo>
                    <a:pt x="2000" y="1621"/>
                    <a:pt x="1631" y="1990"/>
                    <a:pt x="1167" y="1990"/>
                  </a:cubicBezTo>
                  <a:cubicBezTo>
                    <a:pt x="703" y="1990"/>
                    <a:pt x="334" y="1621"/>
                    <a:pt x="334" y="1156"/>
                  </a:cubicBezTo>
                  <a:cubicBezTo>
                    <a:pt x="334" y="692"/>
                    <a:pt x="703" y="323"/>
                    <a:pt x="1167" y="323"/>
                  </a:cubicBezTo>
                  <a:close/>
                  <a:moveTo>
                    <a:pt x="1126" y="0"/>
                  </a:moveTo>
                  <a:cubicBezTo>
                    <a:pt x="502" y="0"/>
                    <a:pt x="0" y="527"/>
                    <a:pt x="0" y="1156"/>
                  </a:cubicBezTo>
                  <a:cubicBezTo>
                    <a:pt x="0" y="1799"/>
                    <a:pt x="524" y="2323"/>
                    <a:pt x="1167" y="2323"/>
                  </a:cubicBezTo>
                  <a:cubicBezTo>
                    <a:pt x="1810" y="2323"/>
                    <a:pt x="2322" y="1799"/>
                    <a:pt x="2322" y="1156"/>
                  </a:cubicBezTo>
                  <a:cubicBezTo>
                    <a:pt x="2322" y="513"/>
                    <a:pt x="1810" y="1"/>
                    <a:pt x="1167" y="1"/>
                  </a:cubicBezTo>
                  <a:cubicBezTo>
                    <a:pt x="1153" y="1"/>
                    <a:pt x="1139" y="0"/>
                    <a:pt x="11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2" name="Google Shape;10372;p59"/>
            <p:cNvSpPr/>
            <p:nvPr/>
          </p:nvSpPr>
          <p:spPr>
            <a:xfrm>
              <a:off x="6901427" y="2057070"/>
              <a:ext cx="51605" cy="31154"/>
            </a:xfrm>
            <a:custGeom>
              <a:avLst/>
              <a:gdLst/>
              <a:ahLst/>
              <a:cxnLst/>
              <a:rect l="l" t="t" r="r" b="b"/>
              <a:pathLst>
                <a:path w="1620" h="978" extrusionOk="0">
                  <a:moveTo>
                    <a:pt x="1179" y="346"/>
                  </a:moveTo>
                  <a:cubicBezTo>
                    <a:pt x="1239" y="346"/>
                    <a:pt x="1275" y="394"/>
                    <a:pt x="1275" y="453"/>
                  </a:cubicBezTo>
                  <a:lnTo>
                    <a:pt x="1275" y="525"/>
                  </a:lnTo>
                  <a:cubicBezTo>
                    <a:pt x="1275" y="584"/>
                    <a:pt x="1239" y="632"/>
                    <a:pt x="1179" y="632"/>
                  </a:cubicBezTo>
                  <a:lnTo>
                    <a:pt x="441" y="632"/>
                  </a:lnTo>
                  <a:cubicBezTo>
                    <a:pt x="382" y="632"/>
                    <a:pt x="334" y="584"/>
                    <a:pt x="334" y="525"/>
                  </a:cubicBezTo>
                  <a:lnTo>
                    <a:pt x="334" y="453"/>
                  </a:lnTo>
                  <a:cubicBezTo>
                    <a:pt x="334" y="394"/>
                    <a:pt x="382" y="346"/>
                    <a:pt x="441" y="346"/>
                  </a:cubicBezTo>
                  <a:close/>
                  <a:moveTo>
                    <a:pt x="441" y="1"/>
                  </a:moveTo>
                  <a:cubicBezTo>
                    <a:pt x="203" y="1"/>
                    <a:pt x="1" y="203"/>
                    <a:pt x="1" y="453"/>
                  </a:cubicBezTo>
                  <a:lnTo>
                    <a:pt x="1" y="525"/>
                  </a:lnTo>
                  <a:cubicBezTo>
                    <a:pt x="1" y="763"/>
                    <a:pt x="191" y="977"/>
                    <a:pt x="441" y="977"/>
                  </a:cubicBezTo>
                  <a:lnTo>
                    <a:pt x="1179" y="977"/>
                  </a:lnTo>
                  <a:cubicBezTo>
                    <a:pt x="1418" y="977"/>
                    <a:pt x="1620" y="775"/>
                    <a:pt x="1620" y="525"/>
                  </a:cubicBezTo>
                  <a:lnTo>
                    <a:pt x="1620" y="453"/>
                  </a:lnTo>
                  <a:cubicBezTo>
                    <a:pt x="1620" y="215"/>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3" name="Google Shape;10373;p59"/>
            <p:cNvSpPr/>
            <p:nvPr/>
          </p:nvSpPr>
          <p:spPr>
            <a:xfrm>
              <a:off x="6901809" y="2091983"/>
              <a:ext cx="51605" cy="30358"/>
            </a:xfrm>
            <a:custGeom>
              <a:avLst/>
              <a:gdLst/>
              <a:ahLst/>
              <a:cxnLst/>
              <a:rect l="l" t="t" r="r" b="b"/>
              <a:pathLst>
                <a:path w="1620" h="953" extrusionOk="0">
                  <a:moveTo>
                    <a:pt x="1179" y="333"/>
                  </a:moveTo>
                  <a:cubicBezTo>
                    <a:pt x="1239" y="333"/>
                    <a:pt x="1286" y="381"/>
                    <a:pt x="1286" y="441"/>
                  </a:cubicBezTo>
                  <a:lnTo>
                    <a:pt x="1286" y="512"/>
                  </a:lnTo>
                  <a:cubicBezTo>
                    <a:pt x="1286" y="572"/>
                    <a:pt x="1239" y="619"/>
                    <a:pt x="1179" y="619"/>
                  </a:cubicBezTo>
                  <a:lnTo>
                    <a:pt x="453" y="619"/>
                  </a:lnTo>
                  <a:cubicBezTo>
                    <a:pt x="394" y="619"/>
                    <a:pt x="346" y="572"/>
                    <a:pt x="346" y="512"/>
                  </a:cubicBezTo>
                  <a:lnTo>
                    <a:pt x="346" y="441"/>
                  </a:lnTo>
                  <a:cubicBezTo>
                    <a:pt x="346" y="381"/>
                    <a:pt x="394" y="333"/>
                    <a:pt x="453" y="333"/>
                  </a:cubicBezTo>
                  <a:close/>
                  <a:moveTo>
                    <a:pt x="453" y="0"/>
                  </a:moveTo>
                  <a:cubicBezTo>
                    <a:pt x="215" y="0"/>
                    <a:pt x="1" y="191"/>
                    <a:pt x="1" y="441"/>
                  </a:cubicBezTo>
                  <a:lnTo>
                    <a:pt x="1" y="500"/>
                  </a:lnTo>
                  <a:cubicBezTo>
                    <a:pt x="1" y="738"/>
                    <a:pt x="191" y="953"/>
                    <a:pt x="453" y="953"/>
                  </a:cubicBezTo>
                  <a:lnTo>
                    <a:pt x="1179" y="953"/>
                  </a:lnTo>
                  <a:cubicBezTo>
                    <a:pt x="1417" y="953"/>
                    <a:pt x="1620" y="750"/>
                    <a:pt x="1620" y="500"/>
                  </a:cubicBezTo>
                  <a:lnTo>
                    <a:pt x="1620" y="441"/>
                  </a:lnTo>
                  <a:cubicBezTo>
                    <a:pt x="1620" y="202"/>
                    <a:pt x="1429" y="0"/>
                    <a:pt x="1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4" name="Google Shape;10374;p59"/>
            <p:cNvSpPr/>
            <p:nvPr/>
          </p:nvSpPr>
          <p:spPr>
            <a:xfrm>
              <a:off x="6901809" y="2126099"/>
              <a:ext cx="51605" cy="30772"/>
            </a:xfrm>
            <a:custGeom>
              <a:avLst/>
              <a:gdLst/>
              <a:ahLst/>
              <a:cxnLst/>
              <a:rect l="l" t="t" r="r" b="b"/>
              <a:pathLst>
                <a:path w="1620" h="966" extrusionOk="0">
                  <a:moveTo>
                    <a:pt x="1179" y="358"/>
                  </a:moveTo>
                  <a:cubicBezTo>
                    <a:pt x="1239" y="358"/>
                    <a:pt x="1286" y="394"/>
                    <a:pt x="1286" y="453"/>
                  </a:cubicBezTo>
                  <a:lnTo>
                    <a:pt x="1286" y="536"/>
                  </a:lnTo>
                  <a:cubicBezTo>
                    <a:pt x="1286" y="596"/>
                    <a:pt x="1239" y="632"/>
                    <a:pt x="1179" y="632"/>
                  </a:cubicBezTo>
                  <a:lnTo>
                    <a:pt x="453" y="632"/>
                  </a:lnTo>
                  <a:cubicBezTo>
                    <a:pt x="394" y="632"/>
                    <a:pt x="346" y="596"/>
                    <a:pt x="346" y="536"/>
                  </a:cubicBezTo>
                  <a:lnTo>
                    <a:pt x="346" y="453"/>
                  </a:lnTo>
                  <a:cubicBezTo>
                    <a:pt x="346" y="394"/>
                    <a:pt x="394" y="358"/>
                    <a:pt x="453" y="358"/>
                  </a:cubicBezTo>
                  <a:close/>
                  <a:moveTo>
                    <a:pt x="453" y="1"/>
                  </a:moveTo>
                  <a:cubicBezTo>
                    <a:pt x="215" y="1"/>
                    <a:pt x="1" y="191"/>
                    <a:pt x="1" y="441"/>
                  </a:cubicBezTo>
                  <a:lnTo>
                    <a:pt x="1" y="513"/>
                  </a:lnTo>
                  <a:cubicBezTo>
                    <a:pt x="1" y="751"/>
                    <a:pt x="191" y="965"/>
                    <a:pt x="453" y="965"/>
                  </a:cubicBezTo>
                  <a:lnTo>
                    <a:pt x="1179" y="965"/>
                  </a:lnTo>
                  <a:cubicBezTo>
                    <a:pt x="1417" y="965"/>
                    <a:pt x="1620" y="775"/>
                    <a:pt x="1620" y="513"/>
                  </a:cubicBezTo>
                  <a:lnTo>
                    <a:pt x="1620" y="441"/>
                  </a:lnTo>
                  <a:cubicBezTo>
                    <a:pt x="1620" y="203"/>
                    <a:pt x="1429"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5" name="Google Shape;10375;p59"/>
            <p:cNvSpPr/>
            <p:nvPr/>
          </p:nvSpPr>
          <p:spPr>
            <a:xfrm>
              <a:off x="6959849" y="2057452"/>
              <a:ext cx="43641" cy="99419"/>
            </a:xfrm>
            <a:custGeom>
              <a:avLst/>
              <a:gdLst/>
              <a:ahLst/>
              <a:cxnLst/>
              <a:rect l="l" t="t" r="r" b="b"/>
              <a:pathLst>
                <a:path w="1370" h="3121" extrusionOk="0">
                  <a:moveTo>
                    <a:pt x="965" y="334"/>
                  </a:moveTo>
                  <a:cubicBezTo>
                    <a:pt x="1000" y="334"/>
                    <a:pt x="1048" y="382"/>
                    <a:pt x="1048" y="429"/>
                  </a:cubicBezTo>
                  <a:lnTo>
                    <a:pt x="1048" y="2703"/>
                  </a:lnTo>
                  <a:cubicBezTo>
                    <a:pt x="1048" y="2751"/>
                    <a:pt x="1000" y="2787"/>
                    <a:pt x="965" y="2787"/>
                  </a:cubicBezTo>
                  <a:lnTo>
                    <a:pt x="429" y="2787"/>
                  </a:lnTo>
                  <a:cubicBezTo>
                    <a:pt x="369" y="2775"/>
                    <a:pt x="334" y="2751"/>
                    <a:pt x="334" y="2703"/>
                  </a:cubicBezTo>
                  <a:lnTo>
                    <a:pt x="334" y="429"/>
                  </a:lnTo>
                  <a:cubicBezTo>
                    <a:pt x="334" y="382"/>
                    <a:pt x="381" y="334"/>
                    <a:pt x="429" y="334"/>
                  </a:cubicBezTo>
                  <a:close/>
                  <a:moveTo>
                    <a:pt x="417" y="1"/>
                  </a:moveTo>
                  <a:cubicBezTo>
                    <a:pt x="179" y="1"/>
                    <a:pt x="0" y="203"/>
                    <a:pt x="0" y="429"/>
                  </a:cubicBezTo>
                  <a:lnTo>
                    <a:pt x="0" y="2703"/>
                  </a:lnTo>
                  <a:cubicBezTo>
                    <a:pt x="0" y="2941"/>
                    <a:pt x="191" y="3120"/>
                    <a:pt x="417" y="3120"/>
                  </a:cubicBezTo>
                  <a:lnTo>
                    <a:pt x="953" y="3120"/>
                  </a:lnTo>
                  <a:cubicBezTo>
                    <a:pt x="1191" y="3120"/>
                    <a:pt x="1369" y="2930"/>
                    <a:pt x="1369" y="2703"/>
                  </a:cubicBezTo>
                  <a:lnTo>
                    <a:pt x="1369" y="429"/>
                  </a:lnTo>
                  <a:cubicBezTo>
                    <a:pt x="1369" y="179"/>
                    <a:pt x="1167"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6" name="Google Shape;10376;p59"/>
            <p:cNvSpPr/>
            <p:nvPr/>
          </p:nvSpPr>
          <p:spPr>
            <a:xfrm>
              <a:off x="6835805" y="2075291"/>
              <a:ext cx="29243" cy="10257"/>
            </a:xfrm>
            <a:custGeom>
              <a:avLst/>
              <a:gdLst/>
              <a:ahLst/>
              <a:cxnLst/>
              <a:rect l="l" t="t" r="r" b="b"/>
              <a:pathLst>
                <a:path w="918" h="322" extrusionOk="0">
                  <a:moveTo>
                    <a:pt x="168" y="0"/>
                  </a:moveTo>
                  <a:cubicBezTo>
                    <a:pt x="84" y="0"/>
                    <a:pt x="1" y="72"/>
                    <a:pt x="1" y="167"/>
                  </a:cubicBezTo>
                  <a:cubicBezTo>
                    <a:pt x="1" y="250"/>
                    <a:pt x="84" y="322"/>
                    <a:pt x="168" y="322"/>
                  </a:cubicBezTo>
                  <a:lnTo>
                    <a:pt x="751" y="322"/>
                  </a:lnTo>
                  <a:cubicBezTo>
                    <a:pt x="834" y="322"/>
                    <a:pt x="918" y="250"/>
                    <a:pt x="918" y="167"/>
                  </a:cubicBezTo>
                  <a:cubicBezTo>
                    <a:pt x="918" y="72"/>
                    <a:pt x="834"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7" name="Google Shape;10377;p59"/>
            <p:cNvSpPr/>
            <p:nvPr/>
          </p:nvSpPr>
          <p:spPr>
            <a:xfrm>
              <a:off x="6700422" y="2074908"/>
              <a:ext cx="11022" cy="10257"/>
            </a:xfrm>
            <a:custGeom>
              <a:avLst/>
              <a:gdLst/>
              <a:ahLst/>
              <a:cxnLst/>
              <a:rect l="l" t="t" r="r" b="b"/>
              <a:pathLst>
                <a:path w="346" h="322" extrusionOk="0">
                  <a:moveTo>
                    <a:pt x="167" y="0"/>
                  </a:moveTo>
                  <a:cubicBezTo>
                    <a:pt x="72" y="0"/>
                    <a:pt x="0" y="72"/>
                    <a:pt x="0" y="155"/>
                  </a:cubicBezTo>
                  <a:cubicBezTo>
                    <a:pt x="0" y="250"/>
                    <a:pt x="72" y="322"/>
                    <a:pt x="167" y="322"/>
                  </a:cubicBezTo>
                  <a:lnTo>
                    <a:pt x="179" y="322"/>
                  </a:lnTo>
                  <a:cubicBezTo>
                    <a:pt x="262" y="322"/>
                    <a:pt x="346" y="250"/>
                    <a:pt x="346" y="155"/>
                  </a:cubicBezTo>
                  <a:cubicBezTo>
                    <a:pt x="346"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8" name="Google Shape;10378;p59"/>
            <p:cNvSpPr/>
            <p:nvPr/>
          </p:nvSpPr>
          <p:spPr>
            <a:xfrm>
              <a:off x="6706092" y="2098417"/>
              <a:ext cx="151375" cy="89162"/>
            </a:xfrm>
            <a:custGeom>
              <a:avLst/>
              <a:gdLst/>
              <a:ahLst/>
              <a:cxnLst/>
              <a:rect l="l" t="t" r="r" b="b"/>
              <a:pathLst>
                <a:path w="4752" h="2799" extrusionOk="0">
                  <a:moveTo>
                    <a:pt x="2119" y="0"/>
                  </a:moveTo>
                  <a:cubicBezTo>
                    <a:pt x="2047" y="0"/>
                    <a:pt x="1977" y="45"/>
                    <a:pt x="1966" y="131"/>
                  </a:cubicBezTo>
                  <a:lnTo>
                    <a:pt x="1573" y="1977"/>
                  </a:lnTo>
                  <a:lnTo>
                    <a:pt x="1239" y="941"/>
                  </a:lnTo>
                  <a:cubicBezTo>
                    <a:pt x="1214" y="859"/>
                    <a:pt x="1142" y="817"/>
                    <a:pt x="1071" y="817"/>
                  </a:cubicBezTo>
                  <a:cubicBezTo>
                    <a:pt x="1008" y="817"/>
                    <a:pt x="946" y="850"/>
                    <a:pt x="918" y="917"/>
                  </a:cubicBezTo>
                  <a:lnTo>
                    <a:pt x="501" y="1846"/>
                  </a:lnTo>
                  <a:lnTo>
                    <a:pt x="168" y="1846"/>
                  </a:lnTo>
                  <a:cubicBezTo>
                    <a:pt x="72" y="1846"/>
                    <a:pt x="1" y="1917"/>
                    <a:pt x="1" y="2013"/>
                  </a:cubicBezTo>
                  <a:cubicBezTo>
                    <a:pt x="1" y="2096"/>
                    <a:pt x="72" y="2167"/>
                    <a:pt x="168" y="2167"/>
                  </a:cubicBezTo>
                  <a:lnTo>
                    <a:pt x="608" y="2167"/>
                  </a:lnTo>
                  <a:cubicBezTo>
                    <a:pt x="680" y="2167"/>
                    <a:pt x="739" y="2132"/>
                    <a:pt x="763" y="2072"/>
                  </a:cubicBezTo>
                  <a:lnTo>
                    <a:pt x="1037" y="1441"/>
                  </a:lnTo>
                  <a:lnTo>
                    <a:pt x="1442" y="2679"/>
                  </a:lnTo>
                  <a:cubicBezTo>
                    <a:pt x="1470" y="2760"/>
                    <a:pt x="1541" y="2799"/>
                    <a:pt x="1610" y="2799"/>
                  </a:cubicBezTo>
                  <a:cubicBezTo>
                    <a:pt x="1684" y="2799"/>
                    <a:pt x="1757" y="2754"/>
                    <a:pt x="1775" y="2667"/>
                  </a:cubicBezTo>
                  <a:lnTo>
                    <a:pt x="2096" y="1084"/>
                  </a:lnTo>
                  <a:lnTo>
                    <a:pt x="2227" y="1917"/>
                  </a:lnTo>
                  <a:cubicBezTo>
                    <a:pt x="2251" y="2013"/>
                    <a:pt x="2323" y="2072"/>
                    <a:pt x="2394" y="2072"/>
                  </a:cubicBezTo>
                  <a:lnTo>
                    <a:pt x="3049" y="2072"/>
                  </a:lnTo>
                  <a:cubicBezTo>
                    <a:pt x="3144" y="2072"/>
                    <a:pt x="3204" y="2013"/>
                    <a:pt x="3216" y="1941"/>
                  </a:cubicBezTo>
                  <a:lnTo>
                    <a:pt x="3287" y="1501"/>
                  </a:lnTo>
                  <a:lnTo>
                    <a:pt x="3501" y="2453"/>
                  </a:lnTo>
                  <a:cubicBezTo>
                    <a:pt x="3514" y="2543"/>
                    <a:pt x="3586" y="2588"/>
                    <a:pt x="3660" y="2588"/>
                  </a:cubicBezTo>
                  <a:cubicBezTo>
                    <a:pt x="3724" y="2588"/>
                    <a:pt x="3790" y="2555"/>
                    <a:pt x="3823" y="2489"/>
                  </a:cubicBezTo>
                  <a:lnTo>
                    <a:pt x="4037" y="2036"/>
                  </a:lnTo>
                  <a:lnTo>
                    <a:pt x="4585" y="2036"/>
                  </a:lnTo>
                  <a:cubicBezTo>
                    <a:pt x="4668" y="2036"/>
                    <a:pt x="4752" y="1965"/>
                    <a:pt x="4752" y="1870"/>
                  </a:cubicBezTo>
                  <a:cubicBezTo>
                    <a:pt x="4752" y="1786"/>
                    <a:pt x="4668" y="1715"/>
                    <a:pt x="4585" y="1715"/>
                  </a:cubicBezTo>
                  <a:lnTo>
                    <a:pt x="3918" y="1715"/>
                  </a:lnTo>
                  <a:cubicBezTo>
                    <a:pt x="3775" y="1715"/>
                    <a:pt x="3763" y="1858"/>
                    <a:pt x="3740" y="1905"/>
                  </a:cubicBezTo>
                  <a:lnTo>
                    <a:pt x="3454" y="632"/>
                  </a:lnTo>
                  <a:cubicBezTo>
                    <a:pt x="3430" y="542"/>
                    <a:pt x="3356" y="498"/>
                    <a:pt x="3283" y="498"/>
                  </a:cubicBezTo>
                  <a:cubicBezTo>
                    <a:pt x="3210" y="498"/>
                    <a:pt x="3138" y="542"/>
                    <a:pt x="3120" y="632"/>
                  </a:cubicBezTo>
                  <a:lnTo>
                    <a:pt x="2918" y="1739"/>
                  </a:lnTo>
                  <a:lnTo>
                    <a:pt x="2549" y="1739"/>
                  </a:lnTo>
                  <a:lnTo>
                    <a:pt x="2287" y="155"/>
                  </a:lnTo>
                  <a:cubicBezTo>
                    <a:pt x="2275" y="51"/>
                    <a:pt x="2196" y="0"/>
                    <a:pt x="2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9" name="Google Shape;10379;p59"/>
            <p:cNvSpPr/>
            <p:nvPr/>
          </p:nvSpPr>
          <p:spPr>
            <a:xfrm>
              <a:off x="6656812" y="2029388"/>
              <a:ext cx="368690" cy="245793"/>
            </a:xfrm>
            <a:custGeom>
              <a:avLst/>
              <a:gdLst/>
              <a:ahLst/>
              <a:cxnLst/>
              <a:rect l="l" t="t" r="r" b="b"/>
              <a:pathLst>
                <a:path w="11574" h="7716" extrusionOk="0">
                  <a:moveTo>
                    <a:pt x="3286" y="7180"/>
                  </a:moveTo>
                  <a:lnTo>
                    <a:pt x="3286" y="7394"/>
                  </a:lnTo>
                  <a:lnTo>
                    <a:pt x="1596" y="7394"/>
                  </a:lnTo>
                  <a:lnTo>
                    <a:pt x="1596" y="7180"/>
                  </a:lnTo>
                  <a:close/>
                  <a:moveTo>
                    <a:pt x="9966" y="7180"/>
                  </a:moveTo>
                  <a:lnTo>
                    <a:pt x="9966" y="7394"/>
                  </a:lnTo>
                  <a:lnTo>
                    <a:pt x="8275" y="7394"/>
                  </a:lnTo>
                  <a:lnTo>
                    <a:pt x="8275" y="7180"/>
                  </a:lnTo>
                  <a:close/>
                  <a:moveTo>
                    <a:pt x="548" y="1"/>
                  </a:moveTo>
                  <a:cubicBezTo>
                    <a:pt x="250" y="1"/>
                    <a:pt x="0" y="251"/>
                    <a:pt x="0" y="548"/>
                  </a:cubicBezTo>
                  <a:lnTo>
                    <a:pt x="0" y="6632"/>
                  </a:lnTo>
                  <a:cubicBezTo>
                    <a:pt x="0" y="6930"/>
                    <a:pt x="250" y="7180"/>
                    <a:pt x="548" y="7180"/>
                  </a:cubicBezTo>
                  <a:lnTo>
                    <a:pt x="1250" y="7180"/>
                  </a:lnTo>
                  <a:lnTo>
                    <a:pt x="1250" y="7561"/>
                  </a:lnTo>
                  <a:cubicBezTo>
                    <a:pt x="1250" y="7644"/>
                    <a:pt x="1322" y="7716"/>
                    <a:pt x="1417" y="7716"/>
                  </a:cubicBezTo>
                  <a:lnTo>
                    <a:pt x="3453" y="7716"/>
                  </a:lnTo>
                  <a:cubicBezTo>
                    <a:pt x="3536" y="7716"/>
                    <a:pt x="3608" y="7644"/>
                    <a:pt x="3608" y="7561"/>
                  </a:cubicBezTo>
                  <a:lnTo>
                    <a:pt x="3608" y="7180"/>
                  </a:lnTo>
                  <a:lnTo>
                    <a:pt x="7930" y="7180"/>
                  </a:lnTo>
                  <a:lnTo>
                    <a:pt x="7930" y="7561"/>
                  </a:lnTo>
                  <a:cubicBezTo>
                    <a:pt x="7930" y="7644"/>
                    <a:pt x="8001" y="7716"/>
                    <a:pt x="8096" y="7716"/>
                  </a:cubicBezTo>
                  <a:lnTo>
                    <a:pt x="10132" y="7716"/>
                  </a:lnTo>
                  <a:cubicBezTo>
                    <a:pt x="10216" y="7716"/>
                    <a:pt x="10299" y="7644"/>
                    <a:pt x="10299" y="7561"/>
                  </a:cubicBezTo>
                  <a:lnTo>
                    <a:pt x="10299" y="7180"/>
                  </a:lnTo>
                  <a:lnTo>
                    <a:pt x="10990" y="7180"/>
                  </a:lnTo>
                  <a:cubicBezTo>
                    <a:pt x="11287" y="7180"/>
                    <a:pt x="11549" y="6930"/>
                    <a:pt x="11549" y="6632"/>
                  </a:cubicBezTo>
                  <a:lnTo>
                    <a:pt x="11549" y="548"/>
                  </a:lnTo>
                  <a:cubicBezTo>
                    <a:pt x="11573" y="251"/>
                    <a:pt x="11323" y="1"/>
                    <a:pt x="11025" y="1"/>
                  </a:cubicBezTo>
                  <a:lnTo>
                    <a:pt x="7620" y="1"/>
                  </a:lnTo>
                  <a:cubicBezTo>
                    <a:pt x="7525" y="1"/>
                    <a:pt x="7453" y="72"/>
                    <a:pt x="7453" y="155"/>
                  </a:cubicBezTo>
                  <a:cubicBezTo>
                    <a:pt x="7453" y="251"/>
                    <a:pt x="7525" y="322"/>
                    <a:pt x="7620" y="322"/>
                  </a:cubicBezTo>
                  <a:lnTo>
                    <a:pt x="11025" y="322"/>
                  </a:lnTo>
                  <a:cubicBezTo>
                    <a:pt x="11144" y="322"/>
                    <a:pt x="11240" y="417"/>
                    <a:pt x="11240" y="536"/>
                  </a:cubicBezTo>
                  <a:lnTo>
                    <a:pt x="11240" y="6620"/>
                  </a:lnTo>
                  <a:cubicBezTo>
                    <a:pt x="11240" y="6739"/>
                    <a:pt x="11144" y="6823"/>
                    <a:pt x="11025" y="6823"/>
                  </a:cubicBezTo>
                  <a:lnTo>
                    <a:pt x="548" y="6823"/>
                  </a:lnTo>
                  <a:cubicBezTo>
                    <a:pt x="429" y="6823"/>
                    <a:pt x="334" y="6739"/>
                    <a:pt x="334" y="6620"/>
                  </a:cubicBezTo>
                  <a:lnTo>
                    <a:pt x="334" y="536"/>
                  </a:lnTo>
                  <a:cubicBezTo>
                    <a:pt x="334" y="417"/>
                    <a:pt x="429" y="322"/>
                    <a:pt x="548" y="322"/>
                  </a:cubicBezTo>
                  <a:lnTo>
                    <a:pt x="6870" y="322"/>
                  </a:lnTo>
                  <a:cubicBezTo>
                    <a:pt x="6965" y="322"/>
                    <a:pt x="7037" y="251"/>
                    <a:pt x="7037" y="155"/>
                  </a:cubicBezTo>
                  <a:cubicBezTo>
                    <a:pt x="7037" y="72"/>
                    <a:pt x="6965"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0" name="Google Shape;10380;p59"/>
            <p:cNvSpPr/>
            <p:nvPr/>
          </p:nvSpPr>
          <p:spPr>
            <a:xfrm>
              <a:off x="6681818" y="2057070"/>
              <a:ext cx="199540" cy="172622"/>
            </a:xfrm>
            <a:custGeom>
              <a:avLst/>
              <a:gdLst/>
              <a:ahLst/>
              <a:cxnLst/>
              <a:rect l="l" t="t" r="r" b="b"/>
              <a:pathLst>
                <a:path w="6264" h="5419" extrusionOk="0">
                  <a:moveTo>
                    <a:pt x="168" y="1"/>
                  </a:moveTo>
                  <a:cubicBezTo>
                    <a:pt x="72" y="1"/>
                    <a:pt x="1" y="84"/>
                    <a:pt x="1" y="167"/>
                  </a:cubicBezTo>
                  <a:lnTo>
                    <a:pt x="1" y="1691"/>
                  </a:lnTo>
                  <a:cubicBezTo>
                    <a:pt x="1" y="1775"/>
                    <a:pt x="72" y="1846"/>
                    <a:pt x="168" y="1846"/>
                  </a:cubicBezTo>
                  <a:cubicBezTo>
                    <a:pt x="251" y="1846"/>
                    <a:pt x="334" y="1775"/>
                    <a:pt x="334" y="1691"/>
                  </a:cubicBezTo>
                  <a:lnTo>
                    <a:pt x="334" y="346"/>
                  </a:lnTo>
                  <a:lnTo>
                    <a:pt x="5942" y="346"/>
                  </a:lnTo>
                  <a:lnTo>
                    <a:pt x="5942" y="5097"/>
                  </a:lnTo>
                  <a:lnTo>
                    <a:pt x="334" y="5097"/>
                  </a:lnTo>
                  <a:lnTo>
                    <a:pt x="334" y="2465"/>
                  </a:lnTo>
                  <a:cubicBezTo>
                    <a:pt x="334" y="2370"/>
                    <a:pt x="251" y="2299"/>
                    <a:pt x="168" y="2299"/>
                  </a:cubicBezTo>
                  <a:cubicBezTo>
                    <a:pt x="72" y="2299"/>
                    <a:pt x="1" y="2370"/>
                    <a:pt x="1" y="2465"/>
                  </a:cubicBezTo>
                  <a:lnTo>
                    <a:pt x="1" y="5263"/>
                  </a:lnTo>
                  <a:cubicBezTo>
                    <a:pt x="1" y="5347"/>
                    <a:pt x="72" y="5418"/>
                    <a:pt x="168" y="5418"/>
                  </a:cubicBezTo>
                  <a:lnTo>
                    <a:pt x="6109" y="5418"/>
                  </a:lnTo>
                  <a:cubicBezTo>
                    <a:pt x="6192" y="5418"/>
                    <a:pt x="6264" y="5347"/>
                    <a:pt x="6264" y="5263"/>
                  </a:cubicBezTo>
                  <a:lnTo>
                    <a:pt x="6264" y="167"/>
                  </a:lnTo>
                  <a:cubicBezTo>
                    <a:pt x="6264" y="84"/>
                    <a:pt x="6192" y="1"/>
                    <a:pt x="6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1" name="Google Shape;10381;p59"/>
          <p:cNvGrpSpPr/>
          <p:nvPr/>
        </p:nvGrpSpPr>
        <p:grpSpPr>
          <a:xfrm>
            <a:off x="4869651" y="2012218"/>
            <a:ext cx="376654" cy="281566"/>
            <a:chOff x="4869651" y="2012218"/>
            <a:chExt cx="376654" cy="281566"/>
          </a:xfrm>
        </p:grpSpPr>
        <p:sp>
          <p:nvSpPr>
            <p:cNvPr id="10382" name="Google Shape;10382;p59"/>
            <p:cNvSpPr/>
            <p:nvPr/>
          </p:nvSpPr>
          <p:spPr>
            <a:xfrm>
              <a:off x="4869651" y="2012218"/>
              <a:ext cx="376654" cy="281566"/>
            </a:xfrm>
            <a:custGeom>
              <a:avLst/>
              <a:gdLst/>
              <a:ahLst/>
              <a:cxnLst/>
              <a:rect l="l" t="t" r="r" b="b"/>
              <a:pathLst>
                <a:path w="11824" h="8839" extrusionOk="0">
                  <a:moveTo>
                    <a:pt x="4976" y="1"/>
                  </a:moveTo>
                  <a:cubicBezTo>
                    <a:pt x="4854" y="1"/>
                    <a:pt x="4732" y="6"/>
                    <a:pt x="4609" y="16"/>
                  </a:cubicBezTo>
                  <a:cubicBezTo>
                    <a:pt x="4513" y="28"/>
                    <a:pt x="4442" y="99"/>
                    <a:pt x="4442" y="194"/>
                  </a:cubicBezTo>
                  <a:cubicBezTo>
                    <a:pt x="4454" y="278"/>
                    <a:pt x="4537" y="349"/>
                    <a:pt x="4621" y="349"/>
                  </a:cubicBezTo>
                  <a:cubicBezTo>
                    <a:pt x="4722" y="342"/>
                    <a:pt x="4822" y="338"/>
                    <a:pt x="4922" y="338"/>
                  </a:cubicBezTo>
                  <a:cubicBezTo>
                    <a:pt x="6773" y="338"/>
                    <a:pt x="8373" y="1575"/>
                    <a:pt x="8859" y="3326"/>
                  </a:cubicBezTo>
                  <a:cubicBezTo>
                    <a:pt x="8823" y="3385"/>
                    <a:pt x="8764" y="3468"/>
                    <a:pt x="8657" y="3540"/>
                  </a:cubicBezTo>
                  <a:cubicBezTo>
                    <a:pt x="8525" y="3632"/>
                    <a:pt x="8386" y="3671"/>
                    <a:pt x="8244" y="3671"/>
                  </a:cubicBezTo>
                  <a:cubicBezTo>
                    <a:pt x="8003" y="3671"/>
                    <a:pt x="7754" y="3559"/>
                    <a:pt x="7514" y="3409"/>
                  </a:cubicBezTo>
                  <a:cubicBezTo>
                    <a:pt x="7288" y="2933"/>
                    <a:pt x="7549" y="2635"/>
                    <a:pt x="7585" y="2611"/>
                  </a:cubicBezTo>
                  <a:cubicBezTo>
                    <a:pt x="7657" y="2552"/>
                    <a:pt x="7657" y="2433"/>
                    <a:pt x="7585" y="2373"/>
                  </a:cubicBezTo>
                  <a:cubicBezTo>
                    <a:pt x="7555" y="2337"/>
                    <a:pt x="7511" y="2320"/>
                    <a:pt x="7466" y="2320"/>
                  </a:cubicBezTo>
                  <a:cubicBezTo>
                    <a:pt x="7421" y="2320"/>
                    <a:pt x="7377" y="2337"/>
                    <a:pt x="7347" y="2373"/>
                  </a:cubicBezTo>
                  <a:cubicBezTo>
                    <a:pt x="7335" y="2397"/>
                    <a:pt x="7061" y="2671"/>
                    <a:pt x="7097" y="3135"/>
                  </a:cubicBezTo>
                  <a:cubicBezTo>
                    <a:pt x="6893" y="3013"/>
                    <a:pt x="6663" y="2925"/>
                    <a:pt x="6256" y="2925"/>
                  </a:cubicBezTo>
                  <a:cubicBezTo>
                    <a:pt x="6188" y="2925"/>
                    <a:pt x="6116" y="2928"/>
                    <a:pt x="6037" y="2933"/>
                  </a:cubicBezTo>
                  <a:cubicBezTo>
                    <a:pt x="5942" y="2933"/>
                    <a:pt x="5871" y="3016"/>
                    <a:pt x="5871" y="3111"/>
                  </a:cubicBezTo>
                  <a:cubicBezTo>
                    <a:pt x="5871" y="3195"/>
                    <a:pt x="5966" y="3266"/>
                    <a:pt x="6049" y="3266"/>
                  </a:cubicBezTo>
                  <a:cubicBezTo>
                    <a:pt x="6107" y="3263"/>
                    <a:pt x="6162" y="3262"/>
                    <a:pt x="6212" y="3262"/>
                  </a:cubicBezTo>
                  <a:cubicBezTo>
                    <a:pt x="6813" y="3262"/>
                    <a:pt x="6903" y="3451"/>
                    <a:pt x="7288" y="3671"/>
                  </a:cubicBezTo>
                  <a:cubicBezTo>
                    <a:pt x="7601" y="3871"/>
                    <a:pt x="7925" y="4007"/>
                    <a:pt x="8240" y="4007"/>
                  </a:cubicBezTo>
                  <a:cubicBezTo>
                    <a:pt x="8488" y="4007"/>
                    <a:pt x="8729" y="3923"/>
                    <a:pt x="8954" y="3719"/>
                  </a:cubicBezTo>
                  <a:cubicBezTo>
                    <a:pt x="9073" y="4397"/>
                    <a:pt x="9014" y="4623"/>
                    <a:pt x="8966" y="4957"/>
                  </a:cubicBezTo>
                  <a:cubicBezTo>
                    <a:pt x="8835" y="4969"/>
                    <a:pt x="8442" y="5040"/>
                    <a:pt x="7966" y="5219"/>
                  </a:cubicBezTo>
                  <a:cubicBezTo>
                    <a:pt x="7490" y="5421"/>
                    <a:pt x="7097" y="5671"/>
                    <a:pt x="6752" y="5969"/>
                  </a:cubicBezTo>
                  <a:cubicBezTo>
                    <a:pt x="6442" y="5719"/>
                    <a:pt x="6502" y="5278"/>
                    <a:pt x="6502" y="5254"/>
                  </a:cubicBezTo>
                  <a:cubicBezTo>
                    <a:pt x="6514" y="5159"/>
                    <a:pt x="6454" y="5076"/>
                    <a:pt x="6359" y="5052"/>
                  </a:cubicBezTo>
                  <a:cubicBezTo>
                    <a:pt x="6352" y="5051"/>
                    <a:pt x="6345" y="5050"/>
                    <a:pt x="6337" y="5050"/>
                  </a:cubicBezTo>
                  <a:cubicBezTo>
                    <a:pt x="6260" y="5050"/>
                    <a:pt x="6179" y="5108"/>
                    <a:pt x="6168" y="5195"/>
                  </a:cubicBezTo>
                  <a:cubicBezTo>
                    <a:pt x="6168" y="5219"/>
                    <a:pt x="6085" y="5814"/>
                    <a:pt x="6514" y="6183"/>
                  </a:cubicBezTo>
                  <a:cubicBezTo>
                    <a:pt x="6395" y="6302"/>
                    <a:pt x="6287" y="6445"/>
                    <a:pt x="6204" y="6576"/>
                  </a:cubicBezTo>
                  <a:cubicBezTo>
                    <a:pt x="6145" y="6647"/>
                    <a:pt x="6168" y="6755"/>
                    <a:pt x="6240" y="6814"/>
                  </a:cubicBezTo>
                  <a:cubicBezTo>
                    <a:pt x="6269" y="6835"/>
                    <a:pt x="6300" y="6844"/>
                    <a:pt x="6330" y="6844"/>
                  </a:cubicBezTo>
                  <a:cubicBezTo>
                    <a:pt x="6386" y="6844"/>
                    <a:pt x="6439" y="6813"/>
                    <a:pt x="6478" y="6767"/>
                  </a:cubicBezTo>
                  <a:cubicBezTo>
                    <a:pt x="6657" y="6505"/>
                    <a:pt x="6883" y="6290"/>
                    <a:pt x="7121" y="6100"/>
                  </a:cubicBezTo>
                  <a:lnTo>
                    <a:pt x="7121" y="6100"/>
                  </a:lnTo>
                  <a:cubicBezTo>
                    <a:pt x="7061" y="6576"/>
                    <a:pt x="7299" y="6945"/>
                    <a:pt x="7311" y="6981"/>
                  </a:cubicBezTo>
                  <a:cubicBezTo>
                    <a:pt x="7340" y="7024"/>
                    <a:pt x="7392" y="7050"/>
                    <a:pt x="7446" y="7050"/>
                  </a:cubicBezTo>
                  <a:cubicBezTo>
                    <a:pt x="7481" y="7050"/>
                    <a:pt x="7517" y="7040"/>
                    <a:pt x="7549" y="7017"/>
                  </a:cubicBezTo>
                  <a:cubicBezTo>
                    <a:pt x="7645" y="6957"/>
                    <a:pt x="7657" y="6874"/>
                    <a:pt x="7609" y="6778"/>
                  </a:cubicBezTo>
                  <a:cubicBezTo>
                    <a:pt x="7597" y="6755"/>
                    <a:pt x="7299" y="6266"/>
                    <a:pt x="7585" y="5790"/>
                  </a:cubicBezTo>
                  <a:cubicBezTo>
                    <a:pt x="8145" y="5469"/>
                    <a:pt x="8681" y="5338"/>
                    <a:pt x="8931" y="5290"/>
                  </a:cubicBezTo>
                  <a:lnTo>
                    <a:pt x="8931" y="5290"/>
                  </a:lnTo>
                  <a:cubicBezTo>
                    <a:pt x="8484" y="7304"/>
                    <a:pt x="6730" y="8498"/>
                    <a:pt x="4932" y="8498"/>
                  </a:cubicBezTo>
                  <a:cubicBezTo>
                    <a:pt x="3806" y="8498"/>
                    <a:pt x="2663" y="8031"/>
                    <a:pt x="1811" y="7005"/>
                  </a:cubicBezTo>
                  <a:cubicBezTo>
                    <a:pt x="2061" y="6921"/>
                    <a:pt x="2287" y="6695"/>
                    <a:pt x="2466" y="6350"/>
                  </a:cubicBezTo>
                  <a:cubicBezTo>
                    <a:pt x="2525" y="6231"/>
                    <a:pt x="2430" y="6100"/>
                    <a:pt x="2311" y="6100"/>
                  </a:cubicBezTo>
                  <a:cubicBezTo>
                    <a:pt x="2239" y="6100"/>
                    <a:pt x="2180" y="6147"/>
                    <a:pt x="2144" y="6207"/>
                  </a:cubicBezTo>
                  <a:cubicBezTo>
                    <a:pt x="1965" y="6528"/>
                    <a:pt x="1763" y="6707"/>
                    <a:pt x="1549" y="6707"/>
                  </a:cubicBezTo>
                  <a:cubicBezTo>
                    <a:pt x="1275" y="6290"/>
                    <a:pt x="1132" y="5945"/>
                    <a:pt x="1001" y="5493"/>
                  </a:cubicBezTo>
                  <a:lnTo>
                    <a:pt x="1001" y="5493"/>
                  </a:lnTo>
                  <a:cubicBezTo>
                    <a:pt x="1037" y="5504"/>
                    <a:pt x="1061" y="5504"/>
                    <a:pt x="1108" y="5504"/>
                  </a:cubicBezTo>
                  <a:cubicBezTo>
                    <a:pt x="1418" y="5504"/>
                    <a:pt x="1668" y="5016"/>
                    <a:pt x="1668" y="4397"/>
                  </a:cubicBezTo>
                  <a:cubicBezTo>
                    <a:pt x="1668" y="3790"/>
                    <a:pt x="1418" y="3302"/>
                    <a:pt x="1108" y="3302"/>
                  </a:cubicBezTo>
                  <a:cubicBezTo>
                    <a:pt x="1072" y="3302"/>
                    <a:pt x="1037" y="3314"/>
                    <a:pt x="1001" y="3314"/>
                  </a:cubicBezTo>
                  <a:cubicBezTo>
                    <a:pt x="1156" y="2778"/>
                    <a:pt x="1311" y="2468"/>
                    <a:pt x="1573" y="2099"/>
                  </a:cubicBezTo>
                  <a:cubicBezTo>
                    <a:pt x="2025" y="2147"/>
                    <a:pt x="2537" y="3076"/>
                    <a:pt x="2537" y="4385"/>
                  </a:cubicBezTo>
                  <a:cubicBezTo>
                    <a:pt x="2537" y="4778"/>
                    <a:pt x="2489" y="5147"/>
                    <a:pt x="2406" y="5493"/>
                  </a:cubicBezTo>
                  <a:cubicBezTo>
                    <a:pt x="2370" y="5576"/>
                    <a:pt x="2430" y="5671"/>
                    <a:pt x="2525" y="5695"/>
                  </a:cubicBezTo>
                  <a:cubicBezTo>
                    <a:pt x="2542" y="5702"/>
                    <a:pt x="2559" y="5705"/>
                    <a:pt x="2576" y="5705"/>
                  </a:cubicBezTo>
                  <a:cubicBezTo>
                    <a:pt x="2644" y="5705"/>
                    <a:pt x="2708" y="5652"/>
                    <a:pt x="2727" y="5576"/>
                  </a:cubicBezTo>
                  <a:cubicBezTo>
                    <a:pt x="2823" y="5207"/>
                    <a:pt x="2858" y="4814"/>
                    <a:pt x="2858" y="4397"/>
                  </a:cubicBezTo>
                  <a:cubicBezTo>
                    <a:pt x="2858" y="3730"/>
                    <a:pt x="2739" y="3087"/>
                    <a:pt x="2501" y="2599"/>
                  </a:cubicBezTo>
                  <a:cubicBezTo>
                    <a:pt x="2311" y="2183"/>
                    <a:pt x="2061" y="1921"/>
                    <a:pt x="1775" y="1814"/>
                  </a:cubicBezTo>
                  <a:cubicBezTo>
                    <a:pt x="2299" y="1171"/>
                    <a:pt x="3013" y="682"/>
                    <a:pt x="3859" y="456"/>
                  </a:cubicBezTo>
                  <a:cubicBezTo>
                    <a:pt x="3954" y="432"/>
                    <a:pt x="4013" y="337"/>
                    <a:pt x="3978" y="254"/>
                  </a:cubicBezTo>
                  <a:cubicBezTo>
                    <a:pt x="3959" y="178"/>
                    <a:pt x="3894" y="124"/>
                    <a:pt x="3826" y="124"/>
                  </a:cubicBezTo>
                  <a:cubicBezTo>
                    <a:pt x="3809" y="124"/>
                    <a:pt x="3792" y="128"/>
                    <a:pt x="3775" y="135"/>
                  </a:cubicBezTo>
                  <a:cubicBezTo>
                    <a:pt x="2763" y="397"/>
                    <a:pt x="1930" y="1028"/>
                    <a:pt x="1346" y="1825"/>
                  </a:cubicBezTo>
                  <a:cubicBezTo>
                    <a:pt x="1346" y="1825"/>
                    <a:pt x="1334" y="1825"/>
                    <a:pt x="1311" y="1837"/>
                  </a:cubicBezTo>
                  <a:cubicBezTo>
                    <a:pt x="1239" y="1944"/>
                    <a:pt x="1180" y="2052"/>
                    <a:pt x="1120" y="2159"/>
                  </a:cubicBezTo>
                  <a:cubicBezTo>
                    <a:pt x="1049" y="2290"/>
                    <a:pt x="977" y="2361"/>
                    <a:pt x="799" y="2826"/>
                  </a:cubicBezTo>
                  <a:cubicBezTo>
                    <a:pt x="775" y="2837"/>
                    <a:pt x="775" y="2873"/>
                    <a:pt x="763" y="2885"/>
                  </a:cubicBezTo>
                  <a:cubicBezTo>
                    <a:pt x="1" y="3445"/>
                    <a:pt x="1" y="5350"/>
                    <a:pt x="763" y="5933"/>
                  </a:cubicBezTo>
                  <a:cubicBezTo>
                    <a:pt x="1418" y="7719"/>
                    <a:pt x="3120" y="8838"/>
                    <a:pt x="4918" y="8838"/>
                  </a:cubicBezTo>
                  <a:cubicBezTo>
                    <a:pt x="6668" y="8838"/>
                    <a:pt x="8181" y="7814"/>
                    <a:pt x="8907" y="6338"/>
                  </a:cubicBezTo>
                  <a:cubicBezTo>
                    <a:pt x="8919" y="6338"/>
                    <a:pt x="8931" y="6338"/>
                    <a:pt x="8954" y="6326"/>
                  </a:cubicBezTo>
                  <a:cubicBezTo>
                    <a:pt x="8965" y="6306"/>
                    <a:pt x="10054" y="5294"/>
                    <a:pt x="11047" y="5294"/>
                  </a:cubicBezTo>
                  <a:cubicBezTo>
                    <a:pt x="11211" y="5294"/>
                    <a:pt x="11373" y="5321"/>
                    <a:pt x="11526" y="5385"/>
                  </a:cubicBezTo>
                  <a:cubicBezTo>
                    <a:pt x="11546" y="5391"/>
                    <a:pt x="11567" y="5394"/>
                    <a:pt x="11588" y="5394"/>
                  </a:cubicBezTo>
                  <a:cubicBezTo>
                    <a:pt x="11656" y="5394"/>
                    <a:pt x="11725" y="5363"/>
                    <a:pt x="11752" y="5290"/>
                  </a:cubicBezTo>
                  <a:cubicBezTo>
                    <a:pt x="11824" y="5195"/>
                    <a:pt x="11776" y="5088"/>
                    <a:pt x="11693" y="5064"/>
                  </a:cubicBezTo>
                  <a:cubicBezTo>
                    <a:pt x="11501" y="4987"/>
                    <a:pt x="11302" y="4954"/>
                    <a:pt x="11103" y="4954"/>
                  </a:cubicBezTo>
                  <a:cubicBezTo>
                    <a:pt x="10376" y="4954"/>
                    <a:pt x="9641" y="5392"/>
                    <a:pt x="9193" y="5719"/>
                  </a:cubicBezTo>
                  <a:cubicBezTo>
                    <a:pt x="9454" y="4838"/>
                    <a:pt x="9443" y="3933"/>
                    <a:pt x="9193" y="3111"/>
                  </a:cubicBezTo>
                  <a:lnTo>
                    <a:pt x="9193" y="3111"/>
                  </a:lnTo>
                  <a:cubicBezTo>
                    <a:pt x="9741" y="3514"/>
                    <a:pt x="10437" y="3874"/>
                    <a:pt x="11103" y="3874"/>
                  </a:cubicBezTo>
                  <a:cubicBezTo>
                    <a:pt x="11304" y="3874"/>
                    <a:pt x="11502" y="3841"/>
                    <a:pt x="11693" y="3766"/>
                  </a:cubicBezTo>
                  <a:cubicBezTo>
                    <a:pt x="11776" y="3730"/>
                    <a:pt x="11824" y="3635"/>
                    <a:pt x="11776" y="3540"/>
                  </a:cubicBezTo>
                  <a:cubicBezTo>
                    <a:pt x="11758" y="3469"/>
                    <a:pt x="11695" y="3431"/>
                    <a:pt x="11624" y="3431"/>
                  </a:cubicBezTo>
                  <a:cubicBezTo>
                    <a:pt x="11599" y="3431"/>
                    <a:pt x="11574" y="3436"/>
                    <a:pt x="11550" y="3445"/>
                  </a:cubicBezTo>
                  <a:cubicBezTo>
                    <a:pt x="11396" y="3509"/>
                    <a:pt x="11235" y="3536"/>
                    <a:pt x="11071" y="3536"/>
                  </a:cubicBezTo>
                  <a:cubicBezTo>
                    <a:pt x="10077" y="3536"/>
                    <a:pt x="8988" y="2526"/>
                    <a:pt x="8978" y="2516"/>
                  </a:cubicBezTo>
                  <a:cubicBezTo>
                    <a:pt x="8966" y="2492"/>
                    <a:pt x="8954" y="2492"/>
                    <a:pt x="8943" y="2492"/>
                  </a:cubicBezTo>
                  <a:cubicBezTo>
                    <a:pt x="8219" y="1012"/>
                    <a:pt x="6706" y="1"/>
                    <a:pt x="49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3" name="Google Shape;10383;p59"/>
            <p:cNvSpPr/>
            <p:nvPr/>
          </p:nvSpPr>
          <p:spPr>
            <a:xfrm>
              <a:off x="5073332" y="2140402"/>
              <a:ext cx="44788" cy="20260"/>
            </a:xfrm>
            <a:custGeom>
              <a:avLst/>
              <a:gdLst/>
              <a:ahLst/>
              <a:cxnLst/>
              <a:rect l="l" t="t" r="r" b="b"/>
              <a:pathLst>
                <a:path w="1406" h="636" extrusionOk="0">
                  <a:moveTo>
                    <a:pt x="538" y="1"/>
                  </a:moveTo>
                  <a:cubicBezTo>
                    <a:pt x="389" y="1"/>
                    <a:pt x="234" y="42"/>
                    <a:pt x="84" y="147"/>
                  </a:cubicBezTo>
                  <a:cubicBezTo>
                    <a:pt x="12" y="206"/>
                    <a:pt x="1" y="302"/>
                    <a:pt x="36" y="385"/>
                  </a:cubicBezTo>
                  <a:cubicBezTo>
                    <a:pt x="72" y="428"/>
                    <a:pt x="125" y="449"/>
                    <a:pt x="179" y="449"/>
                  </a:cubicBezTo>
                  <a:cubicBezTo>
                    <a:pt x="216" y="449"/>
                    <a:pt x="253" y="440"/>
                    <a:pt x="286" y="421"/>
                  </a:cubicBezTo>
                  <a:cubicBezTo>
                    <a:pt x="370" y="362"/>
                    <a:pt x="456" y="339"/>
                    <a:pt x="539" y="339"/>
                  </a:cubicBezTo>
                  <a:cubicBezTo>
                    <a:pt x="809" y="339"/>
                    <a:pt x="1045" y="578"/>
                    <a:pt x="1072" y="587"/>
                  </a:cubicBezTo>
                  <a:cubicBezTo>
                    <a:pt x="1096" y="623"/>
                    <a:pt x="1144" y="635"/>
                    <a:pt x="1191" y="635"/>
                  </a:cubicBezTo>
                  <a:cubicBezTo>
                    <a:pt x="1334" y="635"/>
                    <a:pt x="1406" y="457"/>
                    <a:pt x="1310" y="349"/>
                  </a:cubicBezTo>
                  <a:cubicBezTo>
                    <a:pt x="1155" y="194"/>
                    <a:pt x="861" y="1"/>
                    <a:pt x="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4" name="Google Shape;10384;p59"/>
            <p:cNvSpPr/>
            <p:nvPr/>
          </p:nvSpPr>
          <p:spPr>
            <a:xfrm>
              <a:off x="5048294" y="2037988"/>
              <a:ext cx="73617" cy="43705"/>
            </a:xfrm>
            <a:custGeom>
              <a:avLst/>
              <a:gdLst/>
              <a:ahLst/>
              <a:cxnLst/>
              <a:rect l="l" t="t" r="r" b="b"/>
              <a:pathLst>
                <a:path w="2311" h="1372" extrusionOk="0">
                  <a:moveTo>
                    <a:pt x="197" y="1"/>
                  </a:moveTo>
                  <a:cubicBezTo>
                    <a:pt x="170" y="1"/>
                    <a:pt x="144" y="6"/>
                    <a:pt x="120" y="16"/>
                  </a:cubicBezTo>
                  <a:cubicBezTo>
                    <a:pt x="25" y="64"/>
                    <a:pt x="1" y="171"/>
                    <a:pt x="36" y="266"/>
                  </a:cubicBezTo>
                  <a:cubicBezTo>
                    <a:pt x="60" y="278"/>
                    <a:pt x="382" y="862"/>
                    <a:pt x="1108" y="897"/>
                  </a:cubicBezTo>
                  <a:cubicBezTo>
                    <a:pt x="1680" y="945"/>
                    <a:pt x="1977" y="1290"/>
                    <a:pt x="1989" y="1302"/>
                  </a:cubicBezTo>
                  <a:cubicBezTo>
                    <a:pt x="2025" y="1346"/>
                    <a:pt x="2080" y="1372"/>
                    <a:pt x="2132" y="1372"/>
                  </a:cubicBezTo>
                  <a:cubicBezTo>
                    <a:pt x="2166" y="1372"/>
                    <a:pt x="2199" y="1361"/>
                    <a:pt x="2227" y="1338"/>
                  </a:cubicBezTo>
                  <a:cubicBezTo>
                    <a:pt x="2299" y="1278"/>
                    <a:pt x="2311" y="1171"/>
                    <a:pt x="2263" y="1088"/>
                  </a:cubicBezTo>
                  <a:cubicBezTo>
                    <a:pt x="2239" y="1076"/>
                    <a:pt x="1858" y="612"/>
                    <a:pt x="1144" y="576"/>
                  </a:cubicBezTo>
                  <a:cubicBezTo>
                    <a:pt x="584" y="528"/>
                    <a:pt x="358" y="112"/>
                    <a:pt x="358" y="100"/>
                  </a:cubicBezTo>
                  <a:cubicBezTo>
                    <a:pt x="324" y="32"/>
                    <a:pt x="261"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5" name="Google Shape;10385;p59"/>
            <p:cNvSpPr/>
            <p:nvPr/>
          </p:nvSpPr>
          <p:spPr>
            <a:xfrm>
              <a:off x="5026314" y="2238484"/>
              <a:ext cx="59187" cy="30645"/>
            </a:xfrm>
            <a:custGeom>
              <a:avLst/>
              <a:gdLst/>
              <a:ahLst/>
              <a:cxnLst/>
              <a:rect l="l" t="t" r="r" b="b"/>
              <a:pathLst>
                <a:path w="1858" h="962" extrusionOk="0">
                  <a:moveTo>
                    <a:pt x="1677" y="0"/>
                  </a:moveTo>
                  <a:cubicBezTo>
                    <a:pt x="1609" y="0"/>
                    <a:pt x="1542" y="31"/>
                    <a:pt x="1524" y="104"/>
                  </a:cubicBezTo>
                  <a:cubicBezTo>
                    <a:pt x="1502" y="126"/>
                    <a:pt x="1291" y="611"/>
                    <a:pt x="378" y="611"/>
                  </a:cubicBezTo>
                  <a:cubicBezTo>
                    <a:pt x="319" y="611"/>
                    <a:pt x="256" y="608"/>
                    <a:pt x="191" y="604"/>
                  </a:cubicBezTo>
                  <a:cubicBezTo>
                    <a:pt x="84" y="616"/>
                    <a:pt x="0" y="699"/>
                    <a:pt x="0" y="783"/>
                  </a:cubicBezTo>
                  <a:cubicBezTo>
                    <a:pt x="0" y="878"/>
                    <a:pt x="60" y="961"/>
                    <a:pt x="167" y="961"/>
                  </a:cubicBezTo>
                  <a:lnTo>
                    <a:pt x="357" y="961"/>
                  </a:lnTo>
                  <a:cubicBezTo>
                    <a:pt x="1512" y="961"/>
                    <a:pt x="1810" y="259"/>
                    <a:pt x="1834" y="235"/>
                  </a:cubicBezTo>
                  <a:cubicBezTo>
                    <a:pt x="1858" y="140"/>
                    <a:pt x="1822" y="45"/>
                    <a:pt x="1739" y="9"/>
                  </a:cubicBezTo>
                  <a:cubicBezTo>
                    <a:pt x="1719" y="3"/>
                    <a:pt x="1698" y="0"/>
                    <a:pt x="16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86" name="Google Shape;10386;p59"/>
          <p:cNvGrpSpPr/>
          <p:nvPr/>
        </p:nvGrpSpPr>
        <p:grpSpPr>
          <a:xfrm>
            <a:off x="5306224" y="2012313"/>
            <a:ext cx="367925" cy="281694"/>
            <a:chOff x="5306224" y="2012313"/>
            <a:chExt cx="367925" cy="281694"/>
          </a:xfrm>
        </p:grpSpPr>
        <p:sp>
          <p:nvSpPr>
            <p:cNvPr id="10387" name="Google Shape;10387;p59"/>
            <p:cNvSpPr/>
            <p:nvPr/>
          </p:nvSpPr>
          <p:spPr>
            <a:xfrm>
              <a:off x="5483720" y="2123073"/>
              <a:ext cx="47814" cy="73617"/>
            </a:xfrm>
            <a:custGeom>
              <a:avLst/>
              <a:gdLst/>
              <a:ahLst/>
              <a:cxnLst/>
              <a:rect l="l" t="t" r="r" b="b"/>
              <a:pathLst>
                <a:path w="1501" h="2311" extrusionOk="0">
                  <a:moveTo>
                    <a:pt x="1179" y="334"/>
                  </a:moveTo>
                  <a:lnTo>
                    <a:pt x="1179" y="1965"/>
                  </a:lnTo>
                  <a:lnTo>
                    <a:pt x="345" y="1965"/>
                  </a:lnTo>
                  <a:lnTo>
                    <a:pt x="345" y="334"/>
                  </a:lnTo>
                  <a:close/>
                  <a:moveTo>
                    <a:pt x="167" y="0"/>
                  </a:moveTo>
                  <a:cubicBezTo>
                    <a:pt x="83" y="0"/>
                    <a:pt x="0" y="72"/>
                    <a:pt x="0" y="167"/>
                  </a:cubicBezTo>
                  <a:lnTo>
                    <a:pt x="0" y="2144"/>
                  </a:lnTo>
                  <a:cubicBezTo>
                    <a:pt x="0" y="2239"/>
                    <a:pt x="83" y="2310"/>
                    <a:pt x="167" y="2310"/>
                  </a:cubicBezTo>
                  <a:lnTo>
                    <a:pt x="1346" y="2310"/>
                  </a:lnTo>
                  <a:cubicBezTo>
                    <a:pt x="1429" y="2310"/>
                    <a:pt x="1500" y="2239"/>
                    <a:pt x="1500" y="2144"/>
                  </a:cubicBezTo>
                  <a:lnTo>
                    <a:pt x="1500" y="167"/>
                  </a:lnTo>
                  <a:cubicBezTo>
                    <a:pt x="1500" y="72"/>
                    <a:pt x="1429"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8" name="Google Shape;10388;p59"/>
            <p:cNvSpPr/>
            <p:nvPr/>
          </p:nvSpPr>
          <p:spPr>
            <a:xfrm>
              <a:off x="5306224" y="2012313"/>
              <a:ext cx="367925" cy="281694"/>
            </a:xfrm>
            <a:custGeom>
              <a:avLst/>
              <a:gdLst/>
              <a:ahLst/>
              <a:cxnLst/>
              <a:rect l="l" t="t" r="r" b="b"/>
              <a:pathLst>
                <a:path w="11550" h="8843" extrusionOk="0">
                  <a:moveTo>
                    <a:pt x="2084" y="394"/>
                  </a:moveTo>
                  <a:lnTo>
                    <a:pt x="5274" y="620"/>
                  </a:lnTo>
                  <a:lnTo>
                    <a:pt x="5274" y="906"/>
                  </a:lnTo>
                  <a:lnTo>
                    <a:pt x="2084" y="1144"/>
                  </a:lnTo>
                  <a:cubicBezTo>
                    <a:pt x="2074" y="1144"/>
                    <a:pt x="2065" y="1145"/>
                    <a:pt x="2056" y="1145"/>
                  </a:cubicBezTo>
                  <a:cubicBezTo>
                    <a:pt x="1728" y="1145"/>
                    <a:pt x="1555" y="733"/>
                    <a:pt x="1798" y="501"/>
                  </a:cubicBezTo>
                  <a:cubicBezTo>
                    <a:pt x="1869" y="429"/>
                    <a:pt x="1976" y="394"/>
                    <a:pt x="2084" y="394"/>
                  </a:cubicBezTo>
                  <a:close/>
                  <a:moveTo>
                    <a:pt x="5929" y="322"/>
                  </a:moveTo>
                  <a:cubicBezTo>
                    <a:pt x="6108" y="322"/>
                    <a:pt x="6239" y="453"/>
                    <a:pt x="6239" y="632"/>
                  </a:cubicBezTo>
                  <a:lnTo>
                    <a:pt x="6239" y="1370"/>
                  </a:lnTo>
                  <a:lnTo>
                    <a:pt x="5620" y="1370"/>
                  </a:lnTo>
                  <a:lnTo>
                    <a:pt x="5620" y="632"/>
                  </a:lnTo>
                  <a:cubicBezTo>
                    <a:pt x="5620" y="453"/>
                    <a:pt x="5751" y="322"/>
                    <a:pt x="5929" y="322"/>
                  </a:cubicBezTo>
                  <a:close/>
                  <a:moveTo>
                    <a:pt x="6441" y="1691"/>
                  </a:moveTo>
                  <a:lnTo>
                    <a:pt x="6441" y="1918"/>
                  </a:lnTo>
                  <a:lnTo>
                    <a:pt x="5417" y="1918"/>
                  </a:lnTo>
                  <a:lnTo>
                    <a:pt x="5417" y="1691"/>
                  </a:lnTo>
                  <a:close/>
                  <a:moveTo>
                    <a:pt x="6036" y="2263"/>
                  </a:moveTo>
                  <a:lnTo>
                    <a:pt x="6036" y="2465"/>
                  </a:lnTo>
                  <a:lnTo>
                    <a:pt x="5834" y="2465"/>
                  </a:lnTo>
                  <a:lnTo>
                    <a:pt x="5834" y="2263"/>
                  </a:lnTo>
                  <a:close/>
                  <a:moveTo>
                    <a:pt x="8596" y="3632"/>
                  </a:moveTo>
                  <a:cubicBezTo>
                    <a:pt x="8727" y="3632"/>
                    <a:pt x="8834" y="3727"/>
                    <a:pt x="8834" y="3870"/>
                  </a:cubicBezTo>
                  <a:lnTo>
                    <a:pt x="8834" y="4787"/>
                  </a:lnTo>
                  <a:cubicBezTo>
                    <a:pt x="8763" y="4775"/>
                    <a:pt x="8727" y="4739"/>
                    <a:pt x="8692" y="4716"/>
                  </a:cubicBezTo>
                  <a:cubicBezTo>
                    <a:pt x="8394" y="4537"/>
                    <a:pt x="8394" y="4501"/>
                    <a:pt x="8358" y="4466"/>
                  </a:cubicBezTo>
                  <a:lnTo>
                    <a:pt x="8358" y="3870"/>
                  </a:lnTo>
                  <a:cubicBezTo>
                    <a:pt x="8358" y="3727"/>
                    <a:pt x="8465" y="3632"/>
                    <a:pt x="8596" y="3632"/>
                  </a:cubicBezTo>
                  <a:close/>
                  <a:moveTo>
                    <a:pt x="7930" y="2977"/>
                  </a:moveTo>
                  <a:cubicBezTo>
                    <a:pt x="9477" y="2977"/>
                    <a:pt x="10739" y="4168"/>
                    <a:pt x="10870" y="5680"/>
                  </a:cubicBezTo>
                  <a:lnTo>
                    <a:pt x="9144" y="4954"/>
                  </a:lnTo>
                  <a:lnTo>
                    <a:pt x="9144" y="3882"/>
                  </a:lnTo>
                  <a:cubicBezTo>
                    <a:pt x="9144" y="3573"/>
                    <a:pt x="8894" y="3311"/>
                    <a:pt x="8584" y="3311"/>
                  </a:cubicBezTo>
                  <a:cubicBezTo>
                    <a:pt x="8275" y="3311"/>
                    <a:pt x="8013" y="3573"/>
                    <a:pt x="8013" y="3882"/>
                  </a:cubicBezTo>
                  <a:lnTo>
                    <a:pt x="8013" y="4001"/>
                  </a:lnTo>
                  <a:cubicBezTo>
                    <a:pt x="7763" y="3465"/>
                    <a:pt x="7834" y="3168"/>
                    <a:pt x="7822" y="2977"/>
                  </a:cubicBezTo>
                  <a:close/>
                  <a:moveTo>
                    <a:pt x="9168" y="7287"/>
                  </a:moveTo>
                  <a:lnTo>
                    <a:pt x="9537" y="7692"/>
                  </a:lnTo>
                  <a:cubicBezTo>
                    <a:pt x="9835" y="8002"/>
                    <a:pt x="9739" y="8347"/>
                    <a:pt x="9763" y="8466"/>
                  </a:cubicBezTo>
                  <a:lnTo>
                    <a:pt x="6513" y="8466"/>
                  </a:lnTo>
                  <a:cubicBezTo>
                    <a:pt x="6513" y="8347"/>
                    <a:pt x="6429" y="8002"/>
                    <a:pt x="6727" y="7692"/>
                  </a:cubicBezTo>
                  <a:lnTo>
                    <a:pt x="7096" y="7287"/>
                  </a:lnTo>
                  <a:close/>
                  <a:moveTo>
                    <a:pt x="5941" y="1"/>
                  </a:moveTo>
                  <a:cubicBezTo>
                    <a:pt x="5733" y="1"/>
                    <a:pt x="5525" y="108"/>
                    <a:pt x="5394" y="322"/>
                  </a:cubicBezTo>
                  <a:lnTo>
                    <a:pt x="2107" y="96"/>
                  </a:lnTo>
                  <a:cubicBezTo>
                    <a:pt x="2094" y="95"/>
                    <a:pt x="2080" y="95"/>
                    <a:pt x="2066" y="95"/>
                  </a:cubicBezTo>
                  <a:cubicBezTo>
                    <a:pt x="1890" y="95"/>
                    <a:pt x="1715" y="166"/>
                    <a:pt x="1572" y="298"/>
                  </a:cubicBezTo>
                  <a:cubicBezTo>
                    <a:pt x="1107" y="727"/>
                    <a:pt x="1429" y="1513"/>
                    <a:pt x="2060" y="1513"/>
                  </a:cubicBezTo>
                  <a:cubicBezTo>
                    <a:pt x="2064" y="1513"/>
                    <a:pt x="2066" y="1513"/>
                    <a:pt x="2069" y="1513"/>
                  </a:cubicBezTo>
                  <a:cubicBezTo>
                    <a:pt x="2100" y="1513"/>
                    <a:pt x="2213" y="1503"/>
                    <a:pt x="5298" y="1287"/>
                  </a:cubicBezTo>
                  <a:lnTo>
                    <a:pt x="5298" y="1394"/>
                  </a:lnTo>
                  <a:lnTo>
                    <a:pt x="5263" y="1394"/>
                  </a:lnTo>
                  <a:cubicBezTo>
                    <a:pt x="5179" y="1394"/>
                    <a:pt x="5096" y="1465"/>
                    <a:pt x="5096" y="1560"/>
                  </a:cubicBezTo>
                  <a:lnTo>
                    <a:pt x="5096" y="2108"/>
                  </a:lnTo>
                  <a:cubicBezTo>
                    <a:pt x="5096" y="2203"/>
                    <a:pt x="5179" y="2275"/>
                    <a:pt x="5263" y="2275"/>
                  </a:cubicBezTo>
                  <a:lnTo>
                    <a:pt x="5513" y="2275"/>
                  </a:lnTo>
                  <a:lnTo>
                    <a:pt x="5513" y="2477"/>
                  </a:lnTo>
                  <a:lnTo>
                    <a:pt x="1679" y="2477"/>
                  </a:lnTo>
                  <a:lnTo>
                    <a:pt x="1381" y="1608"/>
                  </a:lnTo>
                  <a:cubicBezTo>
                    <a:pt x="1345" y="1525"/>
                    <a:pt x="1286" y="1489"/>
                    <a:pt x="1214" y="1489"/>
                  </a:cubicBezTo>
                  <a:lnTo>
                    <a:pt x="179" y="1489"/>
                  </a:lnTo>
                  <a:cubicBezTo>
                    <a:pt x="71" y="1489"/>
                    <a:pt x="0" y="1572"/>
                    <a:pt x="12" y="1680"/>
                  </a:cubicBezTo>
                  <a:lnTo>
                    <a:pt x="298" y="4430"/>
                  </a:lnTo>
                  <a:cubicBezTo>
                    <a:pt x="310" y="4525"/>
                    <a:pt x="381" y="4585"/>
                    <a:pt x="452" y="4585"/>
                  </a:cubicBezTo>
                  <a:lnTo>
                    <a:pt x="1214" y="4585"/>
                  </a:lnTo>
                  <a:cubicBezTo>
                    <a:pt x="1286" y="4585"/>
                    <a:pt x="1334" y="4537"/>
                    <a:pt x="1369" y="4478"/>
                  </a:cubicBezTo>
                  <a:lnTo>
                    <a:pt x="1750" y="3656"/>
                  </a:lnTo>
                  <a:lnTo>
                    <a:pt x="4536" y="3656"/>
                  </a:lnTo>
                  <a:cubicBezTo>
                    <a:pt x="4655" y="3656"/>
                    <a:pt x="4739" y="3751"/>
                    <a:pt x="4739" y="3870"/>
                  </a:cubicBezTo>
                  <a:cubicBezTo>
                    <a:pt x="4763" y="5311"/>
                    <a:pt x="4715" y="5430"/>
                    <a:pt x="4786" y="5787"/>
                  </a:cubicBezTo>
                  <a:cubicBezTo>
                    <a:pt x="4797" y="5863"/>
                    <a:pt x="4888" y="5920"/>
                    <a:pt x="4976" y="5920"/>
                  </a:cubicBezTo>
                  <a:cubicBezTo>
                    <a:pt x="4984" y="5920"/>
                    <a:pt x="4992" y="5919"/>
                    <a:pt x="5001" y="5918"/>
                  </a:cubicBezTo>
                  <a:cubicBezTo>
                    <a:pt x="5084" y="5906"/>
                    <a:pt x="5144" y="5799"/>
                    <a:pt x="5132" y="5716"/>
                  </a:cubicBezTo>
                  <a:cubicBezTo>
                    <a:pt x="5072" y="5418"/>
                    <a:pt x="5096" y="5299"/>
                    <a:pt x="5084" y="3870"/>
                  </a:cubicBezTo>
                  <a:cubicBezTo>
                    <a:pt x="5084" y="3573"/>
                    <a:pt x="4834" y="3311"/>
                    <a:pt x="4536" y="3311"/>
                  </a:cubicBezTo>
                  <a:lnTo>
                    <a:pt x="1643" y="3311"/>
                  </a:lnTo>
                  <a:cubicBezTo>
                    <a:pt x="1572" y="3311"/>
                    <a:pt x="1524" y="3358"/>
                    <a:pt x="1500" y="3418"/>
                  </a:cubicBezTo>
                  <a:lnTo>
                    <a:pt x="1107" y="4239"/>
                  </a:lnTo>
                  <a:lnTo>
                    <a:pt x="607" y="4239"/>
                  </a:lnTo>
                  <a:lnTo>
                    <a:pt x="357" y="1822"/>
                  </a:lnTo>
                  <a:lnTo>
                    <a:pt x="1095" y="1822"/>
                  </a:lnTo>
                  <a:lnTo>
                    <a:pt x="1393" y="2703"/>
                  </a:lnTo>
                  <a:cubicBezTo>
                    <a:pt x="1429" y="2775"/>
                    <a:pt x="1488" y="2823"/>
                    <a:pt x="1560" y="2823"/>
                  </a:cubicBezTo>
                  <a:lnTo>
                    <a:pt x="7382" y="2823"/>
                  </a:lnTo>
                  <a:cubicBezTo>
                    <a:pt x="7453" y="2823"/>
                    <a:pt x="7525" y="2882"/>
                    <a:pt x="7525" y="2977"/>
                  </a:cubicBezTo>
                  <a:lnTo>
                    <a:pt x="7525" y="3287"/>
                  </a:lnTo>
                  <a:cubicBezTo>
                    <a:pt x="7525" y="4144"/>
                    <a:pt x="8061" y="4882"/>
                    <a:pt x="8787" y="5192"/>
                  </a:cubicBezTo>
                  <a:lnTo>
                    <a:pt x="11216" y="6216"/>
                  </a:lnTo>
                  <a:cubicBezTo>
                    <a:pt x="11156" y="6644"/>
                    <a:pt x="10787" y="6990"/>
                    <a:pt x="10335" y="6990"/>
                  </a:cubicBezTo>
                  <a:lnTo>
                    <a:pt x="6703" y="6990"/>
                  </a:lnTo>
                  <a:cubicBezTo>
                    <a:pt x="6215" y="6990"/>
                    <a:pt x="5751" y="6764"/>
                    <a:pt x="5453" y="6383"/>
                  </a:cubicBezTo>
                  <a:cubicBezTo>
                    <a:pt x="5417" y="6339"/>
                    <a:pt x="5367" y="6313"/>
                    <a:pt x="5315" y="6313"/>
                  </a:cubicBezTo>
                  <a:cubicBezTo>
                    <a:pt x="5282" y="6313"/>
                    <a:pt x="5247" y="6324"/>
                    <a:pt x="5215" y="6347"/>
                  </a:cubicBezTo>
                  <a:cubicBezTo>
                    <a:pt x="5144" y="6406"/>
                    <a:pt x="5132" y="6513"/>
                    <a:pt x="5191" y="6585"/>
                  </a:cubicBezTo>
                  <a:cubicBezTo>
                    <a:pt x="5560" y="7049"/>
                    <a:pt x="6096" y="7323"/>
                    <a:pt x="6679" y="7323"/>
                  </a:cubicBezTo>
                  <a:lnTo>
                    <a:pt x="6513" y="7502"/>
                  </a:lnTo>
                  <a:cubicBezTo>
                    <a:pt x="6132" y="7930"/>
                    <a:pt x="6215" y="8407"/>
                    <a:pt x="6203" y="8514"/>
                  </a:cubicBezTo>
                  <a:lnTo>
                    <a:pt x="5632" y="8514"/>
                  </a:lnTo>
                  <a:lnTo>
                    <a:pt x="5084" y="8002"/>
                  </a:lnTo>
                  <a:cubicBezTo>
                    <a:pt x="5050" y="7973"/>
                    <a:pt x="5008" y="7958"/>
                    <a:pt x="4966" y="7958"/>
                  </a:cubicBezTo>
                  <a:cubicBezTo>
                    <a:pt x="4921" y="7958"/>
                    <a:pt x="4877" y="7976"/>
                    <a:pt x="4846" y="8014"/>
                  </a:cubicBezTo>
                  <a:cubicBezTo>
                    <a:pt x="4786" y="8097"/>
                    <a:pt x="4786" y="8192"/>
                    <a:pt x="4858" y="8252"/>
                  </a:cubicBezTo>
                  <a:cubicBezTo>
                    <a:pt x="5453" y="8776"/>
                    <a:pt x="5453" y="8835"/>
                    <a:pt x="5572" y="8835"/>
                  </a:cubicBezTo>
                  <a:cubicBezTo>
                    <a:pt x="6112" y="8834"/>
                    <a:pt x="6596" y="8834"/>
                    <a:pt x="7031" y="8834"/>
                  </a:cubicBezTo>
                  <a:cubicBezTo>
                    <a:pt x="8939" y="8834"/>
                    <a:pt x="9885" y="8843"/>
                    <a:pt x="10363" y="8843"/>
                  </a:cubicBezTo>
                  <a:cubicBezTo>
                    <a:pt x="10878" y="8843"/>
                    <a:pt x="10850" y="8832"/>
                    <a:pt x="10894" y="8788"/>
                  </a:cubicBezTo>
                  <a:lnTo>
                    <a:pt x="11466" y="8276"/>
                  </a:lnTo>
                  <a:cubicBezTo>
                    <a:pt x="11549" y="8216"/>
                    <a:pt x="11549" y="8109"/>
                    <a:pt x="11490" y="8037"/>
                  </a:cubicBezTo>
                  <a:cubicBezTo>
                    <a:pt x="11421" y="7976"/>
                    <a:pt x="11357" y="7950"/>
                    <a:pt x="11301" y="7950"/>
                  </a:cubicBezTo>
                  <a:cubicBezTo>
                    <a:pt x="11259" y="7950"/>
                    <a:pt x="11222" y="7964"/>
                    <a:pt x="11192" y="7990"/>
                  </a:cubicBezTo>
                  <a:lnTo>
                    <a:pt x="10668" y="8466"/>
                  </a:lnTo>
                  <a:lnTo>
                    <a:pt x="10085" y="8466"/>
                  </a:lnTo>
                  <a:lnTo>
                    <a:pt x="10085" y="8240"/>
                  </a:lnTo>
                  <a:cubicBezTo>
                    <a:pt x="10085" y="7656"/>
                    <a:pt x="9680" y="7371"/>
                    <a:pt x="9620" y="7287"/>
                  </a:cubicBezTo>
                  <a:lnTo>
                    <a:pt x="10299" y="7287"/>
                  </a:lnTo>
                  <a:cubicBezTo>
                    <a:pt x="10966" y="7287"/>
                    <a:pt x="11513" y="6740"/>
                    <a:pt x="11513" y="6073"/>
                  </a:cubicBezTo>
                  <a:cubicBezTo>
                    <a:pt x="11513" y="5990"/>
                    <a:pt x="11466" y="5930"/>
                    <a:pt x="11406" y="5906"/>
                  </a:cubicBezTo>
                  <a:lnTo>
                    <a:pt x="11228" y="5835"/>
                  </a:lnTo>
                  <a:cubicBezTo>
                    <a:pt x="11168" y="4061"/>
                    <a:pt x="9716" y="2632"/>
                    <a:pt x="7930" y="2632"/>
                  </a:cubicBezTo>
                  <a:lnTo>
                    <a:pt x="7703" y="2632"/>
                  </a:lnTo>
                  <a:cubicBezTo>
                    <a:pt x="7620" y="2525"/>
                    <a:pt x="7477" y="2453"/>
                    <a:pt x="7346" y="2453"/>
                  </a:cubicBezTo>
                  <a:lnTo>
                    <a:pt x="6370" y="2453"/>
                  </a:lnTo>
                  <a:lnTo>
                    <a:pt x="6370" y="2239"/>
                  </a:lnTo>
                  <a:lnTo>
                    <a:pt x="6620" y="2239"/>
                  </a:lnTo>
                  <a:cubicBezTo>
                    <a:pt x="6703" y="2239"/>
                    <a:pt x="6775" y="2168"/>
                    <a:pt x="6775" y="2084"/>
                  </a:cubicBezTo>
                  <a:lnTo>
                    <a:pt x="6775" y="1525"/>
                  </a:lnTo>
                  <a:cubicBezTo>
                    <a:pt x="6775" y="1441"/>
                    <a:pt x="6703" y="1370"/>
                    <a:pt x="6620" y="1370"/>
                  </a:cubicBezTo>
                  <a:lnTo>
                    <a:pt x="6584" y="1370"/>
                  </a:lnTo>
                  <a:lnTo>
                    <a:pt x="6584" y="1263"/>
                  </a:lnTo>
                  <a:cubicBezTo>
                    <a:pt x="9701" y="1479"/>
                    <a:pt x="9808" y="1489"/>
                    <a:pt x="9837" y="1489"/>
                  </a:cubicBezTo>
                  <a:cubicBezTo>
                    <a:pt x="9840" y="1489"/>
                    <a:pt x="9842" y="1489"/>
                    <a:pt x="9846" y="1489"/>
                  </a:cubicBezTo>
                  <a:cubicBezTo>
                    <a:pt x="10489" y="1489"/>
                    <a:pt x="10799" y="691"/>
                    <a:pt x="10335" y="263"/>
                  </a:cubicBezTo>
                  <a:cubicBezTo>
                    <a:pt x="10202" y="141"/>
                    <a:pt x="10029" y="71"/>
                    <a:pt x="9842" y="71"/>
                  </a:cubicBezTo>
                  <a:cubicBezTo>
                    <a:pt x="9828" y="71"/>
                    <a:pt x="9813" y="71"/>
                    <a:pt x="9799" y="72"/>
                  </a:cubicBezTo>
                  <a:lnTo>
                    <a:pt x="8989" y="132"/>
                  </a:lnTo>
                  <a:cubicBezTo>
                    <a:pt x="8894" y="132"/>
                    <a:pt x="8823" y="215"/>
                    <a:pt x="8823" y="310"/>
                  </a:cubicBezTo>
                  <a:cubicBezTo>
                    <a:pt x="8823" y="394"/>
                    <a:pt x="8906" y="477"/>
                    <a:pt x="9001" y="477"/>
                  </a:cubicBezTo>
                  <a:lnTo>
                    <a:pt x="9823" y="417"/>
                  </a:lnTo>
                  <a:cubicBezTo>
                    <a:pt x="9836" y="416"/>
                    <a:pt x="9849" y="415"/>
                    <a:pt x="9861" y="415"/>
                  </a:cubicBezTo>
                  <a:cubicBezTo>
                    <a:pt x="10170" y="415"/>
                    <a:pt x="10325" y="820"/>
                    <a:pt x="10097" y="1049"/>
                  </a:cubicBezTo>
                  <a:cubicBezTo>
                    <a:pt x="10025" y="1132"/>
                    <a:pt x="9918" y="1156"/>
                    <a:pt x="9823" y="1156"/>
                  </a:cubicBezTo>
                  <a:lnTo>
                    <a:pt x="6620" y="929"/>
                  </a:lnTo>
                  <a:lnTo>
                    <a:pt x="6620" y="656"/>
                  </a:lnTo>
                  <a:lnTo>
                    <a:pt x="8132" y="548"/>
                  </a:lnTo>
                  <a:cubicBezTo>
                    <a:pt x="8227" y="548"/>
                    <a:pt x="8299" y="453"/>
                    <a:pt x="8299" y="370"/>
                  </a:cubicBezTo>
                  <a:cubicBezTo>
                    <a:pt x="8299" y="275"/>
                    <a:pt x="8215" y="203"/>
                    <a:pt x="8120" y="203"/>
                  </a:cubicBezTo>
                  <a:lnTo>
                    <a:pt x="6489" y="322"/>
                  </a:lnTo>
                  <a:cubicBezTo>
                    <a:pt x="6358" y="108"/>
                    <a:pt x="6150" y="1"/>
                    <a:pt x="5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389" name="Google Shape;10389;p59"/>
          <p:cNvSpPr/>
          <p:nvPr/>
        </p:nvSpPr>
        <p:spPr>
          <a:xfrm>
            <a:off x="5754137" y="2005815"/>
            <a:ext cx="370569" cy="293958"/>
          </a:xfrm>
          <a:custGeom>
            <a:avLst/>
            <a:gdLst/>
            <a:ahLst/>
            <a:cxnLst/>
            <a:rect l="l" t="t" r="r" b="b"/>
            <a:pathLst>
              <a:path w="11633" h="9228" extrusionOk="0">
                <a:moveTo>
                  <a:pt x="7227" y="2193"/>
                </a:moveTo>
                <a:cubicBezTo>
                  <a:pt x="7085" y="2384"/>
                  <a:pt x="6989" y="2622"/>
                  <a:pt x="6989" y="2896"/>
                </a:cubicBezTo>
                <a:lnTo>
                  <a:pt x="6989" y="5098"/>
                </a:lnTo>
                <a:cubicBezTo>
                  <a:pt x="6989" y="5241"/>
                  <a:pt x="7037" y="5360"/>
                  <a:pt x="7108" y="5479"/>
                </a:cubicBezTo>
                <a:cubicBezTo>
                  <a:pt x="6954" y="5539"/>
                  <a:pt x="6787" y="5622"/>
                  <a:pt x="6656" y="5717"/>
                </a:cubicBezTo>
                <a:cubicBezTo>
                  <a:pt x="6632" y="2312"/>
                  <a:pt x="6692" y="2443"/>
                  <a:pt x="6608" y="2193"/>
                </a:cubicBezTo>
                <a:close/>
                <a:moveTo>
                  <a:pt x="5680" y="1"/>
                </a:moveTo>
                <a:cubicBezTo>
                  <a:pt x="5672" y="1"/>
                  <a:pt x="5664" y="1"/>
                  <a:pt x="5656" y="2"/>
                </a:cubicBezTo>
                <a:cubicBezTo>
                  <a:pt x="5561" y="26"/>
                  <a:pt x="5501" y="110"/>
                  <a:pt x="5513" y="217"/>
                </a:cubicBezTo>
                <a:lnTo>
                  <a:pt x="5846" y="1729"/>
                </a:lnTo>
                <a:lnTo>
                  <a:pt x="5263" y="1729"/>
                </a:lnTo>
                <a:lnTo>
                  <a:pt x="4965" y="336"/>
                </a:lnTo>
                <a:cubicBezTo>
                  <a:pt x="4955" y="255"/>
                  <a:pt x="4885" y="200"/>
                  <a:pt x="4805" y="200"/>
                </a:cubicBezTo>
                <a:cubicBezTo>
                  <a:pt x="4791" y="200"/>
                  <a:pt x="4777" y="201"/>
                  <a:pt x="4763" y="205"/>
                </a:cubicBezTo>
                <a:cubicBezTo>
                  <a:pt x="4668" y="217"/>
                  <a:pt x="4608" y="300"/>
                  <a:pt x="4620" y="407"/>
                </a:cubicBezTo>
                <a:lnTo>
                  <a:pt x="4906" y="1753"/>
                </a:lnTo>
                <a:lnTo>
                  <a:pt x="2417" y="1753"/>
                </a:lnTo>
                <a:cubicBezTo>
                  <a:pt x="1084" y="1753"/>
                  <a:pt x="0" y="2836"/>
                  <a:pt x="0" y="4170"/>
                </a:cubicBezTo>
                <a:lnTo>
                  <a:pt x="0" y="6289"/>
                </a:lnTo>
                <a:cubicBezTo>
                  <a:pt x="0" y="7018"/>
                  <a:pt x="582" y="7579"/>
                  <a:pt x="1279" y="7579"/>
                </a:cubicBezTo>
                <a:cubicBezTo>
                  <a:pt x="1367" y="7579"/>
                  <a:pt x="1457" y="7570"/>
                  <a:pt x="1548" y="7551"/>
                </a:cubicBezTo>
                <a:lnTo>
                  <a:pt x="1762" y="7503"/>
                </a:lnTo>
                <a:cubicBezTo>
                  <a:pt x="1858" y="7491"/>
                  <a:pt x="1917" y="7408"/>
                  <a:pt x="1905" y="7301"/>
                </a:cubicBezTo>
                <a:cubicBezTo>
                  <a:pt x="1885" y="7220"/>
                  <a:pt x="1822" y="7165"/>
                  <a:pt x="1737" y="7165"/>
                </a:cubicBezTo>
                <a:cubicBezTo>
                  <a:pt x="1722" y="7165"/>
                  <a:pt x="1707" y="7166"/>
                  <a:pt x="1691" y="7170"/>
                </a:cubicBezTo>
                <a:lnTo>
                  <a:pt x="1465" y="7206"/>
                </a:lnTo>
                <a:cubicBezTo>
                  <a:pt x="1399" y="7219"/>
                  <a:pt x="1334" y="7225"/>
                  <a:pt x="1270" y="7225"/>
                </a:cubicBezTo>
                <a:cubicBezTo>
                  <a:pt x="755" y="7225"/>
                  <a:pt x="322" y="6817"/>
                  <a:pt x="322" y="6277"/>
                </a:cubicBezTo>
                <a:lnTo>
                  <a:pt x="322" y="4158"/>
                </a:lnTo>
                <a:cubicBezTo>
                  <a:pt x="322" y="3015"/>
                  <a:pt x="1262" y="2074"/>
                  <a:pt x="2405" y="2074"/>
                </a:cubicBezTo>
                <a:lnTo>
                  <a:pt x="5846" y="2074"/>
                </a:lnTo>
                <a:cubicBezTo>
                  <a:pt x="6049" y="2074"/>
                  <a:pt x="6215" y="2241"/>
                  <a:pt x="6215" y="2443"/>
                </a:cubicBezTo>
                <a:lnTo>
                  <a:pt x="6215" y="5825"/>
                </a:lnTo>
                <a:cubicBezTo>
                  <a:pt x="6215" y="5979"/>
                  <a:pt x="6144" y="6122"/>
                  <a:pt x="6025" y="6217"/>
                </a:cubicBezTo>
                <a:cubicBezTo>
                  <a:pt x="5858" y="6348"/>
                  <a:pt x="6227" y="6229"/>
                  <a:pt x="2560" y="6968"/>
                </a:cubicBezTo>
                <a:cubicBezTo>
                  <a:pt x="2465" y="6991"/>
                  <a:pt x="2405" y="7075"/>
                  <a:pt x="2417" y="7182"/>
                </a:cubicBezTo>
                <a:cubicBezTo>
                  <a:pt x="2439" y="7258"/>
                  <a:pt x="2511" y="7314"/>
                  <a:pt x="2595" y="7314"/>
                </a:cubicBezTo>
                <a:cubicBezTo>
                  <a:pt x="2603" y="7314"/>
                  <a:pt x="2611" y="7314"/>
                  <a:pt x="2620" y="7313"/>
                </a:cubicBezTo>
                <a:lnTo>
                  <a:pt x="5203" y="6789"/>
                </a:lnTo>
                <a:lnTo>
                  <a:pt x="5203" y="6789"/>
                </a:lnTo>
                <a:cubicBezTo>
                  <a:pt x="5251" y="7360"/>
                  <a:pt x="5203" y="8027"/>
                  <a:pt x="4918" y="8396"/>
                </a:cubicBezTo>
                <a:cubicBezTo>
                  <a:pt x="4858" y="8480"/>
                  <a:pt x="4882" y="8575"/>
                  <a:pt x="4953" y="8634"/>
                </a:cubicBezTo>
                <a:cubicBezTo>
                  <a:pt x="4984" y="8660"/>
                  <a:pt x="5022" y="8672"/>
                  <a:pt x="5059" y="8672"/>
                </a:cubicBezTo>
                <a:cubicBezTo>
                  <a:pt x="5108" y="8672"/>
                  <a:pt x="5158" y="8651"/>
                  <a:pt x="5191" y="8611"/>
                </a:cubicBezTo>
                <a:cubicBezTo>
                  <a:pt x="5596" y="8075"/>
                  <a:pt x="5572" y="7170"/>
                  <a:pt x="5549" y="6729"/>
                </a:cubicBezTo>
                <a:cubicBezTo>
                  <a:pt x="5834" y="6670"/>
                  <a:pt x="5930" y="6670"/>
                  <a:pt x="6096" y="6587"/>
                </a:cubicBezTo>
                <a:lnTo>
                  <a:pt x="6096" y="6587"/>
                </a:lnTo>
                <a:cubicBezTo>
                  <a:pt x="6168" y="7372"/>
                  <a:pt x="6108" y="8325"/>
                  <a:pt x="5632" y="8956"/>
                </a:cubicBezTo>
                <a:cubicBezTo>
                  <a:pt x="5572" y="9027"/>
                  <a:pt x="5596" y="9134"/>
                  <a:pt x="5668" y="9194"/>
                </a:cubicBezTo>
                <a:cubicBezTo>
                  <a:pt x="5696" y="9217"/>
                  <a:pt x="5729" y="9228"/>
                  <a:pt x="5763" y="9228"/>
                </a:cubicBezTo>
                <a:cubicBezTo>
                  <a:pt x="5815" y="9228"/>
                  <a:pt x="5869" y="9202"/>
                  <a:pt x="5906" y="9158"/>
                </a:cubicBezTo>
                <a:cubicBezTo>
                  <a:pt x="6489" y="8396"/>
                  <a:pt x="6549" y="7229"/>
                  <a:pt x="6394" y="6301"/>
                </a:cubicBezTo>
                <a:cubicBezTo>
                  <a:pt x="6632" y="6098"/>
                  <a:pt x="6930" y="5777"/>
                  <a:pt x="7406" y="5777"/>
                </a:cubicBezTo>
                <a:cubicBezTo>
                  <a:pt x="7418" y="5777"/>
                  <a:pt x="7513" y="5813"/>
                  <a:pt x="7561" y="5813"/>
                </a:cubicBezTo>
                <a:cubicBezTo>
                  <a:pt x="7680" y="5813"/>
                  <a:pt x="7799" y="5777"/>
                  <a:pt x="7894" y="5717"/>
                </a:cubicBezTo>
                <a:lnTo>
                  <a:pt x="10978" y="3908"/>
                </a:lnTo>
                <a:cubicBezTo>
                  <a:pt x="11323" y="3693"/>
                  <a:pt x="11549" y="3324"/>
                  <a:pt x="11549" y="2919"/>
                </a:cubicBezTo>
                <a:cubicBezTo>
                  <a:pt x="11633" y="2241"/>
                  <a:pt x="11121" y="1729"/>
                  <a:pt x="10490" y="1729"/>
                </a:cubicBezTo>
                <a:cubicBezTo>
                  <a:pt x="10406" y="1729"/>
                  <a:pt x="10323" y="1812"/>
                  <a:pt x="10323" y="1895"/>
                </a:cubicBezTo>
                <a:cubicBezTo>
                  <a:pt x="10323" y="1991"/>
                  <a:pt x="10406" y="2062"/>
                  <a:pt x="10490" y="2062"/>
                </a:cubicBezTo>
                <a:cubicBezTo>
                  <a:pt x="10942" y="2062"/>
                  <a:pt x="11299" y="2419"/>
                  <a:pt x="11299" y="2860"/>
                </a:cubicBezTo>
                <a:cubicBezTo>
                  <a:pt x="11299" y="3146"/>
                  <a:pt x="11145" y="3419"/>
                  <a:pt x="10895" y="3562"/>
                </a:cubicBezTo>
                <a:lnTo>
                  <a:pt x="7811" y="5384"/>
                </a:lnTo>
                <a:cubicBezTo>
                  <a:pt x="7756" y="5416"/>
                  <a:pt x="7698" y="5430"/>
                  <a:pt x="7642" y="5430"/>
                </a:cubicBezTo>
                <a:cubicBezTo>
                  <a:pt x="7463" y="5430"/>
                  <a:pt x="7299" y="5288"/>
                  <a:pt x="7299" y="5098"/>
                </a:cubicBezTo>
                <a:lnTo>
                  <a:pt x="7299" y="2896"/>
                </a:lnTo>
                <a:cubicBezTo>
                  <a:pt x="7299" y="2431"/>
                  <a:pt x="7680" y="2074"/>
                  <a:pt x="8120" y="2074"/>
                </a:cubicBezTo>
                <a:lnTo>
                  <a:pt x="9704" y="2074"/>
                </a:lnTo>
                <a:cubicBezTo>
                  <a:pt x="9787" y="2074"/>
                  <a:pt x="9859" y="2003"/>
                  <a:pt x="9859" y="1907"/>
                </a:cubicBezTo>
                <a:cubicBezTo>
                  <a:pt x="9859" y="1824"/>
                  <a:pt x="9787" y="1753"/>
                  <a:pt x="9704" y="1753"/>
                </a:cubicBezTo>
                <a:lnTo>
                  <a:pt x="9061" y="1753"/>
                </a:lnTo>
                <a:lnTo>
                  <a:pt x="9347" y="407"/>
                </a:lnTo>
                <a:cubicBezTo>
                  <a:pt x="9359" y="312"/>
                  <a:pt x="9299" y="229"/>
                  <a:pt x="9204" y="205"/>
                </a:cubicBezTo>
                <a:cubicBezTo>
                  <a:pt x="9191" y="201"/>
                  <a:pt x="9179" y="200"/>
                  <a:pt x="9166" y="200"/>
                </a:cubicBezTo>
                <a:cubicBezTo>
                  <a:pt x="9094" y="200"/>
                  <a:pt x="9022" y="255"/>
                  <a:pt x="9001" y="336"/>
                </a:cubicBezTo>
                <a:lnTo>
                  <a:pt x="8704" y="1729"/>
                </a:lnTo>
                <a:lnTo>
                  <a:pt x="8120" y="1729"/>
                </a:lnTo>
                <a:lnTo>
                  <a:pt x="8454" y="217"/>
                </a:lnTo>
                <a:cubicBezTo>
                  <a:pt x="8466" y="121"/>
                  <a:pt x="8406" y="38"/>
                  <a:pt x="8311" y="2"/>
                </a:cubicBezTo>
                <a:cubicBezTo>
                  <a:pt x="8304" y="1"/>
                  <a:pt x="8296" y="1"/>
                  <a:pt x="8289" y="1"/>
                </a:cubicBezTo>
                <a:cubicBezTo>
                  <a:pt x="8212" y="1"/>
                  <a:pt x="8130" y="57"/>
                  <a:pt x="8108" y="133"/>
                </a:cubicBezTo>
                <a:lnTo>
                  <a:pt x="7751" y="1788"/>
                </a:lnTo>
                <a:cubicBezTo>
                  <a:pt x="7692" y="1812"/>
                  <a:pt x="7632" y="1836"/>
                  <a:pt x="7585" y="1848"/>
                </a:cubicBezTo>
                <a:lnTo>
                  <a:pt x="6263" y="1848"/>
                </a:lnTo>
                <a:cubicBezTo>
                  <a:pt x="6251" y="1836"/>
                  <a:pt x="6227" y="1836"/>
                  <a:pt x="6215" y="1824"/>
                </a:cubicBezTo>
                <a:lnTo>
                  <a:pt x="5858" y="133"/>
                </a:lnTo>
                <a:cubicBezTo>
                  <a:pt x="5847" y="57"/>
                  <a:pt x="5767" y="1"/>
                  <a:pt x="5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90" name="Google Shape;10390;p59"/>
          <p:cNvGrpSpPr/>
          <p:nvPr/>
        </p:nvGrpSpPr>
        <p:grpSpPr>
          <a:xfrm>
            <a:off x="6195998" y="1983102"/>
            <a:ext cx="368308" cy="338746"/>
            <a:chOff x="6195998" y="1983102"/>
            <a:chExt cx="368308" cy="338746"/>
          </a:xfrm>
        </p:grpSpPr>
        <p:sp>
          <p:nvSpPr>
            <p:cNvPr id="10391" name="Google Shape;10391;p59"/>
            <p:cNvSpPr/>
            <p:nvPr/>
          </p:nvSpPr>
          <p:spPr>
            <a:xfrm>
              <a:off x="6267289" y="2161012"/>
              <a:ext cx="67533" cy="67150"/>
            </a:xfrm>
            <a:custGeom>
              <a:avLst/>
              <a:gdLst/>
              <a:ahLst/>
              <a:cxnLst/>
              <a:rect l="l" t="t" r="r" b="b"/>
              <a:pathLst>
                <a:path w="2120" h="2108" extrusionOk="0">
                  <a:moveTo>
                    <a:pt x="1060" y="0"/>
                  </a:moveTo>
                  <a:cubicBezTo>
                    <a:pt x="953" y="0"/>
                    <a:pt x="882" y="71"/>
                    <a:pt x="882" y="179"/>
                  </a:cubicBezTo>
                  <a:lnTo>
                    <a:pt x="882" y="881"/>
                  </a:lnTo>
                  <a:lnTo>
                    <a:pt x="179" y="881"/>
                  </a:lnTo>
                  <a:cubicBezTo>
                    <a:pt x="84" y="881"/>
                    <a:pt x="0" y="953"/>
                    <a:pt x="0" y="1060"/>
                  </a:cubicBezTo>
                  <a:cubicBezTo>
                    <a:pt x="0" y="1143"/>
                    <a:pt x="84" y="1238"/>
                    <a:pt x="179" y="1238"/>
                  </a:cubicBezTo>
                  <a:lnTo>
                    <a:pt x="882" y="1238"/>
                  </a:lnTo>
                  <a:lnTo>
                    <a:pt x="882" y="1941"/>
                  </a:lnTo>
                  <a:cubicBezTo>
                    <a:pt x="882" y="2024"/>
                    <a:pt x="953" y="2107"/>
                    <a:pt x="1060" y="2107"/>
                  </a:cubicBezTo>
                  <a:cubicBezTo>
                    <a:pt x="1155" y="2107"/>
                    <a:pt x="1239" y="2036"/>
                    <a:pt x="1239" y="1941"/>
                  </a:cubicBezTo>
                  <a:lnTo>
                    <a:pt x="1239" y="1238"/>
                  </a:lnTo>
                  <a:lnTo>
                    <a:pt x="1941" y="1238"/>
                  </a:lnTo>
                  <a:cubicBezTo>
                    <a:pt x="2048" y="1238"/>
                    <a:pt x="2120" y="1167"/>
                    <a:pt x="2120" y="1060"/>
                  </a:cubicBezTo>
                  <a:cubicBezTo>
                    <a:pt x="2120" y="953"/>
                    <a:pt x="2036" y="881"/>
                    <a:pt x="1941" y="881"/>
                  </a:cubicBezTo>
                  <a:lnTo>
                    <a:pt x="1239" y="881"/>
                  </a:lnTo>
                  <a:lnTo>
                    <a:pt x="1239" y="179"/>
                  </a:lnTo>
                  <a:cubicBezTo>
                    <a:pt x="1239" y="95"/>
                    <a:pt x="1167"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2" name="Google Shape;10392;p59"/>
            <p:cNvSpPr/>
            <p:nvPr/>
          </p:nvSpPr>
          <p:spPr>
            <a:xfrm>
              <a:off x="6235052" y="2128393"/>
              <a:ext cx="132007" cy="131625"/>
            </a:xfrm>
            <a:custGeom>
              <a:avLst/>
              <a:gdLst/>
              <a:ahLst/>
              <a:cxnLst/>
              <a:rect l="l" t="t" r="r" b="b"/>
              <a:pathLst>
                <a:path w="4144" h="4132" extrusionOk="0">
                  <a:moveTo>
                    <a:pt x="2072" y="357"/>
                  </a:moveTo>
                  <a:cubicBezTo>
                    <a:pt x="3013" y="357"/>
                    <a:pt x="3799" y="1131"/>
                    <a:pt x="3799" y="2084"/>
                  </a:cubicBezTo>
                  <a:cubicBezTo>
                    <a:pt x="3799" y="3024"/>
                    <a:pt x="3025" y="3798"/>
                    <a:pt x="2072" y="3798"/>
                  </a:cubicBezTo>
                  <a:cubicBezTo>
                    <a:pt x="1120" y="3798"/>
                    <a:pt x="370" y="3024"/>
                    <a:pt x="370" y="2084"/>
                  </a:cubicBezTo>
                  <a:cubicBezTo>
                    <a:pt x="370" y="1131"/>
                    <a:pt x="1143" y="357"/>
                    <a:pt x="2072" y="357"/>
                  </a:cubicBezTo>
                  <a:close/>
                  <a:moveTo>
                    <a:pt x="2072" y="0"/>
                  </a:moveTo>
                  <a:cubicBezTo>
                    <a:pt x="929" y="0"/>
                    <a:pt x="0" y="917"/>
                    <a:pt x="0" y="2072"/>
                  </a:cubicBezTo>
                  <a:cubicBezTo>
                    <a:pt x="0" y="3215"/>
                    <a:pt x="929" y="4132"/>
                    <a:pt x="2072" y="4132"/>
                  </a:cubicBezTo>
                  <a:cubicBezTo>
                    <a:pt x="3227" y="4132"/>
                    <a:pt x="4144" y="3215"/>
                    <a:pt x="4144" y="2072"/>
                  </a:cubicBezTo>
                  <a:cubicBezTo>
                    <a:pt x="4144" y="917"/>
                    <a:pt x="322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3" name="Google Shape;10393;p59"/>
            <p:cNvSpPr/>
            <p:nvPr/>
          </p:nvSpPr>
          <p:spPr>
            <a:xfrm>
              <a:off x="6195998" y="1983102"/>
              <a:ext cx="368308" cy="338746"/>
            </a:xfrm>
            <a:custGeom>
              <a:avLst/>
              <a:gdLst/>
              <a:ahLst/>
              <a:cxnLst/>
              <a:rect l="l" t="t" r="r" b="b"/>
              <a:pathLst>
                <a:path w="11562" h="10634" extrusionOk="0">
                  <a:moveTo>
                    <a:pt x="3143" y="382"/>
                  </a:moveTo>
                  <a:lnTo>
                    <a:pt x="3143" y="1989"/>
                  </a:lnTo>
                  <a:lnTo>
                    <a:pt x="2227" y="1989"/>
                  </a:lnTo>
                  <a:lnTo>
                    <a:pt x="2227" y="382"/>
                  </a:lnTo>
                  <a:close/>
                  <a:moveTo>
                    <a:pt x="4382" y="382"/>
                  </a:moveTo>
                  <a:lnTo>
                    <a:pt x="4382" y="1989"/>
                  </a:lnTo>
                  <a:lnTo>
                    <a:pt x="3477" y="1989"/>
                  </a:lnTo>
                  <a:lnTo>
                    <a:pt x="3477" y="382"/>
                  </a:lnTo>
                  <a:close/>
                  <a:moveTo>
                    <a:pt x="5584" y="382"/>
                  </a:moveTo>
                  <a:lnTo>
                    <a:pt x="5584" y="1989"/>
                  </a:lnTo>
                  <a:lnTo>
                    <a:pt x="4727" y="1989"/>
                  </a:lnTo>
                  <a:lnTo>
                    <a:pt x="4727" y="382"/>
                  </a:lnTo>
                  <a:close/>
                  <a:moveTo>
                    <a:pt x="4846" y="2323"/>
                  </a:moveTo>
                  <a:lnTo>
                    <a:pt x="4846" y="2656"/>
                  </a:lnTo>
                  <a:lnTo>
                    <a:pt x="1750" y="2656"/>
                  </a:lnTo>
                  <a:lnTo>
                    <a:pt x="1750" y="2323"/>
                  </a:lnTo>
                  <a:close/>
                  <a:moveTo>
                    <a:pt x="7918" y="6073"/>
                  </a:moveTo>
                  <a:cubicBezTo>
                    <a:pt x="8442" y="6073"/>
                    <a:pt x="8894" y="6276"/>
                    <a:pt x="9251" y="6585"/>
                  </a:cubicBezTo>
                  <a:lnTo>
                    <a:pt x="6322" y="9514"/>
                  </a:lnTo>
                  <a:cubicBezTo>
                    <a:pt x="5144" y="8121"/>
                    <a:pt x="6203" y="6073"/>
                    <a:pt x="7918" y="6073"/>
                  </a:cubicBezTo>
                  <a:close/>
                  <a:moveTo>
                    <a:pt x="11204" y="6585"/>
                  </a:moveTo>
                  <a:lnTo>
                    <a:pt x="11204" y="7990"/>
                  </a:lnTo>
                  <a:cubicBezTo>
                    <a:pt x="11204" y="8776"/>
                    <a:pt x="10656" y="9431"/>
                    <a:pt x="9906" y="9562"/>
                  </a:cubicBezTo>
                  <a:cubicBezTo>
                    <a:pt x="10168" y="9193"/>
                    <a:pt x="10347" y="8669"/>
                    <a:pt x="10347" y="8181"/>
                  </a:cubicBezTo>
                  <a:cubicBezTo>
                    <a:pt x="10347" y="7764"/>
                    <a:pt x="10251" y="7550"/>
                    <a:pt x="10251" y="7538"/>
                  </a:cubicBezTo>
                  <a:cubicBezTo>
                    <a:pt x="10168" y="7192"/>
                    <a:pt x="10144" y="7228"/>
                    <a:pt x="10073" y="7073"/>
                  </a:cubicBezTo>
                  <a:cubicBezTo>
                    <a:pt x="9966" y="6883"/>
                    <a:pt x="9954" y="6823"/>
                    <a:pt x="9751" y="6585"/>
                  </a:cubicBezTo>
                  <a:close/>
                  <a:moveTo>
                    <a:pt x="9513" y="6823"/>
                  </a:moveTo>
                  <a:lnTo>
                    <a:pt x="9513" y="6823"/>
                  </a:lnTo>
                  <a:cubicBezTo>
                    <a:pt x="10704" y="8216"/>
                    <a:pt x="9632" y="10240"/>
                    <a:pt x="7918" y="10240"/>
                  </a:cubicBezTo>
                  <a:cubicBezTo>
                    <a:pt x="7890" y="10242"/>
                    <a:pt x="7862" y="10242"/>
                    <a:pt x="7834" y="10242"/>
                  </a:cubicBezTo>
                  <a:cubicBezTo>
                    <a:pt x="7345" y="10242"/>
                    <a:pt x="6910" y="10045"/>
                    <a:pt x="6572" y="9752"/>
                  </a:cubicBezTo>
                  <a:lnTo>
                    <a:pt x="9513" y="6823"/>
                  </a:lnTo>
                  <a:close/>
                  <a:moveTo>
                    <a:pt x="881" y="1"/>
                  </a:moveTo>
                  <a:cubicBezTo>
                    <a:pt x="786" y="1"/>
                    <a:pt x="703" y="84"/>
                    <a:pt x="703" y="180"/>
                  </a:cubicBezTo>
                  <a:lnTo>
                    <a:pt x="703" y="525"/>
                  </a:lnTo>
                  <a:cubicBezTo>
                    <a:pt x="703" y="620"/>
                    <a:pt x="774" y="703"/>
                    <a:pt x="881" y="703"/>
                  </a:cubicBezTo>
                  <a:cubicBezTo>
                    <a:pt x="976" y="703"/>
                    <a:pt x="1060" y="632"/>
                    <a:pt x="1060" y="525"/>
                  </a:cubicBezTo>
                  <a:lnTo>
                    <a:pt x="1060" y="358"/>
                  </a:lnTo>
                  <a:lnTo>
                    <a:pt x="1905" y="358"/>
                  </a:lnTo>
                  <a:lnTo>
                    <a:pt x="1905" y="1966"/>
                  </a:lnTo>
                  <a:lnTo>
                    <a:pt x="1060" y="1966"/>
                  </a:lnTo>
                  <a:lnTo>
                    <a:pt x="1060" y="1418"/>
                  </a:lnTo>
                  <a:cubicBezTo>
                    <a:pt x="1060" y="1323"/>
                    <a:pt x="976" y="1239"/>
                    <a:pt x="881" y="1239"/>
                  </a:cubicBezTo>
                  <a:cubicBezTo>
                    <a:pt x="786" y="1239"/>
                    <a:pt x="703" y="1311"/>
                    <a:pt x="703" y="1418"/>
                  </a:cubicBezTo>
                  <a:lnTo>
                    <a:pt x="703" y="2144"/>
                  </a:lnTo>
                  <a:cubicBezTo>
                    <a:pt x="703" y="2239"/>
                    <a:pt x="774" y="2323"/>
                    <a:pt x="881" y="2323"/>
                  </a:cubicBezTo>
                  <a:lnTo>
                    <a:pt x="1429" y="2323"/>
                  </a:lnTo>
                  <a:lnTo>
                    <a:pt x="1429" y="2656"/>
                  </a:lnTo>
                  <a:lnTo>
                    <a:pt x="905" y="2656"/>
                  </a:lnTo>
                  <a:cubicBezTo>
                    <a:pt x="405" y="2656"/>
                    <a:pt x="0" y="3049"/>
                    <a:pt x="0" y="3561"/>
                  </a:cubicBezTo>
                  <a:lnTo>
                    <a:pt x="0" y="9693"/>
                  </a:lnTo>
                  <a:cubicBezTo>
                    <a:pt x="0" y="10193"/>
                    <a:pt x="405" y="10598"/>
                    <a:pt x="905" y="10598"/>
                  </a:cubicBezTo>
                  <a:lnTo>
                    <a:pt x="3774" y="10598"/>
                  </a:lnTo>
                  <a:cubicBezTo>
                    <a:pt x="3882" y="10598"/>
                    <a:pt x="3953" y="10526"/>
                    <a:pt x="3953" y="10419"/>
                  </a:cubicBezTo>
                  <a:cubicBezTo>
                    <a:pt x="3953" y="10336"/>
                    <a:pt x="3882" y="10240"/>
                    <a:pt x="3774" y="10240"/>
                  </a:cubicBezTo>
                  <a:lnTo>
                    <a:pt x="905" y="10240"/>
                  </a:lnTo>
                  <a:cubicBezTo>
                    <a:pt x="595" y="10240"/>
                    <a:pt x="357" y="9990"/>
                    <a:pt x="357" y="9693"/>
                  </a:cubicBezTo>
                  <a:lnTo>
                    <a:pt x="357" y="3561"/>
                  </a:lnTo>
                  <a:cubicBezTo>
                    <a:pt x="357" y="3251"/>
                    <a:pt x="607" y="3013"/>
                    <a:pt x="905" y="3013"/>
                  </a:cubicBezTo>
                  <a:lnTo>
                    <a:pt x="5739" y="3013"/>
                  </a:lnTo>
                  <a:cubicBezTo>
                    <a:pt x="6060" y="3013"/>
                    <a:pt x="6298" y="3263"/>
                    <a:pt x="6298" y="3561"/>
                  </a:cubicBezTo>
                  <a:lnTo>
                    <a:pt x="6298" y="6359"/>
                  </a:lnTo>
                  <a:lnTo>
                    <a:pt x="6251" y="6407"/>
                  </a:lnTo>
                  <a:cubicBezTo>
                    <a:pt x="6191" y="6466"/>
                    <a:pt x="6132" y="6538"/>
                    <a:pt x="6072" y="6609"/>
                  </a:cubicBezTo>
                  <a:cubicBezTo>
                    <a:pt x="5917" y="6788"/>
                    <a:pt x="5941" y="6752"/>
                    <a:pt x="5787" y="7026"/>
                  </a:cubicBezTo>
                  <a:cubicBezTo>
                    <a:pt x="5715" y="7180"/>
                    <a:pt x="5679" y="7169"/>
                    <a:pt x="5584" y="7538"/>
                  </a:cubicBezTo>
                  <a:cubicBezTo>
                    <a:pt x="5584" y="7550"/>
                    <a:pt x="5477" y="7776"/>
                    <a:pt x="5477" y="8181"/>
                  </a:cubicBezTo>
                  <a:cubicBezTo>
                    <a:pt x="5477" y="8502"/>
                    <a:pt x="5536" y="8835"/>
                    <a:pt x="5667" y="9133"/>
                  </a:cubicBezTo>
                  <a:cubicBezTo>
                    <a:pt x="5703" y="9181"/>
                    <a:pt x="5727" y="9228"/>
                    <a:pt x="5763" y="9288"/>
                  </a:cubicBezTo>
                  <a:cubicBezTo>
                    <a:pt x="5917" y="9621"/>
                    <a:pt x="5906" y="9562"/>
                    <a:pt x="6037" y="9728"/>
                  </a:cubicBezTo>
                  <a:cubicBezTo>
                    <a:pt x="6096" y="9776"/>
                    <a:pt x="6144" y="9859"/>
                    <a:pt x="6203" y="9919"/>
                  </a:cubicBezTo>
                  <a:lnTo>
                    <a:pt x="6239" y="9943"/>
                  </a:lnTo>
                  <a:cubicBezTo>
                    <a:pt x="6144" y="10145"/>
                    <a:pt x="5953" y="10276"/>
                    <a:pt x="5727" y="10276"/>
                  </a:cubicBezTo>
                  <a:lnTo>
                    <a:pt x="4548" y="10276"/>
                  </a:lnTo>
                  <a:cubicBezTo>
                    <a:pt x="4465" y="10276"/>
                    <a:pt x="4370" y="10347"/>
                    <a:pt x="4370" y="10455"/>
                  </a:cubicBezTo>
                  <a:cubicBezTo>
                    <a:pt x="4370" y="10538"/>
                    <a:pt x="4453" y="10633"/>
                    <a:pt x="4548" y="10633"/>
                  </a:cubicBezTo>
                  <a:lnTo>
                    <a:pt x="5727" y="10633"/>
                  </a:lnTo>
                  <a:cubicBezTo>
                    <a:pt x="6060" y="10633"/>
                    <a:pt x="6358" y="10455"/>
                    <a:pt x="6501" y="10169"/>
                  </a:cubicBezTo>
                  <a:cubicBezTo>
                    <a:pt x="6931" y="10472"/>
                    <a:pt x="7425" y="10620"/>
                    <a:pt x="7915" y="10620"/>
                  </a:cubicBezTo>
                  <a:cubicBezTo>
                    <a:pt x="8523" y="10620"/>
                    <a:pt x="9123" y="10391"/>
                    <a:pt x="9585" y="9943"/>
                  </a:cubicBezTo>
                  <a:cubicBezTo>
                    <a:pt x="9606" y="9943"/>
                    <a:pt x="9627" y="9944"/>
                    <a:pt x="9648" y="9944"/>
                  </a:cubicBezTo>
                  <a:cubicBezTo>
                    <a:pt x="10702" y="9944"/>
                    <a:pt x="11549" y="9076"/>
                    <a:pt x="11549" y="8026"/>
                  </a:cubicBezTo>
                  <a:lnTo>
                    <a:pt x="11549" y="4847"/>
                  </a:lnTo>
                  <a:cubicBezTo>
                    <a:pt x="11561" y="3966"/>
                    <a:pt x="10978" y="3192"/>
                    <a:pt x="10144" y="2966"/>
                  </a:cubicBezTo>
                  <a:cubicBezTo>
                    <a:pt x="10132" y="2962"/>
                    <a:pt x="10118" y="2960"/>
                    <a:pt x="10105" y="2960"/>
                  </a:cubicBezTo>
                  <a:cubicBezTo>
                    <a:pt x="10031" y="2960"/>
                    <a:pt x="9952" y="3014"/>
                    <a:pt x="9942" y="3085"/>
                  </a:cubicBezTo>
                  <a:cubicBezTo>
                    <a:pt x="9906" y="3180"/>
                    <a:pt x="9966" y="3275"/>
                    <a:pt x="10061" y="3299"/>
                  </a:cubicBezTo>
                  <a:cubicBezTo>
                    <a:pt x="10740" y="3490"/>
                    <a:pt x="11204" y="4109"/>
                    <a:pt x="11204" y="4811"/>
                  </a:cubicBezTo>
                  <a:lnTo>
                    <a:pt x="11204" y="6228"/>
                  </a:lnTo>
                  <a:lnTo>
                    <a:pt x="9394" y="6228"/>
                  </a:lnTo>
                  <a:cubicBezTo>
                    <a:pt x="9251" y="6121"/>
                    <a:pt x="9275" y="6133"/>
                    <a:pt x="9120" y="6061"/>
                  </a:cubicBezTo>
                  <a:cubicBezTo>
                    <a:pt x="8882" y="5930"/>
                    <a:pt x="8894" y="5942"/>
                    <a:pt x="8704" y="5871"/>
                  </a:cubicBezTo>
                  <a:cubicBezTo>
                    <a:pt x="8465" y="5776"/>
                    <a:pt x="8454" y="5776"/>
                    <a:pt x="8239" y="5752"/>
                  </a:cubicBezTo>
                  <a:cubicBezTo>
                    <a:pt x="8180" y="5728"/>
                    <a:pt x="8120" y="5716"/>
                    <a:pt x="8061" y="5716"/>
                  </a:cubicBezTo>
                  <a:lnTo>
                    <a:pt x="8061" y="4799"/>
                  </a:lnTo>
                  <a:cubicBezTo>
                    <a:pt x="8061" y="4037"/>
                    <a:pt x="8620" y="3382"/>
                    <a:pt x="9358" y="3251"/>
                  </a:cubicBezTo>
                  <a:cubicBezTo>
                    <a:pt x="9454" y="3228"/>
                    <a:pt x="9525" y="3144"/>
                    <a:pt x="9513" y="3037"/>
                  </a:cubicBezTo>
                  <a:cubicBezTo>
                    <a:pt x="9491" y="2960"/>
                    <a:pt x="9418" y="2893"/>
                    <a:pt x="9322" y="2893"/>
                  </a:cubicBezTo>
                  <a:cubicBezTo>
                    <a:pt x="9315" y="2893"/>
                    <a:pt x="9307" y="2893"/>
                    <a:pt x="9299" y="2894"/>
                  </a:cubicBezTo>
                  <a:cubicBezTo>
                    <a:pt x="8382" y="3061"/>
                    <a:pt x="7727" y="3847"/>
                    <a:pt x="7727" y="4787"/>
                  </a:cubicBezTo>
                  <a:lnTo>
                    <a:pt x="7727" y="5716"/>
                  </a:lnTo>
                  <a:cubicBezTo>
                    <a:pt x="7322" y="5752"/>
                    <a:pt x="6965" y="5871"/>
                    <a:pt x="6632" y="6073"/>
                  </a:cubicBezTo>
                  <a:lnTo>
                    <a:pt x="6632" y="3549"/>
                  </a:lnTo>
                  <a:cubicBezTo>
                    <a:pt x="6632" y="3037"/>
                    <a:pt x="6239" y="2632"/>
                    <a:pt x="5727" y="2632"/>
                  </a:cubicBezTo>
                  <a:lnTo>
                    <a:pt x="5203" y="2632"/>
                  </a:lnTo>
                  <a:lnTo>
                    <a:pt x="5203" y="2311"/>
                  </a:lnTo>
                  <a:lnTo>
                    <a:pt x="5763" y="2311"/>
                  </a:lnTo>
                  <a:cubicBezTo>
                    <a:pt x="5846" y="2311"/>
                    <a:pt x="5941" y="2239"/>
                    <a:pt x="5941" y="2132"/>
                  </a:cubicBezTo>
                  <a:lnTo>
                    <a:pt x="5941" y="180"/>
                  </a:lnTo>
                  <a:cubicBezTo>
                    <a:pt x="5941" y="96"/>
                    <a:pt x="5858" y="1"/>
                    <a:pt x="5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94" name="Google Shape;10394;p59"/>
          <p:cNvGrpSpPr/>
          <p:nvPr/>
        </p:nvGrpSpPr>
        <p:grpSpPr>
          <a:xfrm>
            <a:off x="7542031" y="2011835"/>
            <a:ext cx="369072" cy="280037"/>
            <a:chOff x="7542031" y="2011835"/>
            <a:chExt cx="369072" cy="280037"/>
          </a:xfrm>
        </p:grpSpPr>
        <p:sp>
          <p:nvSpPr>
            <p:cNvPr id="10395" name="Google Shape;10395;p59"/>
            <p:cNvSpPr/>
            <p:nvPr/>
          </p:nvSpPr>
          <p:spPr>
            <a:xfrm>
              <a:off x="7542413" y="2281615"/>
              <a:ext cx="368308" cy="10257"/>
            </a:xfrm>
            <a:custGeom>
              <a:avLst/>
              <a:gdLst/>
              <a:ahLst/>
              <a:cxnLst/>
              <a:rect l="l" t="t" r="r" b="b"/>
              <a:pathLst>
                <a:path w="11562" h="322" extrusionOk="0">
                  <a:moveTo>
                    <a:pt x="167" y="0"/>
                  </a:moveTo>
                  <a:cubicBezTo>
                    <a:pt x="72" y="0"/>
                    <a:pt x="0" y="72"/>
                    <a:pt x="0" y="155"/>
                  </a:cubicBezTo>
                  <a:cubicBezTo>
                    <a:pt x="0" y="250"/>
                    <a:pt x="72" y="322"/>
                    <a:pt x="167" y="322"/>
                  </a:cubicBezTo>
                  <a:lnTo>
                    <a:pt x="11395" y="322"/>
                  </a:lnTo>
                  <a:cubicBezTo>
                    <a:pt x="11490" y="322"/>
                    <a:pt x="11561" y="250"/>
                    <a:pt x="11561" y="155"/>
                  </a:cubicBezTo>
                  <a:cubicBezTo>
                    <a:pt x="11561" y="72"/>
                    <a:pt x="11490"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6" name="Google Shape;10396;p59"/>
            <p:cNvSpPr/>
            <p:nvPr/>
          </p:nvSpPr>
          <p:spPr>
            <a:xfrm>
              <a:off x="7542031" y="2117753"/>
              <a:ext cx="369072" cy="108753"/>
            </a:xfrm>
            <a:custGeom>
              <a:avLst/>
              <a:gdLst/>
              <a:ahLst/>
              <a:cxnLst/>
              <a:rect l="l" t="t" r="r" b="b"/>
              <a:pathLst>
                <a:path w="11586" h="3414" extrusionOk="0">
                  <a:moveTo>
                    <a:pt x="191" y="1"/>
                  </a:moveTo>
                  <a:cubicBezTo>
                    <a:pt x="96" y="1"/>
                    <a:pt x="24" y="72"/>
                    <a:pt x="24" y="167"/>
                  </a:cubicBezTo>
                  <a:cubicBezTo>
                    <a:pt x="24" y="263"/>
                    <a:pt x="96" y="334"/>
                    <a:pt x="191" y="334"/>
                  </a:cubicBezTo>
                  <a:lnTo>
                    <a:pt x="3298" y="334"/>
                  </a:lnTo>
                  <a:cubicBezTo>
                    <a:pt x="3501" y="334"/>
                    <a:pt x="3656" y="525"/>
                    <a:pt x="3608" y="715"/>
                  </a:cubicBezTo>
                  <a:cubicBezTo>
                    <a:pt x="3584" y="858"/>
                    <a:pt x="3560" y="1001"/>
                    <a:pt x="3560" y="1156"/>
                  </a:cubicBezTo>
                  <a:cubicBezTo>
                    <a:pt x="3417" y="953"/>
                    <a:pt x="3298" y="775"/>
                    <a:pt x="3013" y="775"/>
                  </a:cubicBezTo>
                  <a:cubicBezTo>
                    <a:pt x="2584" y="775"/>
                    <a:pt x="2524" y="1227"/>
                    <a:pt x="2298" y="1227"/>
                  </a:cubicBezTo>
                  <a:cubicBezTo>
                    <a:pt x="2084" y="1227"/>
                    <a:pt x="2036" y="775"/>
                    <a:pt x="1584" y="775"/>
                  </a:cubicBezTo>
                  <a:cubicBezTo>
                    <a:pt x="1143" y="775"/>
                    <a:pt x="1096" y="1227"/>
                    <a:pt x="870" y="1227"/>
                  </a:cubicBezTo>
                  <a:cubicBezTo>
                    <a:pt x="655" y="1227"/>
                    <a:pt x="608" y="775"/>
                    <a:pt x="155" y="775"/>
                  </a:cubicBezTo>
                  <a:cubicBezTo>
                    <a:pt x="72" y="775"/>
                    <a:pt x="0" y="858"/>
                    <a:pt x="0" y="941"/>
                  </a:cubicBezTo>
                  <a:cubicBezTo>
                    <a:pt x="0" y="1037"/>
                    <a:pt x="72" y="1108"/>
                    <a:pt x="155" y="1108"/>
                  </a:cubicBezTo>
                  <a:cubicBezTo>
                    <a:pt x="250" y="1108"/>
                    <a:pt x="298" y="1156"/>
                    <a:pt x="381" y="1275"/>
                  </a:cubicBezTo>
                  <a:cubicBezTo>
                    <a:pt x="489" y="1394"/>
                    <a:pt x="608" y="1572"/>
                    <a:pt x="870" y="1572"/>
                  </a:cubicBezTo>
                  <a:cubicBezTo>
                    <a:pt x="1310" y="1572"/>
                    <a:pt x="1370" y="1120"/>
                    <a:pt x="1584" y="1120"/>
                  </a:cubicBezTo>
                  <a:cubicBezTo>
                    <a:pt x="1810" y="1120"/>
                    <a:pt x="1858" y="1572"/>
                    <a:pt x="2298" y="1572"/>
                  </a:cubicBezTo>
                  <a:cubicBezTo>
                    <a:pt x="2751" y="1572"/>
                    <a:pt x="2798" y="1120"/>
                    <a:pt x="3013" y="1120"/>
                  </a:cubicBezTo>
                  <a:cubicBezTo>
                    <a:pt x="3227" y="1120"/>
                    <a:pt x="3251" y="1465"/>
                    <a:pt x="3596" y="1549"/>
                  </a:cubicBezTo>
                  <a:cubicBezTo>
                    <a:pt x="3788" y="2713"/>
                    <a:pt x="4782" y="3414"/>
                    <a:pt x="5807" y="3414"/>
                  </a:cubicBezTo>
                  <a:cubicBezTo>
                    <a:pt x="6375" y="3414"/>
                    <a:pt x="6952" y="3199"/>
                    <a:pt x="7406" y="2727"/>
                  </a:cubicBezTo>
                  <a:cubicBezTo>
                    <a:pt x="7739" y="2406"/>
                    <a:pt x="7930" y="1989"/>
                    <a:pt x="8001" y="1549"/>
                  </a:cubicBezTo>
                  <a:cubicBezTo>
                    <a:pt x="8335" y="1465"/>
                    <a:pt x="8370" y="1120"/>
                    <a:pt x="8573" y="1120"/>
                  </a:cubicBezTo>
                  <a:cubicBezTo>
                    <a:pt x="8787" y="1120"/>
                    <a:pt x="8835" y="1572"/>
                    <a:pt x="9287" y="1572"/>
                  </a:cubicBezTo>
                  <a:cubicBezTo>
                    <a:pt x="9728" y="1572"/>
                    <a:pt x="9775" y="1120"/>
                    <a:pt x="10002" y="1120"/>
                  </a:cubicBezTo>
                  <a:cubicBezTo>
                    <a:pt x="10216" y="1120"/>
                    <a:pt x="10264" y="1572"/>
                    <a:pt x="10716" y="1572"/>
                  </a:cubicBezTo>
                  <a:cubicBezTo>
                    <a:pt x="11157" y="1572"/>
                    <a:pt x="11204" y="1120"/>
                    <a:pt x="11430" y="1120"/>
                  </a:cubicBezTo>
                  <a:cubicBezTo>
                    <a:pt x="11514" y="1120"/>
                    <a:pt x="11585" y="1048"/>
                    <a:pt x="11585" y="953"/>
                  </a:cubicBezTo>
                  <a:cubicBezTo>
                    <a:pt x="11585" y="870"/>
                    <a:pt x="11514" y="798"/>
                    <a:pt x="11430" y="798"/>
                  </a:cubicBezTo>
                  <a:cubicBezTo>
                    <a:pt x="10990" y="798"/>
                    <a:pt x="10930" y="1239"/>
                    <a:pt x="10716" y="1239"/>
                  </a:cubicBezTo>
                  <a:cubicBezTo>
                    <a:pt x="10490" y="1239"/>
                    <a:pt x="10442" y="798"/>
                    <a:pt x="10002" y="798"/>
                  </a:cubicBezTo>
                  <a:cubicBezTo>
                    <a:pt x="9561" y="798"/>
                    <a:pt x="9502" y="1239"/>
                    <a:pt x="9287" y="1239"/>
                  </a:cubicBezTo>
                  <a:cubicBezTo>
                    <a:pt x="9061" y="1239"/>
                    <a:pt x="9013" y="798"/>
                    <a:pt x="8573" y="798"/>
                  </a:cubicBezTo>
                  <a:cubicBezTo>
                    <a:pt x="8287" y="798"/>
                    <a:pt x="8168" y="977"/>
                    <a:pt x="8037" y="1132"/>
                  </a:cubicBezTo>
                  <a:cubicBezTo>
                    <a:pt x="8037" y="1001"/>
                    <a:pt x="8013" y="858"/>
                    <a:pt x="7989" y="715"/>
                  </a:cubicBezTo>
                  <a:cubicBezTo>
                    <a:pt x="7942" y="525"/>
                    <a:pt x="8097" y="334"/>
                    <a:pt x="8299" y="334"/>
                  </a:cubicBezTo>
                  <a:lnTo>
                    <a:pt x="11407" y="334"/>
                  </a:lnTo>
                  <a:cubicBezTo>
                    <a:pt x="11502" y="334"/>
                    <a:pt x="11573" y="263"/>
                    <a:pt x="11573" y="167"/>
                  </a:cubicBezTo>
                  <a:cubicBezTo>
                    <a:pt x="11573" y="72"/>
                    <a:pt x="11502" y="1"/>
                    <a:pt x="11407" y="1"/>
                  </a:cubicBezTo>
                  <a:lnTo>
                    <a:pt x="8299" y="1"/>
                  </a:lnTo>
                  <a:cubicBezTo>
                    <a:pt x="8109" y="1"/>
                    <a:pt x="7918" y="96"/>
                    <a:pt x="7799" y="239"/>
                  </a:cubicBezTo>
                  <a:cubicBezTo>
                    <a:pt x="7680" y="394"/>
                    <a:pt x="7620" y="596"/>
                    <a:pt x="7656" y="787"/>
                  </a:cubicBezTo>
                  <a:cubicBezTo>
                    <a:pt x="7935" y="2081"/>
                    <a:pt x="6886" y="3086"/>
                    <a:pt x="5777" y="3086"/>
                  </a:cubicBezTo>
                  <a:cubicBezTo>
                    <a:pt x="5325" y="3086"/>
                    <a:pt x="4863" y="2919"/>
                    <a:pt x="4477" y="2537"/>
                  </a:cubicBezTo>
                  <a:cubicBezTo>
                    <a:pt x="4001" y="2060"/>
                    <a:pt x="3822" y="1406"/>
                    <a:pt x="3953" y="787"/>
                  </a:cubicBezTo>
                  <a:cubicBezTo>
                    <a:pt x="4037" y="394"/>
                    <a:pt x="3727" y="1"/>
                    <a:pt x="3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7" name="Google Shape;10397;p59"/>
            <p:cNvSpPr/>
            <p:nvPr/>
          </p:nvSpPr>
          <p:spPr>
            <a:xfrm>
              <a:off x="7636099" y="2216376"/>
              <a:ext cx="18986" cy="18986"/>
            </a:xfrm>
            <a:custGeom>
              <a:avLst/>
              <a:gdLst/>
              <a:ahLst/>
              <a:cxnLst/>
              <a:rect l="l" t="t" r="r" b="b"/>
              <a:pathLst>
                <a:path w="596" h="596" extrusionOk="0">
                  <a:moveTo>
                    <a:pt x="298" y="0"/>
                  </a:moveTo>
                  <a:cubicBezTo>
                    <a:pt x="143" y="0"/>
                    <a:pt x="0" y="143"/>
                    <a:pt x="0" y="298"/>
                  </a:cubicBezTo>
                  <a:cubicBezTo>
                    <a:pt x="0" y="465"/>
                    <a:pt x="143" y="596"/>
                    <a:pt x="298" y="596"/>
                  </a:cubicBezTo>
                  <a:cubicBezTo>
                    <a:pt x="464" y="596"/>
                    <a:pt x="595" y="465"/>
                    <a:pt x="595" y="298"/>
                  </a:cubicBezTo>
                  <a:cubicBezTo>
                    <a:pt x="595" y="143"/>
                    <a:pt x="464" y="24"/>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8" name="Google Shape;10398;p59"/>
            <p:cNvSpPr/>
            <p:nvPr/>
          </p:nvSpPr>
          <p:spPr>
            <a:xfrm>
              <a:off x="7559105" y="2240268"/>
              <a:ext cx="18986" cy="18986"/>
            </a:xfrm>
            <a:custGeom>
              <a:avLst/>
              <a:gdLst/>
              <a:ahLst/>
              <a:cxnLst/>
              <a:rect l="l" t="t" r="r" b="b"/>
              <a:pathLst>
                <a:path w="596" h="596" extrusionOk="0">
                  <a:moveTo>
                    <a:pt x="298" y="0"/>
                  </a:moveTo>
                  <a:cubicBezTo>
                    <a:pt x="131" y="0"/>
                    <a:pt x="0" y="131"/>
                    <a:pt x="0" y="298"/>
                  </a:cubicBezTo>
                  <a:cubicBezTo>
                    <a:pt x="0" y="465"/>
                    <a:pt x="131" y="596"/>
                    <a:pt x="298" y="596"/>
                  </a:cubicBezTo>
                  <a:cubicBezTo>
                    <a:pt x="453" y="596"/>
                    <a:pt x="595" y="465"/>
                    <a:pt x="595" y="298"/>
                  </a:cubicBezTo>
                  <a:cubicBezTo>
                    <a:pt x="595" y="143"/>
                    <a:pt x="453"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9" name="Google Shape;10399;p59"/>
            <p:cNvSpPr/>
            <p:nvPr/>
          </p:nvSpPr>
          <p:spPr>
            <a:xfrm>
              <a:off x="7582614" y="2194365"/>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5" y="596"/>
                    <a:pt x="596" y="453"/>
                    <a:pt x="596" y="298"/>
                  </a:cubicBezTo>
                  <a:cubicBezTo>
                    <a:pt x="596" y="132"/>
                    <a:pt x="465" y="13"/>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0" name="Google Shape;10400;p59"/>
            <p:cNvSpPr/>
            <p:nvPr/>
          </p:nvSpPr>
          <p:spPr>
            <a:xfrm>
              <a:off x="7798400" y="2216376"/>
              <a:ext cx="19017" cy="18986"/>
            </a:xfrm>
            <a:custGeom>
              <a:avLst/>
              <a:gdLst/>
              <a:ahLst/>
              <a:cxnLst/>
              <a:rect l="l" t="t" r="r" b="b"/>
              <a:pathLst>
                <a:path w="597" h="596" extrusionOk="0">
                  <a:moveTo>
                    <a:pt x="299" y="0"/>
                  </a:moveTo>
                  <a:cubicBezTo>
                    <a:pt x="132" y="0"/>
                    <a:pt x="1" y="143"/>
                    <a:pt x="1" y="298"/>
                  </a:cubicBezTo>
                  <a:cubicBezTo>
                    <a:pt x="1" y="465"/>
                    <a:pt x="132" y="596"/>
                    <a:pt x="299" y="596"/>
                  </a:cubicBezTo>
                  <a:cubicBezTo>
                    <a:pt x="465" y="596"/>
                    <a:pt x="596" y="465"/>
                    <a:pt x="596" y="298"/>
                  </a:cubicBezTo>
                  <a:cubicBezTo>
                    <a:pt x="596" y="143"/>
                    <a:pt x="465" y="24"/>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1" name="Google Shape;10401;p59"/>
            <p:cNvSpPr/>
            <p:nvPr/>
          </p:nvSpPr>
          <p:spPr>
            <a:xfrm>
              <a:off x="7875043" y="2240268"/>
              <a:ext cx="18986" cy="18986"/>
            </a:xfrm>
            <a:custGeom>
              <a:avLst/>
              <a:gdLst/>
              <a:ahLst/>
              <a:cxnLst/>
              <a:rect l="l" t="t" r="r" b="b"/>
              <a:pathLst>
                <a:path w="596" h="596" extrusionOk="0">
                  <a:moveTo>
                    <a:pt x="298" y="0"/>
                  </a:moveTo>
                  <a:cubicBezTo>
                    <a:pt x="143" y="0"/>
                    <a:pt x="0" y="131"/>
                    <a:pt x="0" y="298"/>
                  </a:cubicBezTo>
                  <a:cubicBezTo>
                    <a:pt x="0" y="465"/>
                    <a:pt x="143" y="596"/>
                    <a:pt x="298" y="596"/>
                  </a:cubicBezTo>
                  <a:cubicBezTo>
                    <a:pt x="464" y="596"/>
                    <a:pt x="595" y="465"/>
                    <a:pt x="595" y="298"/>
                  </a:cubicBezTo>
                  <a:cubicBezTo>
                    <a:pt x="595" y="143"/>
                    <a:pt x="464" y="12"/>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2" name="Google Shape;10402;p59"/>
            <p:cNvSpPr/>
            <p:nvPr/>
          </p:nvSpPr>
          <p:spPr>
            <a:xfrm>
              <a:off x="7851502" y="2194365"/>
              <a:ext cx="19017" cy="19017"/>
            </a:xfrm>
            <a:custGeom>
              <a:avLst/>
              <a:gdLst/>
              <a:ahLst/>
              <a:cxnLst/>
              <a:rect l="l" t="t" r="r" b="b"/>
              <a:pathLst>
                <a:path w="597" h="597" extrusionOk="0">
                  <a:moveTo>
                    <a:pt x="299" y="1"/>
                  </a:moveTo>
                  <a:cubicBezTo>
                    <a:pt x="132" y="1"/>
                    <a:pt x="1" y="132"/>
                    <a:pt x="1" y="298"/>
                  </a:cubicBezTo>
                  <a:cubicBezTo>
                    <a:pt x="1" y="453"/>
                    <a:pt x="132" y="596"/>
                    <a:pt x="299" y="596"/>
                  </a:cubicBezTo>
                  <a:cubicBezTo>
                    <a:pt x="465" y="596"/>
                    <a:pt x="596" y="453"/>
                    <a:pt x="596" y="298"/>
                  </a:cubicBezTo>
                  <a:cubicBezTo>
                    <a:pt x="596" y="132"/>
                    <a:pt x="465" y="13"/>
                    <a:pt x="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3" name="Google Shape;10403;p59"/>
            <p:cNvSpPr/>
            <p:nvPr/>
          </p:nvSpPr>
          <p:spPr>
            <a:xfrm>
              <a:off x="7680090" y="2011835"/>
              <a:ext cx="106205" cy="189028"/>
            </a:xfrm>
            <a:custGeom>
              <a:avLst/>
              <a:gdLst/>
              <a:ahLst/>
              <a:cxnLst/>
              <a:rect l="l" t="t" r="r" b="b"/>
              <a:pathLst>
                <a:path w="3334" h="5934" extrusionOk="0">
                  <a:moveTo>
                    <a:pt x="1448" y="1"/>
                  </a:moveTo>
                  <a:cubicBezTo>
                    <a:pt x="1340" y="1"/>
                    <a:pt x="1233" y="69"/>
                    <a:pt x="1215" y="206"/>
                  </a:cubicBezTo>
                  <a:lnTo>
                    <a:pt x="857" y="2421"/>
                  </a:lnTo>
                  <a:cubicBezTo>
                    <a:pt x="774" y="2838"/>
                    <a:pt x="596" y="3254"/>
                    <a:pt x="322" y="3611"/>
                  </a:cubicBezTo>
                  <a:cubicBezTo>
                    <a:pt x="107" y="3885"/>
                    <a:pt x="0" y="4207"/>
                    <a:pt x="24" y="4552"/>
                  </a:cubicBezTo>
                  <a:cubicBezTo>
                    <a:pt x="36" y="4921"/>
                    <a:pt x="179" y="5266"/>
                    <a:pt x="453" y="5516"/>
                  </a:cubicBezTo>
                  <a:cubicBezTo>
                    <a:pt x="738" y="5790"/>
                    <a:pt x="1096" y="5933"/>
                    <a:pt x="1465" y="5933"/>
                  </a:cubicBezTo>
                  <a:cubicBezTo>
                    <a:pt x="2655" y="5933"/>
                    <a:pt x="3334" y="4540"/>
                    <a:pt x="2584" y="3600"/>
                  </a:cubicBezTo>
                  <a:cubicBezTo>
                    <a:pt x="2370" y="3350"/>
                    <a:pt x="2227" y="3064"/>
                    <a:pt x="2131" y="2754"/>
                  </a:cubicBezTo>
                  <a:cubicBezTo>
                    <a:pt x="2112" y="2678"/>
                    <a:pt x="2048" y="2625"/>
                    <a:pt x="1980" y="2625"/>
                  </a:cubicBezTo>
                  <a:cubicBezTo>
                    <a:pt x="1963" y="2625"/>
                    <a:pt x="1946" y="2628"/>
                    <a:pt x="1929" y="2635"/>
                  </a:cubicBezTo>
                  <a:cubicBezTo>
                    <a:pt x="1834" y="2659"/>
                    <a:pt x="1786" y="2754"/>
                    <a:pt x="1810" y="2838"/>
                  </a:cubicBezTo>
                  <a:cubicBezTo>
                    <a:pt x="2096" y="3790"/>
                    <a:pt x="2548" y="3802"/>
                    <a:pt x="2548" y="4493"/>
                  </a:cubicBezTo>
                  <a:cubicBezTo>
                    <a:pt x="2548" y="5092"/>
                    <a:pt x="2072" y="5576"/>
                    <a:pt x="1463" y="5576"/>
                  </a:cubicBezTo>
                  <a:cubicBezTo>
                    <a:pt x="1456" y="5576"/>
                    <a:pt x="1448" y="5576"/>
                    <a:pt x="1441" y="5576"/>
                  </a:cubicBezTo>
                  <a:cubicBezTo>
                    <a:pt x="548" y="5564"/>
                    <a:pt x="36" y="4516"/>
                    <a:pt x="584" y="3802"/>
                  </a:cubicBezTo>
                  <a:cubicBezTo>
                    <a:pt x="893" y="3409"/>
                    <a:pt x="1108" y="2945"/>
                    <a:pt x="1179" y="2468"/>
                  </a:cubicBezTo>
                  <a:lnTo>
                    <a:pt x="1453" y="849"/>
                  </a:lnTo>
                  <a:lnTo>
                    <a:pt x="1631" y="1945"/>
                  </a:lnTo>
                  <a:cubicBezTo>
                    <a:pt x="1642" y="2033"/>
                    <a:pt x="1725" y="2101"/>
                    <a:pt x="1803" y="2101"/>
                  </a:cubicBezTo>
                  <a:cubicBezTo>
                    <a:pt x="1810" y="2101"/>
                    <a:pt x="1816" y="2100"/>
                    <a:pt x="1822" y="2099"/>
                  </a:cubicBezTo>
                  <a:cubicBezTo>
                    <a:pt x="1905" y="2076"/>
                    <a:pt x="1989" y="1992"/>
                    <a:pt x="1965" y="1897"/>
                  </a:cubicBezTo>
                  <a:lnTo>
                    <a:pt x="1691" y="206"/>
                  </a:lnTo>
                  <a:cubicBezTo>
                    <a:pt x="1667" y="69"/>
                    <a:pt x="1557" y="1"/>
                    <a:pt x="14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04" name="Google Shape;10404;p59"/>
          <p:cNvGrpSpPr/>
          <p:nvPr/>
        </p:nvGrpSpPr>
        <p:grpSpPr>
          <a:xfrm>
            <a:off x="8010427" y="3348503"/>
            <a:ext cx="278795" cy="351615"/>
            <a:chOff x="8010427" y="3348503"/>
            <a:chExt cx="278795" cy="351615"/>
          </a:xfrm>
        </p:grpSpPr>
        <p:sp>
          <p:nvSpPr>
            <p:cNvPr id="10405" name="Google Shape;10405;p59"/>
            <p:cNvSpPr/>
            <p:nvPr/>
          </p:nvSpPr>
          <p:spPr>
            <a:xfrm>
              <a:off x="8010427" y="3348503"/>
              <a:ext cx="278795" cy="351615"/>
            </a:xfrm>
            <a:custGeom>
              <a:avLst/>
              <a:gdLst/>
              <a:ahLst/>
              <a:cxnLst/>
              <a:rect l="l" t="t" r="r" b="b"/>
              <a:pathLst>
                <a:path w="8752" h="11038" extrusionOk="0">
                  <a:moveTo>
                    <a:pt x="6216" y="322"/>
                  </a:moveTo>
                  <a:cubicBezTo>
                    <a:pt x="6323" y="322"/>
                    <a:pt x="6406" y="405"/>
                    <a:pt x="6406" y="512"/>
                  </a:cubicBezTo>
                  <a:lnTo>
                    <a:pt x="6406" y="1215"/>
                  </a:lnTo>
                  <a:cubicBezTo>
                    <a:pt x="6406" y="1310"/>
                    <a:pt x="6323" y="1405"/>
                    <a:pt x="6216" y="1405"/>
                  </a:cubicBezTo>
                  <a:lnTo>
                    <a:pt x="5311" y="1405"/>
                  </a:lnTo>
                  <a:cubicBezTo>
                    <a:pt x="5216" y="1405"/>
                    <a:pt x="5144" y="1477"/>
                    <a:pt x="5144" y="1572"/>
                  </a:cubicBezTo>
                  <a:cubicBezTo>
                    <a:pt x="5144" y="1893"/>
                    <a:pt x="4882" y="2144"/>
                    <a:pt x="4561" y="2144"/>
                  </a:cubicBezTo>
                  <a:lnTo>
                    <a:pt x="4203" y="2144"/>
                  </a:lnTo>
                  <a:cubicBezTo>
                    <a:pt x="3882" y="2144"/>
                    <a:pt x="3632" y="1882"/>
                    <a:pt x="3632" y="1572"/>
                  </a:cubicBezTo>
                  <a:cubicBezTo>
                    <a:pt x="3632" y="1477"/>
                    <a:pt x="3549" y="1405"/>
                    <a:pt x="3465" y="1405"/>
                  </a:cubicBezTo>
                  <a:lnTo>
                    <a:pt x="2560" y="1405"/>
                  </a:lnTo>
                  <a:cubicBezTo>
                    <a:pt x="2453" y="1405"/>
                    <a:pt x="2358" y="1310"/>
                    <a:pt x="2358" y="1215"/>
                  </a:cubicBezTo>
                  <a:lnTo>
                    <a:pt x="2346" y="512"/>
                  </a:lnTo>
                  <a:cubicBezTo>
                    <a:pt x="2346" y="405"/>
                    <a:pt x="2441" y="322"/>
                    <a:pt x="2537" y="322"/>
                  </a:cubicBezTo>
                  <a:close/>
                  <a:moveTo>
                    <a:pt x="2525" y="0"/>
                  </a:moveTo>
                  <a:cubicBezTo>
                    <a:pt x="2239" y="0"/>
                    <a:pt x="2025" y="227"/>
                    <a:pt x="2025" y="512"/>
                  </a:cubicBezTo>
                  <a:lnTo>
                    <a:pt x="632" y="512"/>
                  </a:lnTo>
                  <a:cubicBezTo>
                    <a:pt x="274" y="512"/>
                    <a:pt x="1" y="798"/>
                    <a:pt x="1" y="1143"/>
                  </a:cubicBezTo>
                  <a:lnTo>
                    <a:pt x="1" y="7656"/>
                  </a:lnTo>
                  <a:cubicBezTo>
                    <a:pt x="1" y="7739"/>
                    <a:pt x="72" y="7823"/>
                    <a:pt x="155" y="7823"/>
                  </a:cubicBezTo>
                  <a:cubicBezTo>
                    <a:pt x="251" y="7823"/>
                    <a:pt x="322" y="7739"/>
                    <a:pt x="322" y="7656"/>
                  </a:cubicBezTo>
                  <a:lnTo>
                    <a:pt x="322" y="1143"/>
                  </a:lnTo>
                  <a:cubicBezTo>
                    <a:pt x="322" y="965"/>
                    <a:pt x="477" y="822"/>
                    <a:pt x="655" y="822"/>
                  </a:cubicBezTo>
                  <a:lnTo>
                    <a:pt x="1036" y="822"/>
                  </a:lnTo>
                  <a:lnTo>
                    <a:pt x="1036" y="9918"/>
                  </a:lnTo>
                  <a:cubicBezTo>
                    <a:pt x="1036" y="10002"/>
                    <a:pt x="1108" y="10085"/>
                    <a:pt x="1203" y="10085"/>
                  </a:cubicBezTo>
                  <a:lnTo>
                    <a:pt x="7573" y="10085"/>
                  </a:lnTo>
                  <a:cubicBezTo>
                    <a:pt x="7656" y="10085"/>
                    <a:pt x="7728" y="10002"/>
                    <a:pt x="7728" y="9918"/>
                  </a:cubicBezTo>
                  <a:lnTo>
                    <a:pt x="7728" y="822"/>
                  </a:lnTo>
                  <a:lnTo>
                    <a:pt x="8121" y="822"/>
                  </a:lnTo>
                  <a:cubicBezTo>
                    <a:pt x="8299" y="822"/>
                    <a:pt x="8442" y="965"/>
                    <a:pt x="8442" y="1143"/>
                  </a:cubicBezTo>
                  <a:lnTo>
                    <a:pt x="8442" y="10395"/>
                  </a:lnTo>
                  <a:cubicBezTo>
                    <a:pt x="8442" y="10573"/>
                    <a:pt x="8299" y="10716"/>
                    <a:pt x="8121" y="10716"/>
                  </a:cubicBezTo>
                  <a:lnTo>
                    <a:pt x="667" y="10716"/>
                  </a:lnTo>
                  <a:cubicBezTo>
                    <a:pt x="489" y="10716"/>
                    <a:pt x="334" y="10573"/>
                    <a:pt x="334" y="10395"/>
                  </a:cubicBezTo>
                  <a:lnTo>
                    <a:pt x="334" y="8418"/>
                  </a:lnTo>
                  <a:cubicBezTo>
                    <a:pt x="334" y="8323"/>
                    <a:pt x="263" y="8251"/>
                    <a:pt x="167" y="8251"/>
                  </a:cubicBezTo>
                  <a:cubicBezTo>
                    <a:pt x="84" y="8251"/>
                    <a:pt x="12" y="8323"/>
                    <a:pt x="12" y="8418"/>
                  </a:cubicBezTo>
                  <a:lnTo>
                    <a:pt x="12" y="10395"/>
                  </a:lnTo>
                  <a:cubicBezTo>
                    <a:pt x="12" y="10752"/>
                    <a:pt x="298" y="11037"/>
                    <a:pt x="644" y="11037"/>
                  </a:cubicBezTo>
                  <a:lnTo>
                    <a:pt x="8109" y="11037"/>
                  </a:lnTo>
                  <a:cubicBezTo>
                    <a:pt x="8466" y="11037"/>
                    <a:pt x="8740" y="10752"/>
                    <a:pt x="8740" y="10395"/>
                  </a:cubicBezTo>
                  <a:lnTo>
                    <a:pt x="8740" y="1143"/>
                  </a:lnTo>
                  <a:cubicBezTo>
                    <a:pt x="8752" y="810"/>
                    <a:pt x="8454" y="512"/>
                    <a:pt x="8109" y="512"/>
                  </a:cubicBezTo>
                  <a:lnTo>
                    <a:pt x="7299" y="512"/>
                  </a:lnTo>
                  <a:cubicBezTo>
                    <a:pt x="7216" y="512"/>
                    <a:pt x="7144" y="584"/>
                    <a:pt x="7144" y="679"/>
                  </a:cubicBezTo>
                  <a:cubicBezTo>
                    <a:pt x="7144" y="762"/>
                    <a:pt x="7216" y="834"/>
                    <a:pt x="7299" y="834"/>
                  </a:cubicBezTo>
                  <a:lnTo>
                    <a:pt x="7406" y="834"/>
                  </a:lnTo>
                  <a:lnTo>
                    <a:pt x="7406" y="9764"/>
                  </a:lnTo>
                  <a:lnTo>
                    <a:pt x="1370" y="9764"/>
                  </a:lnTo>
                  <a:lnTo>
                    <a:pt x="1370" y="834"/>
                  </a:lnTo>
                  <a:lnTo>
                    <a:pt x="2037" y="834"/>
                  </a:lnTo>
                  <a:lnTo>
                    <a:pt x="2037" y="1215"/>
                  </a:lnTo>
                  <a:cubicBezTo>
                    <a:pt x="2037" y="1489"/>
                    <a:pt x="2263" y="1715"/>
                    <a:pt x="2537" y="1715"/>
                  </a:cubicBezTo>
                  <a:lnTo>
                    <a:pt x="3299" y="1715"/>
                  </a:lnTo>
                  <a:cubicBezTo>
                    <a:pt x="3370" y="2132"/>
                    <a:pt x="3751" y="2465"/>
                    <a:pt x="4192" y="2465"/>
                  </a:cubicBezTo>
                  <a:lnTo>
                    <a:pt x="4549" y="2465"/>
                  </a:lnTo>
                  <a:cubicBezTo>
                    <a:pt x="5001" y="2465"/>
                    <a:pt x="5370" y="2132"/>
                    <a:pt x="5442" y="1715"/>
                  </a:cubicBezTo>
                  <a:lnTo>
                    <a:pt x="6204" y="1715"/>
                  </a:lnTo>
                  <a:cubicBezTo>
                    <a:pt x="6489" y="1715"/>
                    <a:pt x="6704" y="1489"/>
                    <a:pt x="6704" y="1215"/>
                  </a:cubicBezTo>
                  <a:lnTo>
                    <a:pt x="6704" y="512"/>
                  </a:lnTo>
                  <a:cubicBezTo>
                    <a:pt x="6704" y="227"/>
                    <a:pt x="6489" y="0"/>
                    <a:pt x="6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6" name="Google Shape;10406;p59"/>
            <p:cNvSpPr/>
            <p:nvPr/>
          </p:nvSpPr>
          <p:spPr>
            <a:xfrm>
              <a:off x="8078692" y="3438653"/>
              <a:ext cx="142264" cy="100216"/>
            </a:xfrm>
            <a:custGeom>
              <a:avLst/>
              <a:gdLst/>
              <a:ahLst/>
              <a:cxnLst/>
              <a:rect l="l" t="t" r="r" b="b"/>
              <a:pathLst>
                <a:path w="4466" h="3146" extrusionOk="0">
                  <a:moveTo>
                    <a:pt x="2742" y="1"/>
                  </a:moveTo>
                  <a:cubicBezTo>
                    <a:pt x="2676" y="1"/>
                    <a:pt x="2609" y="43"/>
                    <a:pt x="2584" y="123"/>
                  </a:cubicBezTo>
                  <a:lnTo>
                    <a:pt x="1989" y="2433"/>
                  </a:lnTo>
                  <a:lnTo>
                    <a:pt x="1429" y="778"/>
                  </a:lnTo>
                  <a:cubicBezTo>
                    <a:pt x="1403" y="705"/>
                    <a:pt x="1335" y="665"/>
                    <a:pt x="1268" y="665"/>
                  </a:cubicBezTo>
                  <a:cubicBezTo>
                    <a:pt x="1216" y="665"/>
                    <a:pt x="1163" y="690"/>
                    <a:pt x="1132" y="742"/>
                  </a:cubicBezTo>
                  <a:lnTo>
                    <a:pt x="656" y="1600"/>
                  </a:lnTo>
                  <a:lnTo>
                    <a:pt x="155" y="1600"/>
                  </a:lnTo>
                  <a:cubicBezTo>
                    <a:pt x="72" y="1600"/>
                    <a:pt x="1" y="1671"/>
                    <a:pt x="1" y="1754"/>
                  </a:cubicBezTo>
                  <a:cubicBezTo>
                    <a:pt x="1" y="1850"/>
                    <a:pt x="72" y="1921"/>
                    <a:pt x="155" y="1921"/>
                  </a:cubicBezTo>
                  <a:lnTo>
                    <a:pt x="739" y="1921"/>
                  </a:lnTo>
                  <a:cubicBezTo>
                    <a:pt x="798" y="1921"/>
                    <a:pt x="846" y="1897"/>
                    <a:pt x="894" y="1838"/>
                  </a:cubicBezTo>
                  <a:lnTo>
                    <a:pt x="1227" y="1219"/>
                  </a:lnTo>
                  <a:lnTo>
                    <a:pt x="1858" y="3040"/>
                  </a:lnTo>
                  <a:cubicBezTo>
                    <a:pt x="1887" y="3110"/>
                    <a:pt x="1951" y="3146"/>
                    <a:pt x="2013" y="3146"/>
                  </a:cubicBezTo>
                  <a:cubicBezTo>
                    <a:pt x="2079" y="3146"/>
                    <a:pt x="2143" y="3107"/>
                    <a:pt x="2168" y="3028"/>
                  </a:cubicBezTo>
                  <a:lnTo>
                    <a:pt x="2763" y="683"/>
                  </a:lnTo>
                  <a:lnTo>
                    <a:pt x="3168" y="1802"/>
                  </a:lnTo>
                  <a:cubicBezTo>
                    <a:pt x="3192" y="1861"/>
                    <a:pt x="3251" y="1909"/>
                    <a:pt x="3311" y="1909"/>
                  </a:cubicBezTo>
                  <a:lnTo>
                    <a:pt x="4287" y="1909"/>
                  </a:lnTo>
                  <a:cubicBezTo>
                    <a:pt x="4370" y="1909"/>
                    <a:pt x="4442" y="1838"/>
                    <a:pt x="4442" y="1742"/>
                  </a:cubicBezTo>
                  <a:cubicBezTo>
                    <a:pt x="4466" y="1671"/>
                    <a:pt x="4382" y="1600"/>
                    <a:pt x="4299" y="1600"/>
                  </a:cubicBezTo>
                  <a:lnTo>
                    <a:pt x="3454" y="1600"/>
                  </a:lnTo>
                  <a:lnTo>
                    <a:pt x="2894" y="111"/>
                  </a:lnTo>
                  <a:cubicBezTo>
                    <a:pt x="2865" y="37"/>
                    <a:pt x="2804" y="1"/>
                    <a:pt x="27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7" name="Google Shape;10407;p59"/>
            <p:cNvSpPr/>
            <p:nvPr/>
          </p:nvSpPr>
          <p:spPr>
            <a:xfrm>
              <a:off x="8079074" y="3574928"/>
              <a:ext cx="141882" cy="10257"/>
            </a:xfrm>
            <a:custGeom>
              <a:avLst/>
              <a:gdLst/>
              <a:ahLst/>
              <a:cxnLst/>
              <a:rect l="l" t="t" r="r" b="b"/>
              <a:pathLst>
                <a:path w="4454" h="322" extrusionOk="0">
                  <a:moveTo>
                    <a:pt x="167" y="0"/>
                  </a:moveTo>
                  <a:cubicBezTo>
                    <a:pt x="72" y="0"/>
                    <a:pt x="1" y="72"/>
                    <a:pt x="1" y="155"/>
                  </a:cubicBezTo>
                  <a:cubicBezTo>
                    <a:pt x="1" y="250"/>
                    <a:pt x="72" y="322"/>
                    <a:pt x="167" y="322"/>
                  </a:cubicBezTo>
                  <a:lnTo>
                    <a:pt x="4287" y="322"/>
                  </a:lnTo>
                  <a:cubicBezTo>
                    <a:pt x="4370" y="322"/>
                    <a:pt x="4454" y="250"/>
                    <a:pt x="4454" y="155"/>
                  </a:cubicBezTo>
                  <a:cubicBezTo>
                    <a:pt x="4454" y="72"/>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8" name="Google Shape;10408;p59"/>
            <p:cNvSpPr/>
            <p:nvPr/>
          </p:nvSpPr>
          <p:spPr>
            <a:xfrm>
              <a:off x="8079074" y="3619685"/>
              <a:ext cx="141882" cy="10640"/>
            </a:xfrm>
            <a:custGeom>
              <a:avLst/>
              <a:gdLst/>
              <a:ahLst/>
              <a:cxnLst/>
              <a:rect l="l" t="t" r="r" b="b"/>
              <a:pathLst>
                <a:path w="4454" h="334" extrusionOk="0">
                  <a:moveTo>
                    <a:pt x="167" y="0"/>
                  </a:moveTo>
                  <a:cubicBezTo>
                    <a:pt x="72" y="0"/>
                    <a:pt x="1" y="84"/>
                    <a:pt x="1" y="167"/>
                  </a:cubicBezTo>
                  <a:cubicBezTo>
                    <a:pt x="1" y="262"/>
                    <a:pt x="72" y="334"/>
                    <a:pt x="167" y="334"/>
                  </a:cubicBezTo>
                  <a:lnTo>
                    <a:pt x="4287" y="334"/>
                  </a:lnTo>
                  <a:cubicBezTo>
                    <a:pt x="4370" y="334"/>
                    <a:pt x="4454" y="262"/>
                    <a:pt x="4454" y="167"/>
                  </a:cubicBezTo>
                  <a:cubicBezTo>
                    <a:pt x="4454" y="84"/>
                    <a:pt x="4370"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09" name="Google Shape;10409;p59"/>
          <p:cNvSpPr/>
          <p:nvPr/>
        </p:nvSpPr>
        <p:spPr>
          <a:xfrm>
            <a:off x="7615138" y="3348917"/>
            <a:ext cx="223304" cy="351201"/>
          </a:xfrm>
          <a:custGeom>
            <a:avLst/>
            <a:gdLst/>
            <a:ahLst/>
            <a:cxnLst/>
            <a:rect l="l" t="t" r="r" b="b"/>
            <a:pathLst>
              <a:path w="7010" h="11025" extrusionOk="0">
                <a:moveTo>
                  <a:pt x="6315" y="319"/>
                </a:moveTo>
                <a:cubicBezTo>
                  <a:pt x="6422" y="319"/>
                  <a:pt x="6507" y="389"/>
                  <a:pt x="6540" y="499"/>
                </a:cubicBezTo>
                <a:cubicBezTo>
                  <a:pt x="6552" y="618"/>
                  <a:pt x="6480" y="726"/>
                  <a:pt x="6361" y="749"/>
                </a:cubicBezTo>
                <a:cubicBezTo>
                  <a:pt x="5944" y="821"/>
                  <a:pt x="5456" y="857"/>
                  <a:pt x="5040" y="880"/>
                </a:cubicBezTo>
                <a:cubicBezTo>
                  <a:pt x="5075" y="821"/>
                  <a:pt x="5123" y="761"/>
                  <a:pt x="5159" y="666"/>
                </a:cubicBezTo>
                <a:lnTo>
                  <a:pt x="5159" y="583"/>
                </a:lnTo>
                <a:cubicBezTo>
                  <a:pt x="5159" y="547"/>
                  <a:pt x="5171" y="499"/>
                  <a:pt x="5159" y="452"/>
                </a:cubicBezTo>
                <a:cubicBezTo>
                  <a:pt x="5528" y="428"/>
                  <a:pt x="5909" y="380"/>
                  <a:pt x="6290" y="321"/>
                </a:cubicBezTo>
                <a:cubicBezTo>
                  <a:pt x="6298" y="320"/>
                  <a:pt x="6307" y="319"/>
                  <a:pt x="6315" y="319"/>
                </a:cubicBezTo>
                <a:close/>
                <a:moveTo>
                  <a:pt x="4631" y="317"/>
                </a:moveTo>
                <a:cubicBezTo>
                  <a:pt x="4808" y="317"/>
                  <a:pt x="4912" y="511"/>
                  <a:pt x="4801" y="654"/>
                </a:cubicBezTo>
                <a:cubicBezTo>
                  <a:pt x="4766" y="702"/>
                  <a:pt x="4706" y="737"/>
                  <a:pt x="4671" y="749"/>
                </a:cubicBezTo>
                <a:cubicBezTo>
                  <a:pt x="4230" y="821"/>
                  <a:pt x="3254" y="928"/>
                  <a:pt x="2658" y="928"/>
                </a:cubicBezTo>
                <a:cubicBezTo>
                  <a:pt x="2015" y="928"/>
                  <a:pt x="1134" y="833"/>
                  <a:pt x="646" y="749"/>
                </a:cubicBezTo>
                <a:cubicBezTo>
                  <a:pt x="527" y="726"/>
                  <a:pt x="456" y="618"/>
                  <a:pt x="480" y="499"/>
                </a:cubicBezTo>
                <a:cubicBezTo>
                  <a:pt x="503" y="392"/>
                  <a:pt x="587" y="321"/>
                  <a:pt x="694" y="321"/>
                </a:cubicBezTo>
                <a:cubicBezTo>
                  <a:pt x="781" y="321"/>
                  <a:pt x="1514" y="490"/>
                  <a:pt x="2639" y="490"/>
                </a:cubicBezTo>
                <a:cubicBezTo>
                  <a:pt x="3201" y="490"/>
                  <a:pt x="3861" y="448"/>
                  <a:pt x="4587" y="321"/>
                </a:cubicBezTo>
                <a:cubicBezTo>
                  <a:pt x="4602" y="318"/>
                  <a:pt x="4617" y="317"/>
                  <a:pt x="4631" y="317"/>
                </a:cubicBezTo>
                <a:close/>
                <a:moveTo>
                  <a:pt x="1456" y="1178"/>
                </a:moveTo>
                <a:cubicBezTo>
                  <a:pt x="1962" y="1228"/>
                  <a:pt x="2377" y="1242"/>
                  <a:pt x="2698" y="1242"/>
                </a:cubicBezTo>
                <a:cubicBezTo>
                  <a:pt x="3149" y="1242"/>
                  <a:pt x="3415" y="1214"/>
                  <a:pt x="3492" y="1214"/>
                </a:cubicBezTo>
                <a:cubicBezTo>
                  <a:pt x="3551" y="1220"/>
                  <a:pt x="3611" y="1220"/>
                  <a:pt x="3670" y="1220"/>
                </a:cubicBezTo>
                <a:cubicBezTo>
                  <a:pt x="3730" y="1220"/>
                  <a:pt x="3789" y="1220"/>
                  <a:pt x="3849" y="1226"/>
                </a:cubicBezTo>
                <a:lnTo>
                  <a:pt x="3849" y="2226"/>
                </a:lnTo>
                <a:lnTo>
                  <a:pt x="1456" y="2226"/>
                </a:lnTo>
                <a:lnTo>
                  <a:pt x="1456" y="1178"/>
                </a:lnTo>
                <a:close/>
                <a:moveTo>
                  <a:pt x="5540" y="1178"/>
                </a:moveTo>
                <a:lnTo>
                  <a:pt x="5540" y="2226"/>
                </a:lnTo>
                <a:lnTo>
                  <a:pt x="4170" y="2226"/>
                </a:lnTo>
                <a:lnTo>
                  <a:pt x="4170" y="1238"/>
                </a:lnTo>
                <a:cubicBezTo>
                  <a:pt x="4270" y="1243"/>
                  <a:pt x="4373" y="1245"/>
                  <a:pt x="4479" y="1245"/>
                </a:cubicBezTo>
                <a:cubicBezTo>
                  <a:pt x="4854" y="1245"/>
                  <a:pt x="5251" y="1215"/>
                  <a:pt x="5540" y="1178"/>
                </a:cubicBezTo>
                <a:close/>
                <a:moveTo>
                  <a:pt x="3861" y="2547"/>
                </a:moveTo>
                <a:lnTo>
                  <a:pt x="3861" y="3083"/>
                </a:lnTo>
                <a:lnTo>
                  <a:pt x="1468" y="3083"/>
                </a:lnTo>
                <a:lnTo>
                  <a:pt x="1468" y="2547"/>
                </a:lnTo>
                <a:close/>
                <a:moveTo>
                  <a:pt x="5540" y="2547"/>
                </a:moveTo>
                <a:lnTo>
                  <a:pt x="5540" y="3083"/>
                </a:lnTo>
                <a:lnTo>
                  <a:pt x="4170" y="3083"/>
                </a:lnTo>
                <a:lnTo>
                  <a:pt x="4170" y="2547"/>
                </a:lnTo>
                <a:close/>
                <a:moveTo>
                  <a:pt x="5540" y="3404"/>
                </a:moveTo>
                <a:lnTo>
                  <a:pt x="5540" y="5214"/>
                </a:lnTo>
                <a:cubicBezTo>
                  <a:pt x="5540" y="5929"/>
                  <a:pt x="4956" y="6417"/>
                  <a:pt x="4335" y="6417"/>
                </a:cubicBezTo>
                <a:cubicBezTo>
                  <a:pt x="4139" y="6417"/>
                  <a:pt x="3940" y="6368"/>
                  <a:pt x="3754" y="6262"/>
                </a:cubicBezTo>
                <a:cubicBezTo>
                  <a:pt x="3992" y="6000"/>
                  <a:pt x="4170" y="5607"/>
                  <a:pt x="4170" y="5214"/>
                </a:cubicBezTo>
                <a:lnTo>
                  <a:pt x="4170" y="3404"/>
                </a:lnTo>
                <a:close/>
                <a:moveTo>
                  <a:pt x="2777" y="6738"/>
                </a:moveTo>
                <a:lnTo>
                  <a:pt x="2777" y="10096"/>
                </a:lnTo>
                <a:lnTo>
                  <a:pt x="2551" y="10096"/>
                </a:lnTo>
                <a:lnTo>
                  <a:pt x="2551" y="6738"/>
                </a:lnTo>
                <a:close/>
                <a:moveTo>
                  <a:pt x="2980" y="10429"/>
                </a:moveTo>
                <a:lnTo>
                  <a:pt x="3087" y="10703"/>
                </a:lnTo>
                <a:lnTo>
                  <a:pt x="2242" y="10703"/>
                </a:lnTo>
                <a:lnTo>
                  <a:pt x="2349" y="10429"/>
                </a:lnTo>
                <a:close/>
                <a:moveTo>
                  <a:pt x="4682" y="10429"/>
                </a:moveTo>
                <a:lnTo>
                  <a:pt x="4790" y="10703"/>
                </a:lnTo>
                <a:lnTo>
                  <a:pt x="3956" y="10703"/>
                </a:lnTo>
                <a:lnTo>
                  <a:pt x="4051" y="10429"/>
                </a:lnTo>
                <a:close/>
                <a:moveTo>
                  <a:pt x="6341" y="0"/>
                </a:moveTo>
                <a:cubicBezTo>
                  <a:pt x="6305" y="0"/>
                  <a:pt x="6268" y="4"/>
                  <a:pt x="6230" y="11"/>
                </a:cubicBezTo>
                <a:cubicBezTo>
                  <a:pt x="5814" y="83"/>
                  <a:pt x="5397" y="130"/>
                  <a:pt x="4980" y="154"/>
                </a:cubicBezTo>
                <a:cubicBezTo>
                  <a:pt x="4882" y="66"/>
                  <a:pt x="4752" y="2"/>
                  <a:pt x="4616" y="2"/>
                </a:cubicBezTo>
                <a:cubicBezTo>
                  <a:pt x="4587" y="2"/>
                  <a:pt x="4557" y="5"/>
                  <a:pt x="4528" y="11"/>
                </a:cubicBezTo>
                <a:cubicBezTo>
                  <a:pt x="3903" y="118"/>
                  <a:pt x="3277" y="172"/>
                  <a:pt x="2652" y="172"/>
                </a:cubicBezTo>
                <a:cubicBezTo>
                  <a:pt x="2027" y="172"/>
                  <a:pt x="1402" y="118"/>
                  <a:pt x="777" y="11"/>
                </a:cubicBezTo>
                <a:cubicBezTo>
                  <a:pt x="741" y="4"/>
                  <a:pt x="706" y="0"/>
                  <a:pt x="672" y="0"/>
                </a:cubicBezTo>
                <a:cubicBezTo>
                  <a:pt x="274" y="0"/>
                  <a:pt x="0" y="483"/>
                  <a:pt x="241" y="845"/>
                </a:cubicBezTo>
                <a:cubicBezTo>
                  <a:pt x="420" y="1095"/>
                  <a:pt x="658" y="1059"/>
                  <a:pt x="1134" y="1142"/>
                </a:cubicBezTo>
                <a:lnTo>
                  <a:pt x="1134" y="4024"/>
                </a:lnTo>
                <a:cubicBezTo>
                  <a:pt x="1134" y="4119"/>
                  <a:pt x="1218" y="4190"/>
                  <a:pt x="1301" y="4190"/>
                </a:cubicBezTo>
                <a:cubicBezTo>
                  <a:pt x="1396" y="4190"/>
                  <a:pt x="1468" y="4119"/>
                  <a:pt x="1468" y="4024"/>
                </a:cubicBezTo>
                <a:lnTo>
                  <a:pt x="1468" y="3416"/>
                </a:lnTo>
                <a:lnTo>
                  <a:pt x="3861" y="3416"/>
                </a:lnTo>
                <a:cubicBezTo>
                  <a:pt x="3849" y="5452"/>
                  <a:pt x="3885" y="5274"/>
                  <a:pt x="3801" y="5583"/>
                </a:cubicBezTo>
                <a:cubicBezTo>
                  <a:pt x="3620" y="6164"/>
                  <a:pt x="3154" y="6426"/>
                  <a:pt x="2686" y="6426"/>
                </a:cubicBezTo>
                <a:cubicBezTo>
                  <a:pt x="2079" y="6426"/>
                  <a:pt x="1468" y="5986"/>
                  <a:pt x="1468" y="5226"/>
                </a:cubicBezTo>
                <a:lnTo>
                  <a:pt x="1468" y="4893"/>
                </a:lnTo>
                <a:cubicBezTo>
                  <a:pt x="1468" y="4798"/>
                  <a:pt x="1384" y="4726"/>
                  <a:pt x="1301" y="4726"/>
                </a:cubicBezTo>
                <a:cubicBezTo>
                  <a:pt x="1206" y="4726"/>
                  <a:pt x="1134" y="4798"/>
                  <a:pt x="1134" y="4893"/>
                </a:cubicBezTo>
                <a:lnTo>
                  <a:pt x="1134" y="5214"/>
                </a:lnTo>
                <a:cubicBezTo>
                  <a:pt x="1134" y="5881"/>
                  <a:pt x="1575" y="6476"/>
                  <a:pt x="2218" y="6679"/>
                </a:cubicBezTo>
                <a:lnTo>
                  <a:pt x="2218" y="10096"/>
                </a:lnTo>
                <a:cubicBezTo>
                  <a:pt x="2146" y="10096"/>
                  <a:pt x="2087" y="10143"/>
                  <a:pt x="2075" y="10203"/>
                </a:cubicBezTo>
                <a:lnTo>
                  <a:pt x="1861" y="10810"/>
                </a:lnTo>
                <a:cubicBezTo>
                  <a:pt x="1837" y="10917"/>
                  <a:pt x="1908" y="11024"/>
                  <a:pt x="2015" y="11024"/>
                </a:cubicBezTo>
                <a:lnTo>
                  <a:pt x="3313" y="11024"/>
                </a:lnTo>
                <a:cubicBezTo>
                  <a:pt x="3408" y="11024"/>
                  <a:pt x="3504" y="10917"/>
                  <a:pt x="3456" y="10810"/>
                </a:cubicBezTo>
                <a:lnTo>
                  <a:pt x="3254" y="10203"/>
                </a:lnTo>
                <a:cubicBezTo>
                  <a:pt x="3230" y="10143"/>
                  <a:pt x="3158" y="10096"/>
                  <a:pt x="3099" y="10096"/>
                </a:cubicBezTo>
                <a:lnTo>
                  <a:pt x="3099" y="6679"/>
                </a:lnTo>
                <a:cubicBezTo>
                  <a:pt x="3254" y="6631"/>
                  <a:pt x="3385" y="6572"/>
                  <a:pt x="3516" y="6476"/>
                </a:cubicBezTo>
                <a:cubicBezTo>
                  <a:pt x="3647" y="6572"/>
                  <a:pt x="3789" y="6631"/>
                  <a:pt x="3932" y="6679"/>
                </a:cubicBezTo>
                <a:lnTo>
                  <a:pt x="3932" y="10096"/>
                </a:lnTo>
                <a:cubicBezTo>
                  <a:pt x="3861" y="10096"/>
                  <a:pt x="3801" y="10143"/>
                  <a:pt x="3789" y="10203"/>
                </a:cubicBezTo>
                <a:lnTo>
                  <a:pt x="3575" y="10810"/>
                </a:lnTo>
                <a:cubicBezTo>
                  <a:pt x="3528" y="10917"/>
                  <a:pt x="3623" y="11024"/>
                  <a:pt x="3730" y="11024"/>
                </a:cubicBezTo>
                <a:lnTo>
                  <a:pt x="5016" y="11024"/>
                </a:lnTo>
                <a:cubicBezTo>
                  <a:pt x="5123" y="11024"/>
                  <a:pt x="5218" y="10917"/>
                  <a:pt x="5171" y="10810"/>
                </a:cubicBezTo>
                <a:lnTo>
                  <a:pt x="4956" y="10203"/>
                </a:lnTo>
                <a:cubicBezTo>
                  <a:pt x="4921" y="10096"/>
                  <a:pt x="4813" y="10096"/>
                  <a:pt x="4813" y="10096"/>
                </a:cubicBezTo>
                <a:lnTo>
                  <a:pt x="4813" y="8429"/>
                </a:lnTo>
                <a:cubicBezTo>
                  <a:pt x="4813" y="8346"/>
                  <a:pt x="4742" y="8262"/>
                  <a:pt x="4647" y="8262"/>
                </a:cubicBezTo>
                <a:cubicBezTo>
                  <a:pt x="4563" y="8262"/>
                  <a:pt x="4480" y="8346"/>
                  <a:pt x="4480" y="8429"/>
                </a:cubicBezTo>
                <a:lnTo>
                  <a:pt x="4480" y="10096"/>
                </a:lnTo>
                <a:lnTo>
                  <a:pt x="4266" y="10096"/>
                </a:lnTo>
                <a:lnTo>
                  <a:pt x="4266" y="6738"/>
                </a:lnTo>
                <a:lnTo>
                  <a:pt x="4480" y="6738"/>
                </a:lnTo>
                <a:lnTo>
                  <a:pt x="4480" y="7643"/>
                </a:lnTo>
                <a:cubicBezTo>
                  <a:pt x="4480" y="7726"/>
                  <a:pt x="4563" y="7810"/>
                  <a:pt x="4647" y="7810"/>
                </a:cubicBezTo>
                <a:cubicBezTo>
                  <a:pt x="4742" y="7810"/>
                  <a:pt x="4813" y="7726"/>
                  <a:pt x="4813" y="7643"/>
                </a:cubicBezTo>
                <a:lnTo>
                  <a:pt x="4813" y="6679"/>
                </a:lnTo>
                <a:cubicBezTo>
                  <a:pt x="5456" y="6476"/>
                  <a:pt x="5897" y="5881"/>
                  <a:pt x="5897" y="5214"/>
                </a:cubicBezTo>
                <a:lnTo>
                  <a:pt x="5897" y="1118"/>
                </a:lnTo>
                <a:cubicBezTo>
                  <a:pt x="6373" y="1059"/>
                  <a:pt x="6611" y="1083"/>
                  <a:pt x="6790" y="821"/>
                </a:cubicBezTo>
                <a:cubicBezTo>
                  <a:pt x="7009" y="481"/>
                  <a:pt x="6754" y="0"/>
                  <a:pt x="63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10" name="Google Shape;10410;p59"/>
          <p:cNvGrpSpPr/>
          <p:nvPr/>
        </p:nvGrpSpPr>
        <p:grpSpPr>
          <a:xfrm>
            <a:off x="7141900" y="3349204"/>
            <a:ext cx="281057" cy="351010"/>
            <a:chOff x="7141900" y="3349204"/>
            <a:chExt cx="281057" cy="351010"/>
          </a:xfrm>
        </p:grpSpPr>
        <p:sp>
          <p:nvSpPr>
            <p:cNvPr id="10411" name="Google Shape;10411;p59"/>
            <p:cNvSpPr/>
            <p:nvPr/>
          </p:nvSpPr>
          <p:spPr>
            <a:xfrm>
              <a:off x="7191944" y="3636186"/>
              <a:ext cx="66418" cy="37111"/>
            </a:xfrm>
            <a:custGeom>
              <a:avLst/>
              <a:gdLst/>
              <a:ahLst/>
              <a:cxnLst/>
              <a:rect l="l" t="t" r="r" b="b"/>
              <a:pathLst>
                <a:path w="2085" h="1165" extrusionOk="0">
                  <a:moveTo>
                    <a:pt x="594" y="0"/>
                  </a:moveTo>
                  <a:cubicBezTo>
                    <a:pt x="326" y="0"/>
                    <a:pt x="141" y="66"/>
                    <a:pt x="132" y="66"/>
                  </a:cubicBezTo>
                  <a:cubicBezTo>
                    <a:pt x="49" y="90"/>
                    <a:pt x="1" y="185"/>
                    <a:pt x="25" y="268"/>
                  </a:cubicBezTo>
                  <a:cubicBezTo>
                    <a:pt x="52" y="342"/>
                    <a:pt x="116" y="387"/>
                    <a:pt x="182" y="387"/>
                  </a:cubicBezTo>
                  <a:cubicBezTo>
                    <a:pt x="201" y="387"/>
                    <a:pt x="220" y="383"/>
                    <a:pt x="239" y="375"/>
                  </a:cubicBezTo>
                  <a:cubicBezTo>
                    <a:pt x="253" y="371"/>
                    <a:pt x="394" y="325"/>
                    <a:pt x="594" y="325"/>
                  </a:cubicBezTo>
                  <a:cubicBezTo>
                    <a:pt x="924" y="325"/>
                    <a:pt x="1415" y="448"/>
                    <a:pt x="1763" y="1078"/>
                  </a:cubicBezTo>
                  <a:cubicBezTo>
                    <a:pt x="1778" y="1138"/>
                    <a:pt x="1826" y="1165"/>
                    <a:pt x="1880" y="1165"/>
                  </a:cubicBezTo>
                  <a:cubicBezTo>
                    <a:pt x="1912" y="1165"/>
                    <a:pt x="1946" y="1155"/>
                    <a:pt x="1977" y="1137"/>
                  </a:cubicBezTo>
                  <a:cubicBezTo>
                    <a:pt x="2049" y="1090"/>
                    <a:pt x="2084" y="994"/>
                    <a:pt x="2037" y="911"/>
                  </a:cubicBezTo>
                  <a:cubicBezTo>
                    <a:pt x="1680" y="280"/>
                    <a:pt x="1192" y="78"/>
                    <a:pt x="834" y="18"/>
                  </a:cubicBezTo>
                  <a:cubicBezTo>
                    <a:pt x="749" y="5"/>
                    <a:pt x="668"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2" name="Google Shape;10412;p59"/>
            <p:cNvSpPr/>
            <p:nvPr/>
          </p:nvSpPr>
          <p:spPr>
            <a:xfrm>
              <a:off x="7311432" y="3636886"/>
              <a:ext cx="66386" cy="36538"/>
            </a:xfrm>
            <a:custGeom>
              <a:avLst/>
              <a:gdLst/>
              <a:ahLst/>
              <a:cxnLst/>
              <a:rect l="l" t="t" r="r" b="b"/>
              <a:pathLst>
                <a:path w="2084" h="1147" extrusionOk="0">
                  <a:moveTo>
                    <a:pt x="1506" y="0"/>
                  </a:moveTo>
                  <a:cubicBezTo>
                    <a:pt x="1427" y="0"/>
                    <a:pt x="1341" y="6"/>
                    <a:pt x="1251" y="20"/>
                  </a:cubicBezTo>
                  <a:cubicBezTo>
                    <a:pt x="893" y="56"/>
                    <a:pt x="405" y="258"/>
                    <a:pt x="48" y="913"/>
                  </a:cubicBezTo>
                  <a:cubicBezTo>
                    <a:pt x="0" y="984"/>
                    <a:pt x="36" y="1092"/>
                    <a:pt x="108" y="1127"/>
                  </a:cubicBezTo>
                  <a:cubicBezTo>
                    <a:pt x="132" y="1140"/>
                    <a:pt x="161" y="1146"/>
                    <a:pt x="190" y="1146"/>
                  </a:cubicBezTo>
                  <a:cubicBezTo>
                    <a:pt x="244" y="1146"/>
                    <a:pt x="298" y="1122"/>
                    <a:pt x="322" y="1068"/>
                  </a:cubicBezTo>
                  <a:cubicBezTo>
                    <a:pt x="666" y="445"/>
                    <a:pt x="1145" y="318"/>
                    <a:pt x="1474" y="318"/>
                  </a:cubicBezTo>
                  <a:cubicBezTo>
                    <a:pt x="1680" y="318"/>
                    <a:pt x="1827" y="368"/>
                    <a:pt x="1846" y="377"/>
                  </a:cubicBezTo>
                  <a:cubicBezTo>
                    <a:pt x="1862" y="381"/>
                    <a:pt x="1879" y="383"/>
                    <a:pt x="1894" y="383"/>
                  </a:cubicBezTo>
                  <a:cubicBezTo>
                    <a:pt x="1969" y="383"/>
                    <a:pt x="2031" y="339"/>
                    <a:pt x="2060" y="270"/>
                  </a:cubicBezTo>
                  <a:cubicBezTo>
                    <a:pt x="2084" y="175"/>
                    <a:pt x="2036" y="91"/>
                    <a:pt x="1953" y="56"/>
                  </a:cubicBezTo>
                  <a:cubicBezTo>
                    <a:pt x="1935" y="56"/>
                    <a:pt x="1758" y="0"/>
                    <a:pt x="15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3" name="Google Shape;10413;p59"/>
            <p:cNvSpPr/>
            <p:nvPr/>
          </p:nvSpPr>
          <p:spPr>
            <a:xfrm>
              <a:off x="7141900" y="3349204"/>
              <a:ext cx="281057" cy="351010"/>
            </a:xfrm>
            <a:custGeom>
              <a:avLst/>
              <a:gdLst/>
              <a:ahLst/>
              <a:cxnLst/>
              <a:rect l="l" t="t" r="r" b="b"/>
              <a:pathLst>
                <a:path w="8823" h="11019" extrusionOk="0">
                  <a:moveTo>
                    <a:pt x="4492" y="1"/>
                  </a:moveTo>
                  <a:cubicBezTo>
                    <a:pt x="3595" y="1"/>
                    <a:pt x="2879" y="679"/>
                    <a:pt x="2774" y="1550"/>
                  </a:cubicBezTo>
                  <a:lnTo>
                    <a:pt x="2512" y="3955"/>
                  </a:lnTo>
                  <a:cubicBezTo>
                    <a:pt x="2512" y="4050"/>
                    <a:pt x="2572" y="4122"/>
                    <a:pt x="2655" y="4134"/>
                  </a:cubicBezTo>
                  <a:cubicBezTo>
                    <a:pt x="2751" y="4134"/>
                    <a:pt x="2822" y="4074"/>
                    <a:pt x="2834" y="3991"/>
                  </a:cubicBezTo>
                  <a:lnTo>
                    <a:pt x="3108" y="1574"/>
                  </a:lnTo>
                  <a:cubicBezTo>
                    <a:pt x="3179" y="859"/>
                    <a:pt x="3775" y="312"/>
                    <a:pt x="4489" y="312"/>
                  </a:cubicBezTo>
                  <a:cubicBezTo>
                    <a:pt x="5239" y="312"/>
                    <a:pt x="5811" y="871"/>
                    <a:pt x="5894" y="1574"/>
                  </a:cubicBezTo>
                  <a:lnTo>
                    <a:pt x="6382" y="5896"/>
                  </a:lnTo>
                  <a:cubicBezTo>
                    <a:pt x="6406" y="6170"/>
                    <a:pt x="6584" y="6396"/>
                    <a:pt x="6846" y="6503"/>
                  </a:cubicBezTo>
                  <a:cubicBezTo>
                    <a:pt x="7894" y="6908"/>
                    <a:pt x="8430" y="8170"/>
                    <a:pt x="7858" y="9134"/>
                  </a:cubicBezTo>
                  <a:cubicBezTo>
                    <a:pt x="7585" y="9587"/>
                    <a:pt x="7168" y="9837"/>
                    <a:pt x="6561" y="9908"/>
                  </a:cubicBezTo>
                  <a:cubicBezTo>
                    <a:pt x="6322" y="9944"/>
                    <a:pt x="6132" y="10027"/>
                    <a:pt x="5977" y="10194"/>
                  </a:cubicBezTo>
                  <a:cubicBezTo>
                    <a:pt x="5668" y="10521"/>
                    <a:pt x="5072" y="10685"/>
                    <a:pt x="4478" y="10685"/>
                  </a:cubicBezTo>
                  <a:cubicBezTo>
                    <a:pt x="3885" y="10685"/>
                    <a:pt x="3292" y="10521"/>
                    <a:pt x="2989" y="10194"/>
                  </a:cubicBezTo>
                  <a:cubicBezTo>
                    <a:pt x="2834" y="10039"/>
                    <a:pt x="2632" y="9944"/>
                    <a:pt x="2405" y="9908"/>
                  </a:cubicBezTo>
                  <a:cubicBezTo>
                    <a:pt x="1798" y="9837"/>
                    <a:pt x="1381" y="9587"/>
                    <a:pt x="1108" y="9134"/>
                  </a:cubicBezTo>
                  <a:cubicBezTo>
                    <a:pt x="548" y="8170"/>
                    <a:pt x="1072" y="6908"/>
                    <a:pt x="2120" y="6503"/>
                  </a:cubicBezTo>
                  <a:cubicBezTo>
                    <a:pt x="2382" y="6396"/>
                    <a:pt x="2560" y="6158"/>
                    <a:pt x="2584" y="5896"/>
                  </a:cubicBezTo>
                  <a:lnTo>
                    <a:pt x="2703" y="4824"/>
                  </a:lnTo>
                  <a:cubicBezTo>
                    <a:pt x="2703" y="4729"/>
                    <a:pt x="2643" y="4658"/>
                    <a:pt x="2560" y="4646"/>
                  </a:cubicBezTo>
                  <a:cubicBezTo>
                    <a:pt x="2465" y="4646"/>
                    <a:pt x="2393" y="4705"/>
                    <a:pt x="2382" y="4789"/>
                  </a:cubicBezTo>
                  <a:lnTo>
                    <a:pt x="2262" y="5860"/>
                  </a:lnTo>
                  <a:cubicBezTo>
                    <a:pt x="2239" y="6027"/>
                    <a:pt x="2155" y="6146"/>
                    <a:pt x="2001" y="6205"/>
                  </a:cubicBezTo>
                  <a:cubicBezTo>
                    <a:pt x="0" y="6979"/>
                    <a:pt x="60" y="9956"/>
                    <a:pt x="2382" y="10242"/>
                  </a:cubicBezTo>
                  <a:cubicBezTo>
                    <a:pt x="2524" y="10253"/>
                    <a:pt x="2655" y="10313"/>
                    <a:pt x="2751" y="10420"/>
                  </a:cubicBezTo>
                  <a:cubicBezTo>
                    <a:pt x="3120" y="10819"/>
                    <a:pt x="3801" y="11018"/>
                    <a:pt x="4483" y="11018"/>
                  </a:cubicBezTo>
                  <a:cubicBezTo>
                    <a:pt x="5165" y="11018"/>
                    <a:pt x="5846" y="10819"/>
                    <a:pt x="6215" y="10420"/>
                  </a:cubicBezTo>
                  <a:cubicBezTo>
                    <a:pt x="6311" y="10325"/>
                    <a:pt x="6442" y="10253"/>
                    <a:pt x="6584" y="10242"/>
                  </a:cubicBezTo>
                  <a:cubicBezTo>
                    <a:pt x="8287" y="10039"/>
                    <a:pt x="8823" y="8348"/>
                    <a:pt x="8097" y="7158"/>
                  </a:cubicBezTo>
                  <a:cubicBezTo>
                    <a:pt x="7811" y="6705"/>
                    <a:pt x="7442" y="6384"/>
                    <a:pt x="6965" y="6205"/>
                  </a:cubicBezTo>
                  <a:cubicBezTo>
                    <a:pt x="6823" y="6146"/>
                    <a:pt x="6727" y="6027"/>
                    <a:pt x="6703" y="5860"/>
                  </a:cubicBezTo>
                  <a:lnTo>
                    <a:pt x="6215" y="1550"/>
                  </a:lnTo>
                  <a:cubicBezTo>
                    <a:pt x="6108" y="693"/>
                    <a:pt x="5418" y="26"/>
                    <a:pt x="4560" y="2"/>
                  </a:cubicBezTo>
                  <a:cubicBezTo>
                    <a:pt x="4537" y="1"/>
                    <a:pt x="4514" y="1"/>
                    <a:pt x="44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4" name="Google Shape;10414;p59"/>
          <p:cNvGrpSpPr/>
          <p:nvPr/>
        </p:nvGrpSpPr>
        <p:grpSpPr>
          <a:xfrm>
            <a:off x="5314188" y="3350032"/>
            <a:ext cx="363752" cy="353113"/>
            <a:chOff x="5314188" y="3350032"/>
            <a:chExt cx="363752" cy="353113"/>
          </a:xfrm>
        </p:grpSpPr>
        <p:sp>
          <p:nvSpPr>
            <p:cNvPr id="10415" name="Google Shape;10415;p59"/>
            <p:cNvSpPr/>
            <p:nvPr/>
          </p:nvSpPr>
          <p:spPr>
            <a:xfrm>
              <a:off x="5314188" y="3350032"/>
              <a:ext cx="363752" cy="353113"/>
            </a:xfrm>
            <a:custGeom>
              <a:avLst/>
              <a:gdLst/>
              <a:ahLst/>
              <a:cxnLst/>
              <a:rect l="l" t="t" r="r" b="b"/>
              <a:pathLst>
                <a:path w="11419" h="11085" extrusionOk="0">
                  <a:moveTo>
                    <a:pt x="8334" y="2667"/>
                  </a:moveTo>
                  <a:cubicBezTo>
                    <a:pt x="8394" y="2667"/>
                    <a:pt x="8453" y="2727"/>
                    <a:pt x="8453" y="2786"/>
                  </a:cubicBezTo>
                  <a:lnTo>
                    <a:pt x="8453" y="2869"/>
                  </a:lnTo>
                  <a:cubicBezTo>
                    <a:pt x="8453" y="2929"/>
                    <a:pt x="8394" y="2988"/>
                    <a:pt x="8334" y="2988"/>
                  </a:cubicBezTo>
                  <a:lnTo>
                    <a:pt x="6846" y="2988"/>
                  </a:lnTo>
                  <a:cubicBezTo>
                    <a:pt x="6787" y="2988"/>
                    <a:pt x="6727" y="2953"/>
                    <a:pt x="6727" y="2869"/>
                  </a:cubicBezTo>
                  <a:lnTo>
                    <a:pt x="6727" y="2786"/>
                  </a:lnTo>
                  <a:cubicBezTo>
                    <a:pt x="6727" y="2727"/>
                    <a:pt x="6787" y="2667"/>
                    <a:pt x="6846" y="2667"/>
                  </a:cubicBezTo>
                  <a:close/>
                  <a:moveTo>
                    <a:pt x="9608" y="3810"/>
                  </a:moveTo>
                  <a:cubicBezTo>
                    <a:pt x="10501" y="3810"/>
                    <a:pt x="10990" y="4858"/>
                    <a:pt x="10442" y="5536"/>
                  </a:cubicBezTo>
                  <a:cubicBezTo>
                    <a:pt x="10406" y="5530"/>
                    <a:pt x="10394" y="5530"/>
                    <a:pt x="10202" y="5530"/>
                  </a:cubicBezTo>
                  <a:cubicBezTo>
                    <a:pt x="10010" y="5530"/>
                    <a:pt x="9638" y="5530"/>
                    <a:pt x="8882" y="5525"/>
                  </a:cubicBezTo>
                  <a:cubicBezTo>
                    <a:pt x="8846" y="5525"/>
                    <a:pt x="8823" y="5525"/>
                    <a:pt x="8799" y="5536"/>
                  </a:cubicBezTo>
                  <a:cubicBezTo>
                    <a:pt x="8239" y="4858"/>
                    <a:pt x="8715" y="3810"/>
                    <a:pt x="9608" y="3810"/>
                  </a:cubicBezTo>
                  <a:close/>
                  <a:moveTo>
                    <a:pt x="4370" y="441"/>
                  </a:moveTo>
                  <a:lnTo>
                    <a:pt x="4953" y="464"/>
                  </a:lnTo>
                  <a:cubicBezTo>
                    <a:pt x="5382" y="464"/>
                    <a:pt x="5739" y="822"/>
                    <a:pt x="5739" y="1250"/>
                  </a:cubicBezTo>
                  <a:lnTo>
                    <a:pt x="5739" y="4941"/>
                  </a:lnTo>
                  <a:cubicBezTo>
                    <a:pt x="5739" y="5370"/>
                    <a:pt x="5382" y="5727"/>
                    <a:pt x="4953" y="5727"/>
                  </a:cubicBezTo>
                  <a:lnTo>
                    <a:pt x="4370" y="5727"/>
                  </a:lnTo>
                  <a:cubicBezTo>
                    <a:pt x="4382" y="5667"/>
                    <a:pt x="4405" y="5620"/>
                    <a:pt x="4405" y="5560"/>
                  </a:cubicBezTo>
                  <a:cubicBezTo>
                    <a:pt x="4393" y="381"/>
                    <a:pt x="4417" y="607"/>
                    <a:pt x="4370" y="441"/>
                  </a:cubicBezTo>
                  <a:close/>
                  <a:moveTo>
                    <a:pt x="10358" y="5870"/>
                  </a:moveTo>
                  <a:cubicBezTo>
                    <a:pt x="10418" y="5870"/>
                    <a:pt x="10478" y="5929"/>
                    <a:pt x="10478" y="5989"/>
                  </a:cubicBezTo>
                  <a:lnTo>
                    <a:pt x="10478" y="6072"/>
                  </a:lnTo>
                  <a:cubicBezTo>
                    <a:pt x="10478" y="6132"/>
                    <a:pt x="10418" y="6191"/>
                    <a:pt x="10358" y="6191"/>
                  </a:cubicBezTo>
                  <a:lnTo>
                    <a:pt x="8870" y="6191"/>
                  </a:lnTo>
                  <a:cubicBezTo>
                    <a:pt x="8811" y="6191"/>
                    <a:pt x="8751" y="6132"/>
                    <a:pt x="8751" y="6072"/>
                  </a:cubicBezTo>
                  <a:lnTo>
                    <a:pt x="8751" y="5989"/>
                  </a:lnTo>
                  <a:cubicBezTo>
                    <a:pt x="8751" y="5929"/>
                    <a:pt x="8811" y="5870"/>
                    <a:pt x="8870" y="5870"/>
                  </a:cubicBezTo>
                  <a:close/>
                  <a:moveTo>
                    <a:pt x="7584" y="0"/>
                  </a:moveTo>
                  <a:cubicBezTo>
                    <a:pt x="6918" y="0"/>
                    <a:pt x="6370" y="643"/>
                    <a:pt x="6370" y="1441"/>
                  </a:cubicBezTo>
                  <a:cubicBezTo>
                    <a:pt x="6370" y="1715"/>
                    <a:pt x="6441" y="2143"/>
                    <a:pt x="6584" y="2441"/>
                  </a:cubicBezTo>
                  <a:cubicBezTo>
                    <a:pt x="6489" y="2512"/>
                    <a:pt x="6406" y="2643"/>
                    <a:pt x="6406" y="2786"/>
                  </a:cubicBezTo>
                  <a:lnTo>
                    <a:pt x="6406" y="2869"/>
                  </a:lnTo>
                  <a:cubicBezTo>
                    <a:pt x="6406" y="3108"/>
                    <a:pt x="6608" y="3322"/>
                    <a:pt x="6858" y="3322"/>
                  </a:cubicBezTo>
                  <a:lnTo>
                    <a:pt x="7441" y="3322"/>
                  </a:lnTo>
                  <a:lnTo>
                    <a:pt x="7441" y="7953"/>
                  </a:lnTo>
                  <a:cubicBezTo>
                    <a:pt x="7441" y="8465"/>
                    <a:pt x="7025" y="8882"/>
                    <a:pt x="6501" y="8882"/>
                  </a:cubicBezTo>
                  <a:lnTo>
                    <a:pt x="5656" y="8882"/>
                  </a:lnTo>
                  <a:cubicBezTo>
                    <a:pt x="5132" y="8882"/>
                    <a:pt x="4715" y="8465"/>
                    <a:pt x="4715" y="7953"/>
                  </a:cubicBezTo>
                  <a:lnTo>
                    <a:pt x="4715" y="6060"/>
                  </a:lnTo>
                  <a:lnTo>
                    <a:pt x="4977" y="6060"/>
                  </a:lnTo>
                  <a:cubicBezTo>
                    <a:pt x="5596" y="6060"/>
                    <a:pt x="6096" y="5548"/>
                    <a:pt x="6096" y="4941"/>
                  </a:cubicBezTo>
                  <a:lnTo>
                    <a:pt x="6096" y="1250"/>
                  </a:lnTo>
                  <a:cubicBezTo>
                    <a:pt x="6096" y="643"/>
                    <a:pt x="5596" y="131"/>
                    <a:pt x="4977" y="131"/>
                  </a:cubicBezTo>
                  <a:lnTo>
                    <a:pt x="4167" y="131"/>
                  </a:lnTo>
                  <a:cubicBezTo>
                    <a:pt x="4060" y="60"/>
                    <a:pt x="3953" y="12"/>
                    <a:pt x="3822" y="12"/>
                  </a:cubicBezTo>
                  <a:lnTo>
                    <a:pt x="2334" y="12"/>
                  </a:lnTo>
                  <a:cubicBezTo>
                    <a:pt x="2250" y="12"/>
                    <a:pt x="2167" y="95"/>
                    <a:pt x="2167" y="179"/>
                  </a:cubicBezTo>
                  <a:cubicBezTo>
                    <a:pt x="2167" y="274"/>
                    <a:pt x="2250" y="345"/>
                    <a:pt x="2334" y="345"/>
                  </a:cubicBezTo>
                  <a:lnTo>
                    <a:pt x="3822" y="345"/>
                  </a:lnTo>
                  <a:cubicBezTo>
                    <a:pt x="4001" y="345"/>
                    <a:pt x="4120" y="488"/>
                    <a:pt x="4120" y="643"/>
                  </a:cubicBezTo>
                  <a:cubicBezTo>
                    <a:pt x="4108" y="6108"/>
                    <a:pt x="4143" y="5596"/>
                    <a:pt x="4072" y="5715"/>
                  </a:cubicBezTo>
                  <a:cubicBezTo>
                    <a:pt x="4012" y="5822"/>
                    <a:pt x="3917" y="5882"/>
                    <a:pt x="3822" y="5882"/>
                  </a:cubicBezTo>
                  <a:lnTo>
                    <a:pt x="1107" y="5882"/>
                  </a:lnTo>
                  <a:cubicBezTo>
                    <a:pt x="679" y="5882"/>
                    <a:pt x="322" y="5525"/>
                    <a:pt x="322" y="5096"/>
                  </a:cubicBezTo>
                  <a:lnTo>
                    <a:pt x="322" y="1167"/>
                  </a:lnTo>
                  <a:cubicBezTo>
                    <a:pt x="322" y="726"/>
                    <a:pt x="679" y="369"/>
                    <a:pt x="1107" y="369"/>
                  </a:cubicBezTo>
                  <a:lnTo>
                    <a:pt x="1524" y="369"/>
                  </a:lnTo>
                  <a:cubicBezTo>
                    <a:pt x="1619" y="369"/>
                    <a:pt x="1691" y="298"/>
                    <a:pt x="1691" y="214"/>
                  </a:cubicBezTo>
                  <a:cubicBezTo>
                    <a:pt x="1691" y="119"/>
                    <a:pt x="1619" y="48"/>
                    <a:pt x="1524" y="48"/>
                  </a:cubicBezTo>
                  <a:lnTo>
                    <a:pt x="1107" y="48"/>
                  </a:lnTo>
                  <a:cubicBezTo>
                    <a:pt x="500" y="48"/>
                    <a:pt x="0" y="548"/>
                    <a:pt x="0" y="1167"/>
                  </a:cubicBezTo>
                  <a:lnTo>
                    <a:pt x="0" y="5108"/>
                  </a:lnTo>
                  <a:cubicBezTo>
                    <a:pt x="0" y="5715"/>
                    <a:pt x="500" y="6227"/>
                    <a:pt x="1107" y="6227"/>
                  </a:cubicBezTo>
                  <a:lnTo>
                    <a:pt x="2048" y="6227"/>
                  </a:lnTo>
                  <a:lnTo>
                    <a:pt x="2048" y="9275"/>
                  </a:lnTo>
                  <a:cubicBezTo>
                    <a:pt x="2048" y="10275"/>
                    <a:pt x="2869" y="11085"/>
                    <a:pt x="3870" y="11085"/>
                  </a:cubicBezTo>
                  <a:lnTo>
                    <a:pt x="7977" y="11085"/>
                  </a:lnTo>
                  <a:cubicBezTo>
                    <a:pt x="8965" y="11085"/>
                    <a:pt x="9787" y="10275"/>
                    <a:pt x="9787" y="9275"/>
                  </a:cubicBezTo>
                  <a:lnTo>
                    <a:pt x="9787" y="6548"/>
                  </a:lnTo>
                  <a:lnTo>
                    <a:pt x="10370" y="6548"/>
                  </a:lnTo>
                  <a:cubicBezTo>
                    <a:pt x="10609" y="6548"/>
                    <a:pt x="10811" y="6358"/>
                    <a:pt x="10811" y="6108"/>
                  </a:cubicBezTo>
                  <a:cubicBezTo>
                    <a:pt x="10811" y="6048"/>
                    <a:pt x="10847" y="5929"/>
                    <a:pt x="10728" y="5763"/>
                  </a:cubicBezTo>
                  <a:cubicBezTo>
                    <a:pt x="11418" y="4810"/>
                    <a:pt x="10763" y="3500"/>
                    <a:pt x="9608" y="3500"/>
                  </a:cubicBezTo>
                  <a:cubicBezTo>
                    <a:pt x="8465" y="3500"/>
                    <a:pt x="7811" y="4810"/>
                    <a:pt x="8525" y="5727"/>
                  </a:cubicBezTo>
                  <a:cubicBezTo>
                    <a:pt x="8406" y="5894"/>
                    <a:pt x="8442" y="6025"/>
                    <a:pt x="8442" y="6072"/>
                  </a:cubicBezTo>
                  <a:cubicBezTo>
                    <a:pt x="8442" y="6310"/>
                    <a:pt x="8632" y="6525"/>
                    <a:pt x="8882" y="6525"/>
                  </a:cubicBezTo>
                  <a:lnTo>
                    <a:pt x="9466" y="6525"/>
                  </a:lnTo>
                  <a:lnTo>
                    <a:pt x="9466" y="9239"/>
                  </a:lnTo>
                  <a:cubicBezTo>
                    <a:pt x="9466" y="10061"/>
                    <a:pt x="8799" y="10728"/>
                    <a:pt x="7977" y="10728"/>
                  </a:cubicBezTo>
                  <a:lnTo>
                    <a:pt x="3858" y="10728"/>
                  </a:lnTo>
                  <a:cubicBezTo>
                    <a:pt x="3036" y="10728"/>
                    <a:pt x="2369" y="10061"/>
                    <a:pt x="2369" y="9239"/>
                  </a:cubicBezTo>
                  <a:lnTo>
                    <a:pt x="2369" y="6191"/>
                  </a:lnTo>
                  <a:lnTo>
                    <a:pt x="3810" y="6191"/>
                  </a:lnTo>
                  <a:cubicBezTo>
                    <a:pt x="3941" y="6191"/>
                    <a:pt x="4060" y="6132"/>
                    <a:pt x="4155" y="6072"/>
                  </a:cubicBezTo>
                  <a:lnTo>
                    <a:pt x="4370" y="6072"/>
                  </a:lnTo>
                  <a:lnTo>
                    <a:pt x="4370" y="7965"/>
                  </a:lnTo>
                  <a:cubicBezTo>
                    <a:pt x="4370" y="8668"/>
                    <a:pt x="4941" y="9227"/>
                    <a:pt x="5644" y="9227"/>
                  </a:cubicBezTo>
                  <a:lnTo>
                    <a:pt x="6489" y="9227"/>
                  </a:lnTo>
                  <a:cubicBezTo>
                    <a:pt x="7191" y="9227"/>
                    <a:pt x="7751" y="8668"/>
                    <a:pt x="7751" y="7965"/>
                  </a:cubicBezTo>
                  <a:lnTo>
                    <a:pt x="7751" y="3334"/>
                  </a:lnTo>
                  <a:lnTo>
                    <a:pt x="8334" y="3334"/>
                  </a:lnTo>
                  <a:cubicBezTo>
                    <a:pt x="8573" y="3334"/>
                    <a:pt x="8775" y="3143"/>
                    <a:pt x="8775" y="2893"/>
                  </a:cubicBezTo>
                  <a:lnTo>
                    <a:pt x="8775" y="2798"/>
                  </a:lnTo>
                  <a:cubicBezTo>
                    <a:pt x="8775" y="2667"/>
                    <a:pt x="8704" y="2548"/>
                    <a:pt x="8596" y="2453"/>
                  </a:cubicBezTo>
                  <a:cubicBezTo>
                    <a:pt x="8692" y="2262"/>
                    <a:pt x="8751" y="2036"/>
                    <a:pt x="8763" y="1905"/>
                  </a:cubicBezTo>
                  <a:cubicBezTo>
                    <a:pt x="8775" y="1810"/>
                    <a:pt x="8715" y="1726"/>
                    <a:pt x="8632" y="1715"/>
                  </a:cubicBezTo>
                  <a:cubicBezTo>
                    <a:pt x="8622" y="1713"/>
                    <a:pt x="8613" y="1713"/>
                    <a:pt x="8604" y="1713"/>
                  </a:cubicBezTo>
                  <a:cubicBezTo>
                    <a:pt x="8521" y="1713"/>
                    <a:pt x="8452" y="1760"/>
                    <a:pt x="8442" y="1845"/>
                  </a:cubicBezTo>
                  <a:cubicBezTo>
                    <a:pt x="8394" y="2048"/>
                    <a:pt x="8346" y="2238"/>
                    <a:pt x="8275" y="2346"/>
                  </a:cubicBezTo>
                  <a:lnTo>
                    <a:pt x="6870" y="2346"/>
                  </a:lnTo>
                  <a:cubicBezTo>
                    <a:pt x="6751" y="2143"/>
                    <a:pt x="6679" y="1726"/>
                    <a:pt x="6679" y="1441"/>
                  </a:cubicBezTo>
                  <a:cubicBezTo>
                    <a:pt x="6679" y="833"/>
                    <a:pt x="7084" y="321"/>
                    <a:pt x="7584" y="321"/>
                  </a:cubicBezTo>
                  <a:cubicBezTo>
                    <a:pt x="7989" y="321"/>
                    <a:pt x="8346" y="655"/>
                    <a:pt x="8453" y="1131"/>
                  </a:cubicBezTo>
                  <a:cubicBezTo>
                    <a:pt x="8464" y="1202"/>
                    <a:pt x="8534" y="1255"/>
                    <a:pt x="8606" y="1255"/>
                  </a:cubicBezTo>
                  <a:cubicBezTo>
                    <a:pt x="8619" y="1255"/>
                    <a:pt x="8631" y="1254"/>
                    <a:pt x="8644" y="1250"/>
                  </a:cubicBezTo>
                  <a:cubicBezTo>
                    <a:pt x="8727" y="1238"/>
                    <a:pt x="8799" y="1143"/>
                    <a:pt x="8763" y="1060"/>
                  </a:cubicBezTo>
                  <a:cubicBezTo>
                    <a:pt x="8608" y="429"/>
                    <a:pt x="8132" y="0"/>
                    <a:pt x="7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6" name="Google Shape;10416;p59"/>
            <p:cNvSpPr/>
            <p:nvPr/>
          </p:nvSpPr>
          <p:spPr>
            <a:xfrm>
              <a:off x="5615313" y="3481243"/>
              <a:ext cx="10289" cy="26567"/>
            </a:xfrm>
            <a:custGeom>
              <a:avLst/>
              <a:gdLst/>
              <a:ahLst/>
              <a:cxnLst/>
              <a:rect l="l" t="t" r="r" b="b"/>
              <a:pathLst>
                <a:path w="323" h="834" extrusionOk="0">
                  <a:moveTo>
                    <a:pt x="155" y="1"/>
                  </a:moveTo>
                  <a:cubicBezTo>
                    <a:pt x="72" y="1"/>
                    <a:pt x="1" y="84"/>
                    <a:pt x="1" y="167"/>
                  </a:cubicBezTo>
                  <a:lnTo>
                    <a:pt x="1" y="679"/>
                  </a:lnTo>
                  <a:cubicBezTo>
                    <a:pt x="13" y="763"/>
                    <a:pt x="84" y="834"/>
                    <a:pt x="155" y="834"/>
                  </a:cubicBezTo>
                  <a:cubicBezTo>
                    <a:pt x="251" y="834"/>
                    <a:pt x="322" y="763"/>
                    <a:pt x="322" y="679"/>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17" name="Google Shape;10417;p59"/>
          <p:cNvGrpSpPr/>
          <p:nvPr/>
        </p:nvGrpSpPr>
        <p:grpSpPr>
          <a:xfrm>
            <a:off x="6203579" y="3348981"/>
            <a:ext cx="351615" cy="350373"/>
            <a:chOff x="6203579" y="3348981"/>
            <a:chExt cx="351615" cy="350373"/>
          </a:xfrm>
        </p:grpSpPr>
        <p:sp>
          <p:nvSpPr>
            <p:cNvPr id="10418" name="Google Shape;10418;p59"/>
            <p:cNvSpPr/>
            <p:nvPr/>
          </p:nvSpPr>
          <p:spPr>
            <a:xfrm>
              <a:off x="6377667" y="3404249"/>
              <a:ext cx="93686" cy="58072"/>
            </a:xfrm>
            <a:custGeom>
              <a:avLst/>
              <a:gdLst/>
              <a:ahLst/>
              <a:cxnLst/>
              <a:rect l="l" t="t" r="r" b="b"/>
              <a:pathLst>
                <a:path w="2941" h="1823" extrusionOk="0">
                  <a:moveTo>
                    <a:pt x="644" y="0"/>
                  </a:moveTo>
                  <a:cubicBezTo>
                    <a:pt x="467" y="0"/>
                    <a:pt x="288" y="39"/>
                    <a:pt x="119" y="120"/>
                  </a:cubicBezTo>
                  <a:cubicBezTo>
                    <a:pt x="36" y="155"/>
                    <a:pt x="0" y="251"/>
                    <a:pt x="36" y="322"/>
                  </a:cubicBezTo>
                  <a:cubicBezTo>
                    <a:pt x="70" y="374"/>
                    <a:pt x="129" y="413"/>
                    <a:pt x="186" y="413"/>
                  </a:cubicBezTo>
                  <a:cubicBezTo>
                    <a:pt x="208" y="413"/>
                    <a:pt x="230" y="407"/>
                    <a:pt x="250" y="394"/>
                  </a:cubicBezTo>
                  <a:cubicBezTo>
                    <a:pt x="370" y="337"/>
                    <a:pt x="498" y="310"/>
                    <a:pt x="625" y="310"/>
                  </a:cubicBezTo>
                  <a:cubicBezTo>
                    <a:pt x="950" y="310"/>
                    <a:pt x="1269" y="487"/>
                    <a:pt x="1441" y="786"/>
                  </a:cubicBezTo>
                  <a:cubicBezTo>
                    <a:pt x="1215" y="1036"/>
                    <a:pt x="1143" y="1406"/>
                    <a:pt x="1286" y="1739"/>
                  </a:cubicBezTo>
                  <a:cubicBezTo>
                    <a:pt x="1322" y="1798"/>
                    <a:pt x="1381" y="1822"/>
                    <a:pt x="1441" y="1822"/>
                  </a:cubicBezTo>
                  <a:cubicBezTo>
                    <a:pt x="1560" y="1822"/>
                    <a:pt x="1631" y="1703"/>
                    <a:pt x="1584" y="1608"/>
                  </a:cubicBezTo>
                  <a:cubicBezTo>
                    <a:pt x="1453" y="1322"/>
                    <a:pt x="1572" y="989"/>
                    <a:pt x="1858" y="858"/>
                  </a:cubicBezTo>
                  <a:cubicBezTo>
                    <a:pt x="1936" y="822"/>
                    <a:pt x="2017" y="805"/>
                    <a:pt x="2096" y="805"/>
                  </a:cubicBezTo>
                  <a:cubicBezTo>
                    <a:pt x="2305" y="805"/>
                    <a:pt x="2501" y="924"/>
                    <a:pt x="2596" y="1132"/>
                  </a:cubicBezTo>
                  <a:cubicBezTo>
                    <a:pt x="2631" y="1193"/>
                    <a:pt x="2699" y="1229"/>
                    <a:pt x="2760" y="1229"/>
                  </a:cubicBezTo>
                  <a:cubicBezTo>
                    <a:pt x="2782" y="1229"/>
                    <a:pt x="2803" y="1224"/>
                    <a:pt x="2822" y="1215"/>
                  </a:cubicBezTo>
                  <a:cubicBezTo>
                    <a:pt x="2893" y="1167"/>
                    <a:pt x="2941" y="1084"/>
                    <a:pt x="2893" y="1013"/>
                  </a:cubicBezTo>
                  <a:cubicBezTo>
                    <a:pt x="2757" y="696"/>
                    <a:pt x="2448" y="503"/>
                    <a:pt x="2108" y="503"/>
                  </a:cubicBezTo>
                  <a:cubicBezTo>
                    <a:pt x="1975" y="503"/>
                    <a:pt x="1837" y="532"/>
                    <a:pt x="1703" y="596"/>
                  </a:cubicBezTo>
                  <a:cubicBezTo>
                    <a:pt x="1476" y="218"/>
                    <a:pt x="1066" y="0"/>
                    <a:pt x="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9" name="Google Shape;10419;p59"/>
            <p:cNvSpPr/>
            <p:nvPr/>
          </p:nvSpPr>
          <p:spPr>
            <a:xfrm>
              <a:off x="6260090" y="3449611"/>
              <a:ext cx="76643" cy="44947"/>
            </a:xfrm>
            <a:custGeom>
              <a:avLst/>
              <a:gdLst/>
              <a:ahLst/>
              <a:cxnLst/>
              <a:rect l="l" t="t" r="r" b="b"/>
              <a:pathLst>
                <a:path w="2406" h="1411" extrusionOk="0">
                  <a:moveTo>
                    <a:pt x="1868" y="0"/>
                  </a:moveTo>
                  <a:cubicBezTo>
                    <a:pt x="1523" y="0"/>
                    <a:pt x="1190" y="178"/>
                    <a:pt x="1012" y="541"/>
                  </a:cubicBezTo>
                  <a:cubicBezTo>
                    <a:pt x="891" y="501"/>
                    <a:pt x="765" y="480"/>
                    <a:pt x="638" y="480"/>
                  </a:cubicBezTo>
                  <a:cubicBezTo>
                    <a:pt x="466" y="480"/>
                    <a:pt x="291" y="518"/>
                    <a:pt x="119" y="601"/>
                  </a:cubicBezTo>
                  <a:cubicBezTo>
                    <a:pt x="36" y="636"/>
                    <a:pt x="0" y="732"/>
                    <a:pt x="36" y="803"/>
                  </a:cubicBezTo>
                  <a:cubicBezTo>
                    <a:pt x="70" y="855"/>
                    <a:pt x="129" y="894"/>
                    <a:pt x="186" y="894"/>
                  </a:cubicBezTo>
                  <a:cubicBezTo>
                    <a:pt x="209" y="894"/>
                    <a:pt x="230" y="888"/>
                    <a:pt x="250" y="875"/>
                  </a:cubicBezTo>
                  <a:cubicBezTo>
                    <a:pt x="375" y="820"/>
                    <a:pt x="506" y="794"/>
                    <a:pt x="636" y="794"/>
                  </a:cubicBezTo>
                  <a:cubicBezTo>
                    <a:pt x="990" y="794"/>
                    <a:pt x="1332" y="987"/>
                    <a:pt x="1489" y="1327"/>
                  </a:cubicBezTo>
                  <a:cubicBezTo>
                    <a:pt x="1512" y="1386"/>
                    <a:pt x="1572" y="1410"/>
                    <a:pt x="1631" y="1410"/>
                  </a:cubicBezTo>
                  <a:cubicBezTo>
                    <a:pt x="1750" y="1410"/>
                    <a:pt x="1822" y="1291"/>
                    <a:pt x="1786" y="1196"/>
                  </a:cubicBezTo>
                  <a:cubicBezTo>
                    <a:pt x="1679" y="970"/>
                    <a:pt x="1500" y="779"/>
                    <a:pt x="1310" y="660"/>
                  </a:cubicBezTo>
                  <a:cubicBezTo>
                    <a:pt x="1435" y="426"/>
                    <a:pt x="1654" y="315"/>
                    <a:pt x="1877" y="315"/>
                  </a:cubicBezTo>
                  <a:cubicBezTo>
                    <a:pt x="1971" y="315"/>
                    <a:pt x="2067" y="335"/>
                    <a:pt x="2155" y="374"/>
                  </a:cubicBezTo>
                  <a:cubicBezTo>
                    <a:pt x="2175" y="388"/>
                    <a:pt x="2198" y="394"/>
                    <a:pt x="2221" y="394"/>
                  </a:cubicBezTo>
                  <a:cubicBezTo>
                    <a:pt x="2280" y="394"/>
                    <a:pt x="2341" y="355"/>
                    <a:pt x="2358" y="303"/>
                  </a:cubicBezTo>
                  <a:cubicBezTo>
                    <a:pt x="2405" y="220"/>
                    <a:pt x="2358" y="124"/>
                    <a:pt x="2286" y="89"/>
                  </a:cubicBezTo>
                  <a:cubicBezTo>
                    <a:pt x="2151" y="30"/>
                    <a:pt x="2009" y="0"/>
                    <a:pt x="18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0" name="Google Shape;10420;p59"/>
            <p:cNvSpPr/>
            <p:nvPr/>
          </p:nvSpPr>
          <p:spPr>
            <a:xfrm>
              <a:off x="6415574" y="3498349"/>
              <a:ext cx="49343" cy="21598"/>
            </a:xfrm>
            <a:custGeom>
              <a:avLst/>
              <a:gdLst/>
              <a:ahLst/>
              <a:cxnLst/>
              <a:rect l="l" t="t" r="r" b="b"/>
              <a:pathLst>
                <a:path w="1549" h="678" extrusionOk="0">
                  <a:moveTo>
                    <a:pt x="642" y="1"/>
                  </a:moveTo>
                  <a:cubicBezTo>
                    <a:pt x="446" y="1"/>
                    <a:pt x="250" y="58"/>
                    <a:pt x="84" y="178"/>
                  </a:cubicBezTo>
                  <a:cubicBezTo>
                    <a:pt x="13" y="237"/>
                    <a:pt x="1" y="333"/>
                    <a:pt x="37" y="404"/>
                  </a:cubicBezTo>
                  <a:cubicBezTo>
                    <a:pt x="75" y="450"/>
                    <a:pt x="128" y="477"/>
                    <a:pt x="180" y="477"/>
                  </a:cubicBezTo>
                  <a:cubicBezTo>
                    <a:pt x="209" y="477"/>
                    <a:pt x="237" y="469"/>
                    <a:pt x="263" y="452"/>
                  </a:cubicBezTo>
                  <a:cubicBezTo>
                    <a:pt x="382" y="366"/>
                    <a:pt x="521" y="324"/>
                    <a:pt x="659" y="324"/>
                  </a:cubicBezTo>
                  <a:cubicBezTo>
                    <a:pt x="865" y="324"/>
                    <a:pt x="1068" y="417"/>
                    <a:pt x="1203" y="595"/>
                  </a:cubicBezTo>
                  <a:cubicBezTo>
                    <a:pt x="1227" y="642"/>
                    <a:pt x="1275" y="678"/>
                    <a:pt x="1334" y="678"/>
                  </a:cubicBezTo>
                  <a:cubicBezTo>
                    <a:pt x="1465" y="678"/>
                    <a:pt x="1549" y="523"/>
                    <a:pt x="1465" y="416"/>
                  </a:cubicBezTo>
                  <a:cubicBezTo>
                    <a:pt x="1268" y="146"/>
                    <a:pt x="954" y="1"/>
                    <a:pt x="6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1" name="Google Shape;10421;p59"/>
            <p:cNvSpPr/>
            <p:nvPr/>
          </p:nvSpPr>
          <p:spPr>
            <a:xfrm>
              <a:off x="6344283" y="3473247"/>
              <a:ext cx="41380" cy="32301"/>
            </a:xfrm>
            <a:custGeom>
              <a:avLst/>
              <a:gdLst/>
              <a:ahLst/>
              <a:cxnLst/>
              <a:rect l="l" t="t" r="r" b="b"/>
              <a:pathLst>
                <a:path w="1299" h="1014" extrusionOk="0">
                  <a:moveTo>
                    <a:pt x="1122" y="0"/>
                  </a:moveTo>
                  <a:cubicBezTo>
                    <a:pt x="1048" y="0"/>
                    <a:pt x="986" y="56"/>
                    <a:pt x="953" y="133"/>
                  </a:cubicBezTo>
                  <a:cubicBezTo>
                    <a:pt x="899" y="455"/>
                    <a:pt x="612" y="701"/>
                    <a:pt x="293" y="701"/>
                  </a:cubicBezTo>
                  <a:cubicBezTo>
                    <a:pt x="259" y="701"/>
                    <a:pt x="225" y="698"/>
                    <a:pt x="191" y="692"/>
                  </a:cubicBezTo>
                  <a:cubicBezTo>
                    <a:pt x="178" y="689"/>
                    <a:pt x="166" y="687"/>
                    <a:pt x="155" y="687"/>
                  </a:cubicBezTo>
                  <a:cubicBezTo>
                    <a:pt x="87" y="687"/>
                    <a:pt x="33" y="742"/>
                    <a:pt x="12" y="823"/>
                  </a:cubicBezTo>
                  <a:cubicBezTo>
                    <a:pt x="0" y="906"/>
                    <a:pt x="60" y="990"/>
                    <a:pt x="155" y="1002"/>
                  </a:cubicBezTo>
                  <a:cubicBezTo>
                    <a:pt x="215" y="1014"/>
                    <a:pt x="250" y="1014"/>
                    <a:pt x="310" y="1014"/>
                  </a:cubicBezTo>
                  <a:cubicBezTo>
                    <a:pt x="774" y="1014"/>
                    <a:pt x="1203" y="668"/>
                    <a:pt x="1286" y="180"/>
                  </a:cubicBezTo>
                  <a:cubicBezTo>
                    <a:pt x="1298" y="97"/>
                    <a:pt x="1239" y="13"/>
                    <a:pt x="1143" y="2"/>
                  </a:cubicBezTo>
                  <a:cubicBezTo>
                    <a:pt x="1136" y="1"/>
                    <a:pt x="1129" y="0"/>
                    <a:pt x="11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2" name="Google Shape;10422;p59"/>
            <p:cNvSpPr/>
            <p:nvPr/>
          </p:nvSpPr>
          <p:spPr>
            <a:xfrm>
              <a:off x="6203579" y="3348981"/>
              <a:ext cx="351615" cy="350373"/>
            </a:xfrm>
            <a:custGeom>
              <a:avLst/>
              <a:gdLst/>
              <a:ahLst/>
              <a:cxnLst/>
              <a:rect l="l" t="t" r="r" b="b"/>
              <a:pathLst>
                <a:path w="11038" h="10999" extrusionOk="0">
                  <a:moveTo>
                    <a:pt x="4995" y="1"/>
                  </a:moveTo>
                  <a:cubicBezTo>
                    <a:pt x="4687" y="1"/>
                    <a:pt x="4370" y="111"/>
                    <a:pt x="4132" y="331"/>
                  </a:cubicBezTo>
                  <a:cubicBezTo>
                    <a:pt x="3987" y="258"/>
                    <a:pt x="3828" y="224"/>
                    <a:pt x="3666" y="224"/>
                  </a:cubicBezTo>
                  <a:cubicBezTo>
                    <a:pt x="3298" y="224"/>
                    <a:pt x="2919" y="402"/>
                    <a:pt x="2679" y="700"/>
                  </a:cubicBezTo>
                  <a:cubicBezTo>
                    <a:pt x="2642" y="695"/>
                    <a:pt x="2604" y="692"/>
                    <a:pt x="2566" y="692"/>
                  </a:cubicBezTo>
                  <a:cubicBezTo>
                    <a:pt x="2064" y="692"/>
                    <a:pt x="1551" y="1122"/>
                    <a:pt x="1429" y="1676"/>
                  </a:cubicBezTo>
                  <a:cubicBezTo>
                    <a:pt x="881" y="1795"/>
                    <a:pt x="488" y="2462"/>
                    <a:pt x="643" y="3081"/>
                  </a:cubicBezTo>
                  <a:cubicBezTo>
                    <a:pt x="84" y="3379"/>
                    <a:pt x="0" y="4248"/>
                    <a:pt x="441" y="4784"/>
                  </a:cubicBezTo>
                  <a:cubicBezTo>
                    <a:pt x="336" y="5477"/>
                    <a:pt x="852" y="6142"/>
                    <a:pt x="1432" y="6142"/>
                  </a:cubicBezTo>
                  <a:cubicBezTo>
                    <a:pt x="1510" y="6142"/>
                    <a:pt x="1589" y="6130"/>
                    <a:pt x="1667" y="6105"/>
                  </a:cubicBezTo>
                  <a:cubicBezTo>
                    <a:pt x="1827" y="6308"/>
                    <a:pt x="2150" y="6444"/>
                    <a:pt x="2456" y="6444"/>
                  </a:cubicBezTo>
                  <a:cubicBezTo>
                    <a:pt x="2491" y="6444"/>
                    <a:pt x="2526" y="6442"/>
                    <a:pt x="2560" y="6439"/>
                  </a:cubicBezTo>
                  <a:cubicBezTo>
                    <a:pt x="3002" y="7378"/>
                    <a:pt x="3681" y="7769"/>
                    <a:pt x="4568" y="7769"/>
                  </a:cubicBezTo>
                  <a:cubicBezTo>
                    <a:pt x="4805" y="7769"/>
                    <a:pt x="5056" y="7741"/>
                    <a:pt x="5322" y="7689"/>
                  </a:cubicBezTo>
                  <a:cubicBezTo>
                    <a:pt x="5429" y="8070"/>
                    <a:pt x="5715" y="8534"/>
                    <a:pt x="6382" y="8915"/>
                  </a:cubicBezTo>
                  <a:cubicBezTo>
                    <a:pt x="7454" y="9534"/>
                    <a:pt x="7965" y="10022"/>
                    <a:pt x="8037" y="10487"/>
                  </a:cubicBezTo>
                  <a:cubicBezTo>
                    <a:pt x="8085" y="10796"/>
                    <a:pt x="8346" y="10999"/>
                    <a:pt x="8644" y="10999"/>
                  </a:cubicBezTo>
                  <a:cubicBezTo>
                    <a:pt x="9049" y="10999"/>
                    <a:pt x="9323" y="10630"/>
                    <a:pt x="9251" y="10260"/>
                  </a:cubicBezTo>
                  <a:lnTo>
                    <a:pt x="8835" y="8355"/>
                  </a:lnTo>
                  <a:cubicBezTo>
                    <a:pt x="9275" y="8260"/>
                    <a:pt x="9573" y="7927"/>
                    <a:pt x="9620" y="7593"/>
                  </a:cubicBezTo>
                  <a:cubicBezTo>
                    <a:pt x="9656" y="7308"/>
                    <a:pt x="9763" y="7177"/>
                    <a:pt x="9644" y="6867"/>
                  </a:cubicBezTo>
                  <a:cubicBezTo>
                    <a:pt x="10299" y="6808"/>
                    <a:pt x="10752" y="6081"/>
                    <a:pt x="10609" y="5427"/>
                  </a:cubicBezTo>
                  <a:cubicBezTo>
                    <a:pt x="11025" y="5034"/>
                    <a:pt x="11037" y="4212"/>
                    <a:pt x="10585" y="3831"/>
                  </a:cubicBezTo>
                  <a:cubicBezTo>
                    <a:pt x="10656" y="3307"/>
                    <a:pt x="10323" y="2760"/>
                    <a:pt x="9823" y="2545"/>
                  </a:cubicBezTo>
                  <a:cubicBezTo>
                    <a:pt x="9835" y="2355"/>
                    <a:pt x="9787" y="2164"/>
                    <a:pt x="9704" y="1974"/>
                  </a:cubicBezTo>
                  <a:cubicBezTo>
                    <a:pt x="9673" y="1919"/>
                    <a:pt x="9616" y="1890"/>
                    <a:pt x="9560" y="1890"/>
                  </a:cubicBezTo>
                  <a:cubicBezTo>
                    <a:pt x="9531" y="1890"/>
                    <a:pt x="9502" y="1898"/>
                    <a:pt x="9478" y="1914"/>
                  </a:cubicBezTo>
                  <a:cubicBezTo>
                    <a:pt x="9406" y="1950"/>
                    <a:pt x="9370" y="2057"/>
                    <a:pt x="9418" y="2129"/>
                  </a:cubicBezTo>
                  <a:cubicBezTo>
                    <a:pt x="9513" y="2295"/>
                    <a:pt x="9537" y="2474"/>
                    <a:pt x="9489" y="2605"/>
                  </a:cubicBezTo>
                  <a:cubicBezTo>
                    <a:pt x="9466" y="2700"/>
                    <a:pt x="9525" y="2783"/>
                    <a:pt x="9609" y="2819"/>
                  </a:cubicBezTo>
                  <a:cubicBezTo>
                    <a:pt x="10061" y="2926"/>
                    <a:pt x="10371" y="3438"/>
                    <a:pt x="10251" y="3855"/>
                  </a:cubicBezTo>
                  <a:cubicBezTo>
                    <a:pt x="10240" y="3938"/>
                    <a:pt x="10263" y="4010"/>
                    <a:pt x="10323" y="4034"/>
                  </a:cubicBezTo>
                  <a:cubicBezTo>
                    <a:pt x="10609" y="4212"/>
                    <a:pt x="10716" y="4724"/>
                    <a:pt x="10490" y="5105"/>
                  </a:cubicBezTo>
                  <a:cubicBezTo>
                    <a:pt x="10418" y="4950"/>
                    <a:pt x="10299" y="4748"/>
                    <a:pt x="10085" y="4557"/>
                  </a:cubicBezTo>
                  <a:cubicBezTo>
                    <a:pt x="10051" y="4529"/>
                    <a:pt x="10014" y="4514"/>
                    <a:pt x="9978" y="4514"/>
                  </a:cubicBezTo>
                  <a:cubicBezTo>
                    <a:pt x="9939" y="4514"/>
                    <a:pt x="9902" y="4532"/>
                    <a:pt x="9870" y="4569"/>
                  </a:cubicBezTo>
                  <a:cubicBezTo>
                    <a:pt x="9799" y="4653"/>
                    <a:pt x="9799" y="4736"/>
                    <a:pt x="9882" y="4796"/>
                  </a:cubicBezTo>
                  <a:cubicBezTo>
                    <a:pt x="10085" y="4974"/>
                    <a:pt x="10216" y="5200"/>
                    <a:pt x="10287" y="5462"/>
                  </a:cubicBezTo>
                  <a:lnTo>
                    <a:pt x="10287" y="5498"/>
                  </a:lnTo>
                  <a:cubicBezTo>
                    <a:pt x="10463" y="6016"/>
                    <a:pt x="10035" y="6624"/>
                    <a:pt x="9592" y="6624"/>
                  </a:cubicBezTo>
                  <a:cubicBezTo>
                    <a:pt x="9526" y="6624"/>
                    <a:pt x="9459" y="6611"/>
                    <a:pt x="9394" y="6581"/>
                  </a:cubicBezTo>
                  <a:lnTo>
                    <a:pt x="9359" y="6581"/>
                  </a:lnTo>
                  <a:cubicBezTo>
                    <a:pt x="9251" y="6510"/>
                    <a:pt x="9120" y="6462"/>
                    <a:pt x="8989" y="6462"/>
                  </a:cubicBezTo>
                  <a:lnTo>
                    <a:pt x="8180" y="6462"/>
                  </a:lnTo>
                  <a:cubicBezTo>
                    <a:pt x="8096" y="6462"/>
                    <a:pt x="8013" y="6534"/>
                    <a:pt x="8013" y="6629"/>
                  </a:cubicBezTo>
                  <a:cubicBezTo>
                    <a:pt x="8013" y="6712"/>
                    <a:pt x="8096" y="6796"/>
                    <a:pt x="8180" y="6796"/>
                  </a:cubicBezTo>
                  <a:lnTo>
                    <a:pt x="8989" y="6796"/>
                  </a:lnTo>
                  <a:cubicBezTo>
                    <a:pt x="9251" y="6796"/>
                    <a:pt x="9442" y="7046"/>
                    <a:pt x="9370" y="7296"/>
                  </a:cubicBezTo>
                  <a:cubicBezTo>
                    <a:pt x="9370" y="7308"/>
                    <a:pt x="9359" y="7367"/>
                    <a:pt x="9311" y="7605"/>
                  </a:cubicBezTo>
                  <a:cubicBezTo>
                    <a:pt x="9228" y="7927"/>
                    <a:pt x="8942" y="8141"/>
                    <a:pt x="8632" y="8141"/>
                  </a:cubicBezTo>
                  <a:lnTo>
                    <a:pt x="7596" y="8141"/>
                  </a:lnTo>
                  <a:cubicBezTo>
                    <a:pt x="7275" y="8141"/>
                    <a:pt x="6989" y="7927"/>
                    <a:pt x="6918" y="7605"/>
                  </a:cubicBezTo>
                  <a:cubicBezTo>
                    <a:pt x="6870" y="7355"/>
                    <a:pt x="6858" y="7296"/>
                    <a:pt x="6858" y="7296"/>
                  </a:cubicBezTo>
                  <a:cubicBezTo>
                    <a:pt x="6799" y="7046"/>
                    <a:pt x="6977" y="6796"/>
                    <a:pt x="7239" y="6796"/>
                  </a:cubicBezTo>
                  <a:lnTo>
                    <a:pt x="7501" y="6796"/>
                  </a:lnTo>
                  <a:cubicBezTo>
                    <a:pt x="7584" y="6796"/>
                    <a:pt x="7656" y="6712"/>
                    <a:pt x="7656" y="6629"/>
                  </a:cubicBezTo>
                  <a:cubicBezTo>
                    <a:pt x="7656" y="6534"/>
                    <a:pt x="7584" y="6462"/>
                    <a:pt x="7501" y="6462"/>
                  </a:cubicBezTo>
                  <a:lnTo>
                    <a:pt x="7239" y="6462"/>
                  </a:lnTo>
                  <a:cubicBezTo>
                    <a:pt x="6763" y="6462"/>
                    <a:pt x="6430" y="6915"/>
                    <a:pt x="6549" y="7355"/>
                  </a:cubicBezTo>
                  <a:cubicBezTo>
                    <a:pt x="6584" y="7593"/>
                    <a:pt x="6608" y="7665"/>
                    <a:pt x="6608" y="7665"/>
                  </a:cubicBezTo>
                  <a:cubicBezTo>
                    <a:pt x="6727" y="8129"/>
                    <a:pt x="7144" y="8439"/>
                    <a:pt x="7596" y="8439"/>
                  </a:cubicBezTo>
                  <a:lnTo>
                    <a:pt x="8525" y="8439"/>
                  </a:lnTo>
                  <a:lnTo>
                    <a:pt x="8942" y="10380"/>
                  </a:lnTo>
                  <a:cubicBezTo>
                    <a:pt x="8954" y="10463"/>
                    <a:pt x="8942" y="10558"/>
                    <a:pt x="8882" y="10630"/>
                  </a:cubicBezTo>
                  <a:cubicBezTo>
                    <a:pt x="8818" y="10703"/>
                    <a:pt x="8733" y="10737"/>
                    <a:pt x="8650" y="10737"/>
                  </a:cubicBezTo>
                  <a:cubicBezTo>
                    <a:pt x="8517" y="10737"/>
                    <a:pt x="8388" y="10648"/>
                    <a:pt x="8358" y="10487"/>
                  </a:cubicBezTo>
                  <a:cubicBezTo>
                    <a:pt x="8275" y="9903"/>
                    <a:pt x="7739" y="9368"/>
                    <a:pt x="6561" y="8677"/>
                  </a:cubicBezTo>
                  <a:cubicBezTo>
                    <a:pt x="5751" y="8225"/>
                    <a:pt x="5513" y="7570"/>
                    <a:pt x="5620" y="6998"/>
                  </a:cubicBezTo>
                  <a:lnTo>
                    <a:pt x="5620" y="6998"/>
                  </a:lnTo>
                  <a:cubicBezTo>
                    <a:pt x="5918" y="7129"/>
                    <a:pt x="5870" y="7272"/>
                    <a:pt x="6025" y="7272"/>
                  </a:cubicBezTo>
                  <a:cubicBezTo>
                    <a:pt x="6156" y="7272"/>
                    <a:pt x="6227" y="7117"/>
                    <a:pt x="6156" y="7010"/>
                  </a:cubicBezTo>
                  <a:cubicBezTo>
                    <a:pt x="6025" y="6820"/>
                    <a:pt x="5834" y="6712"/>
                    <a:pt x="5620" y="6653"/>
                  </a:cubicBezTo>
                  <a:lnTo>
                    <a:pt x="5584" y="6617"/>
                  </a:lnTo>
                  <a:cubicBezTo>
                    <a:pt x="5560" y="6605"/>
                    <a:pt x="5537" y="6599"/>
                    <a:pt x="5516" y="6599"/>
                  </a:cubicBezTo>
                  <a:cubicBezTo>
                    <a:pt x="5495" y="6599"/>
                    <a:pt x="5477" y="6605"/>
                    <a:pt x="5465" y="6617"/>
                  </a:cubicBezTo>
                  <a:cubicBezTo>
                    <a:pt x="5422" y="6610"/>
                    <a:pt x="5377" y="6607"/>
                    <a:pt x="5333" y="6607"/>
                  </a:cubicBezTo>
                  <a:cubicBezTo>
                    <a:pt x="5145" y="6607"/>
                    <a:pt x="4950" y="6666"/>
                    <a:pt x="4787" y="6772"/>
                  </a:cubicBezTo>
                  <a:cubicBezTo>
                    <a:pt x="4715" y="6831"/>
                    <a:pt x="4703" y="6927"/>
                    <a:pt x="4751" y="6998"/>
                  </a:cubicBezTo>
                  <a:cubicBezTo>
                    <a:pt x="4789" y="7044"/>
                    <a:pt x="4838" y="7071"/>
                    <a:pt x="4886" y="7071"/>
                  </a:cubicBezTo>
                  <a:cubicBezTo>
                    <a:pt x="4913" y="7071"/>
                    <a:pt x="4940" y="7063"/>
                    <a:pt x="4965" y="7046"/>
                  </a:cubicBezTo>
                  <a:cubicBezTo>
                    <a:pt x="5072" y="6974"/>
                    <a:pt x="5191" y="6939"/>
                    <a:pt x="5310" y="6939"/>
                  </a:cubicBezTo>
                  <a:cubicBezTo>
                    <a:pt x="5298" y="7058"/>
                    <a:pt x="5287" y="7224"/>
                    <a:pt x="5298" y="7403"/>
                  </a:cubicBezTo>
                  <a:cubicBezTo>
                    <a:pt x="5049" y="7450"/>
                    <a:pt x="4820" y="7475"/>
                    <a:pt x="4609" y="7475"/>
                  </a:cubicBezTo>
                  <a:cubicBezTo>
                    <a:pt x="3761" y="7475"/>
                    <a:pt x="3208" y="7082"/>
                    <a:pt x="2846" y="6224"/>
                  </a:cubicBezTo>
                  <a:cubicBezTo>
                    <a:pt x="2798" y="6058"/>
                    <a:pt x="2762" y="5796"/>
                    <a:pt x="2798" y="5688"/>
                  </a:cubicBezTo>
                  <a:cubicBezTo>
                    <a:pt x="2822" y="5605"/>
                    <a:pt x="2786" y="5510"/>
                    <a:pt x="2691" y="5486"/>
                  </a:cubicBezTo>
                  <a:cubicBezTo>
                    <a:pt x="2672" y="5478"/>
                    <a:pt x="2652" y="5474"/>
                    <a:pt x="2633" y="5474"/>
                  </a:cubicBezTo>
                  <a:cubicBezTo>
                    <a:pt x="2568" y="5474"/>
                    <a:pt x="2507" y="5517"/>
                    <a:pt x="2489" y="5581"/>
                  </a:cubicBezTo>
                  <a:cubicBezTo>
                    <a:pt x="2429" y="5748"/>
                    <a:pt x="2453" y="5974"/>
                    <a:pt x="2489" y="6141"/>
                  </a:cubicBezTo>
                  <a:cubicBezTo>
                    <a:pt x="2469" y="6142"/>
                    <a:pt x="2450" y="6143"/>
                    <a:pt x="2431" y="6143"/>
                  </a:cubicBezTo>
                  <a:cubicBezTo>
                    <a:pt x="2141" y="6143"/>
                    <a:pt x="1950" y="5980"/>
                    <a:pt x="1905" y="5879"/>
                  </a:cubicBezTo>
                  <a:cubicBezTo>
                    <a:pt x="1893" y="5843"/>
                    <a:pt x="1858" y="5808"/>
                    <a:pt x="1810" y="5796"/>
                  </a:cubicBezTo>
                  <a:cubicBezTo>
                    <a:pt x="1789" y="5787"/>
                    <a:pt x="1771" y="5783"/>
                    <a:pt x="1753" y="5783"/>
                  </a:cubicBezTo>
                  <a:cubicBezTo>
                    <a:pt x="1701" y="5783"/>
                    <a:pt x="1658" y="5816"/>
                    <a:pt x="1596" y="5843"/>
                  </a:cubicBezTo>
                  <a:cubicBezTo>
                    <a:pt x="1552" y="5855"/>
                    <a:pt x="1509" y="5861"/>
                    <a:pt x="1466" y="5861"/>
                  </a:cubicBezTo>
                  <a:cubicBezTo>
                    <a:pt x="1050" y="5861"/>
                    <a:pt x="679" y="5315"/>
                    <a:pt x="798" y="4807"/>
                  </a:cubicBezTo>
                  <a:cubicBezTo>
                    <a:pt x="846" y="4653"/>
                    <a:pt x="643" y="4653"/>
                    <a:pt x="536" y="4260"/>
                  </a:cubicBezTo>
                  <a:cubicBezTo>
                    <a:pt x="417" y="3855"/>
                    <a:pt x="584" y="3462"/>
                    <a:pt x="893" y="3367"/>
                  </a:cubicBezTo>
                  <a:cubicBezTo>
                    <a:pt x="977" y="3343"/>
                    <a:pt x="1036" y="3248"/>
                    <a:pt x="1000" y="3164"/>
                  </a:cubicBezTo>
                  <a:cubicBezTo>
                    <a:pt x="798" y="2664"/>
                    <a:pt x="1131" y="2045"/>
                    <a:pt x="1596" y="2009"/>
                  </a:cubicBezTo>
                  <a:cubicBezTo>
                    <a:pt x="1667" y="2009"/>
                    <a:pt x="1739" y="1950"/>
                    <a:pt x="1739" y="1867"/>
                  </a:cubicBezTo>
                  <a:cubicBezTo>
                    <a:pt x="1781" y="1436"/>
                    <a:pt x="2175" y="1060"/>
                    <a:pt x="2570" y="1060"/>
                  </a:cubicBezTo>
                  <a:cubicBezTo>
                    <a:pt x="2623" y="1060"/>
                    <a:pt x="2675" y="1067"/>
                    <a:pt x="2727" y="1081"/>
                  </a:cubicBezTo>
                  <a:cubicBezTo>
                    <a:pt x="2736" y="1082"/>
                    <a:pt x="2745" y="1083"/>
                    <a:pt x="2754" y="1083"/>
                  </a:cubicBezTo>
                  <a:cubicBezTo>
                    <a:pt x="2816" y="1083"/>
                    <a:pt x="2874" y="1049"/>
                    <a:pt x="2905" y="997"/>
                  </a:cubicBezTo>
                  <a:cubicBezTo>
                    <a:pt x="3065" y="744"/>
                    <a:pt x="3387" y="579"/>
                    <a:pt x="3692" y="579"/>
                  </a:cubicBezTo>
                  <a:cubicBezTo>
                    <a:pt x="3773" y="579"/>
                    <a:pt x="3854" y="591"/>
                    <a:pt x="3929" y="616"/>
                  </a:cubicBezTo>
                  <a:cubicBezTo>
                    <a:pt x="3870" y="700"/>
                    <a:pt x="3810" y="819"/>
                    <a:pt x="3810" y="962"/>
                  </a:cubicBezTo>
                  <a:cubicBezTo>
                    <a:pt x="3774" y="962"/>
                    <a:pt x="3739" y="974"/>
                    <a:pt x="3703" y="974"/>
                  </a:cubicBezTo>
                  <a:cubicBezTo>
                    <a:pt x="3465" y="1045"/>
                    <a:pt x="3298" y="1212"/>
                    <a:pt x="3298" y="1212"/>
                  </a:cubicBezTo>
                  <a:cubicBezTo>
                    <a:pt x="3239" y="1271"/>
                    <a:pt x="3239" y="1378"/>
                    <a:pt x="3298" y="1438"/>
                  </a:cubicBezTo>
                  <a:cubicBezTo>
                    <a:pt x="3328" y="1468"/>
                    <a:pt x="3370" y="1483"/>
                    <a:pt x="3411" y="1483"/>
                  </a:cubicBezTo>
                  <a:cubicBezTo>
                    <a:pt x="3453" y="1483"/>
                    <a:pt x="3495" y="1468"/>
                    <a:pt x="3524" y="1438"/>
                  </a:cubicBezTo>
                  <a:cubicBezTo>
                    <a:pt x="3532" y="1422"/>
                    <a:pt x="3715" y="1247"/>
                    <a:pt x="3964" y="1247"/>
                  </a:cubicBezTo>
                  <a:cubicBezTo>
                    <a:pt x="4094" y="1247"/>
                    <a:pt x="4243" y="1295"/>
                    <a:pt x="4394" y="1438"/>
                  </a:cubicBezTo>
                  <a:cubicBezTo>
                    <a:pt x="4417" y="1462"/>
                    <a:pt x="4465" y="1474"/>
                    <a:pt x="4513" y="1474"/>
                  </a:cubicBezTo>
                  <a:cubicBezTo>
                    <a:pt x="4656" y="1474"/>
                    <a:pt x="4715" y="1295"/>
                    <a:pt x="4632" y="1200"/>
                  </a:cubicBezTo>
                  <a:cubicBezTo>
                    <a:pt x="4465" y="1033"/>
                    <a:pt x="4286" y="962"/>
                    <a:pt x="4132" y="926"/>
                  </a:cubicBezTo>
                  <a:cubicBezTo>
                    <a:pt x="4155" y="819"/>
                    <a:pt x="4251" y="688"/>
                    <a:pt x="4298" y="664"/>
                  </a:cubicBezTo>
                  <a:lnTo>
                    <a:pt x="4298" y="640"/>
                  </a:lnTo>
                  <a:cubicBezTo>
                    <a:pt x="4502" y="424"/>
                    <a:pt x="4770" y="329"/>
                    <a:pt x="5016" y="329"/>
                  </a:cubicBezTo>
                  <a:cubicBezTo>
                    <a:pt x="5257" y="329"/>
                    <a:pt x="5478" y="421"/>
                    <a:pt x="5596" y="581"/>
                  </a:cubicBezTo>
                  <a:cubicBezTo>
                    <a:pt x="5620" y="628"/>
                    <a:pt x="5668" y="640"/>
                    <a:pt x="5715" y="664"/>
                  </a:cubicBezTo>
                  <a:cubicBezTo>
                    <a:pt x="5763" y="664"/>
                    <a:pt x="5799" y="640"/>
                    <a:pt x="5834" y="616"/>
                  </a:cubicBezTo>
                  <a:cubicBezTo>
                    <a:pt x="5984" y="476"/>
                    <a:pt x="6190" y="411"/>
                    <a:pt x="6397" y="411"/>
                  </a:cubicBezTo>
                  <a:cubicBezTo>
                    <a:pt x="6700" y="411"/>
                    <a:pt x="7005" y="552"/>
                    <a:pt x="7132" y="807"/>
                  </a:cubicBezTo>
                  <a:cubicBezTo>
                    <a:pt x="7153" y="869"/>
                    <a:pt x="7210" y="904"/>
                    <a:pt x="7287" y="904"/>
                  </a:cubicBezTo>
                  <a:cubicBezTo>
                    <a:pt x="7299" y="904"/>
                    <a:pt x="7310" y="904"/>
                    <a:pt x="7323" y="902"/>
                  </a:cubicBezTo>
                  <a:cubicBezTo>
                    <a:pt x="7391" y="883"/>
                    <a:pt x="7462" y="874"/>
                    <a:pt x="7533" y="874"/>
                  </a:cubicBezTo>
                  <a:cubicBezTo>
                    <a:pt x="7908" y="874"/>
                    <a:pt x="8292" y="1123"/>
                    <a:pt x="8382" y="1474"/>
                  </a:cubicBezTo>
                  <a:cubicBezTo>
                    <a:pt x="8392" y="1544"/>
                    <a:pt x="8445" y="1598"/>
                    <a:pt x="8519" y="1598"/>
                  </a:cubicBezTo>
                  <a:cubicBezTo>
                    <a:pt x="8533" y="1598"/>
                    <a:pt x="8546" y="1596"/>
                    <a:pt x="8561" y="1593"/>
                  </a:cubicBezTo>
                  <a:cubicBezTo>
                    <a:pt x="8578" y="1591"/>
                    <a:pt x="8595" y="1590"/>
                    <a:pt x="8612" y="1590"/>
                  </a:cubicBezTo>
                  <a:cubicBezTo>
                    <a:pt x="8726" y="1590"/>
                    <a:pt x="8843" y="1624"/>
                    <a:pt x="8978" y="1676"/>
                  </a:cubicBezTo>
                  <a:cubicBezTo>
                    <a:pt x="8994" y="1682"/>
                    <a:pt x="9013" y="1685"/>
                    <a:pt x="9033" y="1685"/>
                  </a:cubicBezTo>
                  <a:cubicBezTo>
                    <a:pt x="9095" y="1685"/>
                    <a:pt x="9162" y="1654"/>
                    <a:pt x="9180" y="1581"/>
                  </a:cubicBezTo>
                  <a:cubicBezTo>
                    <a:pt x="9216" y="1497"/>
                    <a:pt x="9180" y="1402"/>
                    <a:pt x="9097" y="1378"/>
                  </a:cubicBezTo>
                  <a:cubicBezTo>
                    <a:pt x="8942" y="1319"/>
                    <a:pt x="8799" y="1271"/>
                    <a:pt x="8644" y="1271"/>
                  </a:cubicBezTo>
                  <a:cubicBezTo>
                    <a:pt x="8472" y="841"/>
                    <a:pt x="7989" y="547"/>
                    <a:pt x="7502" y="547"/>
                  </a:cubicBezTo>
                  <a:cubicBezTo>
                    <a:pt x="7450" y="547"/>
                    <a:pt x="7398" y="550"/>
                    <a:pt x="7346" y="557"/>
                  </a:cubicBezTo>
                  <a:cubicBezTo>
                    <a:pt x="7145" y="251"/>
                    <a:pt x="6767" y="81"/>
                    <a:pt x="6386" y="81"/>
                  </a:cubicBezTo>
                  <a:cubicBezTo>
                    <a:pt x="6159" y="81"/>
                    <a:pt x="5931" y="142"/>
                    <a:pt x="5739" y="271"/>
                  </a:cubicBezTo>
                  <a:cubicBezTo>
                    <a:pt x="5542" y="91"/>
                    <a:pt x="5272" y="1"/>
                    <a:pt x="49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3" name="Google Shape;10423;p59"/>
          <p:cNvGrpSpPr/>
          <p:nvPr/>
        </p:nvGrpSpPr>
        <p:grpSpPr>
          <a:xfrm>
            <a:off x="5829984" y="3350032"/>
            <a:ext cx="220755" cy="352348"/>
            <a:chOff x="5829984" y="3350032"/>
            <a:chExt cx="220755" cy="352348"/>
          </a:xfrm>
        </p:grpSpPr>
        <p:sp>
          <p:nvSpPr>
            <p:cNvPr id="10424" name="Google Shape;10424;p59"/>
            <p:cNvSpPr/>
            <p:nvPr/>
          </p:nvSpPr>
          <p:spPr>
            <a:xfrm>
              <a:off x="5829984" y="3350032"/>
              <a:ext cx="220755" cy="352348"/>
            </a:xfrm>
            <a:custGeom>
              <a:avLst/>
              <a:gdLst/>
              <a:ahLst/>
              <a:cxnLst/>
              <a:rect l="l" t="t" r="r" b="b"/>
              <a:pathLst>
                <a:path w="6930" h="11061" extrusionOk="0">
                  <a:moveTo>
                    <a:pt x="1989" y="333"/>
                  </a:moveTo>
                  <a:lnTo>
                    <a:pt x="1989" y="2060"/>
                  </a:lnTo>
                  <a:lnTo>
                    <a:pt x="1072" y="2060"/>
                  </a:lnTo>
                  <a:lnTo>
                    <a:pt x="1072" y="333"/>
                  </a:lnTo>
                  <a:close/>
                  <a:moveTo>
                    <a:pt x="3299" y="333"/>
                  </a:moveTo>
                  <a:lnTo>
                    <a:pt x="3299" y="2060"/>
                  </a:lnTo>
                  <a:lnTo>
                    <a:pt x="2322" y="2060"/>
                  </a:lnTo>
                  <a:lnTo>
                    <a:pt x="2322" y="333"/>
                  </a:lnTo>
                  <a:close/>
                  <a:moveTo>
                    <a:pt x="4608" y="333"/>
                  </a:moveTo>
                  <a:lnTo>
                    <a:pt x="4608" y="2060"/>
                  </a:lnTo>
                  <a:lnTo>
                    <a:pt x="3632" y="2060"/>
                  </a:lnTo>
                  <a:lnTo>
                    <a:pt x="3632" y="333"/>
                  </a:lnTo>
                  <a:close/>
                  <a:moveTo>
                    <a:pt x="5108" y="2381"/>
                  </a:moveTo>
                  <a:lnTo>
                    <a:pt x="5108" y="2774"/>
                  </a:lnTo>
                  <a:lnTo>
                    <a:pt x="1810" y="2774"/>
                  </a:lnTo>
                  <a:lnTo>
                    <a:pt x="1810" y="2381"/>
                  </a:lnTo>
                  <a:close/>
                  <a:moveTo>
                    <a:pt x="6085" y="3084"/>
                  </a:moveTo>
                  <a:cubicBezTo>
                    <a:pt x="6370" y="3084"/>
                    <a:pt x="6609" y="3322"/>
                    <a:pt x="6609" y="3608"/>
                  </a:cubicBezTo>
                  <a:lnTo>
                    <a:pt x="6609" y="10216"/>
                  </a:lnTo>
                  <a:cubicBezTo>
                    <a:pt x="6609" y="10489"/>
                    <a:pt x="6370" y="10728"/>
                    <a:pt x="6085" y="10728"/>
                  </a:cubicBezTo>
                  <a:lnTo>
                    <a:pt x="846" y="10728"/>
                  </a:lnTo>
                  <a:cubicBezTo>
                    <a:pt x="560" y="10728"/>
                    <a:pt x="322" y="10489"/>
                    <a:pt x="322" y="10216"/>
                  </a:cubicBezTo>
                  <a:lnTo>
                    <a:pt x="322" y="3608"/>
                  </a:lnTo>
                  <a:cubicBezTo>
                    <a:pt x="322" y="3322"/>
                    <a:pt x="560" y="3084"/>
                    <a:pt x="846" y="3084"/>
                  </a:cubicBezTo>
                  <a:close/>
                  <a:moveTo>
                    <a:pt x="905" y="0"/>
                  </a:moveTo>
                  <a:cubicBezTo>
                    <a:pt x="822" y="0"/>
                    <a:pt x="739" y="71"/>
                    <a:pt x="739" y="167"/>
                  </a:cubicBezTo>
                  <a:lnTo>
                    <a:pt x="739" y="2215"/>
                  </a:lnTo>
                  <a:cubicBezTo>
                    <a:pt x="739" y="2310"/>
                    <a:pt x="822" y="2381"/>
                    <a:pt x="905" y="2381"/>
                  </a:cubicBezTo>
                  <a:lnTo>
                    <a:pt x="1501" y="2381"/>
                  </a:lnTo>
                  <a:lnTo>
                    <a:pt x="1501" y="2762"/>
                  </a:lnTo>
                  <a:lnTo>
                    <a:pt x="846" y="2762"/>
                  </a:lnTo>
                  <a:cubicBezTo>
                    <a:pt x="382" y="2762"/>
                    <a:pt x="1" y="3143"/>
                    <a:pt x="1" y="3620"/>
                  </a:cubicBezTo>
                  <a:lnTo>
                    <a:pt x="1" y="10216"/>
                  </a:lnTo>
                  <a:cubicBezTo>
                    <a:pt x="1" y="10668"/>
                    <a:pt x="370" y="11061"/>
                    <a:pt x="846" y="11061"/>
                  </a:cubicBezTo>
                  <a:lnTo>
                    <a:pt x="6085" y="11061"/>
                  </a:lnTo>
                  <a:cubicBezTo>
                    <a:pt x="6549" y="11061"/>
                    <a:pt x="6930" y="10692"/>
                    <a:pt x="6930" y="10216"/>
                  </a:cubicBezTo>
                  <a:lnTo>
                    <a:pt x="6930" y="3608"/>
                  </a:lnTo>
                  <a:cubicBezTo>
                    <a:pt x="6930" y="3143"/>
                    <a:pt x="6549" y="2774"/>
                    <a:pt x="6085" y="2774"/>
                  </a:cubicBezTo>
                  <a:lnTo>
                    <a:pt x="5430" y="2774"/>
                  </a:lnTo>
                  <a:lnTo>
                    <a:pt x="5430" y="2381"/>
                  </a:lnTo>
                  <a:lnTo>
                    <a:pt x="6025" y="2381"/>
                  </a:lnTo>
                  <a:cubicBezTo>
                    <a:pt x="6108" y="2381"/>
                    <a:pt x="6192" y="2310"/>
                    <a:pt x="6192" y="2215"/>
                  </a:cubicBezTo>
                  <a:lnTo>
                    <a:pt x="6192" y="1191"/>
                  </a:lnTo>
                  <a:cubicBezTo>
                    <a:pt x="6192" y="1095"/>
                    <a:pt x="6108" y="1024"/>
                    <a:pt x="6025" y="1024"/>
                  </a:cubicBezTo>
                  <a:cubicBezTo>
                    <a:pt x="5942" y="1024"/>
                    <a:pt x="5858" y="1095"/>
                    <a:pt x="5858" y="1191"/>
                  </a:cubicBezTo>
                  <a:lnTo>
                    <a:pt x="5858" y="2048"/>
                  </a:lnTo>
                  <a:lnTo>
                    <a:pt x="4942" y="2048"/>
                  </a:lnTo>
                  <a:lnTo>
                    <a:pt x="4942" y="321"/>
                  </a:lnTo>
                  <a:lnTo>
                    <a:pt x="5858" y="321"/>
                  </a:lnTo>
                  <a:lnTo>
                    <a:pt x="5858" y="524"/>
                  </a:lnTo>
                  <a:cubicBezTo>
                    <a:pt x="5858" y="607"/>
                    <a:pt x="5942" y="679"/>
                    <a:pt x="6025" y="679"/>
                  </a:cubicBezTo>
                  <a:cubicBezTo>
                    <a:pt x="6108" y="679"/>
                    <a:pt x="6192" y="607"/>
                    <a:pt x="6192" y="524"/>
                  </a:cubicBezTo>
                  <a:lnTo>
                    <a:pt x="6192" y="167"/>
                  </a:lnTo>
                  <a:cubicBezTo>
                    <a:pt x="6192" y="71"/>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5" name="Google Shape;10425;p59"/>
            <p:cNvSpPr/>
            <p:nvPr/>
          </p:nvSpPr>
          <p:spPr>
            <a:xfrm>
              <a:off x="5912297" y="3541927"/>
              <a:ext cx="56160" cy="56160"/>
            </a:xfrm>
            <a:custGeom>
              <a:avLst/>
              <a:gdLst/>
              <a:ahLst/>
              <a:cxnLst/>
              <a:rect l="l" t="t" r="r" b="b"/>
              <a:pathLst>
                <a:path w="1763" h="1763" extrusionOk="0">
                  <a:moveTo>
                    <a:pt x="881" y="1"/>
                  </a:moveTo>
                  <a:cubicBezTo>
                    <a:pt x="798" y="1"/>
                    <a:pt x="715" y="72"/>
                    <a:pt x="715" y="167"/>
                  </a:cubicBezTo>
                  <a:lnTo>
                    <a:pt x="715" y="715"/>
                  </a:lnTo>
                  <a:lnTo>
                    <a:pt x="167" y="715"/>
                  </a:lnTo>
                  <a:cubicBezTo>
                    <a:pt x="84" y="715"/>
                    <a:pt x="0" y="798"/>
                    <a:pt x="0" y="882"/>
                  </a:cubicBezTo>
                  <a:cubicBezTo>
                    <a:pt x="0" y="977"/>
                    <a:pt x="84" y="1048"/>
                    <a:pt x="167" y="1048"/>
                  </a:cubicBezTo>
                  <a:lnTo>
                    <a:pt x="715" y="1048"/>
                  </a:lnTo>
                  <a:lnTo>
                    <a:pt x="715" y="1596"/>
                  </a:lnTo>
                  <a:cubicBezTo>
                    <a:pt x="715" y="1691"/>
                    <a:pt x="798" y="1763"/>
                    <a:pt x="881" y="1763"/>
                  </a:cubicBezTo>
                  <a:cubicBezTo>
                    <a:pt x="965" y="1763"/>
                    <a:pt x="1048" y="1691"/>
                    <a:pt x="1048" y="1596"/>
                  </a:cubicBezTo>
                  <a:lnTo>
                    <a:pt x="1048" y="1048"/>
                  </a:lnTo>
                  <a:lnTo>
                    <a:pt x="1596" y="1048"/>
                  </a:lnTo>
                  <a:cubicBezTo>
                    <a:pt x="1679" y="1048"/>
                    <a:pt x="1762" y="977"/>
                    <a:pt x="1762" y="882"/>
                  </a:cubicBezTo>
                  <a:cubicBezTo>
                    <a:pt x="1762" y="798"/>
                    <a:pt x="1679" y="715"/>
                    <a:pt x="1596" y="715"/>
                  </a:cubicBezTo>
                  <a:lnTo>
                    <a:pt x="1048" y="715"/>
                  </a:lnTo>
                  <a:lnTo>
                    <a:pt x="1048" y="167"/>
                  </a:lnTo>
                  <a:cubicBezTo>
                    <a:pt x="1048" y="72"/>
                    <a:pt x="965"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6" name="Google Shape;10426;p59"/>
            <p:cNvSpPr/>
            <p:nvPr/>
          </p:nvSpPr>
          <p:spPr>
            <a:xfrm>
              <a:off x="5885730" y="3515391"/>
              <a:ext cx="109263" cy="109263"/>
            </a:xfrm>
            <a:custGeom>
              <a:avLst/>
              <a:gdLst/>
              <a:ahLst/>
              <a:cxnLst/>
              <a:rect l="l" t="t" r="r" b="b"/>
              <a:pathLst>
                <a:path w="3430" h="3430" extrusionOk="0">
                  <a:moveTo>
                    <a:pt x="1715" y="345"/>
                  </a:moveTo>
                  <a:cubicBezTo>
                    <a:pt x="2477" y="345"/>
                    <a:pt x="3096" y="976"/>
                    <a:pt x="3096" y="1727"/>
                  </a:cubicBezTo>
                  <a:cubicBezTo>
                    <a:pt x="3096" y="2489"/>
                    <a:pt x="2477" y="3120"/>
                    <a:pt x="1715" y="3120"/>
                  </a:cubicBezTo>
                  <a:cubicBezTo>
                    <a:pt x="953" y="3120"/>
                    <a:pt x="334" y="2489"/>
                    <a:pt x="334" y="1727"/>
                  </a:cubicBezTo>
                  <a:cubicBezTo>
                    <a:pt x="334" y="976"/>
                    <a:pt x="953" y="345"/>
                    <a:pt x="1715" y="345"/>
                  </a:cubicBezTo>
                  <a:close/>
                  <a:moveTo>
                    <a:pt x="1715" y="0"/>
                  </a:moveTo>
                  <a:cubicBezTo>
                    <a:pt x="775" y="0"/>
                    <a:pt x="1" y="762"/>
                    <a:pt x="1" y="1715"/>
                  </a:cubicBezTo>
                  <a:cubicBezTo>
                    <a:pt x="1" y="2667"/>
                    <a:pt x="775" y="3429"/>
                    <a:pt x="1715" y="3429"/>
                  </a:cubicBezTo>
                  <a:cubicBezTo>
                    <a:pt x="2656" y="3429"/>
                    <a:pt x="3430" y="2667"/>
                    <a:pt x="3430" y="1715"/>
                  </a:cubicBezTo>
                  <a:cubicBezTo>
                    <a:pt x="3430" y="774"/>
                    <a:pt x="266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7" name="Google Shape;10427;p59"/>
            <p:cNvSpPr/>
            <p:nvPr/>
          </p:nvSpPr>
          <p:spPr>
            <a:xfrm>
              <a:off x="5862986" y="3476305"/>
              <a:ext cx="154783" cy="188167"/>
            </a:xfrm>
            <a:custGeom>
              <a:avLst/>
              <a:gdLst/>
              <a:ahLst/>
              <a:cxnLst/>
              <a:rect l="l" t="t" r="r" b="b"/>
              <a:pathLst>
                <a:path w="4859" h="5907" extrusionOk="0">
                  <a:moveTo>
                    <a:pt x="167" y="1"/>
                  </a:moveTo>
                  <a:cubicBezTo>
                    <a:pt x="84" y="1"/>
                    <a:pt x="0" y="72"/>
                    <a:pt x="0" y="156"/>
                  </a:cubicBezTo>
                  <a:lnTo>
                    <a:pt x="0" y="5740"/>
                  </a:lnTo>
                  <a:cubicBezTo>
                    <a:pt x="0" y="5835"/>
                    <a:pt x="84" y="5906"/>
                    <a:pt x="167" y="5906"/>
                  </a:cubicBezTo>
                  <a:lnTo>
                    <a:pt x="4691" y="5906"/>
                  </a:lnTo>
                  <a:cubicBezTo>
                    <a:pt x="4787" y="5906"/>
                    <a:pt x="4858" y="5835"/>
                    <a:pt x="4858" y="5740"/>
                  </a:cubicBezTo>
                  <a:lnTo>
                    <a:pt x="4858" y="156"/>
                  </a:lnTo>
                  <a:cubicBezTo>
                    <a:pt x="4858" y="72"/>
                    <a:pt x="4775" y="1"/>
                    <a:pt x="4691" y="1"/>
                  </a:cubicBezTo>
                  <a:lnTo>
                    <a:pt x="1715" y="1"/>
                  </a:lnTo>
                  <a:cubicBezTo>
                    <a:pt x="1632" y="1"/>
                    <a:pt x="1548" y="72"/>
                    <a:pt x="1548" y="156"/>
                  </a:cubicBezTo>
                  <a:cubicBezTo>
                    <a:pt x="1548" y="251"/>
                    <a:pt x="1632" y="322"/>
                    <a:pt x="1715" y="322"/>
                  </a:cubicBezTo>
                  <a:lnTo>
                    <a:pt x="4525" y="322"/>
                  </a:lnTo>
                  <a:lnTo>
                    <a:pt x="4525" y="5597"/>
                  </a:lnTo>
                  <a:lnTo>
                    <a:pt x="334" y="5597"/>
                  </a:lnTo>
                  <a:lnTo>
                    <a:pt x="334" y="322"/>
                  </a:lnTo>
                  <a:lnTo>
                    <a:pt x="881" y="322"/>
                  </a:lnTo>
                  <a:cubicBezTo>
                    <a:pt x="977" y="322"/>
                    <a:pt x="1048" y="251"/>
                    <a:pt x="1048" y="156"/>
                  </a:cubicBezTo>
                  <a:cubicBezTo>
                    <a:pt x="1048"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28" name="Google Shape;10428;p59"/>
          <p:cNvGrpSpPr/>
          <p:nvPr/>
        </p:nvGrpSpPr>
        <p:grpSpPr>
          <a:xfrm>
            <a:off x="4882170" y="3349841"/>
            <a:ext cx="358464" cy="352316"/>
            <a:chOff x="4882170" y="3349841"/>
            <a:chExt cx="358464" cy="352316"/>
          </a:xfrm>
        </p:grpSpPr>
        <p:sp>
          <p:nvSpPr>
            <p:cNvPr id="10429" name="Google Shape;10429;p59"/>
            <p:cNvSpPr/>
            <p:nvPr/>
          </p:nvSpPr>
          <p:spPr>
            <a:xfrm>
              <a:off x="5024403" y="3395521"/>
              <a:ext cx="174119" cy="166156"/>
            </a:xfrm>
            <a:custGeom>
              <a:avLst/>
              <a:gdLst/>
              <a:ahLst/>
              <a:cxnLst/>
              <a:rect l="l" t="t" r="r" b="b"/>
              <a:pathLst>
                <a:path w="5466" h="5216" extrusionOk="0">
                  <a:moveTo>
                    <a:pt x="4647" y="1"/>
                  </a:moveTo>
                  <a:cubicBezTo>
                    <a:pt x="4489" y="1"/>
                    <a:pt x="4335" y="60"/>
                    <a:pt x="4215" y="179"/>
                  </a:cubicBezTo>
                  <a:lnTo>
                    <a:pt x="239" y="4156"/>
                  </a:lnTo>
                  <a:cubicBezTo>
                    <a:pt x="1" y="4394"/>
                    <a:pt x="1" y="4799"/>
                    <a:pt x="239" y="5037"/>
                  </a:cubicBezTo>
                  <a:cubicBezTo>
                    <a:pt x="358" y="5156"/>
                    <a:pt x="519" y="5216"/>
                    <a:pt x="679" y="5216"/>
                  </a:cubicBezTo>
                  <a:cubicBezTo>
                    <a:pt x="840" y="5216"/>
                    <a:pt x="1001" y="5156"/>
                    <a:pt x="1120" y="5037"/>
                  </a:cubicBezTo>
                  <a:lnTo>
                    <a:pt x="4501" y="1656"/>
                  </a:lnTo>
                  <a:cubicBezTo>
                    <a:pt x="4561" y="1596"/>
                    <a:pt x="4561" y="1489"/>
                    <a:pt x="4501" y="1430"/>
                  </a:cubicBezTo>
                  <a:cubicBezTo>
                    <a:pt x="4471" y="1400"/>
                    <a:pt x="4430" y="1385"/>
                    <a:pt x="4388" y="1385"/>
                  </a:cubicBezTo>
                  <a:cubicBezTo>
                    <a:pt x="4346" y="1385"/>
                    <a:pt x="4305" y="1400"/>
                    <a:pt x="4275" y="1430"/>
                  </a:cubicBezTo>
                  <a:lnTo>
                    <a:pt x="894" y="4811"/>
                  </a:lnTo>
                  <a:cubicBezTo>
                    <a:pt x="834" y="4870"/>
                    <a:pt x="757" y="4900"/>
                    <a:pt x="681" y="4900"/>
                  </a:cubicBezTo>
                  <a:cubicBezTo>
                    <a:pt x="605" y="4900"/>
                    <a:pt x="530" y="4870"/>
                    <a:pt x="477" y="4811"/>
                  </a:cubicBezTo>
                  <a:cubicBezTo>
                    <a:pt x="358" y="4692"/>
                    <a:pt x="358" y="4501"/>
                    <a:pt x="477" y="4394"/>
                  </a:cubicBezTo>
                  <a:lnTo>
                    <a:pt x="4454" y="417"/>
                  </a:lnTo>
                  <a:cubicBezTo>
                    <a:pt x="4512" y="359"/>
                    <a:pt x="4585" y="333"/>
                    <a:pt x="4657" y="333"/>
                  </a:cubicBezTo>
                  <a:cubicBezTo>
                    <a:pt x="4807" y="333"/>
                    <a:pt x="4954" y="447"/>
                    <a:pt x="4954" y="632"/>
                  </a:cubicBezTo>
                  <a:cubicBezTo>
                    <a:pt x="4954" y="703"/>
                    <a:pt x="4930" y="775"/>
                    <a:pt x="4870" y="834"/>
                  </a:cubicBezTo>
                  <a:cubicBezTo>
                    <a:pt x="4811" y="894"/>
                    <a:pt x="4811" y="1001"/>
                    <a:pt x="4870" y="1060"/>
                  </a:cubicBezTo>
                  <a:cubicBezTo>
                    <a:pt x="4903" y="1094"/>
                    <a:pt x="4940" y="1108"/>
                    <a:pt x="4977" y="1108"/>
                  </a:cubicBezTo>
                  <a:cubicBezTo>
                    <a:pt x="5208" y="1108"/>
                    <a:pt x="5465" y="538"/>
                    <a:pt x="5097" y="179"/>
                  </a:cubicBezTo>
                  <a:cubicBezTo>
                    <a:pt x="4966" y="60"/>
                    <a:pt x="4805" y="1"/>
                    <a:pt x="46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0" name="Google Shape;10430;p59"/>
            <p:cNvSpPr/>
            <p:nvPr/>
          </p:nvSpPr>
          <p:spPr>
            <a:xfrm>
              <a:off x="4882170" y="3349841"/>
              <a:ext cx="358464" cy="352316"/>
            </a:xfrm>
            <a:custGeom>
              <a:avLst/>
              <a:gdLst/>
              <a:ahLst/>
              <a:cxnLst/>
              <a:rect l="l" t="t" r="r" b="b"/>
              <a:pathLst>
                <a:path w="11253" h="11060" extrusionOk="0">
                  <a:moveTo>
                    <a:pt x="8809" y="364"/>
                  </a:moveTo>
                  <a:cubicBezTo>
                    <a:pt x="8973" y="364"/>
                    <a:pt x="9138" y="421"/>
                    <a:pt x="9276" y="530"/>
                  </a:cubicBezTo>
                  <a:lnTo>
                    <a:pt x="10585" y="1840"/>
                  </a:lnTo>
                  <a:cubicBezTo>
                    <a:pt x="10895" y="2078"/>
                    <a:pt x="10895" y="2518"/>
                    <a:pt x="10633" y="2804"/>
                  </a:cubicBezTo>
                  <a:cubicBezTo>
                    <a:pt x="7276" y="6150"/>
                    <a:pt x="7395" y="6054"/>
                    <a:pt x="7192" y="6233"/>
                  </a:cubicBezTo>
                  <a:cubicBezTo>
                    <a:pt x="6609" y="6745"/>
                    <a:pt x="6002" y="7102"/>
                    <a:pt x="5287" y="7376"/>
                  </a:cubicBezTo>
                  <a:cubicBezTo>
                    <a:pt x="5144" y="7432"/>
                    <a:pt x="5001" y="7458"/>
                    <a:pt x="4863" y="7458"/>
                  </a:cubicBezTo>
                  <a:cubicBezTo>
                    <a:pt x="4096" y="7458"/>
                    <a:pt x="3484" y="6663"/>
                    <a:pt x="3787" y="5876"/>
                  </a:cubicBezTo>
                  <a:cubicBezTo>
                    <a:pt x="3799" y="5828"/>
                    <a:pt x="4061" y="5042"/>
                    <a:pt x="4704" y="4233"/>
                  </a:cubicBezTo>
                  <a:lnTo>
                    <a:pt x="4978" y="4507"/>
                  </a:lnTo>
                  <a:cubicBezTo>
                    <a:pt x="5007" y="4536"/>
                    <a:pt x="5046" y="4551"/>
                    <a:pt x="5085" y="4551"/>
                  </a:cubicBezTo>
                  <a:cubicBezTo>
                    <a:pt x="5123" y="4551"/>
                    <a:pt x="5162" y="4536"/>
                    <a:pt x="5192" y="4507"/>
                  </a:cubicBezTo>
                  <a:cubicBezTo>
                    <a:pt x="5251" y="4447"/>
                    <a:pt x="5251" y="4340"/>
                    <a:pt x="5192" y="4280"/>
                  </a:cubicBezTo>
                  <a:lnTo>
                    <a:pt x="4918" y="3995"/>
                  </a:lnTo>
                  <a:cubicBezTo>
                    <a:pt x="5073" y="3816"/>
                    <a:pt x="5180" y="3709"/>
                    <a:pt x="5287" y="3614"/>
                  </a:cubicBezTo>
                  <a:lnTo>
                    <a:pt x="5573" y="3887"/>
                  </a:lnTo>
                  <a:cubicBezTo>
                    <a:pt x="5603" y="3917"/>
                    <a:pt x="5641" y="3932"/>
                    <a:pt x="5680" y="3932"/>
                  </a:cubicBezTo>
                  <a:cubicBezTo>
                    <a:pt x="5719" y="3932"/>
                    <a:pt x="5757" y="3917"/>
                    <a:pt x="5787" y="3887"/>
                  </a:cubicBezTo>
                  <a:cubicBezTo>
                    <a:pt x="5847" y="3828"/>
                    <a:pt x="5847" y="3733"/>
                    <a:pt x="5787" y="3673"/>
                  </a:cubicBezTo>
                  <a:lnTo>
                    <a:pt x="5513" y="3387"/>
                  </a:lnTo>
                  <a:lnTo>
                    <a:pt x="5894" y="2994"/>
                  </a:lnTo>
                  <a:lnTo>
                    <a:pt x="6180" y="3280"/>
                  </a:lnTo>
                  <a:cubicBezTo>
                    <a:pt x="6210" y="3310"/>
                    <a:pt x="6252" y="3325"/>
                    <a:pt x="6293" y="3325"/>
                  </a:cubicBezTo>
                  <a:cubicBezTo>
                    <a:pt x="6335" y="3325"/>
                    <a:pt x="6377" y="3310"/>
                    <a:pt x="6406" y="3280"/>
                  </a:cubicBezTo>
                  <a:cubicBezTo>
                    <a:pt x="6466" y="3221"/>
                    <a:pt x="6466" y="3114"/>
                    <a:pt x="6406" y="3054"/>
                  </a:cubicBezTo>
                  <a:lnTo>
                    <a:pt x="6121" y="2780"/>
                  </a:lnTo>
                  <a:lnTo>
                    <a:pt x="6502" y="2387"/>
                  </a:lnTo>
                  <a:lnTo>
                    <a:pt x="6787" y="2673"/>
                  </a:lnTo>
                  <a:cubicBezTo>
                    <a:pt x="6817" y="2703"/>
                    <a:pt x="6859" y="2718"/>
                    <a:pt x="6900" y="2718"/>
                  </a:cubicBezTo>
                  <a:cubicBezTo>
                    <a:pt x="6942" y="2718"/>
                    <a:pt x="6984" y="2703"/>
                    <a:pt x="7014" y="2673"/>
                  </a:cubicBezTo>
                  <a:cubicBezTo>
                    <a:pt x="7073" y="2613"/>
                    <a:pt x="7073" y="2506"/>
                    <a:pt x="7014" y="2447"/>
                  </a:cubicBezTo>
                  <a:lnTo>
                    <a:pt x="6728" y="2161"/>
                  </a:lnTo>
                  <a:lnTo>
                    <a:pt x="7109" y="1780"/>
                  </a:lnTo>
                  <a:lnTo>
                    <a:pt x="7395" y="2054"/>
                  </a:lnTo>
                  <a:cubicBezTo>
                    <a:pt x="7424" y="2084"/>
                    <a:pt x="7466" y="2099"/>
                    <a:pt x="7508" y="2099"/>
                  </a:cubicBezTo>
                  <a:cubicBezTo>
                    <a:pt x="7549" y="2099"/>
                    <a:pt x="7591" y="2084"/>
                    <a:pt x="7621" y="2054"/>
                  </a:cubicBezTo>
                  <a:cubicBezTo>
                    <a:pt x="7680" y="1994"/>
                    <a:pt x="7680" y="1899"/>
                    <a:pt x="7621" y="1840"/>
                  </a:cubicBezTo>
                  <a:lnTo>
                    <a:pt x="7335" y="1554"/>
                  </a:lnTo>
                  <a:lnTo>
                    <a:pt x="7728" y="1161"/>
                  </a:lnTo>
                  <a:lnTo>
                    <a:pt x="8002" y="1447"/>
                  </a:lnTo>
                  <a:cubicBezTo>
                    <a:pt x="8038" y="1476"/>
                    <a:pt x="8079" y="1491"/>
                    <a:pt x="8119" y="1491"/>
                  </a:cubicBezTo>
                  <a:cubicBezTo>
                    <a:pt x="8160" y="1491"/>
                    <a:pt x="8198" y="1476"/>
                    <a:pt x="8228" y="1447"/>
                  </a:cubicBezTo>
                  <a:cubicBezTo>
                    <a:pt x="8288" y="1387"/>
                    <a:pt x="8288" y="1280"/>
                    <a:pt x="8228" y="1220"/>
                  </a:cubicBezTo>
                  <a:lnTo>
                    <a:pt x="7942" y="947"/>
                  </a:lnTo>
                  <a:lnTo>
                    <a:pt x="8323" y="566"/>
                  </a:lnTo>
                  <a:cubicBezTo>
                    <a:pt x="8459" y="430"/>
                    <a:pt x="8633" y="364"/>
                    <a:pt x="8809" y="364"/>
                  </a:cubicBezTo>
                  <a:close/>
                  <a:moveTo>
                    <a:pt x="1180" y="9245"/>
                  </a:moveTo>
                  <a:lnTo>
                    <a:pt x="1918" y="9995"/>
                  </a:lnTo>
                  <a:lnTo>
                    <a:pt x="1322" y="10591"/>
                  </a:lnTo>
                  <a:cubicBezTo>
                    <a:pt x="1227" y="10698"/>
                    <a:pt x="1108" y="10734"/>
                    <a:pt x="953" y="10734"/>
                  </a:cubicBezTo>
                  <a:cubicBezTo>
                    <a:pt x="477" y="10734"/>
                    <a:pt x="251" y="10174"/>
                    <a:pt x="584" y="9841"/>
                  </a:cubicBezTo>
                  <a:lnTo>
                    <a:pt x="1180" y="9245"/>
                  </a:lnTo>
                  <a:close/>
                  <a:moveTo>
                    <a:pt x="8855" y="0"/>
                  </a:moveTo>
                  <a:cubicBezTo>
                    <a:pt x="8591" y="0"/>
                    <a:pt x="8329" y="101"/>
                    <a:pt x="8133" y="304"/>
                  </a:cubicBezTo>
                  <a:cubicBezTo>
                    <a:pt x="4716" y="3709"/>
                    <a:pt x="4882" y="3530"/>
                    <a:pt x="4692" y="3756"/>
                  </a:cubicBezTo>
                  <a:cubicBezTo>
                    <a:pt x="3394" y="5185"/>
                    <a:pt x="3692" y="5876"/>
                    <a:pt x="2656" y="7221"/>
                  </a:cubicBezTo>
                  <a:cubicBezTo>
                    <a:pt x="2596" y="7305"/>
                    <a:pt x="2608" y="7400"/>
                    <a:pt x="2680" y="7447"/>
                  </a:cubicBezTo>
                  <a:cubicBezTo>
                    <a:pt x="2711" y="7473"/>
                    <a:pt x="2748" y="7486"/>
                    <a:pt x="2785" y="7486"/>
                  </a:cubicBezTo>
                  <a:cubicBezTo>
                    <a:pt x="2833" y="7486"/>
                    <a:pt x="2879" y="7464"/>
                    <a:pt x="2906" y="7424"/>
                  </a:cubicBezTo>
                  <a:cubicBezTo>
                    <a:pt x="3096" y="7162"/>
                    <a:pt x="3263" y="6912"/>
                    <a:pt x="3406" y="6638"/>
                  </a:cubicBezTo>
                  <a:cubicBezTo>
                    <a:pt x="3549" y="7174"/>
                    <a:pt x="3966" y="7614"/>
                    <a:pt x="4501" y="7733"/>
                  </a:cubicBezTo>
                  <a:cubicBezTo>
                    <a:pt x="3382" y="8352"/>
                    <a:pt x="2894" y="9043"/>
                    <a:pt x="2120" y="9757"/>
                  </a:cubicBezTo>
                  <a:lnTo>
                    <a:pt x="1370" y="9007"/>
                  </a:lnTo>
                  <a:lnTo>
                    <a:pt x="2334" y="8043"/>
                  </a:lnTo>
                  <a:cubicBezTo>
                    <a:pt x="2394" y="7983"/>
                    <a:pt x="2394" y="7876"/>
                    <a:pt x="2334" y="7817"/>
                  </a:cubicBezTo>
                  <a:cubicBezTo>
                    <a:pt x="2305" y="7787"/>
                    <a:pt x="2266" y="7772"/>
                    <a:pt x="2227" y="7772"/>
                  </a:cubicBezTo>
                  <a:cubicBezTo>
                    <a:pt x="2189" y="7772"/>
                    <a:pt x="2150" y="7787"/>
                    <a:pt x="2120" y="7817"/>
                  </a:cubicBezTo>
                  <a:lnTo>
                    <a:pt x="334" y="9602"/>
                  </a:lnTo>
                  <a:cubicBezTo>
                    <a:pt x="1" y="9936"/>
                    <a:pt x="1" y="10472"/>
                    <a:pt x="334" y="10805"/>
                  </a:cubicBezTo>
                  <a:cubicBezTo>
                    <a:pt x="494" y="10976"/>
                    <a:pt x="705" y="11059"/>
                    <a:pt x="921" y="11059"/>
                  </a:cubicBezTo>
                  <a:cubicBezTo>
                    <a:pt x="1140" y="11059"/>
                    <a:pt x="1363" y="10973"/>
                    <a:pt x="1537" y="10805"/>
                  </a:cubicBezTo>
                  <a:lnTo>
                    <a:pt x="3323" y="9019"/>
                  </a:lnTo>
                  <a:cubicBezTo>
                    <a:pt x="4335" y="8019"/>
                    <a:pt x="5287" y="7745"/>
                    <a:pt x="5716" y="7531"/>
                  </a:cubicBezTo>
                  <a:cubicBezTo>
                    <a:pt x="6430" y="7221"/>
                    <a:pt x="7061" y="6793"/>
                    <a:pt x="7621" y="6233"/>
                  </a:cubicBezTo>
                  <a:lnTo>
                    <a:pt x="10824" y="3030"/>
                  </a:lnTo>
                  <a:cubicBezTo>
                    <a:pt x="11252" y="2625"/>
                    <a:pt x="11252" y="1971"/>
                    <a:pt x="10847" y="1566"/>
                  </a:cubicBezTo>
                  <a:lnTo>
                    <a:pt x="9585" y="304"/>
                  </a:lnTo>
                  <a:cubicBezTo>
                    <a:pt x="9383" y="101"/>
                    <a:pt x="9118" y="0"/>
                    <a:pt x="88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31" name="Google Shape;10431;p59"/>
          <p:cNvSpPr/>
          <p:nvPr/>
        </p:nvSpPr>
        <p:spPr>
          <a:xfrm>
            <a:off x="3955221" y="2893008"/>
            <a:ext cx="358464" cy="356808"/>
          </a:xfrm>
          <a:custGeom>
            <a:avLst/>
            <a:gdLst/>
            <a:ahLst/>
            <a:cxnLst/>
            <a:rect l="l" t="t" r="r" b="b"/>
            <a:pathLst>
              <a:path w="11253" h="11201" extrusionOk="0">
                <a:moveTo>
                  <a:pt x="9133" y="0"/>
                </a:moveTo>
                <a:cubicBezTo>
                  <a:pt x="8990" y="0"/>
                  <a:pt x="8847" y="60"/>
                  <a:pt x="8740" y="167"/>
                </a:cubicBezTo>
                <a:lnTo>
                  <a:pt x="322" y="8584"/>
                </a:lnTo>
                <a:cubicBezTo>
                  <a:pt x="1" y="8894"/>
                  <a:pt x="1" y="9263"/>
                  <a:pt x="215" y="9465"/>
                </a:cubicBezTo>
                <a:lnTo>
                  <a:pt x="1787" y="11049"/>
                </a:lnTo>
                <a:cubicBezTo>
                  <a:pt x="1894" y="11150"/>
                  <a:pt x="2037" y="11201"/>
                  <a:pt x="2178" y="11201"/>
                </a:cubicBezTo>
                <a:cubicBezTo>
                  <a:pt x="2320" y="11201"/>
                  <a:pt x="2460" y="11150"/>
                  <a:pt x="2561" y="11049"/>
                </a:cubicBezTo>
                <a:lnTo>
                  <a:pt x="9371" y="4239"/>
                </a:lnTo>
                <a:cubicBezTo>
                  <a:pt x="9431" y="4179"/>
                  <a:pt x="9431" y="4084"/>
                  <a:pt x="9371" y="4001"/>
                </a:cubicBezTo>
                <a:cubicBezTo>
                  <a:pt x="9341" y="3971"/>
                  <a:pt x="9300" y="3956"/>
                  <a:pt x="9257" y="3956"/>
                </a:cubicBezTo>
                <a:cubicBezTo>
                  <a:pt x="9213" y="3956"/>
                  <a:pt x="9169" y="3971"/>
                  <a:pt x="9133" y="4001"/>
                </a:cubicBezTo>
                <a:lnTo>
                  <a:pt x="2323" y="10811"/>
                </a:lnTo>
                <a:cubicBezTo>
                  <a:pt x="2281" y="10853"/>
                  <a:pt x="2227" y="10873"/>
                  <a:pt x="2172" y="10873"/>
                </a:cubicBezTo>
                <a:cubicBezTo>
                  <a:pt x="2117" y="10873"/>
                  <a:pt x="2061" y="10853"/>
                  <a:pt x="2013" y="10811"/>
                </a:cubicBezTo>
                <a:lnTo>
                  <a:pt x="453" y="9227"/>
                </a:lnTo>
                <a:cubicBezTo>
                  <a:pt x="358" y="9144"/>
                  <a:pt x="358" y="9001"/>
                  <a:pt x="453" y="8918"/>
                </a:cubicBezTo>
                <a:lnTo>
                  <a:pt x="703" y="8656"/>
                </a:lnTo>
                <a:lnTo>
                  <a:pt x="1096" y="9049"/>
                </a:lnTo>
                <a:cubicBezTo>
                  <a:pt x="1126" y="9079"/>
                  <a:pt x="1165" y="9093"/>
                  <a:pt x="1206" y="9093"/>
                </a:cubicBezTo>
                <a:cubicBezTo>
                  <a:pt x="1248" y="9093"/>
                  <a:pt x="1293" y="9079"/>
                  <a:pt x="1334" y="9049"/>
                </a:cubicBezTo>
                <a:cubicBezTo>
                  <a:pt x="1394" y="8989"/>
                  <a:pt x="1394" y="8882"/>
                  <a:pt x="1334" y="8811"/>
                </a:cubicBezTo>
                <a:lnTo>
                  <a:pt x="942" y="8418"/>
                </a:lnTo>
                <a:lnTo>
                  <a:pt x="1477" y="7882"/>
                </a:lnTo>
                <a:lnTo>
                  <a:pt x="1870" y="8275"/>
                </a:lnTo>
                <a:cubicBezTo>
                  <a:pt x="1900" y="8305"/>
                  <a:pt x="1939" y="8319"/>
                  <a:pt x="1980" y="8319"/>
                </a:cubicBezTo>
                <a:cubicBezTo>
                  <a:pt x="2022" y="8319"/>
                  <a:pt x="2067" y="8305"/>
                  <a:pt x="2108" y="8275"/>
                </a:cubicBezTo>
                <a:cubicBezTo>
                  <a:pt x="2168" y="8215"/>
                  <a:pt x="2168" y="8108"/>
                  <a:pt x="2108" y="8037"/>
                </a:cubicBezTo>
                <a:lnTo>
                  <a:pt x="1715" y="7644"/>
                </a:lnTo>
                <a:lnTo>
                  <a:pt x="2251" y="7108"/>
                </a:lnTo>
                <a:lnTo>
                  <a:pt x="2858" y="7727"/>
                </a:lnTo>
                <a:cubicBezTo>
                  <a:pt x="2888" y="7757"/>
                  <a:pt x="2930" y="7772"/>
                  <a:pt x="2973" y="7772"/>
                </a:cubicBezTo>
                <a:cubicBezTo>
                  <a:pt x="3016" y="7772"/>
                  <a:pt x="3061" y="7757"/>
                  <a:pt x="3097" y="7727"/>
                </a:cubicBezTo>
                <a:cubicBezTo>
                  <a:pt x="3156" y="7668"/>
                  <a:pt x="3156" y="7560"/>
                  <a:pt x="3097" y="7489"/>
                </a:cubicBezTo>
                <a:lnTo>
                  <a:pt x="2489" y="6870"/>
                </a:lnTo>
                <a:lnTo>
                  <a:pt x="3025" y="6334"/>
                </a:lnTo>
                <a:lnTo>
                  <a:pt x="3418" y="6727"/>
                </a:lnTo>
                <a:cubicBezTo>
                  <a:pt x="3448" y="6757"/>
                  <a:pt x="3487" y="6772"/>
                  <a:pt x="3528" y="6772"/>
                </a:cubicBezTo>
                <a:cubicBezTo>
                  <a:pt x="3570" y="6772"/>
                  <a:pt x="3614" y="6757"/>
                  <a:pt x="3656" y="6727"/>
                </a:cubicBezTo>
                <a:cubicBezTo>
                  <a:pt x="3716" y="6668"/>
                  <a:pt x="3716" y="6560"/>
                  <a:pt x="3656" y="6489"/>
                </a:cubicBezTo>
                <a:lnTo>
                  <a:pt x="3263" y="6096"/>
                </a:lnTo>
                <a:lnTo>
                  <a:pt x="3799" y="5560"/>
                </a:lnTo>
                <a:lnTo>
                  <a:pt x="4192" y="5953"/>
                </a:lnTo>
                <a:cubicBezTo>
                  <a:pt x="4222" y="5983"/>
                  <a:pt x="4260" y="5998"/>
                  <a:pt x="4302" y="5998"/>
                </a:cubicBezTo>
                <a:cubicBezTo>
                  <a:pt x="4344" y="5998"/>
                  <a:pt x="4388" y="5983"/>
                  <a:pt x="4430" y="5953"/>
                </a:cubicBezTo>
                <a:cubicBezTo>
                  <a:pt x="4490" y="5894"/>
                  <a:pt x="4490" y="5786"/>
                  <a:pt x="4430" y="5715"/>
                </a:cubicBezTo>
                <a:lnTo>
                  <a:pt x="4037" y="5322"/>
                </a:lnTo>
                <a:lnTo>
                  <a:pt x="4573" y="4786"/>
                </a:lnTo>
                <a:lnTo>
                  <a:pt x="4966" y="5179"/>
                </a:lnTo>
                <a:cubicBezTo>
                  <a:pt x="4996" y="5209"/>
                  <a:pt x="5034" y="5224"/>
                  <a:pt x="5076" y="5224"/>
                </a:cubicBezTo>
                <a:cubicBezTo>
                  <a:pt x="5118" y="5224"/>
                  <a:pt x="5162" y="5209"/>
                  <a:pt x="5204" y="5179"/>
                </a:cubicBezTo>
                <a:cubicBezTo>
                  <a:pt x="5264" y="5120"/>
                  <a:pt x="5264" y="5013"/>
                  <a:pt x="5204" y="4941"/>
                </a:cubicBezTo>
                <a:lnTo>
                  <a:pt x="4811" y="4548"/>
                </a:lnTo>
                <a:lnTo>
                  <a:pt x="5347" y="4012"/>
                </a:lnTo>
                <a:lnTo>
                  <a:pt x="5954" y="4632"/>
                </a:lnTo>
                <a:cubicBezTo>
                  <a:pt x="5984" y="4661"/>
                  <a:pt x="6026" y="4676"/>
                  <a:pt x="6069" y="4676"/>
                </a:cubicBezTo>
                <a:cubicBezTo>
                  <a:pt x="6112" y="4676"/>
                  <a:pt x="6156" y="4661"/>
                  <a:pt x="6192" y="4632"/>
                </a:cubicBezTo>
                <a:cubicBezTo>
                  <a:pt x="6252" y="4572"/>
                  <a:pt x="6252" y="4465"/>
                  <a:pt x="6192" y="4393"/>
                </a:cubicBezTo>
                <a:lnTo>
                  <a:pt x="5585" y="3774"/>
                </a:lnTo>
                <a:lnTo>
                  <a:pt x="6121" y="3239"/>
                </a:lnTo>
                <a:lnTo>
                  <a:pt x="6514" y="3631"/>
                </a:lnTo>
                <a:cubicBezTo>
                  <a:pt x="6543" y="3661"/>
                  <a:pt x="6582" y="3676"/>
                  <a:pt x="6624" y="3676"/>
                </a:cubicBezTo>
                <a:cubicBezTo>
                  <a:pt x="6665" y="3676"/>
                  <a:pt x="6710" y="3661"/>
                  <a:pt x="6752" y="3631"/>
                </a:cubicBezTo>
                <a:cubicBezTo>
                  <a:pt x="6811" y="3572"/>
                  <a:pt x="6811" y="3465"/>
                  <a:pt x="6752" y="3393"/>
                </a:cubicBezTo>
                <a:lnTo>
                  <a:pt x="6359" y="3000"/>
                </a:lnTo>
                <a:lnTo>
                  <a:pt x="6895" y="2465"/>
                </a:lnTo>
                <a:lnTo>
                  <a:pt x="7288" y="2858"/>
                </a:lnTo>
                <a:cubicBezTo>
                  <a:pt x="7317" y="2887"/>
                  <a:pt x="7356" y="2902"/>
                  <a:pt x="7398" y="2902"/>
                </a:cubicBezTo>
                <a:cubicBezTo>
                  <a:pt x="7439" y="2902"/>
                  <a:pt x="7484" y="2887"/>
                  <a:pt x="7526" y="2858"/>
                </a:cubicBezTo>
                <a:cubicBezTo>
                  <a:pt x="7585" y="2798"/>
                  <a:pt x="7585" y="2691"/>
                  <a:pt x="7526" y="2619"/>
                </a:cubicBezTo>
                <a:lnTo>
                  <a:pt x="7133" y="2226"/>
                </a:lnTo>
                <a:lnTo>
                  <a:pt x="7669" y="1691"/>
                </a:lnTo>
                <a:lnTo>
                  <a:pt x="8061" y="2084"/>
                </a:lnTo>
                <a:cubicBezTo>
                  <a:pt x="8091" y="2113"/>
                  <a:pt x="8130" y="2128"/>
                  <a:pt x="8172" y="2128"/>
                </a:cubicBezTo>
                <a:cubicBezTo>
                  <a:pt x="8213" y="2128"/>
                  <a:pt x="8258" y="2113"/>
                  <a:pt x="8300" y="2084"/>
                </a:cubicBezTo>
                <a:cubicBezTo>
                  <a:pt x="8359" y="2024"/>
                  <a:pt x="8359" y="1917"/>
                  <a:pt x="8300" y="1845"/>
                </a:cubicBezTo>
                <a:lnTo>
                  <a:pt x="7907" y="1453"/>
                </a:lnTo>
                <a:lnTo>
                  <a:pt x="8442" y="917"/>
                </a:lnTo>
                <a:lnTo>
                  <a:pt x="9050" y="1536"/>
                </a:lnTo>
                <a:cubicBezTo>
                  <a:pt x="9079" y="1566"/>
                  <a:pt x="9121" y="1581"/>
                  <a:pt x="9164" y="1581"/>
                </a:cubicBezTo>
                <a:cubicBezTo>
                  <a:pt x="9207" y="1581"/>
                  <a:pt x="9252" y="1566"/>
                  <a:pt x="9288" y="1536"/>
                </a:cubicBezTo>
                <a:cubicBezTo>
                  <a:pt x="9371" y="1476"/>
                  <a:pt x="9347" y="1369"/>
                  <a:pt x="9288" y="1298"/>
                </a:cubicBezTo>
                <a:lnTo>
                  <a:pt x="8681" y="679"/>
                </a:lnTo>
                <a:lnTo>
                  <a:pt x="8966" y="405"/>
                </a:lnTo>
                <a:cubicBezTo>
                  <a:pt x="9008" y="357"/>
                  <a:pt x="9065" y="333"/>
                  <a:pt x="9121" y="333"/>
                </a:cubicBezTo>
                <a:cubicBezTo>
                  <a:pt x="9178" y="333"/>
                  <a:pt x="9234" y="357"/>
                  <a:pt x="9276" y="405"/>
                </a:cubicBezTo>
                <a:lnTo>
                  <a:pt x="10859" y="1976"/>
                </a:lnTo>
                <a:cubicBezTo>
                  <a:pt x="10895" y="2024"/>
                  <a:pt x="10919" y="2072"/>
                  <a:pt x="10919" y="2131"/>
                </a:cubicBezTo>
                <a:cubicBezTo>
                  <a:pt x="10919" y="2191"/>
                  <a:pt x="10883" y="2250"/>
                  <a:pt x="10859" y="2274"/>
                </a:cubicBezTo>
                <a:lnTo>
                  <a:pt x="9705" y="3417"/>
                </a:lnTo>
                <a:cubicBezTo>
                  <a:pt x="9645" y="3477"/>
                  <a:pt x="9645" y="3584"/>
                  <a:pt x="9705" y="3655"/>
                </a:cubicBezTo>
                <a:cubicBezTo>
                  <a:pt x="9734" y="3685"/>
                  <a:pt x="9776" y="3700"/>
                  <a:pt x="9819" y="3700"/>
                </a:cubicBezTo>
                <a:cubicBezTo>
                  <a:pt x="9862" y="3700"/>
                  <a:pt x="9907" y="3685"/>
                  <a:pt x="9943" y="3655"/>
                </a:cubicBezTo>
                <a:lnTo>
                  <a:pt x="11098" y="2512"/>
                </a:lnTo>
                <a:cubicBezTo>
                  <a:pt x="11193" y="2405"/>
                  <a:pt x="11252" y="2274"/>
                  <a:pt x="11252" y="2131"/>
                </a:cubicBezTo>
                <a:cubicBezTo>
                  <a:pt x="11252" y="1976"/>
                  <a:pt x="11193" y="1845"/>
                  <a:pt x="11098" y="1738"/>
                </a:cubicBezTo>
                <a:lnTo>
                  <a:pt x="9514" y="167"/>
                </a:lnTo>
                <a:cubicBezTo>
                  <a:pt x="9407" y="60"/>
                  <a:pt x="926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2" name="Google Shape;10432;p59"/>
          <p:cNvSpPr/>
          <p:nvPr/>
        </p:nvSpPr>
        <p:spPr>
          <a:xfrm>
            <a:off x="3499727" y="2442228"/>
            <a:ext cx="380444" cy="310077"/>
          </a:xfrm>
          <a:custGeom>
            <a:avLst/>
            <a:gdLst/>
            <a:ahLst/>
            <a:cxnLst/>
            <a:rect l="l" t="t" r="r" b="b"/>
            <a:pathLst>
              <a:path w="11943" h="9734" extrusionOk="0">
                <a:moveTo>
                  <a:pt x="11585" y="2638"/>
                </a:moveTo>
                <a:lnTo>
                  <a:pt x="11585" y="3066"/>
                </a:lnTo>
                <a:lnTo>
                  <a:pt x="9121" y="4007"/>
                </a:lnTo>
                <a:lnTo>
                  <a:pt x="9121" y="3566"/>
                </a:lnTo>
                <a:lnTo>
                  <a:pt x="11585" y="2638"/>
                </a:lnTo>
                <a:close/>
                <a:moveTo>
                  <a:pt x="370" y="2638"/>
                </a:moveTo>
                <a:lnTo>
                  <a:pt x="5787" y="4697"/>
                </a:lnTo>
                <a:lnTo>
                  <a:pt x="5787" y="5138"/>
                </a:lnTo>
                <a:lnTo>
                  <a:pt x="370" y="3066"/>
                </a:lnTo>
                <a:lnTo>
                  <a:pt x="370" y="2638"/>
                </a:lnTo>
                <a:close/>
                <a:moveTo>
                  <a:pt x="8764" y="3709"/>
                </a:moveTo>
                <a:lnTo>
                  <a:pt x="8764" y="4138"/>
                </a:lnTo>
                <a:lnTo>
                  <a:pt x="6144" y="5138"/>
                </a:lnTo>
                <a:lnTo>
                  <a:pt x="6144" y="4697"/>
                </a:lnTo>
                <a:lnTo>
                  <a:pt x="8764" y="3709"/>
                </a:lnTo>
                <a:close/>
                <a:moveTo>
                  <a:pt x="9657" y="4162"/>
                </a:moveTo>
                <a:lnTo>
                  <a:pt x="9657" y="6745"/>
                </a:lnTo>
                <a:cubicBezTo>
                  <a:pt x="9478" y="6876"/>
                  <a:pt x="9299" y="6995"/>
                  <a:pt x="9121" y="7114"/>
                </a:cubicBezTo>
                <a:lnTo>
                  <a:pt x="9121" y="4376"/>
                </a:lnTo>
                <a:lnTo>
                  <a:pt x="9657" y="4162"/>
                </a:lnTo>
                <a:close/>
                <a:moveTo>
                  <a:pt x="8961" y="8757"/>
                </a:moveTo>
                <a:cubicBezTo>
                  <a:pt x="9131" y="8757"/>
                  <a:pt x="9264" y="8907"/>
                  <a:pt x="9264" y="9079"/>
                </a:cubicBezTo>
                <a:cubicBezTo>
                  <a:pt x="9264" y="9258"/>
                  <a:pt x="9109" y="9389"/>
                  <a:pt x="8942" y="9389"/>
                </a:cubicBezTo>
                <a:cubicBezTo>
                  <a:pt x="8764" y="9389"/>
                  <a:pt x="8633" y="9246"/>
                  <a:pt x="8633" y="9079"/>
                </a:cubicBezTo>
                <a:cubicBezTo>
                  <a:pt x="8633" y="8900"/>
                  <a:pt x="8787" y="8757"/>
                  <a:pt x="8942" y="8757"/>
                </a:cubicBezTo>
                <a:cubicBezTo>
                  <a:pt x="8949" y="8757"/>
                  <a:pt x="8955" y="8757"/>
                  <a:pt x="8961" y="8757"/>
                </a:cubicBezTo>
                <a:close/>
                <a:moveTo>
                  <a:pt x="5949" y="0"/>
                </a:moveTo>
                <a:cubicBezTo>
                  <a:pt x="5930" y="0"/>
                  <a:pt x="5912" y="6"/>
                  <a:pt x="5894" y="18"/>
                </a:cubicBezTo>
                <a:lnTo>
                  <a:pt x="120" y="2221"/>
                </a:lnTo>
                <a:cubicBezTo>
                  <a:pt x="48" y="2245"/>
                  <a:pt x="1" y="2304"/>
                  <a:pt x="1" y="2376"/>
                </a:cubicBezTo>
                <a:lnTo>
                  <a:pt x="1" y="3185"/>
                </a:lnTo>
                <a:cubicBezTo>
                  <a:pt x="1" y="3257"/>
                  <a:pt x="48" y="3316"/>
                  <a:pt x="120" y="3352"/>
                </a:cubicBezTo>
                <a:lnTo>
                  <a:pt x="1917" y="4031"/>
                </a:lnTo>
                <a:lnTo>
                  <a:pt x="1917" y="4638"/>
                </a:lnTo>
                <a:cubicBezTo>
                  <a:pt x="1917" y="4745"/>
                  <a:pt x="2001" y="4817"/>
                  <a:pt x="2096" y="4817"/>
                </a:cubicBezTo>
                <a:cubicBezTo>
                  <a:pt x="2203" y="4817"/>
                  <a:pt x="2275" y="4745"/>
                  <a:pt x="2275" y="4638"/>
                </a:cubicBezTo>
                <a:lnTo>
                  <a:pt x="2275" y="4186"/>
                </a:lnTo>
                <a:lnTo>
                  <a:pt x="5894" y="5567"/>
                </a:lnTo>
                <a:cubicBezTo>
                  <a:pt x="5906" y="5579"/>
                  <a:pt x="5942" y="5579"/>
                  <a:pt x="5954" y="5579"/>
                </a:cubicBezTo>
                <a:cubicBezTo>
                  <a:pt x="5966" y="5579"/>
                  <a:pt x="6001" y="5579"/>
                  <a:pt x="6013" y="5567"/>
                </a:cubicBezTo>
                <a:lnTo>
                  <a:pt x="8740" y="4519"/>
                </a:lnTo>
                <a:lnTo>
                  <a:pt x="8740" y="7317"/>
                </a:lnTo>
                <a:cubicBezTo>
                  <a:pt x="7871" y="7769"/>
                  <a:pt x="6918" y="8007"/>
                  <a:pt x="5942" y="8007"/>
                </a:cubicBezTo>
                <a:cubicBezTo>
                  <a:pt x="4620" y="8007"/>
                  <a:pt x="3310" y="7555"/>
                  <a:pt x="2263" y="6745"/>
                </a:cubicBezTo>
                <a:lnTo>
                  <a:pt x="2263" y="5352"/>
                </a:lnTo>
                <a:cubicBezTo>
                  <a:pt x="2263" y="5257"/>
                  <a:pt x="2191" y="5174"/>
                  <a:pt x="2084" y="5174"/>
                </a:cubicBezTo>
                <a:cubicBezTo>
                  <a:pt x="1977" y="5174"/>
                  <a:pt x="1906" y="5257"/>
                  <a:pt x="1906" y="5352"/>
                </a:cubicBezTo>
                <a:lnTo>
                  <a:pt x="1906" y="6817"/>
                </a:lnTo>
                <a:cubicBezTo>
                  <a:pt x="1906" y="6876"/>
                  <a:pt x="1941" y="6924"/>
                  <a:pt x="1965" y="6948"/>
                </a:cubicBezTo>
                <a:cubicBezTo>
                  <a:pt x="3084" y="7841"/>
                  <a:pt x="4501" y="8353"/>
                  <a:pt x="5942" y="8353"/>
                </a:cubicBezTo>
                <a:cubicBezTo>
                  <a:pt x="6906" y="8353"/>
                  <a:pt x="7859" y="8126"/>
                  <a:pt x="8740" y="7698"/>
                </a:cubicBezTo>
                <a:lnTo>
                  <a:pt x="8740" y="8412"/>
                </a:lnTo>
                <a:cubicBezTo>
                  <a:pt x="8454" y="8484"/>
                  <a:pt x="8252" y="8746"/>
                  <a:pt x="8252" y="9067"/>
                </a:cubicBezTo>
                <a:cubicBezTo>
                  <a:pt x="8252" y="9436"/>
                  <a:pt x="8549" y="9734"/>
                  <a:pt x="8918" y="9734"/>
                </a:cubicBezTo>
                <a:cubicBezTo>
                  <a:pt x="9287" y="9734"/>
                  <a:pt x="9585" y="9436"/>
                  <a:pt x="9585" y="9067"/>
                </a:cubicBezTo>
                <a:cubicBezTo>
                  <a:pt x="9585" y="8746"/>
                  <a:pt x="9383" y="8496"/>
                  <a:pt x="9097" y="8412"/>
                </a:cubicBezTo>
                <a:lnTo>
                  <a:pt x="9097" y="7495"/>
                </a:lnTo>
                <a:cubicBezTo>
                  <a:pt x="9383" y="7341"/>
                  <a:pt x="9657" y="7138"/>
                  <a:pt x="9918" y="6936"/>
                </a:cubicBezTo>
                <a:cubicBezTo>
                  <a:pt x="9954" y="6900"/>
                  <a:pt x="9978" y="6841"/>
                  <a:pt x="9978" y="6805"/>
                </a:cubicBezTo>
                <a:lnTo>
                  <a:pt x="9978" y="4019"/>
                </a:lnTo>
                <a:lnTo>
                  <a:pt x="11776" y="3328"/>
                </a:lnTo>
                <a:cubicBezTo>
                  <a:pt x="11847" y="3304"/>
                  <a:pt x="11895" y="3245"/>
                  <a:pt x="11895" y="3173"/>
                </a:cubicBezTo>
                <a:lnTo>
                  <a:pt x="11895" y="2364"/>
                </a:lnTo>
                <a:cubicBezTo>
                  <a:pt x="11943" y="2304"/>
                  <a:pt x="11895" y="2245"/>
                  <a:pt x="11823" y="2221"/>
                </a:cubicBezTo>
                <a:lnTo>
                  <a:pt x="8049" y="792"/>
                </a:lnTo>
                <a:cubicBezTo>
                  <a:pt x="8030" y="784"/>
                  <a:pt x="8010" y="780"/>
                  <a:pt x="7989" y="780"/>
                </a:cubicBezTo>
                <a:cubicBezTo>
                  <a:pt x="7921" y="780"/>
                  <a:pt x="7853" y="823"/>
                  <a:pt x="7835" y="887"/>
                </a:cubicBezTo>
                <a:cubicBezTo>
                  <a:pt x="7799" y="983"/>
                  <a:pt x="7847" y="1090"/>
                  <a:pt x="7930" y="1114"/>
                </a:cubicBezTo>
                <a:lnTo>
                  <a:pt x="11264" y="2376"/>
                </a:lnTo>
                <a:lnTo>
                  <a:pt x="8966" y="3257"/>
                </a:lnTo>
                <a:lnTo>
                  <a:pt x="6061" y="1947"/>
                </a:lnTo>
                <a:cubicBezTo>
                  <a:pt x="6035" y="1934"/>
                  <a:pt x="6010" y="1928"/>
                  <a:pt x="5985" y="1928"/>
                </a:cubicBezTo>
                <a:cubicBezTo>
                  <a:pt x="5918" y="1928"/>
                  <a:pt x="5858" y="1973"/>
                  <a:pt x="5823" y="2042"/>
                </a:cubicBezTo>
                <a:cubicBezTo>
                  <a:pt x="5775" y="2126"/>
                  <a:pt x="5823" y="2233"/>
                  <a:pt x="5906" y="2281"/>
                </a:cubicBezTo>
                <a:lnTo>
                  <a:pt x="8490" y="3435"/>
                </a:lnTo>
                <a:lnTo>
                  <a:pt x="5966" y="4388"/>
                </a:lnTo>
                <a:lnTo>
                  <a:pt x="691" y="2376"/>
                </a:lnTo>
                <a:lnTo>
                  <a:pt x="5966" y="376"/>
                </a:lnTo>
                <a:lnTo>
                  <a:pt x="7263" y="864"/>
                </a:lnTo>
                <a:cubicBezTo>
                  <a:pt x="7282" y="868"/>
                  <a:pt x="7301" y="871"/>
                  <a:pt x="7320" y="871"/>
                </a:cubicBezTo>
                <a:cubicBezTo>
                  <a:pt x="7394" y="871"/>
                  <a:pt x="7461" y="833"/>
                  <a:pt x="7490" y="757"/>
                </a:cubicBezTo>
                <a:cubicBezTo>
                  <a:pt x="7513" y="673"/>
                  <a:pt x="7478" y="566"/>
                  <a:pt x="7382" y="530"/>
                </a:cubicBezTo>
                <a:lnTo>
                  <a:pt x="6013" y="18"/>
                </a:lnTo>
                <a:cubicBezTo>
                  <a:pt x="5989" y="6"/>
                  <a:pt x="5969" y="0"/>
                  <a:pt x="59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33" name="Google Shape;10433;p59"/>
          <p:cNvGrpSpPr/>
          <p:nvPr/>
        </p:nvGrpSpPr>
        <p:grpSpPr>
          <a:xfrm>
            <a:off x="3044965" y="2435220"/>
            <a:ext cx="400194" cy="324316"/>
            <a:chOff x="3044965" y="2435220"/>
            <a:chExt cx="400194" cy="324316"/>
          </a:xfrm>
        </p:grpSpPr>
        <p:sp>
          <p:nvSpPr>
            <p:cNvPr id="10434" name="Google Shape;10434;p59"/>
            <p:cNvSpPr/>
            <p:nvPr/>
          </p:nvSpPr>
          <p:spPr>
            <a:xfrm>
              <a:off x="3105649" y="2649413"/>
              <a:ext cx="68329" cy="66864"/>
            </a:xfrm>
            <a:custGeom>
              <a:avLst/>
              <a:gdLst/>
              <a:ahLst/>
              <a:cxnLst/>
              <a:rect l="l" t="t" r="r" b="b"/>
              <a:pathLst>
                <a:path w="2145" h="2099" extrusionOk="0">
                  <a:moveTo>
                    <a:pt x="1924" y="0"/>
                  </a:moveTo>
                  <a:cubicBezTo>
                    <a:pt x="1867" y="0"/>
                    <a:pt x="1811" y="21"/>
                    <a:pt x="1775" y="63"/>
                  </a:cubicBezTo>
                  <a:lnTo>
                    <a:pt x="84" y="1753"/>
                  </a:lnTo>
                  <a:cubicBezTo>
                    <a:pt x="1" y="1825"/>
                    <a:pt x="1" y="1956"/>
                    <a:pt x="84" y="2039"/>
                  </a:cubicBezTo>
                  <a:cubicBezTo>
                    <a:pt x="120" y="2087"/>
                    <a:pt x="168" y="2099"/>
                    <a:pt x="227" y="2099"/>
                  </a:cubicBezTo>
                  <a:cubicBezTo>
                    <a:pt x="275" y="2099"/>
                    <a:pt x="334" y="2075"/>
                    <a:pt x="382" y="2039"/>
                  </a:cubicBezTo>
                  <a:lnTo>
                    <a:pt x="2073" y="337"/>
                  </a:lnTo>
                  <a:cubicBezTo>
                    <a:pt x="2144" y="265"/>
                    <a:pt x="2144" y="134"/>
                    <a:pt x="2073" y="63"/>
                  </a:cubicBezTo>
                  <a:cubicBezTo>
                    <a:pt x="2037" y="21"/>
                    <a:pt x="1980" y="0"/>
                    <a:pt x="19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5" name="Google Shape;10435;p59"/>
            <p:cNvSpPr/>
            <p:nvPr/>
          </p:nvSpPr>
          <p:spPr>
            <a:xfrm>
              <a:off x="3297193" y="2649413"/>
              <a:ext cx="68297" cy="66864"/>
            </a:xfrm>
            <a:custGeom>
              <a:avLst/>
              <a:gdLst/>
              <a:ahLst/>
              <a:cxnLst/>
              <a:rect l="l" t="t" r="r" b="b"/>
              <a:pathLst>
                <a:path w="2144" h="2099" extrusionOk="0">
                  <a:moveTo>
                    <a:pt x="1919" y="0"/>
                  </a:moveTo>
                  <a:cubicBezTo>
                    <a:pt x="1864" y="0"/>
                    <a:pt x="1810" y="21"/>
                    <a:pt x="1775" y="63"/>
                  </a:cubicBezTo>
                  <a:lnTo>
                    <a:pt x="84" y="1753"/>
                  </a:lnTo>
                  <a:cubicBezTo>
                    <a:pt x="1" y="1825"/>
                    <a:pt x="1" y="1956"/>
                    <a:pt x="84" y="2039"/>
                  </a:cubicBezTo>
                  <a:cubicBezTo>
                    <a:pt x="120" y="2087"/>
                    <a:pt x="167" y="2099"/>
                    <a:pt x="227" y="2099"/>
                  </a:cubicBezTo>
                  <a:cubicBezTo>
                    <a:pt x="286" y="2099"/>
                    <a:pt x="334" y="2075"/>
                    <a:pt x="382" y="2039"/>
                  </a:cubicBezTo>
                  <a:lnTo>
                    <a:pt x="2072" y="337"/>
                  </a:lnTo>
                  <a:cubicBezTo>
                    <a:pt x="2144" y="265"/>
                    <a:pt x="2144" y="134"/>
                    <a:pt x="2072" y="63"/>
                  </a:cubicBezTo>
                  <a:cubicBezTo>
                    <a:pt x="2031" y="21"/>
                    <a:pt x="1974" y="0"/>
                    <a:pt x="19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6" name="Google Shape;10436;p59"/>
            <p:cNvSpPr/>
            <p:nvPr/>
          </p:nvSpPr>
          <p:spPr>
            <a:xfrm>
              <a:off x="3044965" y="2435220"/>
              <a:ext cx="400194" cy="324316"/>
            </a:xfrm>
            <a:custGeom>
              <a:avLst/>
              <a:gdLst/>
              <a:ahLst/>
              <a:cxnLst/>
              <a:rect l="l" t="t" r="r" b="b"/>
              <a:pathLst>
                <a:path w="12563" h="10181" extrusionOk="0">
                  <a:moveTo>
                    <a:pt x="822" y="7358"/>
                  </a:moveTo>
                  <a:cubicBezTo>
                    <a:pt x="787" y="7465"/>
                    <a:pt x="787" y="7573"/>
                    <a:pt x="787" y="7680"/>
                  </a:cubicBezTo>
                  <a:cubicBezTo>
                    <a:pt x="787" y="7751"/>
                    <a:pt x="787" y="7823"/>
                    <a:pt x="811" y="7918"/>
                  </a:cubicBezTo>
                  <a:lnTo>
                    <a:pt x="632" y="7918"/>
                  </a:lnTo>
                  <a:cubicBezTo>
                    <a:pt x="525" y="7918"/>
                    <a:pt x="418" y="7823"/>
                    <a:pt x="418" y="7704"/>
                  </a:cubicBezTo>
                  <a:lnTo>
                    <a:pt x="418" y="7573"/>
                  </a:lnTo>
                  <a:cubicBezTo>
                    <a:pt x="418" y="7465"/>
                    <a:pt x="513" y="7358"/>
                    <a:pt x="632" y="7358"/>
                  </a:cubicBezTo>
                  <a:close/>
                  <a:moveTo>
                    <a:pt x="11955" y="7358"/>
                  </a:moveTo>
                  <a:cubicBezTo>
                    <a:pt x="12062" y="7358"/>
                    <a:pt x="12157" y="7454"/>
                    <a:pt x="12157" y="7573"/>
                  </a:cubicBezTo>
                  <a:lnTo>
                    <a:pt x="12169" y="7704"/>
                  </a:lnTo>
                  <a:cubicBezTo>
                    <a:pt x="12169" y="7811"/>
                    <a:pt x="12074" y="7918"/>
                    <a:pt x="11955" y="7918"/>
                  </a:cubicBezTo>
                  <a:lnTo>
                    <a:pt x="11776" y="7918"/>
                  </a:lnTo>
                  <a:cubicBezTo>
                    <a:pt x="11776" y="7835"/>
                    <a:pt x="11788" y="7763"/>
                    <a:pt x="11788" y="7668"/>
                  </a:cubicBezTo>
                  <a:cubicBezTo>
                    <a:pt x="11788" y="7573"/>
                    <a:pt x="11776" y="7465"/>
                    <a:pt x="11764" y="7358"/>
                  </a:cubicBezTo>
                  <a:close/>
                  <a:moveTo>
                    <a:pt x="3299" y="6263"/>
                  </a:moveTo>
                  <a:cubicBezTo>
                    <a:pt x="3918" y="6263"/>
                    <a:pt x="4466" y="6441"/>
                    <a:pt x="4859" y="6739"/>
                  </a:cubicBezTo>
                  <a:lnTo>
                    <a:pt x="4442" y="7156"/>
                  </a:lnTo>
                  <a:cubicBezTo>
                    <a:pt x="4371" y="7227"/>
                    <a:pt x="4371" y="7358"/>
                    <a:pt x="4442" y="7442"/>
                  </a:cubicBezTo>
                  <a:cubicBezTo>
                    <a:pt x="4490" y="7477"/>
                    <a:pt x="4525" y="7501"/>
                    <a:pt x="4585" y="7501"/>
                  </a:cubicBezTo>
                  <a:cubicBezTo>
                    <a:pt x="4644" y="7501"/>
                    <a:pt x="4692" y="7477"/>
                    <a:pt x="4740" y="7442"/>
                  </a:cubicBezTo>
                  <a:lnTo>
                    <a:pt x="5156" y="7025"/>
                  </a:lnTo>
                  <a:cubicBezTo>
                    <a:pt x="5299" y="7215"/>
                    <a:pt x="5394" y="7442"/>
                    <a:pt x="5394" y="7692"/>
                  </a:cubicBezTo>
                  <a:cubicBezTo>
                    <a:pt x="5383" y="8835"/>
                    <a:pt x="4442" y="9775"/>
                    <a:pt x="3275" y="9775"/>
                  </a:cubicBezTo>
                  <a:cubicBezTo>
                    <a:pt x="3013" y="9775"/>
                    <a:pt x="2763" y="9728"/>
                    <a:pt x="2525" y="9620"/>
                  </a:cubicBezTo>
                  <a:lnTo>
                    <a:pt x="4156" y="7989"/>
                  </a:lnTo>
                  <a:cubicBezTo>
                    <a:pt x="4228" y="7918"/>
                    <a:pt x="4228" y="7775"/>
                    <a:pt x="4156" y="7704"/>
                  </a:cubicBezTo>
                  <a:cubicBezTo>
                    <a:pt x="4121" y="7668"/>
                    <a:pt x="4070" y="7650"/>
                    <a:pt x="4018" y="7650"/>
                  </a:cubicBezTo>
                  <a:cubicBezTo>
                    <a:pt x="3966" y="7650"/>
                    <a:pt x="3912" y="7668"/>
                    <a:pt x="3870" y="7704"/>
                  </a:cubicBezTo>
                  <a:lnTo>
                    <a:pt x="2144" y="9430"/>
                  </a:lnTo>
                  <a:cubicBezTo>
                    <a:pt x="1573" y="9061"/>
                    <a:pt x="1192" y="8406"/>
                    <a:pt x="1192" y="7680"/>
                  </a:cubicBezTo>
                  <a:cubicBezTo>
                    <a:pt x="1192" y="6882"/>
                    <a:pt x="2132" y="6263"/>
                    <a:pt x="3299" y="6263"/>
                  </a:cubicBezTo>
                  <a:close/>
                  <a:moveTo>
                    <a:pt x="9324" y="6275"/>
                  </a:moveTo>
                  <a:cubicBezTo>
                    <a:pt x="9943" y="6275"/>
                    <a:pt x="10502" y="6453"/>
                    <a:pt x="10883" y="6751"/>
                  </a:cubicBezTo>
                  <a:lnTo>
                    <a:pt x="10467" y="7168"/>
                  </a:lnTo>
                  <a:cubicBezTo>
                    <a:pt x="10395" y="7239"/>
                    <a:pt x="10395" y="7370"/>
                    <a:pt x="10467" y="7454"/>
                  </a:cubicBezTo>
                  <a:cubicBezTo>
                    <a:pt x="10514" y="7489"/>
                    <a:pt x="10562" y="7513"/>
                    <a:pt x="10621" y="7513"/>
                  </a:cubicBezTo>
                  <a:cubicBezTo>
                    <a:pt x="10657" y="7513"/>
                    <a:pt x="10717" y="7489"/>
                    <a:pt x="10764" y="7454"/>
                  </a:cubicBezTo>
                  <a:lnTo>
                    <a:pt x="11181" y="7037"/>
                  </a:lnTo>
                  <a:cubicBezTo>
                    <a:pt x="11336" y="7227"/>
                    <a:pt x="11419" y="7454"/>
                    <a:pt x="11419" y="7704"/>
                  </a:cubicBezTo>
                  <a:cubicBezTo>
                    <a:pt x="11407" y="8835"/>
                    <a:pt x="10467" y="9775"/>
                    <a:pt x="9312" y="9775"/>
                  </a:cubicBezTo>
                  <a:cubicBezTo>
                    <a:pt x="9038" y="9775"/>
                    <a:pt x="8788" y="9728"/>
                    <a:pt x="8550" y="9620"/>
                  </a:cubicBezTo>
                  <a:lnTo>
                    <a:pt x="10181" y="7989"/>
                  </a:lnTo>
                  <a:cubicBezTo>
                    <a:pt x="10264" y="7918"/>
                    <a:pt x="10264" y="7775"/>
                    <a:pt x="10181" y="7704"/>
                  </a:cubicBezTo>
                  <a:cubicBezTo>
                    <a:pt x="10145" y="7668"/>
                    <a:pt x="10094" y="7650"/>
                    <a:pt x="10044" y="7650"/>
                  </a:cubicBezTo>
                  <a:cubicBezTo>
                    <a:pt x="9993" y="7650"/>
                    <a:pt x="9943" y="7668"/>
                    <a:pt x="9907" y="7704"/>
                  </a:cubicBezTo>
                  <a:lnTo>
                    <a:pt x="8181" y="9442"/>
                  </a:lnTo>
                  <a:cubicBezTo>
                    <a:pt x="7597" y="9073"/>
                    <a:pt x="7228" y="8418"/>
                    <a:pt x="7228" y="7692"/>
                  </a:cubicBezTo>
                  <a:cubicBezTo>
                    <a:pt x="7228" y="6894"/>
                    <a:pt x="8157" y="6275"/>
                    <a:pt x="9324" y="6275"/>
                  </a:cubicBezTo>
                  <a:close/>
                  <a:moveTo>
                    <a:pt x="2751" y="0"/>
                  </a:moveTo>
                  <a:cubicBezTo>
                    <a:pt x="2239" y="0"/>
                    <a:pt x="1787" y="345"/>
                    <a:pt x="1656" y="857"/>
                  </a:cubicBezTo>
                  <a:lnTo>
                    <a:pt x="13" y="7418"/>
                  </a:lnTo>
                  <a:cubicBezTo>
                    <a:pt x="1" y="7465"/>
                    <a:pt x="1" y="7513"/>
                    <a:pt x="1" y="7573"/>
                  </a:cubicBezTo>
                  <a:lnTo>
                    <a:pt x="1" y="7704"/>
                  </a:lnTo>
                  <a:cubicBezTo>
                    <a:pt x="1" y="8037"/>
                    <a:pt x="275" y="8311"/>
                    <a:pt x="608" y="8311"/>
                  </a:cubicBezTo>
                  <a:lnTo>
                    <a:pt x="846" y="8311"/>
                  </a:lnTo>
                  <a:cubicBezTo>
                    <a:pt x="1037" y="8989"/>
                    <a:pt x="1465" y="9537"/>
                    <a:pt x="2037" y="9859"/>
                  </a:cubicBezTo>
                  <a:cubicBezTo>
                    <a:pt x="2061" y="9859"/>
                    <a:pt x="2061" y="9882"/>
                    <a:pt x="2073" y="9882"/>
                  </a:cubicBezTo>
                  <a:cubicBezTo>
                    <a:pt x="2430" y="10073"/>
                    <a:pt x="2835" y="10180"/>
                    <a:pt x="3263" y="10180"/>
                  </a:cubicBezTo>
                  <a:cubicBezTo>
                    <a:pt x="4609" y="10180"/>
                    <a:pt x="5704" y="9108"/>
                    <a:pt x="5764" y="7763"/>
                  </a:cubicBezTo>
                  <a:cubicBezTo>
                    <a:pt x="5918" y="7656"/>
                    <a:pt x="6097" y="7596"/>
                    <a:pt x="6287" y="7596"/>
                  </a:cubicBezTo>
                  <a:cubicBezTo>
                    <a:pt x="6478" y="7596"/>
                    <a:pt x="6657" y="7656"/>
                    <a:pt x="6811" y="7763"/>
                  </a:cubicBezTo>
                  <a:cubicBezTo>
                    <a:pt x="6835" y="8656"/>
                    <a:pt x="7347" y="9430"/>
                    <a:pt x="8085" y="9847"/>
                  </a:cubicBezTo>
                  <a:cubicBezTo>
                    <a:pt x="8097" y="9847"/>
                    <a:pt x="8097" y="9859"/>
                    <a:pt x="8121" y="9859"/>
                  </a:cubicBezTo>
                  <a:cubicBezTo>
                    <a:pt x="8478" y="10061"/>
                    <a:pt x="8871" y="10156"/>
                    <a:pt x="9312" y="10156"/>
                  </a:cubicBezTo>
                  <a:cubicBezTo>
                    <a:pt x="10467" y="10156"/>
                    <a:pt x="11455" y="9370"/>
                    <a:pt x="11717" y="8299"/>
                  </a:cubicBezTo>
                  <a:lnTo>
                    <a:pt x="11955" y="8299"/>
                  </a:lnTo>
                  <a:cubicBezTo>
                    <a:pt x="12288" y="8299"/>
                    <a:pt x="12562" y="8037"/>
                    <a:pt x="12562" y="7692"/>
                  </a:cubicBezTo>
                  <a:lnTo>
                    <a:pt x="12562" y="7561"/>
                  </a:lnTo>
                  <a:cubicBezTo>
                    <a:pt x="12562" y="7525"/>
                    <a:pt x="12562" y="7465"/>
                    <a:pt x="12550" y="7418"/>
                  </a:cubicBezTo>
                  <a:lnTo>
                    <a:pt x="10919" y="857"/>
                  </a:lnTo>
                  <a:cubicBezTo>
                    <a:pt x="10800" y="357"/>
                    <a:pt x="10336" y="0"/>
                    <a:pt x="9812" y="0"/>
                  </a:cubicBezTo>
                  <a:cubicBezTo>
                    <a:pt x="9705" y="0"/>
                    <a:pt x="9621" y="84"/>
                    <a:pt x="9621" y="191"/>
                  </a:cubicBezTo>
                  <a:cubicBezTo>
                    <a:pt x="9621" y="298"/>
                    <a:pt x="9705" y="381"/>
                    <a:pt x="9812" y="381"/>
                  </a:cubicBezTo>
                  <a:cubicBezTo>
                    <a:pt x="10157" y="381"/>
                    <a:pt x="10443" y="607"/>
                    <a:pt x="10526" y="929"/>
                  </a:cubicBezTo>
                  <a:lnTo>
                    <a:pt x="12014" y="6942"/>
                  </a:lnTo>
                  <a:lnTo>
                    <a:pt x="11598" y="6942"/>
                  </a:lnTo>
                  <a:cubicBezTo>
                    <a:pt x="11467" y="6727"/>
                    <a:pt x="11288" y="6525"/>
                    <a:pt x="11038" y="6346"/>
                  </a:cubicBezTo>
                  <a:cubicBezTo>
                    <a:pt x="10574" y="6025"/>
                    <a:pt x="9943" y="5846"/>
                    <a:pt x="9288" y="5846"/>
                  </a:cubicBezTo>
                  <a:cubicBezTo>
                    <a:pt x="8633" y="5846"/>
                    <a:pt x="8026" y="6025"/>
                    <a:pt x="7550" y="6346"/>
                  </a:cubicBezTo>
                  <a:cubicBezTo>
                    <a:pt x="7180" y="6620"/>
                    <a:pt x="6918" y="6942"/>
                    <a:pt x="6835" y="7299"/>
                  </a:cubicBezTo>
                  <a:cubicBezTo>
                    <a:pt x="6668" y="7215"/>
                    <a:pt x="6478" y="7168"/>
                    <a:pt x="6287" y="7168"/>
                  </a:cubicBezTo>
                  <a:cubicBezTo>
                    <a:pt x="6097" y="7168"/>
                    <a:pt x="5895" y="7215"/>
                    <a:pt x="5728" y="7299"/>
                  </a:cubicBezTo>
                  <a:cubicBezTo>
                    <a:pt x="5645" y="6942"/>
                    <a:pt x="5394" y="6596"/>
                    <a:pt x="5025" y="6346"/>
                  </a:cubicBezTo>
                  <a:cubicBezTo>
                    <a:pt x="4561" y="6025"/>
                    <a:pt x="3930" y="5846"/>
                    <a:pt x="3275" y="5846"/>
                  </a:cubicBezTo>
                  <a:cubicBezTo>
                    <a:pt x="2620" y="5846"/>
                    <a:pt x="2013" y="6025"/>
                    <a:pt x="1537" y="6346"/>
                  </a:cubicBezTo>
                  <a:cubicBezTo>
                    <a:pt x="1299" y="6525"/>
                    <a:pt x="1108" y="6727"/>
                    <a:pt x="965" y="6942"/>
                  </a:cubicBezTo>
                  <a:lnTo>
                    <a:pt x="549" y="6942"/>
                  </a:lnTo>
                  <a:lnTo>
                    <a:pt x="2037" y="929"/>
                  </a:lnTo>
                  <a:cubicBezTo>
                    <a:pt x="2120" y="607"/>
                    <a:pt x="2418" y="381"/>
                    <a:pt x="2751" y="381"/>
                  </a:cubicBezTo>
                  <a:cubicBezTo>
                    <a:pt x="2858" y="381"/>
                    <a:pt x="2954" y="298"/>
                    <a:pt x="2954" y="191"/>
                  </a:cubicBezTo>
                  <a:cubicBezTo>
                    <a:pt x="2954" y="84"/>
                    <a:pt x="2858"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37" name="Google Shape;10437;p59"/>
          <p:cNvGrpSpPr/>
          <p:nvPr/>
        </p:nvGrpSpPr>
        <p:grpSpPr>
          <a:xfrm>
            <a:off x="4878379" y="2473892"/>
            <a:ext cx="367161" cy="287523"/>
            <a:chOff x="4878379" y="2473892"/>
            <a:chExt cx="367161" cy="287523"/>
          </a:xfrm>
        </p:grpSpPr>
        <p:sp>
          <p:nvSpPr>
            <p:cNvPr id="10438" name="Google Shape;10438;p59"/>
            <p:cNvSpPr/>
            <p:nvPr/>
          </p:nvSpPr>
          <p:spPr>
            <a:xfrm>
              <a:off x="5110889" y="2554676"/>
              <a:ext cx="75496" cy="71355"/>
            </a:xfrm>
            <a:custGeom>
              <a:avLst/>
              <a:gdLst/>
              <a:ahLst/>
              <a:cxnLst/>
              <a:rect l="l" t="t" r="r" b="b"/>
              <a:pathLst>
                <a:path w="2370" h="2240" extrusionOk="0">
                  <a:moveTo>
                    <a:pt x="1250" y="322"/>
                  </a:moveTo>
                  <a:lnTo>
                    <a:pt x="2048" y="1263"/>
                  </a:lnTo>
                  <a:lnTo>
                    <a:pt x="2048" y="1918"/>
                  </a:lnTo>
                  <a:lnTo>
                    <a:pt x="322" y="1918"/>
                  </a:lnTo>
                  <a:lnTo>
                    <a:pt x="322" y="322"/>
                  </a:lnTo>
                  <a:close/>
                  <a:moveTo>
                    <a:pt x="155" y="1"/>
                  </a:moveTo>
                  <a:cubicBezTo>
                    <a:pt x="72" y="1"/>
                    <a:pt x="0" y="72"/>
                    <a:pt x="0" y="155"/>
                  </a:cubicBezTo>
                  <a:lnTo>
                    <a:pt x="0" y="2084"/>
                  </a:lnTo>
                  <a:cubicBezTo>
                    <a:pt x="0" y="2168"/>
                    <a:pt x="72" y="2239"/>
                    <a:pt x="155" y="2239"/>
                  </a:cubicBezTo>
                  <a:lnTo>
                    <a:pt x="2215" y="2239"/>
                  </a:lnTo>
                  <a:cubicBezTo>
                    <a:pt x="2298" y="2239"/>
                    <a:pt x="2370" y="2168"/>
                    <a:pt x="2370" y="2084"/>
                  </a:cubicBezTo>
                  <a:lnTo>
                    <a:pt x="2370" y="1191"/>
                  </a:lnTo>
                  <a:cubicBezTo>
                    <a:pt x="2370" y="1084"/>
                    <a:pt x="2358" y="1132"/>
                    <a:pt x="1441" y="36"/>
                  </a:cubicBezTo>
                  <a:cubicBezTo>
                    <a:pt x="1429" y="13"/>
                    <a:pt x="1381"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9" name="Google Shape;10439;p59"/>
            <p:cNvSpPr/>
            <p:nvPr/>
          </p:nvSpPr>
          <p:spPr>
            <a:xfrm>
              <a:off x="4958049" y="2691972"/>
              <a:ext cx="45521" cy="45553"/>
            </a:xfrm>
            <a:custGeom>
              <a:avLst/>
              <a:gdLst/>
              <a:ahLst/>
              <a:cxnLst/>
              <a:rect l="l" t="t" r="r" b="b"/>
              <a:pathLst>
                <a:path w="1429" h="1430" extrusionOk="0">
                  <a:moveTo>
                    <a:pt x="714" y="358"/>
                  </a:moveTo>
                  <a:cubicBezTo>
                    <a:pt x="929" y="358"/>
                    <a:pt x="1084" y="525"/>
                    <a:pt x="1084" y="727"/>
                  </a:cubicBezTo>
                  <a:cubicBezTo>
                    <a:pt x="1084" y="941"/>
                    <a:pt x="929" y="1108"/>
                    <a:pt x="714" y="1108"/>
                  </a:cubicBezTo>
                  <a:cubicBezTo>
                    <a:pt x="512" y="1108"/>
                    <a:pt x="345" y="941"/>
                    <a:pt x="345" y="727"/>
                  </a:cubicBezTo>
                  <a:cubicBezTo>
                    <a:pt x="345" y="525"/>
                    <a:pt x="512" y="358"/>
                    <a:pt x="714" y="358"/>
                  </a:cubicBezTo>
                  <a:close/>
                  <a:moveTo>
                    <a:pt x="714" y="1"/>
                  </a:moveTo>
                  <a:cubicBezTo>
                    <a:pt x="310" y="1"/>
                    <a:pt x="0" y="334"/>
                    <a:pt x="0" y="715"/>
                  </a:cubicBezTo>
                  <a:cubicBezTo>
                    <a:pt x="0" y="1108"/>
                    <a:pt x="333" y="1429"/>
                    <a:pt x="714" y="1429"/>
                  </a:cubicBezTo>
                  <a:cubicBezTo>
                    <a:pt x="1107" y="1429"/>
                    <a:pt x="1429" y="1108"/>
                    <a:pt x="1429" y="715"/>
                  </a:cubicBezTo>
                  <a:cubicBezTo>
                    <a:pt x="1429" y="334"/>
                    <a:pt x="111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0" name="Google Shape;10440;p59"/>
            <p:cNvSpPr/>
            <p:nvPr/>
          </p:nvSpPr>
          <p:spPr>
            <a:xfrm>
              <a:off x="5130225" y="2691972"/>
              <a:ext cx="45553" cy="45553"/>
            </a:xfrm>
            <a:custGeom>
              <a:avLst/>
              <a:gdLst/>
              <a:ahLst/>
              <a:cxnLst/>
              <a:rect l="l" t="t" r="r" b="b"/>
              <a:pathLst>
                <a:path w="1430" h="1430" extrusionOk="0">
                  <a:moveTo>
                    <a:pt x="715" y="358"/>
                  </a:moveTo>
                  <a:cubicBezTo>
                    <a:pt x="917" y="358"/>
                    <a:pt x="1084" y="525"/>
                    <a:pt x="1084" y="727"/>
                  </a:cubicBezTo>
                  <a:cubicBezTo>
                    <a:pt x="1084" y="929"/>
                    <a:pt x="917" y="1108"/>
                    <a:pt x="715" y="1108"/>
                  </a:cubicBezTo>
                  <a:cubicBezTo>
                    <a:pt x="501" y="1108"/>
                    <a:pt x="346" y="941"/>
                    <a:pt x="346" y="727"/>
                  </a:cubicBezTo>
                  <a:cubicBezTo>
                    <a:pt x="346" y="525"/>
                    <a:pt x="501" y="358"/>
                    <a:pt x="715" y="358"/>
                  </a:cubicBezTo>
                  <a:close/>
                  <a:moveTo>
                    <a:pt x="715" y="1"/>
                  </a:moveTo>
                  <a:cubicBezTo>
                    <a:pt x="310" y="1"/>
                    <a:pt x="1" y="334"/>
                    <a:pt x="1" y="715"/>
                  </a:cubicBezTo>
                  <a:cubicBezTo>
                    <a:pt x="1" y="1108"/>
                    <a:pt x="322" y="1429"/>
                    <a:pt x="715" y="1429"/>
                  </a:cubicBezTo>
                  <a:cubicBezTo>
                    <a:pt x="1096" y="1429"/>
                    <a:pt x="1429" y="1108"/>
                    <a:pt x="1429" y="715"/>
                  </a:cubicBezTo>
                  <a:cubicBezTo>
                    <a:pt x="1429" y="334"/>
                    <a:pt x="112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1" name="Google Shape;10441;p59"/>
            <p:cNvSpPr/>
            <p:nvPr/>
          </p:nvSpPr>
          <p:spPr>
            <a:xfrm>
              <a:off x="4930717" y="2523586"/>
              <a:ext cx="100917" cy="100534"/>
            </a:xfrm>
            <a:custGeom>
              <a:avLst/>
              <a:gdLst/>
              <a:ahLst/>
              <a:cxnLst/>
              <a:rect l="l" t="t" r="r" b="b"/>
              <a:pathLst>
                <a:path w="3168" h="3156" extrusionOk="0">
                  <a:moveTo>
                    <a:pt x="1763" y="346"/>
                  </a:moveTo>
                  <a:cubicBezTo>
                    <a:pt x="1811" y="346"/>
                    <a:pt x="1858" y="393"/>
                    <a:pt x="1858" y="441"/>
                  </a:cubicBezTo>
                  <a:lnTo>
                    <a:pt x="1858" y="1120"/>
                  </a:lnTo>
                  <a:cubicBezTo>
                    <a:pt x="1858" y="1215"/>
                    <a:pt x="1930" y="1286"/>
                    <a:pt x="2013" y="1286"/>
                  </a:cubicBezTo>
                  <a:lnTo>
                    <a:pt x="2704" y="1286"/>
                  </a:lnTo>
                  <a:cubicBezTo>
                    <a:pt x="2751" y="1286"/>
                    <a:pt x="2787" y="1334"/>
                    <a:pt x="2787" y="1370"/>
                  </a:cubicBezTo>
                  <a:lnTo>
                    <a:pt x="2787" y="1774"/>
                  </a:lnTo>
                  <a:cubicBezTo>
                    <a:pt x="2787" y="1822"/>
                    <a:pt x="2751" y="1870"/>
                    <a:pt x="2704" y="1870"/>
                  </a:cubicBezTo>
                  <a:lnTo>
                    <a:pt x="2013" y="1870"/>
                  </a:lnTo>
                  <a:cubicBezTo>
                    <a:pt x="1930" y="1870"/>
                    <a:pt x="1858" y="1941"/>
                    <a:pt x="1858" y="2024"/>
                  </a:cubicBezTo>
                  <a:lnTo>
                    <a:pt x="1858" y="2715"/>
                  </a:lnTo>
                  <a:cubicBezTo>
                    <a:pt x="1858" y="2763"/>
                    <a:pt x="1811" y="2798"/>
                    <a:pt x="1763" y="2798"/>
                  </a:cubicBezTo>
                  <a:lnTo>
                    <a:pt x="1358" y="2798"/>
                  </a:lnTo>
                  <a:cubicBezTo>
                    <a:pt x="1322" y="2798"/>
                    <a:pt x="1275" y="2763"/>
                    <a:pt x="1275" y="2715"/>
                  </a:cubicBezTo>
                  <a:lnTo>
                    <a:pt x="1275" y="2024"/>
                  </a:lnTo>
                  <a:cubicBezTo>
                    <a:pt x="1275" y="1941"/>
                    <a:pt x="1203" y="1870"/>
                    <a:pt x="1108" y="1870"/>
                  </a:cubicBezTo>
                  <a:lnTo>
                    <a:pt x="429" y="1870"/>
                  </a:lnTo>
                  <a:cubicBezTo>
                    <a:pt x="382" y="1870"/>
                    <a:pt x="334" y="1822"/>
                    <a:pt x="334" y="1774"/>
                  </a:cubicBezTo>
                  <a:lnTo>
                    <a:pt x="334" y="1370"/>
                  </a:lnTo>
                  <a:cubicBezTo>
                    <a:pt x="334" y="1334"/>
                    <a:pt x="382" y="1286"/>
                    <a:pt x="429" y="1286"/>
                  </a:cubicBezTo>
                  <a:lnTo>
                    <a:pt x="1108" y="1286"/>
                  </a:lnTo>
                  <a:cubicBezTo>
                    <a:pt x="1203" y="1286"/>
                    <a:pt x="1275" y="1215"/>
                    <a:pt x="1275" y="1120"/>
                  </a:cubicBezTo>
                  <a:lnTo>
                    <a:pt x="1275" y="441"/>
                  </a:lnTo>
                  <a:cubicBezTo>
                    <a:pt x="1275" y="393"/>
                    <a:pt x="1322" y="346"/>
                    <a:pt x="1358" y="346"/>
                  </a:cubicBezTo>
                  <a:close/>
                  <a:moveTo>
                    <a:pt x="1394" y="0"/>
                  </a:moveTo>
                  <a:cubicBezTo>
                    <a:pt x="1156" y="0"/>
                    <a:pt x="965" y="203"/>
                    <a:pt x="965" y="441"/>
                  </a:cubicBezTo>
                  <a:lnTo>
                    <a:pt x="965" y="953"/>
                  </a:lnTo>
                  <a:lnTo>
                    <a:pt x="441" y="953"/>
                  </a:lnTo>
                  <a:cubicBezTo>
                    <a:pt x="203" y="953"/>
                    <a:pt x="13" y="1155"/>
                    <a:pt x="13" y="1393"/>
                  </a:cubicBezTo>
                  <a:lnTo>
                    <a:pt x="13" y="1786"/>
                  </a:lnTo>
                  <a:cubicBezTo>
                    <a:pt x="1" y="2013"/>
                    <a:pt x="191" y="2203"/>
                    <a:pt x="429" y="2203"/>
                  </a:cubicBezTo>
                  <a:lnTo>
                    <a:pt x="953" y="2203"/>
                  </a:lnTo>
                  <a:lnTo>
                    <a:pt x="953" y="2727"/>
                  </a:lnTo>
                  <a:cubicBezTo>
                    <a:pt x="953" y="2965"/>
                    <a:pt x="1144" y="3156"/>
                    <a:pt x="1382" y="3156"/>
                  </a:cubicBezTo>
                  <a:lnTo>
                    <a:pt x="1787" y="3156"/>
                  </a:lnTo>
                  <a:cubicBezTo>
                    <a:pt x="2025" y="3156"/>
                    <a:pt x="2215" y="2965"/>
                    <a:pt x="2215" y="2727"/>
                  </a:cubicBezTo>
                  <a:lnTo>
                    <a:pt x="2215" y="2203"/>
                  </a:lnTo>
                  <a:lnTo>
                    <a:pt x="2739" y="2203"/>
                  </a:lnTo>
                  <a:cubicBezTo>
                    <a:pt x="2977" y="2203"/>
                    <a:pt x="3168" y="2013"/>
                    <a:pt x="3168" y="1774"/>
                  </a:cubicBezTo>
                  <a:lnTo>
                    <a:pt x="3168" y="1370"/>
                  </a:lnTo>
                  <a:cubicBezTo>
                    <a:pt x="3168" y="1131"/>
                    <a:pt x="2977" y="941"/>
                    <a:pt x="2739" y="941"/>
                  </a:cubicBezTo>
                  <a:lnTo>
                    <a:pt x="2227" y="941"/>
                  </a:lnTo>
                  <a:lnTo>
                    <a:pt x="2227" y="441"/>
                  </a:lnTo>
                  <a:cubicBezTo>
                    <a:pt x="2227" y="203"/>
                    <a:pt x="2037"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2" name="Google Shape;10442;p59"/>
            <p:cNvSpPr/>
            <p:nvPr/>
          </p:nvSpPr>
          <p:spPr>
            <a:xfrm>
              <a:off x="4878379" y="2473892"/>
              <a:ext cx="367161" cy="287523"/>
            </a:xfrm>
            <a:custGeom>
              <a:avLst/>
              <a:gdLst/>
              <a:ahLst/>
              <a:cxnLst/>
              <a:rect l="l" t="t" r="r" b="b"/>
              <a:pathLst>
                <a:path w="11526" h="9026" extrusionOk="0">
                  <a:moveTo>
                    <a:pt x="7966" y="346"/>
                  </a:moveTo>
                  <a:cubicBezTo>
                    <a:pt x="8228" y="346"/>
                    <a:pt x="8454" y="572"/>
                    <a:pt x="8454" y="834"/>
                  </a:cubicBezTo>
                  <a:lnTo>
                    <a:pt x="8454" y="1203"/>
                  </a:lnTo>
                  <a:lnTo>
                    <a:pt x="7478" y="1203"/>
                  </a:lnTo>
                  <a:lnTo>
                    <a:pt x="7478" y="834"/>
                  </a:lnTo>
                  <a:cubicBezTo>
                    <a:pt x="7478" y="572"/>
                    <a:pt x="7692" y="346"/>
                    <a:pt x="7966" y="346"/>
                  </a:cubicBezTo>
                  <a:close/>
                  <a:moveTo>
                    <a:pt x="8645" y="1548"/>
                  </a:moveTo>
                  <a:lnTo>
                    <a:pt x="8645" y="1703"/>
                  </a:lnTo>
                  <a:lnTo>
                    <a:pt x="7275" y="1703"/>
                  </a:lnTo>
                  <a:lnTo>
                    <a:pt x="7275" y="1548"/>
                  </a:lnTo>
                  <a:close/>
                  <a:moveTo>
                    <a:pt x="6132" y="5894"/>
                  </a:moveTo>
                  <a:lnTo>
                    <a:pt x="6132" y="7192"/>
                  </a:lnTo>
                  <a:lnTo>
                    <a:pt x="4644" y="7192"/>
                  </a:lnTo>
                  <a:cubicBezTo>
                    <a:pt x="4644" y="7180"/>
                    <a:pt x="4632" y="7156"/>
                    <a:pt x="4632" y="7144"/>
                  </a:cubicBezTo>
                  <a:cubicBezTo>
                    <a:pt x="4420" y="6454"/>
                    <a:pt x="3830" y="6114"/>
                    <a:pt x="3240" y="6114"/>
                  </a:cubicBezTo>
                  <a:cubicBezTo>
                    <a:pt x="2639" y="6114"/>
                    <a:pt x="2038" y="6466"/>
                    <a:pt x="1834" y="7156"/>
                  </a:cubicBezTo>
                  <a:cubicBezTo>
                    <a:pt x="1834" y="7180"/>
                    <a:pt x="1822" y="7192"/>
                    <a:pt x="1822" y="7204"/>
                  </a:cubicBezTo>
                  <a:lnTo>
                    <a:pt x="691" y="7204"/>
                  </a:lnTo>
                  <a:cubicBezTo>
                    <a:pt x="489" y="7204"/>
                    <a:pt x="334" y="7061"/>
                    <a:pt x="334" y="6847"/>
                  </a:cubicBezTo>
                  <a:lnTo>
                    <a:pt x="334" y="5894"/>
                  </a:lnTo>
                  <a:close/>
                  <a:moveTo>
                    <a:pt x="11181" y="5906"/>
                  </a:moveTo>
                  <a:lnTo>
                    <a:pt x="11181" y="6847"/>
                  </a:lnTo>
                  <a:cubicBezTo>
                    <a:pt x="11181" y="7037"/>
                    <a:pt x="11026" y="7204"/>
                    <a:pt x="10824" y="7204"/>
                  </a:cubicBezTo>
                  <a:lnTo>
                    <a:pt x="10038" y="7204"/>
                  </a:lnTo>
                  <a:cubicBezTo>
                    <a:pt x="10038" y="7192"/>
                    <a:pt x="10014" y="7180"/>
                    <a:pt x="10014" y="7156"/>
                  </a:cubicBezTo>
                  <a:cubicBezTo>
                    <a:pt x="9823" y="6525"/>
                    <a:pt x="9228" y="6109"/>
                    <a:pt x="8621" y="6109"/>
                  </a:cubicBezTo>
                  <a:cubicBezTo>
                    <a:pt x="8026" y="6109"/>
                    <a:pt x="7430" y="6490"/>
                    <a:pt x="7216" y="7156"/>
                  </a:cubicBezTo>
                  <a:cubicBezTo>
                    <a:pt x="7216" y="7180"/>
                    <a:pt x="7204" y="7192"/>
                    <a:pt x="7204" y="7204"/>
                  </a:cubicBezTo>
                  <a:lnTo>
                    <a:pt x="6466" y="7204"/>
                  </a:lnTo>
                  <a:lnTo>
                    <a:pt x="6466" y="5906"/>
                  </a:lnTo>
                  <a:close/>
                  <a:moveTo>
                    <a:pt x="3215" y="6466"/>
                  </a:moveTo>
                  <a:cubicBezTo>
                    <a:pt x="3823" y="6466"/>
                    <a:pt x="4335" y="6978"/>
                    <a:pt x="4335" y="7573"/>
                  </a:cubicBezTo>
                  <a:cubicBezTo>
                    <a:pt x="4335" y="8192"/>
                    <a:pt x="3835" y="8692"/>
                    <a:pt x="3215" y="8692"/>
                  </a:cubicBezTo>
                  <a:cubicBezTo>
                    <a:pt x="2596" y="8692"/>
                    <a:pt x="2096" y="8192"/>
                    <a:pt x="2096" y="7573"/>
                  </a:cubicBezTo>
                  <a:cubicBezTo>
                    <a:pt x="2096" y="6978"/>
                    <a:pt x="2608" y="6466"/>
                    <a:pt x="3215" y="6466"/>
                  </a:cubicBezTo>
                  <a:close/>
                  <a:moveTo>
                    <a:pt x="8621" y="6466"/>
                  </a:moveTo>
                  <a:cubicBezTo>
                    <a:pt x="9240" y="6466"/>
                    <a:pt x="9740" y="6978"/>
                    <a:pt x="9740" y="7573"/>
                  </a:cubicBezTo>
                  <a:cubicBezTo>
                    <a:pt x="9740" y="8192"/>
                    <a:pt x="9240" y="8692"/>
                    <a:pt x="8621" y="8692"/>
                  </a:cubicBezTo>
                  <a:cubicBezTo>
                    <a:pt x="7990" y="8692"/>
                    <a:pt x="7502" y="8192"/>
                    <a:pt x="7502" y="7573"/>
                  </a:cubicBezTo>
                  <a:cubicBezTo>
                    <a:pt x="7502" y="6966"/>
                    <a:pt x="8014" y="6466"/>
                    <a:pt x="8621" y="6466"/>
                  </a:cubicBezTo>
                  <a:close/>
                  <a:moveTo>
                    <a:pt x="7966" y="1"/>
                  </a:moveTo>
                  <a:cubicBezTo>
                    <a:pt x="7502" y="1"/>
                    <a:pt x="7133" y="370"/>
                    <a:pt x="7133" y="834"/>
                  </a:cubicBezTo>
                  <a:lnTo>
                    <a:pt x="7133" y="1203"/>
                  </a:lnTo>
                  <a:lnTo>
                    <a:pt x="7097" y="1203"/>
                  </a:lnTo>
                  <a:cubicBezTo>
                    <a:pt x="7014" y="1203"/>
                    <a:pt x="6942" y="1275"/>
                    <a:pt x="6942" y="1370"/>
                  </a:cubicBezTo>
                  <a:lnTo>
                    <a:pt x="6942" y="1679"/>
                  </a:lnTo>
                  <a:lnTo>
                    <a:pt x="6466" y="1679"/>
                  </a:lnTo>
                  <a:lnTo>
                    <a:pt x="6466" y="1072"/>
                  </a:lnTo>
                  <a:cubicBezTo>
                    <a:pt x="6466" y="703"/>
                    <a:pt x="6144" y="382"/>
                    <a:pt x="5775" y="382"/>
                  </a:cubicBezTo>
                  <a:lnTo>
                    <a:pt x="2311" y="382"/>
                  </a:lnTo>
                  <a:cubicBezTo>
                    <a:pt x="2215" y="382"/>
                    <a:pt x="2144" y="465"/>
                    <a:pt x="2144" y="548"/>
                  </a:cubicBezTo>
                  <a:cubicBezTo>
                    <a:pt x="2144" y="644"/>
                    <a:pt x="2215" y="715"/>
                    <a:pt x="2311" y="715"/>
                  </a:cubicBezTo>
                  <a:lnTo>
                    <a:pt x="5775" y="715"/>
                  </a:lnTo>
                  <a:cubicBezTo>
                    <a:pt x="5966" y="715"/>
                    <a:pt x="6132" y="870"/>
                    <a:pt x="6132" y="1072"/>
                  </a:cubicBezTo>
                  <a:lnTo>
                    <a:pt x="6132" y="5573"/>
                  </a:lnTo>
                  <a:lnTo>
                    <a:pt x="334" y="5573"/>
                  </a:lnTo>
                  <a:lnTo>
                    <a:pt x="334" y="1072"/>
                  </a:lnTo>
                  <a:cubicBezTo>
                    <a:pt x="334" y="882"/>
                    <a:pt x="477" y="715"/>
                    <a:pt x="691" y="715"/>
                  </a:cubicBezTo>
                  <a:lnTo>
                    <a:pt x="1477" y="715"/>
                  </a:lnTo>
                  <a:cubicBezTo>
                    <a:pt x="1560" y="715"/>
                    <a:pt x="1644" y="644"/>
                    <a:pt x="1644" y="548"/>
                  </a:cubicBezTo>
                  <a:cubicBezTo>
                    <a:pt x="1644" y="465"/>
                    <a:pt x="1560" y="394"/>
                    <a:pt x="1477" y="394"/>
                  </a:cubicBezTo>
                  <a:lnTo>
                    <a:pt x="691" y="394"/>
                  </a:lnTo>
                  <a:cubicBezTo>
                    <a:pt x="310" y="394"/>
                    <a:pt x="1" y="703"/>
                    <a:pt x="1" y="1072"/>
                  </a:cubicBezTo>
                  <a:lnTo>
                    <a:pt x="1" y="6847"/>
                  </a:lnTo>
                  <a:cubicBezTo>
                    <a:pt x="1" y="7216"/>
                    <a:pt x="310" y="7537"/>
                    <a:pt x="691" y="7537"/>
                  </a:cubicBezTo>
                  <a:lnTo>
                    <a:pt x="1775" y="7537"/>
                  </a:lnTo>
                  <a:cubicBezTo>
                    <a:pt x="1763" y="8371"/>
                    <a:pt x="2442" y="9026"/>
                    <a:pt x="3227" y="9026"/>
                  </a:cubicBezTo>
                  <a:cubicBezTo>
                    <a:pt x="4025" y="9026"/>
                    <a:pt x="4704" y="8383"/>
                    <a:pt x="4692" y="7537"/>
                  </a:cubicBezTo>
                  <a:lnTo>
                    <a:pt x="7180" y="7537"/>
                  </a:lnTo>
                  <a:cubicBezTo>
                    <a:pt x="7156" y="8371"/>
                    <a:pt x="7847" y="9026"/>
                    <a:pt x="8633" y="9026"/>
                  </a:cubicBezTo>
                  <a:cubicBezTo>
                    <a:pt x="9419" y="9026"/>
                    <a:pt x="10109" y="8383"/>
                    <a:pt x="10097" y="7537"/>
                  </a:cubicBezTo>
                  <a:lnTo>
                    <a:pt x="10835" y="7537"/>
                  </a:lnTo>
                  <a:cubicBezTo>
                    <a:pt x="11205" y="7537"/>
                    <a:pt x="11526" y="7216"/>
                    <a:pt x="11526" y="6847"/>
                  </a:cubicBezTo>
                  <a:lnTo>
                    <a:pt x="11502" y="4299"/>
                  </a:lnTo>
                  <a:cubicBezTo>
                    <a:pt x="11502" y="4084"/>
                    <a:pt x="11431" y="3870"/>
                    <a:pt x="11276" y="3692"/>
                  </a:cubicBezTo>
                  <a:lnTo>
                    <a:pt x="10657" y="2989"/>
                  </a:lnTo>
                  <a:cubicBezTo>
                    <a:pt x="10626" y="2952"/>
                    <a:pt x="10582" y="2934"/>
                    <a:pt x="10536" y="2934"/>
                  </a:cubicBezTo>
                  <a:cubicBezTo>
                    <a:pt x="10495" y="2934"/>
                    <a:pt x="10453" y="2949"/>
                    <a:pt x="10419" y="2977"/>
                  </a:cubicBezTo>
                  <a:cubicBezTo>
                    <a:pt x="10347" y="3037"/>
                    <a:pt x="10347" y="3144"/>
                    <a:pt x="10407" y="3215"/>
                  </a:cubicBezTo>
                  <a:lnTo>
                    <a:pt x="11026" y="3918"/>
                  </a:lnTo>
                  <a:cubicBezTo>
                    <a:pt x="11121" y="4025"/>
                    <a:pt x="11181" y="4156"/>
                    <a:pt x="11181" y="4287"/>
                  </a:cubicBezTo>
                  <a:lnTo>
                    <a:pt x="11181" y="5549"/>
                  </a:lnTo>
                  <a:lnTo>
                    <a:pt x="6466" y="5549"/>
                  </a:lnTo>
                  <a:lnTo>
                    <a:pt x="6466" y="2013"/>
                  </a:lnTo>
                  <a:lnTo>
                    <a:pt x="9097" y="2013"/>
                  </a:lnTo>
                  <a:cubicBezTo>
                    <a:pt x="9264" y="2013"/>
                    <a:pt x="9407" y="2084"/>
                    <a:pt x="9514" y="2203"/>
                  </a:cubicBezTo>
                  <a:lnTo>
                    <a:pt x="9812" y="2549"/>
                  </a:lnTo>
                  <a:cubicBezTo>
                    <a:pt x="9843" y="2586"/>
                    <a:pt x="9887" y="2604"/>
                    <a:pt x="9932" y="2604"/>
                  </a:cubicBezTo>
                  <a:cubicBezTo>
                    <a:pt x="9973" y="2604"/>
                    <a:pt x="10016" y="2589"/>
                    <a:pt x="10050" y="2560"/>
                  </a:cubicBezTo>
                  <a:cubicBezTo>
                    <a:pt x="10121" y="2501"/>
                    <a:pt x="10121" y="2394"/>
                    <a:pt x="10062" y="2322"/>
                  </a:cubicBezTo>
                  <a:lnTo>
                    <a:pt x="9764" y="1977"/>
                  </a:lnTo>
                  <a:cubicBezTo>
                    <a:pt x="9532" y="1709"/>
                    <a:pt x="9226" y="1676"/>
                    <a:pt x="9077" y="1676"/>
                  </a:cubicBezTo>
                  <a:cubicBezTo>
                    <a:pt x="9028" y="1676"/>
                    <a:pt x="8996" y="1679"/>
                    <a:pt x="8990" y="1679"/>
                  </a:cubicBezTo>
                  <a:lnTo>
                    <a:pt x="8990" y="1370"/>
                  </a:lnTo>
                  <a:cubicBezTo>
                    <a:pt x="8990" y="1275"/>
                    <a:pt x="8919" y="1203"/>
                    <a:pt x="8823" y="1203"/>
                  </a:cubicBezTo>
                  <a:lnTo>
                    <a:pt x="8799" y="1203"/>
                  </a:lnTo>
                  <a:lnTo>
                    <a:pt x="8799" y="834"/>
                  </a:lnTo>
                  <a:cubicBezTo>
                    <a:pt x="8799" y="370"/>
                    <a:pt x="8418" y="1"/>
                    <a:pt x="7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43" name="Google Shape;10443;p59"/>
          <p:cNvGrpSpPr/>
          <p:nvPr/>
        </p:nvGrpSpPr>
        <p:grpSpPr>
          <a:xfrm>
            <a:off x="1325719" y="2887689"/>
            <a:ext cx="290581" cy="372481"/>
            <a:chOff x="1325719" y="2887689"/>
            <a:chExt cx="290581" cy="372481"/>
          </a:xfrm>
        </p:grpSpPr>
        <p:sp>
          <p:nvSpPr>
            <p:cNvPr id="10444" name="Google Shape;10444;p59"/>
            <p:cNvSpPr/>
            <p:nvPr/>
          </p:nvSpPr>
          <p:spPr>
            <a:xfrm>
              <a:off x="1424724" y="3106533"/>
              <a:ext cx="37971" cy="37939"/>
            </a:xfrm>
            <a:custGeom>
              <a:avLst/>
              <a:gdLst/>
              <a:ahLst/>
              <a:cxnLst/>
              <a:rect l="l" t="t" r="r" b="b"/>
              <a:pathLst>
                <a:path w="1192" h="1191" extrusionOk="0">
                  <a:moveTo>
                    <a:pt x="596" y="334"/>
                  </a:moveTo>
                  <a:cubicBezTo>
                    <a:pt x="727" y="334"/>
                    <a:pt x="846" y="453"/>
                    <a:pt x="846" y="596"/>
                  </a:cubicBezTo>
                  <a:cubicBezTo>
                    <a:pt x="846" y="727"/>
                    <a:pt x="727" y="846"/>
                    <a:pt x="596" y="846"/>
                  </a:cubicBezTo>
                  <a:cubicBezTo>
                    <a:pt x="453" y="846"/>
                    <a:pt x="346" y="738"/>
                    <a:pt x="346" y="596"/>
                  </a:cubicBezTo>
                  <a:cubicBezTo>
                    <a:pt x="346" y="453"/>
                    <a:pt x="465" y="334"/>
                    <a:pt x="596" y="334"/>
                  </a:cubicBezTo>
                  <a:close/>
                  <a:moveTo>
                    <a:pt x="596" y="0"/>
                  </a:moveTo>
                  <a:cubicBezTo>
                    <a:pt x="262" y="0"/>
                    <a:pt x="0" y="262"/>
                    <a:pt x="0" y="596"/>
                  </a:cubicBezTo>
                  <a:cubicBezTo>
                    <a:pt x="0" y="917"/>
                    <a:pt x="262" y="1191"/>
                    <a:pt x="596" y="1191"/>
                  </a:cubicBezTo>
                  <a:cubicBezTo>
                    <a:pt x="917" y="1191"/>
                    <a:pt x="1191" y="917"/>
                    <a:pt x="1191" y="596"/>
                  </a:cubicBezTo>
                  <a:cubicBezTo>
                    <a:pt x="1191" y="262"/>
                    <a:pt x="917"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5" name="Google Shape;10445;p59"/>
            <p:cNvSpPr/>
            <p:nvPr/>
          </p:nvSpPr>
          <p:spPr>
            <a:xfrm>
              <a:off x="1325719" y="2887689"/>
              <a:ext cx="290581" cy="372481"/>
            </a:xfrm>
            <a:custGeom>
              <a:avLst/>
              <a:gdLst/>
              <a:ahLst/>
              <a:cxnLst/>
              <a:rect l="l" t="t" r="r" b="b"/>
              <a:pathLst>
                <a:path w="9122" h="11693" extrusionOk="0">
                  <a:moveTo>
                    <a:pt x="5037" y="3620"/>
                  </a:moveTo>
                  <a:cubicBezTo>
                    <a:pt x="5847" y="3656"/>
                    <a:pt x="6502" y="4310"/>
                    <a:pt x="6502" y="5120"/>
                  </a:cubicBezTo>
                  <a:lnTo>
                    <a:pt x="6502" y="11299"/>
                  </a:lnTo>
                  <a:lnTo>
                    <a:pt x="5037" y="11299"/>
                  </a:lnTo>
                  <a:lnTo>
                    <a:pt x="5037" y="3620"/>
                  </a:lnTo>
                  <a:close/>
                  <a:moveTo>
                    <a:pt x="930" y="0"/>
                  </a:moveTo>
                  <a:cubicBezTo>
                    <a:pt x="418" y="0"/>
                    <a:pt x="1" y="417"/>
                    <a:pt x="1" y="941"/>
                  </a:cubicBezTo>
                  <a:lnTo>
                    <a:pt x="1" y="2703"/>
                  </a:lnTo>
                  <a:cubicBezTo>
                    <a:pt x="1" y="3084"/>
                    <a:pt x="180" y="3441"/>
                    <a:pt x="489" y="3667"/>
                  </a:cubicBezTo>
                  <a:cubicBezTo>
                    <a:pt x="953" y="3989"/>
                    <a:pt x="1275" y="4941"/>
                    <a:pt x="1275" y="5989"/>
                  </a:cubicBezTo>
                  <a:cubicBezTo>
                    <a:pt x="1275" y="7025"/>
                    <a:pt x="953" y="7978"/>
                    <a:pt x="489" y="8311"/>
                  </a:cubicBezTo>
                  <a:cubicBezTo>
                    <a:pt x="180" y="8537"/>
                    <a:pt x="1" y="8894"/>
                    <a:pt x="1" y="9275"/>
                  </a:cubicBezTo>
                  <a:lnTo>
                    <a:pt x="1" y="10752"/>
                  </a:lnTo>
                  <a:cubicBezTo>
                    <a:pt x="1" y="11276"/>
                    <a:pt x="418" y="11692"/>
                    <a:pt x="930" y="11692"/>
                  </a:cubicBezTo>
                  <a:lnTo>
                    <a:pt x="8181" y="11692"/>
                  </a:lnTo>
                  <a:cubicBezTo>
                    <a:pt x="8704" y="11692"/>
                    <a:pt x="9121" y="11276"/>
                    <a:pt x="9121" y="10752"/>
                  </a:cubicBezTo>
                  <a:lnTo>
                    <a:pt x="9121" y="9275"/>
                  </a:lnTo>
                  <a:cubicBezTo>
                    <a:pt x="9121" y="8894"/>
                    <a:pt x="8943" y="8537"/>
                    <a:pt x="8633" y="8311"/>
                  </a:cubicBezTo>
                  <a:cubicBezTo>
                    <a:pt x="8169" y="7978"/>
                    <a:pt x="7835" y="7025"/>
                    <a:pt x="7835" y="5989"/>
                  </a:cubicBezTo>
                  <a:cubicBezTo>
                    <a:pt x="7835" y="4941"/>
                    <a:pt x="8169" y="3989"/>
                    <a:pt x="8633" y="3667"/>
                  </a:cubicBezTo>
                  <a:cubicBezTo>
                    <a:pt x="8943" y="3441"/>
                    <a:pt x="9121" y="3084"/>
                    <a:pt x="9121" y="2703"/>
                  </a:cubicBezTo>
                  <a:lnTo>
                    <a:pt x="9121" y="1786"/>
                  </a:lnTo>
                  <a:cubicBezTo>
                    <a:pt x="9121" y="1703"/>
                    <a:pt x="9050" y="1620"/>
                    <a:pt x="8954" y="1620"/>
                  </a:cubicBezTo>
                  <a:cubicBezTo>
                    <a:pt x="8871" y="1620"/>
                    <a:pt x="8788" y="1703"/>
                    <a:pt x="8788" y="1786"/>
                  </a:cubicBezTo>
                  <a:lnTo>
                    <a:pt x="8788" y="2703"/>
                  </a:lnTo>
                  <a:cubicBezTo>
                    <a:pt x="8788" y="2965"/>
                    <a:pt x="8657" y="3215"/>
                    <a:pt x="8431" y="3382"/>
                  </a:cubicBezTo>
                  <a:cubicBezTo>
                    <a:pt x="7204" y="4263"/>
                    <a:pt x="7204" y="7680"/>
                    <a:pt x="8431" y="8573"/>
                  </a:cubicBezTo>
                  <a:cubicBezTo>
                    <a:pt x="8657" y="8740"/>
                    <a:pt x="8788" y="8990"/>
                    <a:pt x="8788" y="9263"/>
                  </a:cubicBezTo>
                  <a:lnTo>
                    <a:pt x="8788" y="10740"/>
                  </a:lnTo>
                  <a:cubicBezTo>
                    <a:pt x="8788" y="11061"/>
                    <a:pt x="8526" y="11335"/>
                    <a:pt x="8192" y="11335"/>
                  </a:cubicBezTo>
                  <a:lnTo>
                    <a:pt x="6859" y="11335"/>
                  </a:lnTo>
                  <a:lnTo>
                    <a:pt x="6859" y="5156"/>
                  </a:lnTo>
                  <a:cubicBezTo>
                    <a:pt x="6859" y="4144"/>
                    <a:pt x="6025" y="3310"/>
                    <a:pt x="5013" y="3310"/>
                  </a:cubicBezTo>
                  <a:lnTo>
                    <a:pt x="3001" y="3310"/>
                  </a:lnTo>
                  <a:cubicBezTo>
                    <a:pt x="2596" y="3310"/>
                    <a:pt x="2275" y="3632"/>
                    <a:pt x="2275" y="4037"/>
                  </a:cubicBezTo>
                  <a:lnTo>
                    <a:pt x="2275" y="9918"/>
                  </a:lnTo>
                  <a:cubicBezTo>
                    <a:pt x="2275" y="10002"/>
                    <a:pt x="2346" y="10085"/>
                    <a:pt x="2442" y="10085"/>
                  </a:cubicBezTo>
                  <a:cubicBezTo>
                    <a:pt x="2525" y="10085"/>
                    <a:pt x="2596" y="10002"/>
                    <a:pt x="2596" y="9918"/>
                  </a:cubicBezTo>
                  <a:lnTo>
                    <a:pt x="2596" y="4037"/>
                  </a:lnTo>
                  <a:cubicBezTo>
                    <a:pt x="2596" y="3834"/>
                    <a:pt x="2775" y="3656"/>
                    <a:pt x="2989" y="3656"/>
                  </a:cubicBezTo>
                  <a:lnTo>
                    <a:pt x="4704" y="3656"/>
                  </a:lnTo>
                  <a:lnTo>
                    <a:pt x="4704" y="11335"/>
                  </a:lnTo>
                  <a:lnTo>
                    <a:pt x="2620" y="11335"/>
                  </a:lnTo>
                  <a:lnTo>
                    <a:pt x="2620" y="10549"/>
                  </a:lnTo>
                  <a:cubicBezTo>
                    <a:pt x="2620" y="10466"/>
                    <a:pt x="2537" y="10394"/>
                    <a:pt x="2454" y="10394"/>
                  </a:cubicBezTo>
                  <a:cubicBezTo>
                    <a:pt x="2358" y="10394"/>
                    <a:pt x="2287" y="10466"/>
                    <a:pt x="2287" y="10549"/>
                  </a:cubicBezTo>
                  <a:lnTo>
                    <a:pt x="2287" y="11335"/>
                  </a:lnTo>
                  <a:lnTo>
                    <a:pt x="942" y="11335"/>
                  </a:lnTo>
                  <a:cubicBezTo>
                    <a:pt x="620" y="11335"/>
                    <a:pt x="346" y="11061"/>
                    <a:pt x="346" y="10740"/>
                  </a:cubicBezTo>
                  <a:lnTo>
                    <a:pt x="346" y="9263"/>
                  </a:lnTo>
                  <a:cubicBezTo>
                    <a:pt x="346" y="8990"/>
                    <a:pt x="489" y="8740"/>
                    <a:pt x="703" y="8573"/>
                  </a:cubicBezTo>
                  <a:cubicBezTo>
                    <a:pt x="1942" y="7704"/>
                    <a:pt x="1942" y="4275"/>
                    <a:pt x="703" y="3382"/>
                  </a:cubicBezTo>
                  <a:cubicBezTo>
                    <a:pt x="489" y="3215"/>
                    <a:pt x="346" y="2965"/>
                    <a:pt x="346" y="2703"/>
                  </a:cubicBezTo>
                  <a:lnTo>
                    <a:pt x="346" y="941"/>
                  </a:lnTo>
                  <a:cubicBezTo>
                    <a:pt x="346" y="619"/>
                    <a:pt x="620" y="346"/>
                    <a:pt x="942" y="346"/>
                  </a:cubicBezTo>
                  <a:lnTo>
                    <a:pt x="8192" y="346"/>
                  </a:lnTo>
                  <a:cubicBezTo>
                    <a:pt x="8526" y="346"/>
                    <a:pt x="8788" y="619"/>
                    <a:pt x="8788" y="941"/>
                  </a:cubicBezTo>
                  <a:lnTo>
                    <a:pt x="8788" y="1131"/>
                  </a:lnTo>
                  <a:cubicBezTo>
                    <a:pt x="8776" y="1227"/>
                    <a:pt x="8847" y="1298"/>
                    <a:pt x="8954" y="1298"/>
                  </a:cubicBezTo>
                  <a:cubicBezTo>
                    <a:pt x="9050" y="1298"/>
                    <a:pt x="9121" y="1227"/>
                    <a:pt x="9121" y="1131"/>
                  </a:cubicBezTo>
                  <a:lnTo>
                    <a:pt x="9121" y="941"/>
                  </a:lnTo>
                  <a:cubicBezTo>
                    <a:pt x="9121" y="417"/>
                    <a:pt x="8704" y="0"/>
                    <a:pt x="8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46" name="Google Shape;10446;p59"/>
          <p:cNvSpPr/>
          <p:nvPr/>
        </p:nvSpPr>
        <p:spPr>
          <a:xfrm>
            <a:off x="1819153" y="2882369"/>
            <a:ext cx="191194" cy="382738"/>
          </a:xfrm>
          <a:custGeom>
            <a:avLst/>
            <a:gdLst/>
            <a:ahLst/>
            <a:cxnLst/>
            <a:rect l="l" t="t" r="r" b="b"/>
            <a:pathLst>
              <a:path w="6002" h="12015" extrusionOk="0">
                <a:moveTo>
                  <a:pt x="906" y="1"/>
                </a:moveTo>
                <a:cubicBezTo>
                  <a:pt x="406" y="1"/>
                  <a:pt x="1" y="405"/>
                  <a:pt x="1" y="917"/>
                </a:cubicBezTo>
                <a:lnTo>
                  <a:pt x="1" y="1251"/>
                </a:lnTo>
                <a:cubicBezTo>
                  <a:pt x="1" y="1763"/>
                  <a:pt x="394" y="2168"/>
                  <a:pt x="906" y="2168"/>
                </a:cubicBezTo>
                <a:lnTo>
                  <a:pt x="906" y="8633"/>
                </a:lnTo>
                <a:cubicBezTo>
                  <a:pt x="906" y="8728"/>
                  <a:pt x="977" y="8823"/>
                  <a:pt x="1084" y="8823"/>
                </a:cubicBezTo>
                <a:cubicBezTo>
                  <a:pt x="1192" y="8823"/>
                  <a:pt x="1263" y="8740"/>
                  <a:pt x="1263" y="8633"/>
                </a:cubicBezTo>
                <a:lnTo>
                  <a:pt x="1263" y="2168"/>
                </a:lnTo>
                <a:lnTo>
                  <a:pt x="4704" y="2168"/>
                </a:lnTo>
                <a:lnTo>
                  <a:pt x="4704" y="2668"/>
                </a:lnTo>
                <a:lnTo>
                  <a:pt x="3823" y="2668"/>
                </a:lnTo>
                <a:cubicBezTo>
                  <a:pt x="3740" y="2668"/>
                  <a:pt x="3644" y="2739"/>
                  <a:pt x="3644" y="2846"/>
                </a:cubicBezTo>
                <a:cubicBezTo>
                  <a:pt x="3644" y="2941"/>
                  <a:pt x="3716" y="3025"/>
                  <a:pt x="3823" y="3025"/>
                </a:cubicBezTo>
                <a:lnTo>
                  <a:pt x="4704" y="3025"/>
                </a:lnTo>
                <a:lnTo>
                  <a:pt x="4704" y="3906"/>
                </a:lnTo>
                <a:lnTo>
                  <a:pt x="3823" y="3906"/>
                </a:lnTo>
                <a:cubicBezTo>
                  <a:pt x="3740" y="3906"/>
                  <a:pt x="3644" y="3977"/>
                  <a:pt x="3644" y="4084"/>
                </a:cubicBezTo>
                <a:cubicBezTo>
                  <a:pt x="3644" y="4180"/>
                  <a:pt x="3716" y="4263"/>
                  <a:pt x="3823" y="4263"/>
                </a:cubicBezTo>
                <a:lnTo>
                  <a:pt x="4704" y="4263"/>
                </a:lnTo>
                <a:lnTo>
                  <a:pt x="4704" y="5144"/>
                </a:lnTo>
                <a:lnTo>
                  <a:pt x="3823" y="5144"/>
                </a:lnTo>
                <a:cubicBezTo>
                  <a:pt x="3740" y="5144"/>
                  <a:pt x="3644" y="5216"/>
                  <a:pt x="3644" y="5323"/>
                </a:cubicBezTo>
                <a:cubicBezTo>
                  <a:pt x="3644" y="5406"/>
                  <a:pt x="3716" y="5501"/>
                  <a:pt x="3823" y="5501"/>
                </a:cubicBezTo>
                <a:lnTo>
                  <a:pt x="4704" y="5501"/>
                </a:lnTo>
                <a:lnTo>
                  <a:pt x="4704" y="6382"/>
                </a:lnTo>
                <a:lnTo>
                  <a:pt x="3823" y="6382"/>
                </a:lnTo>
                <a:cubicBezTo>
                  <a:pt x="3740" y="6382"/>
                  <a:pt x="3644" y="6454"/>
                  <a:pt x="3644" y="6561"/>
                </a:cubicBezTo>
                <a:cubicBezTo>
                  <a:pt x="3644" y="6644"/>
                  <a:pt x="3716" y="6740"/>
                  <a:pt x="3823" y="6740"/>
                </a:cubicBezTo>
                <a:lnTo>
                  <a:pt x="4704" y="6740"/>
                </a:lnTo>
                <a:lnTo>
                  <a:pt x="4704" y="7609"/>
                </a:lnTo>
                <a:lnTo>
                  <a:pt x="3823" y="7609"/>
                </a:lnTo>
                <a:cubicBezTo>
                  <a:pt x="3740" y="7609"/>
                  <a:pt x="3644" y="7692"/>
                  <a:pt x="3644" y="7787"/>
                </a:cubicBezTo>
                <a:cubicBezTo>
                  <a:pt x="3644" y="7883"/>
                  <a:pt x="3716" y="7966"/>
                  <a:pt x="3823" y="7966"/>
                </a:cubicBezTo>
                <a:lnTo>
                  <a:pt x="4704" y="7966"/>
                </a:lnTo>
                <a:lnTo>
                  <a:pt x="4704" y="8847"/>
                </a:lnTo>
                <a:lnTo>
                  <a:pt x="3823" y="8847"/>
                </a:lnTo>
                <a:cubicBezTo>
                  <a:pt x="3740" y="8847"/>
                  <a:pt x="3644" y="8918"/>
                  <a:pt x="3644" y="9026"/>
                </a:cubicBezTo>
                <a:cubicBezTo>
                  <a:pt x="3644" y="9121"/>
                  <a:pt x="3716" y="9204"/>
                  <a:pt x="3823" y="9204"/>
                </a:cubicBezTo>
                <a:lnTo>
                  <a:pt x="4704" y="9204"/>
                </a:lnTo>
                <a:lnTo>
                  <a:pt x="4704" y="9954"/>
                </a:lnTo>
                <a:cubicBezTo>
                  <a:pt x="4704" y="10907"/>
                  <a:pt x="3930" y="11657"/>
                  <a:pt x="2989" y="11657"/>
                </a:cubicBezTo>
                <a:cubicBezTo>
                  <a:pt x="2037" y="11657"/>
                  <a:pt x="1275" y="10883"/>
                  <a:pt x="1275" y="9954"/>
                </a:cubicBezTo>
                <a:lnTo>
                  <a:pt x="1275" y="9371"/>
                </a:lnTo>
                <a:cubicBezTo>
                  <a:pt x="1275" y="9276"/>
                  <a:pt x="1203" y="9192"/>
                  <a:pt x="1096" y="9192"/>
                </a:cubicBezTo>
                <a:cubicBezTo>
                  <a:pt x="1001" y="9192"/>
                  <a:pt x="918" y="9264"/>
                  <a:pt x="918" y="9371"/>
                </a:cubicBezTo>
                <a:lnTo>
                  <a:pt x="918" y="9954"/>
                </a:lnTo>
                <a:cubicBezTo>
                  <a:pt x="918" y="11097"/>
                  <a:pt x="1846" y="12014"/>
                  <a:pt x="2989" y="12014"/>
                </a:cubicBezTo>
                <a:cubicBezTo>
                  <a:pt x="4132" y="12014"/>
                  <a:pt x="5061" y="11097"/>
                  <a:pt x="5061" y="9954"/>
                </a:cubicBezTo>
                <a:lnTo>
                  <a:pt x="5061" y="2227"/>
                </a:lnTo>
                <a:lnTo>
                  <a:pt x="5085" y="2227"/>
                </a:lnTo>
                <a:cubicBezTo>
                  <a:pt x="5597" y="2227"/>
                  <a:pt x="5990" y="1822"/>
                  <a:pt x="5990" y="1322"/>
                </a:cubicBezTo>
                <a:lnTo>
                  <a:pt x="5990" y="929"/>
                </a:lnTo>
                <a:cubicBezTo>
                  <a:pt x="6002" y="429"/>
                  <a:pt x="5597" y="24"/>
                  <a:pt x="5085" y="24"/>
                </a:cubicBezTo>
                <a:lnTo>
                  <a:pt x="4525" y="24"/>
                </a:lnTo>
                <a:cubicBezTo>
                  <a:pt x="4430" y="24"/>
                  <a:pt x="4347" y="96"/>
                  <a:pt x="4347" y="203"/>
                </a:cubicBezTo>
                <a:cubicBezTo>
                  <a:pt x="4347" y="286"/>
                  <a:pt x="4418" y="382"/>
                  <a:pt x="4525" y="382"/>
                </a:cubicBezTo>
                <a:lnTo>
                  <a:pt x="5085" y="382"/>
                </a:lnTo>
                <a:cubicBezTo>
                  <a:pt x="5406" y="382"/>
                  <a:pt x="5656" y="632"/>
                  <a:pt x="5656" y="941"/>
                </a:cubicBezTo>
                <a:lnTo>
                  <a:pt x="5656" y="1287"/>
                </a:lnTo>
                <a:cubicBezTo>
                  <a:pt x="5656" y="1596"/>
                  <a:pt x="5406" y="1846"/>
                  <a:pt x="5085" y="1846"/>
                </a:cubicBezTo>
                <a:lnTo>
                  <a:pt x="906" y="1846"/>
                </a:lnTo>
                <a:cubicBezTo>
                  <a:pt x="596" y="1846"/>
                  <a:pt x="334" y="1596"/>
                  <a:pt x="334" y="1287"/>
                </a:cubicBezTo>
                <a:lnTo>
                  <a:pt x="334" y="929"/>
                </a:lnTo>
                <a:cubicBezTo>
                  <a:pt x="334" y="620"/>
                  <a:pt x="596" y="370"/>
                  <a:pt x="906" y="370"/>
                </a:cubicBezTo>
                <a:lnTo>
                  <a:pt x="3870" y="370"/>
                </a:lnTo>
                <a:cubicBezTo>
                  <a:pt x="3954" y="370"/>
                  <a:pt x="4049" y="286"/>
                  <a:pt x="4049" y="191"/>
                </a:cubicBezTo>
                <a:cubicBezTo>
                  <a:pt x="4049" y="96"/>
                  <a:pt x="3966"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47" name="Google Shape;10447;p59"/>
          <p:cNvGrpSpPr/>
          <p:nvPr/>
        </p:nvGrpSpPr>
        <p:grpSpPr>
          <a:xfrm>
            <a:off x="3510335" y="2892499"/>
            <a:ext cx="360726" cy="361204"/>
            <a:chOff x="3510335" y="2892499"/>
            <a:chExt cx="360726" cy="361204"/>
          </a:xfrm>
        </p:grpSpPr>
        <p:sp>
          <p:nvSpPr>
            <p:cNvPr id="10448" name="Google Shape;10448;p59"/>
            <p:cNvSpPr/>
            <p:nvPr/>
          </p:nvSpPr>
          <p:spPr>
            <a:xfrm>
              <a:off x="3511864" y="2892499"/>
              <a:ext cx="359197" cy="358751"/>
            </a:xfrm>
            <a:custGeom>
              <a:avLst/>
              <a:gdLst/>
              <a:ahLst/>
              <a:cxnLst/>
              <a:rect l="l" t="t" r="r" b="b"/>
              <a:pathLst>
                <a:path w="11276" h="11262" extrusionOk="0">
                  <a:moveTo>
                    <a:pt x="2035" y="8898"/>
                  </a:moveTo>
                  <a:cubicBezTo>
                    <a:pt x="2132" y="8898"/>
                    <a:pt x="2227" y="8934"/>
                    <a:pt x="2298" y="9005"/>
                  </a:cubicBezTo>
                  <a:cubicBezTo>
                    <a:pt x="2453" y="9160"/>
                    <a:pt x="2453" y="9398"/>
                    <a:pt x="2298" y="9541"/>
                  </a:cubicBezTo>
                  <a:cubicBezTo>
                    <a:pt x="2227" y="9618"/>
                    <a:pt x="2132" y="9657"/>
                    <a:pt x="2035" y="9657"/>
                  </a:cubicBezTo>
                  <a:cubicBezTo>
                    <a:pt x="1938" y="9657"/>
                    <a:pt x="1840" y="9618"/>
                    <a:pt x="1763" y="9541"/>
                  </a:cubicBezTo>
                  <a:cubicBezTo>
                    <a:pt x="1620" y="9398"/>
                    <a:pt x="1620" y="9160"/>
                    <a:pt x="1763" y="9005"/>
                  </a:cubicBezTo>
                  <a:cubicBezTo>
                    <a:pt x="1840" y="8934"/>
                    <a:pt x="1938" y="8898"/>
                    <a:pt x="2035" y="8898"/>
                  </a:cubicBezTo>
                  <a:close/>
                  <a:moveTo>
                    <a:pt x="10477" y="1"/>
                  </a:moveTo>
                  <a:cubicBezTo>
                    <a:pt x="10261" y="1"/>
                    <a:pt x="10042" y="82"/>
                    <a:pt x="9871" y="254"/>
                  </a:cubicBezTo>
                  <a:lnTo>
                    <a:pt x="6882" y="3243"/>
                  </a:lnTo>
                  <a:cubicBezTo>
                    <a:pt x="6716" y="3196"/>
                    <a:pt x="6544" y="3172"/>
                    <a:pt x="6368" y="3172"/>
                  </a:cubicBezTo>
                  <a:cubicBezTo>
                    <a:pt x="6053" y="3172"/>
                    <a:pt x="5727" y="3249"/>
                    <a:pt x="5406" y="3409"/>
                  </a:cubicBezTo>
                  <a:cubicBezTo>
                    <a:pt x="5204" y="3516"/>
                    <a:pt x="4668" y="3766"/>
                    <a:pt x="4013" y="4040"/>
                  </a:cubicBezTo>
                  <a:cubicBezTo>
                    <a:pt x="3906" y="4076"/>
                    <a:pt x="3858" y="4195"/>
                    <a:pt x="3906" y="4290"/>
                  </a:cubicBezTo>
                  <a:cubicBezTo>
                    <a:pt x="3942" y="4371"/>
                    <a:pt x="4017" y="4411"/>
                    <a:pt x="4088" y="4411"/>
                  </a:cubicBezTo>
                  <a:cubicBezTo>
                    <a:pt x="4112" y="4411"/>
                    <a:pt x="4135" y="4406"/>
                    <a:pt x="4156" y="4398"/>
                  </a:cubicBezTo>
                  <a:cubicBezTo>
                    <a:pt x="4834" y="4124"/>
                    <a:pt x="5382" y="3862"/>
                    <a:pt x="5585" y="3755"/>
                  </a:cubicBezTo>
                  <a:cubicBezTo>
                    <a:pt x="5849" y="3621"/>
                    <a:pt x="6112" y="3561"/>
                    <a:pt x="6358" y="3561"/>
                  </a:cubicBezTo>
                  <a:cubicBezTo>
                    <a:pt x="7385" y="3561"/>
                    <a:pt x="8130" y="4607"/>
                    <a:pt x="7573" y="5731"/>
                  </a:cubicBezTo>
                  <a:cubicBezTo>
                    <a:pt x="7418" y="6029"/>
                    <a:pt x="6930" y="7053"/>
                    <a:pt x="6573" y="8100"/>
                  </a:cubicBezTo>
                  <a:cubicBezTo>
                    <a:pt x="6454" y="8469"/>
                    <a:pt x="6358" y="8803"/>
                    <a:pt x="6299" y="9100"/>
                  </a:cubicBezTo>
                  <a:lnTo>
                    <a:pt x="2227" y="5017"/>
                  </a:lnTo>
                  <a:cubicBezTo>
                    <a:pt x="2572" y="4945"/>
                    <a:pt x="2965" y="4838"/>
                    <a:pt x="3418" y="4671"/>
                  </a:cubicBezTo>
                  <a:cubicBezTo>
                    <a:pt x="3525" y="4648"/>
                    <a:pt x="3584" y="4528"/>
                    <a:pt x="3537" y="4421"/>
                  </a:cubicBezTo>
                  <a:cubicBezTo>
                    <a:pt x="3509" y="4340"/>
                    <a:pt x="3434" y="4286"/>
                    <a:pt x="3352" y="4286"/>
                  </a:cubicBezTo>
                  <a:cubicBezTo>
                    <a:pt x="3326" y="4286"/>
                    <a:pt x="3300" y="4291"/>
                    <a:pt x="3275" y="4302"/>
                  </a:cubicBezTo>
                  <a:cubicBezTo>
                    <a:pt x="2656" y="4517"/>
                    <a:pt x="2203" y="4636"/>
                    <a:pt x="1870" y="4671"/>
                  </a:cubicBezTo>
                  <a:lnTo>
                    <a:pt x="1453" y="4255"/>
                  </a:lnTo>
                  <a:cubicBezTo>
                    <a:pt x="1298" y="4100"/>
                    <a:pt x="1090" y="4022"/>
                    <a:pt x="880" y="4022"/>
                  </a:cubicBezTo>
                  <a:cubicBezTo>
                    <a:pt x="670" y="4022"/>
                    <a:pt x="459" y="4100"/>
                    <a:pt x="298" y="4255"/>
                  </a:cubicBezTo>
                  <a:cubicBezTo>
                    <a:pt x="84" y="4481"/>
                    <a:pt x="1" y="4826"/>
                    <a:pt x="120" y="5136"/>
                  </a:cubicBezTo>
                  <a:cubicBezTo>
                    <a:pt x="157" y="5219"/>
                    <a:pt x="230" y="5266"/>
                    <a:pt x="311" y="5266"/>
                  </a:cubicBezTo>
                  <a:cubicBezTo>
                    <a:pt x="334" y="5266"/>
                    <a:pt x="358" y="5263"/>
                    <a:pt x="382" y="5255"/>
                  </a:cubicBezTo>
                  <a:cubicBezTo>
                    <a:pt x="489" y="5207"/>
                    <a:pt x="524" y="5112"/>
                    <a:pt x="501" y="5005"/>
                  </a:cubicBezTo>
                  <a:cubicBezTo>
                    <a:pt x="379" y="4700"/>
                    <a:pt x="626" y="4433"/>
                    <a:pt x="894" y="4433"/>
                  </a:cubicBezTo>
                  <a:cubicBezTo>
                    <a:pt x="992" y="4433"/>
                    <a:pt x="1093" y="4469"/>
                    <a:pt x="1179" y="4552"/>
                  </a:cubicBezTo>
                  <a:lnTo>
                    <a:pt x="6799" y="10172"/>
                  </a:lnTo>
                  <a:cubicBezTo>
                    <a:pt x="6954" y="10327"/>
                    <a:pt x="6954" y="10601"/>
                    <a:pt x="6799" y="10744"/>
                  </a:cubicBezTo>
                  <a:cubicBezTo>
                    <a:pt x="6716" y="10827"/>
                    <a:pt x="6606" y="10869"/>
                    <a:pt x="6498" y="10869"/>
                  </a:cubicBezTo>
                  <a:cubicBezTo>
                    <a:pt x="6391" y="10869"/>
                    <a:pt x="6287" y="10827"/>
                    <a:pt x="6216" y="10744"/>
                  </a:cubicBezTo>
                  <a:lnTo>
                    <a:pt x="989" y="5529"/>
                  </a:lnTo>
                  <a:cubicBezTo>
                    <a:pt x="953" y="5487"/>
                    <a:pt x="902" y="5466"/>
                    <a:pt x="850" y="5466"/>
                  </a:cubicBezTo>
                  <a:cubicBezTo>
                    <a:pt x="798" y="5466"/>
                    <a:pt x="745" y="5487"/>
                    <a:pt x="703" y="5529"/>
                  </a:cubicBezTo>
                  <a:cubicBezTo>
                    <a:pt x="632" y="5600"/>
                    <a:pt x="632" y="5731"/>
                    <a:pt x="703" y="5802"/>
                  </a:cubicBezTo>
                  <a:lnTo>
                    <a:pt x="2977" y="8088"/>
                  </a:lnTo>
                  <a:lnTo>
                    <a:pt x="2441" y="8624"/>
                  </a:lnTo>
                  <a:cubicBezTo>
                    <a:pt x="2319" y="8551"/>
                    <a:pt x="2182" y="8513"/>
                    <a:pt x="2046" y="8513"/>
                  </a:cubicBezTo>
                  <a:cubicBezTo>
                    <a:pt x="1852" y="8513"/>
                    <a:pt x="1660" y="8589"/>
                    <a:pt x="1513" y="8743"/>
                  </a:cubicBezTo>
                  <a:cubicBezTo>
                    <a:pt x="1215" y="9041"/>
                    <a:pt x="1215" y="9541"/>
                    <a:pt x="1513" y="9839"/>
                  </a:cubicBezTo>
                  <a:cubicBezTo>
                    <a:pt x="1661" y="9987"/>
                    <a:pt x="1861" y="10062"/>
                    <a:pt x="2060" y="10062"/>
                  </a:cubicBezTo>
                  <a:cubicBezTo>
                    <a:pt x="2260" y="10062"/>
                    <a:pt x="2459" y="9987"/>
                    <a:pt x="2608" y="9839"/>
                  </a:cubicBezTo>
                  <a:cubicBezTo>
                    <a:pt x="2870" y="9589"/>
                    <a:pt x="2906" y="9196"/>
                    <a:pt x="2727" y="8898"/>
                  </a:cubicBezTo>
                  <a:lnTo>
                    <a:pt x="3263" y="8362"/>
                  </a:lnTo>
                  <a:lnTo>
                    <a:pt x="5930" y="11029"/>
                  </a:lnTo>
                  <a:cubicBezTo>
                    <a:pt x="6085" y="11184"/>
                    <a:pt x="6293" y="11261"/>
                    <a:pt x="6501" y="11261"/>
                  </a:cubicBezTo>
                  <a:cubicBezTo>
                    <a:pt x="6710" y="11261"/>
                    <a:pt x="6918" y="11184"/>
                    <a:pt x="7073" y="11029"/>
                  </a:cubicBezTo>
                  <a:cubicBezTo>
                    <a:pt x="7359" y="10696"/>
                    <a:pt x="7359" y="10184"/>
                    <a:pt x="7049" y="9874"/>
                  </a:cubicBezTo>
                  <a:lnTo>
                    <a:pt x="6632" y="9458"/>
                  </a:lnTo>
                  <a:cubicBezTo>
                    <a:pt x="6751" y="8529"/>
                    <a:pt x="7299" y="7136"/>
                    <a:pt x="7906" y="5910"/>
                  </a:cubicBezTo>
                  <a:cubicBezTo>
                    <a:pt x="8168" y="5421"/>
                    <a:pt x="8204" y="4898"/>
                    <a:pt x="8073" y="4433"/>
                  </a:cubicBezTo>
                  <a:lnTo>
                    <a:pt x="11109" y="1397"/>
                  </a:lnTo>
                  <a:cubicBezTo>
                    <a:pt x="11181" y="1314"/>
                    <a:pt x="11169" y="1195"/>
                    <a:pt x="11097" y="1123"/>
                  </a:cubicBezTo>
                  <a:cubicBezTo>
                    <a:pt x="11055" y="1086"/>
                    <a:pt x="11008" y="1070"/>
                    <a:pt x="10963" y="1070"/>
                  </a:cubicBezTo>
                  <a:cubicBezTo>
                    <a:pt x="10906" y="1070"/>
                    <a:pt x="10851" y="1095"/>
                    <a:pt x="10811" y="1135"/>
                  </a:cubicBezTo>
                  <a:cubicBezTo>
                    <a:pt x="10800" y="1147"/>
                    <a:pt x="10990" y="969"/>
                    <a:pt x="7906" y="4040"/>
                  </a:cubicBezTo>
                  <a:cubicBezTo>
                    <a:pt x="7763" y="3778"/>
                    <a:pt x="7537" y="3564"/>
                    <a:pt x="7275" y="3409"/>
                  </a:cubicBezTo>
                  <a:lnTo>
                    <a:pt x="10157" y="528"/>
                  </a:lnTo>
                  <a:cubicBezTo>
                    <a:pt x="10248" y="437"/>
                    <a:pt x="10365" y="393"/>
                    <a:pt x="10480" y="393"/>
                  </a:cubicBezTo>
                  <a:cubicBezTo>
                    <a:pt x="10636" y="393"/>
                    <a:pt x="10789" y="473"/>
                    <a:pt x="10871" y="623"/>
                  </a:cubicBezTo>
                  <a:cubicBezTo>
                    <a:pt x="10912" y="690"/>
                    <a:pt x="10983" y="733"/>
                    <a:pt x="11054" y="733"/>
                  </a:cubicBezTo>
                  <a:cubicBezTo>
                    <a:pt x="11085" y="733"/>
                    <a:pt x="11116" y="725"/>
                    <a:pt x="11145" y="707"/>
                  </a:cubicBezTo>
                  <a:cubicBezTo>
                    <a:pt x="11228" y="647"/>
                    <a:pt x="11276" y="528"/>
                    <a:pt x="11216" y="433"/>
                  </a:cubicBezTo>
                  <a:cubicBezTo>
                    <a:pt x="11058" y="152"/>
                    <a:pt x="10770" y="1"/>
                    <a:pt x="10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9" name="Google Shape;10449;p59"/>
            <p:cNvSpPr/>
            <p:nvPr/>
          </p:nvSpPr>
          <p:spPr>
            <a:xfrm>
              <a:off x="3510335" y="2959936"/>
              <a:ext cx="176413" cy="43291"/>
            </a:xfrm>
            <a:custGeom>
              <a:avLst/>
              <a:gdLst/>
              <a:ahLst/>
              <a:cxnLst/>
              <a:rect l="l" t="t" r="r" b="b"/>
              <a:pathLst>
                <a:path w="5538" h="1359" extrusionOk="0">
                  <a:moveTo>
                    <a:pt x="3439" y="0"/>
                  </a:moveTo>
                  <a:cubicBezTo>
                    <a:pt x="2239" y="0"/>
                    <a:pt x="999" y="350"/>
                    <a:pt x="96" y="995"/>
                  </a:cubicBezTo>
                  <a:cubicBezTo>
                    <a:pt x="13" y="1054"/>
                    <a:pt x="1" y="1185"/>
                    <a:pt x="60" y="1280"/>
                  </a:cubicBezTo>
                  <a:cubicBezTo>
                    <a:pt x="96" y="1330"/>
                    <a:pt x="156" y="1358"/>
                    <a:pt x="217" y="1358"/>
                  </a:cubicBezTo>
                  <a:cubicBezTo>
                    <a:pt x="259" y="1358"/>
                    <a:pt x="300" y="1345"/>
                    <a:pt x="334" y="1316"/>
                  </a:cubicBezTo>
                  <a:cubicBezTo>
                    <a:pt x="965" y="876"/>
                    <a:pt x="1787" y="578"/>
                    <a:pt x="2656" y="459"/>
                  </a:cubicBezTo>
                  <a:cubicBezTo>
                    <a:pt x="2927" y="424"/>
                    <a:pt x="3196" y="407"/>
                    <a:pt x="3459" y="407"/>
                  </a:cubicBezTo>
                  <a:cubicBezTo>
                    <a:pt x="4099" y="407"/>
                    <a:pt x="4708" y="510"/>
                    <a:pt x="5240" y="721"/>
                  </a:cubicBezTo>
                  <a:cubicBezTo>
                    <a:pt x="5258" y="729"/>
                    <a:pt x="5279" y="733"/>
                    <a:pt x="5300" y="733"/>
                  </a:cubicBezTo>
                  <a:cubicBezTo>
                    <a:pt x="5373" y="733"/>
                    <a:pt x="5453" y="687"/>
                    <a:pt x="5490" y="614"/>
                  </a:cubicBezTo>
                  <a:cubicBezTo>
                    <a:pt x="5537" y="506"/>
                    <a:pt x="5478" y="387"/>
                    <a:pt x="5383" y="352"/>
                  </a:cubicBezTo>
                  <a:cubicBezTo>
                    <a:pt x="4795" y="114"/>
                    <a:pt x="4123" y="0"/>
                    <a:pt x="34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0" name="Google Shape;10450;p59"/>
            <p:cNvSpPr/>
            <p:nvPr/>
          </p:nvSpPr>
          <p:spPr>
            <a:xfrm>
              <a:off x="3530435" y="2920213"/>
              <a:ext cx="133918" cy="35072"/>
            </a:xfrm>
            <a:custGeom>
              <a:avLst/>
              <a:gdLst/>
              <a:ahLst/>
              <a:cxnLst/>
              <a:rect l="l" t="t" r="r" b="b"/>
              <a:pathLst>
                <a:path w="4204" h="1101" extrusionOk="0">
                  <a:moveTo>
                    <a:pt x="2585" y="0"/>
                  </a:moveTo>
                  <a:cubicBezTo>
                    <a:pt x="1695" y="0"/>
                    <a:pt x="780" y="258"/>
                    <a:pt x="108" y="741"/>
                  </a:cubicBezTo>
                  <a:cubicBezTo>
                    <a:pt x="13" y="801"/>
                    <a:pt x="1" y="932"/>
                    <a:pt x="60" y="1027"/>
                  </a:cubicBezTo>
                  <a:cubicBezTo>
                    <a:pt x="95" y="1076"/>
                    <a:pt x="158" y="1100"/>
                    <a:pt x="221" y="1100"/>
                  </a:cubicBezTo>
                  <a:cubicBezTo>
                    <a:pt x="266" y="1100"/>
                    <a:pt x="311" y="1088"/>
                    <a:pt x="346" y="1063"/>
                  </a:cubicBezTo>
                  <a:cubicBezTo>
                    <a:pt x="955" y="637"/>
                    <a:pt x="1801" y="405"/>
                    <a:pt x="2613" y="405"/>
                  </a:cubicBezTo>
                  <a:cubicBezTo>
                    <a:pt x="3071" y="405"/>
                    <a:pt x="3519" y="479"/>
                    <a:pt x="3906" y="634"/>
                  </a:cubicBezTo>
                  <a:cubicBezTo>
                    <a:pt x="3925" y="642"/>
                    <a:pt x="3945" y="646"/>
                    <a:pt x="3966" y="646"/>
                  </a:cubicBezTo>
                  <a:cubicBezTo>
                    <a:pt x="4039" y="646"/>
                    <a:pt x="4119" y="599"/>
                    <a:pt x="4156" y="515"/>
                  </a:cubicBezTo>
                  <a:cubicBezTo>
                    <a:pt x="4204" y="408"/>
                    <a:pt x="4144" y="289"/>
                    <a:pt x="4049" y="265"/>
                  </a:cubicBezTo>
                  <a:cubicBezTo>
                    <a:pt x="3604" y="86"/>
                    <a:pt x="3099" y="0"/>
                    <a:pt x="2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1" name="Google Shape;10451;p59"/>
            <p:cNvSpPr/>
            <p:nvPr/>
          </p:nvSpPr>
          <p:spPr>
            <a:xfrm>
              <a:off x="3761416" y="3078787"/>
              <a:ext cx="53134" cy="174916"/>
            </a:xfrm>
            <a:custGeom>
              <a:avLst/>
              <a:gdLst/>
              <a:ahLst/>
              <a:cxnLst/>
              <a:rect l="l" t="t" r="r" b="b"/>
              <a:pathLst>
                <a:path w="1668" h="5491" extrusionOk="0">
                  <a:moveTo>
                    <a:pt x="830" y="1"/>
                  </a:moveTo>
                  <a:cubicBezTo>
                    <a:pt x="807" y="1"/>
                    <a:pt x="784" y="5"/>
                    <a:pt x="763" y="14"/>
                  </a:cubicBezTo>
                  <a:cubicBezTo>
                    <a:pt x="656" y="62"/>
                    <a:pt x="608" y="181"/>
                    <a:pt x="656" y="276"/>
                  </a:cubicBezTo>
                  <a:cubicBezTo>
                    <a:pt x="953" y="1002"/>
                    <a:pt x="1061" y="1919"/>
                    <a:pt x="918" y="2848"/>
                  </a:cubicBezTo>
                  <a:cubicBezTo>
                    <a:pt x="799" y="3717"/>
                    <a:pt x="501" y="4550"/>
                    <a:pt x="60" y="5169"/>
                  </a:cubicBezTo>
                  <a:cubicBezTo>
                    <a:pt x="1" y="5253"/>
                    <a:pt x="13" y="5372"/>
                    <a:pt x="108" y="5443"/>
                  </a:cubicBezTo>
                  <a:cubicBezTo>
                    <a:pt x="136" y="5476"/>
                    <a:pt x="174" y="5491"/>
                    <a:pt x="213" y="5491"/>
                  </a:cubicBezTo>
                  <a:cubicBezTo>
                    <a:pt x="272" y="5491"/>
                    <a:pt x="334" y="5458"/>
                    <a:pt x="370" y="5407"/>
                  </a:cubicBezTo>
                  <a:cubicBezTo>
                    <a:pt x="1370" y="3991"/>
                    <a:pt x="1668" y="1740"/>
                    <a:pt x="1013" y="121"/>
                  </a:cubicBezTo>
                  <a:cubicBezTo>
                    <a:pt x="977" y="41"/>
                    <a:pt x="901"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2" name="Google Shape;10452;p59"/>
            <p:cNvSpPr/>
            <p:nvPr/>
          </p:nvSpPr>
          <p:spPr>
            <a:xfrm>
              <a:off x="3809230" y="3100990"/>
              <a:ext cx="42877" cy="132326"/>
            </a:xfrm>
            <a:custGeom>
              <a:avLst/>
              <a:gdLst/>
              <a:ahLst/>
              <a:cxnLst/>
              <a:rect l="l" t="t" r="r" b="b"/>
              <a:pathLst>
                <a:path w="1346" h="4154" extrusionOk="0">
                  <a:moveTo>
                    <a:pt x="674" y="1"/>
                  </a:moveTo>
                  <a:cubicBezTo>
                    <a:pt x="647" y="1"/>
                    <a:pt x="620" y="7"/>
                    <a:pt x="595" y="19"/>
                  </a:cubicBezTo>
                  <a:cubicBezTo>
                    <a:pt x="488" y="67"/>
                    <a:pt x="452" y="186"/>
                    <a:pt x="488" y="269"/>
                  </a:cubicBezTo>
                  <a:cubicBezTo>
                    <a:pt x="929" y="1365"/>
                    <a:pt x="750" y="2877"/>
                    <a:pt x="60" y="3829"/>
                  </a:cubicBezTo>
                  <a:cubicBezTo>
                    <a:pt x="0" y="3925"/>
                    <a:pt x="24" y="4044"/>
                    <a:pt x="107" y="4115"/>
                  </a:cubicBezTo>
                  <a:cubicBezTo>
                    <a:pt x="134" y="4142"/>
                    <a:pt x="170" y="4153"/>
                    <a:pt x="209" y="4153"/>
                  </a:cubicBezTo>
                  <a:cubicBezTo>
                    <a:pt x="273" y="4153"/>
                    <a:pt x="344" y="4120"/>
                    <a:pt x="381" y="4068"/>
                  </a:cubicBezTo>
                  <a:cubicBezTo>
                    <a:pt x="1119" y="3008"/>
                    <a:pt x="1345" y="1341"/>
                    <a:pt x="857" y="127"/>
                  </a:cubicBezTo>
                  <a:cubicBezTo>
                    <a:pt x="822" y="48"/>
                    <a:pt x="748" y="1"/>
                    <a:pt x="6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53" name="Google Shape;10453;p59"/>
          <p:cNvGrpSpPr/>
          <p:nvPr/>
        </p:nvGrpSpPr>
        <p:grpSpPr>
          <a:xfrm>
            <a:off x="3086313" y="2877049"/>
            <a:ext cx="320143" cy="392581"/>
            <a:chOff x="3086313" y="2877049"/>
            <a:chExt cx="320143" cy="392581"/>
          </a:xfrm>
        </p:grpSpPr>
        <p:sp>
          <p:nvSpPr>
            <p:cNvPr id="10454" name="Google Shape;10454;p59"/>
            <p:cNvSpPr/>
            <p:nvPr/>
          </p:nvSpPr>
          <p:spPr>
            <a:xfrm>
              <a:off x="3125749" y="2915371"/>
              <a:ext cx="240505" cy="354259"/>
            </a:xfrm>
            <a:custGeom>
              <a:avLst/>
              <a:gdLst/>
              <a:ahLst/>
              <a:cxnLst/>
              <a:rect l="l" t="t" r="r" b="b"/>
              <a:pathLst>
                <a:path w="7550" h="11121" extrusionOk="0">
                  <a:moveTo>
                    <a:pt x="3775" y="2929"/>
                  </a:moveTo>
                  <a:lnTo>
                    <a:pt x="3918" y="3120"/>
                  </a:lnTo>
                  <a:cubicBezTo>
                    <a:pt x="3871" y="3144"/>
                    <a:pt x="3823" y="3144"/>
                    <a:pt x="3775" y="3144"/>
                  </a:cubicBezTo>
                  <a:cubicBezTo>
                    <a:pt x="3740" y="3132"/>
                    <a:pt x="3692" y="3120"/>
                    <a:pt x="3644" y="3120"/>
                  </a:cubicBezTo>
                  <a:lnTo>
                    <a:pt x="3775" y="2929"/>
                  </a:lnTo>
                  <a:close/>
                  <a:moveTo>
                    <a:pt x="4168" y="3501"/>
                  </a:moveTo>
                  <a:lnTo>
                    <a:pt x="4299" y="3703"/>
                  </a:lnTo>
                  <a:cubicBezTo>
                    <a:pt x="4126" y="3751"/>
                    <a:pt x="3948" y="3775"/>
                    <a:pt x="3769" y="3775"/>
                  </a:cubicBezTo>
                  <a:cubicBezTo>
                    <a:pt x="3591" y="3775"/>
                    <a:pt x="3412" y="3751"/>
                    <a:pt x="3239" y="3703"/>
                  </a:cubicBezTo>
                  <a:lnTo>
                    <a:pt x="3382" y="3501"/>
                  </a:lnTo>
                  <a:cubicBezTo>
                    <a:pt x="3513" y="3560"/>
                    <a:pt x="3644" y="3572"/>
                    <a:pt x="3775" y="3572"/>
                  </a:cubicBezTo>
                  <a:cubicBezTo>
                    <a:pt x="3918" y="3572"/>
                    <a:pt x="4049" y="3537"/>
                    <a:pt x="4168" y="3501"/>
                  </a:cubicBezTo>
                  <a:close/>
                  <a:moveTo>
                    <a:pt x="3120" y="4132"/>
                  </a:moveTo>
                  <a:cubicBezTo>
                    <a:pt x="3275" y="4180"/>
                    <a:pt x="3418" y="4191"/>
                    <a:pt x="3561" y="4215"/>
                  </a:cubicBezTo>
                  <a:lnTo>
                    <a:pt x="3561" y="8109"/>
                  </a:lnTo>
                  <a:lnTo>
                    <a:pt x="3120" y="8109"/>
                  </a:lnTo>
                  <a:lnTo>
                    <a:pt x="3120" y="4132"/>
                  </a:lnTo>
                  <a:close/>
                  <a:moveTo>
                    <a:pt x="4430" y="4132"/>
                  </a:moveTo>
                  <a:lnTo>
                    <a:pt x="4430" y="8109"/>
                  </a:lnTo>
                  <a:lnTo>
                    <a:pt x="4001" y="8109"/>
                  </a:lnTo>
                  <a:lnTo>
                    <a:pt x="4001" y="4215"/>
                  </a:lnTo>
                  <a:cubicBezTo>
                    <a:pt x="4156" y="4191"/>
                    <a:pt x="4287" y="4180"/>
                    <a:pt x="4430" y="4132"/>
                  </a:cubicBezTo>
                  <a:close/>
                  <a:moveTo>
                    <a:pt x="3799" y="441"/>
                  </a:moveTo>
                  <a:cubicBezTo>
                    <a:pt x="4668" y="441"/>
                    <a:pt x="5490" y="786"/>
                    <a:pt x="6121" y="1394"/>
                  </a:cubicBezTo>
                  <a:cubicBezTo>
                    <a:pt x="6752" y="2025"/>
                    <a:pt x="7097" y="2858"/>
                    <a:pt x="7097" y="3751"/>
                  </a:cubicBezTo>
                  <a:cubicBezTo>
                    <a:pt x="7097" y="4620"/>
                    <a:pt x="6752" y="5442"/>
                    <a:pt x="6157" y="6073"/>
                  </a:cubicBezTo>
                  <a:cubicBezTo>
                    <a:pt x="5609" y="6632"/>
                    <a:pt x="5299" y="7347"/>
                    <a:pt x="5240" y="8109"/>
                  </a:cubicBezTo>
                  <a:lnTo>
                    <a:pt x="4883" y="8109"/>
                  </a:lnTo>
                  <a:lnTo>
                    <a:pt x="4883" y="3822"/>
                  </a:lnTo>
                  <a:cubicBezTo>
                    <a:pt x="4883" y="3775"/>
                    <a:pt x="4871" y="3739"/>
                    <a:pt x="4835" y="3703"/>
                  </a:cubicBezTo>
                  <a:lnTo>
                    <a:pt x="3978" y="2406"/>
                  </a:lnTo>
                  <a:cubicBezTo>
                    <a:pt x="3930" y="2346"/>
                    <a:pt x="3871" y="2310"/>
                    <a:pt x="3799" y="2310"/>
                  </a:cubicBezTo>
                  <a:cubicBezTo>
                    <a:pt x="3716" y="2310"/>
                    <a:pt x="3644" y="2334"/>
                    <a:pt x="3620" y="2406"/>
                  </a:cubicBezTo>
                  <a:lnTo>
                    <a:pt x="2751" y="3703"/>
                  </a:lnTo>
                  <a:cubicBezTo>
                    <a:pt x="2728" y="3739"/>
                    <a:pt x="2704" y="3775"/>
                    <a:pt x="2704" y="3822"/>
                  </a:cubicBezTo>
                  <a:lnTo>
                    <a:pt x="2704" y="8109"/>
                  </a:lnTo>
                  <a:lnTo>
                    <a:pt x="2347" y="8109"/>
                  </a:lnTo>
                  <a:cubicBezTo>
                    <a:pt x="2287" y="7347"/>
                    <a:pt x="1977" y="6632"/>
                    <a:pt x="1430" y="6073"/>
                  </a:cubicBezTo>
                  <a:cubicBezTo>
                    <a:pt x="834" y="5465"/>
                    <a:pt x="501" y="4656"/>
                    <a:pt x="489" y="3810"/>
                  </a:cubicBezTo>
                  <a:cubicBezTo>
                    <a:pt x="477" y="2929"/>
                    <a:pt x="823" y="2096"/>
                    <a:pt x="1430" y="1453"/>
                  </a:cubicBezTo>
                  <a:cubicBezTo>
                    <a:pt x="2049" y="822"/>
                    <a:pt x="2870" y="453"/>
                    <a:pt x="3751" y="441"/>
                  </a:cubicBezTo>
                  <a:close/>
                  <a:moveTo>
                    <a:pt x="5228" y="8561"/>
                  </a:moveTo>
                  <a:lnTo>
                    <a:pt x="5228" y="8835"/>
                  </a:lnTo>
                  <a:lnTo>
                    <a:pt x="5228" y="8883"/>
                  </a:lnTo>
                  <a:lnTo>
                    <a:pt x="2335" y="8883"/>
                  </a:lnTo>
                  <a:lnTo>
                    <a:pt x="2335" y="8835"/>
                  </a:lnTo>
                  <a:lnTo>
                    <a:pt x="2335" y="8561"/>
                  </a:lnTo>
                  <a:close/>
                  <a:moveTo>
                    <a:pt x="5121" y="9311"/>
                  </a:moveTo>
                  <a:cubicBezTo>
                    <a:pt x="4942" y="9752"/>
                    <a:pt x="4525" y="10026"/>
                    <a:pt x="4037" y="10026"/>
                  </a:cubicBezTo>
                  <a:lnTo>
                    <a:pt x="3525" y="10026"/>
                  </a:lnTo>
                  <a:cubicBezTo>
                    <a:pt x="3037" y="10026"/>
                    <a:pt x="2620" y="9728"/>
                    <a:pt x="2442" y="9311"/>
                  </a:cubicBezTo>
                  <a:close/>
                  <a:moveTo>
                    <a:pt x="4049" y="10478"/>
                  </a:moveTo>
                  <a:cubicBezTo>
                    <a:pt x="4061" y="10478"/>
                    <a:pt x="4109" y="10478"/>
                    <a:pt x="4132" y="10490"/>
                  </a:cubicBezTo>
                  <a:cubicBezTo>
                    <a:pt x="4132" y="10597"/>
                    <a:pt x="4049" y="10668"/>
                    <a:pt x="3954" y="10668"/>
                  </a:cubicBezTo>
                  <a:lnTo>
                    <a:pt x="3620" y="10668"/>
                  </a:lnTo>
                  <a:cubicBezTo>
                    <a:pt x="3513" y="10668"/>
                    <a:pt x="3442" y="10585"/>
                    <a:pt x="3442" y="10490"/>
                  </a:cubicBezTo>
                  <a:lnTo>
                    <a:pt x="3442" y="10478"/>
                  </a:lnTo>
                  <a:close/>
                  <a:moveTo>
                    <a:pt x="3762" y="0"/>
                  </a:moveTo>
                  <a:cubicBezTo>
                    <a:pt x="3746" y="0"/>
                    <a:pt x="3731" y="0"/>
                    <a:pt x="3716" y="0"/>
                  </a:cubicBezTo>
                  <a:cubicBezTo>
                    <a:pt x="1656" y="24"/>
                    <a:pt x="1" y="1739"/>
                    <a:pt x="13" y="3810"/>
                  </a:cubicBezTo>
                  <a:cubicBezTo>
                    <a:pt x="25" y="4775"/>
                    <a:pt x="406" y="5680"/>
                    <a:pt x="1073" y="6370"/>
                  </a:cubicBezTo>
                  <a:cubicBezTo>
                    <a:pt x="1596" y="6906"/>
                    <a:pt x="1870" y="7609"/>
                    <a:pt x="1870" y="8335"/>
                  </a:cubicBezTo>
                  <a:lnTo>
                    <a:pt x="1870" y="8835"/>
                  </a:lnTo>
                  <a:cubicBezTo>
                    <a:pt x="1870" y="9549"/>
                    <a:pt x="2335" y="10168"/>
                    <a:pt x="2966" y="10383"/>
                  </a:cubicBezTo>
                  <a:lnTo>
                    <a:pt x="2966" y="10490"/>
                  </a:lnTo>
                  <a:cubicBezTo>
                    <a:pt x="2966" y="10835"/>
                    <a:pt x="3239" y="11121"/>
                    <a:pt x="3585" y="11121"/>
                  </a:cubicBezTo>
                  <a:lnTo>
                    <a:pt x="3930" y="11121"/>
                  </a:lnTo>
                  <a:cubicBezTo>
                    <a:pt x="4275" y="11121"/>
                    <a:pt x="4549" y="10835"/>
                    <a:pt x="4549" y="10490"/>
                  </a:cubicBezTo>
                  <a:lnTo>
                    <a:pt x="4549" y="10383"/>
                  </a:lnTo>
                  <a:cubicBezTo>
                    <a:pt x="5192" y="10168"/>
                    <a:pt x="5645" y="9549"/>
                    <a:pt x="5645" y="8835"/>
                  </a:cubicBezTo>
                  <a:lnTo>
                    <a:pt x="5645" y="8335"/>
                  </a:lnTo>
                  <a:cubicBezTo>
                    <a:pt x="5645" y="7609"/>
                    <a:pt x="5918" y="6918"/>
                    <a:pt x="6442" y="6382"/>
                  </a:cubicBezTo>
                  <a:cubicBezTo>
                    <a:pt x="7133" y="5680"/>
                    <a:pt x="7502" y="4751"/>
                    <a:pt x="7502" y="3763"/>
                  </a:cubicBezTo>
                  <a:cubicBezTo>
                    <a:pt x="7550" y="2751"/>
                    <a:pt x="7145" y="1798"/>
                    <a:pt x="6418" y="1084"/>
                  </a:cubicBezTo>
                  <a:cubicBezTo>
                    <a:pt x="5715" y="380"/>
                    <a:pt x="4757" y="0"/>
                    <a:pt x="3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5" name="Google Shape;10455;p59"/>
            <p:cNvSpPr/>
            <p:nvPr/>
          </p:nvSpPr>
          <p:spPr>
            <a:xfrm>
              <a:off x="3263076" y="2942511"/>
              <a:ext cx="79287" cy="99579"/>
            </a:xfrm>
            <a:custGeom>
              <a:avLst/>
              <a:gdLst/>
              <a:ahLst/>
              <a:cxnLst/>
              <a:rect l="l" t="t" r="r" b="b"/>
              <a:pathLst>
                <a:path w="2489" h="3126" extrusionOk="0">
                  <a:moveTo>
                    <a:pt x="246" y="1"/>
                  </a:moveTo>
                  <a:cubicBezTo>
                    <a:pt x="146" y="1"/>
                    <a:pt x="56" y="59"/>
                    <a:pt x="36" y="161"/>
                  </a:cubicBezTo>
                  <a:cubicBezTo>
                    <a:pt x="0" y="280"/>
                    <a:pt x="60" y="399"/>
                    <a:pt x="179" y="422"/>
                  </a:cubicBezTo>
                  <a:cubicBezTo>
                    <a:pt x="1286" y="744"/>
                    <a:pt x="2048" y="1768"/>
                    <a:pt x="2048" y="2899"/>
                  </a:cubicBezTo>
                  <a:cubicBezTo>
                    <a:pt x="2048" y="3018"/>
                    <a:pt x="2143" y="3125"/>
                    <a:pt x="2262" y="3125"/>
                  </a:cubicBezTo>
                  <a:cubicBezTo>
                    <a:pt x="2381" y="3125"/>
                    <a:pt x="2488" y="3018"/>
                    <a:pt x="2488" y="2899"/>
                  </a:cubicBezTo>
                  <a:cubicBezTo>
                    <a:pt x="2488" y="1577"/>
                    <a:pt x="1595" y="387"/>
                    <a:pt x="298" y="6"/>
                  </a:cubicBezTo>
                  <a:cubicBezTo>
                    <a:pt x="280" y="2"/>
                    <a:pt x="263" y="1"/>
                    <a:pt x="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6" name="Google Shape;10456;p59"/>
            <p:cNvSpPr/>
            <p:nvPr/>
          </p:nvSpPr>
          <p:spPr>
            <a:xfrm>
              <a:off x="3237656" y="2939262"/>
              <a:ext cx="20897" cy="14462"/>
            </a:xfrm>
            <a:custGeom>
              <a:avLst/>
              <a:gdLst/>
              <a:ahLst/>
              <a:cxnLst/>
              <a:rect l="l" t="t" r="r" b="b"/>
              <a:pathLst>
                <a:path w="656" h="454" extrusionOk="0">
                  <a:moveTo>
                    <a:pt x="227" y="1"/>
                  </a:moveTo>
                  <a:cubicBezTo>
                    <a:pt x="107" y="1"/>
                    <a:pt x="0" y="108"/>
                    <a:pt x="0" y="227"/>
                  </a:cubicBezTo>
                  <a:cubicBezTo>
                    <a:pt x="0" y="346"/>
                    <a:pt x="107" y="453"/>
                    <a:pt x="227" y="453"/>
                  </a:cubicBezTo>
                  <a:lnTo>
                    <a:pt x="417" y="453"/>
                  </a:lnTo>
                  <a:cubicBezTo>
                    <a:pt x="536" y="453"/>
                    <a:pt x="619" y="358"/>
                    <a:pt x="643" y="251"/>
                  </a:cubicBezTo>
                  <a:cubicBezTo>
                    <a:pt x="655" y="108"/>
                    <a:pt x="560" y="1"/>
                    <a:pt x="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7" name="Google Shape;10457;p59"/>
            <p:cNvSpPr/>
            <p:nvPr/>
          </p:nvSpPr>
          <p:spPr>
            <a:xfrm>
              <a:off x="3379888" y="3029539"/>
              <a:ext cx="26567" cy="14048"/>
            </a:xfrm>
            <a:custGeom>
              <a:avLst/>
              <a:gdLst/>
              <a:ahLst/>
              <a:cxnLst/>
              <a:rect l="l" t="t" r="r" b="b"/>
              <a:pathLst>
                <a:path w="834" h="441" extrusionOk="0">
                  <a:moveTo>
                    <a:pt x="226" y="0"/>
                  </a:moveTo>
                  <a:cubicBezTo>
                    <a:pt x="107" y="0"/>
                    <a:pt x="0" y="107"/>
                    <a:pt x="0" y="226"/>
                  </a:cubicBezTo>
                  <a:cubicBezTo>
                    <a:pt x="0" y="346"/>
                    <a:pt x="107" y="441"/>
                    <a:pt x="226" y="441"/>
                  </a:cubicBezTo>
                  <a:lnTo>
                    <a:pt x="607" y="441"/>
                  </a:lnTo>
                  <a:cubicBezTo>
                    <a:pt x="726" y="441"/>
                    <a:pt x="834" y="346"/>
                    <a:pt x="834" y="226"/>
                  </a:cubicBezTo>
                  <a:cubicBezTo>
                    <a:pt x="822" y="107"/>
                    <a:pt x="726"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8" name="Google Shape;10458;p59"/>
            <p:cNvSpPr/>
            <p:nvPr/>
          </p:nvSpPr>
          <p:spPr>
            <a:xfrm>
              <a:off x="3086313" y="3029539"/>
              <a:ext cx="26599" cy="14048"/>
            </a:xfrm>
            <a:custGeom>
              <a:avLst/>
              <a:gdLst/>
              <a:ahLst/>
              <a:cxnLst/>
              <a:rect l="l" t="t" r="r" b="b"/>
              <a:pathLst>
                <a:path w="835" h="441" extrusionOk="0">
                  <a:moveTo>
                    <a:pt x="227" y="0"/>
                  </a:moveTo>
                  <a:cubicBezTo>
                    <a:pt x="108" y="0"/>
                    <a:pt x="1" y="107"/>
                    <a:pt x="1" y="226"/>
                  </a:cubicBezTo>
                  <a:cubicBezTo>
                    <a:pt x="1" y="346"/>
                    <a:pt x="108" y="441"/>
                    <a:pt x="227" y="441"/>
                  </a:cubicBezTo>
                  <a:lnTo>
                    <a:pt x="608" y="441"/>
                  </a:lnTo>
                  <a:cubicBezTo>
                    <a:pt x="727" y="441"/>
                    <a:pt x="834" y="346"/>
                    <a:pt x="834" y="226"/>
                  </a:cubicBezTo>
                  <a:cubicBezTo>
                    <a:pt x="834" y="107"/>
                    <a:pt x="727"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9" name="Google Shape;10459;p59"/>
            <p:cNvSpPr/>
            <p:nvPr/>
          </p:nvSpPr>
          <p:spPr>
            <a:xfrm>
              <a:off x="3359788" y="2953469"/>
              <a:ext cx="26567" cy="20355"/>
            </a:xfrm>
            <a:custGeom>
              <a:avLst/>
              <a:gdLst/>
              <a:ahLst/>
              <a:cxnLst/>
              <a:rect l="l" t="t" r="r" b="b"/>
              <a:pathLst>
                <a:path w="834" h="639" extrusionOk="0">
                  <a:moveTo>
                    <a:pt x="594" y="0"/>
                  </a:moveTo>
                  <a:cubicBezTo>
                    <a:pt x="555" y="0"/>
                    <a:pt x="514" y="13"/>
                    <a:pt x="476" y="43"/>
                  </a:cubicBezTo>
                  <a:lnTo>
                    <a:pt x="155" y="233"/>
                  </a:lnTo>
                  <a:cubicBezTo>
                    <a:pt x="48" y="293"/>
                    <a:pt x="0" y="424"/>
                    <a:pt x="83" y="531"/>
                  </a:cubicBezTo>
                  <a:cubicBezTo>
                    <a:pt x="119" y="602"/>
                    <a:pt x="203" y="638"/>
                    <a:pt x="274" y="638"/>
                  </a:cubicBezTo>
                  <a:cubicBezTo>
                    <a:pt x="310" y="638"/>
                    <a:pt x="345" y="614"/>
                    <a:pt x="381" y="602"/>
                  </a:cubicBezTo>
                  <a:lnTo>
                    <a:pt x="703" y="412"/>
                  </a:lnTo>
                  <a:cubicBezTo>
                    <a:pt x="810" y="352"/>
                    <a:pt x="834" y="221"/>
                    <a:pt x="774" y="114"/>
                  </a:cubicBezTo>
                  <a:cubicBezTo>
                    <a:pt x="735" y="45"/>
                    <a:pt x="667" y="0"/>
                    <a:pt x="5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0" name="Google Shape;10460;p59"/>
            <p:cNvSpPr/>
            <p:nvPr/>
          </p:nvSpPr>
          <p:spPr>
            <a:xfrm>
              <a:off x="3106413" y="3100034"/>
              <a:ext cx="26599" cy="20164"/>
            </a:xfrm>
            <a:custGeom>
              <a:avLst/>
              <a:gdLst/>
              <a:ahLst/>
              <a:cxnLst/>
              <a:rect l="l" t="t" r="r" b="b"/>
              <a:pathLst>
                <a:path w="835" h="633" extrusionOk="0">
                  <a:moveTo>
                    <a:pt x="590" y="0"/>
                  </a:moveTo>
                  <a:cubicBezTo>
                    <a:pt x="550" y="0"/>
                    <a:pt x="511" y="12"/>
                    <a:pt x="477" y="38"/>
                  </a:cubicBezTo>
                  <a:lnTo>
                    <a:pt x="144" y="228"/>
                  </a:lnTo>
                  <a:cubicBezTo>
                    <a:pt x="36" y="288"/>
                    <a:pt x="1" y="419"/>
                    <a:pt x="72" y="526"/>
                  </a:cubicBezTo>
                  <a:cubicBezTo>
                    <a:pt x="108" y="597"/>
                    <a:pt x="191" y="633"/>
                    <a:pt x="263" y="633"/>
                  </a:cubicBezTo>
                  <a:cubicBezTo>
                    <a:pt x="310" y="633"/>
                    <a:pt x="334" y="609"/>
                    <a:pt x="370" y="597"/>
                  </a:cubicBezTo>
                  <a:lnTo>
                    <a:pt x="691" y="407"/>
                  </a:lnTo>
                  <a:cubicBezTo>
                    <a:pt x="787" y="347"/>
                    <a:pt x="834" y="216"/>
                    <a:pt x="775" y="109"/>
                  </a:cubicBezTo>
                  <a:cubicBezTo>
                    <a:pt x="736" y="40"/>
                    <a:pt x="663" y="0"/>
                    <a:pt x="5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1" name="Google Shape;10461;p59"/>
            <p:cNvSpPr/>
            <p:nvPr/>
          </p:nvSpPr>
          <p:spPr>
            <a:xfrm>
              <a:off x="3308565" y="2897277"/>
              <a:ext cx="22044" cy="24178"/>
            </a:xfrm>
            <a:custGeom>
              <a:avLst/>
              <a:gdLst/>
              <a:ahLst/>
              <a:cxnLst/>
              <a:rect l="l" t="t" r="r" b="b"/>
              <a:pathLst>
                <a:path w="692" h="759" extrusionOk="0">
                  <a:moveTo>
                    <a:pt x="441" y="1"/>
                  </a:moveTo>
                  <a:cubicBezTo>
                    <a:pt x="369" y="1"/>
                    <a:pt x="301" y="35"/>
                    <a:pt x="263" y="104"/>
                  </a:cubicBezTo>
                  <a:lnTo>
                    <a:pt x="60" y="438"/>
                  </a:lnTo>
                  <a:cubicBezTo>
                    <a:pt x="1" y="533"/>
                    <a:pt x="37" y="676"/>
                    <a:pt x="144" y="735"/>
                  </a:cubicBezTo>
                  <a:cubicBezTo>
                    <a:pt x="167" y="747"/>
                    <a:pt x="215" y="759"/>
                    <a:pt x="239" y="759"/>
                  </a:cubicBezTo>
                  <a:cubicBezTo>
                    <a:pt x="322" y="759"/>
                    <a:pt x="394" y="711"/>
                    <a:pt x="441" y="652"/>
                  </a:cubicBezTo>
                  <a:lnTo>
                    <a:pt x="632" y="330"/>
                  </a:lnTo>
                  <a:cubicBezTo>
                    <a:pt x="691" y="223"/>
                    <a:pt x="656" y="92"/>
                    <a:pt x="560" y="33"/>
                  </a:cubicBezTo>
                  <a:cubicBezTo>
                    <a:pt x="522" y="11"/>
                    <a:pt x="481"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2" name="Google Shape;10462;p59"/>
            <p:cNvSpPr/>
            <p:nvPr/>
          </p:nvSpPr>
          <p:spPr>
            <a:xfrm>
              <a:off x="3239153" y="2877049"/>
              <a:ext cx="14080" cy="26599"/>
            </a:xfrm>
            <a:custGeom>
              <a:avLst/>
              <a:gdLst/>
              <a:ahLst/>
              <a:cxnLst/>
              <a:rect l="l" t="t" r="r" b="b"/>
              <a:pathLst>
                <a:path w="442" h="835" extrusionOk="0">
                  <a:moveTo>
                    <a:pt x="215" y="1"/>
                  </a:moveTo>
                  <a:cubicBezTo>
                    <a:pt x="96" y="1"/>
                    <a:pt x="1" y="96"/>
                    <a:pt x="1" y="215"/>
                  </a:cubicBezTo>
                  <a:lnTo>
                    <a:pt x="1" y="608"/>
                  </a:lnTo>
                  <a:cubicBezTo>
                    <a:pt x="1" y="727"/>
                    <a:pt x="96" y="834"/>
                    <a:pt x="215" y="834"/>
                  </a:cubicBezTo>
                  <a:cubicBezTo>
                    <a:pt x="334" y="834"/>
                    <a:pt x="441" y="727"/>
                    <a:pt x="441" y="608"/>
                  </a:cubicBezTo>
                  <a:lnTo>
                    <a:pt x="441" y="215"/>
                  </a:lnTo>
                  <a:cubicBezTo>
                    <a:pt x="441" y="96"/>
                    <a:pt x="358"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3" name="Google Shape;10463;p59"/>
            <p:cNvSpPr/>
            <p:nvPr/>
          </p:nvSpPr>
          <p:spPr>
            <a:xfrm>
              <a:off x="3161809" y="2897500"/>
              <a:ext cx="22394" cy="24337"/>
            </a:xfrm>
            <a:custGeom>
              <a:avLst/>
              <a:gdLst/>
              <a:ahLst/>
              <a:cxnLst/>
              <a:rect l="l" t="t" r="r" b="b"/>
              <a:pathLst>
                <a:path w="703" h="764" extrusionOk="0">
                  <a:moveTo>
                    <a:pt x="262" y="0"/>
                  </a:moveTo>
                  <a:cubicBezTo>
                    <a:pt x="222" y="0"/>
                    <a:pt x="181" y="12"/>
                    <a:pt x="143" y="38"/>
                  </a:cubicBezTo>
                  <a:cubicBezTo>
                    <a:pt x="48" y="97"/>
                    <a:pt x="0" y="228"/>
                    <a:pt x="72" y="335"/>
                  </a:cubicBezTo>
                  <a:lnTo>
                    <a:pt x="262" y="669"/>
                  </a:lnTo>
                  <a:cubicBezTo>
                    <a:pt x="310" y="740"/>
                    <a:pt x="381" y="764"/>
                    <a:pt x="464" y="764"/>
                  </a:cubicBezTo>
                  <a:cubicBezTo>
                    <a:pt x="500" y="764"/>
                    <a:pt x="536" y="752"/>
                    <a:pt x="560" y="740"/>
                  </a:cubicBezTo>
                  <a:cubicBezTo>
                    <a:pt x="667" y="681"/>
                    <a:pt x="703" y="550"/>
                    <a:pt x="643" y="442"/>
                  </a:cubicBezTo>
                  <a:lnTo>
                    <a:pt x="441" y="109"/>
                  </a:lnTo>
                  <a:cubicBezTo>
                    <a:pt x="402" y="40"/>
                    <a:pt x="334" y="0"/>
                    <a:pt x="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4" name="Google Shape;10464;p59"/>
            <p:cNvSpPr/>
            <p:nvPr/>
          </p:nvSpPr>
          <p:spPr>
            <a:xfrm>
              <a:off x="3106413" y="2953151"/>
              <a:ext cx="26599" cy="19909"/>
            </a:xfrm>
            <a:custGeom>
              <a:avLst/>
              <a:gdLst/>
              <a:ahLst/>
              <a:cxnLst/>
              <a:rect l="l" t="t" r="r" b="b"/>
              <a:pathLst>
                <a:path w="835" h="625" extrusionOk="0">
                  <a:moveTo>
                    <a:pt x="246" y="0"/>
                  </a:moveTo>
                  <a:cubicBezTo>
                    <a:pt x="168" y="0"/>
                    <a:pt x="92" y="40"/>
                    <a:pt x="60" y="112"/>
                  </a:cubicBezTo>
                  <a:cubicBezTo>
                    <a:pt x="1" y="208"/>
                    <a:pt x="25" y="350"/>
                    <a:pt x="132" y="410"/>
                  </a:cubicBezTo>
                  <a:lnTo>
                    <a:pt x="453" y="600"/>
                  </a:lnTo>
                  <a:cubicBezTo>
                    <a:pt x="489" y="612"/>
                    <a:pt x="537" y="624"/>
                    <a:pt x="560" y="624"/>
                  </a:cubicBezTo>
                  <a:cubicBezTo>
                    <a:pt x="632" y="624"/>
                    <a:pt x="715" y="589"/>
                    <a:pt x="751" y="529"/>
                  </a:cubicBezTo>
                  <a:cubicBezTo>
                    <a:pt x="834" y="422"/>
                    <a:pt x="787" y="291"/>
                    <a:pt x="679" y="231"/>
                  </a:cubicBezTo>
                  <a:lnTo>
                    <a:pt x="358" y="29"/>
                  </a:lnTo>
                  <a:cubicBezTo>
                    <a:pt x="323" y="10"/>
                    <a:pt x="284" y="0"/>
                    <a:pt x="2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5" name="Google Shape;10465;p59"/>
            <p:cNvSpPr/>
            <p:nvPr/>
          </p:nvSpPr>
          <p:spPr>
            <a:xfrm>
              <a:off x="3360520" y="3099811"/>
              <a:ext cx="25834" cy="20005"/>
            </a:xfrm>
            <a:custGeom>
              <a:avLst/>
              <a:gdLst/>
              <a:ahLst/>
              <a:cxnLst/>
              <a:rect l="l" t="t" r="r" b="b"/>
              <a:pathLst>
                <a:path w="811" h="628" extrusionOk="0">
                  <a:moveTo>
                    <a:pt x="239" y="1"/>
                  </a:moveTo>
                  <a:cubicBezTo>
                    <a:pt x="167" y="1"/>
                    <a:pt x="99" y="35"/>
                    <a:pt x="60" y="104"/>
                  </a:cubicBezTo>
                  <a:cubicBezTo>
                    <a:pt x="1" y="211"/>
                    <a:pt x="25" y="342"/>
                    <a:pt x="132" y="402"/>
                  </a:cubicBezTo>
                  <a:lnTo>
                    <a:pt x="453" y="592"/>
                  </a:lnTo>
                  <a:cubicBezTo>
                    <a:pt x="489" y="604"/>
                    <a:pt x="537" y="628"/>
                    <a:pt x="561" y="628"/>
                  </a:cubicBezTo>
                  <a:cubicBezTo>
                    <a:pt x="632" y="628"/>
                    <a:pt x="715" y="580"/>
                    <a:pt x="751" y="521"/>
                  </a:cubicBezTo>
                  <a:cubicBezTo>
                    <a:pt x="811" y="426"/>
                    <a:pt x="787" y="283"/>
                    <a:pt x="680" y="223"/>
                  </a:cubicBezTo>
                  <a:lnTo>
                    <a:pt x="358" y="33"/>
                  </a:lnTo>
                  <a:cubicBezTo>
                    <a:pt x="320" y="11"/>
                    <a:pt x="279"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66" name="Google Shape;10466;p59"/>
          <p:cNvSpPr/>
          <p:nvPr/>
        </p:nvSpPr>
        <p:spPr>
          <a:xfrm>
            <a:off x="2253814" y="2894123"/>
            <a:ext cx="210530" cy="357700"/>
          </a:xfrm>
          <a:custGeom>
            <a:avLst/>
            <a:gdLst/>
            <a:ahLst/>
            <a:cxnLst/>
            <a:rect l="l" t="t" r="r" b="b"/>
            <a:pathLst>
              <a:path w="6609" h="11229" extrusionOk="0">
                <a:moveTo>
                  <a:pt x="3310" y="1941"/>
                </a:moveTo>
                <a:cubicBezTo>
                  <a:pt x="3632" y="1941"/>
                  <a:pt x="3918" y="2227"/>
                  <a:pt x="3918" y="2572"/>
                </a:cubicBezTo>
                <a:lnTo>
                  <a:pt x="3918" y="2882"/>
                </a:lnTo>
                <a:cubicBezTo>
                  <a:pt x="3918" y="3037"/>
                  <a:pt x="3799" y="3156"/>
                  <a:pt x="3644" y="3156"/>
                </a:cubicBezTo>
                <a:lnTo>
                  <a:pt x="2953" y="3156"/>
                </a:lnTo>
                <a:cubicBezTo>
                  <a:pt x="2798" y="3156"/>
                  <a:pt x="2679" y="3037"/>
                  <a:pt x="2679" y="2882"/>
                </a:cubicBezTo>
                <a:lnTo>
                  <a:pt x="2679" y="2572"/>
                </a:lnTo>
                <a:cubicBezTo>
                  <a:pt x="2679" y="2227"/>
                  <a:pt x="2965" y="1941"/>
                  <a:pt x="3310" y="1941"/>
                </a:cubicBezTo>
                <a:close/>
                <a:moveTo>
                  <a:pt x="3918" y="10371"/>
                </a:moveTo>
                <a:lnTo>
                  <a:pt x="3918" y="10633"/>
                </a:lnTo>
                <a:lnTo>
                  <a:pt x="3906" y="10633"/>
                </a:lnTo>
                <a:cubicBezTo>
                  <a:pt x="3906" y="10788"/>
                  <a:pt x="3787" y="10907"/>
                  <a:pt x="3632" y="10907"/>
                </a:cubicBezTo>
                <a:lnTo>
                  <a:pt x="2929" y="10907"/>
                </a:lnTo>
                <a:cubicBezTo>
                  <a:pt x="2787" y="10907"/>
                  <a:pt x="2668" y="10788"/>
                  <a:pt x="2668" y="10633"/>
                </a:cubicBezTo>
                <a:lnTo>
                  <a:pt x="2668" y="10371"/>
                </a:lnTo>
                <a:close/>
                <a:moveTo>
                  <a:pt x="2572" y="1"/>
                </a:moveTo>
                <a:cubicBezTo>
                  <a:pt x="1144" y="1"/>
                  <a:pt x="1" y="1156"/>
                  <a:pt x="1" y="2572"/>
                </a:cubicBezTo>
                <a:lnTo>
                  <a:pt x="1" y="2751"/>
                </a:lnTo>
                <a:cubicBezTo>
                  <a:pt x="1" y="2834"/>
                  <a:pt x="72" y="2918"/>
                  <a:pt x="167" y="2918"/>
                </a:cubicBezTo>
                <a:cubicBezTo>
                  <a:pt x="251" y="2918"/>
                  <a:pt x="334" y="2834"/>
                  <a:pt x="334" y="2751"/>
                </a:cubicBezTo>
                <a:lnTo>
                  <a:pt x="334" y="2572"/>
                </a:lnTo>
                <a:cubicBezTo>
                  <a:pt x="334" y="1334"/>
                  <a:pt x="1346" y="322"/>
                  <a:pt x="2572" y="322"/>
                </a:cubicBezTo>
                <a:lnTo>
                  <a:pt x="3132" y="322"/>
                </a:lnTo>
                <a:lnTo>
                  <a:pt x="3132" y="1632"/>
                </a:lnTo>
                <a:cubicBezTo>
                  <a:pt x="2679" y="1703"/>
                  <a:pt x="2334" y="2096"/>
                  <a:pt x="2334" y="2572"/>
                </a:cubicBezTo>
                <a:lnTo>
                  <a:pt x="2334" y="2882"/>
                </a:lnTo>
                <a:cubicBezTo>
                  <a:pt x="2334" y="3204"/>
                  <a:pt x="2608" y="3489"/>
                  <a:pt x="2953" y="3489"/>
                </a:cubicBezTo>
                <a:lnTo>
                  <a:pt x="3644" y="3489"/>
                </a:lnTo>
                <a:cubicBezTo>
                  <a:pt x="3977" y="3489"/>
                  <a:pt x="4263" y="3227"/>
                  <a:pt x="4263" y="2882"/>
                </a:cubicBezTo>
                <a:lnTo>
                  <a:pt x="4263" y="2572"/>
                </a:lnTo>
                <a:cubicBezTo>
                  <a:pt x="4263" y="2108"/>
                  <a:pt x="3918" y="1703"/>
                  <a:pt x="3465" y="1632"/>
                </a:cubicBezTo>
                <a:lnTo>
                  <a:pt x="3465" y="322"/>
                </a:lnTo>
                <a:lnTo>
                  <a:pt x="4025" y="322"/>
                </a:lnTo>
                <a:cubicBezTo>
                  <a:pt x="5251" y="322"/>
                  <a:pt x="6263" y="1334"/>
                  <a:pt x="6263" y="2572"/>
                </a:cubicBezTo>
                <a:lnTo>
                  <a:pt x="6263" y="3632"/>
                </a:lnTo>
                <a:lnTo>
                  <a:pt x="5882" y="3632"/>
                </a:lnTo>
                <a:cubicBezTo>
                  <a:pt x="5549" y="3632"/>
                  <a:pt x="5275" y="3894"/>
                  <a:pt x="5275" y="4239"/>
                </a:cubicBezTo>
                <a:lnTo>
                  <a:pt x="5275" y="4430"/>
                </a:lnTo>
                <a:cubicBezTo>
                  <a:pt x="5275" y="4525"/>
                  <a:pt x="5346" y="4597"/>
                  <a:pt x="5430" y="4597"/>
                </a:cubicBezTo>
                <a:cubicBezTo>
                  <a:pt x="5525" y="4597"/>
                  <a:pt x="5596" y="4525"/>
                  <a:pt x="5596" y="4430"/>
                </a:cubicBezTo>
                <a:lnTo>
                  <a:pt x="5596" y="4239"/>
                </a:lnTo>
                <a:cubicBezTo>
                  <a:pt x="5596" y="4085"/>
                  <a:pt x="5716" y="3966"/>
                  <a:pt x="5870" y="3966"/>
                </a:cubicBezTo>
                <a:lnTo>
                  <a:pt x="6251" y="3966"/>
                </a:lnTo>
                <a:lnTo>
                  <a:pt x="6251" y="7264"/>
                </a:lnTo>
                <a:lnTo>
                  <a:pt x="5870" y="7264"/>
                </a:lnTo>
                <a:cubicBezTo>
                  <a:pt x="5716" y="7264"/>
                  <a:pt x="5596" y="7144"/>
                  <a:pt x="5596" y="6990"/>
                </a:cubicBezTo>
                <a:lnTo>
                  <a:pt x="5596" y="5216"/>
                </a:lnTo>
                <a:cubicBezTo>
                  <a:pt x="5596" y="5132"/>
                  <a:pt x="5525" y="5061"/>
                  <a:pt x="5430" y="5061"/>
                </a:cubicBezTo>
                <a:cubicBezTo>
                  <a:pt x="5346" y="5061"/>
                  <a:pt x="5275" y="5132"/>
                  <a:pt x="5275" y="5216"/>
                </a:cubicBezTo>
                <a:lnTo>
                  <a:pt x="5275" y="6990"/>
                </a:lnTo>
                <a:cubicBezTo>
                  <a:pt x="5275" y="7323"/>
                  <a:pt x="5537" y="7597"/>
                  <a:pt x="5882" y="7597"/>
                </a:cubicBezTo>
                <a:lnTo>
                  <a:pt x="6263" y="7597"/>
                </a:lnTo>
                <a:lnTo>
                  <a:pt x="6263" y="8228"/>
                </a:lnTo>
                <a:cubicBezTo>
                  <a:pt x="6263" y="9228"/>
                  <a:pt x="5454" y="10038"/>
                  <a:pt x="4453" y="10038"/>
                </a:cubicBezTo>
                <a:lnTo>
                  <a:pt x="2144" y="10038"/>
                </a:lnTo>
                <a:cubicBezTo>
                  <a:pt x="1144" y="10038"/>
                  <a:pt x="334" y="9228"/>
                  <a:pt x="334" y="8228"/>
                </a:cubicBezTo>
                <a:lnTo>
                  <a:pt x="334" y="7597"/>
                </a:lnTo>
                <a:lnTo>
                  <a:pt x="715" y="7597"/>
                </a:lnTo>
                <a:cubicBezTo>
                  <a:pt x="1048" y="7597"/>
                  <a:pt x="1322" y="7335"/>
                  <a:pt x="1322" y="6990"/>
                </a:cubicBezTo>
                <a:lnTo>
                  <a:pt x="1322" y="6811"/>
                </a:lnTo>
                <a:cubicBezTo>
                  <a:pt x="1322" y="6728"/>
                  <a:pt x="1251" y="6644"/>
                  <a:pt x="1167" y="6644"/>
                </a:cubicBezTo>
                <a:cubicBezTo>
                  <a:pt x="1072" y="6644"/>
                  <a:pt x="1001" y="6728"/>
                  <a:pt x="1001" y="6811"/>
                </a:cubicBezTo>
                <a:lnTo>
                  <a:pt x="1001" y="6990"/>
                </a:lnTo>
                <a:cubicBezTo>
                  <a:pt x="1001" y="7144"/>
                  <a:pt x="882" y="7264"/>
                  <a:pt x="727" y="7264"/>
                </a:cubicBezTo>
                <a:lnTo>
                  <a:pt x="346" y="7264"/>
                </a:lnTo>
                <a:lnTo>
                  <a:pt x="346" y="3966"/>
                </a:lnTo>
                <a:lnTo>
                  <a:pt x="727" y="3966"/>
                </a:lnTo>
                <a:cubicBezTo>
                  <a:pt x="882" y="3966"/>
                  <a:pt x="1001" y="4085"/>
                  <a:pt x="1001" y="4239"/>
                </a:cubicBezTo>
                <a:lnTo>
                  <a:pt x="1001" y="6037"/>
                </a:lnTo>
                <a:cubicBezTo>
                  <a:pt x="1001" y="6132"/>
                  <a:pt x="1072" y="6204"/>
                  <a:pt x="1167" y="6204"/>
                </a:cubicBezTo>
                <a:cubicBezTo>
                  <a:pt x="1251" y="6204"/>
                  <a:pt x="1322" y="6132"/>
                  <a:pt x="1322" y="6037"/>
                </a:cubicBezTo>
                <a:lnTo>
                  <a:pt x="1322" y="4239"/>
                </a:lnTo>
                <a:cubicBezTo>
                  <a:pt x="1322" y="3906"/>
                  <a:pt x="1060" y="3620"/>
                  <a:pt x="715" y="3620"/>
                </a:cubicBezTo>
                <a:lnTo>
                  <a:pt x="334" y="3620"/>
                </a:lnTo>
                <a:lnTo>
                  <a:pt x="334" y="3501"/>
                </a:lnTo>
                <a:cubicBezTo>
                  <a:pt x="334" y="3418"/>
                  <a:pt x="251" y="3346"/>
                  <a:pt x="167" y="3346"/>
                </a:cubicBezTo>
                <a:cubicBezTo>
                  <a:pt x="72" y="3346"/>
                  <a:pt x="1" y="3418"/>
                  <a:pt x="1" y="3501"/>
                </a:cubicBezTo>
                <a:lnTo>
                  <a:pt x="1" y="8216"/>
                </a:lnTo>
                <a:cubicBezTo>
                  <a:pt x="1" y="9383"/>
                  <a:pt x="953" y="10347"/>
                  <a:pt x="2144" y="10347"/>
                </a:cubicBezTo>
                <a:lnTo>
                  <a:pt x="2334" y="10347"/>
                </a:lnTo>
                <a:lnTo>
                  <a:pt x="2334" y="10621"/>
                </a:lnTo>
                <a:cubicBezTo>
                  <a:pt x="2334" y="10943"/>
                  <a:pt x="2608" y="11228"/>
                  <a:pt x="2953" y="11228"/>
                </a:cubicBezTo>
                <a:lnTo>
                  <a:pt x="3644" y="11228"/>
                </a:lnTo>
                <a:cubicBezTo>
                  <a:pt x="3977" y="11228"/>
                  <a:pt x="4263" y="10966"/>
                  <a:pt x="4263" y="10621"/>
                </a:cubicBezTo>
                <a:lnTo>
                  <a:pt x="4263" y="10347"/>
                </a:lnTo>
                <a:lnTo>
                  <a:pt x="4465" y="10347"/>
                </a:lnTo>
                <a:cubicBezTo>
                  <a:pt x="5644" y="10347"/>
                  <a:pt x="6608" y="9407"/>
                  <a:pt x="6608" y="8216"/>
                </a:cubicBezTo>
                <a:lnTo>
                  <a:pt x="6608" y="2572"/>
                </a:lnTo>
                <a:cubicBezTo>
                  <a:pt x="6585" y="1156"/>
                  <a:pt x="5418" y="1"/>
                  <a:pt x="4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67" name="Google Shape;10467;p59"/>
          <p:cNvGrpSpPr/>
          <p:nvPr/>
        </p:nvGrpSpPr>
        <p:grpSpPr>
          <a:xfrm>
            <a:off x="861113" y="2885746"/>
            <a:ext cx="333809" cy="373277"/>
            <a:chOff x="861113" y="2885746"/>
            <a:chExt cx="333809" cy="373277"/>
          </a:xfrm>
        </p:grpSpPr>
        <p:sp>
          <p:nvSpPr>
            <p:cNvPr id="10468" name="Google Shape;10468;p59"/>
            <p:cNvSpPr/>
            <p:nvPr/>
          </p:nvSpPr>
          <p:spPr>
            <a:xfrm>
              <a:off x="861113" y="2981533"/>
              <a:ext cx="315970" cy="277489"/>
            </a:xfrm>
            <a:custGeom>
              <a:avLst/>
              <a:gdLst/>
              <a:ahLst/>
              <a:cxnLst/>
              <a:rect l="l" t="t" r="r" b="b"/>
              <a:pathLst>
                <a:path w="9919" h="8711" extrusionOk="0">
                  <a:moveTo>
                    <a:pt x="3015" y="0"/>
                  </a:moveTo>
                  <a:cubicBezTo>
                    <a:pt x="2777" y="0"/>
                    <a:pt x="2558" y="27"/>
                    <a:pt x="2358" y="79"/>
                  </a:cubicBezTo>
                  <a:cubicBezTo>
                    <a:pt x="1739" y="245"/>
                    <a:pt x="1156" y="638"/>
                    <a:pt x="739" y="1210"/>
                  </a:cubicBezTo>
                  <a:cubicBezTo>
                    <a:pt x="251" y="1864"/>
                    <a:pt x="1" y="2698"/>
                    <a:pt x="1" y="3615"/>
                  </a:cubicBezTo>
                  <a:cubicBezTo>
                    <a:pt x="1" y="4567"/>
                    <a:pt x="429" y="5841"/>
                    <a:pt x="1132" y="6889"/>
                  </a:cubicBezTo>
                  <a:cubicBezTo>
                    <a:pt x="1882" y="8056"/>
                    <a:pt x="2763" y="8711"/>
                    <a:pt x="3549" y="8711"/>
                  </a:cubicBezTo>
                  <a:cubicBezTo>
                    <a:pt x="3870" y="8711"/>
                    <a:pt x="4180" y="8663"/>
                    <a:pt x="4478" y="8580"/>
                  </a:cubicBezTo>
                  <a:cubicBezTo>
                    <a:pt x="4632" y="8532"/>
                    <a:pt x="4796" y="8508"/>
                    <a:pt x="4960" y="8508"/>
                  </a:cubicBezTo>
                  <a:cubicBezTo>
                    <a:pt x="5123" y="8508"/>
                    <a:pt x="5287" y="8532"/>
                    <a:pt x="5442" y="8580"/>
                  </a:cubicBezTo>
                  <a:cubicBezTo>
                    <a:pt x="5740" y="8663"/>
                    <a:pt x="6049" y="8711"/>
                    <a:pt x="6371" y="8711"/>
                  </a:cubicBezTo>
                  <a:cubicBezTo>
                    <a:pt x="7156" y="8711"/>
                    <a:pt x="8026" y="8044"/>
                    <a:pt x="8788" y="6889"/>
                  </a:cubicBezTo>
                  <a:cubicBezTo>
                    <a:pt x="9490" y="5841"/>
                    <a:pt x="9919" y="4567"/>
                    <a:pt x="9919" y="3615"/>
                  </a:cubicBezTo>
                  <a:cubicBezTo>
                    <a:pt x="9847" y="2948"/>
                    <a:pt x="9716" y="2317"/>
                    <a:pt x="9431" y="1757"/>
                  </a:cubicBezTo>
                  <a:cubicBezTo>
                    <a:pt x="9398" y="1685"/>
                    <a:pt x="9334" y="1651"/>
                    <a:pt x="9266" y="1651"/>
                  </a:cubicBezTo>
                  <a:cubicBezTo>
                    <a:pt x="9233" y="1651"/>
                    <a:pt x="9199" y="1658"/>
                    <a:pt x="9169" y="1674"/>
                  </a:cubicBezTo>
                  <a:cubicBezTo>
                    <a:pt x="9061" y="1710"/>
                    <a:pt x="9026" y="1841"/>
                    <a:pt x="9073" y="1936"/>
                  </a:cubicBezTo>
                  <a:cubicBezTo>
                    <a:pt x="9323" y="2448"/>
                    <a:pt x="9442" y="3007"/>
                    <a:pt x="9442" y="3638"/>
                  </a:cubicBezTo>
                  <a:cubicBezTo>
                    <a:pt x="9442" y="4508"/>
                    <a:pt x="9050" y="5686"/>
                    <a:pt x="8395" y="6698"/>
                  </a:cubicBezTo>
                  <a:cubicBezTo>
                    <a:pt x="7716" y="7722"/>
                    <a:pt x="6942" y="8341"/>
                    <a:pt x="6311" y="8341"/>
                  </a:cubicBezTo>
                  <a:cubicBezTo>
                    <a:pt x="6037" y="8341"/>
                    <a:pt x="5751" y="8294"/>
                    <a:pt x="5501" y="8222"/>
                  </a:cubicBezTo>
                  <a:cubicBezTo>
                    <a:pt x="5311" y="8163"/>
                    <a:pt x="5112" y="8133"/>
                    <a:pt x="4911" y="8133"/>
                  </a:cubicBezTo>
                  <a:cubicBezTo>
                    <a:pt x="4710" y="8133"/>
                    <a:pt x="4507" y="8163"/>
                    <a:pt x="4311" y="8222"/>
                  </a:cubicBezTo>
                  <a:cubicBezTo>
                    <a:pt x="4061" y="8294"/>
                    <a:pt x="3775" y="8341"/>
                    <a:pt x="3513" y="8341"/>
                  </a:cubicBezTo>
                  <a:cubicBezTo>
                    <a:pt x="2870" y="8341"/>
                    <a:pt x="2096" y="7722"/>
                    <a:pt x="1430" y="6698"/>
                  </a:cubicBezTo>
                  <a:cubicBezTo>
                    <a:pt x="775" y="5698"/>
                    <a:pt x="370" y="4531"/>
                    <a:pt x="370" y="3638"/>
                  </a:cubicBezTo>
                  <a:cubicBezTo>
                    <a:pt x="370" y="2805"/>
                    <a:pt x="608" y="2043"/>
                    <a:pt x="1037" y="1460"/>
                  </a:cubicBezTo>
                  <a:cubicBezTo>
                    <a:pt x="1406" y="971"/>
                    <a:pt x="1918" y="614"/>
                    <a:pt x="2453" y="460"/>
                  </a:cubicBezTo>
                  <a:cubicBezTo>
                    <a:pt x="2603" y="422"/>
                    <a:pt x="2774" y="403"/>
                    <a:pt x="2963" y="403"/>
                  </a:cubicBezTo>
                  <a:cubicBezTo>
                    <a:pt x="3256" y="403"/>
                    <a:pt x="3592" y="449"/>
                    <a:pt x="3954" y="543"/>
                  </a:cubicBezTo>
                  <a:cubicBezTo>
                    <a:pt x="4013" y="555"/>
                    <a:pt x="4085" y="567"/>
                    <a:pt x="4144" y="579"/>
                  </a:cubicBezTo>
                  <a:cubicBezTo>
                    <a:pt x="4160" y="582"/>
                    <a:pt x="4176" y="584"/>
                    <a:pt x="4191" y="584"/>
                  </a:cubicBezTo>
                  <a:cubicBezTo>
                    <a:pt x="4281" y="584"/>
                    <a:pt x="4362" y="527"/>
                    <a:pt x="4382" y="436"/>
                  </a:cubicBezTo>
                  <a:cubicBezTo>
                    <a:pt x="4406" y="329"/>
                    <a:pt x="4347" y="221"/>
                    <a:pt x="4239" y="198"/>
                  </a:cubicBezTo>
                  <a:lnTo>
                    <a:pt x="4061" y="150"/>
                  </a:lnTo>
                  <a:cubicBezTo>
                    <a:pt x="3680" y="48"/>
                    <a:pt x="3331" y="0"/>
                    <a:pt x="30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9" name="Google Shape;10469;p59"/>
            <p:cNvSpPr/>
            <p:nvPr/>
          </p:nvSpPr>
          <p:spPr>
            <a:xfrm>
              <a:off x="1024976" y="2981756"/>
              <a:ext cx="125572" cy="45903"/>
            </a:xfrm>
            <a:custGeom>
              <a:avLst/>
              <a:gdLst/>
              <a:ahLst/>
              <a:cxnLst/>
              <a:rect l="l" t="t" r="r" b="b"/>
              <a:pathLst>
                <a:path w="3942" h="1441" extrusionOk="0">
                  <a:moveTo>
                    <a:pt x="1709" y="1"/>
                  </a:moveTo>
                  <a:cubicBezTo>
                    <a:pt x="1383" y="1"/>
                    <a:pt x="1022" y="51"/>
                    <a:pt x="631" y="143"/>
                  </a:cubicBezTo>
                  <a:cubicBezTo>
                    <a:pt x="477" y="191"/>
                    <a:pt x="334" y="202"/>
                    <a:pt x="191" y="238"/>
                  </a:cubicBezTo>
                  <a:cubicBezTo>
                    <a:pt x="96" y="250"/>
                    <a:pt x="0" y="357"/>
                    <a:pt x="12" y="464"/>
                  </a:cubicBezTo>
                  <a:cubicBezTo>
                    <a:pt x="35" y="554"/>
                    <a:pt x="121" y="644"/>
                    <a:pt x="220" y="644"/>
                  </a:cubicBezTo>
                  <a:cubicBezTo>
                    <a:pt x="226" y="644"/>
                    <a:pt x="232" y="644"/>
                    <a:pt x="238" y="643"/>
                  </a:cubicBezTo>
                  <a:cubicBezTo>
                    <a:pt x="405" y="619"/>
                    <a:pt x="572" y="583"/>
                    <a:pt x="727" y="548"/>
                  </a:cubicBezTo>
                  <a:cubicBezTo>
                    <a:pt x="1087" y="461"/>
                    <a:pt x="1417" y="414"/>
                    <a:pt x="1711" y="414"/>
                  </a:cubicBezTo>
                  <a:cubicBezTo>
                    <a:pt x="1903" y="414"/>
                    <a:pt x="2079" y="434"/>
                    <a:pt x="2239" y="476"/>
                  </a:cubicBezTo>
                  <a:cubicBezTo>
                    <a:pt x="2727" y="607"/>
                    <a:pt x="3203" y="917"/>
                    <a:pt x="3572" y="1369"/>
                  </a:cubicBezTo>
                  <a:cubicBezTo>
                    <a:pt x="3620" y="1417"/>
                    <a:pt x="3679" y="1441"/>
                    <a:pt x="3727" y="1441"/>
                  </a:cubicBezTo>
                  <a:cubicBezTo>
                    <a:pt x="3763" y="1441"/>
                    <a:pt x="3810" y="1429"/>
                    <a:pt x="3846" y="1393"/>
                  </a:cubicBezTo>
                  <a:cubicBezTo>
                    <a:pt x="3929" y="1322"/>
                    <a:pt x="3941" y="1191"/>
                    <a:pt x="3870" y="1095"/>
                  </a:cubicBezTo>
                  <a:cubicBezTo>
                    <a:pt x="3453" y="595"/>
                    <a:pt x="2905" y="226"/>
                    <a:pt x="2322" y="72"/>
                  </a:cubicBezTo>
                  <a:cubicBezTo>
                    <a:pt x="2135" y="23"/>
                    <a:pt x="1930" y="1"/>
                    <a:pt x="17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0" name="Google Shape;10470;p59"/>
            <p:cNvSpPr/>
            <p:nvPr/>
          </p:nvSpPr>
          <p:spPr>
            <a:xfrm>
              <a:off x="979455" y="2885746"/>
              <a:ext cx="215467" cy="145705"/>
            </a:xfrm>
            <a:custGeom>
              <a:avLst/>
              <a:gdLst/>
              <a:ahLst/>
              <a:cxnLst/>
              <a:rect l="l" t="t" r="r" b="b"/>
              <a:pathLst>
                <a:path w="6764" h="4574" extrusionOk="0">
                  <a:moveTo>
                    <a:pt x="4097" y="0"/>
                  </a:moveTo>
                  <a:cubicBezTo>
                    <a:pt x="3959" y="0"/>
                    <a:pt x="3824" y="9"/>
                    <a:pt x="3691" y="26"/>
                  </a:cubicBezTo>
                  <a:cubicBezTo>
                    <a:pt x="3049" y="61"/>
                    <a:pt x="2489" y="419"/>
                    <a:pt x="2060" y="1014"/>
                  </a:cubicBezTo>
                  <a:cubicBezTo>
                    <a:pt x="1775" y="1407"/>
                    <a:pt x="1620" y="1776"/>
                    <a:pt x="1596" y="1883"/>
                  </a:cubicBezTo>
                  <a:lnTo>
                    <a:pt x="1072" y="2681"/>
                  </a:lnTo>
                  <a:cubicBezTo>
                    <a:pt x="929" y="2240"/>
                    <a:pt x="774" y="1954"/>
                    <a:pt x="763" y="1943"/>
                  </a:cubicBezTo>
                  <a:cubicBezTo>
                    <a:pt x="728" y="1866"/>
                    <a:pt x="652" y="1832"/>
                    <a:pt x="576" y="1832"/>
                  </a:cubicBezTo>
                  <a:cubicBezTo>
                    <a:pt x="546" y="1832"/>
                    <a:pt x="516" y="1837"/>
                    <a:pt x="489" y="1847"/>
                  </a:cubicBezTo>
                  <a:cubicBezTo>
                    <a:pt x="405" y="1895"/>
                    <a:pt x="358" y="2026"/>
                    <a:pt x="405" y="2121"/>
                  </a:cubicBezTo>
                  <a:cubicBezTo>
                    <a:pt x="405" y="2133"/>
                    <a:pt x="870" y="3014"/>
                    <a:pt x="965" y="4157"/>
                  </a:cubicBezTo>
                  <a:cubicBezTo>
                    <a:pt x="822" y="4145"/>
                    <a:pt x="667" y="4098"/>
                    <a:pt x="572" y="4050"/>
                  </a:cubicBezTo>
                  <a:cubicBezTo>
                    <a:pt x="429" y="3990"/>
                    <a:pt x="393" y="3931"/>
                    <a:pt x="393" y="3919"/>
                  </a:cubicBezTo>
                  <a:cubicBezTo>
                    <a:pt x="393" y="3812"/>
                    <a:pt x="298" y="3728"/>
                    <a:pt x="191" y="3728"/>
                  </a:cubicBezTo>
                  <a:cubicBezTo>
                    <a:pt x="96" y="3728"/>
                    <a:pt x="1" y="3812"/>
                    <a:pt x="1" y="3919"/>
                  </a:cubicBezTo>
                  <a:cubicBezTo>
                    <a:pt x="1" y="4038"/>
                    <a:pt x="60" y="4264"/>
                    <a:pt x="405" y="4419"/>
                  </a:cubicBezTo>
                  <a:cubicBezTo>
                    <a:pt x="608" y="4514"/>
                    <a:pt x="893" y="4574"/>
                    <a:pt x="1191" y="4574"/>
                  </a:cubicBezTo>
                  <a:cubicBezTo>
                    <a:pt x="1489" y="4574"/>
                    <a:pt x="1763" y="4514"/>
                    <a:pt x="1977" y="4419"/>
                  </a:cubicBezTo>
                  <a:cubicBezTo>
                    <a:pt x="2334" y="4264"/>
                    <a:pt x="2382" y="4038"/>
                    <a:pt x="2382" y="3919"/>
                  </a:cubicBezTo>
                  <a:cubicBezTo>
                    <a:pt x="2382" y="3812"/>
                    <a:pt x="2298" y="3728"/>
                    <a:pt x="2191" y="3728"/>
                  </a:cubicBezTo>
                  <a:cubicBezTo>
                    <a:pt x="2084" y="3728"/>
                    <a:pt x="2001" y="3812"/>
                    <a:pt x="2001" y="3919"/>
                  </a:cubicBezTo>
                  <a:cubicBezTo>
                    <a:pt x="2001" y="3931"/>
                    <a:pt x="1953" y="3990"/>
                    <a:pt x="1822" y="4050"/>
                  </a:cubicBezTo>
                  <a:cubicBezTo>
                    <a:pt x="1703" y="4109"/>
                    <a:pt x="1548" y="4145"/>
                    <a:pt x="1382" y="4157"/>
                  </a:cubicBezTo>
                  <a:cubicBezTo>
                    <a:pt x="1358" y="3800"/>
                    <a:pt x="1298" y="3467"/>
                    <a:pt x="1239" y="3169"/>
                  </a:cubicBezTo>
                  <a:lnTo>
                    <a:pt x="1917" y="2133"/>
                  </a:lnTo>
                  <a:cubicBezTo>
                    <a:pt x="1953" y="2133"/>
                    <a:pt x="1977" y="2145"/>
                    <a:pt x="2060" y="2169"/>
                  </a:cubicBezTo>
                  <a:cubicBezTo>
                    <a:pt x="2179" y="2204"/>
                    <a:pt x="2334" y="2300"/>
                    <a:pt x="2513" y="2407"/>
                  </a:cubicBezTo>
                  <a:cubicBezTo>
                    <a:pt x="2989" y="2669"/>
                    <a:pt x="3584" y="3014"/>
                    <a:pt x="4263" y="3014"/>
                  </a:cubicBezTo>
                  <a:cubicBezTo>
                    <a:pt x="4477" y="3014"/>
                    <a:pt x="4715" y="2966"/>
                    <a:pt x="4954" y="2883"/>
                  </a:cubicBezTo>
                  <a:cubicBezTo>
                    <a:pt x="6466" y="2300"/>
                    <a:pt x="6739" y="407"/>
                    <a:pt x="6763" y="323"/>
                  </a:cubicBezTo>
                  <a:cubicBezTo>
                    <a:pt x="6763" y="288"/>
                    <a:pt x="6716" y="216"/>
                    <a:pt x="6656" y="168"/>
                  </a:cubicBezTo>
                  <a:cubicBezTo>
                    <a:pt x="6626" y="145"/>
                    <a:pt x="6588" y="133"/>
                    <a:pt x="6547" y="133"/>
                  </a:cubicBezTo>
                  <a:cubicBezTo>
                    <a:pt x="6507" y="133"/>
                    <a:pt x="6466" y="145"/>
                    <a:pt x="6430" y="168"/>
                  </a:cubicBezTo>
                  <a:cubicBezTo>
                    <a:pt x="6301" y="255"/>
                    <a:pt x="6164" y="287"/>
                    <a:pt x="6009" y="287"/>
                  </a:cubicBezTo>
                  <a:cubicBezTo>
                    <a:pt x="5820" y="287"/>
                    <a:pt x="5602" y="239"/>
                    <a:pt x="5335" y="180"/>
                  </a:cubicBezTo>
                  <a:cubicBezTo>
                    <a:pt x="5287" y="168"/>
                    <a:pt x="5239" y="168"/>
                    <a:pt x="5192" y="157"/>
                  </a:cubicBezTo>
                  <a:cubicBezTo>
                    <a:pt x="5175" y="150"/>
                    <a:pt x="5158" y="147"/>
                    <a:pt x="5140" y="147"/>
                  </a:cubicBezTo>
                  <a:cubicBezTo>
                    <a:pt x="5061" y="147"/>
                    <a:pt x="4983" y="211"/>
                    <a:pt x="4954" y="299"/>
                  </a:cubicBezTo>
                  <a:cubicBezTo>
                    <a:pt x="4930" y="407"/>
                    <a:pt x="5001" y="514"/>
                    <a:pt x="5108" y="538"/>
                  </a:cubicBezTo>
                  <a:cubicBezTo>
                    <a:pt x="5156" y="561"/>
                    <a:pt x="5192" y="561"/>
                    <a:pt x="5239" y="573"/>
                  </a:cubicBezTo>
                  <a:cubicBezTo>
                    <a:pt x="5512" y="626"/>
                    <a:pt x="5765" y="679"/>
                    <a:pt x="6003" y="679"/>
                  </a:cubicBezTo>
                  <a:cubicBezTo>
                    <a:pt x="6088" y="679"/>
                    <a:pt x="6170" y="672"/>
                    <a:pt x="6251" y="657"/>
                  </a:cubicBezTo>
                  <a:lnTo>
                    <a:pt x="6251" y="657"/>
                  </a:lnTo>
                  <a:cubicBezTo>
                    <a:pt x="6108" y="1192"/>
                    <a:pt x="5704" y="2193"/>
                    <a:pt x="4799" y="2550"/>
                  </a:cubicBezTo>
                  <a:cubicBezTo>
                    <a:pt x="4613" y="2621"/>
                    <a:pt x="4429" y="2651"/>
                    <a:pt x="4249" y="2651"/>
                  </a:cubicBezTo>
                  <a:cubicBezTo>
                    <a:pt x="3679" y="2651"/>
                    <a:pt x="3144" y="2348"/>
                    <a:pt x="2691" y="2085"/>
                  </a:cubicBezTo>
                  <a:cubicBezTo>
                    <a:pt x="2453" y="1954"/>
                    <a:pt x="2251" y="1835"/>
                    <a:pt x="2072" y="1776"/>
                  </a:cubicBezTo>
                  <a:cubicBezTo>
                    <a:pt x="2275" y="1335"/>
                    <a:pt x="2798" y="502"/>
                    <a:pt x="3727" y="419"/>
                  </a:cubicBezTo>
                  <a:cubicBezTo>
                    <a:pt x="3823" y="414"/>
                    <a:pt x="3921" y="411"/>
                    <a:pt x="4019" y="411"/>
                  </a:cubicBezTo>
                  <a:cubicBezTo>
                    <a:pt x="4190" y="411"/>
                    <a:pt x="4363" y="420"/>
                    <a:pt x="4537" y="442"/>
                  </a:cubicBezTo>
                  <a:cubicBezTo>
                    <a:pt x="4545" y="443"/>
                    <a:pt x="4552" y="444"/>
                    <a:pt x="4560" y="444"/>
                  </a:cubicBezTo>
                  <a:cubicBezTo>
                    <a:pt x="4659" y="444"/>
                    <a:pt x="4752" y="374"/>
                    <a:pt x="4763" y="264"/>
                  </a:cubicBezTo>
                  <a:cubicBezTo>
                    <a:pt x="4775" y="157"/>
                    <a:pt x="4703" y="49"/>
                    <a:pt x="4584" y="38"/>
                  </a:cubicBezTo>
                  <a:cubicBezTo>
                    <a:pt x="4419" y="12"/>
                    <a:pt x="4256" y="0"/>
                    <a:pt x="40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1" name="Google Shape;10471;p59"/>
          <p:cNvSpPr/>
          <p:nvPr/>
        </p:nvSpPr>
        <p:spPr>
          <a:xfrm>
            <a:off x="2616005" y="2886542"/>
            <a:ext cx="371366" cy="372353"/>
          </a:xfrm>
          <a:custGeom>
            <a:avLst/>
            <a:gdLst/>
            <a:ahLst/>
            <a:cxnLst/>
            <a:rect l="l" t="t" r="r" b="b"/>
            <a:pathLst>
              <a:path w="11658" h="11689" extrusionOk="0">
                <a:moveTo>
                  <a:pt x="10514" y="382"/>
                </a:moveTo>
                <a:cubicBezTo>
                  <a:pt x="10657" y="382"/>
                  <a:pt x="10812" y="441"/>
                  <a:pt x="10907" y="548"/>
                </a:cubicBezTo>
                <a:lnTo>
                  <a:pt x="11181" y="810"/>
                </a:lnTo>
                <a:cubicBezTo>
                  <a:pt x="11288" y="917"/>
                  <a:pt x="11348" y="1072"/>
                  <a:pt x="11348" y="1215"/>
                </a:cubicBezTo>
                <a:cubicBezTo>
                  <a:pt x="11348" y="1370"/>
                  <a:pt x="11288" y="1513"/>
                  <a:pt x="11181" y="1620"/>
                </a:cubicBezTo>
                <a:lnTo>
                  <a:pt x="10240" y="2560"/>
                </a:lnTo>
                <a:lnTo>
                  <a:pt x="9169" y="1489"/>
                </a:lnTo>
                <a:lnTo>
                  <a:pt x="10109" y="548"/>
                </a:lnTo>
                <a:cubicBezTo>
                  <a:pt x="10217" y="441"/>
                  <a:pt x="10359" y="382"/>
                  <a:pt x="10514" y="382"/>
                </a:cubicBezTo>
                <a:close/>
                <a:moveTo>
                  <a:pt x="8919" y="1715"/>
                </a:moveTo>
                <a:lnTo>
                  <a:pt x="9990" y="2799"/>
                </a:lnTo>
                <a:lnTo>
                  <a:pt x="6954" y="5823"/>
                </a:lnTo>
                <a:lnTo>
                  <a:pt x="5883" y="4751"/>
                </a:lnTo>
                <a:lnTo>
                  <a:pt x="8919" y="1715"/>
                </a:lnTo>
                <a:close/>
                <a:moveTo>
                  <a:pt x="1966" y="8668"/>
                </a:moveTo>
                <a:lnTo>
                  <a:pt x="3037" y="9740"/>
                </a:lnTo>
                <a:lnTo>
                  <a:pt x="2370" y="10419"/>
                </a:lnTo>
                <a:cubicBezTo>
                  <a:pt x="2335" y="10454"/>
                  <a:pt x="2281" y="10472"/>
                  <a:pt x="2227" y="10472"/>
                </a:cubicBezTo>
                <a:cubicBezTo>
                  <a:pt x="2174" y="10472"/>
                  <a:pt x="2120" y="10454"/>
                  <a:pt x="2085" y="10419"/>
                </a:cubicBezTo>
                <a:lnTo>
                  <a:pt x="1299" y="9621"/>
                </a:lnTo>
                <a:cubicBezTo>
                  <a:pt x="1215" y="9549"/>
                  <a:pt x="1215" y="9418"/>
                  <a:pt x="1299" y="9347"/>
                </a:cubicBezTo>
                <a:lnTo>
                  <a:pt x="1966" y="8668"/>
                </a:lnTo>
                <a:close/>
                <a:moveTo>
                  <a:pt x="1311" y="10133"/>
                </a:moveTo>
                <a:lnTo>
                  <a:pt x="1596" y="10407"/>
                </a:lnTo>
                <a:lnTo>
                  <a:pt x="1061" y="10942"/>
                </a:lnTo>
                <a:cubicBezTo>
                  <a:pt x="1019" y="10984"/>
                  <a:pt x="965" y="11005"/>
                  <a:pt x="913" y="11005"/>
                </a:cubicBezTo>
                <a:cubicBezTo>
                  <a:pt x="861" y="11005"/>
                  <a:pt x="811" y="10984"/>
                  <a:pt x="775" y="10942"/>
                </a:cubicBezTo>
                <a:cubicBezTo>
                  <a:pt x="703" y="10859"/>
                  <a:pt x="703" y="10740"/>
                  <a:pt x="775" y="10669"/>
                </a:cubicBezTo>
                <a:lnTo>
                  <a:pt x="1311" y="10133"/>
                </a:lnTo>
                <a:close/>
                <a:moveTo>
                  <a:pt x="10467" y="1"/>
                </a:moveTo>
                <a:cubicBezTo>
                  <a:pt x="10228" y="1"/>
                  <a:pt x="9990" y="84"/>
                  <a:pt x="9812" y="263"/>
                </a:cubicBezTo>
                <a:lnTo>
                  <a:pt x="8871" y="1203"/>
                </a:lnTo>
                <a:lnTo>
                  <a:pt x="8728" y="1048"/>
                </a:lnTo>
                <a:cubicBezTo>
                  <a:pt x="8687" y="1013"/>
                  <a:pt x="8642" y="995"/>
                  <a:pt x="8597" y="995"/>
                </a:cubicBezTo>
                <a:cubicBezTo>
                  <a:pt x="8553" y="995"/>
                  <a:pt x="8508" y="1013"/>
                  <a:pt x="8466" y="1048"/>
                </a:cubicBezTo>
                <a:cubicBezTo>
                  <a:pt x="8395" y="1120"/>
                  <a:pt x="8395" y="1227"/>
                  <a:pt x="8466" y="1310"/>
                </a:cubicBezTo>
                <a:lnTo>
                  <a:pt x="8621" y="1453"/>
                </a:lnTo>
                <a:lnTo>
                  <a:pt x="5037" y="5037"/>
                </a:lnTo>
                <a:cubicBezTo>
                  <a:pt x="4954" y="5120"/>
                  <a:pt x="4954" y="5216"/>
                  <a:pt x="5037" y="5299"/>
                </a:cubicBezTo>
                <a:cubicBezTo>
                  <a:pt x="5073" y="5335"/>
                  <a:pt x="5118" y="5352"/>
                  <a:pt x="5162" y="5352"/>
                </a:cubicBezTo>
                <a:cubicBezTo>
                  <a:pt x="5207" y="5352"/>
                  <a:pt x="5252" y="5335"/>
                  <a:pt x="5287" y="5299"/>
                </a:cubicBezTo>
                <a:lnTo>
                  <a:pt x="5597" y="4977"/>
                </a:lnTo>
                <a:lnTo>
                  <a:pt x="6668" y="6049"/>
                </a:lnTo>
                <a:cubicBezTo>
                  <a:pt x="6299" y="6525"/>
                  <a:pt x="6073" y="6978"/>
                  <a:pt x="5883" y="7382"/>
                </a:cubicBezTo>
                <a:cubicBezTo>
                  <a:pt x="5430" y="8287"/>
                  <a:pt x="5097" y="9002"/>
                  <a:pt x="3275" y="9526"/>
                </a:cubicBezTo>
                <a:lnTo>
                  <a:pt x="2156" y="8406"/>
                </a:lnTo>
                <a:lnTo>
                  <a:pt x="4597" y="5966"/>
                </a:lnTo>
                <a:cubicBezTo>
                  <a:pt x="4680" y="5894"/>
                  <a:pt x="4680" y="5787"/>
                  <a:pt x="4597" y="5716"/>
                </a:cubicBezTo>
                <a:cubicBezTo>
                  <a:pt x="4561" y="5674"/>
                  <a:pt x="4516" y="5653"/>
                  <a:pt x="4472" y="5653"/>
                </a:cubicBezTo>
                <a:cubicBezTo>
                  <a:pt x="4427" y="5653"/>
                  <a:pt x="4382" y="5674"/>
                  <a:pt x="4347" y="5716"/>
                </a:cubicBezTo>
                <a:lnTo>
                  <a:pt x="989" y="9073"/>
                </a:lnTo>
                <a:cubicBezTo>
                  <a:pt x="775" y="9287"/>
                  <a:pt x="775" y="9645"/>
                  <a:pt x="989" y="9847"/>
                </a:cubicBezTo>
                <a:lnTo>
                  <a:pt x="1001" y="9859"/>
                </a:lnTo>
                <a:lnTo>
                  <a:pt x="465" y="10395"/>
                </a:lnTo>
                <a:cubicBezTo>
                  <a:pt x="299" y="10561"/>
                  <a:pt x="251" y="10811"/>
                  <a:pt x="358" y="11026"/>
                </a:cubicBezTo>
                <a:lnTo>
                  <a:pt x="1" y="11383"/>
                </a:lnTo>
                <a:cubicBezTo>
                  <a:pt x="1" y="11454"/>
                  <a:pt x="1" y="11562"/>
                  <a:pt x="61" y="11633"/>
                </a:cubicBezTo>
                <a:cubicBezTo>
                  <a:pt x="92" y="11670"/>
                  <a:pt x="139" y="11688"/>
                  <a:pt x="187" y="11688"/>
                </a:cubicBezTo>
                <a:cubicBezTo>
                  <a:pt x="232" y="11688"/>
                  <a:pt x="276" y="11673"/>
                  <a:pt x="311" y="11645"/>
                </a:cubicBezTo>
                <a:lnTo>
                  <a:pt x="668" y="11288"/>
                </a:lnTo>
                <a:cubicBezTo>
                  <a:pt x="745" y="11326"/>
                  <a:pt x="827" y="11345"/>
                  <a:pt x="908" y="11345"/>
                </a:cubicBezTo>
                <a:cubicBezTo>
                  <a:pt x="1052" y="11345"/>
                  <a:pt x="1192" y="11287"/>
                  <a:pt x="1299" y="11181"/>
                </a:cubicBezTo>
                <a:lnTo>
                  <a:pt x="1835" y="10645"/>
                </a:lnTo>
                <a:cubicBezTo>
                  <a:pt x="1942" y="10752"/>
                  <a:pt x="2073" y="10811"/>
                  <a:pt x="2204" y="10811"/>
                </a:cubicBezTo>
                <a:cubicBezTo>
                  <a:pt x="2358" y="10811"/>
                  <a:pt x="2501" y="10752"/>
                  <a:pt x="2608" y="10645"/>
                </a:cubicBezTo>
                <a:lnTo>
                  <a:pt x="3370" y="9895"/>
                </a:lnTo>
                <a:cubicBezTo>
                  <a:pt x="5371" y="9335"/>
                  <a:pt x="5776" y="8502"/>
                  <a:pt x="6240" y="7549"/>
                </a:cubicBezTo>
                <a:cubicBezTo>
                  <a:pt x="6442" y="7121"/>
                  <a:pt x="6668" y="6656"/>
                  <a:pt x="7073" y="6180"/>
                </a:cubicBezTo>
                <a:lnTo>
                  <a:pt x="10228" y="3025"/>
                </a:lnTo>
                <a:lnTo>
                  <a:pt x="10526" y="3322"/>
                </a:lnTo>
                <a:lnTo>
                  <a:pt x="8407" y="5442"/>
                </a:lnTo>
                <a:cubicBezTo>
                  <a:pt x="8347" y="5501"/>
                  <a:pt x="8335" y="5608"/>
                  <a:pt x="8395" y="5680"/>
                </a:cubicBezTo>
                <a:cubicBezTo>
                  <a:pt x="8426" y="5717"/>
                  <a:pt x="8473" y="5735"/>
                  <a:pt x="8522" y="5735"/>
                </a:cubicBezTo>
                <a:cubicBezTo>
                  <a:pt x="8566" y="5735"/>
                  <a:pt x="8611" y="5720"/>
                  <a:pt x="8645" y="5692"/>
                </a:cubicBezTo>
                <a:lnTo>
                  <a:pt x="10883" y="3465"/>
                </a:lnTo>
                <a:cubicBezTo>
                  <a:pt x="10955" y="3382"/>
                  <a:pt x="10955" y="3287"/>
                  <a:pt x="10883" y="3203"/>
                </a:cubicBezTo>
                <a:lnTo>
                  <a:pt x="10455" y="2775"/>
                </a:lnTo>
                <a:lnTo>
                  <a:pt x="11383" y="1834"/>
                </a:lnTo>
                <a:cubicBezTo>
                  <a:pt x="11562" y="1656"/>
                  <a:pt x="11657" y="1441"/>
                  <a:pt x="11657" y="1179"/>
                </a:cubicBezTo>
                <a:cubicBezTo>
                  <a:pt x="11657" y="929"/>
                  <a:pt x="11562" y="703"/>
                  <a:pt x="11383" y="524"/>
                </a:cubicBezTo>
                <a:lnTo>
                  <a:pt x="11121" y="263"/>
                </a:lnTo>
                <a:cubicBezTo>
                  <a:pt x="10943" y="84"/>
                  <a:pt x="10717" y="1"/>
                  <a:pt x="104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2" name="Google Shape;10472;p59"/>
          <p:cNvSpPr/>
          <p:nvPr/>
        </p:nvSpPr>
        <p:spPr>
          <a:xfrm>
            <a:off x="2160129" y="1516235"/>
            <a:ext cx="399780" cy="341740"/>
          </a:xfrm>
          <a:custGeom>
            <a:avLst/>
            <a:gdLst/>
            <a:ahLst/>
            <a:cxnLst/>
            <a:rect l="l" t="t" r="r" b="b"/>
            <a:pathLst>
              <a:path w="12550" h="10728" extrusionOk="0">
                <a:moveTo>
                  <a:pt x="6298" y="369"/>
                </a:moveTo>
                <a:cubicBezTo>
                  <a:pt x="6306" y="369"/>
                  <a:pt x="6315" y="369"/>
                  <a:pt x="6323" y="370"/>
                </a:cubicBezTo>
                <a:cubicBezTo>
                  <a:pt x="6442" y="393"/>
                  <a:pt x="6525" y="477"/>
                  <a:pt x="6525" y="596"/>
                </a:cubicBezTo>
                <a:cubicBezTo>
                  <a:pt x="6525" y="727"/>
                  <a:pt x="6430" y="834"/>
                  <a:pt x="6287" y="834"/>
                </a:cubicBezTo>
                <a:cubicBezTo>
                  <a:pt x="6156" y="834"/>
                  <a:pt x="6049" y="727"/>
                  <a:pt x="6049" y="596"/>
                </a:cubicBezTo>
                <a:cubicBezTo>
                  <a:pt x="6049" y="482"/>
                  <a:pt x="6136" y="369"/>
                  <a:pt x="6298" y="369"/>
                </a:cubicBezTo>
                <a:close/>
                <a:moveTo>
                  <a:pt x="6871" y="727"/>
                </a:moveTo>
                <a:lnTo>
                  <a:pt x="8668" y="2513"/>
                </a:lnTo>
                <a:lnTo>
                  <a:pt x="3906" y="2513"/>
                </a:lnTo>
                <a:lnTo>
                  <a:pt x="5716" y="727"/>
                </a:lnTo>
                <a:cubicBezTo>
                  <a:pt x="5775" y="1001"/>
                  <a:pt x="6013" y="1191"/>
                  <a:pt x="6287" y="1191"/>
                </a:cubicBezTo>
                <a:cubicBezTo>
                  <a:pt x="6573" y="1191"/>
                  <a:pt x="6811" y="1001"/>
                  <a:pt x="6871" y="727"/>
                </a:cubicBezTo>
                <a:close/>
                <a:moveTo>
                  <a:pt x="3573" y="8787"/>
                </a:moveTo>
                <a:cubicBezTo>
                  <a:pt x="5216" y="8787"/>
                  <a:pt x="5097" y="8787"/>
                  <a:pt x="5156" y="8799"/>
                </a:cubicBezTo>
                <a:cubicBezTo>
                  <a:pt x="5275" y="8823"/>
                  <a:pt x="5370" y="8942"/>
                  <a:pt x="5370" y="9061"/>
                </a:cubicBezTo>
                <a:lnTo>
                  <a:pt x="5370" y="9513"/>
                </a:lnTo>
                <a:lnTo>
                  <a:pt x="3287" y="9513"/>
                </a:lnTo>
                <a:cubicBezTo>
                  <a:pt x="3275" y="9049"/>
                  <a:pt x="3275" y="9049"/>
                  <a:pt x="3287" y="9002"/>
                </a:cubicBezTo>
                <a:cubicBezTo>
                  <a:pt x="3334" y="8859"/>
                  <a:pt x="3430" y="8787"/>
                  <a:pt x="3573" y="8787"/>
                </a:cubicBezTo>
                <a:close/>
                <a:moveTo>
                  <a:pt x="10651" y="2885"/>
                </a:moveTo>
                <a:cubicBezTo>
                  <a:pt x="11916" y="2885"/>
                  <a:pt x="11740" y="2894"/>
                  <a:pt x="11740" y="2929"/>
                </a:cubicBezTo>
                <a:cubicBezTo>
                  <a:pt x="11729" y="9255"/>
                  <a:pt x="11779" y="9516"/>
                  <a:pt x="11713" y="9516"/>
                </a:cubicBezTo>
                <a:cubicBezTo>
                  <a:pt x="11707" y="9516"/>
                  <a:pt x="11700" y="9513"/>
                  <a:pt x="11693" y="9513"/>
                </a:cubicBezTo>
                <a:lnTo>
                  <a:pt x="5739" y="9513"/>
                </a:lnTo>
                <a:lnTo>
                  <a:pt x="5739" y="9144"/>
                </a:lnTo>
                <a:lnTo>
                  <a:pt x="11193" y="9144"/>
                </a:lnTo>
                <a:cubicBezTo>
                  <a:pt x="11288" y="9144"/>
                  <a:pt x="11371" y="9049"/>
                  <a:pt x="11371" y="8966"/>
                </a:cubicBezTo>
                <a:lnTo>
                  <a:pt x="11371" y="3441"/>
                </a:lnTo>
                <a:cubicBezTo>
                  <a:pt x="11371" y="3334"/>
                  <a:pt x="11276" y="3263"/>
                  <a:pt x="11193" y="3263"/>
                </a:cubicBezTo>
                <a:lnTo>
                  <a:pt x="3346" y="3263"/>
                </a:lnTo>
                <a:cubicBezTo>
                  <a:pt x="3239" y="3263"/>
                  <a:pt x="3168" y="3346"/>
                  <a:pt x="3168" y="3441"/>
                </a:cubicBezTo>
                <a:cubicBezTo>
                  <a:pt x="3168" y="3537"/>
                  <a:pt x="3251" y="3620"/>
                  <a:pt x="3346" y="3620"/>
                </a:cubicBezTo>
                <a:lnTo>
                  <a:pt x="10990" y="3620"/>
                </a:lnTo>
                <a:lnTo>
                  <a:pt x="10990" y="8775"/>
                </a:lnTo>
                <a:lnTo>
                  <a:pt x="5656" y="8775"/>
                </a:lnTo>
                <a:cubicBezTo>
                  <a:pt x="5561" y="8585"/>
                  <a:pt x="5370" y="8454"/>
                  <a:pt x="5156" y="8430"/>
                </a:cubicBezTo>
                <a:cubicBezTo>
                  <a:pt x="5128" y="8422"/>
                  <a:pt x="4938" y="8419"/>
                  <a:pt x="4696" y="8419"/>
                </a:cubicBezTo>
                <a:cubicBezTo>
                  <a:pt x="4212" y="8419"/>
                  <a:pt x="3521" y="8430"/>
                  <a:pt x="3513" y="8430"/>
                </a:cubicBezTo>
                <a:cubicBezTo>
                  <a:pt x="3287" y="8442"/>
                  <a:pt x="3072" y="8573"/>
                  <a:pt x="2977" y="8775"/>
                </a:cubicBezTo>
                <a:lnTo>
                  <a:pt x="1608" y="8775"/>
                </a:lnTo>
                <a:lnTo>
                  <a:pt x="1608" y="3620"/>
                </a:lnTo>
                <a:lnTo>
                  <a:pt x="2656" y="3620"/>
                </a:lnTo>
                <a:cubicBezTo>
                  <a:pt x="2763" y="3620"/>
                  <a:pt x="2834" y="3525"/>
                  <a:pt x="2834" y="3441"/>
                </a:cubicBezTo>
                <a:cubicBezTo>
                  <a:pt x="2834" y="3334"/>
                  <a:pt x="2751" y="3263"/>
                  <a:pt x="2656" y="3263"/>
                </a:cubicBezTo>
                <a:lnTo>
                  <a:pt x="1429" y="3263"/>
                </a:lnTo>
                <a:cubicBezTo>
                  <a:pt x="1322" y="3263"/>
                  <a:pt x="1251" y="3346"/>
                  <a:pt x="1251" y="3441"/>
                </a:cubicBezTo>
                <a:lnTo>
                  <a:pt x="1251" y="8966"/>
                </a:lnTo>
                <a:cubicBezTo>
                  <a:pt x="1251" y="9061"/>
                  <a:pt x="1334" y="9144"/>
                  <a:pt x="1429" y="9144"/>
                </a:cubicBezTo>
                <a:lnTo>
                  <a:pt x="2918" y="9144"/>
                </a:lnTo>
                <a:lnTo>
                  <a:pt x="2918" y="9513"/>
                </a:lnTo>
                <a:lnTo>
                  <a:pt x="917" y="9513"/>
                </a:lnTo>
                <a:cubicBezTo>
                  <a:pt x="894" y="9513"/>
                  <a:pt x="870" y="9490"/>
                  <a:pt x="870" y="9466"/>
                </a:cubicBezTo>
                <a:cubicBezTo>
                  <a:pt x="892" y="3144"/>
                  <a:pt x="843" y="2892"/>
                  <a:pt x="900" y="2892"/>
                </a:cubicBezTo>
                <a:cubicBezTo>
                  <a:pt x="905" y="2892"/>
                  <a:pt x="911" y="2894"/>
                  <a:pt x="917" y="2894"/>
                </a:cubicBezTo>
                <a:cubicBezTo>
                  <a:pt x="6680" y="2894"/>
                  <a:pt x="9386" y="2885"/>
                  <a:pt x="10651" y="2885"/>
                </a:cubicBezTo>
                <a:close/>
                <a:moveTo>
                  <a:pt x="6277" y="0"/>
                </a:moveTo>
                <a:cubicBezTo>
                  <a:pt x="6049" y="0"/>
                  <a:pt x="5823" y="84"/>
                  <a:pt x="5656" y="250"/>
                </a:cubicBezTo>
                <a:lnTo>
                  <a:pt x="3370" y="2513"/>
                </a:lnTo>
                <a:lnTo>
                  <a:pt x="894" y="2513"/>
                </a:lnTo>
                <a:cubicBezTo>
                  <a:pt x="667" y="2513"/>
                  <a:pt x="477" y="2691"/>
                  <a:pt x="477" y="2929"/>
                </a:cubicBezTo>
                <a:lnTo>
                  <a:pt x="477" y="9513"/>
                </a:lnTo>
                <a:lnTo>
                  <a:pt x="417" y="9513"/>
                </a:lnTo>
                <a:cubicBezTo>
                  <a:pt x="191" y="9513"/>
                  <a:pt x="1" y="9692"/>
                  <a:pt x="1" y="9930"/>
                </a:cubicBezTo>
                <a:lnTo>
                  <a:pt x="1" y="10311"/>
                </a:lnTo>
                <a:cubicBezTo>
                  <a:pt x="1" y="10537"/>
                  <a:pt x="179" y="10728"/>
                  <a:pt x="417" y="10728"/>
                </a:cubicBezTo>
                <a:lnTo>
                  <a:pt x="7811" y="10728"/>
                </a:lnTo>
                <a:cubicBezTo>
                  <a:pt x="7918" y="10728"/>
                  <a:pt x="7990" y="10645"/>
                  <a:pt x="7990" y="10549"/>
                </a:cubicBezTo>
                <a:cubicBezTo>
                  <a:pt x="7990" y="10454"/>
                  <a:pt x="7895" y="10371"/>
                  <a:pt x="7811" y="10371"/>
                </a:cubicBezTo>
                <a:cubicBezTo>
                  <a:pt x="7049" y="10370"/>
                  <a:pt x="6364" y="10369"/>
                  <a:pt x="5749" y="10369"/>
                </a:cubicBezTo>
                <a:cubicBezTo>
                  <a:pt x="2782" y="10369"/>
                  <a:pt x="1447" y="10380"/>
                  <a:pt x="848" y="10380"/>
                </a:cubicBezTo>
                <a:cubicBezTo>
                  <a:pt x="301" y="10380"/>
                  <a:pt x="370" y="10371"/>
                  <a:pt x="370" y="10335"/>
                </a:cubicBezTo>
                <a:lnTo>
                  <a:pt x="370" y="9942"/>
                </a:lnTo>
                <a:cubicBezTo>
                  <a:pt x="370" y="9904"/>
                  <a:pt x="221" y="9896"/>
                  <a:pt x="1247" y="9896"/>
                </a:cubicBezTo>
                <a:cubicBezTo>
                  <a:pt x="2032" y="9896"/>
                  <a:pt x="3502" y="9901"/>
                  <a:pt x="6250" y="9901"/>
                </a:cubicBezTo>
                <a:cubicBezTo>
                  <a:pt x="7776" y="9901"/>
                  <a:pt x="9695" y="9899"/>
                  <a:pt x="12109" y="9894"/>
                </a:cubicBezTo>
                <a:cubicBezTo>
                  <a:pt x="12145" y="9894"/>
                  <a:pt x="12157" y="9918"/>
                  <a:pt x="12157" y="9942"/>
                </a:cubicBezTo>
                <a:lnTo>
                  <a:pt x="12157" y="10335"/>
                </a:lnTo>
                <a:cubicBezTo>
                  <a:pt x="12157" y="10359"/>
                  <a:pt x="12145" y="10371"/>
                  <a:pt x="12109" y="10371"/>
                </a:cubicBezTo>
                <a:lnTo>
                  <a:pt x="8478" y="10371"/>
                </a:lnTo>
                <a:cubicBezTo>
                  <a:pt x="8371" y="10371"/>
                  <a:pt x="8299" y="10466"/>
                  <a:pt x="8299" y="10549"/>
                </a:cubicBezTo>
                <a:cubicBezTo>
                  <a:pt x="8299" y="10656"/>
                  <a:pt x="8395" y="10728"/>
                  <a:pt x="8478" y="10728"/>
                </a:cubicBezTo>
                <a:lnTo>
                  <a:pt x="12145" y="10728"/>
                </a:lnTo>
                <a:cubicBezTo>
                  <a:pt x="12359" y="10728"/>
                  <a:pt x="12550" y="10549"/>
                  <a:pt x="12550" y="10311"/>
                </a:cubicBezTo>
                <a:lnTo>
                  <a:pt x="12550" y="9930"/>
                </a:lnTo>
                <a:cubicBezTo>
                  <a:pt x="12550" y="9704"/>
                  <a:pt x="12383" y="9513"/>
                  <a:pt x="12145" y="9513"/>
                </a:cubicBezTo>
                <a:lnTo>
                  <a:pt x="12086" y="9513"/>
                </a:lnTo>
                <a:lnTo>
                  <a:pt x="12086" y="2929"/>
                </a:lnTo>
                <a:cubicBezTo>
                  <a:pt x="12086" y="2715"/>
                  <a:pt x="11907" y="2513"/>
                  <a:pt x="11669" y="2513"/>
                </a:cubicBezTo>
                <a:lnTo>
                  <a:pt x="9180" y="2513"/>
                </a:lnTo>
                <a:lnTo>
                  <a:pt x="6906" y="250"/>
                </a:lnTo>
                <a:cubicBezTo>
                  <a:pt x="6734" y="84"/>
                  <a:pt x="6504" y="0"/>
                  <a:pt x="6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3" name="Google Shape;10473;p59"/>
          <p:cNvGrpSpPr/>
          <p:nvPr/>
        </p:nvGrpSpPr>
        <p:grpSpPr>
          <a:xfrm>
            <a:off x="1297654" y="1504481"/>
            <a:ext cx="349354" cy="362223"/>
            <a:chOff x="1297654" y="1504481"/>
            <a:chExt cx="349354" cy="362223"/>
          </a:xfrm>
        </p:grpSpPr>
        <p:sp>
          <p:nvSpPr>
            <p:cNvPr id="10474" name="Google Shape;10474;p59"/>
            <p:cNvSpPr/>
            <p:nvPr/>
          </p:nvSpPr>
          <p:spPr>
            <a:xfrm>
              <a:off x="1297654" y="1504481"/>
              <a:ext cx="349354" cy="362223"/>
            </a:xfrm>
            <a:custGeom>
              <a:avLst/>
              <a:gdLst/>
              <a:ahLst/>
              <a:cxnLst/>
              <a:rect l="l" t="t" r="r" b="b"/>
              <a:pathLst>
                <a:path w="10967" h="11371" extrusionOk="0">
                  <a:moveTo>
                    <a:pt x="6252" y="381"/>
                  </a:moveTo>
                  <a:cubicBezTo>
                    <a:pt x="6799" y="381"/>
                    <a:pt x="7335" y="679"/>
                    <a:pt x="7621" y="1155"/>
                  </a:cubicBezTo>
                  <a:cubicBezTo>
                    <a:pt x="7704" y="1274"/>
                    <a:pt x="7811" y="1655"/>
                    <a:pt x="8240" y="1786"/>
                  </a:cubicBezTo>
                  <a:cubicBezTo>
                    <a:pt x="8157" y="1858"/>
                    <a:pt x="7978" y="2036"/>
                    <a:pt x="7919" y="2108"/>
                  </a:cubicBezTo>
                  <a:cubicBezTo>
                    <a:pt x="7454" y="1870"/>
                    <a:pt x="7335" y="1501"/>
                    <a:pt x="7252" y="1381"/>
                  </a:cubicBezTo>
                  <a:cubicBezTo>
                    <a:pt x="7037" y="1036"/>
                    <a:pt x="6656" y="822"/>
                    <a:pt x="6252" y="822"/>
                  </a:cubicBezTo>
                  <a:lnTo>
                    <a:pt x="4644" y="822"/>
                  </a:lnTo>
                  <a:cubicBezTo>
                    <a:pt x="4239" y="822"/>
                    <a:pt x="3847" y="1036"/>
                    <a:pt x="3644" y="1381"/>
                  </a:cubicBezTo>
                  <a:cubicBezTo>
                    <a:pt x="3537" y="1512"/>
                    <a:pt x="3442" y="1846"/>
                    <a:pt x="3049" y="2072"/>
                  </a:cubicBezTo>
                  <a:lnTo>
                    <a:pt x="3025" y="2036"/>
                  </a:lnTo>
                  <a:lnTo>
                    <a:pt x="2870" y="1893"/>
                  </a:lnTo>
                  <a:cubicBezTo>
                    <a:pt x="2823" y="1846"/>
                    <a:pt x="2763" y="1798"/>
                    <a:pt x="2704" y="1751"/>
                  </a:cubicBezTo>
                  <a:cubicBezTo>
                    <a:pt x="3085" y="1608"/>
                    <a:pt x="3168" y="1310"/>
                    <a:pt x="3275" y="1155"/>
                  </a:cubicBezTo>
                  <a:cubicBezTo>
                    <a:pt x="3549" y="679"/>
                    <a:pt x="4073" y="381"/>
                    <a:pt x="4644" y="381"/>
                  </a:cubicBezTo>
                  <a:close/>
                  <a:moveTo>
                    <a:pt x="2620" y="3703"/>
                  </a:moveTo>
                  <a:lnTo>
                    <a:pt x="2823" y="3894"/>
                  </a:lnTo>
                  <a:cubicBezTo>
                    <a:pt x="2727" y="3989"/>
                    <a:pt x="2632" y="4096"/>
                    <a:pt x="2549" y="4191"/>
                  </a:cubicBezTo>
                  <a:lnTo>
                    <a:pt x="2334" y="3989"/>
                  </a:lnTo>
                  <a:lnTo>
                    <a:pt x="2620" y="3703"/>
                  </a:lnTo>
                  <a:close/>
                  <a:moveTo>
                    <a:pt x="8383" y="3703"/>
                  </a:moveTo>
                  <a:lnTo>
                    <a:pt x="8657" y="3989"/>
                  </a:lnTo>
                  <a:lnTo>
                    <a:pt x="8454" y="4191"/>
                  </a:lnTo>
                  <a:cubicBezTo>
                    <a:pt x="8383" y="4120"/>
                    <a:pt x="8276" y="4001"/>
                    <a:pt x="8169" y="3894"/>
                  </a:cubicBezTo>
                  <a:lnTo>
                    <a:pt x="8383" y="3703"/>
                  </a:lnTo>
                  <a:close/>
                  <a:moveTo>
                    <a:pt x="1727" y="1774"/>
                  </a:moveTo>
                  <a:cubicBezTo>
                    <a:pt x="2394" y="1774"/>
                    <a:pt x="2704" y="2251"/>
                    <a:pt x="2763" y="2286"/>
                  </a:cubicBezTo>
                  <a:cubicBezTo>
                    <a:pt x="2930" y="2453"/>
                    <a:pt x="2977" y="2691"/>
                    <a:pt x="2882" y="2905"/>
                  </a:cubicBezTo>
                  <a:cubicBezTo>
                    <a:pt x="2846" y="3013"/>
                    <a:pt x="2882" y="2965"/>
                    <a:pt x="1763" y="4072"/>
                  </a:cubicBezTo>
                  <a:cubicBezTo>
                    <a:pt x="1656" y="4185"/>
                    <a:pt x="1516" y="4242"/>
                    <a:pt x="1375" y="4242"/>
                  </a:cubicBezTo>
                  <a:cubicBezTo>
                    <a:pt x="1233" y="4242"/>
                    <a:pt x="1090" y="4185"/>
                    <a:pt x="977" y="4072"/>
                  </a:cubicBezTo>
                  <a:lnTo>
                    <a:pt x="834" y="3929"/>
                  </a:lnTo>
                  <a:cubicBezTo>
                    <a:pt x="37" y="3144"/>
                    <a:pt x="572" y="1774"/>
                    <a:pt x="1727" y="1774"/>
                  </a:cubicBezTo>
                  <a:close/>
                  <a:moveTo>
                    <a:pt x="6228" y="1155"/>
                  </a:moveTo>
                  <a:cubicBezTo>
                    <a:pt x="6514" y="1155"/>
                    <a:pt x="6799" y="1310"/>
                    <a:pt x="6930" y="1560"/>
                  </a:cubicBezTo>
                  <a:cubicBezTo>
                    <a:pt x="7026" y="1679"/>
                    <a:pt x="7180" y="2143"/>
                    <a:pt x="7740" y="2429"/>
                  </a:cubicBezTo>
                  <a:cubicBezTo>
                    <a:pt x="7645" y="2727"/>
                    <a:pt x="7716" y="3060"/>
                    <a:pt x="7954" y="3298"/>
                  </a:cubicBezTo>
                  <a:lnTo>
                    <a:pt x="8109" y="3453"/>
                  </a:lnTo>
                  <a:lnTo>
                    <a:pt x="7883" y="3679"/>
                  </a:lnTo>
                  <a:cubicBezTo>
                    <a:pt x="7190" y="3137"/>
                    <a:pt x="6339" y="2857"/>
                    <a:pt x="5480" y="2857"/>
                  </a:cubicBezTo>
                  <a:cubicBezTo>
                    <a:pt x="4980" y="2857"/>
                    <a:pt x="4478" y="2951"/>
                    <a:pt x="4001" y="3144"/>
                  </a:cubicBezTo>
                  <a:cubicBezTo>
                    <a:pt x="3906" y="3167"/>
                    <a:pt x="3870" y="3275"/>
                    <a:pt x="3906" y="3358"/>
                  </a:cubicBezTo>
                  <a:cubicBezTo>
                    <a:pt x="3933" y="3429"/>
                    <a:pt x="3999" y="3467"/>
                    <a:pt x="4065" y="3467"/>
                  </a:cubicBezTo>
                  <a:cubicBezTo>
                    <a:pt x="4088" y="3467"/>
                    <a:pt x="4111" y="3462"/>
                    <a:pt x="4132" y="3453"/>
                  </a:cubicBezTo>
                  <a:cubicBezTo>
                    <a:pt x="4579" y="3277"/>
                    <a:pt x="5034" y="3195"/>
                    <a:pt x="5479" y="3195"/>
                  </a:cubicBezTo>
                  <a:cubicBezTo>
                    <a:pt x="7404" y="3195"/>
                    <a:pt x="9133" y="4736"/>
                    <a:pt x="9133" y="6835"/>
                  </a:cubicBezTo>
                  <a:cubicBezTo>
                    <a:pt x="9133" y="8925"/>
                    <a:pt x="7411" y="10462"/>
                    <a:pt x="5498" y="10462"/>
                  </a:cubicBezTo>
                  <a:cubicBezTo>
                    <a:pt x="5047" y="10462"/>
                    <a:pt x="4585" y="10376"/>
                    <a:pt x="4132" y="10192"/>
                  </a:cubicBezTo>
                  <a:cubicBezTo>
                    <a:pt x="1442" y="9097"/>
                    <a:pt x="1049" y="5346"/>
                    <a:pt x="3585" y="3763"/>
                  </a:cubicBezTo>
                  <a:cubicBezTo>
                    <a:pt x="3656" y="3715"/>
                    <a:pt x="3692" y="3620"/>
                    <a:pt x="3644" y="3525"/>
                  </a:cubicBezTo>
                  <a:cubicBezTo>
                    <a:pt x="3611" y="3476"/>
                    <a:pt x="3551" y="3443"/>
                    <a:pt x="3489" y="3443"/>
                  </a:cubicBezTo>
                  <a:cubicBezTo>
                    <a:pt x="3461" y="3443"/>
                    <a:pt x="3432" y="3450"/>
                    <a:pt x="3406" y="3465"/>
                  </a:cubicBezTo>
                  <a:cubicBezTo>
                    <a:pt x="3299" y="3536"/>
                    <a:pt x="3192" y="3596"/>
                    <a:pt x="3096" y="3691"/>
                  </a:cubicBezTo>
                  <a:lnTo>
                    <a:pt x="2870" y="3465"/>
                  </a:lnTo>
                  <a:cubicBezTo>
                    <a:pt x="2942" y="3382"/>
                    <a:pt x="3287" y="3167"/>
                    <a:pt x="3287" y="2679"/>
                  </a:cubicBezTo>
                  <a:cubicBezTo>
                    <a:pt x="3287" y="2572"/>
                    <a:pt x="3275" y="2465"/>
                    <a:pt x="3227" y="2370"/>
                  </a:cubicBezTo>
                  <a:cubicBezTo>
                    <a:pt x="3704" y="2084"/>
                    <a:pt x="3835" y="1691"/>
                    <a:pt x="3930" y="1560"/>
                  </a:cubicBezTo>
                  <a:cubicBezTo>
                    <a:pt x="4073" y="1310"/>
                    <a:pt x="4347" y="1155"/>
                    <a:pt x="4620" y="1155"/>
                  </a:cubicBezTo>
                  <a:close/>
                  <a:moveTo>
                    <a:pt x="2811" y="9752"/>
                  </a:moveTo>
                  <a:cubicBezTo>
                    <a:pt x="3037" y="9954"/>
                    <a:pt x="3287" y="10133"/>
                    <a:pt x="3549" y="10287"/>
                  </a:cubicBezTo>
                  <a:lnTo>
                    <a:pt x="2906" y="10942"/>
                  </a:lnTo>
                  <a:cubicBezTo>
                    <a:pt x="2817" y="11031"/>
                    <a:pt x="2701" y="11076"/>
                    <a:pt x="2585" y="11076"/>
                  </a:cubicBezTo>
                  <a:cubicBezTo>
                    <a:pt x="2468" y="11076"/>
                    <a:pt x="2352" y="11031"/>
                    <a:pt x="2263" y="10942"/>
                  </a:cubicBezTo>
                  <a:cubicBezTo>
                    <a:pt x="2084" y="10764"/>
                    <a:pt x="2084" y="10478"/>
                    <a:pt x="2263" y="10299"/>
                  </a:cubicBezTo>
                  <a:lnTo>
                    <a:pt x="2811" y="9752"/>
                  </a:lnTo>
                  <a:close/>
                  <a:moveTo>
                    <a:pt x="8204" y="9752"/>
                  </a:moveTo>
                  <a:lnTo>
                    <a:pt x="8752" y="10299"/>
                  </a:lnTo>
                  <a:cubicBezTo>
                    <a:pt x="8931" y="10478"/>
                    <a:pt x="8931" y="10764"/>
                    <a:pt x="8752" y="10942"/>
                  </a:cubicBezTo>
                  <a:cubicBezTo>
                    <a:pt x="8663" y="11031"/>
                    <a:pt x="8547" y="11076"/>
                    <a:pt x="8430" y="11076"/>
                  </a:cubicBezTo>
                  <a:cubicBezTo>
                    <a:pt x="8314" y="11076"/>
                    <a:pt x="8198" y="11031"/>
                    <a:pt x="8109" y="10942"/>
                  </a:cubicBezTo>
                  <a:lnTo>
                    <a:pt x="7454" y="10287"/>
                  </a:lnTo>
                  <a:cubicBezTo>
                    <a:pt x="7740" y="10121"/>
                    <a:pt x="7978" y="9954"/>
                    <a:pt x="8204" y="9752"/>
                  </a:cubicBezTo>
                  <a:close/>
                  <a:moveTo>
                    <a:pt x="4644" y="0"/>
                  </a:moveTo>
                  <a:cubicBezTo>
                    <a:pt x="3978" y="0"/>
                    <a:pt x="3335" y="358"/>
                    <a:pt x="2989" y="929"/>
                  </a:cubicBezTo>
                  <a:lnTo>
                    <a:pt x="2858" y="1167"/>
                  </a:lnTo>
                  <a:cubicBezTo>
                    <a:pt x="2693" y="1433"/>
                    <a:pt x="2436" y="1452"/>
                    <a:pt x="2316" y="1452"/>
                  </a:cubicBezTo>
                  <a:cubicBezTo>
                    <a:pt x="2296" y="1452"/>
                    <a:pt x="2280" y="1451"/>
                    <a:pt x="2269" y="1451"/>
                  </a:cubicBezTo>
                  <a:cubicBezTo>
                    <a:pt x="2260" y="1451"/>
                    <a:pt x="2254" y="1452"/>
                    <a:pt x="2251" y="1453"/>
                  </a:cubicBezTo>
                  <a:cubicBezTo>
                    <a:pt x="2091" y="1402"/>
                    <a:pt x="1925" y="1376"/>
                    <a:pt x="1760" y="1376"/>
                  </a:cubicBezTo>
                  <a:cubicBezTo>
                    <a:pt x="1350" y="1376"/>
                    <a:pt x="943" y="1535"/>
                    <a:pt x="620" y="1858"/>
                  </a:cubicBezTo>
                  <a:cubicBezTo>
                    <a:pt x="1" y="2477"/>
                    <a:pt x="1" y="3489"/>
                    <a:pt x="620" y="4132"/>
                  </a:cubicBezTo>
                  <a:cubicBezTo>
                    <a:pt x="715" y="4191"/>
                    <a:pt x="918" y="4537"/>
                    <a:pt x="1394" y="4537"/>
                  </a:cubicBezTo>
                  <a:cubicBezTo>
                    <a:pt x="1846" y="4537"/>
                    <a:pt x="2073" y="4227"/>
                    <a:pt x="2108" y="4191"/>
                  </a:cubicBezTo>
                  <a:lnTo>
                    <a:pt x="2334" y="4418"/>
                  </a:lnTo>
                  <a:cubicBezTo>
                    <a:pt x="1144" y="6025"/>
                    <a:pt x="1370" y="8192"/>
                    <a:pt x="2585" y="9466"/>
                  </a:cubicBezTo>
                  <a:lnTo>
                    <a:pt x="2037" y="10013"/>
                  </a:lnTo>
                  <a:cubicBezTo>
                    <a:pt x="1549" y="10502"/>
                    <a:pt x="1894" y="11371"/>
                    <a:pt x="2608" y="11371"/>
                  </a:cubicBezTo>
                  <a:cubicBezTo>
                    <a:pt x="2811" y="11371"/>
                    <a:pt x="3001" y="11287"/>
                    <a:pt x="3168" y="11133"/>
                  </a:cubicBezTo>
                  <a:lnTo>
                    <a:pt x="3894" y="10394"/>
                  </a:lnTo>
                  <a:cubicBezTo>
                    <a:pt x="4403" y="10628"/>
                    <a:pt x="4958" y="10747"/>
                    <a:pt x="5518" y="10747"/>
                  </a:cubicBezTo>
                  <a:cubicBezTo>
                    <a:pt x="6071" y="10747"/>
                    <a:pt x="6630" y="10631"/>
                    <a:pt x="7157" y="10394"/>
                  </a:cubicBezTo>
                  <a:lnTo>
                    <a:pt x="7883" y="11133"/>
                  </a:lnTo>
                  <a:cubicBezTo>
                    <a:pt x="8038" y="11276"/>
                    <a:pt x="8240" y="11371"/>
                    <a:pt x="8454" y="11371"/>
                  </a:cubicBezTo>
                  <a:cubicBezTo>
                    <a:pt x="9157" y="11371"/>
                    <a:pt x="9514" y="10514"/>
                    <a:pt x="9014" y="10013"/>
                  </a:cubicBezTo>
                  <a:lnTo>
                    <a:pt x="8466" y="9466"/>
                  </a:lnTo>
                  <a:cubicBezTo>
                    <a:pt x="9752" y="8061"/>
                    <a:pt x="9871" y="5953"/>
                    <a:pt x="8716" y="4418"/>
                  </a:cubicBezTo>
                  <a:lnTo>
                    <a:pt x="8942" y="4191"/>
                  </a:lnTo>
                  <a:cubicBezTo>
                    <a:pt x="8990" y="4239"/>
                    <a:pt x="9192" y="4537"/>
                    <a:pt x="9657" y="4537"/>
                  </a:cubicBezTo>
                  <a:cubicBezTo>
                    <a:pt x="9895" y="4537"/>
                    <a:pt x="10121" y="4441"/>
                    <a:pt x="10288" y="4287"/>
                  </a:cubicBezTo>
                  <a:cubicBezTo>
                    <a:pt x="10300" y="4251"/>
                    <a:pt x="10967" y="3775"/>
                    <a:pt x="10859" y="2858"/>
                  </a:cubicBezTo>
                  <a:cubicBezTo>
                    <a:pt x="10848" y="2770"/>
                    <a:pt x="10786" y="2702"/>
                    <a:pt x="10701" y="2702"/>
                  </a:cubicBezTo>
                  <a:cubicBezTo>
                    <a:pt x="10695" y="2702"/>
                    <a:pt x="10688" y="2702"/>
                    <a:pt x="10681" y="2703"/>
                  </a:cubicBezTo>
                  <a:cubicBezTo>
                    <a:pt x="10597" y="2727"/>
                    <a:pt x="10526" y="2798"/>
                    <a:pt x="10538" y="2882"/>
                  </a:cubicBezTo>
                  <a:cubicBezTo>
                    <a:pt x="10609" y="3632"/>
                    <a:pt x="10074" y="4001"/>
                    <a:pt x="10026" y="4060"/>
                  </a:cubicBezTo>
                  <a:cubicBezTo>
                    <a:pt x="9922" y="4164"/>
                    <a:pt x="9777" y="4221"/>
                    <a:pt x="9630" y="4221"/>
                  </a:cubicBezTo>
                  <a:cubicBezTo>
                    <a:pt x="9491" y="4221"/>
                    <a:pt x="9350" y="4170"/>
                    <a:pt x="9240" y="4060"/>
                  </a:cubicBezTo>
                  <a:lnTo>
                    <a:pt x="8228" y="3048"/>
                  </a:lnTo>
                  <a:cubicBezTo>
                    <a:pt x="8002" y="2822"/>
                    <a:pt x="8026" y="2477"/>
                    <a:pt x="8228" y="2263"/>
                  </a:cubicBezTo>
                  <a:cubicBezTo>
                    <a:pt x="8300" y="2203"/>
                    <a:pt x="8621" y="1739"/>
                    <a:pt x="9276" y="1739"/>
                  </a:cubicBezTo>
                  <a:cubicBezTo>
                    <a:pt x="9716" y="1739"/>
                    <a:pt x="10109" y="1965"/>
                    <a:pt x="10324" y="2298"/>
                  </a:cubicBezTo>
                  <a:cubicBezTo>
                    <a:pt x="10353" y="2350"/>
                    <a:pt x="10406" y="2379"/>
                    <a:pt x="10462" y="2379"/>
                  </a:cubicBezTo>
                  <a:cubicBezTo>
                    <a:pt x="10495" y="2379"/>
                    <a:pt x="10530" y="2368"/>
                    <a:pt x="10562" y="2346"/>
                  </a:cubicBezTo>
                  <a:cubicBezTo>
                    <a:pt x="10645" y="2298"/>
                    <a:pt x="10669" y="2203"/>
                    <a:pt x="10609" y="2108"/>
                  </a:cubicBezTo>
                  <a:cubicBezTo>
                    <a:pt x="10297" y="1640"/>
                    <a:pt x="9787" y="1384"/>
                    <a:pt x="9254" y="1384"/>
                  </a:cubicBezTo>
                  <a:cubicBezTo>
                    <a:pt x="9095" y="1384"/>
                    <a:pt x="8934" y="1406"/>
                    <a:pt x="8776" y="1453"/>
                  </a:cubicBezTo>
                  <a:lnTo>
                    <a:pt x="8526" y="1453"/>
                  </a:lnTo>
                  <a:cubicBezTo>
                    <a:pt x="8335" y="1453"/>
                    <a:pt x="8145" y="1358"/>
                    <a:pt x="8038" y="1167"/>
                  </a:cubicBezTo>
                  <a:lnTo>
                    <a:pt x="7907" y="929"/>
                  </a:lnTo>
                  <a:cubicBezTo>
                    <a:pt x="7561" y="358"/>
                    <a:pt x="6918" y="0"/>
                    <a:pt x="6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5" name="Google Shape;10475;p59"/>
            <p:cNvSpPr/>
            <p:nvPr/>
          </p:nvSpPr>
          <p:spPr>
            <a:xfrm>
              <a:off x="1354930" y="1618713"/>
              <a:ext cx="224960" cy="206516"/>
            </a:xfrm>
            <a:custGeom>
              <a:avLst/>
              <a:gdLst/>
              <a:ahLst/>
              <a:cxnLst/>
              <a:rect l="l" t="t" r="r" b="b"/>
              <a:pathLst>
                <a:path w="7062" h="6483" extrusionOk="0">
                  <a:moveTo>
                    <a:pt x="3753" y="1"/>
                  </a:moveTo>
                  <a:cubicBezTo>
                    <a:pt x="2094" y="1"/>
                    <a:pt x="465" y="1260"/>
                    <a:pt x="465" y="3249"/>
                  </a:cubicBezTo>
                  <a:cubicBezTo>
                    <a:pt x="465" y="5198"/>
                    <a:pt x="2076" y="6483"/>
                    <a:pt x="3742" y="6483"/>
                  </a:cubicBezTo>
                  <a:cubicBezTo>
                    <a:pt x="4589" y="6483"/>
                    <a:pt x="5450" y="6150"/>
                    <a:pt x="6121" y="5404"/>
                  </a:cubicBezTo>
                  <a:cubicBezTo>
                    <a:pt x="6347" y="5165"/>
                    <a:pt x="6513" y="4880"/>
                    <a:pt x="6656" y="4582"/>
                  </a:cubicBezTo>
                  <a:cubicBezTo>
                    <a:pt x="6704" y="4487"/>
                    <a:pt x="6656" y="4403"/>
                    <a:pt x="6561" y="4356"/>
                  </a:cubicBezTo>
                  <a:cubicBezTo>
                    <a:pt x="6540" y="4347"/>
                    <a:pt x="6518" y="4342"/>
                    <a:pt x="6496" y="4342"/>
                  </a:cubicBezTo>
                  <a:cubicBezTo>
                    <a:pt x="6433" y="4342"/>
                    <a:pt x="6373" y="4380"/>
                    <a:pt x="6347" y="4451"/>
                  </a:cubicBezTo>
                  <a:cubicBezTo>
                    <a:pt x="5882" y="5463"/>
                    <a:pt x="4858" y="6142"/>
                    <a:pt x="3704" y="6142"/>
                  </a:cubicBezTo>
                  <a:cubicBezTo>
                    <a:pt x="1358" y="6142"/>
                    <a:pt x="1" y="3499"/>
                    <a:pt x="1322" y="1594"/>
                  </a:cubicBezTo>
                  <a:cubicBezTo>
                    <a:pt x="1903" y="762"/>
                    <a:pt x="2811" y="339"/>
                    <a:pt x="3721" y="339"/>
                  </a:cubicBezTo>
                  <a:cubicBezTo>
                    <a:pt x="4621" y="339"/>
                    <a:pt x="5522" y="753"/>
                    <a:pt x="6109" y="1594"/>
                  </a:cubicBezTo>
                  <a:cubicBezTo>
                    <a:pt x="6561" y="2260"/>
                    <a:pt x="6716" y="3082"/>
                    <a:pt x="6549" y="3844"/>
                  </a:cubicBezTo>
                  <a:cubicBezTo>
                    <a:pt x="6537" y="3927"/>
                    <a:pt x="6597" y="4022"/>
                    <a:pt x="6680" y="4034"/>
                  </a:cubicBezTo>
                  <a:cubicBezTo>
                    <a:pt x="6688" y="4035"/>
                    <a:pt x="6696" y="4036"/>
                    <a:pt x="6704" y="4036"/>
                  </a:cubicBezTo>
                  <a:cubicBezTo>
                    <a:pt x="6789" y="4036"/>
                    <a:pt x="6861" y="3980"/>
                    <a:pt x="6883" y="3903"/>
                  </a:cubicBezTo>
                  <a:cubicBezTo>
                    <a:pt x="7061" y="3046"/>
                    <a:pt x="6894" y="2141"/>
                    <a:pt x="6359" y="1379"/>
                  </a:cubicBezTo>
                  <a:cubicBezTo>
                    <a:pt x="5689" y="426"/>
                    <a:pt x="4716" y="1"/>
                    <a:pt x="37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6" name="Google Shape;10476;p59"/>
            <p:cNvSpPr/>
            <p:nvPr/>
          </p:nvSpPr>
          <p:spPr>
            <a:xfrm>
              <a:off x="1453553" y="1643305"/>
              <a:ext cx="73235" cy="141436"/>
            </a:xfrm>
            <a:custGeom>
              <a:avLst/>
              <a:gdLst/>
              <a:ahLst/>
              <a:cxnLst/>
              <a:rect l="l" t="t" r="r" b="b"/>
              <a:pathLst>
                <a:path w="2299" h="4440" extrusionOk="0">
                  <a:moveTo>
                    <a:pt x="572" y="345"/>
                  </a:moveTo>
                  <a:cubicBezTo>
                    <a:pt x="703" y="345"/>
                    <a:pt x="810" y="441"/>
                    <a:pt x="810" y="583"/>
                  </a:cubicBezTo>
                  <a:lnTo>
                    <a:pt x="810" y="2191"/>
                  </a:lnTo>
                  <a:cubicBezTo>
                    <a:pt x="727" y="2155"/>
                    <a:pt x="640" y="2137"/>
                    <a:pt x="555" y="2137"/>
                  </a:cubicBezTo>
                  <a:cubicBezTo>
                    <a:pt x="471" y="2137"/>
                    <a:pt x="387" y="2155"/>
                    <a:pt x="310" y="2191"/>
                  </a:cubicBezTo>
                  <a:lnTo>
                    <a:pt x="310" y="583"/>
                  </a:lnTo>
                  <a:lnTo>
                    <a:pt x="334" y="583"/>
                  </a:lnTo>
                  <a:cubicBezTo>
                    <a:pt x="334" y="452"/>
                    <a:pt x="429" y="345"/>
                    <a:pt x="572" y="345"/>
                  </a:cubicBezTo>
                  <a:close/>
                  <a:moveTo>
                    <a:pt x="610" y="2488"/>
                  </a:moveTo>
                  <a:cubicBezTo>
                    <a:pt x="726" y="2488"/>
                    <a:pt x="736" y="2510"/>
                    <a:pt x="1905" y="3703"/>
                  </a:cubicBezTo>
                  <a:cubicBezTo>
                    <a:pt x="1977" y="3798"/>
                    <a:pt x="1977" y="3941"/>
                    <a:pt x="1893" y="4036"/>
                  </a:cubicBezTo>
                  <a:cubicBezTo>
                    <a:pt x="1846" y="4078"/>
                    <a:pt x="1783" y="4099"/>
                    <a:pt x="1721" y="4099"/>
                  </a:cubicBezTo>
                  <a:cubicBezTo>
                    <a:pt x="1658" y="4099"/>
                    <a:pt x="1596" y="4078"/>
                    <a:pt x="1548" y="4036"/>
                  </a:cubicBezTo>
                  <a:lnTo>
                    <a:pt x="417" y="2905"/>
                  </a:lnTo>
                  <a:cubicBezTo>
                    <a:pt x="274" y="2750"/>
                    <a:pt x="369" y="2488"/>
                    <a:pt x="596" y="2488"/>
                  </a:cubicBezTo>
                  <a:cubicBezTo>
                    <a:pt x="600" y="2488"/>
                    <a:pt x="605" y="2488"/>
                    <a:pt x="610" y="2488"/>
                  </a:cubicBezTo>
                  <a:close/>
                  <a:moveTo>
                    <a:pt x="584" y="0"/>
                  </a:moveTo>
                  <a:cubicBezTo>
                    <a:pt x="250" y="0"/>
                    <a:pt x="0" y="274"/>
                    <a:pt x="0" y="583"/>
                  </a:cubicBezTo>
                  <a:lnTo>
                    <a:pt x="0" y="2715"/>
                  </a:lnTo>
                  <a:cubicBezTo>
                    <a:pt x="0" y="2858"/>
                    <a:pt x="60" y="3024"/>
                    <a:pt x="167" y="3131"/>
                  </a:cubicBezTo>
                  <a:cubicBezTo>
                    <a:pt x="1322" y="4262"/>
                    <a:pt x="1310" y="4334"/>
                    <a:pt x="1524" y="4405"/>
                  </a:cubicBezTo>
                  <a:cubicBezTo>
                    <a:pt x="1589" y="4428"/>
                    <a:pt x="1655" y="4439"/>
                    <a:pt x="1720" y="4439"/>
                  </a:cubicBezTo>
                  <a:cubicBezTo>
                    <a:pt x="2023" y="4439"/>
                    <a:pt x="2298" y="4201"/>
                    <a:pt x="2298" y="3858"/>
                  </a:cubicBezTo>
                  <a:cubicBezTo>
                    <a:pt x="2298" y="3703"/>
                    <a:pt x="2227" y="3572"/>
                    <a:pt x="2132" y="3453"/>
                  </a:cubicBezTo>
                  <a:lnTo>
                    <a:pt x="1167" y="2488"/>
                  </a:lnTo>
                  <a:lnTo>
                    <a:pt x="1167" y="583"/>
                  </a:lnTo>
                  <a:cubicBezTo>
                    <a:pt x="1167" y="250"/>
                    <a:pt x="893"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77" name="Google Shape;10477;p59"/>
          <p:cNvSpPr/>
          <p:nvPr/>
        </p:nvSpPr>
        <p:spPr>
          <a:xfrm>
            <a:off x="3945378" y="1530729"/>
            <a:ext cx="381209" cy="312466"/>
          </a:xfrm>
          <a:custGeom>
            <a:avLst/>
            <a:gdLst/>
            <a:ahLst/>
            <a:cxnLst/>
            <a:rect l="l" t="t" r="r" b="b"/>
            <a:pathLst>
              <a:path w="11967" h="9809" extrusionOk="0">
                <a:moveTo>
                  <a:pt x="8309" y="358"/>
                </a:moveTo>
                <a:cubicBezTo>
                  <a:pt x="8940" y="358"/>
                  <a:pt x="9663" y="469"/>
                  <a:pt x="10418" y="796"/>
                </a:cubicBezTo>
                <a:lnTo>
                  <a:pt x="10418" y="7796"/>
                </a:lnTo>
                <a:cubicBezTo>
                  <a:pt x="9723" y="7513"/>
                  <a:pt x="8997" y="7381"/>
                  <a:pt x="8289" y="7381"/>
                </a:cubicBezTo>
                <a:cubicBezTo>
                  <a:pt x="7542" y="7381"/>
                  <a:pt x="6816" y="7527"/>
                  <a:pt x="6168" y="7796"/>
                </a:cubicBezTo>
                <a:lnTo>
                  <a:pt x="6168" y="796"/>
                </a:lnTo>
                <a:cubicBezTo>
                  <a:pt x="6430" y="676"/>
                  <a:pt x="7238" y="358"/>
                  <a:pt x="8309" y="358"/>
                </a:cubicBezTo>
                <a:close/>
                <a:moveTo>
                  <a:pt x="3700" y="358"/>
                </a:moveTo>
                <a:cubicBezTo>
                  <a:pt x="4458" y="358"/>
                  <a:pt x="5191" y="513"/>
                  <a:pt x="5823" y="796"/>
                </a:cubicBezTo>
                <a:cubicBezTo>
                  <a:pt x="5811" y="1677"/>
                  <a:pt x="5811" y="6761"/>
                  <a:pt x="5811" y="7796"/>
                </a:cubicBezTo>
                <a:cubicBezTo>
                  <a:pt x="5418" y="7642"/>
                  <a:pt x="4656" y="7392"/>
                  <a:pt x="3668" y="7392"/>
                </a:cubicBezTo>
                <a:cubicBezTo>
                  <a:pt x="2929" y="7392"/>
                  <a:pt x="2215" y="7523"/>
                  <a:pt x="1548" y="7808"/>
                </a:cubicBezTo>
                <a:lnTo>
                  <a:pt x="1548" y="3867"/>
                </a:lnTo>
                <a:cubicBezTo>
                  <a:pt x="1548" y="3760"/>
                  <a:pt x="1477" y="3689"/>
                  <a:pt x="1370" y="3689"/>
                </a:cubicBezTo>
                <a:cubicBezTo>
                  <a:pt x="1262" y="3689"/>
                  <a:pt x="1191" y="3760"/>
                  <a:pt x="1191" y="3867"/>
                </a:cubicBezTo>
                <a:lnTo>
                  <a:pt x="1191" y="7987"/>
                </a:lnTo>
                <a:cubicBezTo>
                  <a:pt x="1191" y="8118"/>
                  <a:pt x="1298" y="8225"/>
                  <a:pt x="1429" y="8225"/>
                </a:cubicBezTo>
                <a:cubicBezTo>
                  <a:pt x="1465" y="8225"/>
                  <a:pt x="1489" y="8225"/>
                  <a:pt x="1524" y="8213"/>
                </a:cubicBezTo>
                <a:cubicBezTo>
                  <a:pt x="2203" y="7916"/>
                  <a:pt x="2917" y="7761"/>
                  <a:pt x="3656" y="7761"/>
                </a:cubicBezTo>
                <a:cubicBezTo>
                  <a:pt x="4715" y="7761"/>
                  <a:pt x="5537" y="8070"/>
                  <a:pt x="5799" y="8189"/>
                </a:cubicBezTo>
                <a:lnTo>
                  <a:pt x="5799" y="8606"/>
                </a:lnTo>
                <a:lnTo>
                  <a:pt x="417" y="8606"/>
                </a:lnTo>
                <a:cubicBezTo>
                  <a:pt x="381" y="8606"/>
                  <a:pt x="358" y="8582"/>
                  <a:pt x="358" y="8547"/>
                </a:cubicBezTo>
                <a:lnTo>
                  <a:pt x="358" y="1248"/>
                </a:lnTo>
                <a:cubicBezTo>
                  <a:pt x="358" y="1212"/>
                  <a:pt x="381" y="1188"/>
                  <a:pt x="417" y="1188"/>
                </a:cubicBezTo>
                <a:lnTo>
                  <a:pt x="1203" y="1188"/>
                </a:lnTo>
                <a:lnTo>
                  <a:pt x="1203" y="3153"/>
                </a:lnTo>
                <a:cubicBezTo>
                  <a:pt x="1203" y="3248"/>
                  <a:pt x="1274" y="3332"/>
                  <a:pt x="1382" y="3332"/>
                </a:cubicBezTo>
                <a:cubicBezTo>
                  <a:pt x="1489" y="3332"/>
                  <a:pt x="1560" y="3248"/>
                  <a:pt x="1560" y="3153"/>
                </a:cubicBezTo>
                <a:lnTo>
                  <a:pt x="1560" y="796"/>
                </a:lnTo>
                <a:cubicBezTo>
                  <a:pt x="2253" y="495"/>
                  <a:pt x="2987" y="358"/>
                  <a:pt x="3700" y="358"/>
                </a:cubicBezTo>
                <a:close/>
                <a:moveTo>
                  <a:pt x="6608" y="7987"/>
                </a:moveTo>
                <a:lnTo>
                  <a:pt x="6608" y="9249"/>
                </a:lnTo>
                <a:lnTo>
                  <a:pt x="6501" y="9166"/>
                </a:lnTo>
                <a:cubicBezTo>
                  <a:pt x="6471" y="9136"/>
                  <a:pt x="6430" y="9121"/>
                  <a:pt x="6390" y="9121"/>
                </a:cubicBezTo>
                <a:cubicBezTo>
                  <a:pt x="6349" y="9121"/>
                  <a:pt x="6311" y="9136"/>
                  <a:pt x="6287" y="9166"/>
                </a:cubicBezTo>
                <a:lnTo>
                  <a:pt x="6168" y="9261"/>
                </a:lnTo>
                <a:lnTo>
                  <a:pt x="6168" y="8166"/>
                </a:lnTo>
                <a:cubicBezTo>
                  <a:pt x="6251" y="8118"/>
                  <a:pt x="6418" y="8058"/>
                  <a:pt x="6608" y="7987"/>
                </a:cubicBezTo>
                <a:close/>
                <a:moveTo>
                  <a:pt x="8273" y="0"/>
                </a:moveTo>
                <a:cubicBezTo>
                  <a:pt x="7438" y="0"/>
                  <a:pt x="6643" y="178"/>
                  <a:pt x="5989" y="486"/>
                </a:cubicBezTo>
                <a:cubicBezTo>
                  <a:pt x="5715" y="367"/>
                  <a:pt x="4858" y="10"/>
                  <a:pt x="3668" y="10"/>
                </a:cubicBezTo>
                <a:cubicBezTo>
                  <a:pt x="2858" y="10"/>
                  <a:pt x="2072" y="176"/>
                  <a:pt x="1322" y="510"/>
                </a:cubicBezTo>
                <a:cubicBezTo>
                  <a:pt x="1143" y="593"/>
                  <a:pt x="1191" y="796"/>
                  <a:pt x="1191" y="843"/>
                </a:cubicBezTo>
                <a:lnTo>
                  <a:pt x="405" y="843"/>
                </a:lnTo>
                <a:cubicBezTo>
                  <a:pt x="179" y="843"/>
                  <a:pt x="0" y="1022"/>
                  <a:pt x="0" y="1248"/>
                </a:cubicBezTo>
                <a:lnTo>
                  <a:pt x="0" y="8535"/>
                </a:lnTo>
                <a:cubicBezTo>
                  <a:pt x="0" y="8761"/>
                  <a:pt x="179" y="8939"/>
                  <a:pt x="405" y="8939"/>
                </a:cubicBezTo>
                <a:lnTo>
                  <a:pt x="5811" y="8939"/>
                </a:lnTo>
                <a:lnTo>
                  <a:pt x="5811" y="9630"/>
                </a:lnTo>
                <a:cubicBezTo>
                  <a:pt x="5811" y="9740"/>
                  <a:pt x="5889" y="9808"/>
                  <a:pt x="5977" y="9808"/>
                </a:cubicBezTo>
                <a:cubicBezTo>
                  <a:pt x="6013" y="9808"/>
                  <a:pt x="6050" y="9797"/>
                  <a:pt x="6084" y="9773"/>
                </a:cubicBezTo>
                <a:lnTo>
                  <a:pt x="6382" y="9535"/>
                </a:lnTo>
                <a:cubicBezTo>
                  <a:pt x="6656" y="9737"/>
                  <a:pt x="6668" y="9809"/>
                  <a:pt x="6787" y="9809"/>
                </a:cubicBezTo>
                <a:cubicBezTo>
                  <a:pt x="6894" y="9809"/>
                  <a:pt x="6966" y="9737"/>
                  <a:pt x="6966" y="9630"/>
                </a:cubicBezTo>
                <a:lnTo>
                  <a:pt x="6966" y="8939"/>
                </a:lnTo>
                <a:lnTo>
                  <a:pt x="9335" y="8939"/>
                </a:lnTo>
                <a:cubicBezTo>
                  <a:pt x="9442" y="8939"/>
                  <a:pt x="9513" y="8856"/>
                  <a:pt x="9513" y="8761"/>
                </a:cubicBezTo>
                <a:cubicBezTo>
                  <a:pt x="9513" y="8654"/>
                  <a:pt x="9442" y="8582"/>
                  <a:pt x="9335" y="8582"/>
                </a:cubicBezTo>
                <a:lnTo>
                  <a:pt x="6966" y="8582"/>
                </a:lnTo>
                <a:lnTo>
                  <a:pt x="6966" y="7892"/>
                </a:lnTo>
                <a:cubicBezTo>
                  <a:pt x="7400" y="7783"/>
                  <a:pt x="7847" y="7728"/>
                  <a:pt x="8295" y="7728"/>
                </a:cubicBezTo>
                <a:cubicBezTo>
                  <a:pt x="9025" y="7728"/>
                  <a:pt x="9760" y="7875"/>
                  <a:pt x="10454" y="8177"/>
                </a:cubicBezTo>
                <a:cubicBezTo>
                  <a:pt x="10483" y="8192"/>
                  <a:pt x="10514" y="8199"/>
                  <a:pt x="10544" y="8199"/>
                </a:cubicBezTo>
                <a:cubicBezTo>
                  <a:pt x="10662" y="8199"/>
                  <a:pt x="10776" y="8096"/>
                  <a:pt x="10776" y="7963"/>
                </a:cubicBezTo>
                <a:lnTo>
                  <a:pt x="10776" y="1177"/>
                </a:lnTo>
                <a:lnTo>
                  <a:pt x="11561" y="1177"/>
                </a:lnTo>
                <a:cubicBezTo>
                  <a:pt x="11597" y="1177"/>
                  <a:pt x="11621" y="1212"/>
                  <a:pt x="11621" y="1236"/>
                </a:cubicBezTo>
                <a:lnTo>
                  <a:pt x="11621" y="8535"/>
                </a:lnTo>
                <a:cubicBezTo>
                  <a:pt x="11621" y="8570"/>
                  <a:pt x="11597" y="8594"/>
                  <a:pt x="11561" y="8594"/>
                </a:cubicBezTo>
                <a:lnTo>
                  <a:pt x="10049" y="8594"/>
                </a:lnTo>
                <a:cubicBezTo>
                  <a:pt x="9942" y="8594"/>
                  <a:pt x="9871" y="8666"/>
                  <a:pt x="9871" y="8773"/>
                </a:cubicBezTo>
                <a:cubicBezTo>
                  <a:pt x="9871" y="8880"/>
                  <a:pt x="9942" y="8951"/>
                  <a:pt x="10049" y="8951"/>
                </a:cubicBezTo>
                <a:lnTo>
                  <a:pt x="11561" y="8951"/>
                </a:lnTo>
                <a:cubicBezTo>
                  <a:pt x="11788" y="8951"/>
                  <a:pt x="11966" y="8773"/>
                  <a:pt x="11966" y="8547"/>
                </a:cubicBezTo>
                <a:lnTo>
                  <a:pt x="11966" y="1236"/>
                </a:lnTo>
                <a:cubicBezTo>
                  <a:pt x="11954" y="998"/>
                  <a:pt x="11776" y="831"/>
                  <a:pt x="11549" y="831"/>
                </a:cubicBezTo>
                <a:lnTo>
                  <a:pt x="10764" y="831"/>
                </a:lnTo>
                <a:cubicBezTo>
                  <a:pt x="10752" y="784"/>
                  <a:pt x="10811" y="581"/>
                  <a:pt x="10633" y="498"/>
                </a:cubicBezTo>
                <a:cubicBezTo>
                  <a:pt x="9864" y="154"/>
                  <a:pt x="9051" y="0"/>
                  <a:pt x="8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78" name="Google Shape;10478;p59"/>
          <p:cNvGrpSpPr/>
          <p:nvPr/>
        </p:nvGrpSpPr>
        <p:grpSpPr>
          <a:xfrm>
            <a:off x="852385" y="1510916"/>
            <a:ext cx="353145" cy="351998"/>
            <a:chOff x="852385" y="1510916"/>
            <a:chExt cx="353145" cy="351998"/>
          </a:xfrm>
        </p:grpSpPr>
        <p:sp>
          <p:nvSpPr>
            <p:cNvPr id="10479" name="Google Shape;10479;p59"/>
            <p:cNvSpPr/>
            <p:nvPr/>
          </p:nvSpPr>
          <p:spPr>
            <a:xfrm>
              <a:off x="852385" y="1510916"/>
              <a:ext cx="353145" cy="187785"/>
            </a:xfrm>
            <a:custGeom>
              <a:avLst/>
              <a:gdLst/>
              <a:ahLst/>
              <a:cxnLst/>
              <a:rect l="l" t="t" r="r" b="b"/>
              <a:pathLst>
                <a:path w="11086" h="5895" extrusionOk="0">
                  <a:moveTo>
                    <a:pt x="6145" y="334"/>
                  </a:moveTo>
                  <a:lnTo>
                    <a:pt x="6145" y="703"/>
                  </a:lnTo>
                  <a:lnTo>
                    <a:pt x="4942" y="703"/>
                  </a:lnTo>
                  <a:lnTo>
                    <a:pt x="4942" y="334"/>
                  </a:lnTo>
                  <a:close/>
                  <a:moveTo>
                    <a:pt x="10764" y="1025"/>
                  </a:moveTo>
                  <a:lnTo>
                    <a:pt x="10764" y="1596"/>
                  </a:lnTo>
                  <a:lnTo>
                    <a:pt x="346" y="1596"/>
                  </a:lnTo>
                  <a:lnTo>
                    <a:pt x="346" y="1025"/>
                  </a:lnTo>
                  <a:close/>
                  <a:moveTo>
                    <a:pt x="4775" y="1"/>
                  </a:moveTo>
                  <a:cubicBezTo>
                    <a:pt x="4692" y="1"/>
                    <a:pt x="4621" y="84"/>
                    <a:pt x="4621" y="167"/>
                  </a:cubicBezTo>
                  <a:lnTo>
                    <a:pt x="4621" y="703"/>
                  </a:lnTo>
                  <a:lnTo>
                    <a:pt x="168" y="703"/>
                  </a:lnTo>
                  <a:cubicBezTo>
                    <a:pt x="72" y="703"/>
                    <a:pt x="1" y="775"/>
                    <a:pt x="1" y="870"/>
                  </a:cubicBezTo>
                  <a:lnTo>
                    <a:pt x="1" y="1751"/>
                  </a:lnTo>
                  <a:cubicBezTo>
                    <a:pt x="1" y="1834"/>
                    <a:pt x="72" y="1906"/>
                    <a:pt x="168" y="1906"/>
                  </a:cubicBezTo>
                  <a:lnTo>
                    <a:pt x="656" y="1906"/>
                  </a:lnTo>
                  <a:lnTo>
                    <a:pt x="656" y="2620"/>
                  </a:lnTo>
                  <a:cubicBezTo>
                    <a:pt x="656" y="2715"/>
                    <a:pt x="727" y="2787"/>
                    <a:pt x="822" y="2787"/>
                  </a:cubicBezTo>
                  <a:cubicBezTo>
                    <a:pt x="906" y="2787"/>
                    <a:pt x="989" y="2715"/>
                    <a:pt x="989" y="2620"/>
                  </a:cubicBezTo>
                  <a:lnTo>
                    <a:pt x="989" y="1906"/>
                  </a:lnTo>
                  <a:lnTo>
                    <a:pt x="10109" y="1906"/>
                  </a:lnTo>
                  <a:lnTo>
                    <a:pt x="10109" y="5740"/>
                  </a:lnTo>
                  <a:cubicBezTo>
                    <a:pt x="10109" y="5823"/>
                    <a:pt x="10181" y="5894"/>
                    <a:pt x="10276" y="5894"/>
                  </a:cubicBezTo>
                  <a:cubicBezTo>
                    <a:pt x="10359" y="5894"/>
                    <a:pt x="10431" y="5823"/>
                    <a:pt x="10431" y="5740"/>
                  </a:cubicBezTo>
                  <a:lnTo>
                    <a:pt x="10431" y="1918"/>
                  </a:lnTo>
                  <a:lnTo>
                    <a:pt x="10931" y="1918"/>
                  </a:lnTo>
                  <a:cubicBezTo>
                    <a:pt x="11014" y="1918"/>
                    <a:pt x="11086" y="1846"/>
                    <a:pt x="11086" y="1763"/>
                  </a:cubicBezTo>
                  <a:lnTo>
                    <a:pt x="11086" y="882"/>
                  </a:lnTo>
                  <a:cubicBezTo>
                    <a:pt x="11086" y="775"/>
                    <a:pt x="11014" y="703"/>
                    <a:pt x="10931" y="703"/>
                  </a:cubicBezTo>
                  <a:lnTo>
                    <a:pt x="6478" y="703"/>
                  </a:lnTo>
                  <a:lnTo>
                    <a:pt x="6478" y="167"/>
                  </a:lnTo>
                  <a:cubicBezTo>
                    <a:pt x="6478" y="84"/>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0" name="Google Shape;10480;p59"/>
            <p:cNvSpPr/>
            <p:nvPr/>
          </p:nvSpPr>
          <p:spPr>
            <a:xfrm>
              <a:off x="852385" y="1609921"/>
              <a:ext cx="353145" cy="252992"/>
            </a:xfrm>
            <a:custGeom>
              <a:avLst/>
              <a:gdLst/>
              <a:ahLst/>
              <a:cxnLst/>
              <a:rect l="l" t="t" r="r" b="b"/>
              <a:pathLst>
                <a:path w="11086" h="7942" extrusionOk="0">
                  <a:moveTo>
                    <a:pt x="10764" y="4382"/>
                  </a:moveTo>
                  <a:lnTo>
                    <a:pt x="10764" y="4953"/>
                  </a:lnTo>
                  <a:lnTo>
                    <a:pt x="346" y="4953"/>
                  </a:lnTo>
                  <a:lnTo>
                    <a:pt x="346" y="4382"/>
                  </a:lnTo>
                  <a:close/>
                  <a:moveTo>
                    <a:pt x="6406" y="5275"/>
                  </a:moveTo>
                  <a:lnTo>
                    <a:pt x="6895" y="6168"/>
                  </a:lnTo>
                  <a:lnTo>
                    <a:pt x="4228" y="6168"/>
                  </a:lnTo>
                  <a:lnTo>
                    <a:pt x="4716" y="5275"/>
                  </a:lnTo>
                  <a:close/>
                  <a:moveTo>
                    <a:pt x="4335" y="5275"/>
                  </a:moveTo>
                  <a:lnTo>
                    <a:pt x="3049" y="7608"/>
                  </a:lnTo>
                  <a:lnTo>
                    <a:pt x="2573" y="7608"/>
                  </a:lnTo>
                  <a:lnTo>
                    <a:pt x="3859" y="5275"/>
                  </a:lnTo>
                  <a:close/>
                  <a:moveTo>
                    <a:pt x="7240" y="5275"/>
                  </a:moveTo>
                  <a:lnTo>
                    <a:pt x="8514" y="7608"/>
                  </a:lnTo>
                  <a:lnTo>
                    <a:pt x="8038" y="7608"/>
                  </a:lnTo>
                  <a:lnTo>
                    <a:pt x="6764" y="5275"/>
                  </a:lnTo>
                  <a:close/>
                  <a:moveTo>
                    <a:pt x="822" y="0"/>
                  </a:moveTo>
                  <a:cubicBezTo>
                    <a:pt x="727" y="0"/>
                    <a:pt x="656" y="84"/>
                    <a:pt x="656" y="167"/>
                  </a:cubicBezTo>
                  <a:lnTo>
                    <a:pt x="656" y="4072"/>
                  </a:lnTo>
                  <a:lnTo>
                    <a:pt x="168" y="4072"/>
                  </a:lnTo>
                  <a:cubicBezTo>
                    <a:pt x="72" y="4072"/>
                    <a:pt x="1" y="4144"/>
                    <a:pt x="1" y="4239"/>
                  </a:cubicBezTo>
                  <a:lnTo>
                    <a:pt x="1" y="5108"/>
                  </a:lnTo>
                  <a:cubicBezTo>
                    <a:pt x="1" y="5203"/>
                    <a:pt x="72" y="5275"/>
                    <a:pt x="168" y="5275"/>
                  </a:cubicBezTo>
                  <a:lnTo>
                    <a:pt x="3489" y="5275"/>
                  </a:lnTo>
                  <a:lnTo>
                    <a:pt x="2144" y="7704"/>
                  </a:lnTo>
                  <a:cubicBezTo>
                    <a:pt x="2120" y="7751"/>
                    <a:pt x="2120" y="7811"/>
                    <a:pt x="2144" y="7870"/>
                  </a:cubicBezTo>
                  <a:cubicBezTo>
                    <a:pt x="2180" y="7906"/>
                    <a:pt x="2239" y="7942"/>
                    <a:pt x="2275" y="7942"/>
                  </a:cubicBezTo>
                  <a:lnTo>
                    <a:pt x="3132" y="7942"/>
                  </a:lnTo>
                  <a:cubicBezTo>
                    <a:pt x="3192" y="7942"/>
                    <a:pt x="3251" y="7906"/>
                    <a:pt x="3275" y="7846"/>
                  </a:cubicBezTo>
                  <a:lnTo>
                    <a:pt x="3644" y="7168"/>
                  </a:lnTo>
                  <a:lnTo>
                    <a:pt x="4644" y="7168"/>
                  </a:lnTo>
                  <a:cubicBezTo>
                    <a:pt x="4728" y="7168"/>
                    <a:pt x="4811" y="7096"/>
                    <a:pt x="4811" y="7001"/>
                  </a:cubicBezTo>
                  <a:cubicBezTo>
                    <a:pt x="4811" y="6906"/>
                    <a:pt x="4728" y="6834"/>
                    <a:pt x="4644" y="6834"/>
                  </a:cubicBezTo>
                  <a:lnTo>
                    <a:pt x="3823" y="6834"/>
                  </a:lnTo>
                  <a:lnTo>
                    <a:pt x="4037" y="6465"/>
                  </a:lnTo>
                  <a:lnTo>
                    <a:pt x="7061" y="6465"/>
                  </a:lnTo>
                  <a:lnTo>
                    <a:pt x="7252" y="6834"/>
                  </a:lnTo>
                  <a:lnTo>
                    <a:pt x="5299" y="6834"/>
                  </a:lnTo>
                  <a:cubicBezTo>
                    <a:pt x="5216" y="6834"/>
                    <a:pt x="5133" y="6906"/>
                    <a:pt x="5133" y="7001"/>
                  </a:cubicBezTo>
                  <a:cubicBezTo>
                    <a:pt x="5133" y="7096"/>
                    <a:pt x="5216" y="7168"/>
                    <a:pt x="5299" y="7168"/>
                  </a:cubicBezTo>
                  <a:lnTo>
                    <a:pt x="7430" y="7168"/>
                  </a:lnTo>
                  <a:lnTo>
                    <a:pt x="7800" y="7846"/>
                  </a:lnTo>
                  <a:cubicBezTo>
                    <a:pt x="7835" y="7894"/>
                    <a:pt x="7895" y="7942"/>
                    <a:pt x="7954" y="7942"/>
                  </a:cubicBezTo>
                  <a:lnTo>
                    <a:pt x="8800" y="7942"/>
                  </a:lnTo>
                  <a:cubicBezTo>
                    <a:pt x="8859" y="7942"/>
                    <a:pt x="8907" y="7906"/>
                    <a:pt x="8931" y="7870"/>
                  </a:cubicBezTo>
                  <a:cubicBezTo>
                    <a:pt x="8966" y="7823"/>
                    <a:pt x="8966" y="7763"/>
                    <a:pt x="8931" y="7704"/>
                  </a:cubicBezTo>
                  <a:lnTo>
                    <a:pt x="7597" y="5275"/>
                  </a:lnTo>
                  <a:lnTo>
                    <a:pt x="10931" y="5275"/>
                  </a:lnTo>
                  <a:cubicBezTo>
                    <a:pt x="11014" y="5275"/>
                    <a:pt x="11086" y="5203"/>
                    <a:pt x="11086" y="5108"/>
                  </a:cubicBezTo>
                  <a:lnTo>
                    <a:pt x="11086" y="4239"/>
                  </a:lnTo>
                  <a:cubicBezTo>
                    <a:pt x="11086" y="4144"/>
                    <a:pt x="11014" y="4072"/>
                    <a:pt x="10931" y="4072"/>
                  </a:cubicBezTo>
                  <a:lnTo>
                    <a:pt x="10431" y="4072"/>
                  </a:lnTo>
                  <a:lnTo>
                    <a:pt x="10431" y="3263"/>
                  </a:lnTo>
                  <a:cubicBezTo>
                    <a:pt x="10431" y="3179"/>
                    <a:pt x="10359" y="3108"/>
                    <a:pt x="10276" y="3108"/>
                  </a:cubicBezTo>
                  <a:cubicBezTo>
                    <a:pt x="10181" y="3108"/>
                    <a:pt x="10109" y="3179"/>
                    <a:pt x="10109" y="3263"/>
                  </a:cubicBezTo>
                  <a:lnTo>
                    <a:pt x="10109" y="4072"/>
                  </a:lnTo>
                  <a:lnTo>
                    <a:pt x="989" y="4072"/>
                  </a:lnTo>
                  <a:lnTo>
                    <a:pt x="989" y="167"/>
                  </a:lnTo>
                  <a:cubicBezTo>
                    <a:pt x="989" y="84"/>
                    <a:pt x="906"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1" name="Google Shape;10481;p59"/>
            <p:cNvSpPr/>
            <p:nvPr/>
          </p:nvSpPr>
          <p:spPr>
            <a:xfrm>
              <a:off x="928264" y="1584501"/>
              <a:ext cx="198775" cy="140735"/>
            </a:xfrm>
            <a:custGeom>
              <a:avLst/>
              <a:gdLst/>
              <a:ahLst/>
              <a:cxnLst/>
              <a:rect l="l" t="t" r="r" b="b"/>
              <a:pathLst>
                <a:path w="6240" h="4418" extrusionOk="0">
                  <a:moveTo>
                    <a:pt x="5608" y="322"/>
                  </a:moveTo>
                  <a:cubicBezTo>
                    <a:pt x="5787" y="322"/>
                    <a:pt x="5929" y="465"/>
                    <a:pt x="5929" y="643"/>
                  </a:cubicBezTo>
                  <a:cubicBezTo>
                    <a:pt x="5929" y="798"/>
                    <a:pt x="5775" y="953"/>
                    <a:pt x="5608" y="953"/>
                  </a:cubicBezTo>
                  <a:cubicBezTo>
                    <a:pt x="5453" y="953"/>
                    <a:pt x="5298" y="822"/>
                    <a:pt x="5298" y="643"/>
                  </a:cubicBezTo>
                  <a:cubicBezTo>
                    <a:pt x="5298" y="477"/>
                    <a:pt x="5429" y="322"/>
                    <a:pt x="5608" y="322"/>
                  </a:cubicBezTo>
                  <a:close/>
                  <a:moveTo>
                    <a:pt x="2131" y="1334"/>
                  </a:moveTo>
                  <a:cubicBezTo>
                    <a:pt x="2310" y="1334"/>
                    <a:pt x="2441" y="1477"/>
                    <a:pt x="2441" y="1656"/>
                  </a:cubicBezTo>
                  <a:cubicBezTo>
                    <a:pt x="2441" y="1834"/>
                    <a:pt x="2310" y="1965"/>
                    <a:pt x="2131" y="1965"/>
                  </a:cubicBezTo>
                  <a:cubicBezTo>
                    <a:pt x="1965" y="1965"/>
                    <a:pt x="1822" y="1834"/>
                    <a:pt x="1822" y="1656"/>
                  </a:cubicBezTo>
                  <a:cubicBezTo>
                    <a:pt x="1822" y="1489"/>
                    <a:pt x="1953" y="1334"/>
                    <a:pt x="2131" y="1334"/>
                  </a:cubicBezTo>
                  <a:close/>
                  <a:moveTo>
                    <a:pt x="4036" y="2429"/>
                  </a:moveTo>
                  <a:cubicBezTo>
                    <a:pt x="4215" y="2429"/>
                    <a:pt x="4346" y="2560"/>
                    <a:pt x="4346" y="2739"/>
                  </a:cubicBezTo>
                  <a:cubicBezTo>
                    <a:pt x="4346" y="2918"/>
                    <a:pt x="4203" y="3049"/>
                    <a:pt x="4036" y="3049"/>
                  </a:cubicBezTo>
                  <a:cubicBezTo>
                    <a:pt x="3870" y="3049"/>
                    <a:pt x="3727" y="2918"/>
                    <a:pt x="3727" y="2739"/>
                  </a:cubicBezTo>
                  <a:cubicBezTo>
                    <a:pt x="3727" y="2572"/>
                    <a:pt x="3858" y="2429"/>
                    <a:pt x="4036" y="2429"/>
                  </a:cubicBezTo>
                  <a:close/>
                  <a:moveTo>
                    <a:pt x="595" y="3501"/>
                  </a:moveTo>
                  <a:cubicBezTo>
                    <a:pt x="774" y="3501"/>
                    <a:pt x="905" y="3632"/>
                    <a:pt x="905" y="3811"/>
                  </a:cubicBezTo>
                  <a:cubicBezTo>
                    <a:pt x="905" y="3989"/>
                    <a:pt x="762" y="4120"/>
                    <a:pt x="595" y="4120"/>
                  </a:cubicBezTo>
                  <a:cubicBezTo>
                    <a:pt x="429" y="4120"/>
                    <a:pt x="286" y="3989"/>
                    <a:pt x="286" y="3811"/>
                  </a:cubicBezTo>
                  <a:cubicBezTo>
                    <a:pt x="286" y="3644"/>
                    <a:pt x="417" y="3501"/>
                    <a:pt x="595" y="3501"/>
                  </a:cubicBezTo>
                  <a:close/>
                  <a:moveTo>
                    <a:pt x="5608" y="1"/>
                  </a:moveTo>
                  <a:cubicBezTo>
                    <a:pt x="5275" y="1"/>
                    <a:pt x="4989" y="286"/>
                    <a:pt x="4989" y="632"/>
                  </a:cubicBezTo>
                  <a:cubicBezTo>
                    <a:pt x="4989" y="786"/>
                    <a:pt x="5048" y="941"/>
                    <a:pt x="5156" y="1048"/>
                  </a:cubicBezTo>
                  <a:lnTo>
                    <a:pt x="4239" y="2132"/>
                  </a:lnTo>
                  <a:cubicBezTo>
                    <a:pt x="4179" y="2120"/>
                    <a:pt x="4108" y="2096"/>
                    <a:pt x="4048" y="2096"/>
                  </a:cubicBezTo>
                  <a:cubicBezTo>
                    <a:pt x="3858" y="2096"/>
                    <a:pt x="3679" y="2191"/>
                    <a:pt x="3560" y="2334"/>
                  </a:cubicBezTo>
                  <a:lnTo>
                    <a:pt x="2739" y="1882"/>
                  </a:lnTo>
                  <a:cubicBezTo>
                    <a:pt x="2774" y="1798"/>
                    <a:pt x="2786" y="1727"/>
                    <a:pt x="2786" y="1656"/>
                  </a:cubicBezTo>
                  <a:cubicBezTo>
                    <a:pt x="2786" y="1310"/>
                    <a:pt x="2500" y="1024"/>
                    <a:pt x="2155" y="1024"/>
                  </a:cubicBezTo>
                  <a:cubicBezTo>
                    <a:pt x="1822" y="1024"/>
                    <a:pt x="1536" y="1310"/>
                    <a:pt x="1536" y="1656"/>
                  </a:cubicBezTo>
                  <a:cubicBezTo>
                    <a:pt x="1536" y="1822"/>
                    <a:pt x="1596" y="1953"/>
                    <a:pt x="1703" y="2072"/>
                  </a:cubicBezTo>
                  <a:lnTo>
                    <a:pt x="834" y="3203"/>
                  </a:lnTo>
                  <a:cubicBezTo>
                    <a:pt x="774" y="3191"/>
                    <a:pt x="703" y="3168"/>
                    <a:pt x="631" y="3168"/>
                  </a:cubicBezTo>
                  <a:cubicBezTo>
                    <a:pt x="286" y="3168"/>
                    <a:pt x="0" y="3453"/>
                    <a:pt x="0" y="3799"/>
                  </a:cubicBezTo>
                  <a:cubicBezTo>
                    <a:pt x="0" y="4144"/>
                    <a:pt x="286" y="4418"/>
                    <a:pt x="631" y="4418"/>
                  </a:cubicBezTo>
                  <a:cubicBezTo>
                    <a:pt x="965" y="4418"/>
                    <a:pt x="1250" y="4144"/>
                    <a:pt x="1250" y="3799"/>
                  </a:cubicBezTo>
                  <a:cubicBezTo>
                    <a:pt x="1250" y="3632"/>
                    <a:pt x="1191" y="3501"/>
                    <a:pt x="1084" y="3382"/>
                  </a:cubicBezTo>
                  <a:lnTo>
                    <a:pt x="1953" y="2251"/>
                  </a:lnTo>
                  <a:cubicBezTo>
                    <a:pt x="2012" y="2263"/>
                    <a:pt x="2084" y="2275"/>
                    <a:pt x="2155" y="2275"/>
                  </a:cubicBezTo>
                  <a:cubicBezTo>
                    <a:pt x="2310" y="2275"/>
                    <a:pt x="2441" y="2215"/>
                    <a:pt x="2560" y="2144"/>
                  </a:cubicBezTo>
                  <a:lnTo>
                    <a:pt x="3441" y="2632"/>
                  </a:lnTo>
                  <a:cubicBezTo>
                    <a:pt x="3441" y="2668"/>
                    <a:pt x="3429" y="2691"/>
                    <a:pt x="3429" y="2739"/>
                  </a:cubicBezTo>
                  <a:cubicBezTo>
                    <a:pt x="3429" y="3084"/>
                    <a:pt x="3703" y="3370"/>
                    <a:pt x="4048" y="3370"/>
                  </a:cubicBezTo>
                  <a:cubicBezTo>
                    <a:pt x="4394" y="3370"/>
                    <a:pt x="4679" y="3084"/>
                    <a:pt x="4679" y="2739"/>
                  </a:cubicBezTo>
                  <a:cubicBezTo>
                    <a:pt x="4679" y="2572"/>
                    <a:pt x="4620" y="2429"/>
                    <a:pt x="4513" y="2322"/>
                  </a:cubicBezTo>
                  <a:lnTo>
                    <a:pt x="5418" y="1239"/>
                  </a:lnTo>
                  <a:cubicBezTo>
                    <a:pt x="5477" y="1251"/>
                    <a:pt x="5548" y="1263"/>
                    <a:pt x="5608" y="1263"/>
                  </a:cubicBezTo>
                  <a:cubicBezTo>
                    <a:pt x="5953" y="1263"/>
                    <a:pt x="6239" y="989"/>
                    <a:pt x="6239" y="643"/>
                  </a:cubicBezTo>
                  <a:cubicBezTo>
                    <a:pt x="6239" y="286"/>
                    <a:pt x="5953" y="1"/>
                    <a:pt x="5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82" name="Google Shape;10482;p59"/>
          <p:cNvGrpSpPr/>
          <p:nvPr/>
        </p:nvGrpSpPr>
        <p:grpSpPr>
          <a:xfrm>
            <a:off x="1745217" y="1515471"/>
            <a:ext cx="343269" cy="342505"/>
            <a:chOff x="1745217" y="1515471"/>
            <a:chExt cx="343269" cy="342505"/>
          </a:xfrm>
        </p:grpSpPr>
        <p:sp>
          <p:nvSpPr>
            <p:cNvPr id="10483" name="Google Shape;10483;p59"/>
            <p:cNvSpPr/>
            <p:nvPr/>
          </p:nvSpPr>
          <p:spPr>
            <a:xfrm>
              <a:off x="1854448" y="1647096"/>
              <a:ext cx="22012" cy="21630"/>
            </a:xfrm>
            <a:custGeom>
              <a:avLst/>
              <a:gdLst/>
              <a:ahLst/>
              <a:cxnLst/>
              <a:rect l="l" t="t" r="r" b="b"/>
              <a:pathLst>
                <a:path w="691" h="679" extrusionOk="0">
                  <a:moveTo>
                    <a:pt x="346" y="0"/>
                  </a:moveTo>
                  <a:cubicBezTo>
                    <a:pt x="155" y="0"/>
                    <a:pt x="0" y="155"/>
                    <a:pt x="0" y="345"/>
                  </a:cubicBezTo>
                  <a:cubicBezTo>
                    <a:pt x="0" y="536"/>
                    <a:pt x="155" y="679"/>
                    <a:pt x="346" y="679"/>
                  </a:cubicBezTo>
                  <a:cubicBezTo>
                    <a:pt x="536" y="679"/>
                    <a:pt x="691" y="536"/>
                    <a:pt x="691" y="345"/>
                  </a:cubicBezTo>
                  <a:cubicBezTo>
                    <a:pt x="691" y="155"/>
                    <a:pt x="536"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4" name="Google Shape;10484;p59"/>
            <p:cNvSpPr/>
            <p:nvPr/>
          </p:nvSpPr>
          <p:spPr>
            <a:xfrm>
              <a:off x="1906021" y="1647096"/>
              <a:ext cx="21661" cy="21630"/>
            </a:xfrm>
            <a:custGeom>
              <a:avLst/>
              <a:gdLst/>
              <a:ahLst/>
              <a:cxnLst/>
              <a:rect l="l" t="t" r="r" b="b"/>
              <a:pathLst>
                <a:path w="680" h="679" extrusionOk="0">
                  <a:moveTo>
                    <a:pt x="334" y="0"/>
                  </a:moveTo>
                  <a:cubicBezTo>
                    <a:pt x="143" y="0"/>
                    <a:pt x="0" y="155"/>
                    <a:pt x="0" y="345"/>
                  </a:cubicBezTo>
                  <a:cubicBezTo>
                    <a:pt x="0" y="536"/>
                    <a:pt x="143" y="679"/>
                    <a:pt x="334" y="679"/>
                  </a:cubicBezTo>
                  <a:cubicBezTo>
                    <a:pt x="524" y="679"/>
                    <a:pt x="679" y="536"/>
                    <a:pt x="679" y="345"/>
                  </a:cubicBezTo>
                  <a:cubicBezTo>
                    <a:pt x="679" y="155"/>
                    <a:pt x="524"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5" name="Google Shape;10485;p59"/>
            <p:cNvSpPr/>
            <p:nvPr/>
          </p:nvSpPr>
          <p:spPr>
            <a:xfrm>
              <a:off x="1956830" y="1647096"/>
              <a:ext cx="22044" cy="21630"/>
            </a:xfrm>
            <a:custGeom>
              <a:avLst/>
              <a:gdLst/>
              <a:ahLst/>
              <a:cxnLst/>
              <a:rect l="l" t="t" r="r" b="b"/>
              <a:pathLst>
                <a:path w="692" h="679" extrusionOk="0">
                  <a:moveTo>
                    <a:pt x="346" y="0"/>
                  </a:moveTo>
                  <a:cubicBezTo>
                    <a:pt x="156" y="0"/>
                    <a:pt x="1" y="155"/>
                    <a:pt x="1" y="345"/>
                  </a:cubicBezTo>
                  <a:cubicBezTo>
                    <a:pt x="1" y="536"/>
                    <a:pt x="156" y="679"/>
                    <a:pt x="346" y="679"/>
                  </a:cubicBezTo>
                  <a:cubicBezTo>
                    <a:pt x="537" y="679"/>
                    <a:pt x="691" y="536"/>
                    <a:pt x="691" y="345"/>
                  </a:cubicBezTo>
                  <a:cubicBezTo>
                    <a:pt x="691" y="155"/>
                    <a:pt x="537"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6" name="Google Shape;10486;p59"/>
            <p:cNvSpPr/>
            <p:nvPr/>
          </p:nvSpPr>
          <p:spPr>
            <a:xfrm>
              <a:off x="1745217" y="1515471"/>
              <a:ext cx="343269" cy="342505"/>
            </a:xfrm>
            <a:custGeom>
              <a:avLst/>
              <a:gdLst/>
              <a:ahLst/>
              <a:cxnLst/>
              <a:rect l="l" t="t" r="r" b="b"/>
              <a:pathLst>
                <a:path w="10776" h="10752" extrusionOk="0">
                  <a:moveTo>
                    <a:pt x="5382" y="1"/>
                  </a:moveTo>
                  <a:cubicBezTo>
                    <a:pt x="3953" y="1"/>
                    <a:pt x="2608" y="453"/>
                    <a:pt x="1596" y="1286"/>
                  </a:cubicBezTo>
                  <a:cubicBezTo>
                    <a:pt x="560" y="2144"/>
                    <a:pt x="0" y="3251"/>
                    <a:pt x="0" y="4465"/>
                  </a:cubicBezTo>
                  <a:cubicBezTo>
                    <a:pt x="0" y="5513"/>
                    <a:pt x="465" y="6561"/>
                    <a:pt x="1274" y="7359"/>
                  </a:cubicBezTo>
                  <a:cubicBezTo>
                    <a:pt x="2072" y="8121"/>
                    <a:pt x="3120" y="8645"/>
                    <a:pt x="4298" y="8835"/>
                  </a:cubicBezTo>
                  <a:cubicBezTo>
                    <a:pt x="4310" y="9442"/>
                    <a:pt x="4108" y="10014"/>
                    <a:pt x="3703" y="10478"/>
                  </a:cubicBezTo>
                  <a:cubicBezTo>
                    <a:pt x="3655" y="10514"/>
                    <a:pt x="3644" y="10597"/>
                    <a:pt x="3679" y="10657"/>
                  </a:cubicBezTo>
                  <a:cubicBezTo>
                    <a:pt x="3703" y="10704"/>
                    <a:pt x="3763" y="10752"/>
                    <a:pt x="3834" y="10752"/>
                  </a:cubicBezTo>
                  <a:cubicBezTo>
                    <a:pt x="5025" y="10752"/>
                    <a:pt x="6084" y="9966"/>
                    <a:pt x="6442" y="8835"/>
                  </a:cubicBezTo>
                  <a:cubicBezTo>
                    <a:pt x="7406" y="8668"/>
                    <a:pt x="8287" y="8299"/>
                    <a:pt x="9013" y="7752"/>
                  </a:cubicBezTo>
                  <a:cubicBezTo>
                    <a:pt x="9097" y="7692"/>
                    <a:pt x="9109" y="7585"/>
                    <a:pt x="9049" y="7513"/>
                  </a:cubicBezTo>
                  <a:cubicBezTo>
                    <a:pt x="9014" y="7465"/>
                    <a:pt x="8963" y="7441"/>
                    <a:pt x="8913" y="7441"/>
                  </a:cubicBezTo>
                  <a:cubicBezTo>
                    <a:pt x="8877" y="7441"/>
                    <a:pt x="8841" y="7453"/>
                    <a:pt x="8811" y="7478"/>
                  </a:cubicBezTo>
                  <a:cubicBezTo>
                    <a:pt x="8096" y="8014"/>
                    <a:pt x="7215" y="8371"/>
                    <a:pt x="6275" y="8502"/>
                  </a:cubicBezTo>
                  <a:cubicBezTo>
                    <a:pt x="6203" y="8525"/>
                    <a:pt x="6156" y="8561"/>
                    <a:pt x="6132" y="8621"/>
                  </a:cubicBezTo>
                  <a:cubicBezTo>
                    <a:pt x="5894" y="9549"/>
                    <a:pt x="5120" y="10216"/>
                    <a:pt x="4215" y="10371"/>
                  </a:cubicBezTo>
                  <a:cubicBezTo>
                    <a:pt x="4537" y="9859"/>
                    <a:pt x="4703" y="9264"/>
                    <a:pt x="4644" y="8656"/>
                  </a:cubicBezTo>
                  <a:cubicBezTo>
                    <a:pt x="4644" y="8585"/>
                    <a:pt x="4572" y="8502"/>
                    <a:pt x="4489" y="8490"/>
                  </a:cubicBezTo>
                  <a:cubicBezTo>
                    <a:pt x="2084" y="8144"/>
                    <a:pt x="346" y="6442"/>
                    <a:pt x="346" y="4430"/>
                  </a:cubicBezTo>
                  <a:cubicBezTo>
                    <a:pt x="346" y="2156"/>
                    <a:pt x="2608" y="310"/>
                    <a:pt x="5382" y="310"/>
                  </a:cubicBezTo>
                  <a:cubicBezTo>
                    <a:pt x="8168" y="310"/>
                    <a:pt x="10430" y="2156"/>
                    <a:pt x="10430" y="4430"/>
                  </a:cubicBezTo>
                  <a:cubicBezTo>
                    <a:pt x="10430" y="5370"/>
                    <a:pt x="10025" y="6287"/>
                    <a:pt x="9311" y="7013"/>
                  </a:cubicBezTo>
                  <a:cubicBezTo>
                    <a:pt x="9251" y="7097"/>
                    <a:pt x="9251" y="7192"/>
                    <a:pt x="9311" y="7252"/>
                  </a:cubicBezTo>
                  <a:cubicBezTo>
                    <a:pt x="9353" y="7281"/>
                    <a:pt x="9397" y="7296"/>
                    <a:pt x="9439" y="7296"/>
                  </a:cubicBezTo>
                  <a:cubicBezTo>
                    <a:pt x="9481" y="7296"/>
                    <a:pt x="9519" y="7281"/>
                    <a:pt x="9549" y="7252"/>
                  </a:cubicBezTo>
                  <a:cubicBezTo>
                    <a:pt x="10347" y="6466"/>
                    <a:pt x="10775" y="5454"/>
                    <a:pt x="10775" y="4430"/>
                  </a:cubicBezTo>
                  <a:cubicBezTo>
                    <a:pt x="10775" y="3263"/>
                    <a:pt x="10204" y="2144"/>
                    <a:pt x="9180" y="1286"/>
                  </a:cubicBezTo>
                  <a:cubicBezTo>
                    <a:pt x="8168" y="453"/>
                    <a:pt x="6811" y="1"/>
                    <a:pt x="5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487" name="Google Shape;10487;p59"/>
          <p:cNvSpPr/>
          <p:nvPr/>
        </p:nvSpPr>
        <p:spPr>
          <a:xfrm>
            <a:off x="3509220" y="1505437"/>
            <a:ext cx="365632" cy="363561"/>
          </a:xfrm>
          <a:custGeom>
            <a:avLst/>
            <a:gdLst/>
            <a:ahLst/>
            <a:cxnLst/>
            <a:rect l="l" t="t" r="r" b="b"/>
            <a:pathLst>
              <a:path w="11478" h="11413" extrusionOk="0">
                <a:moveTo>
                  <a:pt x="1401" y="515"/>
                </a:moveTo>
                <a:cubicBezTo>
                  <a:pt x="1616" y="515"/>
                  <a:pt x="1834" y="595"/>
                  <a:pt x="2000" y="756"/>
                </a:cubicBezTo>
                <a:lnTo>
                  <a:pt x="2548" y="1304"/>
                </a:lnTo>
                <a:lnTo>
                  <a:pt x="1358" y="2494"/>
                </a:lnTo>
                <a:lnTo>
                  <a:pt x="810" y="1947"/>
                </a:lnTo>
                <a:cubicBezTo>
                  <a:pt x="476" y="1625"/>
                  <a:pt x="476" y="1078"/>
                  <a:pt x="810" y="756"/>
                </a:cubicBezTo>
                <a:cubicBezTo>
                  <a:pt x="971" y="595"/>
                  <a:pt x="1185" y="515"/>
                  <a:pt x="1401" y="515"/>
                </a:cubicBezTo>
                <a:close/>
                <a:moveTo>
                  <a:pt x="2798" y="1566"/>
                </a:moveTo>
                <a:lnTo>
                  <a:pt x="3251" y="2006"/>
                </a:lnTo>
                <a:lnTo>
                  <a:pt x="2655" y="2602"/>
                </a:lnTo>
                <a:lnTo>
                  <a:pt x="2060" y="3197"/>
                </a:lnTo>
                <a:lnTo>
                  <a:pt x="1608" y="2756"/>
                </a:lnTo>
                <a:lnTo>
                  <a:pt x="2798" y="1566"/>
                </a:lnTo>
                <a:close/>
                <a:moveTo>
                  <a:pt x="10132" y="9031"/>
                </a:moveTo>
                <a:lnTo>
                  <a:pt x="10811" y="10757"/>
                </a:lnTo>
                <a:lnTo>
                  <a:pt x="9085" y="10091"/>
                </a:lnTo>
                <a:lnTo>
                  <a:pt x="10132" y="9031"/>
                </a:lnTo>
                <a:close/>
                <a:moveTo>
                  <a:pt x="4036" y="5685"/>
                </a:moveTo>
                <a:lnTo>
                  <a:pt x="5763" y="7412"/>
                </a:lnTo>
                <a:lnTo>
                  <a:pt x="5418" y="7757"/>
                </a:lnTo>
                <a:lnTo>
                  <a:pt x="5001" y="7340"/>
                </a:lnTo>
                <a:cubicBezTo>
                  <a:pt x="4965" y="7299"/>
                  <a:pt x="4920" y="7278"/>
                  <a:pt x="4876" y="7278"/>
                </a:cubicBezTo>
                <a:cubicBezTo>
                  <a:pt x="4831" y="7278"/>
                  <a:pt x="4787" y="7299"/>
                  <a:pt x="4751" y="7340"/>
                </a:cubicBezTo>
                <a:cubicBezTo>
                  <a:pt x="4679" y="7412"/>
                  <a:pt x="4679" y="7519"/>
                  <a:pt x="4751" y="7590"/>
                </a:cubicBezTo>
                <a:lnTo>
                  <a:pt x="5168" y="8007"/>
                </a:lnTo>
                <a:lnTo>
                  <a:pt x="4763" y="8412"/>
                </a:lnTo>
                <a:lnTo>
                  <a:pt x="3822" y="7471"/>
                </a:lnTo>
                <a:cubicBezTo>
                  <a:pt x="3786" y="7436"/>
                  <a:pt x="3742" y="7418"/>
                  <a:pt x="3697" y="7418"/>
                </a:cubicBezTo>
                <a:cubicBezTo>
                  <a:pt x="3652" y="7418"/>
                  <a:pt x="3608" y="7436"/>
                  <a:pt x="3572" y="7471"/>
                </a:cubicBezTo>
                <a:cubicBezTo>
                  <a:pt x="3501" y="7543"/>
                  <a:pt x="3501" y="7650"/>
                  <a:pt x="3572" y="7721"/>
                </a:cubicBezTo>
                <a:lnTo>
                  <a:pt x="4513" y="8662"/>
                </a:lnTo>
                <a:lnTo>
                  <a:pt x="4108" y="9067"/>
                </a:lnTo>
                <a:lnTo>
                  <a:pt x="3691" y="8638"/>
                </a:lnTo>
                <a:cubicBezTo>
                  <a:pt x="3655" y="8602"/>
                  <a:pt x="3611" y="8584"/>
                  <a:pt x="3566" y="8584"/>
                </a:cubicBezTo>
                <a:cubicBezTo>
                  <a:pt x="3521" y="8584"/>
                  <a:pt x="3477" y="8602"/>
                  <a:pt x="3441" y="8638"/>
                </a:cubicBezTo>
                <a:cubicBezTo>
                  <a:pt x="3358" y="8721"/>
                  <a:pt x="3358" y="8817"/>
                  <a:pt x="3441" y="8900"/>
                </a:cubicBezTo>
                <a:lnTo>
                  <a:pt x="3858" y="9317"/>
                </a:lnTo>
                <a:lnTo>
                  <a:pt x="3453" y="9710"/>
                </a:lnTo>
                <a:lnTo>
                  <a:pt x="3036" y="9293"/>
                </a:lnTo>
                <a:cubicBezTo>
                  <a:pt x="3001" y="9257"/>
                  <a:pt x="2956" y="9239"/>
                  <a:pt x="2911" y="9239"/>
                </a:cubicBezTo>
                <a:cubicBezTo>
                  <a:pt x="2867" y="9239"/>
                  <a:pt x="2822" y="9257"/>
                  <a:pt x="2786" y="9293"/>
                </a:cubicBezTo>
                <a:cubicBezTo>
                  <a:pt x="2703" y="9376"/>
                  <a:pt x="2703" y="9471"/>
                  <a:pt x="2786" y="9555"/>
                </a:cubicBezTo>
                <a:lnTo>
                  <a:pt x="3203" y="9972"/>
                </a:lnTo>
                <a:lnTo>
                  <a:pt x="2798" y="10364"/>
                </a:lnTo>
                <a:lnTo>
                  <a:pt x="1858" y="9436"/>
                </a:lnTo>
                <a:cubicBezTo>
                  <a:pt x="1822" y="9394"/>
                  <a:pt x="1777" y="9373"/>
                  <a:pt x="1733" y="9373"/>
                </a:cubicBezTo>
                <a:cubicBezTo>
                  <a:pt x="1688" y="9373"/>
                  <a:pt x="1643" y="9394"/>
                  <a:pt x="1608" y="9436"/>
                </a:cubicBezTo>
                <a:cubicBezTo>
                  <a:pt x="1536" y="9507"/>
                  <a:pt x="1536" y="9614"/>
                  <a:pt x="1608" y="9686"/>
                </a:cubicBezTo>
                <a:lnTo>
                  <a:pt x="2548" y="10626"/>
                </a:lnTo>
                <a:lnTo>
                  <a:pt x="2191" y="10984"/>
                </a:lnTo>
                <a:cubicBezTo>
                  <a:pt x="2155" y="11007"/>
                  <a:pt x="2096" y="11043"/>
                  <a:pt x="2048" y="11043"/>
                </a:cubicBezTo>
                <a:cubicBezTo>
                  <a:pt x="2012" y="11043"/>
                  <a:pt x="1953" y="11019"/>
                  <a:pt x="1917" y="10984"/>
                </a:cubicBezTo>
                <a:lnTo>
                  <a:pt x="465" y="9519"/>
                </a:lnTo>
                <a:cubicBezTo>
                  <a:pt x="381" y="9448"/>
                  <a:pt x="381" y="9329"/>
                  <a:pt x="465" y="9257"/>
                </a:cubicBezTo>
                <a:lnTo>
                  <a:pt x="4036" y="5685"/>
                </a:lnTo>
                <a:close/>
                <a:moveTo>
                  <a:pt x="9428" y="0"/>
                </a:moveTo>
                <a:cubicBezTo>
                  <a:pt x="9290" y="0"/>
                  <a:pt x="9150" y="54"/>
                  <a:pt x="9037" y="161"/>
                </a:cubicBezTo>
                <a:lnTo>
                  <a:pt x="6299" y="2899"/>
                </a:lnTo>
                <a:cubicBezTo>
                  <a:pt x="6227" y="2971"/>
                  <a:pt x="6227" y="3078"/>
                  <a:pt x="6299" y="3149"/>
                </a:cubicBezTo>
                <a:cubicBezTo>
                  <a:pt x="6334" y="3185"/>
                  <a:pt x="6379" y="3203"/>
                  <a:pt x="6424" y="3203"/>
                </a:cubicBezTo>
                <a:cubicBezTo>
                  <a:pt x="6468" y="3203"/>
                  <a:pt x="6513" y="3185"/>
                  <a:pt x="6549" y="3149"/>
                </a:cubicBezTo>
                <a:lnTo>
                  <a:pt x="9287" y="411"/>
                </a:lnTo>
                <a:cubicBezTo>
                  <a:pt x="9323" y="387"/>
                  <a:pt x="9382" y="351"/>
                  <a:pt x="9418" y="351"/>
                </a:cubicBezTo>
                <a:cubicBezTo>
                  <a:pt x="9466" y="351"/>
                  <a:pt x="9525" y="363"/>
                  <a:pt x="9561" y="411"/>
                </a:cubicBezTo>
                <a:lnTo>
                  <a:pt x="11013" y="1875"/>
                </a:lnTo>
                <a:cubicBezTo>
                  <a:pt x="11049" y="1899"/>
                  <a:pt x="11073" y="1959"/>
                  <a:pt x="11073" y="2006"/>
                </a:cubicBezTo>
                <a:cubicBezTo>
                  <a:pt x="11073" y="2054"/>
                  <a:pt x="11061" y="2113"/>
                  <a:pt x="11013" y="2137"/>
                </a:cubicBezTo>
                <a:lnTo>
                  <a:pt x="10656" y="2494"/>
                </a:lnTo>
                <a:lnTo>
                  <a:pt x="9716" y="1554"/>
                </a:lnTo>
                <a:cubicBezTo>
                  <a:pt x="9680" y="1518"/>
                  <a:pt x="9635" y="1500"/>
                  <a:pt x="9591" y="1500"/>
                </a:cubicBezTo>
                <a:cubicBezTo>
                  <a:pt x="9546" y="1500"/>
                  <a:pt x="9501" y="1518"/>
                  <a:pt x="9466" y="1554"/>
                </a:cubicBezTo>
                <a:cubicBezTo>
                  <a:pt x="9394" y="1637"/>
                  <a:pt x="9394" y="1732"/>
                  <a:pt x="9466" y="1816"/>
                </a:cubicBezTo>
                <a:lnTo>
                  <a:pt x="10406" y="2744"/>
                </a:lnTo>
                <a:lnTo>
                  <a:pt x="10001" y="3149"/>
                </a:lnTo>
                <a:lnTo>
                  <a:pt x="9585" y="2733"/>
                </a:lnTo>
                <a:cubicBezTo>
                  <a:pt x="9549" y="2697"/>
                  <a:pt x="9504" y="2679"/>
                  <a:pt x="9460" y="2679"/>
                </a:cubicBezTo>
                <a:cubicBezTo>
                  <a:pt x="9415" y="2679"/>
                  <a:pt x="9370" y="2697"/>
                  <a:pt x="9335" y="2733"/>
                </a:cubicBezTo>
                <a:cubicBezTo>
                  <a:pt x="9263" y="2804"/>
                  <a:pt x="9263" y="2911"/>
                  <a:pt x="9335" y="2983"/>
                </a:cubicBezTo>
                <a:lnTo>
                  <a:pt x="9751" y="3399"/>
                </a:lnTo>
                <a:lnTo>
                  <a:pt x="9347" y="3804"/>
                </a:lnTo>
                <a:lnTo>
                  <a:pt x="8930" y="3387"/>
                </a:lnTo>
                <a:cubicBezTo>
                  <a:pt x="8894" y="3352"/>
                  <a:pt x="8850" y="3334"/>
                  <a:pt x="8805" y="3334"/>
                </a:cubicBezTo>
                <a:cubicBezTo>
                  <a:pt x="8760" y="3334"/>
                  <a:pt x="8716" y="3352"/>
                  <a:pt x="8680" y="3387"/>
                </a:cubicBezTo>
                <a:cubicBezTo>
                  <a:pt x="8597" y="3459"/>
                  <a:pt x="8597" y="3566"/>
                  <a:pt x="8680" y="3637"/>
                </a:cubicBezTo>
                <a:lnTo>
                  <a:pt x="9097" y="4054"/>
                </a:lnTo>
                <a:lnTo>
                  <a:pt x="8692" y="4459"/>
                </a:lnTo>
                <a:lnTo>
                  <a:pt x="7751" y="3518"/>
                </a:lnTo>
                <a:cubicBezTo>
                  <a:pt x="7715" y="3483"/>
                  <a:pt x="7671" y="3465"/>
                  <a:pt x="7626" y="3465"/>
                </a:cubicBezTo>
                <a:cubicBezTo>
                  <a:pt x="7581" y="3465"/>
                  <a:pt x="7537" y="3483"/>
                  <a:pt x="7501" y="3518"/>
                </a:cubicBezTo>
                <a:cubicBezTo>
                  <a:pt x="7430" y="3602"/>
                  <a:pt x="7430" y="3697"/>
                  <a:pt x="7501" y="3780"/>
                </a:cubicBezTo>
                <a:lnTo>
                  <a:pt x="8442" y="4709"/>
                </a:lnTo>
                <a:lnTo>
                  <a:pt x="8037" y="5114"/>
                </a:lnTo>
                <a:lnTo>
                  <a:pt x="7620" y="4697"/>
                </a:lnTo>
                <a:cubicBezTo>
                  <a:pt x="7584" y="4661"/>
                  <a:pt x="7540" y="4644"/>
                  <a:pt x="7495" y="4644"/>
                </a:cubicBezTo>
                <a:cubicBezTo>
                  <a:pt x="7451" y="4644"/>
                  <a:pt x="7406" y="4661"/>
                  <a:pt x="7370" y="4697"/>
                </a:cubicBezTo>
                <a:cubicBezTo>
                  <a:pt x="7287" y="4769"/>
                  <a:pt x="7287" y="4876"/>
                  <a:pt x="7370" y="4947"/>
                </a:cubicBezTo>
                <a:lnTo>
                  <a:pt x="7787" y="5364"/>
                </a:lnTo>
                <a:lnTo>
                  <a:pt x="7442" y="5709"/>
                </a:lnTo>
                <a:lnTo>
                  <a:pt x="5715" y="3983"/>
                </a:lnTo>
                <a:lnTo>
                  <a:pt x="6037" y="3661"/>
                </a:lnTo>
                <a:cubicBezTo>
                  <a:pt x="6120" y="3578"/>
                  <a:pt x="6120" y="3483"/>
                  <a:pt x="6037" y="3399"/>
                </a:cubicBezTo>
                <a:cubicBezTo>
                  <a:pt x="6001" y="3364"/>
                  <a:pt x="5956" y="3346"/>
                  <a:pt x="5912" y="3346"/>
                </a:cubicBezTo>
                <a:cubicBezTo>
                  <a:pt x="5867" y="3346"/>
                  <a:pt x="5822" y="3364"/>
                  <a:pt x="5787" y="3399"/>
                </a:cubicBezTo>
                <a:lnTo>
                  <a:pt x="5465" y="3733"/>
                </a:lnTo>
                <a:lnTo>
                  <a:pt x="2239" y="506"/>
                </a:lnTo>
                <a:cubicBezTo>
                  <a:pt x="2012" y="280"/>
                  <a:pt x="1715" y="161"/>
                  <a:pt x="1381" y="161"/>
                </a:cubicBezTo>
                <a:cubicBezTo>
                  <a:pt x="1072" y="161"/>
                  <a:pt x="762" y="280"/>
                  <a:pt x="536" y="506"/>
                </a:cubicBezTo>
                <a:cubicBezTo>
                  <a:pt x="310" y="732"/>
                  <a:pt x="191" y="1030"/>
                  <a:pt x="191" y="1351"/>
                </a:cubicBezTo>
                <a:cubicBezTo>
                  <a:pt x="191" y="1661"/>
                  <a:pt x="310" y="1971"/>
                  <a:pt x="536" y="2197"/>
                </a:cubicBezTo>
                <a:lnTo>
                  <a:pt x="3774" y="5447"/>
                </a:lnTo>
                <a:lnTo>
                  <a:pt x="203" y="9019"/>
                </a:lnTo>
                <a:cubicBezTo>
                  <a:pt x="0" y="9221"/>
                  <a:pt x="0" y="9567"/>
                  <a:pt x="203" y="9793"/>
                </a:cubicBezTo>
                <a:lnTo>
                  <a:pt x="1667" y="11246"/>
                </a:lnTo>
                <a:cubicBezTo>
                  <a:pt x="1774" y="11353"/>
                  <a:pt x="1905" y="11412"/>
                  <a:pt x="2048" y="11412"/>
                </a:cubicBezTo>
                <a:cubicBezTo>
                  <a:pt x="2203" y="11412"/>
                  <a:pt x="2334" y="11353"/>
                  <a:pt x="2441" y="11246"/>
                </a:cubicBezTo>
                <a:lnTo>
                  <a:pt x="6013" y="7674"/>
                </a:lnTo>
                <a:lnTo>
                  <a:pt x="6263" y="7924"/>
                </a:lnTo>
                <a:cubicBezTo>
                  <a:pt x="6299" y="7965"/>
                  <a:pt x="6343" y="7986"/>
                  <a:pt x="6389" y="7986"/>
                </a:cubicBezTo>
                <a:cubicBezTo>
                  <a:pt x="6436" y="7986"/>
                  <a:pt x="6483" y="7965"/>
                  <a:pt x="6525" y="7924"/>
                </a:cubicBezTo>
                <a:cubicBezTo>
                  <a:pt x="6596" y="7852"/>
                  <a:pt x="6596" y="7745"/>
                  <a:pt x="6525" y="7674"/>
                </a:cubicBezTo>
                <a:lnTo>
                  <a:pt x="6168" y="7316"/>
                </a:lnTo>
                <a:cubicBezTo>
                  <a:pt x="6168" y="7305"/>
                  <a:pt x="6144" y="7305"/>
                  <a:pt x="6132" y="7293"/>
                </a:cubicBezTo>
                <a:lnTo>
                  <a:pt x="6096" y="7257"/>
                </a:lnTo>
                <a:lnTo>
                  <a:pt x="2310" y="3471"/>
                </a:lnTo>
                <a:lnTo>
                  <a:pt x="2786" y="2995"/>
                </a:lnTo>
                <a:lnTo>
                  <a:pt x="3084" y="3292"/>
                </a:lnTo>
                <a:cubicBezTo>
                  <a:pt x="3108" y="3316"/>
                  <a:pt x="3155" y="3328"/>
                  <a:pt x="3203" y="3328"/>
                </a:cubicBezTo>
                <a:cubicBezTo>
                  <a:pt x="3239" y="3328"/>
                  <a:pt x="3286" y="3316"/>
                  <a:pt x="3322" y="3292"/>
                </a:cubicBezTo>
                <a:cubicBezTo>
                  <a:pt x="3393" y="3209"/>
                  <a:pt x="3393" y="3114"/>
                  <a:pt x="3322" y="3030"/>
                </a:cubicBezTo>
                <a:lnTo>
                  <a:pt x="3024" y="2733"/>
                </a:lnTo>
                <a:lnTo>
                  <a:pt x="3501" y="2256"/>
                </a:lnTo>
                <a:lnTo>
                  <a:pt x="5358" y="4126"/>
                </a:lnTo>
                <a:lnTo>
                  <a:pt x="7311" y="6066"/>
                </a:lnTo>
                <a:lnTo>
                  <a:pt x="7323" y="6090"/>
                </a:lnTo>
                <a:lnTo>
                  <a:pt x="7334" y="6102"/>
                </a:lnTo>
                <a:lnTo>
                  <a:pt x="9942" y="8710"/>
                </a:lnTo>
                <a:lnTo>
                  <a:pt x="9466" y="9186"/>
                </a:lnTo>
                <a:lnTo>
                  <a:pt x="6846" y="6554"/>
                </a:lnTo>
                <a:lnTo>
                  <a:pt x="5810" y="5519"/>
                </a:lnTo>
                <a:lnTo>
                  <a:pt x="3965" y="3673"/>
                </a:lnTo>
                <a:cubicBezTo>
                  <a:pt x="3923" y="3637"/>
                  <a:pt x="3879" y="3620"/>
                  <a:pt x="3834" y="3620"/>
                </a:cubicBezTo>
                <a:cubicBezTo>
                  <a:pt x="3789" y="3620"/>
                  <a:pt x="3745" y="3637"/>
                  <a:pt x="3703" y="3673"/>
                </a:cubicBezTo>
                <a:cubicBezTo>
                  <a:pt x="3632" y="3745"/>
                  <a:pt x="3632" y="3852"/>
                  <a:pt x="3703" y="3923"/>
                </a:cubicBezTo>
                <a:lnTo>
                  <a:pt x="9239" y="9460"/>
                </a:lnTo>
                <a:lnTo>
                  <a:pt x="8763" y="9936"/>
                </a:lnTo>
                <a:lnTo>
                  <a:pt x="7096" y="8269"/>
                </a:lnTo>
                <a:cubicBezTo>
                  <a:pt x="7061" y="8233"/>
                  <a:pt x="7016" y="8215"/>
                  <a:pt x="6971" y="8215"/>
                </a:cubicBezTo>
                <a:cubicBezTo>
                  <a:pt x="6927" y="8215"/>
                  <a:pt x="6882" y="8233"/>
                  <a:pt x="6846" y="8269"/>
                </a:cubicBezTo>
                <a:cubicBezTo>
                  <a:pt x="6775" y="8340"/>
                  <a:pt x="6775" y="8448"/>
                  <a:pt x="6846" y="8519"/>
                </a:cubicBezTo>
                <a:lnTo>
                  <a:pt x="8632" y="10305"/>
                </a:lnTo>
                <a:cubicBezTo>
                  <a:pt x="8644" y="10329"/>
                  <a:pt x="8680" y="10341"/>
                  <a:pt x="8692" y="10353"/>
                </a:cubicBezTo>
                <a:lnTo>
                  <a:pt x="10799" y="11174"/>
                </a:lnTo>
                <a:cubicBezTo>
                  <a:pt x="10835" y="11186"/>
                  <a:pt x="10883" y="11186"/>
                  <a:pt x="10906" y="11186"/>
                </a:cubicBezTo>
                <a:cubicBezTo>
                  <a:pt x="10990" y="11186"/>
                  <a:pt x="11061" y="11162"/>
                  <a:pt x="11121" y="11103"/>
                </a:cubicBezTo>
                <a:cubicBezTo>
                  <a:pt x="11192" y="11019"/>
                  <a:pt x="11228" y="10900"/>
                  <a:pt x="11180" y="10805"/>
                </a:cubicBezTo>
                <a:lnTo>
                  <a:pt x="10359" y="8686"/>
                </a:lnTo>
                <a:cubicBezTo>
                  <a:pt x="10347" y="8662"/>
                  <a:pt x="10323" y="8638"/>
                  <a:pt x="10311" y="8626"/>
                </a:cubicBezTo>
                <a:lnTo>
                  <a:pt x="7692" y="6007"/>
                </a:lnTo>
                <a:lnTo>
                  <a:pt x="11264" y="2435"/>
                </a:lnTo>
                <a:cubicBezTo>
                  <a:pt x="11478" y="2185"/>
                  <a:pt x="11478" y="1840"/>
                  <a:pt x="11264" y="1625"/>
                </a:cubicBezTo>
                <a:lnTo>
                  <a:pt x="9811" y="161"/>
                </a:lnTo>
                <a:cubicBezTo>
                  <a:pt x="9704" y="54"/>
                  <a:pt x="9567" y="0"/>
                  <a:pt x="9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488" name="Google Shape;10488;p59"/>
          <p:cNvGrpSpPr/>
          <p:nvPr/>
        </p:nvGrpSpPr>
        <p:grpSpPr>
          <a:xfrm>
            <a:off x="3042703" y="1529137"/>
            <a:ext cx="411535" cy="315587"/>
            <a:chOff x="3042703" y="1529137"/>
            <a:chExt cx="411535" cy="315587"/>
          </a:xfrm>
        </p:grpSpPr>
        <p:sp>
          <p:nvSpPr>
            <p:cNvPr id="10489" name="Google Shape;10489;p59"/>
            <p:cNvSpPr/>
            <p:nvPr/>
          </p:nvSpPr>
          <p:spPr>
            <a:xfrm>
              <a:off x="3042703" y="1529137"/>
              <a:ext cx="411535" cy="315587"/>
            </a:xfrm>
            <a:custGeom>
              <a:avLst/>
              <a:gdLst/>
              <a:ahLst/>
              <a:cxnLst/>
              <a:rect l="l" t="t" r="r" b="b"/>
              <a:pathLst>
                <a:path w="12919" h="9907" extrusionOk="0">
                  <a:moveTo>
                    <a:pt x="191" y="0"/>
                  </a:moveTo>
                  <a:cubicBezTo>
                    <a:pt x="84" y="0"/>
                    <a:pt x="1" y="84"/>
                    <a:pt x="1" y="191"/>
                  </a:cubicBezTo>
                  <a:lnTo>
                    <a:pt x="1" y="9716"/>
                  </a:lnTo>
                  <a:cubicBezTo>
                    <a:pt x="1" y="9823"/>
                    <a:pt x="96" y="9906"/>
                    <a:pt x="191" y="9906"/>
                  </a:cubicBezTo>
                  <a:lnTo>
                    <a:pt x="2394" y="9906"/>
                  </a:lnTo>
                  <a:cubicBezTo>
                    <a:pt x="2501" y="9906"/>
                    <a:pt x="2584" y="9823"/>
                    <a:pt x="2584" y="9716"/>
                  </a:cubicBezTo>
                  <a:cubicBezTo>
                    <a:pt x="2584" y="9609"/>
                    <a:pt x="2501" y="9525"/>
                    <a:pt x="2394" y="9525"/>
                  </a:cubicBezTo>
                  <a:lnTo>
                    <a:pt x="382" y="9525"/>
                  </a:lnTo>
                  <a:lnTo>
                    <a:pt x="382" y="7989"/>
                  </a:lnTo>
                  <a:lnTo>
                    <a:pt x="8287" y="7989"/>
                  </a:lnTo>
                  <a:cubicBezTo>
                    <a:pt x="8394" y="7989"/>
                    <a:pt x="8478" y="7894"/>
                    <a:pt x="8478" y="7799"/>
                  </a:cubicBezTo>
                  <a:cubicBezTo>
                    <a:pt x="8478" y="7692"/>
                    <a:pt x="8394" y="7596"/>
                    <a:pt x="8287" y="7596"/>
                  </a:cubicBezTo>
                  <a:lnTo>
                    <a:pt x="382" y="7596"/>
                  </a:lnTo>
                  <a:lnTo>
                    <a:pt x="382" y="2167"/>
                  </a:lnTo>
                  <a:lnTo>
                    <a:pt x="12550" y="2167"/>
                  </a:lnTo>
                  <a:lnTo>
                    <a:pt x="12550" y="7596"/>
                  </a:lnTo>
                  <a:lnTo>
                    <a:pt x="9287" y="7596"/>
                  </a:lnTo>
                  <a:cubicBezTo>
                    <a:pt x="9180" y="7596"/>
                    <a:pt x="9097" y="7692"/>
                    <a:pt x="9097" y="7799"/>
                  </a:cubicBezTo>
                  <a:cubicBezTo>
                    <a:pt x="9097" y="7894"/>
                    <a:pt x="9180" y="7989"/>
                    <a:pt x="9287" y="7989"/>
                  </a:cubicBezTo>
                  <a:lnTo>
                    <a:pt x="12538" y="7989"/>
                  </a:lnTo>
                  <a:lnTo>
                    <a:pt x="12538" y="9525"/>
                  </a:lnTo>
                  <a:lnTo>
                    <a:pt x="3251" y="9525"/>
                  </a:lnTo>
                  <a:cubicBezTo>
                    <a:pt x="3144" y="9525"/>
                    <a:pt x="3049" y="9609"/>
                    <a:pt x="3049" y="9716"/>
                  </a:cubicBezTo>
                  <a:cubicBezTo>
                    <a:pt x="3049" y="9823"/>
                    <a:pt x="3144" y="9906"/>
                    <a:pt x="3251" y="9906"/>
                  </a:cubicBezTo>
                  <a:lnTo>
                    <a:pt x="12728" y="9906"/>
                  </a:lnTo>
                  <a:cubicBezTo>
                    <a:pt x="12835" y="9906"/>
                    <a:pt x="12919" y="9823"/>
                    <a:pt x="12919" y="9716"/>
                  </a:cubicBezTo>
                  <a:lnTo>
                    <a:pt x="12919" y="191"/>
                  </a:lnTo>
                  <a:cubicBezTo>
                    <a:pt x="12907" y="84"/>
                    <a:pt x="12835" y="0"/>
                    <a:pt x="12728" y="0"/>
                  </a:cubicBezTo>
                  <a:lnTo>
                    <a:pt x="6859" y="0"/>
                  </a:lnTo>
                  <a:cubicBezTo>
                    <a:pt x="6763" y="0"/>
                    <a:pt x="6668" y="84"/>
                    <a:pt x="6668" y="191"/>
                  </a:cubicBezTo>
                  <a:cubicBezTo>
                    <a:pt x="6668" y="298"/>
                    <a:pt x="6763" y="381"/>
                    <a:pt x="6859" y="381"/>
                  </a:cubicBezTo>
                  <a:lnTo>
                    <a:pt x="12538" y="381"/>
                  </a:lnTo>
                  <a:lnTo>
                    <a:pt x="12538" y="1810"/>
                  </a:lnTo>
                  <a:lnTo>
                    <a:pt x="370" y="1810"/>
                  </a:lnTo>
                  <a:lnTo>
                    <a:pt x="370" y="381"/>
                  </a:lnTo>
                  <a:lnTo>
                    <a:pt x="6001" y="381"/>
                  </a:lnTo>
                  <a:cubicBezTo>
                    <a:pt x="6108" y="381"/>
                    <a:pt x="6192" y="298"/>
                    <a:pt x="6192" y="191"/>
                  </a:cubicBezTo>
                  <a:cubicBezTo>
                    <a:pt x="6192" y="84"/>
                    <a:pt x="6097"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0" name="Google Shape;10490;p59"/>
            <p:cNvSpPr/>
            <p:nvPr/>
          </p:nvSpPr>
          <p:spPr>
            <a:xfrm>
              <a:off x="3077967" y="1557965"/>
              <a:ext cx="12169" cy="12551"/>
            </a:xfrm>
            <a:custGeom>
              <a:avLst/>
              <a:gdLst/>
              <a:ahLst/>
              <a:cxnLst/>
              <a:rect l="l" t="t" r="r" b="b"/>
              <a:pathLst>
                <a:path w="382" h="394" extrusionOk="0">
                  <a:moveTo>
                    <a:pt x="191" y="0"/>
                  </a:moveTo>
                  <a:cubicBezTo>
                    <a:pt x="84" y="0"/>
                    <a:pt x="1" y="95"/>
                    <a:pt x="1" y="191"/>
                  </a:cubicBezTo>
                  <a:cubicBezTo>
                    <a:pt x="1" y="298"/>
                    <a:pt x="84" y="393"/>
                    <a:pt x="191" y="393"/>
                  </a:cubicBezTo>
                  <a:cubicBezTo>
                    <a:pt x="298" y="393"/>
                    <a:pt x="382" y="298"/>
                    <a:pt x="382" y="191"/>
                  </a:cubicBezTo>
                  <a:cubicBezTo>
                    <a:pt x="382"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1" name="Google Shape;10491;p59"/>
            <p:cNvSpPr/>
            <p:nvPr/>
          </p:nvSpPr>
          <p:spPr>
            <a:xfrm>
              <a:off x="3099978" y="1557965"/>
              <a:ext cx="12551" cy="12551"/>
            </a:xfrm>
            <a:custGeom>
              <a:avLst/>
              <a:gdLst/>
              <a:ahLst/>
              <a:cxnLst/>
              <a:rect l="l" t="t" r="r" b="b"/>
              <a:pathLst>
                <a:path w="394" h="394" extrusionOk="0">
                  <a:moveTo>
                    <a:pt x="203" y="0"/>
                  </a:moveTo>
                  <a:cubicBezTo>
                    <a:pt x="96" y="0"/>
                    <a:pt x="0" y="95"/>
                    <a:pt x="0" y="191"/>
                  </a:cubicBezTo>
                  <a:cubicBezTo>
                    <a:pt x="0" y="298"/>
                    <a:pt x="96" y="393"/>
                    <a:pt x="203" y="393"/>
                  </a:cubicBezTo>
                  <a:cubicBezTo>
                    <a:pt x="298" y="393"/>
                    <a:pt x="393" y="298"/>
                    <a:pt x="393" y="191"/>
                  </a:cubicBezTo>
                  <a:cubicBezTo>
                    <a:pt x="393" y="95"/>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2" name="Google Shape;10492;p59"/>
            <p:cNvSpPr/>
            <p:nvPr/>
          </p:nvSpPr>
          <p:spPr>
            <a:xfrm>
              <a:off x="3122341" y="1557965"/>
              <a:ext cx="12551" cy="12551"/>
            </a:xfrm>
            <a:custGeom>
              <a:avLst/>
              <a:gdLst/>
              <a:ahLst/>
              <a:cxnLst/>
              <a:rect l="l" t="t" r="r" b="b"/>
              <a:pathLst>
                <a:path w="394" h="394" extrusionOk="0">
                  <a:moveTo>
                    <a:pt x="191" y="0"/>
                  </a:moveTo>
                  <a:cubicBezTo>
                    <a:pt x="96" y="0"/>
                    <a:pt x="1" y="95"/>
                    <a:pt x="1" y="191"/>
                  </a:cubicBezTo>
                  <a:cubicBezTo>
                    <a:pt x="1" y="298"/>
                    <a:pt x="96" y="393"/>
                    <a:pt x="191" y="393"/>
                  </a:cubicBezTo>
                  <a:cubicBezTo>
                    <a:pt x="298" y="393"/>
                    <a:pt x="394" y="298"/>
                    <a:pt x="394" y="191"/>
                  </a:cubicBezTo>
                  <a:cubicBezTo>
                    <a:pt x="394" y="95"/>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3" name="Google Shape;10493;p59"/>
            <p:cNvSpPr/>
            <p:nvPr/>
          </p:nvSpPr>
          <p:spPr>
            <a:xfrm>
              <a:off x="3342331" y="1557965"/>
              <a:ext cx="79669" cy="12551"/>
            </a:xfrm>
            <a:custGeom>
              <a:avLst/>
              <a:gdLst/>
              <a:ahLst/>
              <a:cxnLst/>
              <a:rect l="l" t="t" r="r" b="b"/>
              <a:pathLst>
                <a:path w="2501" h="394" extrusionOk="0">
                  <a:moveTo>
                    <a:pt x="191" y="0"/>
                  </a:moveTo>
                  <a:cubicBezTo>
                    <a:pt x="84" y="0"/>
                    <a:pt x="0" y="95"/>
                    <a:pt x="0" y="191"/>
                  </a:cubicBezTo>
                  <a:cubicBezTo>
                    <a:pt x="0" y="298"/>
                    <a:pt x="96" y="393"/>
                    <a:pt x="191" y="393"/>
                  </a:cubicBezTo>
                  <a:lnTo>
                    <a:pt x="2310" y="393"/>
                  </a:lnTo>
                  <a:cubicBezTo>
                    <a:pt x="2417" y="393"/>
                    <a:pt x="2501" y="298"/>
                    <a:pt x="2501" y="191"/>
                  </a:cubicBezTo>
                  <a:cubicBezTo>
                    <a:pt x="2501" y="95"/>
                    <a:pt x="2417"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4" name="Google Shape;10494;p59"/>
            <p:cNvSpPr/>
            <p:nvPr/>
          </p:nvSpPr>
          <p:spPr>
            <a:xfrm>
              <a:off x="3306303" y="1557965"/>
              <a:ext cx="26949" cy="12551"/>
            </a:xfrm>
            <a:custGeom>
              <a:avLst/>
              <a:gdLst/>
              <a:ahLst/>
              <a:cxnLst/>
              <a:rect l="l" t="t" r="r" b="b"/>
              <a:pathLst>
                <a:path w="846" h="394" extrusionOk="0">
                  <a:moveTo>
                    <a:pt x="191" y="0"/>
                  </a:moveTo>
                  <a:cubicBezTo>
                    <a:pt x="96" y="0"/>
                    <a:pt x="0" y="95"/>
                    <a:pt x="0" y="191"/>
                  </a:cubicBezTo>
                  <a:cubicBezTo>
                    <a:pt x="0" y="298"/>
                    <a:pt x="96" y="393"/>
                    <a:pt x="191" y="393"/>
                  </a:cubicBezTo>
                  <a:lnTo>
                    <a:pt x="655" y="393"/>
                  </a:lnTo>
                  <a:cubicBezTo>
                    <a:pt x="762" y="393"/>
                    <a:pt x="846" y="298"/>
                    <a:pt x="846" y="191"/>
                  </a:cubicBezTo>
                  <a:cubicBezTo>
                    <a:pt x="846" y="95"/>
                    <a:pt x="76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5" name="Google Shape;10495;p59"/>
            <p:cNvSpPr/>
            <p:nvPr/>
          </p:nvSpPr>
          <p:spPr>
            <a:xfrm>
              <a:off x="3165217" y="1622822"/>
              <a:ext cx="166888" cy="121750"/>
            </a:xfrm>
            <a:custGeom>
              <a:avLst/>
              <a:gdLst/>
              <a:ahLst/>
              <a:cxnLst/>
              <a:rect l="l" t="t" r="r" b="b"/>
              <a:pathLst>
                <a:path w="5239" h="3822" extrusionOk="0">
                  <a:moveTo>
                    <a:pt x="4048" y="381"/>
                  </a:moveTo>
                  <a:cubicBezTo>
                    <a:pt x="4489" y="381"/>
                    <a:pt x="4846" y="738"/>
                    <a:pt x="4846" y="1179"/>
                  </a:cubicBezTo>
                  <a:lnTo>
                    <a:pt x="4846" y="2655"/>
                  </a:lnTo>
                  <a:cubicBezTo>
                    <a:pt x="4846" y="3096"/>
                    <a:pt x="4489" y="3453"/>
                    <a:pt x="4048" y="3453"/>
                  </a:cubicBezTo>
                  <a:lnTo>
                    <a:pt x="1155" y="3453"/>
                  </a:lnTo>
                  <a:cubicBezTo>
                    <a:pt x="715" y="3453"/>
                    <a:pt x="357" y="3096"/>
                    <a:pt x="357" y="2655"/>
                  </a:cubicBezTo>
                  <a:lnTo>
                    <a:pt x="357" y="1179"/>
                  </a:lnTo>
                  <a:cubicBezTo>
                    <a:pt x="357" y="738"/>
                    <a:pt x="715" y="381"/>
                    <a:pt x="1155" y="381"/>
                  </a:cubicBezTo>
                  <a:close/>
                  <a:moveTo>
                    <a:pt x="1167" y="0"/>
                  </a:moveTo>
                  <a:cubicBezTo>
                    <a:pt x="512" y="0"/>
                    <a:pt x="0" y="536"/>
                    <a:pt x="0" y="1179"/>
                  </a:cubicBezTo>
                  <a:lnTo>
                    <a:pt x="0" y="2655"/>
                  </a:lnTo>
                  <a:cubicBezTo>
                    <a:pt x="0" y="3310"/>
                    <a:pt x="536" y="3822"/>
                    <a:pt x="1167" y="3822"/>
                  </a:cubicBezTo>
                  <a:lnTo>
                    <a:pt x="4060" y="3822"/>
                  </a:lnTo>
                  <a:cubicBezTo>
                    <a:pt x="4715" y="3822"/>
                    <a:pt x="5239" y="3286"/>
                    <a:pt x="5239" y="2655"/>
                  </a:cubicBezTo>
                  <a:lnTo>
                    <a:pt x="5239" y="1179"/>
                  </a:lnTo>
                  <a:cubicBezTo>
                    <a:pt x="5239" y="524"/>
                    <a:pt x="4703" y="0"/>
                    <a:pt x="4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6" name="Google Shape;10496;p59"/>
            <p:cNvSpPr/>
            <p:nvPr/>
          </p:nvSpPr>
          <p:spPr>
            <a:xfrm>
              <a:off x="3222843" y="1657226"/>
              <a:ext cx="54281" cy="53612"/>
            </a:xfrm>
            <a:custGeom>
              <a:avLst/>
              <a:gdLst/>
              <a:ahLst/>
              <a:cxnLst/>
              <a:rect l="l" t="t" r="r" b="b"/>
              <a:pathLst>
                <a:path w="1704" h="1683" extrusionOk="0">
                  <a:moveTo>
                    <a:pt x="394" y="396"/>
                  </a:moveTo>
                  <a:lnTo>
                    <a:pt x="1287" y="849"/>
                  </a:lnTo>
                  <a:lnTo>
                    <a:pt x="394" y="1278"/>
                  </a:lnTo>
                  <a:lnTo>
                    <a:pt x="394" y="396"/>
                  </a:lnTo>
                  <a:close/>
                  <a:moveTo>
                    <a:pt x="358" y="0"/>
                  </a:moveTo>
                  <a:cubicBezTo>
                    <a:pt x="293" y="0"/>
                    <a:pt x="227" y="18"/>
                    <a:pt x="168" y="51"/>
                  </a:cubicBezTo>
                  <a:cubicBezTo>
                    <a:pt x="61" y="111"/>
                    <a:pt x="1" y="230"/>
                    <a:pt x="1" y="349"/>
                  </a:cubicBezTo>
                  <a:lnTo>
                    <a:pt x="1" y="1325"/>
                  </a:lnTo>
                  <a:cubicBezTo>
                    <a:pt x="1" y="1444"/>
                    <a:pt x="61" y="1563"/>
                    <a:pt x="168" y="1623"/>
                  </a:cubicBezTo>
                  <a:cubicBezTo>
                    <a:pt x="227" y="1647"/>
                    <a:pt x="287" y="1682"/>
                    <a:pt x="358" y="1682"/>
                  </a:cubicBezTo>
                  <a:cubicBezTo>
                    <a:pt x="418" y="1682"/>
                    <a:pt x="465" y="1659"/>
                    <a:pt x="513" y="1647"/>
                  </a:cubicBezTo>
                  <a:lnTo>
                    <a:pt x="1489" y="1170"/>
                  </a:lnTo>
                  <a:cubicBezTo>
                    <a:pt x="1608" y="1111"/>
                    <a:pt x="1680" y="992"/>
                    <a:pt x="1680" y="861"/>
                  </a:cubicBezTo>
                  <a:cubicBezTo>
                    <a:pt x="1704" y="706"/>
                    <a:pt x="1620" y="575"/>
                    <a:pt x="1489" y="516"/>
                  </a:cubicBezTo>
                  <a:lnTo>
                    <a:pt x="513" y="39"/>
                  </a:lnTo>
                  <a:cubicBezTo>
                    <a:pt x="465" y="12"/>
                    <a:pt x="412"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7" name="Google Shape;10497;p59"/>
            <p:cNvSpPr/>
            <p:nvPr/>
          </p:nvSpPr>
          <p:spPr>
            <a:xfrm>
              <a:off x="3087459" y="1800700"/>
              <a:ext cx="160454" cy="12519"/>
            </a:xfrm>
            <a:custGeom>
              <a:avLst/>
              <a:gdLst/>
              <a:ahLst/>
              <a:cxnLst/>
              <a:rect l="l" t="t" r="r" b="b"/>
              <a:pathLst>
                <a:path w="5037" h="393" extrusionOk="0">
                  <a:moveTo>
                    <a:pt x="191" y="0"/>
                  </a:moveTo>
                  <a:cubicBezTo>
                    <a:pt x="84" y="0"/>
                    <a:pt x="0" y="95"/>
                    <a:pt x="0" y="191"/>
                  </a:cubicBezTo>
                  <a:cubicBezTo>
                    <a:pt x="0" y="298"/>
                    <a:pt x="84" y="393"/>
                    <a:pt x="191" y="393"/>
                  </a:cubicBezTo>
                  <a:lnTo>
                    <a:pt x="4846" y="393"/>
                  </a:lnTo>
                  <a:cubicBezTo>
                    <a:pt x="4953" y="393"/>
                    <a:pt x="5037" y="298"/>
                    <a:pt x="5037" y="191"/>
                  </a:cubicBezTo>
                  <a:cubicBezTo>
                    <a:pt x="5037" y="95"/>
                    <a:pt x="4953" y="0"/>
                    <a:pt x="4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8" name="Google Shape;10498;p59"/>
            <p:cNvSpPr/>
            <p:nvPr/>
          </p:nvSpPr>
          <p:spPr>
            <a:xfrm>
              <a:off x="3368866" y="1800318"/>
              <a:ext cx="43673" cy="12169"/>
            </a:xfrm>
            <a:custGeom>
              <a:avLst/>
              <a:gdLst/>
              <a:ahLst/>
              <a:cxnLst/>
              <a:rect l="l" t="t" r="r" b="b"/>
              <a:pathLst>
                <a:path w="1371" h="382" extrusionOk="0">
                  <a:moveTo>
                    <a:pt x="191" y="0"/>
                  </a:moveTo>
                  <a:cubicBezTo>
                    <a:pt x="84" y="0"/>
                    <a:pt x="1" y="84"/>
                    <a:pt x="1" y="191"/>
                  </a:cubicBezTo>
                  <a:cubicBezTo>
                    <a:pt x="1" y="298"/>
                    <a:pt x="96" y="381"/>
                    <a:pt x="191" y="381"/>
                  </a:cubicBezTo>
                  <a:lnTo>
                    <a:pt x="1180" y="381"/>
                  </a:lnTo>
                  <a:cubicBezTo>
                    <a:pt x="1287" y="381"/>
                    <a:pt x="1370" y="298"/>
                    <a:pt x="1370" y="191"/>
                  </a:cubicBezTo>
                  <a:cubicBezTo>
                    <a:pt x="1370" y="84"/>
                    <a:pt x="1287" y="0"/>
                    <a:pt x="1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499" name="Google Shape;10499;p59"/>
          <p:cNvGrpSpPr/>
          <p:nvPr/>
        </p:nvGrpSpPr>
        <p:grpSpPr>
          <a:xfrm>
            <a:off x="2629289" y="1544682"/>
            <a:ext cx="350501" cy="284497"/>
            <a:chOff x="2629289" y="1544682"/>
            <a:chExt cx="350501" cy="284497"/>
          </a:xfrm>
        </p:grpSpPr>
        <p:sp>
          <p:nvSpPr>
            <p:cNvPr id="10500" name="Google Shape;10500;p59"/>
            <p:cNvSpPr/>
            <p:nvPr/>
          </p:nvSpPr>
          <p:spPr>
            <a:xfrm>
              <a:off x="2835614" y="1818507"/>
              <a:ext cx="10289" cy="10671"/>
            </a:xfrm>
            <a:custGeom>
              <a:avLst/>
              <a:gdLst/>
              <a:ahLst/>
              <a:cxnLst/>
              <a:rect l="l" t="t" r="r" b="b"/>
              <a:pathLst>
                <a:path w="323" h="335" extrusionOk="0">
                  <a:moveTo>
                    <a:pt x="167" y="1"/>
                  </a:moveTo>
                  <a:cubicBezTo>
                    <a:pt x="72" y="1"/>
                    <a:pt x="1" y="84"/>
                    <a:pt x="1" y="167"/>
                  </a:cubicBezTo>
                  <a:cubicBezTo>
                    <a:pt x="1" y="263"/>
                    <a:pt x="72" y="334"/>
                    <a:pt x="167" y="334"/>
                  </a:cubicBezTo>
                  <a:cubicBezTo>
                    <a:pt x="251" y="334"/>
                    <a:pt x="322" y="263"/>
                    <a:pt x="322" y="167"/>
                  </a:cubicBezTo>
                  <a:cubicBezTo>
                    <a:pt x="322"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1" name="Google Shape;10501;p59"/>
            <p:cNvSpPr/>
            <p:nvPr/>
          </p:nvSpPr>
          <p:spPr>
            <a:xfrm>
              <a:off x="2629289" y="1544682"/>
              <a:ext cx="318614" cy="284497"/>
            </a:xfrm>
            <a:custGeom>
              <a:avLst/>
              <a:gdLst/>
              <a:ahLst/>
              <a:cxnLst/>
              <a:rect l="l" t="t" r="r" b="b"/>
              <a:pathLst>
                <a:path w="10002" h="8931" extrusionOk="0">
                  <a:moveTo>
                    <a:pt x="6978" y="334"/>
                  </a:moveTo>
                  <a:cubicBezTo>
                    <a:pt x="7049" y="334"/>
                    <a:pt x="7109" y="358"/>
                    <a:pt x="7168" y="405"/>
                  </a:cubicBezTo>
                  <a:cubicBezTo>
                    <a:pt x="7228" y="453"/>
                    <a:pt x="8085" y="1310"/>
                    <a:pt x="8764" y="2001"/>
                  </a:cubicBezTo>
                  <a:cubicBezTo>
                    <a:pt x="9216" y="2441"/>
                    <a:pt x="9597" y="2810"/>
                    <a:pt x="9621" y="2846"/>
                  </a:cubicBezTo>
                  <a:cubicBezTo>
                    <a:pt x="9657" y="2894"/>
                    <a:pt x="9692" y="2965"/>
                    <a:pt x="9692" y="3036"/>
                  </a:cubicBezTo>
                  <a:cubicBezTo>
                    <a:pt x="9692" y="3108"/>
                    <a:pt x="9657" y="3167"/>
                    <a:pt x="9621" y="3227"/>
                  </a:cubicBezTo>
                  <a:lnTo>
                    <a:pt x="6549" y="6299"/>
                  </a:lnTo>
                  <a:lnTo>
                    <a:pt x="3727" y="3489"/>
                  </a:lnTo>
                  <a:lnTo>
                    <a:pt x="6787" y="405"/>
                  </a:lnTo>
                  <a:cubicBezTo>
                    <a:pt x="6835" y="358"/>
                    <a:pt x="6906" y="334"/>
                    <a:pt x="6978" y="334"/>
                  </a:cubicBezTo>
                  <a:close/>
                  <a:moveTo>
                    <a:pt x="6978" y="0"/>
                  </a:moveTo>
                  <a:cubicBezTo>
                    <a:pt x="6906" y="0"/>
                    <a:pt x="6835" y="12"/>
                    <a:pt x="6752" y="48"/>
                  </a:cubicBezTo>
                  <a:cubicBezTo>
                    <a:pt x="6680" y="72"/>
                    <a:pt x="6621" y="119"/>
                    <a:pt x="6561" y="179"/>
                  </a:cubicBezTo>
                  <a:lnTo>
                    <a:pt x="3382" y="3358"/>
                  </a:lnTo>
                  <a:lnTo>
                    <a:pt x="179" y="6561"/>
                  </a:lnTo>
                  <a:cubicBezTo>
                    <a:pt x="120" y="6620"/>
                    <a:pt x="72" y="6680"/>
                    <a:pt x="48" y="6751"/>
                  </a:cubicBezTo>
                  <a:cubicBezTo>
                    <a:pt x="13" y="6835"/>
                    <a:pt x="1" y="6906"/>
                    <a:pt x="1" y="6977"/>
                  </a:cubicBezTo>
                  <a:cubicBezTo>
                    <a:pt x="1" y="7049"/>
                    <a:pt x="13" y="7132"/>
                    <a:pt x="48" y="7204"/>
                  </a:cubicBezTo>
                  <a:cubicBezTo>
                    <a:pt x="72" y="7275"/>
                    <a:pt x="120" y="7335"/>
                    <a:pt x="179" y="7394"/>
                  </a:cubicBezTo>
                  <a:lnTo>
                    <a:pt x="1477" y="8692"/>
                  </a:lnTo>
                  <a:cubicBezTo>
                    <a:pt x="1549" y="8763"/>
                    <a:pt x="1644" y="8823"/>
                    <a:pt x="1739" y="8871"/>
                  </a:cubicBezTo>
                  <a:cubicBezTo>
                    <a:pt x="1846" y="8918"/>
                    <a:pt x="1953" y="8930"/>
                    <a:pt x="2049" y="8930"/>
                  </a:cubicBezTo>
                  <a:lnTo>
                    <a:pt x="6013" y="8930"/>
                  </a:lnTo>
                  <a:cubicBezTo>
                    <a:pt x="6109" y="8930"/>
                    <a:pt x="6180" y="8859"/>
                    <a:pt x="6180" y="8763"/>
                  </a:cubicBezTo>
                  <a:cubicBezTo>
                    <a:pt x="6180" y="8680"/>
                    <a:pt x="6073" y="8597"/>
                    <a:pt x="6001" y="8597"/>
                  </a:cubicBezTo>
                  <a:lnTo>
                    <a:pt x="2025" y="8597"/>
                  </a:lnTo>
                  <a:cubicBezTo>
                    <a:pt x="1894" y="8597"/>
                    <a:pt x="1775" y="8561"/>
                    <a:pt x="1679" y="8454"/>
                  </a:cubicBezTo>
                  <a:lnTo>
                    <a:pt x="394" y="7156"/>
                  </a:lnTo>
                  <a:cubicBezTo>
                    <a:pt x="346" y="7108"/>
                    <a:pt x="310" y="7037"/>
                    <a:pt x="310" y="6966"/>
                  </a:cubicBezTo>
                  <a:cubicBezTo>
                    <a:pt x="310" y="6894"/>
                    <a:pt x="346" y="6835"/>
                    <a:pt x="394" y="6775"/>
                  </a:cubicBezTo>
                  <a:lnTo>
                    <a:pt x="3477" y="3679"/>
                  </a:lnTo>
                  <a:lnTo>
                    <a:pt x="6299" y="6489"/>
                  </a:lnTo>
                  <a:lnTo>
                    <a:pt x="4787" y="7989"/>
                  </a:lnTo>
                  <a:cubicBezTo>
                    <a:pt x="4763" y="8025"/>
                    <a:pt x="4751" y="8061"/>
                    <a:pt x="4751" y="8109"/>
                  </a:cubicBezTo>
                  <a:cubicBezTo>
                    <a:pt x="4751" y="8156"/>
                    <a:pt x="4763" y="8204"/>
                    <a:pt x="4787" y="8228"/>
                  </a:cubicBezTo>
                  <a:cubicBezTo>
                    <a:pt x="4823" y="8263"/>
                    <a:pt x="4870" y="8275"/>
                    <a:pt x="4906" y="8275"/>
                  </a:cubicBezTo>
                  <a:cubicBezTo>
                    <a:pt x="4954" y="8275"/>
                    <a:pt x="5001" y="8263"/>
                    <a:pt x="5025" y="8228"/>
                  </a:cubicBezTo>
                  <a:lnTo>
                    <a:pt x="9823" y="3441"/>
                  </a:lnTo>
                  <a:cubicBezTo>
                    <a:pt x="9883" y="3382"/>
                    <a:pt x="9931" y="3322"/>
                    <a:pt x="9954" y="3239"/>
                  </a:cubicBezTo>
                  <a:cubicBezTo>
                    <a:pt x="9990" y="3167"/>
                    <a:pt x="10002" y="3096"/>
                    <a:pt x="10002" y="3025"/>
                  </a:cubicBezTo>
                  <a:cubicBezTo>
                    <a:pt x="10002" y="2941"/>
                    <a:pt x="9990" y="2870"/>
                    <a:pt x="9954" y="2798"/>
                  </a:cubicBezTo>
                  <a:cubicBezTo>
                    <a:pt x="9931" y="2727"/>
                    <a:pt x="9883" y="2667"/>
                    <a:pt x="9823" y="2608"/>
                  </a:cubicBezTo>
                  <a:lnTo>
                    <a:pt x="8156" y="941"/>
                  </a:lnTo>
                  <a:lnTo>
                    <a:pt x="7394" y="179"/>
                  </a:lnTo>
                  <a:cubicBezTo>
                    <a:pt x="7335" y="119"/>
                    <a:pt x="7275" y="72"/>
                    <a:pt x="7204" y="48"/>
                  </a:cubicBezTo>
                  <a:cubicBezTo>
                    <a:pt x="7133" y="12"/>
                    <a:pt x="7049" y="0"/>
                    <a:pt x="6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2" name="Google Shape;10502;p59"/>
            <p:cNvSpPr/>
            <p:nvPr/>
          </p:nvSpPr>
          <p:spPr>
            <a:xfrm>
              <a:off x="2876962" y="1818507"/>
              <a:ext cx="30740" cy="10671"/>
            </a:xfrm>
            <a:custGeom>
              <a:avLst/>
              <a:gdLst/>
              <a:ahLst/>
              <a:cxnLst/>
              <a:rect l="l" t="t" r="r" b="b"/>
              <a:pathLst>
                <a:path w="965" h="335" extrusionOk="0">
                  <a:moveTo>
                    <a:pt x="155" y="1"/>
                  </a:moveTo>
                  <a:cubicBezTo>
                    <a:pt x="72" y="1"/>
                    <a:pt x="0" y="84"/>
                    <a:pt x="0" y="167"/>
                  </a:cubicBezTo>
                  <a:cubicBezTo>
                    <a:pt x="0" y="263"/>
                    <a:pt x="72" y="334"/>
                    <a:pt x="155" y="334"/>
                  </a:cubicBezTo>
                  <a:lnTo>
                    <a:pt x="798" y="334"/>
                  </a:lnTo>
                  <a:cubicBezTo>
                    <a:pt x="893" y="334"/>
                    <a:pt x="965" y="263"/>
                    <a:pt x="965" y="167"/>
                  </a:cubicBezTo>
                  <a:cubicBezTo>
                    <a:pt x="965" y="84"/>
                    <a:pt x="893"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3" name="Google Shape;10503;p59"/>
            <p:cNvSpPr/>
            <p:nvPr/>
          </p:nvSpPr>
          <p:spPr>
            <a:xfrm>
              <a:off x="2969118" y="1818507"/>
              <a:ext cx="10671" cy="10671"/>
            </a:xfrm>
            <a:custGeom>
              <a:avLst/>
              <a:gdLst/>
              <a:ahLst/>
              <a:cxnLst/>
              <a:rect l="l" t="t" r="r" b="b"/>
              <a:pathLst>
                <a:path w="335" h="335" extrusionOk="0">
                  <a:moveTo>
                    <a:pt x="167" y="1"/>
                  </a:moveTo>
                  <a:cubicBezTo>
                    <a:pt x="72" y="1"/>
                    <a:pt x="1" y="84"/>
                    <a:pt x="1" y="167"/>
                  </a:cubicBezTo>
                  <a:cubicBezTo>
                    <a:pt x="1" y="263"/>
                    <a:pt x="72" y="334"/>
                    <a:pt x="167" y="334"/>
                  </a:cubicBezTo>
                  <a:cubicBezTo>
                    <a:pt x="251" y="334"/>
                    <a:pt x="334" y="263"/>
                    <a:pt x="334" y="167"/>
                  </a:cubicBez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4" name="Google Shape;10504;p59"/>
            <p:cNvSpPr/>
            <p:nvPr/>
          </p:nvSpPr>
          <p:spPr>
            <a:xfrm>
              <a:off x="2916780" y="1818507"/>
              <a:ext cx="34563" cy="10671"/>
            </a:xfrm>
            <a:custGeom>
              <a:avLst/>
              <a:gdLst/>
              <a:ahLst/>
              <a:cxnLst/>
              <a:rect l="l" t="t" r="r" b="b"/>
              <a:pathLst>
                <a:path w="1085" h="335" extrusionOk="0">
                  <a:moveTo>
                    <a:pt x="155" y="1"/>
                  </a:moveTo>
                  <a:cubicBezTo>
                    <a:pt x="72" y="1"/>
                    <a:pt x="1" y="84"/>
                    <a:pt x="1" y="167"/>
                  </a:cubicBezTo>
                  <a:cubicBezTo>
                    <a:pt x="1" y="263"/>
                    <a:pt x="72" y="334"/>
                    <a:pt x="155" y="334"/>
                  </a:cubicBezTo>
                  <a:lnTo>
                    <a:pt x="917" y="334"/>
                  </a:lnTo>
                  <a:cubicBezTo>
                    <a:pt x="1013" y="334"/>
                    <a:pt x="1084" y="263"/>
                    <a:pt x="1084" y="167"/>
                  </a:cubicBezTo>
                  <a:cubicBezTo>
                    <a:pt x="1084" y="84"/>
                    <a:pt x="1001"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5" name="Google Shape;10505;p59"/>
          <p:cNvGrpSpPr/>
          <p:nvPr/>
        </p:nvGrpSpPr>
        <p:grpSpPr>
          <a:xfrm>
            <a:off x="5305077" y="1502633"/>
            <a:ext cx="367893" cy="365218"/>
            <a:chOff x="5305077" y="1502633"/>
            <a:chExt cx="367893" cy="365218"/>
          </a:xfrm>
        </p:grpSpPr>
        <p:sp>
          <p:nvSpPr>
            <p:cNvPr id="10506" name="Google Shape;10506;p59"/>
            <p:cNvSpPr/>
            <p:nvPr/>
          </p:nvSpPr>
          <p:spPr>
            <a:xfrm>
              <a:off x="5305077" y="1502633"/>
              <a:ext cx="261338" cy="365218"/>
            </a:xfrm>
            <a:custGeom>
              <a:avLst/>
              <a:gdLst/>
              <a:ahLst/>
              <a:cxnLst/>
              <a:rect l="l" t="t" r="r" b="b"/>
              <a:pathLst>
                <a:path w="8204" h="11465" extrusionOk="0">
                  <a:moveTo>
                    <a:pt x="8028" y="0"/>
                  </a:moveTo>
                  <a:cubicBezTo>
                    <a:pt x="8011" y="0"/>
                    <a:pt x="7994" y="4"/>
                    <a:pt x="7977" y="11"/>
                  </a:cubicBezTo>
                  <a:cubicBezTo>
                    <a:pt x="7096" y="213"/>
                    <a:pt x="6596" y="1106"/>
                    <a:pt x="6858" y="1975"/>
                  </a:cubicBezTo>
                  <a:cubicBezTo>
                    <a:pt x="6930" y="2201"/>
                    <a:pt x="6870" y="2451"/>
                    <a:pt x="6704" y="2630"/>
                  </a:cubicBezTo>
                  <a:lnTo>
                    <a:pt x="2667" y="6666"/>
                  </a:lnTo>
                  <a:cubicBezTo>
                    <a:pt x="2542" y="6791"/>
                    <a:pt x="2382" y="6858"/>
                    <a:pt x="2219" y="6858"/>
                  </a:cubicBezTo>
                  <a:cubicBezTo>
                    <a:pt x="2150" y="6858"/>
                    <a:pt x="2080" y="6846"/>
                    <a:pt x="2012" y="6821"/>
                  </a:cubicBezTo>
                  <a:cubicBezTo>
                    <a:pt x="1858" y="6772"/>
                    <a:pt x="1703" y="6748"/>
                    <a:pt x="1551" y="6748"/>
                  </a:cubicBezTo>
                  <a:cubicBezTo>
                    <a:pt x="750" y="6748"/>
                    <a:pt x="32" y="7393"/>
                    <a:pt x="12" y="8274"/>
                  </a:cubicBezTo>
                  <a:cubicBezTo>
                    <a:pt x="1" y="9165"/>
                    <a:pt x="724" y="9837"/>
                    <a:pt x="1551" y="9837"/>
                  </a:cubicBezTo>
                  <a:cubicBezTo>
                    <a:pt x="1585" y="9837"/>
                    <a:pt x="1620" y="9836"/>
                    <a:pt x="1655" y="9833"/>
                  </a:cubicBezTo>
                  <a:lnTo>
                    <a:pt x="1655" y="9833"/>
                  </a:lnTo>
                  <a:cubicBezTo>
                    <a:pt x="1596" y="10691"/>
                    <a:pt x="2262" y="11464"/>
                    <a:pt x="3179" y="11464"/>
                  </a:cubicBezTo>
                  <a:cubicBezTo>
                    <a:pt x="4251" y="11464"/>
                    <a:pt x="4965" y="10441"/>
                    <a:pt x="4656" y="9476"/>
                  </a:cubicBezTo>
                  <a:cubicBezTo>
                    <a:pt x="4584" y="9250"/>
                    <a:pt x="4644" y="9000"/>
                    <a:pt x="4822" y="8821"/>
                  </a:cubicBezTo>
                  <a:lnTo>
                    <a:pt x="5703" y="7940"/>
                  </a:lnTo>
                  <a:cubicBezTo>
                    <a:pt x="5763" y="7881"/>
                    <a:pt x="5763" y="7762"/>
                    <a:pt x="5703" y="7702"/>
                  </a:cubicBezTo>
                  <a:cubicBezTo>
                    <a:pt x="5671" y="7637"/>
                    <a:pt x="5624" y="7608"/>
                    <a:pt x="5577" y="7608"/>
                  </a:cubicBezTo>
                  <a:cubicBezTo>
                    <a:pt x="5538" y="7608"/>
                    <a:pt x="5498" y="7628"/>
                    <a:pt x="5465" y="7666"/>
                  </a:cubicBezTo>
                  <a:lnTo>
                    <a:pt x="4584" y="8536"/>
                  </a:lnTo>
                  <a:cubicBezTo>
                    <a:pt x="4322" y="8809"/>
                    <a:pt x="4227" y="9178"/>
                    <a:pt x="4346" y="9536"/>
                  </a:cubicBezTo>
                  <a:cubicBezTo>
                    <a:pt x="4584" y="10298"/>
                    <a:pt x="4048" y="11083"/>
                    <a:pt x="3215" y="11095"/>
                  </a:cubicBezTo>
                  <a:cubicBezTo>
                    <a:pt x="3209" y="11095"/>
                    <a:pt x="3202" y="11096"/>
                    <a:pt x="3196" y="11096"/>
                  </a:cubicBezTo>
                  <a:cubicBezTo>
                    <a:pt x="2408" y="11096"/>
                    <a:pt x="1859" y="10363"/>
                    <a:pt x="2024" y="9643"/>
                  </a:cubicBezTo>
                  <a:cubicBezTo>
                    <a:pt x="2057" y="9535"/>
                    <a:pt x="1972" y="9437"/>
                    <a:pt x="1867" y="9437"/>
                  </a:cubicBezTo>
                  <a:cubicBezTo>
                    <a:pt x="1856" y="9437"/>
                    <a:pt x="1845" y="9438"/>
                    <a:pt x="1834" y="9440"/>
                  </a:cubicBezTo>
                  <a:cubicBezTo>
                    <a:pt x="1743" y="9461"/>
                    <a:pt x="1652" y="9470"/>
                    <a:pt x="1563" y="9470"/>
                  </a:cubicBezTo>
                  <a:cubicBezTo>
                    <a:pt x="918" y="9470"/>
                    <a:pt x="357" y="8961"/>
                    <a:pt x="357" y="8250"/>
                  </a:cubicBezTo>
                  <a:cubicBezTo>
                    <a:pt x="367" y="7551"/>
                    <a:pt x="929" y="7062"/>
                    <a:pt x="1553" y="7062"/>
                  </a:cubicBezTo>
                  <a:cubicBezTo>
                    <a:pt x="1673" y="7062"/>
                    <a:pt x="1796" y="7080"/>
                    <a:pt x="1917" y="7119"/>
                  </a:cubicBezTo>
                  <a:cubicBezTo>
                    <a:pt x="2019" y="7149"/>
                    <a:pt x="2122" y="7164"/>
                    <a:pt x="2224" y="7164"/>
                  </a:cubicBezTo>
                  <a:cubicBezTo>
                    <a:pt x="2481" y="7164"/>
                    <a:pt x="2730" y="7068"/>
                    <a:pt x="2917" y="6881"/>
                  </a:cubicBezTo>
                  <a:lnTo>
                    <a:pt x="6954" y="2856"/>
                  </a:lnTo>
                  <a:cubicBezTo>
                    <a:pt x="7215" y="2582"/>
                    <a:pt x="7311" y="2213"/>
                    <a:pt x="7192" y="1856"/>
                  </a:cubicBezTo>
                  <a:cubicBezTo>
                    <a:pt x="6977" y="1201"/>
                    <a:pt x="7370" y="487"/>
                    <a:pt x="8049" y="320"/>
                  </a:cubicBezTo>
                  <a:cubicBezTo>
                    <a:pt x="8144" y="308"/>
                    <a:pt x="8204" y="213"/>
                    <a:pt x="8168" y="130"/>
                  </a:cubicBezTo>
                  <a:cubicBezTo>
                    <a:pt x="8158" y="54"/>
                    <a:pt x="8096" y="0"/>
                    <a:pt x="80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7" name="Google Shape;10507;p59"/>
            <p:cNvSpPr/>
            <p:nvPr/>
          </p:nvSpPr>
          <p:spPr>
            <a:xfrm>
              <a:off x="5495092" y="1503111"/>
              <a:ext cx="177878" cy="233147"/>
            </a:xfrm>
            <a:custGeom>
              <a:avLst/>
              <a:gdLst/>
              <a:ahLst/>
              <a:cxnLst/>
              <a:rect l="l" t="t" r="r" b="b"/>
              <a:pathLst>
                <a:path w="5584" h="7319" extrusionOk="0">
                  <a:moveTo>
                    <a:pt x="2913" y="0"/>
                  </a:moveTo>
                  <a:cubicBezTo>
                    <a:pt x="2845" y="0"/>
                    <a:pt x="2777" y="37"/>
                    <a:pt x="2739" y="103"/>
                  </a:cubicBezTo>
                  <a:cubicBezTo>
                    <a:pt x="2715" y="186"/>
                    <a:pt x="2751" y="281"/>
                    <a:pt x="2834" y="317"/>
                  </a:cubicBezTo>
                  <a:cubicBezTo>
                    <a:pt x="3370" y="531"/>
                    <a:pt x="3691" y="1115"/>
                    <a:pt x="3560" y="1710"/>
                  </a:cubicBezTo>
                  <a:cubicBezTo>
                    <a:pt x="3528" y="1817"/>
                    <a:pt x="3611" y="1904"/>
                    <a:pt x="3714" y="1904"/>
                  </a:cubicBezTo>
                  <a:cubicBezTo>
                    <a:pt x="3726" y="1904"/>
                    <a:pt x="3738" y="1903"/>
                    <a:pt x="3751" y="1901"/>
                  </a:cubicBezTo>
                  <a:cubicBezTo>
                    <a:pt x="3842" y="1879"/>
                    <a:pt x="3935" y="1869"/>
                    <a:pt x="4028" y="1869"/>
                  </a:cubicBezTo>
                  <a:cubicBezTo>
                    <a:pt x="4342" y="1869"/>
                    <a:pt x="4649" y="1992"/>
                    <a:pt x="4870" y="2222"/>
                  </a:cubicBezTo>
                  <a:cubicBezTo>
                    <a:pt x="5346" y="2698"/>
                    <a:pt x="5334" y="3496"/>
                    <a:pt x="4858" y="3949"/>
                  </a:cubicBezTo>
                  <a:cubicBezTo>
                    <a:pt x="4632" y="4166"/>
                    <a:pt x="4323" y="4282"/>
                    <a:pt x="4010" y="4282"/>
                  </a:cubicBezTo>
                  <a:cubicBezTo>
                    <a:pt x="3895" y="4282"/>
                    <a:pt x="3779" y="4266"/>
                    <a:pt x="3667" y="4234"/>
                  </a:cubicBezTo>
                  <a:cubicBezTo>
                    <a:pt x="3570" y="4205"/>
                    <a:pt x="3470" y="4191"/>
                    <a:pt x="3372" y="4191"/>
                  </a:cubicBezTo>
                  <a:cubicBezTo>
                    <a:pt x="3111" y="4191"/>
                    <a:pt x="2858" y="4291"/>
                    <a:pt x="2667" y="4472"/>
                  </a:cubicBezTo>
                  <a:lnTo>
                    <a:pt x="107" y="7032"/>
                  </a:lnTo>
                  <a:cubicBezTo>
                    <a:pt x="0" y="7139"/>
                    <a:pt x="72" y="7318"/>
                    <a:pt x="227" y="7318"/>
                  </a:cubicBezTo>
                  <a:cubicBezTo>
                    <a:pt x="229" y="7318"/>
                    <a:pt x="231" y="7318"/>
                    <a:pt x="233" y="7318"/>
                  </a:cubicBezTo>
                  <a:cubicBezTo>
                    <a:pt x="354" y="7318"/>
                    <a:pt x="274" y="7295"/>
                    <a:pt x="2905" y="4711"/>
                  </a:cubicBezTo>
                  <a:cubicBezTo>
                    <a:pt x="3035" y="4581"/>
                    <a:pt x="3201" y="4514"/>
                    <a:pt x="3369" y="4514"/>
                  </a:cubicBezTo>
                  <a:cubicBezTo>
                    <a:pt x="3434" y="4514"/>
                    <a:pt x="3498" y="4524"/>
                    <a:pt x="3560" y="4544"/>
                  </a:cubicBezTo>
                  <a:cubicBezTo>
                    <a:pt x="3719" y="4597"/>
                    <a:pt x="3879" y="4622"/>
                    <a:pt x="4035" y="4622"/>
                  </a:cubicBezTo>
                  <a:cubicBezTo>
                    <a:pt x="4831" y="4622"/>
                    <a:pt x="5541" y="3979"/>
                    <a:pt x="5561" y="3103"/>
                  </a:cubicBezTo>
                  <a:cubicBezTo>
                    <a:pt x="5583" y="2207"/>
                    <a:pt x="4872" y="1538"/>
                    <a:pt x="4053" y="1538"/>
                  </a:cubicBezTo>
                  <a:cubicBezTo>
                    <a:pt x="4012" y="1538"/>
                    <a:pt x="3971" y="1540"/>
                    <a:pt x="3929" y="1544"/>
                  </a:cubicBezTo>
                  <a:cubicBezTo>
                    <a:pt x="3977" y="877"/>
                    <a:pt x="3572" y="246"/>
                    <a:pt x="2965" y="8"/>
                  </a:cubicBezTo>
                  <a:cubicBezTo>
                    <a:pt x="2948" y="3"/>
                    <a:pt x="2930" y="0"/>
                    <a:pt x="29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08" name="Google Shape;10508;p59"/>
          <p:cNvGrpSpPr/>
          <p:nvPr/>
        </p:nvGrpSpPr>
        <p:grpSpPr>
          <a:xfrm>
            <a:off x="7100170" y="1500117"/>
            <a:ext cx="368308" cy="367033"/>
            <a:chOff x="7100170" y="1500117"/>
            <a:chExt cx="368308" cy="367033"/>
          </a:xfrm>
        </p:grpSpPr>
        <p:sp>
          <p:nvSpPr>
            <p:cNvPr id="10509" name="Google Shape;10509;p59"/>
            <p:cNvSpPr/>
            <p:nvPr/>
          </p:nvSpPr>
          <p:spPr>
            <a:xfrm>
              <a:off x="7328698" y="1501041"/>
              <a:ext cx="139780" cy="97126"/>
            </a:xfrm>
            <a:custGeom>
              <a:avLst/>
              <a:gdLst/>
              <a:ahLst/>
              <a:cxnLst/>
              <a:rect l="l" t="t" r="r" b="b"/>
              <a:pathLst>
                <a:path w="4388" h="3049" extrusionOk="0">
                  <a:moveTo>
                    <a:pt x="1894" y="0"/>
                  </a:moveTo>
                  <a:cubicBezTo>
                    <a:pt x="1861" y="0"/>
                    <a:pt x="1826" y="8"/>
                    <a:pt x="1792" y="25"/>
                  </a:cubicBezTo>
                  <a:cubicBezTo>
                    <a:pt x="1066" y="501"/>
                    <a:pt x="208" y="1728"/>
                    <a:pt x="30" y="2871"/>
                  </a:cubicBezTo>
                  <a:cubicBezTo>
                    <a:pt x="0" y="2960"/>
                    <a:pt x="86" y="3049"/>
                    <a:pt x="184" y="3049"/>
                  </a:cubicBezTo>
                  <a:cubicBezTo>
                    <a:pt x="204" y="3049"/>
                    <a:pt x="224" y="3045"/>
                    <a:pt x="244" y="3037"/>
                  </a:cubicBezTo>
                  <a:cubicBezTo>
                    <a:pt x="1459" y="2549"/>
                    <a:pt x="2768" y="2216"/>
                    <a:pt x="4114" y="2097"/>
                  </a:cubicBezTo>
                  <a:lnTo>
                    <a:pt x="4221" y="2097"/>
                  </a:lnTo>
                  <a:cubicBezTo>
                    <a:pt x="4316" y="2097"/>
                    <a:pt x="4388" y="2025"/>
                    <a:pt x="4388" y="1930"/>
                  </a:cubicBezTo>
                  <a:cubicBezTo>
                    <a:pt x="4388" y="1847"/>
                    <a:pt x="4316" y="1775"/>
                    <a:pt x="4221" y="1775"/>
                  </a:cubicBezTo>
                  <a:cubicBezTo>
                    <a:pt x="3506" y="1787"/>
                    <a:pt x="1875" y="2085"/>
                    <a:pt x="423" y="2632"/>
                  </a:cubicBezTo>
                  <a:cubicBezTo>
                    <a:pt x="709" y="1573"/>
                    <a:pt x="1494" y="656"/>
                    <a:pt x="1994" y="311"/>
                  </a:cubicBezTo>
                  <a:cubicBezTo>
                    <a:pt x="2066" y="263"/>
                    <a:pt x="2090" y="168"/>
                    <a:pt x="2030" y="73"/>
                  </a:cubicBezTo>
                  <a:cubicBezTo>
                    <a:pt x="2007" y="26"/>
                    <a:pt x="1954" y="0"/>
                    <a:pt x="1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0" name="Google Shape;10510;p59"/>
            <p:cNvSpPr/>
            <p:nvPr/>
          </p:nvSpPr>
          <p:spPr>
            <a:xfrm>
              <a:off x="7100170" y="1500117"/>
              <a:ext cx="192691" cy="307942"/>
            </a:xfrm>
            <a:custGeom>
              <a:avLst/>
              <a:gdLst/>
              <a:ahLst/>
              <a:cxnLst/>
              <a:rect l="l" t="t" r="r" b="b"/>
              <a:pathLst>
                <a:path w="6049" h="9667" extrusionOk="0">
                  <a:moveTo>
                    <a:pt x="4144" y="5007"/>
                  </a:moveTo>
                  <a:lnTo>
                    <a:pt x="4144" y="5007"/>
                  </a:lnTo>
                  <a:cubicBezTo>
                    <a:pt x="4025" y="5221"/>
                    <a:pt x="4001" y="5317"/>
                    <a:pt x="4013" y="5674"/>
                  </a:cubicBezTo>
                  <a:cubicBezTo>
                    <a:pt x="4025" y="5995"/>
                    <a:pt x="4013" y="6043"/>
                    <a:pt x="3727" y="6281"/>
                  </a:cubicBezTo>
                  <a:cubicBezTo>
                    <a:pt x="3513" y="6460"/>
                    <a:pt x="3453" y="6531"/>
                    <a:pt x="3299" y="6852"/>
                  </a:cubicBezTo>
                  <a:cubicBezTo>
                    <a:pt x="3168" y="7162"/>
                    <a:pt x="3132" y="7186"/>
                    <a:pt x="2763" y="7281"/>
                  </a:cubicBezTo>
                  <a:cubicBezTo>
                    <a:pt x="2477" y="7341"/>
                    <a:pt x="2382" y="7388"/>
                    <a:pt x="2096" y="7626"/>
                  </a:cubicBezTo>
                  <a:cubicBezTo>
                    <a:pt x="2001" y="7698"/>
                    <a:pt x="1917" y="7781"/>
                    <a:pt x="1846" y="7805"/>
                  </a:cubicBezTo>
                  <a:cubicBezTo>
                    <a:pt x="1757" y="7831"/>
                    <a:pt x="1702" y="7841"/>
                    <a:pt x="1660" y="7841"/>
                  </a:cubicBezTo>
                  <a:cubicBezTo>
                    <a:pt x="1607" y="7841"/>
                    <a:pt x="1573" y="7825"/>
                    <a:pt x="1513" y="7805"/>
                  </a:cubicBezTo>
                  <a:cubicBezTo>
                    <a:pt x="1751" y="7483"/>
                    <a:pt x="1977" y="7162"/>
                    <a:pt x="2227" y="6864"/>
                  </a:cubicBezTo>
                  <a:cubicBezTo>
                    <a:pt x="2822" y="6174"/>
                    <a:pt x="3465" y="5555"/>
                    <a:pt x="4144" y="5007"/>
                  </a:cubicBezTo>
                  <a:close/>
                  <a:moveTo>
                    <a:pt x="5864" y="0"/>
                  </a:moveTo>
                  <a:cubicBezTo>
                    <a:pt x="5808" y="0"/>
                    <a:pt x="5754" y="31"/>
                    <a:pt x="5716" y="78"/>
                  </a:cubicBezTo>
                  <a:cubicBezTo>
                    <a:pt x="4858" y="1257"/>
                    <a:pt x="4549" y="2697"/>
                    <a:pt x="4668" y="4174"/>
                  </a:cubicBezTo>
                  <a:cubicBezTo>
                    <a:pt x="2715" y="5543"/>
                    <a:pt x="1144" y="7400"/>
                    <a:pt x="36" y="9424"/>
                  </a:cubicBezTo>
                  <a:cubicBezTo>
                    <a:pt x="1" y="9496"/>
                    <a:pt x="24" y="9603"/>
                    <a:pt x="96" y="9650"/>
                  </a:cubicBezTo>
                  <a:cubicBezTo>
                    <a:pt x="122" y="9661"/>
                    <a:pt x="149" y="9667"/>
                    <a:pt x="175" y="9667"/>
                  </a:cubicBezTo>
                  <a:cubicBezTo>
                    <a:pt x="234" y="9667"/>
                    <a:pt x="289" y="9640"/>
                    <a:pt x="322" y="9591"/>
                  </a:cubicBezTo>
                  <a:cubicBezTo>
                    <a:pt x="608" y="9067"/>
                    <a:pt x="917" y="8579"/>
                    <a:pt x="1251" y="8103"/>
                  </a:cubicBezTo>
                  <a:cubicBezTo>
                    <a:pt x="1424" y="8111"/>
                    <a:pt x="1483" y="8176"/>
                    <a:pt x="1641" y="8176"/>
                  </a:cubicBezTo>
                  <a:cubicBezTo>
                    <a:pt x="1711" y="8176"/>
                    <a:pt x="1801" y="8163"/>
                    <a:pt x="1929" y="8126"/>
                  </a:cubicBezTo>
                  <a:cubicBezTo>
                    <a:pt x="2179" y="8055"/>
                    <a:pt x="2358" y="7805"/>
                    <a:pt x="2584" y="7686"/>
                  </a:cubicBezTo>
                  <a:cubicBezTo>
                    <a:pt x="2644" y="7650"/>
                    <a:pt x="2739" y="7626"/>
                    <a:pt x="2834" y="7603"/>
                  </a:cubicBezTo>
                  <a:cubicBezTo>
                    <a:pt x="3311" y="7507"/>
                    <a:pt x="3430" y="7388"/>
                    <a:pt x="3608" y="6983"/>
                  </a:cubicBezTo>
                  <a:cubicBezTo>
                    <a:pt x="3727" y="6710"/>
                    <a:pt x="3763" y="6698"/>
                    <a:pt x="3942" y="6531"/>
                  </a:cubicBezTo>
                  <a:cubicBezTo>
                    <a:pt x="4323" y="6221"/>
                    <a:pt x="4370" y="6079"/>
                    <a:pt x="4358" y="5662"/>
                  </a:cubicBezTo>
                  <a:cubicBezTo>
                    <a:pt x="4346" y="5364"/>
                    <a:pt x="4358" y="5317"/>
                    <a:pt x="4477" y="5090"/>
                  </a:cubicBezTo>
                  <a:cubicBezTo>
                    <a:pt x="4549" y="4959"/>
                    <a:pt x="4620" y="4793"/>
                    <a:pt x="4644" y="4614"/>
                  </a:cubicBezTo>
                  <a:lnTo>
                    <a:pt x="4954" y="4388"/>
                  </a:lnTo>
                  <a:cubicBezTo>
                    <a:pt x="5001" y="4364"/>
                    <a:pt x="5025" y="4305"/>
                    <a:pt x="5025" y="4245"/>
                  </a:cubicBezTo>
                  <a:cubicBezTo>
                    <a:pt x="4894" y="2840"/>
                    <a:pt x="5180" y="1435"/>
                    <a:pt x="5989" y="268"/>
                  </a:cubicBezTo>
                  <a:cubicBezTo>
                    <a:pt x="6049" y="197"/>
                    <a:pt x="6025" y="90"/>
                    <a:pt x="5954" y="30"/>
                  </a:cubicBezTo>
                  <a:cubicBezTo>
                    <a:pt x="5924" y="9"/>
                    <a:pt x="5894" y="0"/>
                    <a:pt x="58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1" name="Google Shape;10511;p59"/>
            <p:cNvSpPr/>
            <p:nvPr/>
          </p:nvSpPr>
          <p:spPr>
            <a:xfrm>
              <a:off x="7160089" y="1766170"/>
              <a:ext cx="19017" cy="18986"/>
            </a:xfrm>
            <a:custGeom>
              <a:avLst/>
              <a:gdLst/>
              <a:ahLst/>
              <a:cxnLst/>
              <a:rect l="l" t="t" r="r" b="b"/>
              <a:pathLst>
                <a:path w="597" h="596" extrusionOk="0">
                  <a:moveTo>
                    <a:pt x="298" y="1"/>
                  </a:moveTo>
                  <a:cubicBezTo>
                    <a:pt x="144" y="1"/>
                    <a:pt x="1" y="132"/>
                    <a:pt x="1" y="298"/>
                  </a:cubicBezTo>
                  <a:cubicBezTo>
                    <a:pt x="1" y="465"/>
                    <a:pt x="144" y="596"/>
                    <a:pt x="298" y="596"/>
                  </a:cubicBezTo>
                  <a:cubicBezTo>
                    <a:pt x="465" y="596"/>
                    <a:pt x="596" y="465"/>
                    <a:pt x="596" y="298"/>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2" name="Google Shape;10512;p59"/>
            <p:cNvSpPr/>
            <p:nvPr/>
          </p:nvSpPr>
          <p:spPr>
            <a:xfrm>
              <a:off x="7295505" y="1540031"/>
              <a:ext cx="18986" cy="19081"/>
            </a:xfrm>
            <a:custGeom>
              <a:avLst/>
              <a:gdLst/>
              <a:ahLst/>
              <a:cxnLst/>
              <a:rect l="l" t="t" r="r" b="b"/>
              <a:pathLst>
                <a:path w="596" h="599" extrusionOk="0">
                  <a:moveTo>
                    <a:pt x="332" y="1"/>
                  </a:moveTo>
                  <a:cubicBezTo>
                    <a:pt x="321" y="1"/>
                    <a:pt x="309" y="2"/>
                    <a:pt x="298" y="4"/>
                  </a:cubicBezTo>
                  <a:cubicBezTo>
                    <a:pt x="131" y="4"/>
                    <a:pt x="0" y="134"/>
                    <a:pt x="0" y="301"/>
                  </a:cubicBezTo>
                  <a:cubicBezTo>
                    <a:pt x="0" y="456"/>
                    <a:pt x="131" y="599"/>
                    <a:pt x="298" y="599"/>
                  </a:cubicBezTo>
                  <a:cubicBezTo>
                    <a:pt x="453" y="599"/>
                    <a:pt x="596" y="456"/>
                    <a:pt x="596" y="301"/>
                  </a:cubicBezTo>
                  <a:cubicBezTo>
                    <a:pt x="596" y="136"/>
                    <a:pt x="473" y="1"/>
                    <a:pt x="3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3" name="Google Shape;10513;p59"/>
            <p:cNvSpPr/>
            <p:nvPr/>
          </p:nvSpPr>
          <p:spPr>
            <a:xfrm>
              <a:off x="7337968" y="1631519"/>
              <a:ext cx="19017" cy="19017"/>
            </a:xfrm>
            <a:custGeom>
              <a:avLst/>
              <a:gdLst/>
              <a:ahLst/>
              <a:cxnLst/>
              <a:rect l="l" t="t" r="r" b="b"/>
              <a:pathLst>
                <a:path w="597" h="597" extrusionOk="0">
                  <a:moveTo>
                    <a:pt x="298" y="1"/>
                  </a:moveTo>
                  <a:cubicBezTo>
                    <a:pt x="132" y="1"/>
                    <a:pt x="1" y="132"/>
                    <a:pt x="1" y="299"/>
                  </a:cubicBezTo>
                  <a:cubicBezTo>
                    <a:pt x="1" y="465"/>
                    <a:pt x="132" y="596"/>
                    <a:pt x="298" y="596"/>
                  </a:cubicBezTo>
                  <a:cubicBezTo>
                    <a:pt x="465" y="596"/>
                    <a:pt x="596" y="465"/>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4" name="Google Shape;10514;p59"/>
            <p:cNvSpPr/>
            <p:nvPr/>
          </p:nvSpPr>
          <p:spPr>
            <a:xfrm>
              <a:off x="7275404" y="1612947"/>
              <a:ext cx="18986" cy="18986"/>
            </a:xfrm>
            <a:custGeom>
              <a:avLst/>
              <a:gdLst/>
              <a:ahLst/>
              <a:cxnLst/>
              <a:rect l="l" t="t" r="r" b="b"/>
              <a:pathLst>
                <a:path w="596" h="596" extrusionOk="0">
                  <a:moveTo>
                    <a:pt x="298" y="1"/>
                  </a:moveTo>
                  <a:cubicBezTo>
                    <a:pt x="131" y="1"/>
                    <a:pt x="0" y="131"/>
                    <a:pt x="0" y="298"/>
                  </a:cubicBezTo>
                  <a:cubicBezTo>
                    <a:pt x="0" y="465"/>
                    <a:pt x="131" y="596"/>
                    <a:pt x="298" y="596"/>
                  </a:cubicBezTo>
                  <a:cubicBezTo>
                    <a:pt x="465" y="596"/>
                    <a:pt x="596" y="465"/>
                    <a:pt x="596" y="298"/>
                  </a:cubicBezTo>
                  <a:cubicBezTo>
                    <a:pt x="596" y="131"/>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5" name="Google Shape;10515;p59"/>
            <p:cNvSpPr/>
            <p:nvPr/>
          </p:nvSpPr>
          <p:spPr>
            <a:xfrm>
              <a:off x="7248837" y="1688029"/>
              <a:ext cx="19017" cy="19017"/>
            </a:xfrm>
            <a:custGeom>
              <a:avLst/>
              <a:gdLst/>
              <a:ahLst/>
              <a:cxnLst/>
              <a:rect l="l" t="t" r="r" b="b"/>
              <a:pathLst>
                <a:path w="597" h="597" extrusionOk="0">
                  <a:moveTo>
                    <a:pt x="298" y="1"/>
                  </a:moveTo>
                  <a:cubicBezTo>
                    <a:pt x="132" y="1"/>
                    <a:pt x="1" y="132"/>
                    <a:pt x="1" y="299"/>
                  </a:cubicBezTo>
                  <a:cubicBezTo>
                    <a:pt x="1" y="453"/>
                    <a:pt x="132" y="596"/>
                    <a:pt x="298" y="596"/>
                  </a:cubicBezTo>
                  <a:cubicBezTo>
                    <a:pt x="465" y="596"/>
                    <a:pt x="596" y="453"/>
                    <a:pt x="596" y="299"/>
                  </a:cubicBezTo>
                  <a:cubicBezTo>
                    <a:pt x="596" y="132"/>
                    <a:pt x="465"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6" name="Google Shape;10516;p59"/>
            <p:cNvSpPr/>
            <p:nvPr/>
          </p:nvSpPr>
          <p:spPr>
            <a:xfrm>
              <a:off x="7413464" y="1587527"/>
              <a:ext cx="18986" cy="19017"/>
            </a:xfrm>
            <a:custGeom>
              <a:avLst/>
              <a:gdLst/>
              <a:ahLst/>
              <a:cxnLst/>
              <a:rect l="l" t="t" r="r" b="b"/>
              <a:pathLst>
                <a:path w="596" h="597" extrusionOk="0">
                  <a:moveTo>
                    <a:pt x="298" y="1"/>
                  </a:moveTo>
                  <a:cubicBezTo>
                    <a:pt x="131" y="1"/>
                    <a:pt x="0" y="132"/>
                    <a:pt x="0" y="298"/>
                  </a:cubicBezTo>
                  <a:cubicBezTo>
                    <a:pt x="0" y="453"/>
                    <a:pt x="131" y="596"/>
                    <a:pt x="298" y="596"/>
                  </a:cubicBezTo>
                  <a:cubicBezTo>
                    <a:pt x="464" y="596"/>
                    <a:pt x="595" y="453"/>
                    <a:pt x="595" y="298"/>
                  </a:cubicBezTo>
                  <a:cubicBezTo>
                    <a:pt x="595" y="132"/>
                    <a:pt x="464" y="1"/>
                    <a:pt x="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7" name="Google Shape;10517;p59"/>
            <p:cNvSpPr/>
            <p:nvPr/>
          </p:nvSpPr>
          <p:spPr>
            <a:xfrm>
              <a:off x="7114218" y="1832906"/>
              <a:ext cx="18986" cy="19017"/>
            </a:xfrm>
            <a:custGeom>
              <a:avLst/>
              <a:gdLst/>
              <a:ahLst/>
              <a:cxnLst/>
              <a:rect l="l" t="t" r="r" b="b"/>
              <a:pathLst>
                <a:path w="596" h="597" extrusionOk="0">
                  <a:moveTo>
                    <a:pt x="317" y="0"/>
                  </a:moveTo>
                  <a:cubicBezTo>
                    <a:pt x="311" y="0"/>
                    <a:pt x="304" y="1"/>
                    <a:pt x="298" y="1"/>
                  </a:cubicBezTo>
                  <a:cubicBezTo>
                    <a:pt x="131" y="1"/>
                    <a:pt x="0" y="132"/>
                    <a:pt x="0" y="299"/>
                  </a:cubicBezTo>
                  <a:cubicBezTo>
                    <a:pt x="0" y="465"/>
                    <a:pt x="131" y="596"/>
                    <a:pt x="298" y="596"/>
                  </a:cubicBezTo>
                  <a:cubicBezTo>
                    <a:pt x="464" y="596"/>
                    <a:pt x="595" y="465"/>
                    <a:pt x="595" y="299"/>
                  </a:cubicBezTo>
                  <a:cubicBezTo>
                    <a:pt x="595" y="139"/>
                    <a:pt x="474"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8" name="Google Shape;10518;p59"/>
            <p:cNvSpPr/>
            <p:nvPr/>
          </p:nvSpPr>
          <p:spPr>
            <a:xfrm>
              <a:off x="7128999" y="1785506"/>
              <a:ext cx="18986" cy="19017"/>
            </a:xfrm>
            <a:custGeom>
              <a:avLst/>
              <a:gdLst/>
              <a:ahLst/>
              <a:cxnLst/>
              <a:rect l="l" t="t" r="r" b="b"/>
              <a:pathLst>
                <a:path w="596" h="597" extrusionOk="0">
                  <a:moveTo>
                    <a:pt x="319" y="0"/>
                  </a:moveTo>
                  <a:cubicBezTo>
                    <a:pt x="312" y="0"/>
                    <a:pt x="305" y="0"/>
                    <a:pt x="298" y="1"/>
                  </a:cubicBezTo>
                  <a:cubicBezTo>
                    <a:pt x="131" y="1"/>
                    <a:pt x="0" y="132"/>
                    <a:pt x="0" y="298"/>
                  </a:cubicBezTo>
                  <a:cubicBezTo>
                    <a:pt x="0" y="465"/>
                    <a:pt x="131" y="596"/>
                    <a:pt x="298" y="596"/>
                  </a:cubicBezTo>
                  <a:cubicBezTo>
                    <a:pt x="465" y="596"/>
                    <a:pt x="596" y="465"/>
                    <a:pt x="596" y="298"/>
                  </a:cubicBezTo>
                  <a:cubicBezTo>
                    <a:pt x="596" y="127"/>
                    <a:pt x="476" y="0"/>
                    <a:pt x="3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9" name="Google Shape;10519;p59"/>
            <p:cNvSpPr/>
            <p:nvPr/>
          </p:nvSpPr>
          <p:spPr>
            <a:xfrm>
              <a:off x="7148335" y="1815481"/>
              <a:ext cx="18986" cy="18986"/>
            </a:xfrm>
            <a:custGeom>
              <a:avLst/>
              <a:gdLst/>
              <a:ahLst/>
              <a:cxnLst/>
              <a:rect l="l" t="t" r="r" b="b"/>
              <a:pathLst>
                <a:path w="596" h="596" extrusionOk="0">
                  <a:moveTo>
                    <a:pt x="298" y="0"/>
                  </a:moveTo>
                  <a:cubicBezTo>
                    <a:pt x="132" y="0"/>
                    <a:pt x="1" y="131"/>
                    <a:pt x="1" y="298"/>
                  </a:cubicBezTo>
                  <a:cubicBezTo>
                    <a:pt x="1" y="465"/>
                    <a:pt x="132" y="596"/>
                    <a:pt x="298" y="596"/>
                  </a:cubicBezTo>
                  <a:cubicBezTo>
                    <a:pt x="465" y="596"/>
                    <a:pt x="596" y="465"/>
                    <a:pt x="596" y="298"/>
                  </a:cubicBezTo>
                  <a:cubicBezTo>
                    <a:pt x="596" y="131"/>
                    <a:pt x="465"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0" name="Google Shape;10520;p59"/>
            <p:cNvSpPr/>
            <p:nvPr/>
          </p:nvSpPr>
          <p:spPr>
            <a:xfrm>
              <a:off x="7158592" y="1661494"/>
              <a:ext cx="208236" cy="205656"/>
            </a:xfrm>
            <a:custGeom>
              <a:avLst/>
              <a:gdLst/>
              <a:ahLst/>
              <a:cxnLst/>
              <a:rect l="l" t="t" r="r" b="b"/>
              <a:pathLst>
                <a:path w="6537" h="6456" extrusionOk="0">
                  <a:moveTo>
                    <a:pt x="2893" y="2275"/>
                  </a:moveTo>
                  <a:cubicBezTo>
                    <a:pt x="2131" y="3001"/>
                    <a:pt x="1512" y="3763"/>
                    <a:pt x="917" y="4703"/>
                  </a:cubicBezTo>
                  <a:cubicBezTo>
                    <a:pt x="905" y="4656"/>
                    <a:pt x="905" y="4596"/>
                    <a:pt x="929" y="4442"/>
                  </a:cubicBezTo>
                  <a:cubicBezTo>
                    <a:pt x="941" y="4370"/>
                    <a:pt x="1036" y="4287"/>
                    <a:pt x="1107" y="4191"/>
                  </a:cubicBezTo>
                  <a:cubicBezTo>
                    <a:pt x="1357" y="3906"/>
                    <a:pt x="1393" y="3822"/>
                    <a:pt x="1453" y="3525"/>
                  </a:cubicBezTo>
                  <a:cubicBezTo>
                    <a:pt x="1524" y="3168"/>
                    <a:pt x="1572" y="3120"/>
                    <a:pt x="1881" y="2989"/>
                  </a:cubicBezTo>
                  <a:cubicBezTo>
                    <a:pt x="2191" y="2858"/>
                    <a:pt x="2274" y="2775"/>
                    <a:pt x="2453" y="2560"/>
                  </a:cubicBezTo>
                  <a:cubicBezTo>
                    <a:pt x="2643" y="2322"/>
                    <a:pt x="2703" y="2275"/>
                    <a:pt x="2893" y="2275"/>
                  </a:cubicBezTo>
                  <a:close/>
                  <a:moveTo>
                    <a:pt x="6351" y="0"/>
                  </a:moveTo>
                  <a:cubicBezTo>
                    <a:pt x="6331" y="0"/>
                    <a:pt x="6309" y="4"/>
                    <a:pt x="6287" y="12"/>
                  </a:cubicBezTo>
                  <a:cubicBezTo>
                    <a:pt x="5144" y="453"/>
                    <a:pt x="4191" y="1072"/>
                    <a:pt x="3251" y="1917"/>
                  </a:cubicBezTo>
                  <a:cubicBezTo>
                    <a:pt x="3154" y="1917"/>
                    <a:pt x="3059" y="1911"/>
                    <a:pt x="2965" y="1911"/>
                  </a:cubicBezTo>
                  <a:cubicBezTo>
                    <a:pt x="2841" y="1911"/>
                    <a:pt x="2718" y="1923"/>
                    <a:pt x="2596" y="1977"/>
                  </a:cubicBezTo>
                  <a:cubicBezTo>
                    <a:pt x="2310" y="2108"/>
                    <a:pt x="2179" y="2406"/>
                    <a:pt x="2012" y="2525"/>
                  </a:cubicBezTo>
                  <a:cubicBezTo>
                    <a:pt x="1941" y="2584"/>
                    <a:pt x="1846" y="2620"/>
                    <a:pt x="1750" y="2656"/>
                  </a:cubicBezTo>
                  <a:cubicBezTo>
                    <a:pt x="1346" y="2834"/>
                    <a:pt x="1238" y="2941"/>
                    <a:pt x="1119" y="3430"/>
                  </a:cubicBezTo>
                  <a:cubicBezTo>
                    <a:pt x="1072" y="3668"/>
                    <a:pt x="1060" y="3715"/>
                    <a:pt x="857" y="3953"/>
                  </a:cubicBezTo>
                  <a:cubicBezTo>
                    <a:pt x="750" y="4072"/>
                    <a:pt x="643" y="4191"/>
                    <a:pt x="595" y="4334"/>
                  </a:cubicBezTo>
                  <a:cubicBezTo>
                    <a:pt x="464" y="4799"/>
                    <a:pt x="643" y="4775"/>
                    <a:pt x="631" y="5073"/>
                  </a:cubicBezTo>
                  <a:cubicBezTo>
                    <a:pt x="631" y="5084"/>
                    <a:pt x="643" y="5084"/>
                    <a:pt x="643" y="5096"/>
                  </a:cubicBezTo>
                  <a:cubicBezTo>
                    <a:pt x="381" y="5549"/>
                    <a:pt x="179" y="5942"/>
                    <a:pt x="48" y="6216"/>
                  </a:cubicBezTo>
                  <a:cubicBezTo>
                    <a:pt x="0" y="6299"/>
                    <a:pt x="48" y="6394"/>
                    <a:pt x="143" y="6442"/>
                  </a:cubicBezTo>
                  <a:cubicBezTo>
                    <a:pt x="164" y="6451"/>
                    <a:pt x="186" y="6455"/>
                    <a:pt x="208" y="6455"/>
                  </a:cubicBezTo>
                  <a:cubicBezTo>
                    <a:pt x="271" y="6455"/>
                    <a:pt x="331" y="6417"/>
                    <a:pt x="357" y="6347"/>
                  </a:cubicBezTo>
                  <a:cubicBezTo>
                    <a:pt x="643" y="5739"/>
                    <a:pt x="1274" y="4549"/>
                    <a:pt x="2322" y="3322"/>
                  </a:cubicBezTo>
                  <a:cubicBezTo>
                    <a:pt x="3620" y="1834"/>
                    <a:pt x="4846" y="929"/>
                    <a:pt x="6406" y="322"/>
                  </a:cubicBezTo>
                  <a:cubicBezTo>
                    <a:pt x="6489" y="286"/>
                    <a:pt x="6537" y="191"/>
                    <a:pt x="6489" y="96"/>
                  </a:cubicBezTo>
                  <a:cubicBezTo>
                    <a:pt x="6471" y="41"/>
                    <a:pt x="6418" y="0"/>
                    <a:pt x="63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1" name="Google Shape;10521;p59"/>
            <p:cNvSpPr/>
            <p:nvPr/>
          </p:nvSpPr>
          <p:spPr>
            <a:xfrm>
              <a:off x="7374696" y="1635660"/>
              <a:ext cx="93781" cy="28478"/>
            </a:xfrm>
            <a:custGeom>
              <a:avLst/>
              <a:gdLst/>
              <a:ahLst/>
              <a:cxnLst/>
              <a:rect l="l" t="t" r="r" b="b"/>
              <a:pathLst>
                <a:path w="2944" h="894" extrusionOk="0">
                  <a:moveTo>
                    <a:pt x="2772" y="1"/>
                  </a:moveTo>
                  <a:cubicBezTo>
                    <a:pt x="2765" y="1"/>
                    <a:pt x="2759" y="1"/>
                    <a:pt x="2753" y="2"/>
                  </a:cubicBezTo>
                  <a:cubicBezTo>
                    <a:pt x="1860" y="97"/>
                    <a:pt x="991" y="288"/>
                    <a:pt x="193" y="573"/>
                  </a:cubicBezTo>
                  <a:cubicBezTo>
                    <a:pt x="1" y="638"/>
                    <a:pt x="67" y="894"/>
                    <a:pt x="230" y="894"/>
                  </a:cubicBezTo>
                  <a:cubicBezTo>
                    <a:pt x="248" y="894"/>
                    <a:pt x="268" y="890"/>
                    <a:pt x="288" y="883"/>
                  </a:cubicBezTo>
                  <a:cubicBezTo>
                    <a:pt x="1086" y="609"/>
                    <a:pt x="1920" y="419"/>
                    <a:pt x="2777" y="335"/>
                  </a:cubicBezTo>
                  <a:cubicBezTo>
                    <a:pt x="2872" y="311"/>
                    <a:pt x="2944" y="240"/>
                    <a:pt x="2932" y="157"/>
                  </a:cubicBezTo>
                  <a:cubicBezTo>
                    <a:pt x="2932" y="68"/>
                    <a:pt x="2850" y="1"/>
                    <a:pt x="27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22" name="Google Shape;10522;p59"/>
          <p:cNvSpPr/>
          <p:nvPr/>
        </p:nvSpPr>
        <p:spPr>
          <a:xfrm>
            <a:off x="7539642" y="1500180"/>
            <a:ext cx="372958" cy="366747"/>
          </a:xfrm>
          <a:custGeom>
            <a:avLst/>
            <a:gdLst/>
            <a:ahLst/>
            <a:cxnLst/>
            <a:rect l="l" t="t" r="r" b="b"/>
            <a:pathLst>
              <a:path w="11708" h="11513" extrusionOk="0">
                <a:moveTo>
                  <a:pt x="5700" y="3058"/>
                </a:moveTo>
                <a:cubicBezTo>
                  <a:pt x="5722" y="3058"/>
                  <a:pt x="5743" y="3064"/>
                  <a:pt x="5755" y="3076"/>
                </a:cubicBezTo>
                <a:lnTo>
                  <a:pt x="8565" y="5898"/>
                </a:lnTo>
                <a:cubicBezTo>
                  <a:pt x="8612" y="5910"/>
                  <a:pt x="8612" y="5969"/>
                  <a:pt x="8588" y="6017"/>
                </a:cubicBezTo>
                <a:cubicBezTo>
                  <a:pt x="8207" y="6374"/>
                  <a:pt x="8231" y="6398"/>
                  <a:pt x="8172" y="6398"/>
                </a:cubicBezTo>
                <a:cubicBezTo>
                  <a:pt x="8112" y="6398"/>
                  <a:pt x="8112" y="6350"/>
                  <a:pt x="7850" y="6136"/>
                </a:cubicBezTo>
                <a:cubicBezTo>
                  <a:pt x="5112" y="3398"/>
                  <a:pt x="5255" y="3552"/>
                  <a:pt x="5255" y="3493"/>
                </a:cubicBezTo>
                <a:cubicBezTo>
                  <a:pt x="5255" y="3433"/>
                  <a:pt x="5278" y="3433"/>
                  <a:pt x="5636" y="3076"/>
                </a:cubicBezTo>
                <a:cubicBezTo>
                  <a:pt x="5653" y="3064"/>
                  <a:pt x="5677" y="3058"/>
                  <a:pt x="5700" y="3058"/>
                </a:cubicBezTo>
                <a:close/>
                <a:moveTo>
                  <a:pt x="10869" y="1"/>
                </a:moveTo>
                <a:cubicBezTo>
                  <a:pt x="10688" y="1"/>
                  <a:pt x="10504" y="64"/>
                  <a:pt x="10350" y="195"/>
                </a:cubicBezTo>
                <a:lnTo>
                  <a:pt x="9184" y="1219"/>
                </a:lnTo>
                <a:cubicBezTo>
                  <a:pt x="9100" y="1278"/>
                  <a:pt x="9100" y="1385"/>
                  <a:pt x="9160" y="1457"/>
                </a:cubicBezTo>
                <a:cubicBezTo>
                  <a:pt x="9191" y="1494"/>
                  <a:pt x="9235" y="1512"/>
                  <a:pt x="9280" y="1512"/>
                </a:cubicBezTo>
                <a:cubicBezTo>
                  <a:pt x="9322" y="1512"/>
                  <a:pt x="9364" y="1497"/>
                  <a:pt x="9398" y="1469"/>
                </a:cubicBezTo>
                <a:lnTo>
                  <a:pt x="10577" y="445"/>
                </a:lnTo>
                <a:cubicBezTo>
                  <a:pt x="10664" y="375"/>
                  <a:pt x="10769" y="339"/>
                  <a:pt x="10872" y="339"/>
                </a:cubicBezTo>
                <a:cubicBezTo>
                  <a:pt x="10980" y="339"/>
                  <a:pt x="11087" y="378"/>
                  <a:pt x="11172" y="457"/>
                </a:cubicBezTo>
                <a:cubicBezTo>
                  <a:pt x="11339" y="623"/>
                  <a:pt x="11339" y="874"/>
                  <a:pt x="11184" y="1052"/>
                </a:cubicBezTo>
                <a:lnTo>
                  <a:pt x="7933" y="4767"/>
                </a:lnTo>
                <a:lnTo>
                  <a:pt x="6874" y="3707"/>
                </a:lnTo>
                <a:lnTo>
                  <a:pt x="8767" y="2040"/>
                </a:lnTo>
                <a:cubicBezTo>
                  <a:pt x="8838" y="1981"/>
                  <a:pt x="8838" y="1874"/>
                  <a:pt x="8779" y="1802"/>
                </a:cubicBezTo>
                <a:cubicBezTo>
                  <a:pt x="8747" y="1757"/>
                  <a:pt x="8700" y="1736"/>
                  <a:pt x="8653" y="1736"/>
                </a:cubicBezTo>
                <a:cubicBezTo>
                  <a:pt x="8614" y="1736"/>
                  <a:pt x="8573" y="1751"/>
                  <a:pt x="8541" y="1778"/>
                </a:cubicBezTo>
                <a:lnTo>
                  <a:pt x="6636" y="3469"/>
                </a:lnTo>
                <a:lnTo>
                  <a:pt x="5993" y="2826"/>
                </a:lnTo>
                <a:cubicBezTo>
                  <a:pt x="5909" y="2743"/>
                  <a:pt x="5802" y="2701"/>
                  <a:pt x="5695" y="2701"/>
                </a:cubicBezTo>
                <a:cubicBezTo>
                  <a:pt x="5588" y="2701"/>
                  <a:pt x="5481" y="2743"/>
                  <a:pt x="5397" y="2826"/>
                </a:cubicBezTo>
                <a:lnTo>
                  <a:pt x="5040" y="3183"/>
                </a:lnTo>
                <a:cubicBezTo>
                  <a:pt x="4921" y="3302"/>
                  <a:pt x="4874" y="3481"/>
                  <a:pt x="4957" y="3660"/>
                </a:cubicBezTo>
                <a:cubicBezTo>
                  <a:pt x="4800" y="3641"/>
                  <a:pt x="4644" y="3631"/>
                  <a:pt x="4488" y="3631"/>
                </a:cubicBezTo>
                <a:cubicBezTo>
                  <a:pt x="2121" y="3631"/>
                  <a:pt x="1" y="5783"/>
                  <a:pt x="135" y="8208"/>
                </a:cubicBezTo>
                <a:cubicBezTo>
                  <a:pt x="147" y="8672"/>
                  <a:pt x="337" y="9101"/>
                  <a:pt x="671" y="9422"/>
                </a:cubicBezTo>
                <a:lnTo>
                  <a:pt x="2218" y="10970"/>
                </a:lnTo>
                <a:cubicBezTo>
                  <a:pt x="2620" y="11372"/>
                  <a:pt x="3076" y="11512"/>
                  <a:pt x="3595" y="11512"/>
                </a:cubicBezTo>
                <a:cubicBezTo>
                  <a:pt x="3768" y="11512"/>
                  <a:pt x="3948" y="11497"/>
                  <a:pt x="4135" y="11470"/>
                </a:cubicBezTo>
                <a:cubicBezTo>
                  <a:pt x="4219" y="11458"/>
                  <a:pt x="4278" y="11387"/>
                  <a:pt x="4278" y="11280"/>
                </a:cubicBezTo>
                <a:cubicBezTo>
                  <a:pt x="4266" y="11184"/>
                  <a:pt x="4195" y="11125"/>
                  <a:pt x="4088" y="11125"/>
                </a:cubicBezTo>
                <a:cubicBezTo>
                  <a:pt x="3923" y="11149"/>
                  <a:pt x="3764" y="11164"/>
                  <a:pt x="3613" y="11164"/>
                </a:cubicBezTo>
                <a:cubicBezTo>
                  <a:pt x="3175" y="11164"/>
                  <a:pt x="2793" y="11044"/>
                  <a:pt x="2457" y="10708"/>
                </a:cubicBezTo>
                <a:lnTo>
                  <a:pt x="909" y="9160"/>
                </a:lnTo>
                <a:cubicBezTo>
                  <a:pt x="635" y="8898"/>
                  <a:pt x="468" y="8541"/>
                  <a:pt x="456" y="8184"/>
                </a:cubicBezTo>
                <a:cubicBezTo>
                  <a:pt x="351" y="5941"/>
                  <a:pt x="2322" y="3959"/>
                  <a:pt x="4468" y="3959"/>
                </a:cubicBezTo>
                <a:cubicBezTo>
                  <a:pt x="4749" y="3959"/>
                  <a:pt x="5032" y="3993"/>
                  <a:pt x="5314" y="4064"/>
                </a:cubicBezTo>
                <a:lnTo>
                  <a:pt x="7576" y="6327"/>
                </a:lnTo>
                <a:cubicBezTo>
                  <a:pt x="8029" y="8196"/>
                  <a:pt x="6838" y="10220"/>
                  <a:pt x="4969" y="10934"/>
                </a:cubicBezTo>
                <a:cubicBezTo>
                  <a:pt x="4874" y="10970"/>
                  <a:pt x="4838" y="11065"/>
                  <a:pt x="4862" y="11160"/>
                </a:cubicBezTo>
                <a:cubicBezTo>
                  <a:pt x="4891" y="11229"/>
                  <a:pt x="4961" y="11274"/>
                  <a:pt x="5038" y="11274"/>
                </a:cubicBezTo>
                <a:cubicBezTo>
                  <a:pt x="5055" y="11274"/>
                  <a:pt x="5071" y="11272"/>
                  <a:pt x="5088" y="11268"/>
                </a:cubicBezTo>
                <a:cubicBezTo>
                  <a:pt x="6945" y="10553"/>
                  <a:pt x="8195" y="8624"/>
                  <a:pt x="7969" y="6696"/>
                </a:cubicBezTo>
                <a:lnTo>
                  <a:pt x="7969" y="6696"/>
                </a:lnTo>
                <a:cubicBezTo>
                  <a:pt x="8027" y="6722"/>
                  <a:pt x="8084" y="6735"/>
                  <a:pt x="8140" y="6735"/>
                </a:cubicBezTo>
                <a:cubicBezTo>
                  <a:pt x="8257" y="6735"/>
                  <a:pt x="8365" y="6681"/>
                  <a:pt x="8445" y="6600"/>
                </a:cubicBezTo>
                <a:lnTo>
                  <a:pt x="8803" y="6243"/>
                </a:lnTo>
                <a:cubicBezTo>
                  <a:pt x="8969" y="6088"/>
                  <a:pt x="8969" y="5815"/>
                  <a:pt x="8803" y="5648"/>
                </a:cubicBezTo>
                <a:lnTo>
                  <a:pt x="8172" y="5017"/>
                </a:lnTo>
                <a:lnTo>
                  <a:pt x="11446" y="1290"/>
                </a:lnTo>
                <a:cubicBezTo>
                  <a:pt x="11708" y="981"/>
                  <a:pt x="11696" y="516"/>
                  <a:pt x="11410" y="219"/>
                </a:cubicBezTo>
                <a:cubicBezTo>
                  <a:pt x="11261" y="76"/>
                  <a:pt x="11067" y="1"/>
                  <a:pt x="10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23" name="Google Shape;10523;p59"/>
          <p:cNvGrpSpPr/>
          <p:nvPr/>
        </p:nvGrpSpPr>
        <p:grpSpPr>
          <a:xfrm>
            <a:off x="6649231" y="1500021"/>
            <a:ext cx="390287" cy="367065"/>
            <a:chOff x="6649231" y="1500021"/>
            <a:chExt cx="390287" cy="367065"/>
          </a:xfrm>
        </p:grpSpPr>
        <p:sp>
          <p:nvSpPr>
            <p:cNvPr id="10524" name="Google Shape;10524;p59"/>
            <p:cNvSpPr/>
            <p:nvPr/>
          </p:nvSpPr>
          <p:spPr>
            <a:xfrm>
              <a:off x="6649231" y="1500021"/>
              <a:ext cx="390287" cy="367065"/>
            </a:xfrm>
            <a:custGeom>
              <a:avLst/>
              <a:gdLst/>
              <a:ahLst/>
              <a:cxnLst/>
              <a:rect l="l" t="t" r="r" b="b"/>
              <a:pathLst>
                <a:path w="12252" h="11523" extrusionOk="0">
                  <a:moveTo>
                    <a:pt x="2393" y="6022"/>
                  </a:moveTo>
                  <a:lnTo>
                    <a:pt x="5775" y="9391"/>
                  </a:lnTo>
                  <a:lnTo>
                    <a:pt x="4691" y="10487"/>
                  </a:lnTo>
                  <a:cubicBezTo>
                    <a:pt x="4221" y="10951"/>
                    <a:pt x="3611" y="11183"/>
                    <a:pt x="3000" y="11183"/>
                  </a:cubicBezTo>
                  <a:cubicBezTo>
                    <a:pt x="2390" y="11183"/>
                    <a:pt x="1780" y="10951"/>
                    <a:pt x="1310" y="10487"/>
                  </a:cubicBezTo>
                  <a:cubicBezTo>
                    <a:pt x="369" y="9546"/>
                    <a:pt x="369" y="8046"/>
                    <a:pt x="1310" y="7105"/>
                  </a:cubicBezTo>
                  <a:lnTo>
                    <a:pt x="2393" y="6022"/>
                  </a:lnTo>
                  <a:close/>
                  <a:moveTo>
                    <a:pt x="3000" y="331"/>
                  </a:moveTo>
                  <a:cubicBezTo>
                    <a:pt x="3608" y="331"/>
                    <a:pt x="4203" y="557"/>
                    <a:pt x="4667" y="1021"/>
                  </a:cubicBezTo>
                  <a:lnTo>
                    <a:pt x="10763" y="7105"/>
                  </a:lnTo>
                  <a:cubicBezTo>
                    <a:pt x="11680" y="8046"/>
                    <a:pt x="11680" y="9546"/>
                    <a:pt x="10763" y="10463"/>
                  </a:cubicBezTo>
                  <a:lnTo>
                    <a:pt x="10728" y="10499"/>
                  </a:lnTo>
                  <a:cubicBezTo>
                    <a:pt x="10263" y="10957"/>
                    <a:pt x="9656" y="11186"/>
                    <a:pt x="9050" y="11186"/>
                  </a:cubicBezTo>
                  <a:cubicBezTo>
                    <a:pt x="8445" y="11186"/>
                    <a:pt x="7840" y="10957"/>
                    <a:pt x="7382" y="10499"/>
                  </a:cubicBezTo>
                  <a:lnTo>
                    <a:pt x="1286" y="4415"/>
                  </a:lnTo>
                  <a:cubicBezTo>
                    <a:pt x="369" y="3486"/>
                    <a:pt x="369" y="1986"/>
                    <a:pt x="1286" y="1057"/>
                  </a:cubicBezTo>
                  <a:cubicBezTo>
                    <a:pt x="1310" y="1045"/>
                    <a:pt x="1929" y="331"/>
                    <a:pt x="3000" y="331"/>
                  </a:cubicBezTo>
                  <a:close/>
                  <a:moveTo>
                    <a:pt x="2999" y="0"/>
                  </a:moveTo>
                  <a:cubicBezTo>
                    <a:pt x="2307" y="0"/>
                    <a:pt x="1613" y="265"/>
                    <a:pt x="1084" y="795"/>
                  </a:cubicBezTo>
                  <a:lnTo>
                    <a:pt x="1060" y="819"/>
                  </a:lnTo>
                  <a:cubicBezTo>
                    <a:pt x="0" y="1879"/>
                    <a:pt x="0" y="3593"/>
                    <a:pt x="1060" y="4641"/>
                  </a:cubicBezTo>
                  <a:lnTo>
                    <a:pt x="2167" y="5760"/>
                  </a:lnTo>
                  <a:lnTo>
                    <a:pt x="1084" y="6855"/>
                  </a:lnTo>
                  <a:cubicBezTo>
                    <a:pt x="24" y="7903"/>
                    <a:pt x="24" y="9653"/>
                    <a:pt x="1084" y="10701"/>
                  </a:cubicBezTo>
                  <a:cubicBezTo>
                    <a:pt x="1613" y="11231"/>
                    <a:pt x="2313" y="11496"/>
                    <a:pt x="3012" y="11496"/>
                  </a:cubicBezTo>
                  <a:cubicBezTo>
                    <a:pt x="3712" y="11496"/>
                    <a:pt x="4411" y="11231"/>
                    <a:pt x="4941" y="10701"/>
                  </a:cubicBezTo>
                  <a:lnTo>
                    <a:pt x="6025" y="9618"/>
                  </a:lnTo>
                  <a:lnTo>
                    <a:pt x="7144" y="10737"/>
                  </a:lnTo>
                  <a:cubicBezTo>
                    <a:pt x="7674" y="11261"/>
                    <a:pt x="8364" y="11523"/>
                    <a:pt x="9055" y="11523"/>
                  </a:cubicBezTo>
                  <a:cubicBezTo>
                    <a:pt x="9745" y="11523"/>
                    <a:pt x="10436" y="11261"/>
                    <a:pt x="10966" y="10737"/>
                  </a:cubicBezTo>
                  <a:lnTo>
                    <a:pt x="11001" y="10701"/>
                  </a:lnTo>
                  <a:cubicBezTo>
                    <a:pt x="12037" y="9653"/>
                    <a:pt x="12037" y="7939"/>
                    <a:pt x="11001" y="6879"/>
                  </a:cubicBezTo>
                  <a:lnTo>
                    <a:pt x="6263" y="2141"/>
                  </a:lnTo>
                  <a:lnTo>
                    <a:pt x="7370" y="1045"/>
                  </a:lnTo>
                  <a:cubicBezTo>
                    <a:pt x="7811" y="593"/>
                    <a:pt x="8418" y="343"/>
                    <a:pt x="9049" y="343"/>
                  </a:cubicBezTo>
                  <a:cubicBezTo>
                    <a:pt x="11156" y="343"/>
                    <a:pt x="12252" y="2914"/>
                    <a:pt x="10728" y="4427"/>
                  </a:cubicBezTo>
                  <a:lnTo>
                    <a:pt x="9989" y="5165"/>
                  </a:lnTo>
                  <a:cubicBezTo>
                    <a:pt x="9882" y="5272"/>
                    <a:pt x="9954" y="5451"/>
                    <a:pt x="10108" y="5451"/>
                  </a:cubicBezTo>
                  <a:cubicBezTo>
                    <a:pt x="10228" y="5451"/>
                    <a:pt x="10204" y="5391"/>
                    <a:pt x="10966" y="4641"/>
                  </a:cubicBezTo>
                  <a:cubicBezTo>
                    <a:pt x="11490" y="4129"/>
                    <a:pt x="11775" y="3450"/>
                    <a:pt x="11775" y="2724"/>
                  </a:cubicBezTo>
                  <a:cubicBezTo>
                    <a:pt x="11775" y="1224"/>
                    <a:pt x="10549" y="9"/>
                    <a:pt x="9049" y="9"/>
                  </a:cubicBezTo>
                  <a:cubicBezTo>
                    <a:pt x="8323" y="9"/>
                    <a:pt x="7632" y="283"/>
                    <a:pt x="7132" y="807"/>
                  </a:cubicBezTo>
                  <a:lnTo>
                    <a:pt x="6025" y="1914"/>
                  </a:lnTo>
                  <a:lnTo>
                    <a:pt x="4905" y="795"/>
                  </a:lnTo>
                  <a:cubicBezTo>
                    <a:pt x="4382" y="265"/>
                    <a:pt x="3691" y="0"/>
                    <a:pt x="2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5" name="Google Shape;10525;p59"/>
            <p:cNvSpPr/>
            <p:nvPr/>
          </p:nvSpPr>
          <p:spPr>
            <a:xfrm>
              <a:off x="6759194" y="1602435"/>
              <a:ext cx="161983" cy="161409"/>
            </a:xfrm>
            <a:custGeom>
              <a:avLst/>
              <a:gdLst/>
              <a:ahLst/>
              <a:cxnLst/>
              <a:rect l="l" t="t" r="r" b="b"/>
              <a:pathLst>
                <a:path w="5085" h="5067" extrusionOk="0">
                  <a:moveTo>
                    <a:pt x="2192" y="0"/>
                  </a:moveTo>
                  <a:cubicBezTo>
                    <a:pt x="2147" y="0"/>
                    <a:pt x="2102" y="15"/>
                    <a:pt x="2073" y="45"/>
                  </a:cubicBezTo>
                  <a:lnTo>
                    <a:pt x="60" y="2057"/>
                  </a:lnTo>
                  <a:cubicBezTo>
                    <a:pt x="1" y="2116"/>
                    <a:pt x="1" y="2236"/>
                    <a:pt x="60" y="2295"/>
                  </a:cubicBezTo>
                  <a:lnTo>
                    <a:pt x="501" y="2747"/>
                  </a:lnTo>
                  <a:cubicBezTo>
                    <a:pt x="531" y="2771"/>
                    <a:pt x="575" y="2783"/>
                    <a:pt x="620" y="2783"/>
                  </a:cubicBezTo>
                  <a:cubicBezTo>
                    <a:pt x="665" y="2783"/>
                    <a:pt x="709" y="2771"/>
                    <a:pt x="739" y="2747"/>
                  </a:cubicBezTo>
                  <a:cubicBezTo>
                    <a:pt x="799" y="2688"/>
                    <a:pt x="799" y="2569"/>
                    <a:pt x="739" y="2497"/>
                  </a:cubicBezTo>
                  <a:lnTo>
                    <a:pt x="418" y="2176"/>
                  </a:lnTo>
                  <a:lnTo>
                    <a:pt x="2192" y="402"/>
                  </a:lnTo>
                  <a:lnTo>
                    <a:pt x="4668" y="2890"/>
                  </a:lnTo>
                  <a:lnTo>
                    <a:pt x="2906" y="4664"/>
                  </a:lnTo>
                  <a:lnTo>
                    <a:pt x="1322" y="3081"/>
                  </a:lnTo>
                  <a:cubicBezTo>
                    <a:pt x="1293" y="3051"/>
                    <a:pt x="1248" y="3036"/>
                    <a:pt x="1203" y="3036"/>
                  </a:cubicBezTo>
                  <a:cubicBezTo>
                    <a:pt x="1159" y="3036"/>
                    <a:pt x="1114" y="3051"/>
                    <a:pt x="1084" y="3081"/>
                  </a:cubicBezTo>
                  <a:cubicBezTo>
                    <a:pt x="1025" y="3140"/>
                    <a:pt x="1025" y="3259"/>
                    <a:pt x="1084" y="3319"/>
                  </a:cubicBezTo>
                  <a:lnTo>
                    <a:pt x="2787" y="5022"/>
                  </a:lnTo>
                  <a:cubicBezTo>
                    <a:pt x="2817" y="5051"/>
                    <a:pt x="2861" y="5066"/>
                    <a:pt x="2906" y="5066"/>
                  </a:cubicBezTo>
                  <a:cubicBezTo>
                    <a:pt x="2951" y="5066"/>
                    <a:pt x="2995" y="5051"/>
                    <a:pt x="3025" y="5022"/>
                  </a:cubicBezTo>
                  <a:lnTo>
                    <a:pt x="5025" y="3009"/>
                  </a:lnTo>
                  <a:cubicBezTo>
                    <a:pt x="5085" y="2938"/>
                    <a:pt x="5085" y="2831"/>
                    <a:pt x="5025" y="2771"/>
                  </a:cubicBezTo>
                  <a:lnTo>
                    <a:pt x="2311" y="45"/>
                  </a:lnTo>
                  <a:cubicBezTo>
                    <a:pt x="2281" y="15"/>
                    <a:pt x="2236" y="0"/>
                    <a:pt x="2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6" name="Google Shape;10526;p59"/>
            <p:cNvSpPr/>
            <p:nvPr/>
          </p:nvSpPr>
          <p:spPr>
            <a:xfrm>
              <a:off x="6718229" y="1625179"/>
              <a:ext cx="15227" cy="14239"/>
            </a:xfrm>
            <a:custGeom>
              <a:avLst/>
              <a:gdLst/>
              <a:ahLst/>
              <a:cxnLst/>
              <a:rect l="l" t="t" r="r" b="b"/>
              <a:pathLst>
                <a:path w="478" h="447" extrusionOk="0">
                  <a:moveTo>
                    <a:pt x="180" y="0"/>
                  </a:moveTo>
                  <a:cubicBezTo>
                    <a:pt x="135" y="0"/>
                    <a:pt x="90" y="15"/>
                    <a:pt x="61" y="45"/>
                  </a:cubicBezTo>
                  <a:cubicBezTo>
                    <a:pt x="1" y="105"/>
                    <a:pt x="1" y="224"/>
                    <a:pt x="61" y="283"/>
                  </a:cubicBezTo>
                  <a:lnTo>
                    <a:pt x="180" y="402"/>
                  </a:lnTo>
                  <a:cubicBezTo>
                    <a:pt x="209" y="432"/>
                    <a:pt x="254" y="447"/>
                    <a:pt x="299" y="447"/>
                  </a:cubicBezTo>
                  <a:cubicBezTo>
                    <a:pt x="343" y="447"/>
                    <a:pt x="388" y="432"/>
                    <a:pt x="418" y="402"/>
                  </a:cubicBezTo>
                  <a:cubicBezTo>
                    <a:pt x="477" y="343"/>
                    <a:pt x="477" y="224"/>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7" name="Google Shape;10527;p59"/>
            <p:cNvSpPr/>
            <p:nvPr/>
          </p:nvSpPr>
          <p:spPr>
            <a:xfrm>
              <a:off x="6712176" y="1588005"/>
              <a:ext cx="16533" cy="14048"/>
            </a:xfrm>
            <a:custGeom>
              <a:avLst/>
              <a:gdLst/>
              <a:ahLst/>
              <a:cxnLst/>
              <a:rect l="l" t="t" r="r" b="b"/>
              <a:pathLst>
                <a:path w="519" h="441" extrusionOk="0">
                  <a:moveTo>
                    <a:pt x="179" y="1"/>
                  </a:moveTo>
                  <a:cubicBezTo>
                    <a:pt x="134" y="1"/>
                    <a:pt x="90" y="16"/>
                    <a:pt x="60" y="45"/>
                  </a:cubicBezTo>
                  <a:cubicBezTo>
                    <a:pt x="0" y="93"/>
                    <a:pt x="0" y="224"/>
                    <a:pt x="60" y="283"/>
                  </a:cubicBezTo>
                  <a:cubicBezTo>
                    <a:pt x="155" y="355"/>
                    <a:pt x="191" y="438"/>
                    <a:pt x="298" y="438"/>
                  </a:cubicBezTo>
                  <a:cubicBezTo>
                    <a:pt x="307" y="440"/>
                    <a:pt x="315" y="440"/>
                    <a:pt x="323" y="440"/>
                  </a:cubicBezTo>
                  <a:cubicBezTo>
                    <a:pt x="460" y="440"/>
                    <a:pt x="518" y="254"/>
                    <a:pt x="417" y="164"/>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8" name="Google Shape;10528;p59"/>
            <p:cNvSpPr/>
            <p:nvPr/>
          </p:nvSpPr>
          <p:spPr>
            <a:xfrm>
              <a:off x="6744796" y="1555003"/>
              <a:ext cx="16628" cy="14367"/>
            </a:xfrm>
            <a:custGeom>
              <a:avLst/>
              <a:gdLst/>
              <a:ahLst/>
              <a:cxnLst/>
              <a:rect l="l" t="t" r="r" b="b"/>
              <a:pathLst>
                <a:path w="522" h="451" extrusionOk="0">
                  <a:moveTo>
                    <a:pt x="179" y="1"/>
                  </a:moveTo>
                  <a:cubicBezTo>
                    <a:pt x="134" y="1"/>
                    <a:pt x="90" y="16"/>
                    <a:pt x="60" y="45"/>
                  </a:cubicBezTo>
                  <a:cubicBezTo>
                    <a:pt x="0" y="105"/>
                    <a:pt x="0" y="224"/>
                    <a:pt x="60" y="284"/>
                  </a:cubicBezTo>
                  <a:cubicBezTo>
                    <a:pt x="155" y="367"/>
                    <a:pt x="203" y="450"/>
                    <a:pt x="298" y="450"/>
                  </a:cubicBezTo>
                  <a:cubicBezTo>
                    <a:pt x="303" y="451"/>
                    <a:pt x="307" y="451"/>
                    <a:pt x="312" y="451"/>
                  </a:cubicBezTo>
                  <a:cubicBezTo>
                    <a:pt x="457" y="451"/>
                    <a:pt x="521" y="268"/>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9" name="Google Shape;10529;p59"/>
            <p:cNvSpPr/>
            <p:nvPr/>
          </p:nvSpPr>
          <p:spPr>
            <a:xfrm>
              <a:off x="6750115" y="1593707"/>
              <a:ext cx="15577" cy="13952"/>
            </a:xfrm>
            <a:custGeom>
              <a:avLst/>
              <a:gdLst/>
              <a:ahLst/>
              <a:cxnLst/>
              <a:rect l="l" t="t" r="r" b="b"/>
              <a:pathLst>
                <a:path w="489" h="438" extrusionOk="0">
                  <a:moveTo>
                    <a:pt x="179" y="0"/>
                  </a:moveTo>
                  <a:cubicBezTo>
                    <a:pt x="134" y="0"/>
                    <a:pt x="89" y="15"/>
                    <a:pt x="60" y="45"/>
                  </a:cubicBezTo>
                  <a:cubicBezTo>
                    <a:pt x="0" y="93"/>
                    <a:pt x="0" y="212"/>
                    <a:pt x="60" y="283"/>
                  </a:cubicBezTo>
                  <a:cubicBezTo>
                    <a:pt x="155" y="354"/>
                    <a:pt x="191" y="438"/>
                    <a:pt x="298" y="438"/>
                  </a:cubicBezTo>
                  <a:cubicBezTo>
                    <a:pt x="345" y="438"/>
                    <a:pt x="393" y="426"/>
                    <a:pt x="417" y="402"/>
                  </a:cubicBezTo>
                  <a:cubicBezTo>
                    <a:pt x="488" y="319"/>
                    <a:pt x="488" y="212"/>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0" name="Google Shape;10530;p59"/>
            <p:cNvSpPr/>
            <p:nvPr/>
          </p:nvSpPr>
          <p:spPr>
            <a:xfrm>
              <a:off x="6782353" y="1561852"/>
              <a:ext cx="16692" cy="14335"/>
            </a:xfrm>
            <a:custGeom>
              <a:avLst/>
              <a:gdLst/>
              <a:ahLst/>
              <a:cxnLst/>
              <a:rect l="l" t="t" r="r" b="b"/>
              <a:pathLst>
                <a:path w="524" h="450" extrusionOk="0">
                  <a:moveTo>
                    <a:pt x="179" y="0"/>
                  </a:moveTo>
                  <a:cubicBezTo>
                    <a:pt x="134" y="0"/>
                    <a:pt x="89" y="15"/>
                    <a:pt x="60" y="45"/>
                  </a:cubicBezTo>
                  <a:cubicBezTo>
                    <a:pt x="0" y="104"/>
                    <a:pt x="0" y="223"/>
                    <a:pt x="60" y="283"/>
                  </a:cubicBezTo>
                  <a:cubicBezTo>
                    <a:pt x="155" y="354"/>
                    <a:pt x="179" y="450"/>
                    <a:pt x="298" y="450"/>
                  </a:cubicBezTo>
                  <a:cubicBezTo>
                    <a:pt x="453" y="450"/>
                    <a:pt x="524" y="271"/>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1" name="Google Shape;10531;p59"/>
            <p:cNvSpPr/>
            <p:nvPr/>
          </p:nvSpPr>
          <p:spPr>
            <a:xfrm>
              <a:off x="6884735" y="1791686"/>
              <a:ext cx="15227" cy="14239"/>
            </a:xfrm>
            <a:custGeom>
              <a:avLst/>
              <a:gdLst/>
              <a:ahLst/>
              <a:cxnLst/>
              <a:rect l="l" t="t" r="r" b="b"/>
              <a:pathLst>
                <a:path w="478" h="447" extrusionOk="0">
                  <a:moveTo>
                    <a:pt x="179" y="0"/>
                  </a:moveTo>
                  <a:cubicBezTo>
                    <a:pt x="135" y="0"/>
                    <a:pt x="90" y="15"/>
                    <a:pt x="60" y="45"/>
                  </a:cubicBezTo>
                  <a:cubicBezTo>
                    <a:pt x="1" y="104"/>
                    <a:pt x="1" y="224"/>
                    <a:pt x="60" y="283"/>
                  </a:cubicBezTo>
                  <a:lnTo>
                    <a:pt x="179" y="402"/>
                  </a:lnTo>
                  <a:cubicBezTo>
                    <a:pt x="209" y="432"/>
                    <a:pt x="254" y="447"/>
                    <a:pt x="298" y="447"/>
                  </a:cubicBezTo>
                  <a:cubicBezTo>
                    <a:pt x="343" y="447"/>
                    <a:pt x="388" y="432"/>
                    <a:pt x="418" y="402"/>
                  </a:cubicBezTo>
                  <a:cubicBezTo>
                    <a:pt x="477" y="343"/>
                    <a:pt x="477" y="224"/>
                    <a:pt x="418" y="164"/>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2" name="Google Shape;10532;p59"/>
            <p:cNvSpPr/>
            <p:nvPr/>
          </p:nvSpPr>
          <p:spPr>
            <a:xfrm>
              <a:off x="6922292" y="1797738"/>
              <a:ext cx="15195" cy="14271"/>
            </a:xfrm>
            <a:custGeom>
              <a:avLst/>
              <a:gdLst/>
              <a:ahLst/>
              <a:cxnLst/>
              <a:rect l="l" t="t" r="r" b="b"/>
              <a:pathLst>
                <a:path w="477" h="448" extrusionOk="0">
                  <a:moveTo>
                    <a:pt x="179" y="1"/>
                  </a:moveTo>
                  <a:cubicBezTo>
                    <a:pt x="134" y="1"/>
                    <a:pt x="90" y="16"/>
                    <a:pt x="60" y="45"/>
                  </a:cubicBezTo>
                  <a:cubicBezTo>
                    <a:pt x="1" y="105"/>
                    <a:pt x="1" y="224"/>
                    <a:pt x="60" y="284"/>
                  </a:cubicBezTo>
                  <a:lnTo>
                    <a:pt x="179" y="403"/>
                  </a:lnTo>
                  <a:cubicBezTo>
                    <a:pt x="209" y="432"/>
                    <a:pt x="254" y="447"/>
                    <a:pt x="298" y="447"/>
                  </a:cubicBezTo>
                  <a:cubicBezTo>
                    <a:pt x="343" y="447"/>
                    <a:pt x="387" y="432"/>
                    <a:pt x="417" y="403"/>
                  </a:cubicBezTo>
                  <a:cubicBezTo>
                    <a:pt x="477" y="343"/>
                    <a:pt x="477" y="224"/>
                    <a:pt x="417" y="165"/>
                  </a:cubicBezTo>
                  <a:lnTo>
                    <a:pt x="298" y="45"/>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3" name="Google Shape;10533;p59"/>
            <p:cNvSpPr/>
            <p:nvPr/>
          </p:nvSpPr>
          <p:spPr>
            <a:xfrm>
              <a:off x="6954911" y="1765118"/>
              <a:ext cx="15195" cy="14271"/>
            </a:xfrm>
            <a:custGeom>
              <a:avLst/>
              <a:gdLst/>
              <a:ahLst/>
              <a:cxnLst/>
              <a:rect l="l" t="t" r="r" b="b"/>
              <a:pathLst>
                <a:path w="477" h="448" extrusionOk="0">
                  <a:moveTo>
                    <a:pt x="179" y="1"/>
                  </a:moveTo>
                  <a:cubicBezTo>
                    <a:pt x="134" y="1"/>
                    <a:pt x="90" y="16"/>
                    <a:pt x="60" y="46"/>
                  </a:cubicBezTo>
                  <a:cubicBezTo>
                    <a:pt x="0" y="105"/>
                    <a:pt x="0" y="224"/>
                    <a:pt x="60" y="284"/>
                  </a:cubicBezTo>
                  <a:lnTo>
                    <a:pt x="179" y="403"/>
                  </a:lnTo>
                  <a:cubicBezTo>
                    <a:pt x="209" y="432"/>
                    <a:pt x="253" y="447"/>
                    <a:pt x="298" y="447"/>
                  </a:cubicBezTo>
                  <a:cubicBezTo>
                    <a:pt x="343" y="447"/>
                    <a:pt x="387" y="432"/>
                    <a:pt x="417" y="403"/>
                  </a:cubicBezTo>
                  <a:cubicBezTo>
                    <a:pt x="477" y="343"/>
                    <a:pt x="477" y="224"/>
                    <a:pt x="417" y="165"/>
                  </a:cubicBezTo>
                  <a:lnTo>
                    <a:pt x="298" y="46"/>
                  </a:lnTo>
                  <a:cubicBezTo>
                    <a:pt x="268" y="16"/>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4" name="Google Shape;10534;p59"/>
            <p:cNvSpPr/>
            <p:nvPr/>
          </p:nvSpPr>
          <p:spPr>
            <a:xfrm>
              <a:off x="6916590" y="1759831"/>
              <a:ext cx="16724" cy="14335"/>
            </a:xfrm>
            <a:custGeom>
              <a:avLst/>
              <a:gdLst/>
              <a:ahLst/>
              <a:cxnLst/>
              <a:rect l="l" t="t" r="r" b="b"/>
              <a:pathLst>
                <a:path w="525" h="450" extrusionOk="0">
                  <a:moveTo>
                    <a:pt x="180" y="0"/>
                  </a:moveTo>
                  <a:cubicBezTo>
                    <a:pt x="135" y="0"/>
                    <a:pt x="90" y="15"/>
                    <a:pt x="60" y="45"/>
                  </a:cubicBezTo>
                  <a:cubicBezTo>
                    <a:pt x="1" y="104"/>
                    <a:pt x="1" y="223"/>
                    <a:pt x="60" y="283"/>
                  </a:cubicBezTo>
                  <a:cubicBezTo>
                    <a:pt x="144" y="366"/>
                    <a:pt x="191" y="450"/>
                    <a:pt x="299" y="450"/>
                  </a:cubicBezTo>
                  <a:cubicBezTo>
                    <a:pt x="441" y="450"/>
                    <a:pt x="525" y="271"/>
                    <a:pt x="418" y="164"/>
                  </a:cubicBezTo>
                  <a:lnTo>
                    <a:pt x="299" y="45"/>
                  </a:ln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5" name="Google Shape;10535;p59"/>
            <p:cNvSpPr/>
            <p:nvPr/>
          </p:nvSpPr>
          <p:spPr>
            <a:xfrm>
              <a:off x="6948477" y="1727593"/>
              <a:ext cx="16979" cy="14367"/>
            </a:xfrm>
            <a:custGeom>
              <a:avLst/>
              <a:gdLst/>
              <a:ahLst/>
              <a:cxnLst/>
              <a:rect l="l" t="t" r="r" b="b"/>
              <a:pathLst>
                <a:path w="533" h="451" extrusionOk="0">
                  <a:moveTo>
                    <a:pt x="179" y="0"/>
                  </a:moveTo>
                  <a:cubicBezTo>
                    <a:pt x="134" y="0"/>
                    <a:pt x="89" y="15"/>
                    <a:pt x="60" y="45"/>
                  </a:cubicBezTo>
                  <a:cubicBezTo>
                    <a:pt x="0" y="104"/>
                    <a:pt x="0" y="223"/>
                    <a:pt x="60" y="283"/>
                  </a:cubicBezTo>
                  <a:cubicBezTo>
                    <a:pt x="143" y="366"/>
                    <a:pt x="191" y="450"/>
                    <a:pt x="298" y="450"/>
                  </a:cubicBezTo>
                  <a:cubicBezTo>
                    <a:pt x="302" y="450"/>
                    <a:pt x="306" y="450"/>
                    <a:pt x="310" y="450"/>
                  </a:cubicBezTo>
                  <a:cubicBezTo>
                    <a:pt x="446" y="450"/>
                    <a:pt x="532" y="268"/>
                    <a:pt x="417" y="164"/>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6" name="Google Shape;10536;p59"/>
          <p:cNvGrpSpPr/>
          <p:nvPr/>
        </p:nvGrpSpPr>
        <p:grpSpPr>
          <a:xfrm>
            <a:off x="5746938" y="1543503"/>
            <a:ext cx="387261" cy="280356"/>
            <a:chOff x="5746938" y="1543503"/>
            <a:chExt cx="387261" cy="280356"/>
          </a:xfrm>
        </p:grpSpPr>
        <p:sp>
          <p:nvSpPr>
            <p:cNvPr id="10537" name="Google Shape;10537;p59"/>
            <p:cNvSpPr/>
            <p:nvPr/>
          </p:nvSpPr>
          <p:spPr>
            <a:xfrm>
              <a:off x="5746938" y="1543503"/>
              <a:ext cx="186256" cy="279591"/>
            </a:xfrm>
            <a:custGeom>
              <a:avLst/>
              <a:gdLst/>
              <a:ahLst/>
              <a:cxnLst/>
              <a:rect l="l" t="t" r="r" b="b"/>
              <a:pathLst>
                <a:path w="5847" h="8777" extrusionOk="0">
                  <a:moveTo>
                    <a:pt x="2712" y="1"/>
                  </a:moveTo>
                  <a:cubicBezTo>
                    <a:pt x="2459" y="1"/>
                    <a:pt x="2198" y="57"/>
                    <a:pt x="1941" y="180"/>
                  </a:cubicBezTo>
                  <a:cubicBezTo>
                    <a:pt x="1846" y="228"/>
                    <a:pt x="1822" y="335"/>
                    <a:pt x="1857" y="406"/>
                  </a:cubicBezTo>
                  <a:cubicBezTo>
                    <a:pt x="1889" y="470"/>
                    <a:pt x="1947" y="502"/>
                    <a:pt x="2004" y="502"/>
                  </a:cubicBezTo>
                  <a:cubicBezTo>
                    <a:pt x="2032" y="502"/>
                    <a:pt x="2060" y="494"/>
                    <a:pt x="2084" y="478"/>
                  </a:cubicBezTo>
                  <a:cubicBezTo>
                    <a:pt x="2292" y="377"/>
                    <a:pt x="2506" y="331"/>
                    <a:pt x="2712" y="331"/>
                  </a:cubicBezTo>
                  <a:cubicBezTo>
                    <a:pt x="3746" y="331"/>
                    <a:pt x="4616" y="1478"/>
                    <a:pt x="3882" y="2609"/>
                  </a:cubicBezTo>
                  <a:cubicBezTo>
                    <a:pt x="3751" y="2823"/>
                    <a:pt x="3751" y="3085"/>
                    <a:pt x="3882" y="3312"/>
                  </a:cubicBezTo>
                  <a:cubicBezTo>
                    <a:pt x="3989" y="3490"/>
                    <a:pt x="3989" y="3728"/>
                    <a:pt x="3882" y="3907"/>
                  </a:cubicBezTo>
                  <a:cubicBezTo>
                    <a:pt x="3751" y="4109"/>
                    <a:pt x="3739" y="4383"/>
                    <a:pt x="3905" y="4633"/>
                  </a:cubicBezTo>
                  <a:cubicBezTo>
                    <a:pt x="4108" y="4967"/>
                    <a:pt x="4203" y="5359"/>
                    <a:pt x="4108" y="5752"/>
                  </a:cubicBezTo>
                  <a:cubicBezTo>
                    <a:pt x="3962" y="6482"/>
                    <a:pt x="3341" y="6887"/>
                    <a:pt x="2712" y="6887"/>
                  </a:cubicBezTo>
                  <a:cubicBezTo>
                    <a:pt x="2264" y="6887"/>
                    <a:pt x="1811" y="6682"/>
                    <a:pt x="1524" y="6241"/>
                  </a:cubicBezTo>
                  <a:cubicBezTo>
                    <a:pt x="393" y="4562"/>
                    <a:pt x="357" y="2704"/>
                    <a:pt x="1524" y="954"/>
                  </a:cubicBezTo>
                  <a:cubicBezTo>
                    <a:pt x="1560" y="883"/>
                    <a:pt x="1548" y="776"/>
                    <a:pt x="1476" y="716"/>
                  </a:cubicBezTo>
                  <a:cubicBezTo>
                    <a:pt x="1451" y="703"/>
                    <a:pt x="1421" y="697"/>
                    <a:pt x="1390" y="697"/>
                  </a:cubicBezTo>
                  <a:cubicBezTo>
                    <a:pt x="1334" y="697"/>
                    <a:pt x="1276" y="718"/>
                    <a:pt x="1238" y="764"/>
                  </a:cubicBezTo>
                  <a:cubicBezTo>
                    <a:pt x="48" y="2562"/>
                    <a:pt x="0" y="4562"/>
                    <a:pt x="1238" y="6419"/>
                  </a:cubicBezTo>
                  <a:cubicBezTo>
                    <a:pt x="1594" y="6958"/>
                    <a:pt x="2149" y="7209"/>
                    <a:pt x="2700" y="7209"/>
                  </a:cubicBezTo>
                  <a:cubicBezTo>
                    <a:pt x="3477" y="7209"/>
                    <a:pt x="4246" y="6710"/>
                    <a:pt x="4441" y="5812"/>
                  </a:cubicBezTo>
                  <a:cubicBezTo>
                    <a:pt x="4524" y="5348"/>
                    <a:pt x="4453" y="4871"/>
                    <a:pt x="4167" y="4407"/>
                  </a:cubicBezTo>
                  <a:cubicBezTo>
                    <a:pt x="4108" y="4312"/>
                    <a:pt x="4108" y="4169"/>
                    <a:pt x="4167" y="4074"/>
                  </a:cubicBezTo>
                  <a:cubicBezTo>
                    <a:pt x="4215" y="3990"/>
                    <a:pt x="4239" y="3919"/>
                    <a:pt x="4274" y="3847"/>
                  </a:cubicBezTo>
                  <a:lnTo>
                    <a:pt x="4477" y="3847"/>
                  </a:lnTo>
                  <a:cubicBezTo>
                    <a:pt x="5060" y="3847"/>
                    <a:pt x="5525" y="4312"/>
                    <a:pt x="5525" y="4883"/>
                  </a:cubicBezTo>
                  <a:lnTo>
                    <a:pt x="5525" y="8610"/>
                  </a:lnTo>
                  <a:cubicBezTo>
                    <a:pt x="5525" y="8693"/>
                    <a:pt x="5596" y="8777"/>
                    <a:pt x="5691" y="8777"/>
                  </a:cubicBezTo>
                  <a:cubicBezTo>
                    <a:pt x="5775" y="8777"/>
                    <a:pt x="5846" y="8693"/>
                    <a:pt x="5846" y="8610"/>
                  </a:cubicBezTo>
                  <a:lnTo>
                    <a:pt x="5846" y="4883"/>
                  </a:lnTo>
                  <a:cubicBezTo>
                    <a:pt x="5834" y="4240"/>
                    <a:pt x="5346" y="3681"/>
                    <a:pt x="4703" y="3550"/>
                  </a:cubicBezTo>
                  <a:cubicBezTo>
                    <a:pt x="5120" y="3419"/>
                    <a:pt x="5429" y="2966"/>
                    <a:pt x="5429" y="2454"/>
                  </a:cubicBezTo>
                  <a:lnTo>
                    <a:pt x="5429" y="2228"/>
                  </a:lnTo>
                  <a:cubicBezTo>
                    <a:pt x="5429" y="2133"/>
                    <a:pt x="5358" y="2061"/>
                    <a:pt x="5275" y="2061"/>
                  </a:cubicBezTo>
                  <a:cubicBezTo>
                    <a:pt x="5179" y="2061"/>
                    <a:pt x="5108" y="2133"/>
                    <a:pt x="5108" y="2228"/>
                  </a:cubicBezTo>
                  <a:lnTo>
                    <a:pt x="5108" y="2454"/>
                  </a:lnTo>
                  <a:cubicBezTo>
                    <a:pt x="5108" y="2895"/>
                    <a:pt x="4810" y="3264"/>
                    <a:pt x="4453" y="3264"/>
                  </a:cubicBezTo>
                  <a:lnTo>
                    <a:pt x="4215" y="3264"/>
                  </a:lnTo>
                  <a:cubicBezTo>
                    <a:pt x="4203" y="3228"/>
                    <a:pt x="4179" y="3181"/>
                    <a:pt x="4167" y="3145"/>
                  </a:cubicBezTo>
                  <a:cubicBezTo>
                    <a:pt x="4108" y="3050"/>
                    <a:pt x="4096" y="2907"/>
                    <a:pt x="4167" y="2812"/>
                  </a:cubicBezTo>
                  <a:cubicBezTo>
                    <a:pt x="5052" y="1439"/>
                    <a:pt x="3994" y="1"/>
                    <a:pt x="27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8" name="Google Shape;10538;p59"/>
            <p:cNvSpPr/>
            <p:nvPr/>
          </p:nvSpPr>
          <p:spPr>
            <a:xfrm>
              <a:off x="5949090" y="1543949"/>
              <a:ext cx="185109" cy="279910"/>
            </a:xfrm>
            <a:custGeom>
              <a:avLst/>
              <a:gdLst/>
              <a:ahLst/>
              <a:cxnLst/>
              <a:rect l="l" t="t" r="r" b="b"/>
              <a:pathLst>
                <a:path w="5811" h="8787" extrusionOk="0">
                  <a:moveTo>
                    <a:pt x="3104" y="0"/>
                  </a:moveTo>
                  <a:cubicBezTo>
                    <a:pt x="1830" y="0"/>
                    <a:pt x="786" y="1434"/>
                    <a:pt x="1667" y="2809"/>
                  </a:cubicBezTo>
                  <a:cubicBezTo>
                    <a:pt x="1727" y="2917"/>
                    <a:pt x="1727" y="3048"/>
                    <a:pt x="1667" y="3155"/>
                  </a:cubicBezTo>
                  <a:cubicBezTo>
                    <a:pt x="1643" y="3179"/>
                    <a:pt x="1631" y="3226"/>
                    <a:pt x="1619" y="3274"/>
                  </a:cubicBezTo>
                  <a:lnTo>
                    <a:pt x="1381" y="3274"/>
                  </a:lnTo>
                  <a:cubicBezTo>
                    <a:pt x="1024" y="3274"/>
                    <a:pt x="726" y="2893"/>
                    <a:pt x="726" y="2452"/>
                  </a:cubicBezTo>
                  <a:lnTo>
                    <a:pt x="726" y="2226"/>
                  </a:lnTo>
                  <a:cubicBezTo>
                    <a:pt x="726" y="2143"/>
                    <a:pt x="655" y="2059"/>
                    <a:pt x="560" y="2059"/>
                  </a:cubicBezTo>
                  <a:cubicBezTo>
                    <a:pt x="476" y="2059"/>
                    <a:pt x="393" y="2143"/>
                    <a:pt x="393" y="2226"/>
                  </a:cubicBezTo>
                  <a:lnTo>
                    <a:pt x="393" y="2452"/>
                  </a:lnTo>
                  <a:cubicBezTo>
                    <a:pt x="393" y="2976"/>
                    <a:pt x="714" y="3417"/>
                    <a:pt x="1131" y="3548"/>
                  </a:cubicBezTo>
                  <a:cubicBezTo>
                    <a:pt x="488" y="3667"/>
                    <a:pt x="0" y="4238"/>
                    <a:pt x="0" y="4905"/>
                  </a:cubicBezTo>
                  <a:lnTo>
                    <a:pt x="0" y="8632"/>
                  </a:lnTo>
                  <a:cubicBezTo>
                    <a:pt x="0" y="8715"/>
                    <a:pt x="72" y="8786"/>
                    <a:pt x="155" y="8786"/>
                  </a:cubicBezTo>
                  <a:cubicBezTo>
                    <a:pt x="250" y="8786"/>
                    <a:pt x="322" y="8715"/>
                    <a:pt x="322" y="8632"/>
                  </a:cubicBezTo>
                  <a:lnTo>
                    <a:pt x="322" y="4905"/>
                  </a:lnTo>
                  <a:cubicBezTo>
                    <a:pt x="322" y="4322"/>
                    <a:pt x="786" y="3869"/>
                    <a:pt x="1369" y="3869"/>
                  </a:cubicBezTo>
                  <a:lnTo>
                    <a:pt x="1572" y="3869"/>
                  </a:lnTo>
                  <a:cubicBezTo>
                    <a:pt x="1584" y="3941"/>
                    <a:pt x="1631" y="4024"/>
                    <a:pt x="1679" y="4083"/>
                  </a:cubicBezTo>
                  <a:cubicBezTo>
                    <a:pt x="1738" y="4191"/>
                    <a:pt x="1750" y="4322"/>
                    <a:pt x="1667" y="4464"/>
                  </a:cubicBezTo>
                  <a:cubicBezTo>
                    <a:pt x="893" y="5631"/>
                    <a:pt x="1679" y="7227"/>
                    <a:pt x="3120" y="7227"/>
                  </a:cubicBezTo>
                  <a:cubicBezTo>
                    <a:pt x="3715" y="7227"/>
                    <a:pt x="4263" y="6929"/>
                    <a:pt x="4596" y="6441"/>
                  </a:cubicBezTo>
                  <a:cubicBezTo>
                    <a:pt x="5787" y="4643"/>
                    <a:pt x="5810" y="2643"/>
                    <a:pt x="4584" y="785"/>
                  </a:cubicBezTo>
                  <a:cubicBezTo>
                    <a:pt x="4553" y="739"/>
                    <a:pt x="4497" y="708"/>
                    <a:pt x="4439" y="708"/>
                  </a:cubicBezTo>
                  <a:cubicBezTo>
                    <a:pt x="4407" y="708"/>
                    <a:pt x="4375" y="717"/>
                    <a:pt x="4346" y="738"/>
                  </a:cubicBezTo>
                  <a:cubicBezTo>
                    <a:pt x="4263" y="785"/>
                    <a:pt x="4239" y="881"/>
                    <a:pt x="4298" y="976"/>
                  </a:cubicBezTo>
                  <a:cubicBezTo>
                    <a:pt x="5429" y="2667"/>
                    <a:pt x="5441" y="4524"/>
                    <a:pt x="4298" y="6262"/>
                  </a:cubicBezTo>
                  <a:cubicBezTo>
                    <a:pt x="4024" y="6667"/>
                    <a:pt x="3584" y="6905"/>
                    <a:pt x="3108" y="6905"/>
                  </a:cubicBezTo>
                  <a:cubicBezTo>
                    <a:pt x="1988" y="6905"/>
                    <a:pt x="1274" y="5667"/>
                    <a:pt x="1941" y="4619"/>
                  </a:cubicBezTo>
                  <a:cubicBezTo>
                    <a:pt x="2084" y="4417"/>
                    <a:pt x="2084" y="4131"/>
                    <a:pt x="1941" y="3905"/>
                  </a:cubicBezTo>
                  <a:cubicBezTo>
                    <a:pt x="1846" y="3726"/>
                    <a:pt x="1846" y="3488"/>
                    <a:pt x="1941" y="3310"/>
                  </a:cubicBezTo>
                  <a:cubicBezTo>
                    <a:pt x="2084" y="3095"/>
                    <a:pt x="2084" y="2821"/>
                    <a:pt x="1941" y="2619"/>
                  </a:cubicBezTo>
                  <a:cubicBezTo>
                    <a:pt x="1229" y="1492"/>
                    <a:pt x="2069" y="332"/>
                    <a:pt x="3103" y="332"/>
                  </a:cubicBezTo>
                  <a:cubicBezTo>
                    <a:pt x="3315" y="332"/>
                    <a:pt x="3534" y="381"/>
                    <a:pt x="3751" y="488"/>
                  </a:cubicBezTo>
                  <a:cubicBezTo>
                    <a:pt x="3774" y="501"/>
                    <a:pt x="3798" y="507"/>
                    <a:pt x="3822" y="507"/>
                  </a:cubicBezTo>
                  <a:cubicBezTo>
                    <a:pt x="3882" y="507"/>
                    <a:pt x="3939" y="468"/>
                    <a:pt x="3965" y="416"/>
                  </a:cubicBezTo>
                  <a:cubicBezTo>
                    <a:pt x="4013" y="321"/>
                    <a:pt x="3965" y="238"/>
                    <a:pt x="3893" y="190"/>
                  </a:cubicBezTo>
                  <a:cubicBezTo>
                    <a:pt x="3630" y="59"/>
                    <a:pt x="3362" y="0"/>
                    <a:pt x="31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39" name="Google Shape;10539;p59"/>
          <p:cNvGrpSpPr/>
          <p:nvPr/>
        </p:nvGrpSpPr>
        <p:grpSpPr>
          <a:xfrm>
            <a:off x="6196730" y="1525346"/>
            <a:ext cx="369072" cy="317467"/>
            <a:chOff x="6196730" y="1525346"/>
            <a:chExt cx="369072" cy="317467"/>
          </a:xfrm>
        </p:grpSpPr>
        <p:sp>
          <p:nvSpPr>
            <p:cNvPr id="10540" name="Google Shape;10540;p59"/>
            <p:cNvSpPr/>
            <p:nvPr/>
          </p:nvSpPr>
          <p:spPr>
            <a:xfrm>
              <a:off x="6285478" y="1697140"/>
              <a:ext cx="193870" cy="145673"/>
            </a:xfrm>
            <a:custGeom>
              <a:avLst/>
              <a:gdLst/>
              <a:ahLst/>
              <a:cxnLst/>
              <a:rect l="l" t="t" r="r" b="b"/>
              <a:pathLst>
                <a:path w="6086" h="4573" extrusionOk="0">
                  <a:moveTo>
                    <a:pt x="2972" y="1"/>
                  </a:moveTo>
                  <a:cubicBezTo>
                    <a:pt x="2790" y="1"/>
                    <a:pt x="2608" y="72"/>
                    <a:pt x="2477" y="215"/>
                  </a:cubicBezTo>
                  <a:cubicBezTo>
                    <a:pt x="1580" y="1144"/>
                    <a:pt x="674" y="1192"/>
                    <a:pt x="471" y="1192"/>
                  </a:cubicBezTo>
                  <a:cubicBezTo>
                    <a:pt x="447" y="1192"/>
                    <a:pt x="433" y="1191"/>
                    <a:pt x="430" y="1191"/>
                  </a:cubicBezTo>
                  <a:cubicBezTo>
                    <a:pt x="346" y="1191"/>
                    <a:pt x="275" y="1275"/>
                    <a:pt x="275" y="1358"/>
                  </a:cubicBezTo>
                  <a:cubicBezTo>
                    <a:pt x="275" y="1453"/>
                    <a:pt x="346" y="1525"/>
                    <a:pt x="430" y="1525"/>
                  </a:cubicBezTo>
                  <a:cubicBezTo>
                    <a:pt x="430" y="1525"/>
                    <a:pt x="608" y="1525"/>
                    <a:pt x="846" y="1501"/>
                  </a:cubicBezTo>
                  <a:lnTo>
                    <a:pt x="846" y="1501"/>
                  </a:lnTo>
                  <a:cubicBezTo>
                    <a:pt x="822" y="1691"/>
                    <a:pt x="751" y="1953"/>
                    <a:pt x="465" y="2037"/>
                  </a:cubicBezTo>
                  <a:cubicBezTo>
                    <a:pt x="268" y="2070"/>
                    <a:pt x="303" y="2365"/>
                    <a:pt x="486" y="2365"/>
                  </a:cubicBezTo>
                  <a:cubicBezTo>
                    <a:pt x="502" y="2365"/>
                    <a:pt x="519" y="2363"/>
                    <a:pt x="537" y="2358"/>
                  </a:cubicBezTo>
                  <a:cubicBezTo>
                    <a:pt x="1025" y="2239"/>
                    <a:pt x="1180" y="1751"/>
                    <a:pt x="1203" y="1418"/>
                  </a:cubicBezTo>
                  <a:cubicBezTo>
                    <a:pt x="1346" y="1382"/>
                    <a:pt x="1489" y="1334"/>
                    <a:pt x="1620" y="1275"/>
                  </a:cubicBezTo>
                  <a:cubicBezTo>
                    <a:pt x="1620" y="1275"/>
                    <a:pt x="1906" y="1120"/>
                    <a:pt x="1954" y="1096"/>
                  </a:cubicBezTo>
                  <a:cubicBezTo>
                    <a:pt x="2044" y="2566"/>
                    <a:pt x="2059" y="2743"/>
                    <a:pt x="2061" y="2760"/>
                  </a:cubicBezTo>
                  <a:lnTo>
                    <a:pt x="2061" y="2760"/>
                  </a:lnTo>
                  <a:cubicBezTo>
                    <a:pt x="2061" y="2760"/>
                    <a:pt x="2061" y="2761"/>
                    <a:pt x="2061" y="2763"/>
                  </a:cubicBezTo>
                  <a:cubicBezTo>
                    <a:pt x="2120" y="3549"/>
                    <a:pt x="1501" y="4239"/>
                    <a:pt x="703" y="4239"/>
                  </a:cubicBezTo>
                  <a:lnTo>
                    <a:pt x="168" y="4239"/>
                  </a:lnTo>
                  <a:cubicBezTo>
                    <a:pt x="72" y="4239"/>
                    <a:pt x="1" y="4311"/>
                    <a:pt x="1" y="4394"/>
                  </a:cubicBezTo>
                  <a:cubicBezTo>
                    <a:pt x="1" y="4489"/>
                    <a:pt x="72" y="4561"/>
                    <a:pt x="168" y="4561"/>
                  </a:cubicBezTo>
                  <a:lnTo>
                    <a:pt x="703" y="4561"/>
                  </a:lnTo>
                  <a:cubicBezTo>
                    <a:pt x="1680" y="4561"/>
                    <a:pt x="2477" y="3715"/>
                    <a:pt x="2394" y="2727"/>
                  </a:cubicBezTo>
                  <a:lnTo>
                    <a:pt x="2275" y="858"/>
                  </a:lnTo>
                  <a:cubicBezTo>
                    <a:pt x="2442" y="739"/>
                    <a:pt x="2597" y="608"/>
                    <a:pt x="2739" y="441"/>
                  </a:cubicBezTo>
                  <a:cubicBezTo>
                    <a:pt x="2799" y="370"/>
                    <a:pt x="2906" y="334"/>
                    <a:pt x="2989" y="334"/>
                  </a:cubicBezTo>
                  <a:cubicBezTo>
                    <a:pt x="3228" y="334"/>
                    <a:pt x="3216" y="489"/>
                    <a:pt x="3740" y="882"/>
                  </a:cubicBezTo>
                  <a:lnTo>
                    <a:pt x="3620" y="2751"/>
                  </a:lnTo>
                  <a:cubicBezTo>
                    <a:pt x="3573" y="3215"/>
                    <a:pt x="3740" y="3680"/>
                    <a:pt x="4061" y="4025"/>
                  </a:cubicBezTo>
                  <a:cubicBezTo>
                    <a:pt x="4382" y="4370"/>
                    <a:pt x="4835" y="4573"/>
                    <a:pt x="5311" y="4573"/>
                  </a:cubicBezTo>
                  <a:lnTo>
                    <a:pt x="5930" y="4573"/>
                  </a:lnTo>
                  <a:cubicBezTo>
                    <a:pt x="6014" y="4573"/>
                    <a:pt x="6085" y="4501"/>
                    <a:pt x="6085" y="4406"/>
                  </a:cubicBezTo>
                  <a:cubicBezTo>
                    <a:pt x="6049" y="4311"/>
                    <a:pt x="5966" y="4239"/>
                    <a:pt x="5883" y="4239"/>
                  </a:cubicBezTo>
                  <a:lnTo>
                    <a:pt x="5275" y="4239"/>
                  </a:lnTo>
                  <a:cubicBezTo>
                    <a:pt x="4883" y="4239"/>
                    <a:pt x="4525" y="4085"/>
                    <a:pt x="4275" y="3799"/>
                  </a:cubicBezTo>
                  <a:cubicBezTo>
                    <a:pt x="4025" y="3537"/>
                    <a:pt x="3906" y="3192"/>
                    <a:pt x="3918" y="2763"/>
                  </a:cubicBezTo>
                  <a:lnTo>
                    <a:pt x="4025" y="1108"/>
                  </a:lnTo>
                  <a:lnTo>
                    <a:pt x="4204" y="1203"/>
                  </a:lnTo>
                  <a:cubicBezTo>
                    <a:pt x="4335" y="1275"/>
                    <a:pt x="4478" y="1346"/>
                    <a:pt x="4716" y="1406"/>
                  </a:cubicBezTo>
                  <a:cubicBezTo>
                    <a:pt x="4740" y="1727"/>
                    <a:pt x="4883" y="2239"/>
                    <a:pt x="5394" y="2346"/>
                  </a:cubicBezTo>
                  <a:cubicBezTo>
                    <a:pt x="5409" y="2349"/>
                    <a:pt x="5422" y="2351"/>
                    <a:pt x="5435" y="2351"/>
                  </a:cubicBezTo>
                  <a:cubicBezTo>
                    <a:pt x="5616" y="2351"/>
                    <a:pt x="5655" y="2057"/>
                    <a:pt x="5466" y="2013"/>
                  </a:cubicBezTo>
                  <a:cubicBezTo>
                    <a:pt x="5180" y="1953"/>
                    <a:pt x="5097" y="1679"/>
                    <a:pt x="5073" y="1477"/>
                  </a:cubicBezTo>
                  <a:lnTo>
                    <a:pt x="5073" y="1477"/>
                  </a:lnTo>
                  <a:cubicBezTo>
                    <a:pt x="5311" y="1525"/>
                    <a:pt x="5514" y="1525"/>
                    <a:pt x="5514" y="1525"/>
                  </a:cubicBezTo>
                  <a:cubicBezTo>
                    <a:pt x="5597" y="1525"/>
                    <a:pt x="5668" y="1453"/>
                    <a:pt x="5668" y="1358"/>
                  </a:cubicBezTo>
                  <a:cubicBezTo>
                    <a:pt x="5668" y="1275"/>
                    <a:pt x="5597" y="1191"/>
                    <a:pt x="5514" y="1191"/>
                  </a:cubicBezTo>
                  <a:cubicBezTo>
                    <a:pt x="4752" y="1179"/>
                    <a:pt x="4025" y="798"/>
                    <a:pt x="3466" y="215"/>
                  </a:cubicBezTo>
                  <a:cubicBezTo>
                    <a:pt x="3335" y="72"/>
                    <a:pt x="3153" y="1"/>
                    <a:pt x="29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1" name="Google Shape;10541;p59"/>
            <p:cNvSpPr/>
            <p:nvPr/>
          </p:nvSpPr>
          <p:spPr>
            <a:xfrm>
              <a:off x="6391301" y="1525346"/>
              <a:ext cx="174502" cy="317467"/>
            </a:xfrm>
            <a:custGeom>
              <a:avLst/>
              <a:gdLst/>
              <a:ahLst/>
              <a:cxnLst/>
              <a:rect l="l" t="t" r="r" b="b"/>
              <a:pathLst>
                <a:path w="5478" h="9966" extrusionOk="0">
                  <a:moveTo>
                    <a:pt x="156" y="0"/>
                  </a:moveTo>
                  <a:cubicBezTo>
                    <a:pt x="72" y="0"/>
                    <a:pt x="1" y="72"/>
                    <a:pt x="1" y="167"/>
                  </a:cubicBezTo>
                  <a:lnTo>
                    <a:pt x="1" y="3941"/>
                  </a:lnTo>
                  <a:cubicBezTo>
                    <a:pt x="1" y="4120"/>
                    <a:pt x="37" y="4310"/>
                    <a:pt x="144" y="4465"/>
                  </a:cubicBezTo>
                  <a:cubicBezTo>
                    <a:pt x="263" y="4656"/>
                    <a:pt x="441" y="4894"/>
                    <a:pt x="560" y="5025"/>
                  </a:cubicBezTo>
                  <a:cubicBezTo>
                    <a:pt x="822" y="5322"/>
                    <a:pt x="1072" y="5501"/>
                    <a:pt x="1322" y="5656"/>
                  </a:cubicBezTo>
                  <a:cubicBezTo>
                    <a:pt x="1334" y="5656"/>
                    <a:pt x="1334" y="5668"/>
                    <a:pt x="1346" y="5668"/>
                  </a:cubicBezTo>
                  <a:cubicBezTo>
                    <a:pt x="1346" y="5668"/>
                    <a:pt x="1394" y="5679"/>
                    <a:pt x="1418" y="5703"/>
                  </a:cubicBezTo>
                  <a:cubicBezTo>
                    <a:pt x="1644" y="5822"/>
                    <a:pt x="1965" y="5906"/>
                    <a:pt x="2227" y="5906"/>
                  </a:cubicBezTo>
                  <a:cubicBezTo>
                    <a:pt x="2263" y="5906"/>
                    <a:pt x="2275" y="5894"/>
                    <a:pt x="2287" y="5882"/>
                  </a:cubicBezTo>
                  <a:cubicBezTo>
                    <a:pt x="2311" y="5882"/>
                    <a:pt x="2334" y="5882"/>
                    <a:pt x="2346" y="5858"/>
                  </a:cubicBezTo>
                  <a:cubicBezTo>
                    <a:pt x="2453" y="5763"/>
                    <a:pt x="2382" y="5584"/>
                    <a:pt x="2227" y="5584"/>
                  </a:cubicBezTo>
                  <a:cubicBezTo>
                    <a:pt x="2156" y="5584"/>
                    <a:pt x="2072" y="5560"/>
                    <a:pt x="1989" y="5548"/>
                  </a:cubicBezTo>
                  <a:cubicBezTo>
                    <a:pt x="2144" y="5441"/>
                    <a:pt x="2311" y="5263"/>
                    <a:pt x="2382" y="4989"/>
                  </a:cubicBezTo>
                  <a:cubicBezTo>
                    <a:pt x="2406" y="4894"/>
                    <a:pt x="2346" y="4810"/>
                    <a:pt x="2263" y="4775"/>
                  </a:cubicBezTo>
                  <a:cubicBezTo>
                    <a:pt x="2249" y="4771"/>
                    <a:pt x="2234" y="4769"/>
                    <a:pt x="2221" y="4769"/>
                  </a:cubicBezTo>
                  <a:cubicBezTo>
                    <a:pt x="2144" y="4769"/>
                    <a:pt x="2079" y="4823"/>
                    <a:pt x="2049" y="4894"/>
                  </a:cubicBezTo>
                  <a:cubicBezTo>
                    <a:pt x="1953" y="5310"/>
                    <a:pt x="1608" y="5370"/>
                    <a:pt x="1513" y="5382"/>
                  </a:cubicBezTo>
                  <a:cubicBezTo>
                    <a:pt x="1275" y="5251"/>
                    <a:pt x="1060" y="5072"/>
                    <a:pt x="882" y="4882"/>
                  </a:cubicBezTo>
                  <a:lnTo>
                    <a:pt x="941" y="4072"/>
                  </a:lnTo>
                  <a:cubicBezTo>
                    <a:pt x="977" y="3584"/>
                    <a:pt x="1846" y="3167"/>
                    <a:pt x="2382" y="3167"/>
                  </a:cubicBezTo>
                  <a:cubicBezTo>
                    <a:pt x="2573" y="3167"/>
                    <a:pt x="2763" y="3227"/>
                    <a:pt x="2930" y="3334"/>
                  </a:cubicBezTo>
                  <a:cubicBezTo>
                    <a:pt x="4430" y="4334"/>
                    <a:pt x="4763" y="6739"/>
                    <a:pt x="5109" y="9299"/>
                  </a:cubicBezTo>
                  <a:lnTo>
                    <a:pt x="5109" y="9347"/>
                  </a:lnTo>
                  <a:cubicBezTo>
                    <a:pt x="5120" y="9418"/>
                    <a:pt x="5085" y="9489"/>
                    <a:pt x="5049" y="9549"/>
                  </a:cubicBezTo>
                  <a:cubicBezTo>
                    <a:pt x="5001" y="9608"/>
                    <a:pt x="4930" y="9644"/>
                    <a:pt x="4847" y="9644"/>
                  </a:cubicBezTo>
                  <a:lnTo>
                    <a:pt x="3346" y="9644"/>
                  </a:lnTo>
                  <a:cubicBezTo>
                    <a:pt x="3263" y="9644"/>
                    <a:pt x="3180" y="9716"/>
                    <a:pt x="3180" y="9811"/>
                  </a:cubicBezTo>
                  <a:cubicBezTo>
                    <a:pt x="3180" y="9894"/>
                    <a:pt x="3263" y="9966"/>
                    <a:pt x="3346" y="9966"/>
                  </a:cubicBezTo>
                  <a:lnTo>
                    <a:pt x="4847" y="9966"/>
                  </a:lnTo>
                  <a:cubicBezTo>
                    <a:pt x="5025" y="9966"/>
                    <a:pt x="5192" y="9894"/>
                    <a:pt x="5311" y="9763"/>
                  </a:cubicBezTo>
                  <a:cubicBezTo>
                    <a:pt x="5430" y="9632"/>
                    <a:pt x="5478" y="9454"/>
                    <a:pt x="5466" y="9287"/>
                  </a:cubicBezTo>
                  <a:lnTo>
                    <a:pt x="5382" y="9239"/>
                  </a:lnTo>
                  <a:cubicBezTo>
                    <a:pt x="5025" y="6608"/>
                    <a:pt x="4704" y="4120"/>
                    <a:pt x="3061" y="3036"/>
                  </a:cubicBezTo>
                  <a:cubicBezTo>
                    <a:pt x="2846" y="2881"/>
                    <a:pt x="2584" y="2810"/>
                    <a:pt x="2334" y="2810"/>
                  </a:cubicBezTo>
                  <a:cubicBezTo>
                    <a:pt x="1668" y="2810"/>
                    <a:pt x="620" y="3322"/>
                    <a:pt x="560" y="4036"/>
                  </a:cubicBezTo>
                  <a:lnTo>
                    <a:pt x="537" y="4477"/>
                  </a:lnTo>
                  <a:cubicBezTo>
                    <a:pt x="418" y="4298"/>
                    <a:pt x="322" y="4167"/>
                    <a:pt x="322" y="3953"/>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2" name="Google Shape;10542;p59"/>
            <p:cNvSpPr/>
            <p:nvPr/>
          </p:nvSpPr>
          <p:spPr>
            <a:xfrm>
              <a:off x="6196730" y="1525346"/>
              <a:ext cx="172622" cy="317467"/>
            </a:xfrm>
            <a:custGeom>
              <a:avLst/>
              <a:gdLst/>
              <a:ahLst/>
              <a:cxnLst/>
              <a:rect l="l" t="t" r="r" b="b"/>
              <a:pathLst>
                <a:path w="5419" h="9966" extrusionOk="0">
                  <a:moveTo>
                    <a:pt x="5252" y="0"/>
                  </a:moveTo>
                  <a:cubicBezTo>
                    <a:pt x="5168" y="0"/>
                    <a:pt x="5097" y="72"/>
                    <a:pt x="5097" y="155"/>
                  </a:cubicBezTo>
                  <a:lnTo>
                    <a:pt x="5097" y="3953"/>
                  </a:lnTo>
                  <a:cubicBezTo>
                    <a:pt x="5097" y="4227"/>
                    <a:pt x="4942" y="4370"/>
                    <a:pt x="4906" y="4429"/>
                  </a:cubicBezTo>
                  <a:lnTo>
                    <a:pt x="4871" y="4024"/>
                  </a:lnTo>
                  <a:cubicBezTo>
                    <a:pt x="4811" y="3310"/>
                    <a:pt x="3763" y="2810"/>
                    <a:pt x="3097" y="2810"/>
                  </a:cubicBezTo>
                  <a:cubicBezTo>
                    <a:pt x="2835" y="2810"/>
                    <a:pt x="2573" y="2881"/>
                    <a:pt x="2370" y="3036"/>
                  </a:cubicBezTo>
                  <a:cubicBezTo>
                    <a:pt x="632" y="4179"/>
                    <a:pt x="346" y="7037"/>
                    <a:pt x="49" y="9287"/>
                  </a:cubicBezTo>
                  <a:cubicBezTo>
                    <a:pt x="1" y="9644"/>
                    <a:pt x="287" y="9966"/>
                    <a:pt x="644" y="9966"/>
                  </a:cubicBezTo>
                  <a:lnTo>
                    <a:pt x="1977" y="9966"/>
                  </a:lnTo>
                  <a:cubicBezTo>
                    <a:pt x="2073" y="9966"/>
                    <a:pt x="2144" y="9894"/>
                    <a:pt x="2144" y="9799"/>
                  </a:cubicBezTo>
                  <a:cubicBezTo>
                    <a:pt x="2144" y="9716"/>
                    <a:pt x="2073" y="9644"/>
                    <a:pt x="1977" y="9644"/>
                  </a:cubicBezTo>
                  <a:lnTo>
                    <a:pt x="644" y="9644"/>
                  </a:lnTo>
                  <a:cubicBezTo>
                    <a:pt x="572" y="9644"/>
                    <a:pt x="489" y="9608"/>
                    <a:pt x="453" y="9549"/>
                  </a:cubicBezTo>
                  <a:cubicBezTo>
                    <a:pt x="346" y="9442"/>
                    <a:pt x="394" y="9311"/>
                    <a:pt x="394" y="9299"/>
                  </a:cubicBezTo>
                  <a:cubicBezTo>
                    <a:pt x="691" y="6727"/>
                    <a:pt x="1013" y="4310"/>
                    <a:pt x="2525" y="3322"/>
                  </a:cubicBezTo>
                  <a:cubicBezTo>
                    <a:pt x="2680" y="3215"/>
                    <a:pt x="2858" y="3155"/>
                    <a:pt x="3073" y="3155"/>
                  </a:cubicBezTo>
                  <a:cubicBezTo>
                    <a:pt x="3597" y="3155"/>
                    <a:pt x="4466" y="3572"/>
                    <a:pt x="4513" y="4060"/>
                  </a:cubicBezTo>
                  <a:lnTo>
                    <a:pt x="4573" y="4846"/>
                  </a:lnTo>
                  <a:lnTo>
                    <a:pt x="4394" y="5025"/>
                  </a:lnTo>
                  <a:cubicBezTo>
                    <a:pt x="4251" y="5167"/>
                    <a:pt x="4323" y="5132"/>
                    <a:pt x="4049" y="5310"/>
                  </a:cubicBezTo>
                  <a:lnTo>
                    <a:pt x="3918" y="5406"/>
                  </a:lnTo>
                  <a:cubicBezTo>
                    <a:pt x="3859" y="5406"/>
                    <a:pt x="3489" y="5346"/>
                    <a:pt x="3370" y="4906"/>
                  </a:cubicBezTo>
                  <a:cubicBezTo>
                    <a:pt x="3340" y="4835"/>
                    <a:pt x="3275" y="4781"/>
                    <a:pt x="3198" y="4781"/>
                  </a:cubicBezTo>
                  <a:cubicBezTo>
                    <a:pt x="3185" y="4781"/>
                    <a:pt x="3170" y="4783"/>
                    <a:pt x="3156" y="4786"/>
                  </a:cubicBezTo>
                  <a:cubicBezTo>
                    <a:pt x="3073" y="4822"/>
                    <a:pt x="3013" y="4906"/>
                    <a:pt x="3037" y="5001"/>
                  </a:cubicBezTo>
                  <a:cubicBezTo>
                    <a:pt x="3120" y="5275"/>
                    <a:pt x="3275" y="5465"/>
                    <a:pt x="3430" y="5560"/>
                  </a:cubicBezTo>
                  <a:cubicBezTo>
                    <a:pt x="3358" y="5584"/>
                    <a:pt x="3275" y="5596"/>
                    <a:pt x="3204" y="5596"/>
                  </a:cubicBezTo>
                  <a:cubicBezTo>
                    <a:pt x="3061" y="5596"/>
                    <a:pt x="2977" y="5775"/>
                    <a:pt x="3085" y="5870"/>
                  </a:cubicBezTo>
                  <a:cubicBezTo>
                    <a:pt x="3097" y="5894"/>
                    <a:pt x="3120" y="5894"/>
                    <a:pt x="3132" y="5894"/>
                  </a:cubicBezTo>
                  <a:cubicBezTo>
                    <a:pt x="3156" y="5906"/>
                    <a:pt x="3168" y="5918"/>
                    <a:pt x="3204" y="5918"/>
                  </a:cubicBezTo>
                  <a:cubicBezTo>
                    <a:pt x="3454" y="5918"/>
                    <a:pt x="3859" y="5799"/>
                    <a:pt x="4061" y="5691"/>
                  </a:cubicBezTo>
                  <a:cubicBezTo>
                    <a:pt x="4573" y="5429"/>
                    <a:pt x="5002" y="4917"/>
                    <a:pt x="5275" y="4477"/>
                  </a:cubicBezTo>
                  <a:cubicBezTo>
                    <a:pt x="5359" y="4322"/>
                    <a:pt x="5418" y="4132"/>
                    <a:pt x="5418" y="3953"/>
                  </a:cubicBezTo>
                  <a:lnTo>
                    <a:pt x="5418" y="155"/>
                  </a:lnTo>
                  <a:cubicBezTo>
                    <a:pt x="5418" y="72"/>
                    <a:pt x="5347" y="0"/>
                    <a:pt x="52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3" name="Google Shape;10543;p59"/>
          <p:cNvGrpSpPr/>
          <p:nvPr/>
        </p:nvGrpSpPr>
        <p:grpSpPr>
          <a:xfrm>
            <a:off x="4940592" y="1500690"/>
            <a:ext cx="246558" cy="367161"/>
            <a:chOff x="4940592" y="1500690"/>
            <a:chExt cx="246558" cy="367161"/>
          </a:xfrm>
        </p:grpSpPr>
        <p:sp>
          <p:nvSpPr>
            <p:cNvPr id="10544" name="Google Shape;10544;p59"/>
            <p:cNvSpPr/>
            <p:nvPr/>
          </p:nvSpPr>
          <p:spPr>
            <a:xfrm>
              <a:off x="4961075" y="1766934"/>
              <a:ext cx="44024" cy="74732"/>
            </a:xfrm>
            <a:custGeom>
              <a:avLst/>
              <a:gdLst/>
              <a:ahLst/>
              <a:cxnLst/>
              <a:rect l="l" t="t" r="r" b="b"/>
              <a:pathLst>
                <a:path w="1382" h="2346" extrusionOk="0">
                  <a:moveTo>
                    <a:pt x="679" y="334"/>
                  </a:moveTo>
                  <a:cubicBezTo>
                    <a:pt x="869" y="334"/>
                    <a:pt x="1036" y="501"/>
                    <a:pt x="1036" y="691"/>
                  </a:cubicBezTo>
                  <a:lnTo>
                    <a:pt x="1036" y="1655"/>
                  </a:lnTo>
                  <a:cubicBezTo>
                    <a:pt x="1036" y="1846"/>
                    <a:pt x="869" y="2013"/>
                    <a:pt x="679" y="2013"/>
                  </a:cubicBezTo>
                  <a:cubicBezTo>
                    <a:pt x="488" y="2013"/>
                    <a:pt x="322" y="1846"/>
                    <a:pt x="322" y="1655"/>
                  </a:cubicBezTo>
                  <a:lnTo>
                    <a:pt x="322" y="691"/>
                  </a:lnTo>
                  <a:cubicBezTo>
                    <a:pt x="322" y="501"/>
                    <a:pt x="488" y="334"/>
                    <a:pt x="679" y="334"/>
                  </a:cubicBezTo>
                  <a:close/>
                  <a:moveTo>
                    <a:pt x="679" y="0"/>
                  </a:moveTo>
                  <a:cubicBezTo>
                    <a:pt x="298" y="0"/>
                    <a:pt x="0" y="322"/>
                    <a:pt x="0" y="691"/>
                  </a:cubicBezTo>
                  <a:lnTo>
                    <a:pt x="0" y="1655"/>
                  </a:lnTo>
                  <a:cubicBezTo>
                    <a:pt x="0" y="2048"/>
                    <a:pt x="310" y="2346"/>
                    <a:pt x="679" y="2346"/>
                  </a:cubicBezTo>
                  <a:cubicBezTo>
                    <a:pt x="1048" y="2346"/>
                    <a:pt x="1358" y="2024"/>
                    <a:pt x="1358" y="1655"/>
                  </a:cubicBezTo>
                  <a:lnTo>
                    <a:pt x="1358" y="691"/>
                  </a:lnTo>
                  <a:cubicBezTo>
                    <a:pt x="1381" y="322"/>
                    <a:pt x="1072"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5" name="Google Shape;10545;p59"/>
            <p:cNvSpPr/>
            <p:nvPr/>
          </p:nvSpPr>
          <p:spPr>
            <a:xfrm>
              <a:off x="5009240" y="1623937"/>
              <a:ext cx="37207" cy="36824"/>
            </a:xfrm>
            <a:custGeom>
              <a:avLst/>
              <a:gdLst/>
              <a:ahLst/>
              <a:cxnLst/>
              <a:rect l="l" t="t" r="r" b="b"/>
              <a:pathLst>
                <a:path w="1168" h="1156" extrusionOk="0">
                  <a:moveTo>
                    <a:pt x="584" y="334"/>
                  </a:moveTo>
                  <a:cubicBezTo>
                    <a:pt x="715" y="334"/>
                    <a:pt x="822" y="441"/>
                    <a:pt x="822" y="584"/>
                  </a:cubicBezTo>
                  <a:cubicBezTo>
                    <a:pt x="822" y="715"/>
                    <a:pt x="715" y="822"/>
                    <a:pt x="584" y="822"/>
                  </a:cubicBezTo>
                  <a:cubicBezTo>
                    <a:pt x="441" y="822"/>
                    <a:pt x="346" y="715"/>
                    <a:pt x="346" y="584"/>
                  </a:cubicBezTo>
                  <a:cubicBezTo>
                    <a:pt x="346" y="441"/>
                    <a:pt x="453" y="334"/>
                    <a:pt x="584" y="334"/>
                  </a:cubicBezTo>
                  <a:close/>
                  <a:moveTo>
                    <a:pt x="584" y="1"/>
                  </a:moveTo>
                  <a:cubicBezTo>
                    <a:pt x="274" y="1"/>
                    <a:pt x="0" y="251"/>
                    <a:pt x="0" y="584"/>
                  </a:cubicBezTo>
                  <a:cubicBezTo>
                    <a:pt x="0" y="906"/>
                    <a:pt x="250" y="1156"/>
                    <a:pt x="584" y="1156"/>
                  </a:cubicBezTo>
                  <a:cubicBezTo>
                    <a:pt x="893" y="1156"/>
                    <a:pt x="1167" y="906"/>
                    <a:pt x="1167" y="584"/>
                  </a:cubicBezTo>
                  <a:cubicBezTo>
                    <a:pt x="1167" y="251"/>
                    <a:pt x="893"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6" name="Google Shape;10546;p59"/>
            <p:cNvSpPr/>
            <p:nvPr/>
          </p:nvSpPr>
          <p:spPr>
            <a:xfrm>
              <a:off x="5110125" y="1785123"/>
              <a:ext cx="50458" cy="50108"/>
            </a:xfrm>
            <a:custGeom>
              <a:avLst/>
              <a:gdLst/>
              <a:ahLst/>
              <a:cxnLst/>
              <a:rect l="l" t="t" r="r" b="b"/>
              <a:pathLst>
                <a:path w="1584" h="1573" extrusionOk="0">
                  <a:moveTo>
                    <a:pt x="798" y="322"/>
                  </a:moveTo>
                  <a:cubicBezTo>
                    <a:pt x="1048" y="322"/>
                    <a:pt x="1239" y="537"/>
                    <a:pt x="1239" y="775"/>
                  </a:cubicBezTo>
                  <a:cubicBezTo>
                    <a:pt x="1239" y="1025"/>
                    <a:pt x="1024" y="1215"/>
                    <a:pt x="798" y="1215"/>
                  </a:cubicBezTo>
                  <a:cubicBezTo>
                    <a:pt x="560" y="1215"/>
                    <a:pt x="346" y="1013"/>
                    <a:pt x="346" y="775"/>
                  </a:cubicBezTo>
                  <a:cubicBezTo>
                    <a:pt x="346" y="537"/>
                    <a:pt x="536" y="322"/>
                    <a:pt x="798" y="322"/>
                  </a:cubicBezTo>
                  <a:close/>
                  <a:moveTo>
                    <a:pt x="798" y="1"/>
                  </a:moveTo>
                  <a:cubicBezTo>
                    <a:pt x="358" y="1"/>
                    <a:pt x="0" y="358"/>
                    <a:pt x="0" y="787"/>
                  </a:cubicBezTo>
                  <a:cubicBezTo>
                    <a:pt x="0" y="1215"/>
                    <a:pt x="358" y="1573"/>
                    <a:pt x="798" y="1573"/>
                  </a:cubicBezTo>
                  <a:cubicBezTo>
                    <a:pt x="1227" y="1573"/>
                    <a:pt x="1584" y="1215"/>
                    <a:pt x="1584" y="787"/>
                  </a:cubicBezTo>
                  <a:cubicBezTo>
                    <a:pt x="1584" y="358"/>
                    <a:pt x="1227"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7" name="Google Shape;10547;p59"/>
            <p:cNvSpPr/>
            <p:nvPr/>
          </p:nvSpPr>
          <p:spPr>
            <a:xfrm>
              <a:off x="4940592" y="1500690"/>
              <a:ext cx="246558" cy="367161"/>
            </a:xfrm>
            <a:custGeom>
              <a:avLst/>
              <a:gdLst/>
              <a:ahLst/>
              <a:cxnLst/>
              <a:rect l="l" t="t" r="r" b="b"/>
              <a:pathLst>
                <a:path w="7740" h="11526" extrusionOk="0">
                  <a:moveTo>
                    <a:pt x="2441" y="322"/>
                  </a:moveTo>
                  <a:cubicBezTo>
                    <a:pt x="2703" y="322"/>
                    <a:pt x="2929" y="548"/>
                    <a:pt x="2929" y="822"/>
                  </a:cubicBezTo>
                  <a:lnTo>
                    <a:pt x="2929" y="3167"/>
                  </a:lnTo>
                  <a:cubicBezTo>
                    <a:pt x="2865" y="3156"/>
                    <a:pt x="2800" y="3151"/>
                    <a:pt x="2735" y="3151"/>
                  </a:cubicBezTo>
                  <a:cubicBezTo>
                    <a:pt x="2454" y="3151"/>
                    <a:pt x="2180" y="3251"/>
                    <a:pt x="1977" y="3405"/>
                  </a:cubicBezTo>
                  <a:cubicBezTo>
                    <a:pt x="1977" y="3405"/>
                    <a:pt x="1965" y="3405"/>
                    <a:pt x="1941" y="3417"/>
                  </a:cubicBezTo>
                  <a:lnTo>
                    <a:pt x="1941" y="822"/>
                  </a:lnTo>
                  <a:lnTo>
                    <a:pt x="1953" y="822"/>
                  </a:lnTo>
                  <a:cubicBezTo>
                    <a:pt x="1953" y="548"/>
                    <a:pt x="2167" y="322"/>
                    <a:pt x="2441" y="322"/>
                  </a:cubicBezTo>
                  <a:close/>
                  <a:moveTo>
                    <a:pt x="2477" y="0"/>
                  </a:moveTo>
                  <a:cubicBezTo>
                    <a:pt x="2024" y="0"/>
                    <a:pt x="1643" y="369"/>
                    <a:pt x="1643" y="834"/>
                  </a:cubicBezTo>
                  <a:lnTo>
                    <a:pt x="1643" y="3822"/>
                  </a:lnTo>
                  <a:cubicBezTo>
                    <a:pt x="1382" y="4287"/>
                    <a:pt x="1441" y="4822"/>
                    <a:pt x="1727" y="5203"/>
                  </a:cubicBezTo>
                  <a:lnTo>
                    <a:pt x="1727" y="7620"/>
                  </a:lnTo>
                  <a:cubicBezTo>
                    <a:pt x="1608" y="7585"/>
                    <a:pt x="1489" y="7573"/>
                    <a:pt x="1370" y="7573"/>
                  </a:cubicBezTo>
                  <a:cubicBezTo>
                    <a:pt x="608" y="7573"/>
                    <a:pt x="0" y="8180"/>
                    <a:pt x="0" y="8942"/>
                  </a:cubicBezTo>
                  <a:lnTo>
                    <a:pt x="0" y="10156"/>
                  </a:lnTo>
                  <a:cubicBezTo>
                    <a:pt x="0" y="10918"/>
                    <a:pt x="608" y="11525"/>
                    <a:pt x="1370" y="11525"/>
                  </a:cubicBezTo>
                  <a:cubicBezTo>
                    <a:pt x="2120" y="11525"/>
                    <a:pt x="2739" y="10918"/>
                    <a:pt x="2739" y="10156"/>
                  </a:cubicBezTo>
                  <a:lnTo>
                    <a:pt x="2739" y="5739"/>
                  </a:lnTo>
                  <a:cubicBezTo>
                    <a:pt x="2834" y="5739"/>
                    <a:pt x="2858" y="5727"/>
                    <a:pt x="2941" y="5715"/>
                  </a:cubicBezTo>
                  <a:lnTo>
                    <a:pt x="3572" y="7227"/>
                  </a:lnTo>
                  <a:cubicBezTo>
                    <a:pt x="3590" y="7298"/>
                    <a:pt x="3654" y="7336"/>
                    <a:pt x="3720" y="7336"/>
                  </a:cubicBezTo>
                  <a:cubicBezTo>
                    <a:pt x="3742" y="7336"/>
                    <a:pt x="3765" y="7332"/>
                    <a:pt x="3787" y="7323"/>
                  </a:cubicBezTo>
                  <a:cubicBezTo>
                    <a:pt x="3882" y="7287"/>
                    <a:pt x="3929" y="7180"/>
                    <a:pt x="3882" y="7096"/>
                  </a:cubicBezTo>
                  <a:lnTo>
                    <a:pt x="3287" y="5632"/>
                  </a:lnTo>
                  <a:cubicBezTo>
                    <a:pt x="3346" y="5608"/>
                    <a:pt x="3406" y="5560"/>
                    <a:pt x="3465" y="5537"/>
                  </a:cubicBezTo>
                  <a:cubicBezTo>
                    <a:pt x="3465" y="5537"/>
                    <a:pt x="3572" y="5477"/>
                    <a:pt x="3584" y="5477"/>
                  </a:cubicBezTo>
                  <a:lnTo>
                    <a:pt x="5001" y="8918"/>
                  </a:lnTo>
                  <a:cubicBezTo>
                    <a:pt x="5021" y="8984"/>
                    <a:pt x="5077" y="9017"/>
                    <a:pt x="5138" y="9017"/>
                  </a:cubicBezTo>
                  <a:cubicBezTo>
                    <a:pt x="5187" y="9017"/>
                    <a:pt x="5238" y="8996"/>
                    <a:pt x="5275" y="8954"/>
                  </a:cubicBezTo>
                  <a:cubicBezTo>
                    <a:pt x="5497" y="8710"/>
                    <a:pt x="5812" y="8558"/>
                    <a:pt x="6143" y="8558"/>
                  </a:cubicBezTo>
                  <a:cubicBezTo>
                    <a:pt x="6167" y="8558"/>
                    <a:pt x="6191" y="8559"/>
                    <a:pt x="6215" y="8561"/>
                  </a:cubicBezTo>
                  <a:cubicBezTo>
                    <a:pt x="7239" y="8585"/>
                    <a:pt x="7739" y="9835"/>
                    <a:pt x="7025" y="10561"/>
                  </a:cubicBezTo>
                  <a:cubicBezTo>
                    <a:pt x="6788" y="10803"/>
                    <a:pt x="6485" y="10915"/>
                    <a:pt x="6187" y="10915"/>
                  </a:cubicBezTo>
                  <a:cubicBezTo>
                    <a:pt x="5679" y="10915"/>
                    <a:pt x="5184" y="10588"/>
                    <a:pt x="5049" y="10025"/>
                  </a:cubicBezTo>
                  <a:cubicBezTo>
                    <a:pt x="4858" y="9359"/>
                    <a:pt x="4632" y="8859"/>
                    <a:pt x="4239" y="7930"/>
                  </a:cubicBezTo>
                  <a:cubicBezTo>
                    <a:pt x="4212" y="7859"/>
                    <a:pt x="4153" y="7821"/>
                    <a:pt x="4085" y="7821"/>
                  </a:cubicBezTo>
                  <a:cubicBezTo>
                    <a:pt x="4061" y="7821"/>
                    <a:pt x="4037" y="7825"/>
                    <a:pt x="4013" y="7835"/>
                  </a:cubicBezTo>
                  <a:cubicBezTo>
                    <a:pt x="3929" y="7870"/>
                    <a:pt x="3882" y="7977"/>
                    <a:pt x="3929" y="8061"/>
                  </a:cubicBezTo>
                  <a:cubicBezTo>
                    <a:pt x="4299" y="9001"/>
                    <a:pt x="4549" y="9490"/>
                    <a:pt x="4715" y="10121"/>
                  </a:cubicBezTo>
                  <a:cubicBezTo>
                    <a:pt x="4894" y="10787"/>
                    <a:pt x="5489" y="11252"/>
                    <a:pt x="6192" y="11252"/>
                  </a:cubicBezTo>
                  <a:cubicBezTo>
                    <a:pt x="7037" y="11252"/>
                    <a:pt x="7728" y="10549"/>
                    <a:pt x="7704" y="9704"/>
                  </a:cubicBezTo>
                  <a:cubicBezTo>
                    <a:pt x="7645" y="8808"/>
                    <a:pt x="6884" y="8194"/>
                    <a:pt x="6094" y="8194"/>
                  </a:cubicBezTo>
                  <a:cubicBezTo>
                    <a:pt x="5771" y="8194"/>
                    <a:pt x="5443" y="8297"/>
                    <a:pt x="5156" y="8525"/>
                  </a:cubicBezTo>
                  <a:lnTo>
                    <a:pt x="3787" y="5179"/>
                  </a:lnTo>
                  <a:cubicBezTo>
                    <a:pt x="3870" y="5072"/>
                    <a:pt x="3929" y="4953"/>
                    <a:pt x="3965" y="4822"/>
                  </a:cubicBezTo>
                  <a:lnTo>
                    <a:pt x="4834" y="3953"/>
                  </a:lnTo>
                  <a:cubicBezTo>
                    <a:pt x="4894" y="3894"/>
                    <a:pt x="4894" y="3775"/>
                    <a:pt x="4834" y="3715"/>
                  </a:cubicBezTo>
                  <a:cubicBezTo>
                    <a:pt x="4805" y="3685"/>
                    <a:pt x="4760" y="3670"/>
                    <a:pt x="4715" y="3670"/>
                  </a:cubicBezTo>
                  <a:cubicBezTo>
                    <a:pt x="4671" y="3670"/>
                    <a:pt x="4626" y="3685"/>
                    <a:pt x="4596" y="3715"/>
                  </a:cubicBezTo>
                  <a:cubicBezTo>
                    <a:pt x="3644" y="4668"/>
                    <a:pt x="3668" y="4608"/>
                    <a:pt x="3656" y="4703"/>
                  </a:cubicBezTo>
                  <a:cubicBezTo>
                    <a:pt x="3620" y="4882"/>
                    <a:pt x="3513" y="5013"/>
                    <a:pt x="3394" y="5132"/>
                  </a:cubicBezTo>
                  <a:cubicBezTo>
                    <a:pt x="3298" y="5227"/>
                    <a:pt x="3287" y="5239"/>
                    <a:pt x="3144" y="5310"/>
                  </a:cubicBezTo>
                  <a:cubicBezTo>
                    <a:pt x="3096" y="5322"/>
                    <a:pt x="3060" y="5358"/>
                    <a:pt x="3025" y="5370"/>
                  </a:cubicBezTo>
                  <a:cubicBezTo>
                    <a:pt x="2931" y="5399"/>
                    <a:pt x="2846" y="5415"/>
                    <a:pt x="2756" y="5415"/>
                  </a:cubicBezTo>
                  <a:cubicBezTo>
                    <a:pt x="2698" y="5415"/>
                    <a:pt x="2638" y="5408"/>
                    <a:pt x="2572" y="5394"/>
                  </a:cubicBezTo>
                  <a:cubicBezTo>
                    <a:pt x="2564" y="5393"/>
                    <a:pt x="2557" y="5392"/>
                    <a:pt x="2549" y="5392"/>
                  </a:cubicBezTo>
                  <a:cubicBezTo>
                    <a:pt x="2453" y="5392"/>
                    <a:pt x="2382" y="5461"/>
                    <a:pt x="2382" y="5560"/>
                  </a:cubicBezTo>
                  <a:lnTo>
                    <a:pt x="2382" y="10156"/>
                  </a:lnTo>
                  <a:cubicBezTo>
                    <a:pt x="2382" y="10728"/>
                    <a:pt x="1917" y="11192"/>
                    <a:pt x="1358" y="11192"/>
                  </a:cubicBezTo>
                  <a:cubicBezTo>
                    <a:pt x="786" y="11192"/>
                    <a:pt x="322" y="10728"/>
                    <a:pt x="322" y="10156"/>
                  </a:cubicBezTo>
                  <a:lnTo>
                    <a:pt x="322" y="8942"/>
                  </a:lnTo>
                  <a:cubicBezTo>
                    <a:pt x="322" y="8340"/>
                    <a:pt x="826" y="7902"/>
                    <a:pt x="1372" y="7902"/>
                  </a:cubicBezTo>
                  <a:cubicBezTo>
                    <a:pt x="1518" y="7902"/>
                    <a:pt x="1667" y="7933"/>
                    <a:pt x="1810" y="8001"/>
                  </a:cubicBezTo>
                  <a:cubicBezTo>
                    <a:pt x="1835" y="8015"/>
                    <a:pt x="1860" y="8021"/>
                    <a:pt x="1885" y="8021"/>
                  </a:cubicBezTo>
                  <a:cubicBezTo>
                    <a:pt x="1970" y="8021"/>
                    <a:pt x="2048" y="7950"/>
                    <a:pt x="2048" y="7858"/>
                  </a:cubicBezTo>
                  <a:cubicBezTo>
                    <a:pt x="2036" y="5049"/>
                    <a:pt x="2084" y="5132"/>
                    <a:pt x="2024" y="5049"/>
                  </a:cubicBezTo>
                  <a:cubicBezTo>
                    <a:pt x="1504" y="4390"/>
                    <a:pt x="2016" y="3495"/>
                    <a:pt x="2766" y="3495"/>
                  </a:cubicBezTo>
                  <a:cubicBezTo>
                    <a:pt x="2857" y="3495"/>
                    <a:pt x="2952" y="3508"/>
                    <a:pt x="3048" y="3536"/>
                  </a:cubicBezTo>
                  <a:cubicBezTo>
                    <a:pt x="3096" y="3560"/>
                    <a:pt x="3156" y="3572"/>
                    <a:pt x="3191" y="3596"/>
                  </a:cubicBezTo>
                  <a:cubicBezTo>
                    <a:pt x="3216" y="3608"/>
                    <a:pt x="3243" y="3614"/>
                    <a:pt x="3268" y="3614"/>
                  </a:cubicBezTo>
                  <a:cubicBezTo>
                    <a:pt x="3316" y="3614"/>
                    <a:pt x="3363" y="3595"/>
                    <a:pt x="3394" y="3572"/>
                  </a:cubicBezTo>
                  <a:lnTo>
                    <a:pt x="5370" y="1584"/>
                  </a:lnTo>
                  <a:cubicBezTo>
                    <a:pt x="5465" y="1489"/>
                    <a:pt x="5590" y="1441"/>
                    <a:pt x="5717" y="1441"/>
                  </a:cubicBezTo>
                  <a:cubicBezTo>
                    <a:pt x="5843" y="1441"/>
                    <a:pt x="5971" y="1489"/>
                    <a:pt x="6073" y="1584"/>
                  </a:cubicBezTo>
                  <a:cubicBezTo>
                    <a:pt x="6263" y="1786"/>
                    <a:pt x="6263" y="2096"/>
                    <a:pt x="6073" y="2286"/>
                  </a:cubicBezTo>
                  <a:lnTo>
                    <a:pt x="5156" y="3191"/>
                  </a:lnTo>
                  <a:cubicBezTo>
                    <a:pt x="5096" y="3251"/>
                    <a:pt x="5096" y="3370"/>
                    <a:pt x="5156" y="3429"/>
                  </a:cubicBezTo>
                  <a:cubicBezTo>
                    <a:pt x="5192" y="3459"/>
                    <a:pt x="5239" y="3474"/>
                    <a:pt x="5284" y="3474"/>
                  </a:cubicBezTo>
                  <a:cubicBezTo>
                    <a:pt x="5328" y="3474"/>
                    <a:pt x="5370" y="3459"/>
                    <a:pt x="5394" y="3429"/>
                  </a:cubicBezTo>
                  <a:lnTo>
                    <a:pt x="6311" y="2524"/>
                  </a:lnTo>
                  <a:cubicBezTo>
                    <a:pt x="6823" y="2001"/>
                    <a:pt x="6454" y="1108"/>
                    <a:pt x="5727" y="1108"/>
                  </a:cubicBezTo>
                  <a:cubicBezTo>
                    <a:pt x="5501" y="1108"/>
                    <a:pt x="5299" y="1203"/>
                    <a:pt x="5144" y="1346"/>
                  </a:cubicBezTo>
                  <a:lnTo>
                    <a:pt x="3310" y="3179"/>
                  </a:lnTo>
                  <a:lnTo>
                    <a:pt x="3310" y="834"/>
                  </a:lnTo>
                  <a:cubicBezTo>
                    <a:pt x="3310" y="369"/>
                    <a:pt x="2941" y="0"/>
                    <a:pt x="2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48" name="Google Shape;10548;p59"/>
          <p:cNvGrpSpPr/>
          <p:nvPr/>
        </p:nvGrpSpPr>
        <p:grpSpPr>
          <a:xfrm>
            <a:off x="7964906" y="1499894"/>
            <a:ext cx="380858" cy="367575"/>
            <a:chOff x="7964906" y="1499894"/>
            <a:chExt cx="380858" cy="367575"/>
          </a:xfrm>
        </p:grpSpPr>
        <p:sp>
          <p:nvSpPr>
            <p:cNvPr id="10549" name="Google Shape;10549;p59"/>
            <p:cNvSpPr/>
            <p:nvPr/>
          </p:nvSpPr>
          <p:spPr>
            <a:xfrm>
              <a:off x="7964906" y="1501359"/>
              <a:ext cx="377099" cy="365600"/>
            </a:xfrm>
            <a:custGeom>
              <a:avLst/>
              <a:gdLst/>
              <a:ahLst/>
              <a:cxnLst/>
              <a:rect l="l" t="t" r="r" b="b"/>
              <a:pathLst>
                <a:path w="11838" h="11477" extrusionOk="0">
                  <a:moveTo>
                    <a:pt x="6668" y="4170"/>
                  </a:moveTo>
                  <a:cubicBezTo>
                    <a:pt x="6859" y="4468"/>
                    <a:pt x="7085" y="4694"/>
                    <a:pt x="7359" y="4873"/>
                  </a:cubicBezTo>
                  <a:cubicBezTo>
                    <a:pt x="7383" y="4873"/>
                    <a:pt x="7383" y="4885"/>
                    <a:pt x="7395" y="4885"/>
                  </a:cubicBezTo>
                  <a:cubicBezTo>
                    <a:pt x="6978" y="5289"/>
                    <a:pt x="6990" y="5325"/>
                    <a:pt x="6930" y="5325"/>
                  </a:cubicBezTo>
                  <a:cubicBezTo>
                    <a:pt x="6871" y="5325"/>
                    <a:pt x="6906" y="5301"/>
                    <a:pt x="6252" y="4670"/>
                  </a:cubicBezTo>
                  <a:cubicBezTo>
                    <a:pt x="6228" y="4647"/>
                    <a:pt x="6228" y="4635"/>
                    <a:pt x="6228" y="4623"/>
                  </a:cubicBezTo>
                  <a:cubicBezTo>
                    <a:pt x="6228" y="4575"/>
                    <a:pt x="6264" y="4575"/>
                    <a:pt x="6668" y="4170"/>
                  </a:cubicBezTo>
                  <a:close/>
                  <a:moveTo>
                    <a:pt x="6144" y="5039"/>
                  </a:moveTo>
                  <a:lnTo>
                    <a:pt x="6514" y="5409"/>
                  </a:lnTo>
                  <a:cubicBezTo>
                    <a:pt x="6287" y="5611"/>
                    <a:pt x="5918" y="6075"/>
                    <a:pt x="5609" y="6968"/>
                  </a:cubicBezTo>
                  <a:cubicBezTo>
                    <a:pt x="5171" y="8200"/>
                    <a:pt x="4345" y="8864"/>
                    <a:pt x="3268" y="8864"/>
                  </a:cubicBezTo>
                  <a:cubicBezTo>
                    <a:pt x="3231" y="8864"/>
                    <a:pt x="3194" y="8863"/>
                    <a:pt x="3156" y="8861"/>
                  </a:cubicBezTo>
                  <a:cubicBezTo>
                    <a:pt x="3133" y="8860"/>
                    <a:pt x="3110" y="8860"/>
                    <a:pt x="3087" y="8860"/>
                  </a:cubicBezTo>
                  <a:cubicBezTo>
                    <a:pt x="1839" y="8860"/>
                    <a:pt x="1004" y="10112"/>
                    <a:pt x="549" y="10778"/>
                  </a:cubicBezTo>
                  <a:cubicBezTo>
                    <a:pt x="501" y="10850"/>
                    <a:pt x="453" y="10933"/>
                    <a:pt x="418" y="10993"/>
                  </a:cubicBezTo>
                  <a:cubicBezTo>
                    <a:pt x="489" y="10612"/>
                    <a:pt x="739" y="9814"/>
                    <a:pt x="1287" y="9171"/>
                  </a:cubicBezTo>
                  <a:cubicBezTo>
                    <a:pt x="1727" y="8671"/>
                    <a:pt x="2275" y="8349"/>
                    <a:pt x="2942" y="8349"/>
                  </a:cubicBezTo>
                  <a:cubicBezTo>
                    <a:pt x="4049" y="8349"/>
                    <a:pt x="4728" y="7861"/>
                    <a:pt x="5109" y="6790"/>
                  </a:cubicBezTo>
                  <a:cubicBezTo>
                    <a:pt x="5454" y="5825"/>
                    <a:pt x="5871" y="5301"/>
                    <a:pt x="6144" y="5039"/>
                  </a:cubicBezTo>
                  <a:close/>
                  <a:moveTo>
                    <a:pt x="10008" y="0"/>
                  </a:moveTo>
                  <a:cubicBezTo>
                    <a:pt x="9561" y="0"/>
                    <a:pt x="9041" y="122"/>
                    <a:pt x="8478" y="372"/>
                  </a:cubicBezTo>
                  <a:cubicBezTo>
                    <a:pt x="8395" y="420"/>
                    <a:pt x="8359" y="515"/>
                    <a:pt x="8395" y="598"/>
                  </a:cubicBezTo>
                  <a:cubicBezTo>
                    <a:pt x="8422" y="671"/>
                    <a:pt x="8484" y="702"/>
                    <a:pt x="8549" y="702"/>
                  </a:cubicBezTo>
                  <a:cubicBezTo>
                    <a:pt x="8569" y="702"/>
                    <a:pt x="8589" y="699"/>
                    <a:pt x="8609" y="694"/>
                  </a:cubicBezTo>
                  <a:cubicBezTo>
                    <a:pt x="9121" y="466"/>
                    <a:pt x="9607" y="352"/>
                    <a:pt x="10014" y="352"/>
                  </a:cubicBezTo>
                  <a:cubicBezTo>
                    <a:pt x="10394" y="352"/>
                    <a:pt x="10706" y="451"/>
                    <a:pt x="10907" y="646"/>
                  </a:cubicBezTo>
                  <a:cubicBezTo>
                    <a:pt x="11645" y="1384"/>
                    <a:pt x="10907" y="3325"/>
                    <a:pt x="10014" y="4206"/>
                  </a:cubicBezTo>
                  <a:cubicBezTo>
                    <a:pt x="9543" y="4677"/>
                    <a:pt x="9023" y="4874"/>
                    <a:pt x="8537" y="4874"/>
                  </a:cubicBezTo>
                  <a:cubicBezTo>
                    <a:pt x="6872" y="4874"/>
                    <a:pt x="5593" y="2566"/>
                    <a:pt x="7942" y="1027"/>
                  </a:cubicBezTo>
                  <a:cubicBezTo>
                    <a:pt x="8014" y="991"/>
                    <a:pt x="8049" y="884"/>
                    <a:pt x="7990" y="789"/>
                  </a:cubicBezTo>
                  <a:cubicBezTo>
                    <a:pt x="7961" y="745"/>
                    <a:pt x="7910" y="719"/>
                    <a:pt x="7855" y="719"/>
                  </a:cubicBezTo>
                  <a:cubicBezTo>
                    <a:pt x="7820" y="719"/>
                    <a:pt x="7784" y="730"/>
                    <a:pt x="7752" y="753"/>
                  </a:cubicBezTo>
                  <a:cubicBezTo>
                    <a:pt x="6335" y="1670"/>
                    <a:pt x="6073" y="2872"/>
                    <a:pt x="6490" y="3849"/>
                  </a:cubicBezTo>
                  <a:lnTo>
                    <a:pt x="5990" y="4337"/>
                  </a:lnTo>
                  <a:cubicBezTo>
                    <a:pt x="5894" y="4444"/>
                    <a:pt x="5847" y="4623"/>
                    <a:pt x="5918" y="4777"/>
                  </a:cubicBezTo>
                  <a:cubicBezTo>
                    <a:pt x="5621" y="5063"/>
                    <a:pt x="5156" y="5635"/>
                    <a:pt x="4787" y="6671"/>
                  </a:cubicBezTo>
                  <a:cubicBezTo>
                    <a:pt x="4430" y="7635"/>
                    <a:pt x="3847" y="7992"/>
                    <a:pt x="2930" y="8016"/>
                  </a:cubicBezTo>
                  <a:cubicBezTo>
                    <a:pt x="1370" y="8016"/>
                    <a:pt x="572" y="9504"/>
                    <a:pt x="310" y="10135"/>
                  </a:cubicBezTo>
                  <a:cubicBezTo>
                    <a:pt x="203" y="10397"/>
                    <a:pt x="132" y="10647"/>
                    <a:pt x="72" y="10873"/>
                  </a:cubicBezTo>
                  <a:cubicBezTo>
                    <a:pt x="1" y="11231"/>
                    <a:pt x="13" y="11326"/>
                    <a:pt x="215" y="11445"/>
                  </a:cubicBezTo>
                  <a:cubicBezTo>
                    <a:pt x="253" y="11467"/>
                    <a:pt x="289" y="11476"/>
                    <a:pt x="323" y="11476"/>
                  </a:cubicBezTo>
                  <a:cubicBezTo>
                    <a:pt x="419" y="11476"/>
                    <a:pt x="502" y="11402"/>
                    <a:pt x="572" y="11314"/>
                  </a:cubicBezTo>
                  <a:cubicBezTo>
                    <a:pt x="912" y="10893"/>
                    <a:pt x="1769" y="9205"/>
                    <a:pt x="3065" y="9205"/>
                  </a:cubicBezTo>
                  <a:cubicBezTo>
                    <a:pt x="3087" y="9205"/>
                    <a:pt x="3110" y="9206"/>
                    <a:pt x="3132" y="9207"/>
                  </a:cubicBezTo>
                  <a:cubicBezTo>
                    <a:pt x="3160" y="9207"/>
                    <a:pt x="3187" y="9208"/>
                    <a:pt x="3215" y="9208"/>
                  </a:cubicBezTo>
                  <a:cubicBezTo>
                    <a:pt x="4529" y="9208"/>
                    <a:pt x="5463" y="8371"/>
                    <a:pt x="5918" y="7099"/>
                  </a:cubicBezTo>
                  <a:cubicBezTo>
                    <a:pt x="6252" y="6194"/>
                    <a:pt x="6621" y="5778"/>
                    <a:pt x="6787" y="5635"/>
                  </a:cubicBezTo>
                  <a:cubicBezTo>
                    <a:pt x="6833" y="5652"/>
                    <a:pt x="6879" y="5661"/>
                    <a:pt x="6924" y="5661"/>
                  </a:cubicBezTo>
                  <a:cubicBezTo>
                    <a:pt x="7030" y="5661"/>
                    <a:pt x="7129" y="5615"/>
                    <a:pt x="7204" y="5539"/>
                  </a:cubicBezTo>
                  <a:lnTo>
                    <a:pt x="7692" y="5051"/>
                  </a:lnTo>
                  <a:cubicBezTo>
                    <a:pt x="7967" y="5171"/>
                    <a:pt x="8246" y="5226"/>
                    <a:pt x="8521" y="5226"/>
                  </a:cubicBezTo>
                  <a:cubicBezTo>
                    <a:pt x="9152" y="5226"/>
                    <a:pt x="9763" y="4933"/>
                    <a:pt x="10252" y="4444"/>
                  </a:cubicBezTo>
                  <a:cubicBezTo>
                    <a:pt x="10752" y="3932"/>
                    <a:pt x="11205" y="3146"/>
                    <a:pt x="11407" y="2396"/>
                  </a:cubicBezTo>
                  <a:cubicBezTo>
                    <a:pt x="11838" y="837"/>
                    <a:pt x="11177" y="0"/>
                    <a:pt x="100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0" name="Google Shape;10550;p59"/>
            <p:cNvSpPr/>
            <p:nvPr/>
          </p:nvSpPr>
          <p:spPr>
            <a:xfrm>
              <a:off x="7965288" y="1499894"/>
              <a:ext cx="202948" cy="193870"/>
            </a:xfrm>
            <a:custGeom>
              <a:avLst/>
              <a:gdLst/>
              <a:ahLst/>
              <a:cxnLst/>
              <a:rect l="l" t="t" r="r" b="b"/>
              <a:pathLst>
                <a:path w="6371" h="6086" extrusionOk="0">
                  <a:moveTo>
                    <a:pt x="5278" y="341"/>
                  </a:moveTo>
                  <a:cubicBezTo>
                    <a:pt x="5440" y="341"/>
                    <a:pt x="5578" y="379"/>
                    <a:pt x="5668" y="466"/>
                  </a:cubicBezTo>
                  <a:cubicBezTo>
                    <a:pt x="6073" y="871"/>
                    <a:pt x="5442" y="2514"/>
                    <a:pt x="4513" y="2526"/>
                  </a:cubicBezTo>
                  <a:cubicBezTo>
                    <a:pt x="4509" y="2526"/>
                    <a:pt x="4504" y="2526"/>
                    <a:pt x="4500" y="2526"/>
                  </a:cubicBezTo>
                  <a:cubicBezTo>
                    <a:pt x="3826" y="2526"/>
                    <a:pt x="3220" y="1652"/>
                    <a:pt x="3942" y="930"/>
                  </a:cubicBezTo>
                  <a:cubicBezTo>
                    <a:pt x="4276" y="595"/>
                    <a:pt x="4858" y="341"/>
                    <a:pt x="5278" y="341"/>
                  </a:cubicBezTo>
                  <a:close/>
                  <a:moveTo>
                    <a:pt x="3525" y="2359"/>
                  </a:moveTo>
                  <a:cubicBezTo>
                    <a:pt x="3596" y="2466"/>
                    <a:pt x="3692" y="2549"/>
                    <a:pt x="3775" y="2609"/>
                  </a:cubicBezTo>
                  <a:lnTo>
                    <a:pt x="3680" y="2716"/>
                  </a:lnTo>
                  <a:lnTo>
                    <a:pt x="3418" y="2466"/>
                  </a:lnTo>
                  <a:lnTo>
                    <a:pt x="3525" y="2359"/>
                  </a:lnTo>
                  <a:close/>
                  <a:moveTo>
                    <a:pt x="5223" y="1"/>
                  </a:moveTo>
                  <a:cubicBezTo>
                    <a:pt x="4679" y="1"/>
                    <a:pt x="4024" y="324"/>
                    <a:pt x="3656" y="692"/>
                  </a:cubicBezTo>
                  <a:cubicBezTo>
                    <a:pt x="3287" y="1061"/>
                    <a:pt x="3120" y="1561"/>
                    <a:pt x="3311" y="2049"/>
                  </a:cubicBezTo>
                  <a:cubicBezTo>
                    <a:pt x="3132" y="2240"/>
                    <a:pt x="2977" y="2299"/>
                    <a:pt x="3037" y="2537"/>
                  </a:cubicBezTo>
                  <a:cubicBezTo>
                    <a:pt x="2299" y="3288"/>
                    <a:pt x="2620" y="4133"/>
                    <a:pt x="1572" y="4145"/>
                  </a:cubicBezTo>
                  <a:cubicBezTo>
                    <a:pt x="715" y="4145"/>
                    <a:pt x="298" y="4954"/>
                    <a:pt x="144" y="5288"/>
                  </a:cubicBezTo>
                  <a:cubicBezTo>
                    <a:pt x="84" y="5431"/>
                    <a:pt x="36" y="5562"/>
                    <a:pt x="25" y="5681"/>
                  </a:cubicBezTo>
                  <a:cubicBezTo>
                    <a:pt x="1" y="5824"/>
                    <a:pt x="1" y="5931"/>
                    <a:pt x="60" y="6002"/>
                  </a:cubicBezTo>
                  <a:cubicBezTo>
                    <a:pt x="144" y="6050"/>
                    <a:pt x="203" y="6086"/>
                    <a:pt x="263" y="6086"/>
                  </a:cubicBezTo>
                  <a:cubicBezTo>
                    <a:pt x="406" y="6086"/>
                    <a:pt x="501" y="5919"/>
                    <a:pt x="584" y="5788"/>
                  </a:cubicBezTo>
                  <a:cubicBezTo>
                    <a:pt x="781" y="5476"/>
                    <a:pt x="1168" y="4905"/>
                    <a:pt x="1670" y="4905"/>
                  </a:cubicBezTo>
                  <a:cubicBezTo>
                    <a:pt x="1685" y="4905"/>
                    <a:pt x="1700" y="4906"/>
                    <a:pt x="1715" y="4907"/>
                  </a:cubicBezTo>
                  <a:cubicBezTo>
                    <a:pt x="1735" y="4908"/>
                    <a:pt x="1755" y="4908"/>
                    <a:pt x="1775" y="4908"/>
                  </a:cubicBezTo>
                  <a:cubicBezTo>
                    <a:pt x="2074" y="4908"/>
                    <a:pt x="2350" y="4824"/>
                    <a:pt x="2584" y="4657"/>
                  </a:cubicBezTo>
                  <a:cubicBezTo>
                    <a:pt x="2668" y="4597"/>
                    <a:pt x="2680" y="4490"/>
                    <a:pt x="2632" y="4419"/>
                  </a:cubicBezTo>
                  <a:cubicBezTo>
                    <a:pt x="2603" y="4367"/>
                    <a:pt x="2546" y="4343"/>
                    <a:pt x="2491" y="4343"/>
                  </a:cubicBezTo>
                  <a:cubicBezTo>
                    <a:pt x="2456" y="4343"/>
                    <a:pt x="2421" y="4353"/>
                    <a:pt x="2394" y="4371"/>
                  </a:cubicBezTo>
                  <a:cubicBezTo>
                    <a:pt x="2203" y="4502"/>
                    <a:pt x="1977" y="4562"/>
                    <a:pt x="1727" y="4562"/>
                  </a:cubicBezTo>
                  <a:cubicBezTo>
                    <a:pt x="1718" y="4561"/>
                    <a:pt x="1710" y="4561"/>
                    <a:pt x="1701" y="4561"/>
                  </a:cubicBezTo>
                  <a:cubicBezTo>
                    <a:pt x="1225" y="4561"/>
                    <a:pt x="853" y="4877"/>
                    <a:pt x="596" y="5204"/>
                  </a:cubicBezTo>
                  <a:cubicBezTo>
                    <a:pt x="792" y="4813"/>
                    <a:pt x="1132" y="4477"/>
                    <a:pt x="1564" y="4477"/>
                  </a:cubicBezTo>
                  <a:cubicBezTo>
                    <a:pt x="1579" y="4477"/>
                    <a:pt x="1593" y="4477"/>
                    <a:pt x="1608" y="4478"/>
                  </a:cubicBezTo>
                  <a:cubicBezTo>
                    <a:pt x="2203" y="4478"/>
                    <a:pt x="2584" y="4192"/>
                    <a:pt x="2799" y="3609"/>
                  </a:cubicBezTo>
                  <a:cubicBezTo>
                    <a:pt x="2942" y="3192"/>
                    <a:pt x="3120" y="2942"/>
                    <a:pt x="3263" y="2788"/>
                  </a:cubicBezTo>
                  <a:lnTo>
                    <a:pt x="3334" y="2871"/>
                  </a:lnTo>
                  <a:cubicBezTo>
                    <a:pt x="3001" y="3228"/>
                    <a:pt x="2930" y="3645"/>
                    <a:pt x="2787" y="3907"/>
                  </a:cubicBezTo>
                  <a:cubicBezTo>
                    <a:pt x="2739" y="3978"/>
                    <a:pt x="2763" y="4085"/>
                    <a:pt x="2846" y="4133"/>
                  </a:cubicBezTo>
                  <a:cubicBezTo>
                    <a:pt x="2869" y="4148"/>
                    <a:pt x="2895" y="4155"/>
                    <a:pt x="2921" y="4155"/>
                  </a:cubicBezTo>
                  <a:cubicBezTo>
                    <a:pt x="2978" y="4155"/>
                    <a:pt x="3036" y="4122"/>
                    <a:pt x="3061" y="4073"/>
                  </a:cubicBezTo>
                  <a:cubicBezTo>
                    <a:pt x="3227" y="3764"/>
                    <a:pt x="3299" y="3359"/>
                    <a:pt x="3596" y="3061"/>
                  </a:cubicBezTo>
                  <a:cubicBezTo>
                    <a:pt x="3608" y="3061"/>
                    <a:pt x="3608" y="3073"/>
                    <a:pt x="3632" y="3073"/>
                  </a:cubicBezTo>
                  <a:cubicBezTo>
                    <a:pt x="3811" y="3073"/>
                    <a:pt x="3870" y="2930"/>
                    <a:pt x="4049" y="2776"/>
                  </a:cubicBezTo>
                  <a:cubicBezTo>
                    <a:pt x="4183" y="2825"/>
                    <a:pt x="4318" y="2848"/>
                    <a:pt x="4450" y="2848"/>
                  </a:cubicBezTo>
                  <a:cubicBezTo>
                    <a:pt x="4797" y="2848"/>
                    <a:pt x="5127" y="2689"/>
                    <a:pt x="5394" y="2430"/>
                  </a:cubicBezTo>
                  <a:cubicBezTo>
                    <a:pt x="5930" y="1895"/>
                    <a:pt x="6371" y="752"/>
                    <a:pt x="5859" y="228"/>
                  </a:cubicBezTo>
                  <a:cubicBezTo>
                    <a:pt x="5695" y="68"/>
                    <a:pt x="5470" y="1"/>
                    <a:pt x="52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1" name="Google Shape;10551;p59"/>
            <p:cNvSpPr/>
            <p:nvPr/>
          </p:nvSpPr>
          <p:spPr>
            <a:xfrm>
              <a:off x="8137879" y="1673440"/>
              <a:ext cx="207886" cy="194029"/>
            </a:xfrm>
            <a:custGeom>
              <a:avLst/>
              <a:gdLst/>
              <a:ahLst/>
              <a:cxnLst/>
              <a:rect l="l" t="t" r="r" b="b"/>
              <a:pathLst>
                <a:path w="6526" h="6091" extrusionOk="0">
                  <a:moveTo>
                    <a:pt x="5242" y="346"/>
                  </a:moveTo>
                  <a:cubicBezTo>
                    <a:pt x="5404" y="346"/>
                    <a:pt x="5542" y="384"/>
                    <a:pt x="5632" y="471"/>
                  </a:cubicBezTo>
                  <a:cubicBezTo>
                    <a:pt x="5953" y="792"/>
                    <a:pt x="5656" y="1733"/>
                    <a:pt x="5179" y="2197"/>
                  </a:cubicBezTo>
                  <a:cubicBezTo>
                    <a:pt x="4947" y="2429"/>
                    <a:pt x="4696" y="2526"/>
                    <a:pt x="4464" y="2526"/>
                  </a:cubicBezTo>
                  <a:cubicBezTo>
                    <a:pt x="3754" y="2526"/>
                    <a:pt x="3218" y="1626"/>
                    <a:pt x="3917" y="935"/>
                  </a:cubicBezTo>
                  <a:cubicBezTo>
                    <a:pt x="4243" y="601"/>
                    <a:pt x="4823" y="346"/>
                    <a:pt x="5242" y="346"/>
                  </a:cubicBezTo>
                  <a:close/>
                  <a:moveTo>
                    <a:pt x="3512" y="2364"/>
                  </a:moveTo>
                  <a:cubicBezTo>
                    <a:pt x="3572" y="2447"/>
                    <a:pt x="3655" y="2543"/>
                    <a:pt x="3762" y="2614"/>
                  </a:cubicBezTo>
                  <a:lnTo>
                    <a:pt x="3655" y="2721"/>
                  </a:lnTo>
                  <a:lnTo>
                    <a:pt x="3405" y="2459"/>
                  </a:lnTo>
                  <a:lnTo>
                    <a:pt x="3512" y="2364"/>
                  </a:lnTo>
                  <a:close/>
                  <a:moveTo>
                    <a:pt x="5245" y="0"/>
                  </a:moveTo>
                  <a:cubicBezTo>
                    <a:pt x="4702" y="0"/>
                    <a:pt x="4047" y="329"/>
                    <a:pt x="3679" y="697"/>
                  </a:cubicBezTo>
                  <a:cubicBezTo>
                    <a:pt x="3298" y="1066"/>
                    <a:pt x="3143" y="1554"/>
                    <a:pt x="3334" y="2042"/>
                  </a:cubicBezTo>
                  <a:cubicBezTo>
                    <a:pt x="3155" y="2245"/>
                    <a:pt x="2989" y="2304"/>
                    <a:pt x="3048" y="2543"/>
                  </a:cubicBezTo>
                  <a:cubicBezTo>
                    <a:pt x="2322" y="3281"/>
                    <a:pt x="2631" y="4126"/>
                    <a:pt x="1596" y="4150"/>
                  </a:cubicBezTo>
                  <a:cubicBezTo>
                    <a:pt x="726" y="4150"/>
                    <a:pt x="310" y="4948"/>
                    <a:pt x="167" y="5293"/>
                  </a:cubicBezTo>
                  <a:cubicBezTo>
                    <a:pt x="107" y="5424"/>
                    <a:pt x="60" y="5555"/>
                    <a:pt x="48" y="5674"/>
                  </a:cubicBezTo>
                  <a:cubicBezTo>
                    <a:pt x="0" y="5852"/>
                    <a:pt x="0" y="5972"/>
                    <a:pt x="167" y="6067"/>
                  </a:cubicBezTo>
                  <a:cubicBezTo>
                    <a:pt x="193" y="6083"/>
                    <a:pt x="220" y="6091"/>
                    <a:pt x="248" y="6091"/>
                  </a:cubicBezTo>
                  <a:cubicBezTo>
                    <a:pt x="319" y="6091"/>
                    <a:pt x="389" y="6040"/>
                    <a:pt x="441" y="5972"/>
                  </a:cubicBezTo>
                  <a:cubicBezTo>
                    <a:pt x="616" y="5762"/>
                    <a:pt x="1054" y="4923"/>
                    <a:pt x="1654" y="4923"/>
                  </a:cubicBezTo>
                  <a:cubicBezTo>
                    <a:pt x="1666" y="4923"/>
                    <a:pt x="1678" y="4923"/>
                    <a:pt x="1691" y="4924"/>
                  </a:cubicBezTo>
                  <a:cubicBezTo>
                    <a:pt x="1709" y="4924"/>
                    <a:pt x="1728" y="4925"/>
                    <a:pt x="1746" y="4925"/>
                  </a:cubicBezTo>
                  <a:cubicBezTo>
                    <a:pt x="2059" y="4925"/>
                    <a:pt x="2348" y="4830"/>
                    <a:pt x="2584" y="4662"/>
                  </a:cubicBezTo>
                  <a:cubicBezTo>
                    <a:pt x="2667" y="4602"/>
                    <a:pt x="2679" y="4507"/>
                    <a:pt x="2631" y="4424"/>
                  </a:cubicBezTo>
                  <a:cubicBezTo>
                    <a:pt x="2596" y="4381"/>
                    <a:pt x="2543" y="4359"/>
                    <a:pt x="2491" y="4359"/>
                  </a:cubicBezTo>
                  <a:cubicBezTo>
                    <a:pt x="2456" y="4359"/>
                    <a:pt x="2422" y="4369"/>
                    <a:pt x="2393" y="4388"/>
                  </a:cubicBezTo>
                  <a:cubicBezTo>
                    <a:pt x="2216" y="4510"/>
                    <a:pt x="1999" y="4580"/>
                    <a:pt x="1769" y="4580"/>
                  </a:cubicBezTo>
                  <a:cubicBezTo>
                    <a:pt x="1751" y="4580"/>
                    <a:pt x="1733" y="4579"/>
                    <a:pt x="1715" y="4578"/>
                  </a:cubicBezTo>
                  <a:cubicBezTo>
                    <a:pt x="1706" y="4578"/>
                    <a:pt x="1697" y="4578"/>
                    <a:pt x="1688" y="4578"/>
                  </a:cubicBezTo>
                  <a:cubicBezTo>
                    <a:pt x="1201" y="4578"/>
                    <a:pt x="841" y="4894"/>
                    <a:pt x="583" y="5221"/>
                  </a:cubicBezTo>
                  <a:cubicBezTo>
                    <a:pt x="782" y="4823"/>
                    <a:pt x="1131" y="4483"/>
                    <a:pt x="1573" y="4483"/>
                  </a:cubicBezTo>
                  <a:cubicBezTo>
                    <a:pt x="1580" y="4483"/>
                    <a:pt x="1588" y="4483"/>
                    <a:pt x="1596" y="4483"/>
                  </a:cubicBezTo>
                  <a:cubicBezTo>
                    <a:pt x="2191" y="4483"/>
                    <a:pt x="2572" y="4209"/>
                    <a:pt x="2786" y="3626"/>
                  </a:cubicBezTo>
                  <a:cubicBezTo>
                    <a:pt x="2929" y="3209"/>
                    <a:pt x="3108" y="2959"/>
                    <a:pt x="3239" y="2804"/>
                  </a:cubicBezTo>
                  <a:lnTo>
                    <a:pt x="3322" y="2876"/>
                  </a:lnTo>
                  <a:cubicBezTo>
                    <a:pt x="2989" y="3257"/>
                    <a:pt x="2917" y="3650"/>
                    <a:pt x="2750" y="3947"/>
                  </a:cubicBezTo>
                  <a:cubicBezTo>
                    <a:pt x="2703" y="4031"/>
                    <a:pt x="2739" y="4126"/>
                    <a:pt x="2810" y="4174"/>
                  </a:cubicBezTo>
                  <a:cubicBezTo>
                    <a:pt x="2832" y="4189"/>
                    <a:pt x="2858" y="4195"/>
                    <a:pt x="2885" y="4195"/>
                  </a:cubicBezTo>
                  <a:cubicBezTo>
                    <a:pt x="2943" y="4195"/>
                    <a:pt x="3003" y="4163"/>
                    <a:pt x="3036" y="4114"/>
                  </a:cubicBezTo>
                  <a:cubicBezTo>
                    <a:pt x="3215" y="3793"/>
                    <a:pt x="3286" y="3376"/>
                    <a:pt x="3584" y="3078"/>
                  </a:cubicBezTo>
                  <a:cubicBezTo>
                    <a:pt x="3596" y="3078"/>
                    <a:pt x="3596" y="3090"/>
                    <a:pt x="3620" y="3090"/>
                  </a:cubicBezTo>
                  <a:cubicBezTo>
                    <a:pt x="3798" y="3090"/>
                    <a:pt x="3858" y="2935"/>
                    <a:pt x="4036" y="2793"/>
                  </a:cubicBezTo>
                  <a:cubicBezTo>
                    <a:pt x="4179" y="2844"/>
                    <a:pt x="4319" y="2868"/>
                    <a:pt x="4454" y="2868"/>
                  </a:cubicBezTo>
                  <a:cubicBezTo>
                    <a:pt x="5689" y="2868"/>
                    <a:pt x="6526" y="887"/>
                    <a:pt x="5882" y="233"/>
                  </a:cubicBezTo>
                  <a:cubicBezTo>
                    <a:pt x="5718" y="69"/>
                    <a:pt x="5493" y="0"/>
                    <a:pt x="52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52" name="Google Shape;10552;p59"/>
          <p:cNvSpPr/>
          <p:nvPr/>
        </p:nvSpPr>
        <p:spPr>
          <a:xfrm>
            <a:off x="5779557" y="2902087"/>
            <a:ext cx="322787" cy="355788"/>
          </a:xfrm>
          <a:custGeom>
            <a:avLst/>
            <a:gdLst/>
            <a:ahLst/>
            <a:cxnLst/>
            <a:rect l="l" t="t" r="r" b="b"/>
            <a:pathLst>
              <a:path w="10133" h="11169" extrusionOk="0">
                <a:moveTo>
                  <a:pt x="5513" y="358"/>
                </a:moveTo>
                <a:cubicBezTo>
                  <a:pt x="5632" y="358"/>
                  <a:pt x="5751" y="394"/>
                  <a:pt x="5822" y="489"/>
                </a:cubicBezTo>
                <a:cubicBezTo>
                  <a:pt x="5894" y="572"/>
                  <a:pt x="5941" y="691"/>
                  <a:pt x="5929" y="810"/>
                </a:cubicBezTo>
                <a:lnTo>
                  <a:pt x="5882" y="1215"/>
                </a:lnTo>
                <a:lnTo>
                  <a:pt x="2417" y="1215"/>
                </a:lnTo>
                <a:cubicBezTo>
                  <a:pt x="2322" y="1215"/>
                  <a:pt x="2250" y="1287"/>
                  <a:pt x="2250" y="1382"/>
                </a:cubicBezTo>
                <a:cubicBezTo>
                  <a:pt x="2250" y="1465"/>
                  <a:pt x="2322" y="1549"/>
                  <a:pt x="2417" y="1549"/>
                </a:cubicBezTo>
                <a:lnTo>
                  <a:pt x="5846" y="1549"/>
                </a:lnTo>
                <a:lnTo>
                  <a:pt x="5810" y="1989"/>
                </a:lnTo>
                <a:lnTo>
                  <a:pt x="5227" y="1989"/>
                </a:lnTo>
                <a:cubicBezTo>
                  <a:pt x="5132" y="1989"/>
                  <a:pt x="5060" y="2061"/>
                  <a:pt x="5060" y="2156"/>
                </a:cubicBezTo>
                <a:cubicBezTo>
                  <a:pt x="5060" y="2251"/>
                  <a:pt x="5132" y="2322"/>
                  <a:pt x="5227" y="2322"/>
                </a:cubicBezTo>
                <a:lnTo>
                  <a:pt x="5763" y="2322"/>
                </a:lnTo>
                <a:lnTo>
                  <a:pt x="5715" y="2763"/>
                </a:lnTo>
                <a:lnTo>
                  <a:pt x="4572" y="2763"/>
                </a:lnTo>
                <a:cubicBezTo>
                  <a:pt x="4477" y="2763"/>
                  <a:pt x="4405" y="2846"/>
                  <a:pt x="4405" y="2930"/>
                </a:cubicBezTo>
                <a:cubicBezTo>
                  <a:pt x="4405" y="3025"/>
                  <a:pt x="4477" y="3096"/>
                  <a:pt x="4572" y="3096"/>
                </a:cubicBezTo>
                <a:lnTo>
                  <a:pt x="5691" y="3096"/>
                </a:lnTo>
                <a:lnTo>
                  <a:pt x="5644" y="3537"/>
                </a:lnTo>
                <a:lnTo>
                  <a:pt x="5239" y="3537"/>
                </a:lnTo>
                <a:cubicBezTo>
                  <a:pt x="5155" y="3537"/>
                  <a:pt x="5072" y="3620"/>
                  <a:pt x="5072" y="3704"/>
                </a:cubicBezTo>
                <a:cubicBezTo>
                  <a:pt x="5072" y="3799"/>
                  <a:pt x="5155" y="3870"/>
                  <a:pt x="5239" y="3870"/>
                </a:cubicBezTo>
                <a:lnTo>
                  <a:pt x="5608" y="3870"/>
                </a:lnTo>
                <a:lnTo>
                  <a:pt x="5572" y="4311"/>
                </a:lnTo>
                <a:lnTo>
                  <a:pt x="4572" y="4311"/>
                </a:lnTo>
                <a:cubicBezTo>
                  <a:pt x="4477" y="4311"/>
                  <a:pt x="4405" y="4394"/>
                  <a:pt x="4405" y="4478"/>
                </a:cubicBezTo>
                <a:cubicBezTo>
                  <a:pt x="4405" y="4573"/>
                  <a:pt x="4477" y="4644"/>
                  <a:pt x="4572" y="4644"/>
                </a:cubicBezTo>
                <a:lnTo>
                  <a:pt x="5525" y="4644"/>
                </a:lnTo>
                <a:lnTo>
                  <a:pt x="5465" y="5311"/>
                </a:lnTo>
                <a:cubicBezTo>
                  <a:pt x="5429" y="5585"/>
                  <a:pt x="5298" y="5954"/>
                  <a:pt x="4441" y="5954"/>
                </a:cubicBezTo>
                <a:lnTo>
                  <a:pt x="1738" y="5954"/>
                </a:lnTo>
                <a:cubicBezTo>
                  <a:pt x="929" y="5930"/>
                  <a:pt x="798" y="5585"/>
                  <a:pt x="762" y="5299"/>
                </a:cubicBezTo>
                <a:lnTo>
                  <a:pt x="393" y="1549"/>
                </a:lnTo>
                <a:lnTo>
                  <a:pt x="1512" y="1549"/>
                </a:lnTo>
                <a:cubicBezTo>
                  <a:pt x="1595" y="1549"/>
                  <a:pt x="1667" y="1465"/>
                  <a:pt x="1667" y="1382"/>
                </a:cubicBezTo>
                <a:cubicBezTo>
                  <a:pt x="1667" y="1287"/>
                  <a:pt x="1595" y="1215"/>
                  <a:pt x="1512" y="1215"/>
                </a:cubicBezTo>
                <a:lnTo>
                  <a:pt x="357" y="1215"/>
                </a:lnTo>
                <a:lnTo>
                  <a:pt x="321" y="810"/>
                </a:lnTo>
                <a:cubicBezTo>
                  <a:pt x="298" y="691"/>
                  <a:pt x="345" y="572"/>
                  <a:pt x="417" y="489"/>
                </a:cubicBezTo>
                <a:cubicBezTo>
                  <a:pt x="500" y="394"/>
                  <a:pt x="619" y="358"/>
                  <a:pt x="738" y="358"/>
                </a:cubicBezTo>
                <a:close/>
                <a:moveTo>
                  <a:pt x="4370" y="6263"/>
                </a:moveTo>
                <a:lnTo>
                  <a:pt x="4370" y="6549"/>
                </a:lnTo>
                <a:cubicBezTo>
                  <a:pt x="4370" y="6716"/>
                  <a:pt x="4227" y="6859"/>
                  <a:pt x="4048" y="6859"/>
                </a:cubicBezTo>
                <a:lnTo>
                  <a:pt x="2203" y="6859"/>
                </a:lnTo>
                <a:cubicBezTo>
                  <a:pt x="2060" y="6859"/>
                  <a:pt x="1905" y="6716"/>
                  <a:pt x="1905" y="6549"/>
                </a:cubicBezTo>
                <a:lnTo>
                  <a:pt x="1905" y="6263"/>
                </a:lnTo>
                <a:close/>
                <a:moveTo>
                  <a:pt x="762" y="1"/>
                </a:moveTo>
                <a:cubicBezTo>
                  <a:pt x="548" y="1"/>
                  <a:pt x="345" y="84"/>
                  <a:pt x="214" y="251"/>
                </a:cubicBezTo>
                <a:cubicBezTo>
                  <a:pt x="60" y="417"/>
                  <a:pt x="0" y="620"/>
                  <a:pt x="24" y="834"/>
                </a:cubicBezTo>
                <a:lnTo>
                  <a:pt x="464" y="5311"/>
                </a:lnTo>
                <a:cubicBezTo>
                  <a:pt x="512" y="5716"/>
                  <a:pt x="738" y="6168"/>
                  <a:pt x="1607" y="6252"/>
                </a:cubicBezTo>
                <a:lnTo>
                  <a:pt x="1607" y="6525"/>
                </a:lnTo>
                <a:cubicBezTo>
                  <a:pt x="1607" y="6871"/>
                  <a:pt x="1893" y="7168"/>
                  <a:pt x="2250" y="7168"/>
                </a:cubicBezTo>
                <a:lnTo>
                  <a:pt x="3012" y="7168"/>
                </a:lnTo>
                <a:lnTo>
                  <a:pt x="3012" y="8966"/>
                </a:lnTo>
                <a:cubicBezTo>
                  <a:pt x="3012" y="10181"/>
                  <a:pt x="3989" y="11169"/>
                  <a:pt x="5215" y="11169"/>
                </a:cubicBezTo>
                <a:lnTo>
                  <a:pt x="7203" y="11169"/>
                </a:lnTo>
                <a:cubicBezTo>
                  <a:pt x="8406" y="11169"/>
                  <a:pt x="9406" y="10192"/>
                  <a:pt x="9406" y="8966"/>
                </a:cubicBezTo>
                <a:lnTo>
                  <a:pt x="9406" y="5668"/>
                </a:lnTo>
                <a:lnTo>
                  <a:pt x="9680" y="5668"/>
                </a:lnTo>
                <a:cubicBezTo>
                  <a:pt x="9930" y="5668"/>
                  <a:pt x="10132" y="5454"/>
                  <a:pt x="10132" y="5204"/>
                </a:cubicBezTo>
                <a:lnTo>
                  <a:pt x="10132" y="2894"/>
                </a:lnTo>
                <a:cubicBezTo>
                  <a:pt x="10073" y="2656"/>
                  <a:pt x="9882" y="2453"/>
                  <a:pt x="9632" y="2453"/>
                </a:cubicBezTo>
                <a:lnTo>
                  <a:pt x="9406" y="2453"/>
                </a:lnTo>
                <a:lnTo>
                  <a:pt x="9406" y="1763"/>
                </a:lnTo>
                <a:cubicBezTo>
                  <a:pt x="9406" y="1680"/>
                  <a:pt x="9335" y="1608"/>
                  <a:pt x="9251" y="1608"/>
                </a:cubicBezTo>
                <a:cubicBezTo>
                  <a:pt x="9156" y="1608"/>
                  <a:pt x="9084" y="1680"/>
                  <a:pt x="9084" y="1763"/>
                </a:cubicBezTo>
                <a:lnTo>
                  <a:pt x="9084" y="2453"/>
                </a:lnTo>
                <a:lnTo>
                  <a:pt x="8858" y="2453"/>
                </a:lnTo>
                <a:cubicBezTo>
                  <a:pt x="8608" y="2453"/>
                  <a:pt x="8394" y="2656"/>
                  <a:pt x="8394" y="2918"/>
                </a:cubicBezTo>
                <a:lnTo>
                  <a:pt x="8394" y="3549"/>
                </a:lnTo>
                <a:cubicBezTo>
                  <a:pt x="8394" y="3644"/>
                  <a:pt x="8477" y="3716"/>
                  <a:pt x="8561" y="3716"/>
                </a:cubicBezTo>
                <a:cubicBezTo>
                  <a:pt x="8656" y="3716"/>
                  <a:pt x="8727" y="3644"/>
                  <a:pt x="8727" y="3549"/>
                </a:cubicBezTo>
                <a:lnTo>
                  <a:pt x="8727" y="2918"/>
                </a:lnTo>
                <a:cubicBezTo>
                  <a:pt x="8727" y="2846"/>
                  <a:pt x="8787" y="2787"/>
                  <a:pt x="8858" y="2787"/>
                </a:cubicBezTo>
                <a:lnTo>
                  <a:pt x="9632" y="2787"/>
                </a:lnTo>
                <a:cubicBezTo>
                  <a:pt x="9704" y="2787"/>
                  <a:pt x="9763" y="2846"/>
                  <a:pt x="9763" y="2918"/>
                </a:cubicBezTo>
                <a:lnTo>
                  <a:pt x="9763" y="5228"/>
                </a:lnTo>
                <a:cubicBezTo>
                  <a:pt x="9763" y="5299"/>
                  <a:pt x="9704" y="5359"/>
                  <a:pt x="9632" y="5359"/>
                </a:cubicBezTo>
                <a:lnTo>
                  <a:pt x="8858" y="5359"/>
                </a:lnTo>
                <a:cubicBezTo>
                  <a:pt x="8787" y="5359"/>
                  <a:pt x="8727" y="5299"/>
                  <a:pt x="8727" y="5228"/>
                </a:cubicBezTo>
                <a:lnTo>
                  <a:pt x="8727" y="4251"/>
                </a:lnTo>
                <a:cubicBezTo>
                  <a:pt x="8727" y="4168"/>
                  <a:pt x="8656" y="4097"/>
                  <a:pt x="8561" y="4097"/>
                </a:cubicBezTo>
                <a:cubicBezTo>
                  <a:pt x="8477" y="4097"/>
                  <a:pt x="8394" y="4168"/>
                  <a:pt x="8394" y="4251"/>
                </a:cubicBezTo>
                <a:lnTo>
                  <a:pt x="8394" y="5228"/>
                </a:lnTo>
                <a:cubicBezTo>
                  <a:pt x="8394" y="5478"/>
                  <a:pt x="8608" y="5680"/>
                  <a:pt x="8858" y="5680"/>
                </a:cubicBezTo>
                <a:lnTo>
                  <a:pt x="9049" y="5680"/>
                </a:lnTo>
                <a:lnTo>
                  <a:pt x="9049" y="8990"/>
                </a:lnTo>
                <a:cubicBezTo>
                  <a:pt x="9049" y="10014"/>
                  <a:pt x="8215" y="10859"/>
                  <a:pt x="7179" y="10859"/>
                </a:cubicBezTo>
                <a:lnTo>
                  <a:pt x="5179" y="10859"/>
                </a:lnTo>
                <a:cubicBezTo>
                  <a:pt x="4155" y="10859"/>
                  <a:pt x="3310" y="10026"/>
                  <a:pt x="3310" y="8990"/>
                </a:cubicBezTo>
                <a:lnTo>
                  <a:pt x="3310" y="7192"/>
                </a:lnTo>
                <a:lnTo>
                  <a:pt x="4072" y="7192"/>
                </a:lnTo>
                <a:cubicBezTo>
                  <a:pt x="4405" y="7192"/>
                  <a:pt x="4703" y="6906"/>
                  <a:pt x="4703" y="6549"/>
                </a:cubicBezTo>
                <a:lnTo>
                  <a:pt x="4703" y="6263"/>
                </a:lnTo>
                <a:cubicBezTo>
                  <a:pt x="5572" y="6204"/>
                  <a:pt x="5810" y="5728"/>
                  <a:pt x="5858" y="5323"/>
                </a:cubicBezTo>
                <a:lnTo>
                  <a:pt x="5941" y="4478"/>
                </a:lnTo>
                <a:lnTo>
                  <a:pt x="6013" y="3704"/>
                </a:lnTo>
                <a:lnTo>
                  <a:pt x="6096" y="2930"/>
                </a:lnTo>
                <a:lnTo>
                  <a:pt x="6239" y="1382"/>
                </a:lnTo>
                <a:lnTo>
                  <a:pt x="6298" y="834"/>
                </a:lnTo>
                <a:cubicBezTo>
                  <a:pt x="6310" y="620"/>
                  <a:pt x="6251" y="417"/>
                  <a:pt x="6108" y="251"/>
                </a:cubicBezTo>
                <a:cubicBezTo>
                  <a:pt x="5953" y="84"/>
                  <a:pt x="5763"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53" name="Google Shape;10553;p59"/>
          <p:cNvGrpSpPr/>
          <p:nvPr/>
        </p:nvGrpSpPr>
        <p:grpSpPr>
          <a:xfrm>
            <a:off x="8007400" y="2902278"/>
            <a:ext cx="285230" cy="355597"/>
            <a:chOff x="8007400" y="2902278"/>
            <a:chExt cx="285230" cy="355597"/>
          </a:xfrm>
        </p:grpSpPr>
        <p:sp>
          <p:nvSpPr>
            <p:cNvPr id="10554" name="Google Shape;10554;p59"/>
            <p:cNvSpPr/>
            <p:nvPr/>
          </p:nvSpPr>
          <p:spPr>
            <a:xfrm>
              <a:off x="8134820" y="3165305"/>
              <a:ext cx="39851" cy="39851"/>
            </a:xfrm>
            <a:custGeom>
              <a:avLst/>
              <a:gdLst/>
              <a:ahLst/>
              <a:cxnLst/>
              <a:rect l="l" t="t" r="r" b="b"/>
              <a:pathLst>
                <a:path w="1251" h="1251" extrusionOk="0">
                  <a:moveTo>
                    <a:pt x="632" y="310"/>
                  </a:moveTo>
                  <a:cubicBezTo>
                    <a:pt x="799" y="310"/>
                    <a:pt x="930" y="441"/>
                    <a:pt x="930" y="608"/>
                  </a:cubicBezTo>
                  <a:cubicBezTo>
                    <a:pt x="930" y="775"/>
                    <a:pt x="799" y="906"/>
                    <a:pt x="632" y="906"/>
                  </a:cubicBezTo>
                  <a:cubicBezTo>
                    <a:pt x="465" y="906"/>
                    <a:pt x="334" y="775"/>
                    <a:pt x="334" y="608"/>
                  </a:cubicBezTo>
                  <a:cubicBezTo>
                    <a:pt x="334" y="441"/>
                    <a:pt x="465" y="310"/>
                    <a:pt x="632" y="310"/>
                  </a:cubicBezTo>
                  <a:close/>
                  <a:moveTo>
                    <a:pt x="632" y="1"/>
                  </a:moveTo>
                  <a:cubicBezTo>
                    <a:pt x="287" y="1"/>
                    <a:pt x="1" y="275"/>
                    <a:pt x="1" y="620"/>
                  </a:cubicBezTo>
                  <a:cubicBezTo>
                    <a:pt x="1" y="965"/>
                    <a:pt x="287" y="1251"/>
                    <a:pt x="632" y="1251"/>
                  </a:cubicBezTo>
                  <a:cubicBezTo>
                    <a:pt x="977" y="1251"/>
                    <a:pt x="1251" y="965"/>
                    <a:pt x="1251" y="620"/>
                  </a:cubicBezTo>
                  <a:cubicBezTo>
                    <a:pt x="1251" y="275"/>
                    <a:pt x="977"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5" name="Google Shape;10555;p59"/>
            <p:cNvSpPr/>
            <p:nvPr/>
          </p:nvSpPr>
          <p:spPr>
            <a:xfrm>
              <a:off x="8007400" y="2902278"/>
              <a:ext cx="285230" cy="355597"/>
            </a:xfrm>
            <a:custGeom>
              <a:avLst/>
              <a:gdLst/>
              <a:ahLst/>
              <a:cxnLst/>
              <a:rect l="l" t="t" r="r" b="b"/>
              <a:pathLst>
                <a:path w="8954" h="11163" extrusionOk="0">
                  <a:moveTo>
                    <a:pt x="6528" y="337"/>
                  </a:moveTo>
                  <a:cubicBezTo>
                    <a:pt x="6549" y="337"/>
                    <a:pt x="6573" y="346"/>
                    <a:pt x="6596" y="364"/>
                  </a:cubicBezTo>
                  <a:lnTo>
                    <a:pt x="7632" y="1412"/>
                  </a:lnTo>
                  <a:cubicBezTo>
                    <a:pt x="7668" y="1435"/>
                    <a:pt x="7668" y="1483"/>
                    <a:pt x="7632" y="1519"/>
                  </a:cubicBezTo>
                  <a:lnTo>
                    <a:pt x="7489" y="1674"/>
                  </a:lnTo>
                  <a:cubicBezTo>
                    <a:pt x="7472" y="1691"/>
                    <a:pt x="7454" y="1700"/>
                    <a:pt x="7434" y="1700"/>
                  </a:cubicBezTo>
                  <a:cubicBezTo>
                    <a:pt x="7415" y="1700"/>
                    <a:pt x="7394" y="1691"/>
                    <a:pt x="7370" y="1674"/>
                  </a:cubicBezTo>
                  <a:lnTo>
                    <a:pt x="6323" y="626"/>
                  </a:lnTo>
                  <a:cubicBezTo>
                    <a:pt x="6299" y="590"/>
                    <a:pt x="6299" y="542"/>
                    <a:pt x="6323" y="519"/>
                  </a:cubicBezTo>
                  <a:lnTo>
                    <a:pt x="6477" y="364"/>
                  </a:lnTo>
                  <a:cubicBezTo>
                    <a:pt x="6489" y="346"/>
                    <a:pt x="6507" y="337"/>
                    <a:pt x="6528" y="337"/>
                  </a:cubicBezTo>
                  <a:close/>
                  <a:moveTo>
                    <a:pt x="6299" y="1066"/>
                  </a:moveTo>
                  <a:lnTo>
                    <a:pt x="7001" y="1769"/>
                  </a:lnTo>
                  <a:lnTo>
                    <a:pt x="6346" y="2424"/>
                  </a:lnTo>
                  <a:lnTo>
                    <a:pt x="5644" y="1721"/>
                  </a:lnTo>
                  <a:lnTo>
                    <a:pt x="6299" y="1066"/>
                  </a:lnTo>
                  <a:close/>
                  <a:moveTo>
                    <a:pt x="2155" y="4698"/>
                  </a:moveTo>
                  <a:lnTo>
                    <a:pt x="2453" y="4995"/>
                  </a:lnTo>
                  <a:lnTo>
                    <a:pt x="2215" y="5198"/>
                  </a:lnTo>
                  <a:cubicBezTo>
                    <a:pt x="2203" y="5216"/>
                    <a:pt x="2182" y="5225"/>
                    <a:pt x="2160" y="5225"/>
                  </a:cubicBezTo>
                  <a:cubicBezTo>
                    <a:pt x="2137" y="5225"/>
                    <a:pt x="2114" y="5216"/>
                    <a:pt x="2096" y="5198"/>
                  </a:cubicBezTo>
                  <a:lnTo>
                    <a:pt x="1941" y="5031"/>
                  </a:lnTo>
                  <a:cubicBezTo>
                    <a:pt x="1905" y="5007"/>
                    <a:pt x="1905" y="4948"/>
                    <a:pt x="1941" y="4924"/>
                  </a:cubicBezTo>
                  <a:lnTo>
                    <a:pt x="2155" y="4698"/>
                  </a:lnTo>
                  <a:close/>
                  <a:moveTo>
                    <a:pt x="2408" y="3865"/>
                  </a:moveTo>
                  <a:cubicBezTo>
                    <a:pt x="2416" y="3865"/>
                    <a:pt x="2422" y="3869"/>
                    <a:pt x="2429" y="3876"/>
                  </a:cubicBezTo>
                  <a:lnTo>
                    <a:pt x="2572" y="4031"/>
                  </a:lnTo>
                  <a:cubicBezTo>
                    <a:pt x="4203" y="5662"/>
                    <a:pt x="4144" y="5579"/>
                    <a:pt x="4108" y="5603"/>
                  </a:cubicBezTo>
                  <a:lnTo>
                    <a:pt x="3846" y="5876"/>
                  </a:lnTo>
                  <a:cubicBezTo>
                    <a:pt x="3842" y="5879"/>
                    <a:pt x="3839" y="5883"/>
                    <a:pt x="3835" y="5883"/>
                  </a:cubicBezTo>
                  <a:cubicBezTo>
                    <a:pt x="3804" y="5883"/>
                    <a:pt x="3678" y="5722"/>
                    <a:pt x="2120" y="4174"/>
                  </a:cubicBezTo>
                  <a:cubicBezTo>
                    <a:pt x="2096" y="4162"/>
                    <a:pt x="2096" y="4138"/>
                    <a:pt x="2120" y="4138"/>
                  </a:cubicBezTo>
                  <a:cubicBezTo>
                    <a:pt x="2328" y="3930"/>
                    <a:pt x="2378" y="3865"/>
                    <a:pt x="2408" y="3865"/>
                  </a:cubicBezTo>
                  <a:close/>
                  <a:moveTo>
                    <a:pt x="3025" y="5579"/>
                  </a:moveTo>
                  <a:lnTo>
                    <a:pt x="3322" y="5876"/>
                  </a:lnTo>
                  <a:lnTo>
                    <a:pt x="3084" y="6079"/>
                  </a:lnTo>
                  <a:cubicBezTo>
                    <a:pt x="3066" y="6097"/>
                    <a:pt x="3042" y="6106"/>
                    <a:pt x="3020" y="6106"/>
                  </a:cubicBezTo>
                  <a:cubicBezTo>
                    <a:pt x="2998" y="6106"/>
                    <a:pt x="2977" y="6097"/>
                    <a:pt x="2965" y="6079"/>
                  </a:cubicBezTo>
                  <a:lnTo>
                    <a:pt x="2798" y="5912"/>
                  </a:lnTo>
                  <a:cubicBezTo>
                    <a:pt x="2774" y="5888"/>
                    <a:pt x="2774" y="5829"/>
                    <a:pt x="2798" y="5793"/>
                  </a:cubicBezTo>
                  <a:lnTo>
                    <a:pt x="3025" y="5579"/>
                  </a:lnTo>
                  <a:close/>
                  <a:moveTo>
                    <a:pt x="3025" y="6936"/>
                  </a:moveTo>
                  <a:cubicBezTo>
                    <a:pt x="3072" y="6936"/>
                    <a:pt x="3096" y="6972"/>
                    <a:pt x="3096" y="7019"/>
                  </a:cubicBezTo>
                  <a:lnTo>
                    <a:pt x="3096" y="7269"/>
                  </a:lnTo>
                  <a:cubicBezTo>
                    <a:pt x="3096" y="7317"/>
                    <a:pt x="3072" y="7341"/>
                    <a:pt x="3025" y="7341"/>
                  </a:cubicBezTo>
                  <a:lnTo>
                    <a:pt x="405" y="7341"/>
                  </a:lnTo>
                  <a:cubicBezTo>
                    <a:pt x="369" y="7341"/>
                    <a:pt x="334" y="7305"/>
                    <a:pt x="334" y="7269"/>
                  </a:cubicBezTo>
                  <a:lnTo>
                    <a:pt x="334" y="7019"/>
                  </a:lnTo>
                  <a:cubicBezTo>
                    <a:pt x="334" y="6972"/>
                    <a:pt x="358" y="6936"/>
                    <a:pt x="405" y="6936"/>
                  </a:cubicBezTo>
                  <a:close/>
                  <a:moveTo>
                    <a:pt x="1834" y="7674"/>
                  </a:moveTo>
                  <a:cubicBezTo>
                    <a:pt x="2060" y="7960"/>
                    <a:pt x="2322" y="8210"/>
                    <a:pt x="2632" y="8401"/>
                  </a:cubicBezTo>
                  <a:cubicBezTo>
                    <a:pt x="2608" y="8448"/>
                    <a:pt x="2572" y="8496"/>
                    <a:pt x="2548" y="8520"/>
                  </a:cubicBezTo>
                  <a:cubicBezTo>
                    <a:pt x="2489" y="8591"/>
                    <a:pt x="2441" y="8663"/>
                    <a:pt x="2393" y="8746"/>
                  </a:cubicBezTo>
                  <a:cubicBezTo>
                    <a:pt x="2382" y="8770"/>
                    <a:pt x="2334" y="8805"/>
                    <a:pt x="2322" y="8853"/>
                  </a:cubicBezTo>
                  <a:cubicBezTo>
                    <a:pt x="1846" y="8555"/>
                    <a:pt x="1465" y="8151"/>
                    <a:pt x="1167" y="7674"/>
                  </a:cubicBezTo>
                  <a:close/>
                  <a:moveTo>
                    <a:pt x="4632" y="7793"/>
                  </a:moveTo>
                  <a:cubicBezTo>
                    <a:pt x="5870" y="7793"/>
                    <a:pt x="6846" y="8793"/>
                    <a:pt x="6918" y="9936"/>
                  </a:cubicBezTo>
                  <a:lnTo>
                    <a:pt x="2334" y="9936"/>
                  </a:lnTo>
                  <a:cubicBezTo>
                    <a:pt x="2417" y="8770"/>
                    <a:pt x="3406" y="7793"/>
                    <a:pt x="4632" y="7793"/>
                  </a:cubicBezTo>
                  <a:close/>
                  <a:moveTo>
                    <a:pt x="6525" y="1"/>
                  </a:moveTo>
                  <a:cubicBezTo>
                    <a:pt x="6421" y="1"/>
                    <a:pt x="6317" y="42"/>
                    <a:pt x="6239" y="126"/>
                  </a:cubicBezTo>
                  <a:lnTo>
                    <a:pt x="6084" y="269"/>
                  </a:lnTo>
                  <a:cubicBezTo>
                    <a:pt x="5942" y="423"/>
                    <a:pt x="5942" y="662"/>
                    <a:pt x="6073" y="804"/>
                  </a:cubicBezTo>
                  <a:lnTo>
                    <a:pt x="5406" y="1483"/>
                  </a:lnTo>
                  <a:lnTo>
                    <a:pt x="5251" y="1328"/>
                  </a:lnTo>
                  <a:cubicBezTo>
                    <a:pt x="5221" y="1299"/>
                    <a:pt x="5180" y="1284"/>
                    <a:pt x="5136" y="1284"/>
                  </a:cubicBezTo>
                  <a:cubicBezTo>
                    <a:pt x="5093" y="1284"/>
                    <a:pt x="5049" y="1299"/>
                    <a:pt x="5013" y="1328"/>
                  </a:cubicBezTo>
                  <a:lnTo>
                    <a:pt x="3977" y="2376"/>
                  </a:lnTo>
                  <a:cubicBezTo>
                    <a:pt x="3917" y="2436"/>
                    <a:pt x="3917" y="2531"/>
                    <a:pt x="3977" y="2614"/>
                  </a:cubicBezTo>
                  <a:cubicBezTo>
                    <a:pt x="4007" y="2644"/>
                    <a:pt x="4045" y="2659"/>
                    <a:pt x="4087" y="2659"/>
                  </a:cubicBezTo>
                  <a:cubicBezTo>
                    <a:pt x="4129" y="2659"/>
                    <a:pt x="4173" y="2644"/>
                    <a:pt x="4215" y="2614"/>
                  </a:cubicBezTo>
                  <a:lnTo>
                    <a:pt x="5132" y="1685"/>
                  </a:lnTo>
                  <a:lnTo>
                    <a:pt x="6299" y="2852"/>
                  </a:lnTo>
                  <a:lnTo>
                    <a:pt x="4060" y="5079"/>
                  </a:lnTo>
                  <a:lnTo>
                    <a:pt x="2905" y="3924"/>
                  </a:lnTo>
                  <a:lnTo>
                    <a:pt x="3739" y="3090"/>
                  </a:lnTo>
                  <a:cubicBezTo>
                    <a:pt x="3798" y="3031"/>
                    <a:pt x="3798" y="2924"/>
                    <a:pt x="3739" y="2864"/>
                  </a:cubicBezTo>
                  <a:cubicBezTo>
                    <a:pt x="3709" y="2834"/>
                    <a:pt x="3667" y="2820"/>
                    <a:pt x="3624" y="2820"/>
                  </a:cubicBezTo>
                  <a:cubicBezTo>
                    <a:pt x="3581" y="2820"/>
                    <a:pt x="3536" y="2834"/>
                    <a:pt x="3501" y="2864"/>
                  </a:cubicBezTo>
                  <a:lnTo>
                    <a:pt x="2667" y="3698"/>
                  </a:lnTo>
                  <a:lnTo>
                    <a:pt x="2632" y="3662"/>
                  </a:lnTo>
                  <a:cubicBezTo>
                    <a:pt x="2566" y="3596"/>
                    <a:pt x="2477" y="3564"/>
                    <a:pt x="2388" y="3564"/>
                  </a:cubicBezTo>
                  <a:cubicBezTo>
                    <a:pt x="2298" y="3564"/>
                    <a:pt x="2209" y="3596"/>
                    <a:pt x="2143" y="3662"/>
                  </a:cubicBezTo>
                  <a:lnTo>
                    <a:pt x="1870" y="3936"/>
                  </a:lnTo>
                  <a:cubicBezTo>
                    <a:pt x="1739" y="4067"/>
                    <a:pt x="1739" y="4293"/>
                    <a:pt x="1870" y="4424"/>
                  </a:cubicBezTo>
                  <a:lnTo>
                    <a:pt x="1905" y="4460"/>
                  </a:lnTo>
                  <a:cubicBezTo>
                    <a:pt x="1751" y="4638"/>
                    <a:pt x="1548" y="4722"/>
                    <a:pt x="1548" y="4972"/>
                  </a:cubicBezTo>
                  <a:cubicBezTo>
                    <a:pt x="1548" y="5079"/>
                    <a:pt x="1596" y="5186"/>
                    <a:pt x="1667" y="5269"/>
                  </a:cubicBezTo>
                  <a:cubicBezTo>
                    <a:pt x="1786" y="5376"/>
                    <a:pt x="1870" y="5555"/>
                    <a:pt x="2132" y="5555"/>
                  </a:cubicBezTo>
                  <a:cubicBezTo>
                    <a:pt x="2382" y="5555"/>
                    <a:pt x="2465" y="5353"/>
                    <a:pt x="2644" y="5198"/>
                  </a:cubicBezTo>
                  <a:lnTo>
                    <a:pt x="2763" y="5317"/>
                  </a:lnTo>
                  <a:cubicBezTo>
                    <a:pt x="2620" y="5495"/>
                    <a:pt x="2405" y="5591"/>
                    <a:pt x="2405" y="5841"/>
                  </a:cubicBezTo>
                  <a:cubicBezTo>
                    <a:pt x="2405" y="6079"/>
                    <a:pt x="2608" y="6186"/>
                    <a:pt x="2691" y="6305"/>
                  </a:cubicBezTo>
                  <a:cubicBezTo>
                    <a:pt x="2763" y="6377"/>
                    <a:pt x="2870" y="6424"/>
                    <a:pt x="2989" y="6424"/>
                  </a:cubicBezTo>
                  <a:cubicBezTo>
                    <a:pt x="3239" y="6424"/>
                    <a:pt x="3334" y="6210"/>
                    <a:pt x="3513" y="6067"/>
                  </a:cubicBezTo>
                  <a:cubicBezTo>
                    <a:pt x="3525" y="6079"/>
                    <a:pt x="3620" y="6198"/>
                    <a:pt x="3798" y="6198"/>
                  </a:cubicBezTo>
                  <a:cubicBezTo>
                    <a:pt x="3882" y="6198"/>
                    <a:pt x="3977" y="6162"/>
                    <a:pt x="4048" y="6091"/>
                  </a:cubicBezTo>
                  <a:lnTo>
                    <a:pt x="4310" y="5829"/>
                  </a:lnTo>
                  <a:cubicBezTo>
                    <a:pt x="4453" y="5686"/>
                    <a:pt x="4453" y="5472"/>
                    <a:pt x="4310" y="5329"/>
                  </a:cubicBezTo>
                  <a:lnTo>
                    <a:pt x="4287" y="5305"/>
                  </a:lnTo>
                  <a:lnTo>
                    <a:pt x="6239" y="3352"/>
                  </a:lnTo>
                  <a:cubicBezTo>
                    <a:pt x="6930" y="3924"/>
                    <a:pt x="7335" y="4733"/>
                    <a:pt x="7335" y="5626"/>
                  </a:cubicBezTo>
                  <a:cubicBezTo>
                    <a:pt x="7335" y="6555"/>
                    <a:pt x="6906" y="7412"/>
                    <a:pt x="6156" y="7984"/>
                  </a:cubicBezTo>
                  <a:cubicBezTo>
                    <a:pt x="5690" y="7638"/>
                    <a:pt x="5153" y="7470"/>
                    <a:pt x="4619" y="7470"/>
                  </a:cubicBezTo>
                  <a:cubicBezTo>
                    <a:pt x="3993" y="7470"/>
                    <a:pt x="3371" y="7701"/>
                    <a:pt x="2870" y="8151"/>
                  </a:cubicBezTo>
                  <a:cubicBezTo>
                    <a:pt x="2644" y="8008"/>
                    <a:pt x="2453" y="7853"/>
                    <a:pt x="2274" y="7650"/>
                  </a:cubicBezTo>
                  <a:lnTo>
                    <a:pt x="3025" y="7650"/>
                  </a:lnTo>
                  <a:cubicBezTo>
                    <a:pt x="3239" y="7650"/>
                    <a:pt x="3417" y="7472"/>
                    <a:pt x="3417" y="7258"/>
                  </a:cubicBezTo>
                  <a:lnTo>
                    <a:pt x="3417" y="6996"/>
                  </a:lnTo>
                  <a:cubicBezTo>
                    <a:pt x="3417" y="6781"/>
                    <a:pt x="3239" y="6603"/>
                    <a:pt x="3025" y="6603"/>
                  </a:cubicBezTo>
                  <a:lnTo>
                    <a:pt x="405" y="6603"/>
                  </a:lnTo>
                  <a:cubicBezTo>
                    <a:pt x="179" y="6603"/>
                    <a:pt x="0" y="6781"/>
                    <a:pt x="0" y="6996"/>
                  </a:cubicBezTo>
                  <a:lnTo>
                    <a:pt x="0" y="7258"/>
                  </a:lnTo>
                  <a:cubicBezTo>
                    <a:pt x="0" y="7472"/>
                    <a:pt x="179" y="7650"/>
                    <a:pt x="405" y="7650"/>
                  </a:cubicBezTo>
                  <a:lnTo>
                    <a:pt x="774" y="7650"/>
                  </a:lnTo>
                  <a:cubicBezTo>
                    <a:pt x="1036" y="8162"/>
                    <a:pt x="1548" y="8722"/>
                    <a:pt x="2191" y="9127"/>
                  </a:cubicBezTo>
                  <a:cubicBezTo>
                    <a:pt x="2084" y="9377"/>
                    <a:pt x="2036" y="9651"/>
                    <a:pt x="2012" y="9936"/>
                  </a:cubicBezTo>
                  <a:lnTo>
                    <a:pt x="846" y="9936"/>
                  </a:lnTo>
                  <a:cubicBezTo>
                    <a:pt x="774" y="9936"/>
                    <a:pt x="715" y="9972"/>
                    <a:pt x="703" y="10032"/>
                  </a:cubicBezTo>
                  <a:lnTo>
                    <a:pt x="346" y="10948"/>
                  </a:lnTo>
                  <a:cubicBezTo>
                    <a:pt x="298" y="11044"/>
                    <a:pt x="381" y="11163"/>
                    <a:pt x="488" y="11163"/>
                  </a:cubicBezTo>
                  <a:lnTo>
                    <a:pt x="1393" y="11163"/>
                  </a:lnTo>
                  <a:cubicBezTo>
                    <a:pt x="1489" y="11163"/>
                    <a:pt x="1560" y="11091"/>
                    <a:pt x="1560" y="11008"/>
                  </a:cubicBezTo>
                  <a:cubicBezTo>
                    <a:pt x="1560" y="10913"/>
                    <a:pt x="1489" y="10841"/>
                    <a:pt x="1393" y="10841"/>
                  </a:cubicBezTo>
                  <a:lnTo>
                    <a:pt x="739" y="10841"/>
                  </a:lnTo>
                  <a:lnTo>
                    <a:pt x="965" y="10258"/>
                  </a:lnTo>
                  <a:lnTo>
                    <a:pt x="8299" y="10258"/>
                  </a:lnTo>
                  <a:lnTo>
                    <a:pt x="8525" y="10841"/>
                  </a:lnTo>
                  <a:lnTo>
                    <a:pt x="2167" y="10841"/>
                  </a:lnTo>
                  <a:cubicBezTo>
                    <a:pt x="2084" y="10841"/>
                    <a:pt x="2012" y="10913"/>
                    <a:pt x="2012" y="11008"/>
                  </a:cubicBezTo>
                  <a:cubicBezTo>
                    <a:pt x="2012" y="11091"/>
                    <a:pt x="2084" y="11163"/>
                    <a:pt x="2167" y="11163"/>
                  </a:cubicBezTo>
                  <a:lnTo>
                    <a:pt x="8763" y="11163"/>
                  </a:lnTo>
                  <a:cubicBezTo>
                    <a:pt x="8882" y="11163"/>
                    <a:pt x="8954" y="11044"/>
                    <a:pt x="8918" y="10948"/>
                  </a:cubicBezTo>
                  <a:lnTo>
                    <a:pt x="8561" y="10044"/>
                  </a:lnTo>
                  <a:cubicBezTo>
                    <a:pt x="8525" y="9984"/>
                    <a:pt x="8466" y="9936"/>
                    <a:pt x="8406" y="9936"/>
                  </a:cubicBezTo>
                  <a:lnTo>
                    <a:pt x="7251" y="9936"/>
                  </a:lnTo>
                  <a:cubicBezTo>
                    <a:pt x="7216" y="9555"/>
                    <a:pt x="7132" y="9198"/>
                    <a:pt x="6965" y="8889"/>
                  </a:cubicBezTo>
                  <a:cubicBezTo>
                    <a:pt x="7847" y="8210"/>
                    <a:pt x="8430" y="7174"/>
                    <a:pt x="8525" y="6067"/>
                  </a:cubicBezTo>
                  <a:cubicBezTo>
                    <a:pt x="8537" y="5972"/>
                    <a:pt x="8466" y="5900"/>
                    <a:pt x="8382" y="5888"/>
                  </a:cubicBezTo>
                  <a:cubicBezTo>
                    <a:pt x="8371" y="5886"/>
                    <a:pt x="8360" y="5884"/>
                    <a:pt x="8350" y="5884"/>
                  </a:cubicBezTo>
                  <a:cubicBezTo>
                    <a:pt x="8271" y="5884"/>
                    <a:pt x="8214" y="5958"/>
                    <a:pt x="8204" y="6031"/>
                  </a:cubicBezTo>
                  <a:cubicBezTo>
                    <a:pt x="8097" y="7043"/>
                    <a:pt x="7597" y="7972"/>
                    <a:pt x="6799" y="8603"/>
                  </a:cubicBezTo>
                  <a:cubicBezTo>
                    <a:pt x="6751" y="8543"/>
                    <a:pt x="6715" y="8508"/>
                    <a:pt x="6668" y="8460"/>
                  </a:cubicBezTo>
                  <a:cubicBezTo>
                    <a:pt x="6608" y="8389"/>
                    <a:pt x="6537" y="8293"/>
                    <a:pt x="6454" y="8222"/>
                  </a:cubicBezTo>
                  <a:lnTo>
                    <a:pt x="6430" y="8186"/>
                  </a:lnTo>
                  <a:cubicBezTo>
                    <a:pt x="8037" y="6912"/>
                    <a:pt x="8097" y="4460"/>
                    <a:pt x="6477" y="3114"/>
                  </a:cubicBezTo>
                  <a:lnTo>
                    <a:pt x="6632" y="2948"/>
                  </a:lnTo>
                  <a:cubicBezTo>
                    <a:pt x="6692" y="2888"/>
                    <a:pt x="6692" y="2793"/>
                    <a:pt x="6632" y="2733"/>
                  </a:cubicBezTo>
                  <a:lnTo>
                    <a:pt x="6561" y="2650"/>
                  </a:lnTo>
                  <a:lnTo>
                    <a:pt x="6656" y="2567"/>
                  </a:lnTo>
                  <a:cubicBezTo>
                    <a:pt x="7013" y="2793"/>
                    <a:pt x="7489" y="3305"/>
                    <a:pt x="7799" y="3900"/>
                  </a:cubicBezTo>
                  <a:cubicBezTo>
                    <a:pt x="8037" y="4352"/>
                    <a:pt x="8168" y="4876"/>
                    <a:pt x="8216" y="5376"/>
                  </a:cubicBezTo>
                  <a:cubicBezTo>
                    <a:pt x="8216" y="5465"/>
                    <a:pt x="8287" y="5532"/>
                    <a:pt x="8373" y="5532"/>
                  </a:cubicBezTo>
                  <a:cubicBezTo>
                    <a:pt x="8380" y="5532"/>
                    <a:pt x="8387" y="5532"/>
                    <a:pt x="8394" y="5531"/>
                  </a:cubicBezTo>
                  <a:cubicBezTo>
                    <a:pt x="8478" y="5531"/>
                    <a:pt x="8561" y="5436"/>
                    <a:pt x="8537" y="5353"/>
                  </a:cubicBezTo>
                  <a:cubicBezTo>
                    <a:pt x="8454" y="4138"/>
                    <a:pt x="7858" y="3055"/>
                    <a:pt x="6894" y="2328"/>
                  </a:cubicBezTo>
                  <a:lnTo>
                    <a:pt x="7251" y="1971"/>
                  </a:lnTo>
                  <a:cubicBezTo>
                    <a:pt x="7317" y="2002"/>
                    <a:pt x="7384" y="2017"/>
                    <a:pt x="7446" y="2017"/>
                  </a:cubicBezTo>
                  <a:cubicBezTo>
                    <a:pt x="7551" y="2017"/>
                    <a:pt x="7644" y="1975"/>
                    <a:pt x="7704" y="1900"/>
                  </a:cubicBezTo>
                  <a:lnTo>
                    <a:pt x="7858" y="1745"/>
                  </a:lnTo>
                  <a:cubicBezTo>
                    <a:pt x="8025" y="1578"/>
                    <a:pt x="8025" y="1328"/>
                    <a:pt x="7858" y="1162"/>
                  </a:cubicBezTo>
                  <a:lnTo>
                    <a:pt x="6811" y="126"/>
                  </a:lnTo>
                  <a:cubicBezTo>
                    <a:pt x="6733" y="42"/>
                    <a:pt x="6629" y="1"/>
                    <a:pt x="6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56" name="Google Shape;10556;p59"/>
          <p:cNvGrpSpPr/>
          <p:nvPr/>
        </p:nvGrpSpPr>
        <p:grpSpPr>
          <a:xfrm>
            <a:off x="6219124" y="2902788"/>
            <a:ext cx="318231" cy="355470"/>
            <a:chOff x="6219124" y="2902788"/>
            <a:chExt cx="318231" cy="355470"/>
          </a:xfrm>
        </p:grpSpPr>
        <p:sp>
          <p:nvSpPr>
            <p:cNvPr id="10557" name="Google Shape;10557;p59"/>
            <p:cNvSpPr/>
            <p:nvPr/>
          </p:nvSpPr>
          <p:spPr>
            <a:xfrm>
              <a:off x="6219124" y="2990994"/>
              <a:ext cx="140353" cy="267263"/>
            </a:xfrm>
            <a:custGeom>
              <a:avLst/>
              <a:gdLst/>
              <a:ahLst/>
              <a:cxnLst/>
              <a:rect l="l" t="t" r="r" b="b"/>
              <a:pathLst>
                <a:path w="4406" h="8390" extrusionOk="0">
                  <a:moveTo>
                    <a:pt x="1303" y="0"/>
                  </a:moveTo>
                  <a:cubicBezTo>
                    <a:pt x="1243" y="0"/>
                    <a:pt x="1178" y="40"/>
                    <a:pt x="1143" y="91"/>
                  </a:cubicBezTo>
                  <a:cubicBezTo>
                    <a:pt x="858" y="686"/>
                    <a:pt x="715" y="1329"/>
                    <a:pt x="715" y="1984"/>
                  </a:cubicBezTo>
                  <a:cubicBezTo>
                    <a:pt x="715" y="2222"/>
                    <a:pt x="774" y="2627"/>
                    <a:pt x="786" y="2758"/>
                  </a:cubicBezTo>
                  <a:lnTo>
                    <a:pt x="191" y="3806"/>
                  </a:lnTo>
                  <a:cubicBezTo>
                    <a:pt x="0" y="4127"/>
                    <a:pt x="143" y="4544"/>
                    <a:pt x="500" y="4699"/>
                  </a:cubicBezTo>
                  <a:lnTo>
                    <a:pt x="1143" y="4961"/>
                  </a:lnTo>
                  <a:lnTo>
                    <a:pt x="1143" y="6104"/>
                  </a:lnTo>
                  <a:cubicBezTo>
                    <a:pt x="1143" y="6628"/>
                    <a:pt x="1572" y="7056"/>
                    <a:pt x="2096" y="7056"/>
                  </a:cubicBezTo>
                  <a:lnTo>
                    <a:pt x="2965" y="7056"/>
                  </a:lnTo>
                  <a:lnTo>
                    <a:pt x="2965" y="8223"/>
                  </a:lnTo>
                  <a:cubicBezTo>
                    <a:pt x="2965" y="8306"/>
                    <a:pt x="3036" y="8390"/>
                    <a:pt x="3120" y="8390"/>
                  </a:cubicBezTo>
                  <a:cubicBezTo>
                    <a:pt x="3215" y="8390"/>
                    <a:pt x="3286" y="8306"/>
                    <a:pt x="3286" y="8223"/>
                  </a:cubicBezTo>
                  <a:lnTo>
                    <a:pt x="3286" y="7044"/>
                  </a:lnTo>
                  <a:cubicBezTo>
                    <a:pt x="3525" y="7032"/>
                    <a:pt x="4001" y="6937"/>
                    <a:pt x="4334" y="6663"/>
                  </a:cubicBezTo>
                  <a:cubicBezTo>
                    <a:pt x="4406" y="6604"/>
                    <a:pt x="4406" y="6497"/>
                    <a:pt x="4346" y="6437"/>
                  </a:cubicBezTo>
                  <a:cubicBezTo>
                    <a:pt x="4320" y="6398"/>
                    <a:pt x="4279" y="6380"/>
                    <a:pt x="4234" y="6380"/>
                  </a:cubicBezTo>
                  <a:cubicBezTo>
                    <a:pt x="4197" y="6380"/>
                    <a:pt x="4157" y="6392"/>
                    <a:pt x="4120" y="6413"/>
                  </a:cubicBezTo>
                  <a:cubicBezTo>
                    <a:pt x="3763" y="6735"/>
                    <a:pt x="3144" y="6735"/>
                    <a:pt x="3132" y="6735"/>
                  </a:cubicBezTo>
                  <a:lnTo>
                    <a:pt x="2096" y="6735"/>
                  </a:lnTo>
                  <a:cubicBezTo>
                    <a:pt x="1762" y="6735"/>
                    <a:pt x="1477" y="6449"/>
                    <a:pt x="1477" y="6104"/>
                  </a:cubicBezTo>
                  <a:lnTo>
                    <a:pt x="1477" y="4854"/>
                  </a:lnTo>
                  <a:cubicBezTo>
                    <a:pt x="1477" y="4782"/>
                    <a:pt x="1429" y="4723"/>
                    <a:pt x="1370" y="4711"/>
                  </a:cubicBezTo>
                  <a:lnTo>
                    <a:pt x="619" y="4389"/>
                  </a:lnTo>
                  <a:cubicBezTo>
                    <a:pt x="465" y="4318"/>
                    <a:pt x="381" y="4127"/>
                    <a:pt x="477" y="3961"/>
                  </a:cubicBezTo>
                  <a:cubicBezTo>
                    <a:pt x="1120" y="2818"/>
                    <a:pt x="1131" y="2865"/>
                    <a:pt x="1120" y="2770"/>
                  </a:cubicBezTo>
                  <a:cubicBezTo>
                    <a:pt x="1120" y="2770"/>
                    <a:pt x="1036" y="2246"/>
                    <a:pt x="1036" y="1984"/>
                  </a:cubicBezTo>
                  <a:cubicBezTo>
                    <a:pt x="1036" y="1377"/>
                    <a:pt x="1179" y="782"/>
                    <a:pt x="1441" y="246"/>
                  </a:cubicBezTo>
                  <a:cubicBezTo>
                    <a:pt x="1489" y="163"/>
                    <a:pt x="1441" y="67"/>
                    <a:pt x="1370" y="20"/>
                  </a:cubicBezTo>
                  <a:cubicBezTo>
                    <a:pt x="1350" y="6"/>
                    <a:pt x="1327" y="0"/>
                    <a:pt x="1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8" name="Google Shape;10558;p59"/>
            <p:cNvSpPr/>
            <p:nvPr/>
          </p:nvSpPr>
          <p:spPr>
            <a:xfrm>
              <a:off x="6268054" y="2902788"/>
              <a:ext cx="269302" cy="354705"/>
            </a:xfrm>
            <a:custGeom>
              <a:avLst/>
              <a:gdLst/>
              <a:ahLst/>
              <a:cxnLst/>
              <a:rect l="l" t="t" r="r" b="b"/>
              <a:pathLst>
                <a:path w="8454" h="11135" extrusionOk="0">
                  <a:moveTo>
                    <a:pt x="8246" y="1"/>
                  </a:moveTo>
                  <a:cubicBezTo>
                    <a:pt x="8218" y="1"/>
                    <a:pt x="8187" y="9"/>
                    <a:pt x="8156" y="26"/>
                  </a:cubicBezTo>
                  <a:lnTo>
                    <a:pt x="5930" y="1098"/>
                  </a:lnTo>
                  <a:cubicBezTo>
                    <a:pt x="5192" y="610"/>
                    <a:pt x="4366" y="377"/>
                    <a:pt x="3549" y="377"/>
                  </a:cubicBezTo>
                  <a:cubicBezTo>
                    <a:pt x="2216" y="377"/>
                    <a:pt x="909" y="997"/>
                    <a:pt x="60" y="2134"/>
                  </a:cubicBezTo>
                  <a:cubicBezTo>
                    <a:pt x="0" y="2205"/>
                    <a:pt x="12" y="2312"/>
                    <a:pt x="84" y="2360"/>
                  </a:cubicBezTo>
                  <a:cubicBezTo>
                    <a:pt x="113" y="2385"/>
                    <a:pt x="149" y="2397"/>
                    <a:pt x="185" y="2397"/>
                  </a:cubicBezTo>
                  <a:cubicBezTo>
                    <a:pt x="234" y="2397"/>
                    <a:pt x="282" y="2373"/>
                    <a:pt x="310" y="2324"/>
                  </a:cubicBezTo>
                  <a:cubicBezTo>
                    <a:pt x="1125" y="1233"/>
                    <a:pt x="2334" y="704"/>
                    <a:pt x="3540" y="704"/>
                  </a:cubicBezTo>
                  <a:cubicBezTo>
                    <a:pt x="4255" y="704"/>
                    <a:pt x="4967" y="890"/>
                    <a:pt x="5596" y="1253"/>
                  </a:cubicBezTo>
                  <a:lnTo>
                    <a:pt x="5596" y="1277"/>
                  </a:lnTo>
                  <a:cubicBezTo>
                    <a:pt x="5513" y="1336"/>
                    <a:pt x="5513" y="1396"/>
                    <a:pt x="5513" y="1396"/>
                  </a:cubicBezTo>
                  <a:cubicBezTo>
                    <a:pt x="5513" y="1396"/>
                    <a:pt x="5501" y="1479"/>
                    <a:pt x="5596" y="1538"/>
                  </a:cubicBezTo>
                  <a:lnTo>
                    <a:pt x="6370" y="2050"/>
                  </a:lnTo>
                  <a:lnTo>
                    <a:pt x="4989" y="3253"/>
                  </a:lnTo>
                  <a:cubicBezTo>
                    <a:pt x="4906" y="3324"/>
                    <a:pt x="4906" y="3455"/>
                    <a:pt x="5025" y="3515"/>
                  </a:cubicBezTo>
                  <a:cubicBezTo>
                    <a:pt x="5046" y="3524"/>
                    <a:pt x="5059" y="3531"/>
                    <a:pt x="5082" y="3531"/>
                  </a:cubicBezTo>
                  <a:cubicBezTo>
                    <a:pt x="5175" y="3531"/>
                    <a:pt x="5438" y="3414"/>
                    <a:pt x="7120" y="2860"/>
                  </a:cubicBezTo>
                  <a:lnTo>
                    <a:pt x="7120" y="2860"/>
                  </a:lnTo>
                  <a:cubicBezTo>
                    <a:pt x="7989" y="4515"/>
                    <a:pt x="7632" y="6611"/>
                    <a:pt x="6108" y="7849"/>
                  </a:cubicBezTo>
                  <a:cubicBezTo>
                    <a:pt x="5775" y="8135"/>
                    <a:pt x="5584" y="8551"/>
                    <a:pt x="5584" y="8992"/>
                  </a:cubicBezTo>
                  <a:lnTo>
                    <a:pt x="5584" y="10980"/>
                  </a:lnTo>
                  <a:cubicBezTo>
                    <a:pt x="5584" y="11063"/>
                    <a:pt x="5656" y="11135"/>
                    <a:pt x="5739" y="11135"/>
                  </a:cubicBezTo>
                  <a:cubicBezTo>
                    <a:pt x="5834" y="11135"/>
                    <a:pt x="5906" y="11063"/>
                    <a:pt x="5906" y="10980"/>
                  </a:cubicBezTo>
                  <a:lnTo>
                    <a:pt x="5906" y="8992"/>
                  </a:lnTo>
                  <a:cubicBezTo>
                    <a:pt x="5906" y="8635"/>
                    <a:pt x="6049" y="8313"/>
                    <a:pt x="6322" y="8099"/>
                  </a:cubicBezTo>
                  <a:cubicBezTo>
                    <a:pt x="7870" y="6825"/>
                    <a:pt x="8394" y="4634"/>
                    <a:pt x="7442" y="2765"/>
                  </a:cubicBezTo>
                  <a:lnTo>
                    <a:pt x="8347" y="2467"/>
                  </a:lnTo>
                  <a:cubicBezTo>
                    <a:pt x="8406" y="2443"/>
                    <a:pt x="8454" y="2384"/>
                    <a:pt x="8454" y="2324"/>
                  </a:cubicBezTo>
                  <a:cubicBezTo>
                    <a:pt x="8454" y="2265"/>
                    <a:pt x="8418" y="2205"/>
                    <a:pt x="8382" y="2181"/>
                  </a:cubicBezTo>
                  <a:lnTo>
                    <a:pt x="8085" y="1955"/>
                  </a:lnTo>
                  <a:cubicBezTo>
                    <a:pt x="8050" y="1930"/>
                    <a:pt x="8013" y="1918"/>
                    <a:pt x="7979" y="1918"/>
                  </a:cubicBezTo>
                  <a:cubicBezTo>
                    <a:pt x="7930" y="1918"/>
                    <a:pt x="7886" y="1942"/>
                    <a:pt x="7858" y="1991"/>
                  </a:cubicBezTo>
                  <a:cubicBezTo>
                    <a:pt x="7799" y="2062"/>
                    <a:pt x="7811" y="2170"/>
                    <a:pt x="7882" y="2205"/>
                  </a:cubicBezTo>
                  <a:lnTo>
                    <a:pt x="7930" y="2241"/>
                  </a:lnTo>
                  <a:lnTo>
                    <a:pt x="7144" y="2503"/>
                  </a:lnTo>
                  <a:lnTo>
                    <a:pt x="5822" y="2955"/>
                  </a:lnTo>
                  <a:lnTo>
                    <a:pt x="5822" y="2955"/>
                  </a:lnTo>
                  <a:lnTo>
                    <a:pt x="6751" y="2134"/>
                  </a:lnTo>
                  <a:cubicBezTo>
                    <a:pt x="6834" y="2062"/>
                    <a:pt x="6834" y="1931"/>
                    <a:pt x="6739" y="1872"/>
                  </a:cubicBezTo>
                  <a:lnTo>
                    <a:pt x="6025" y="1408"/>
                  </a:lnTo>
                  <a:lnTo>
                    <a:pt x="7692" y="598"/>
                  </a:lnTo>
                  <a:lnTo>
                    <a:pt x="7692" y="598"/>
                  </a:lnTo>
                  <a:cubicBezTo>
                    <a:pt x="7096" y="1419"/>
                    <a:pt x="7037" y="1408"/>
                    <a:pt x="7049" y="1527"/>
                  </a:cubicBezTo>
                  <a:cubicBezTo>
                    <a:pt x="7073" y="1634"/>
                    <a:pt x="7156" y="1658"/>
                    <a:pt x="7323" y="1777"/>
                  </a:cubicBezTo>
                  <a:cubicBezTo>
                    <a:pt x="7353" y="1802"/>
                    <a:pt x="7391" y="1815"/>
                    <a:pt x="7428" y="1815"/>
                  </a:cubicBezTo>
                  <a:cubicBezTo>
                    <a:pt x="7476" y="1815"/>
                    <a:pt x="7522" y="1793"/>
                    <a:pt x="7549" y="1753"/>
                  </a:cubicBezTo>
                  <a:cubicBezTo>
                    <a:pt x="7608" y="1669"/>
                    <a:pt x="7585" y="1574"/>
                    <a:pt x="7513" y="1527"/>
                  </a:cubicBezTo>
                  <a:lnTo>
                    <a:pt x="7454" y="1479"/>
                  </a:lnTo>
                  <a:lnTo>
                    <a:pt x="8358" y="265"/>
                  </a:lnTo>
                  <a:cubicBezTo>
                    <a:pt x="8446" y="148"/>
                    <a:pt x="8367" y="1"/>
                    <a:pt x="82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9" name="Google Shape;10559;p59"/>
            <p:cNvSpPr/>
            <p:nvPr/>
          </p:nvSpPr>
          <p:spPr>
            <a:xfrm>
              <a:off x="6407993" y="2995773"/>
              <a:ext cx="31505" cy="37207"/>
            </a:xfrm>
            <a:custGeom>
              <a:avLst/>
              <a:gdLst/>
              <a:ahLst/>
              <a:cxnLst/>
              <a:rect l="l" t="t" r="r" b="b"/>
              <a:pathLst>
                <a:path w="989" h="1168" extrusionOk="0">
                  <a:moveTo>
                    <a:pt x="179" y="1"/>
                  </a:moveTo>
                  <a:cubicBezTo>
                    <a:pt x="84" y="1"/>
                    <a:pt x="13" y="84"/>
                    <a:pt x="13" y="167"/>
                  </a:cubicBezTo>
                  <a:cubicBezTo>
                    <a:pt x="1" y="763"/>
                    <a:pt x="263" y="1120"/>
                    <a:pt x="798" y="1167"/>
                  </a:cubicBezTo>
                  <a:cubicBezTo>
                    <a:pt x="894" y="1167"/>
                    <a:pt x="965" y="1108"/>
                    <a:pt x="977" y="1013"/>
                  </a:cubicBezTo>
                  <a:cubicBezTo>
                    <a:pt x="989" y="905"/>
                    <a:pt x="917" y="822"/>
                    <a:pt x="834" y="822"/>
                  </a:cubicBezTo>
                  <a:cubicBezTo>
                    <a:pt x="596" y="810"/>
                    <a:pt x="322" y="703"/>
                    <a:pt x="334" y="167"/>
                  </a:cubicBezTo>
                  <a:cubicBezTo>
                    <a:pt x="334" y="84"/>
                    <a:pt x="26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60" name="Google Shape;10560;p59"/>
          <p:cNvGrpSpPr/>
          <p:nvPr/>
        </p:nvGrpSpPr>
        <p:grpSpPr>
          <a:xfrm>
            <a:off x="4969421" y="2902852"/>
            <a:ext cx="185109" cy="355406"/>
            <a:chOff x="4969421" y="2902852"/>
            <a:chExt cx="185109" cy="355406"/>
          </a:xfrm>
        </p:grpSpPr>
        <p:sp>
          <p:nvSpPr>
            <p:cNvPr id="10561" name="Google Shape;10561;p59"/>
            <p:cNvSpPr/>
            <p:nvPr/>
          </p:nvSpPr>
          <p:spPr>
            <a:xfrm>
              <a:off x="5022906" y="3084138"/>
              <a:ext cx="16310" cy="15959"/>
            </a:xfrm>
            <a:custGeom>
              <a:avLst/>
              <a:gdLst/>
              <a:ahLst/>
              <a:cxnLst/>
              <a:rect l="l" t="t" r="r" b="b"/>
              <a:pathLst>
                <a:path w="512" h="501" extrusionOk="0">
                  <a:moveTo>
                    <a:pt x="262" y="1"/>
                  </a:moveTo>
                  <a:cubicBezTo>
                    <a:pt x="119" y="1"/>
                    <a:pt x="0" y="120"/>
                    <a:pt x="0" y="251"/>
                  </a:cubicBezTo>
                  <a:cubicBezTo>
                    <a:pt x="0" y="406"/>
                    <a:pt x="119" y="501"/>
                    <a:pt x="262" y="501"/>
                  </a:cubicBezTo>
                  <a:cubicBezTo>
                    <a:pt x="393" y="501"/>
                    <a:pt x="512" y="382"/>
                    <a:pt x="512" y="251"/>
                  </a:cubicBezTo>
                  <a:cubicBezTo>
                    <a:pt x="512" y="120"/>
                    <a:pt x="405" y="13"/>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2" name="Google Shape;10562;p59"/>
            <p:cNvSpPr/>
            <p:nvPr/>
          </p:nvSpPr>
          <p:spPr>
            <a:xfrm>
              <a:off x="5086998" y="3107265"/>
              <a:ext cx="13284" cy="13315"/>
            </a:xfrm>
            <a:custGeom>
              <a:avLst/>
              <a:gdLst/>
              <a:ahLst/>
              <a:cxnLst/>
              <a:rect l="l" t="t" r="r" b="b"/>
              <a:pathLst>
                <a:path w="417" h="418" extrusionOk="0">
                  <a:moveTo>
                    <a:pt x="221" y="0"/>
                  </a:moveTo>
                  <a:cubicBezTo>
                    <a:pt x="215" y="0"/>
                    <a:pt x="209" y="0"/>
                    <a:pt x="203" y="1"/>
                  </a:cubicBezTo>
                  <a:cubicBezTo>
                    <a:pt x="84" y="1"/>
                    <a:pt x="0" y="96"/>
                    <a:pt x="0" y="215"/>
                  </a:cubicBezTo>
                  <a:cubicBezTo>
                    <a:pt x="0" y="334"/>
                    <a:pt x="84" y="418"/>
                    <a:pt x="203" y="418"/>
                  </a:cubicBezTo>
                  <a:cubicBezTo>
                    <a:pt x="334" y="418"/>
                    <a:pt x="417" y="334"/>
                    <a:pt x="417" y="215"/>
                  </a:cubicBezTo>
                  <a:cubicBezTo>
                    <a:pt x="417" y="92"/>
                    <a:pt x="322" y="0"/>
                    <a:pt x="2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3" name="Google Shape;10563;p59"/>
            <p:cNvSpPr/>
            <p:nvPr/>
          </p:nvSpPr>
          <p:spPr>
            <a:xfrm>
              <a:off x="5039566" y="3205092"/>
              <a:ext cx="13315" cy="13347"/>
            </a:xfrm>
            <a:custGeom>
              <a:avLst/>
              <a:gdLst/>
              <a:ahLst/>
              <a:cxnLst/>
              <a:rect l="l" t="t" r="r" b="b"/>
              <a:pathLst>
                <a:path w="418" h="419" extrusionOk="0">
                  <a:moveTo>
                    <a:pt x="225" y="1"/>
                  </a:moveTo>
                  <a:cubicBezTo>
                    <a:pt x="218" y="1"/>
                    <a:pt x="211" y="1"/>
                    <a:pt x="203" y="2"/>
                  </a:cubicBezTo>
                  <a:cubicBezTo>
                    <a:pt x="84" y="2"/>
                    <a:pt x="1" y="85"/>
                    <a:pt x="1" y="204"/>
                  </a:cubicBezTo>
                  <a:cubicBezTo>
                    <a:pt x="1" y="323"/>
                    <a:pt x="84" y="419"/>
                    <a:pt x="203" y="419"/>
                  </a:cubicBezTo>
                  <a:cubicBezTo>
                    <a:pt x="334" y="419"/>
                    <a:pt x="418" y="323"/>
                    <a:pt x="418" y="204"/>
                  </a:cubicBezTo>
                  <a:cubicBezTo>
                    <a:pt x="418" y="92"/>
                    <a:pt x="343" y="1"/>
                    <a:pt x="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4" name="Google Shape;10564;p59"/>
            <p:cNvSpPr/>
            <p:nvPr/>
          </p:nvSpPr>
          <p:spPr>
            <a:xfrm>
              <a:off x="5086998" y="3175530"/>
              <a:ext cx="13284" cy="13315"/>
            </a:xfrm>
            <a:custGeom>
              <a:avLst/>
              <a:gdLst/>
              <a:ahLst/>
              <a:cxnLst/>
              <a:rect l="l" t="t" r="r" b="b"/>
              <a:pathLst>
                <a:path w="417" h="418" extrusionOk="0">
                  <a:moveTo>
                    <a:pt x="219" y="0"/>
                  </a:moveTo>
                  <a:cubicBezTo>
                    <a:pt x="214" y="0"/>
                    <a:pt x="208" y="1"/>
                    <a:pt x="203" y="1"/>
                  </a:cubicBezTo>
                  <a:cubicBezTo>
                    <a:pt x="84" y="1"/>
                    <a:pt x="0" y="96"/>
                    <a:pt x="0" y="215"/>
                  </a:cubicBezTo>
                  <a:cubicBezTo>
                    <a:pt x="0" y="323"/>
                    <a:pt x="84" y="418"/>
                    <a:pt x="203" y="418"/>
                  </a:cubicBezTo>
                  <a:cubicBezTo>
                    <a:pt x="334" y="418"/>
                    <a:pt x="417" y="323"/>
                    <a:pt x="417" y="215"/>
                  </a:cubicBezTo>
                  <a:cubicBezTo>
                    <a:pt x="417" y="103"/>
                    <a:pt x="320" y="0"/>
                    <a:pt x="2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5" name="Google Shape;10565;p59"/>
            <p:cNvSpPr/>
            <p:nvPr/>
          </p:nvSpPr>
          <p:spPr>
            <a:xfrm>
              <a:off x="5033131" y="3137623"/>
              <a:ext cx="17106" cy="17106"/>
            </a:xfrm>
            <a:custGeom>
              <a:avLst/>
              <a:gdLst/>
              <a:ahLst/>
              <a:cxnLst/>
              <a:rect l="l" t="t" r="r" b="b"/>
              <a:pathLst>
                <a:path w="537" h="537" extrusionOk="0">
                  <a:moveTo>
                    <a:pt x="262" y="1"/>
                  </a:moveTo>
                  <a:cubicBezTo>
                    <a:pt x="120" y="1"/>
                    <a:pt x="1" y="120"/>
                    <a:pt x="1" y="274"/>
                  </a:cubicBezTo>
                  <a:cubicBezTo>
                    <a:pt x="1" y="417"/>
                    <a:pt x="120" y="536"/>
                    <a:pt x="262" y="536"/>
                  </a:cubicBezTo>
                  <a:cubicBezTo>
                    <a:pt x="417" y="536"/>
                    <a:pt x="536" y="417"/>
                    <a:pt x="536" y="274"/>
                  </a:cubicBezTo>
                  <a:cubicBezTo>
                    <a:pt x="536" y="120"/>
                    <a:pt x="417"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6" name="Google Shape;10566;p59"/>
            <p:cNvSpPr/>
            <p:nvPr/>
          </p:nvSpPr>
          <p:spPr>
            <a:xfrm>
              <a:off x="4969421" y="2902852"/>
              <a:ext cx="185109" cy="355406"/>
            </a:xfrm>
            <a:custGeom>
              <a:avLst/>
              <a:gdLst/>
              <a:ahLst/>
              <a:cxnLst/>
              <a:rect l="l" t="t" r="r" b="b"/>
              <a:pathLst>
                <a:path w="5811" h="11157" extrusionOk="0">
                  <a:moveTo>
                    <a:pt x="1916" y="4904"/>
                  </a:moveTo>
                  <a:cubicBezTo>
                    <a:pt x="2183" y="4904"/>
                    <a:pt x="2490" y="4967"/>
                    <a:pt x="2810" y="5156"/>
                  </a:cubicBezTo>
                  <a:cubicBezTo>
                    <a:pt x="3108" y="5335"/>
                    <a:pt x="3426" y="5421"/>
                    <a:pt x="3748" y="5421"/>
                  </a:cubicBezTo>
                  <a:cubicBezTo>
                    <a:pt x="4069" y="5421"/>
                    <a:pt x="4394" y="5335"/>
                    <a:pt x="4703" y="5168"/>
                  </a:cubicBezTo>
                  <a:lnTo>
                    <a:pt x="4703" y="9025"/>
                  </a:lnTo>
                  <a:cubicBezTo>
                    <a:pt x="4703" y="10026"/>
                    <a:pt x="3906" y="10823"/>
                    <a:pt x="2905" y="10823"/>
                  </a:cubicBezTo>
                  <a:cubicBezTo>
                    <a:pt x="1905" y="10823"/>
                    <a:pt x="1108" y="10026"/>
                    <a:pt x="1108" y="9025"/>
                  </a:cubicBezTo>
                  <a:lnTo>
                    <a:pt x="1108" y="5108"/>
                  </a:lnTo>
                  <a:cubicBezTo>
                    <a:pt x="1228" y="5038"/>
                    <a:pt x="1528" y="4904"/>
                    <a:pt x="1916" y="4904"/>
                  </a:cubicBezTo>
                  <a:close/>
                  <a:moveTo>
                    <a:pt x="512" y="1"/>
                  </a:moveTo>
                  <a:cubicBezTo>
                    <a:pt x="226" y="1"/>
                    <a:pt x="0" y="227"/>
                    <a:pt x="0" y="513"/>
                  </a:cubicBezTo>
                  <a:lnTo>
                    <a:pt x="0" y="834"/>
                  </a:lnTo>
                  <a:cubicBezTo>
                    <a:pt x="0" y="1120"/>
                    <a:pt x="226" y="1346"/>
                    <a:pt x="512" y="1346"/>
                  </a:cubicBezTo>
                  <a:lnTo>
                    <a:pt x="774" y="1346"/>
                  </a:lnTo>
                  <a:lnTo>
                    <a:pt x="774" y="9025"/>
                  </a:lnTo>
                  <a:cubicBezTo>
                    <a:pt x="774" y="10204"/>
                    <a:pt x="1727" y="11157"/>
                    <a:pt x="2905" y="11157"/>
                  </a:cubicBezTo>
                  <a:cubicBezTo>
                    <a:pt x="4084" y="11157"/>
                    <a:pt x="5037" y="10204"/>
                    <a:pt x="5037" y="9025"/>
                  </a:cubicBezTo>
                  <a:lnTo>
                    <a:pt x="5037" y="3441"/>
                  </a:lnTo>
                  <a:cubicBezTo>
                    <a:pt x="5037" y="3358"/>
                    <a:pt x="4953" y="3275"/>
                    <a:pt x="4870" y="3275"/>
                  </a:cubicBezTo>
                  <a:cubicBezTo>
                    <a:pt x="4775" y="3275"/>
                    <a:pt x="4703" y="3358"/>
                    <a:pt x="4703" y="3441"/>
                  </a:cubicBezTo>
                  <a:lnTo>
                    <a:pt x="4703" y="4787"/>
                  </a:lnTo>
                  <a:cubicBezTo>
                    <a:pt x="4571" y="4873"/>
                    <a:pt x="4209" y="5081"/>
                    <a:pt x="3757" y="5081"/>
                  </a:cubicBezTo>
                  <a:cubicBezTo>
                    <a:pt x="3519" y="5081"/>
                    <a:pt x="3256" y="5023"/>
                    <a:pt x="2989" y="4858"/>
                  </a:cubicBezTo>
                  <a:cubicBezTo>
                    <a:pt x="2617" y="4633"/>
                    <a:pt x="2259" y="4557"/>
                    <a:pt x="1945" y="4557"/>
                  </a:cubicBezTo>
                  <a:cubicBezTo>
                    <a:pt x="1596" y="4557"/>
                    <a:pt x="1302" y="4651"/>
                    <a:pt x="1108" y="4739"/>
                  </a:cubicBezTo>
                  <a:lnTo>
                    <a:pt x="1108" y="1334"/>
                  </a:lnTo>
                  <a:lnTo>
                    <a:pt x="4703" y="1334"/>
                  </a:lnTo>
                  <a:lnTo>
                    <a:pt x="4703" y="2560"/>
                  </a:lnTo>
                  <a:cubicBezTo>
                    <a:pt x="4703" y="2656"/>
                    <a:pt x="4775" y="2727"/>
                    <a:pt x="4870" y="2727"/>
                  </a:cubicBezTo>
                  <a:cubicBezTo>
                    <a:pt x="4953" y="2727"/>
                    <a:pt x="5037" y="2656"/>
                    <a:pt x="5037" y="2560"/>
                  </a:cubicBezTo>
                  <a:lnTo>
                    <a:pt x="5037" y="1334"/>
                  </a:lnTo>
                  <a:lnTo>
                    <a:pt x="5299" y="1334"/>
                  </a:lnTo>
                  <a:cubicBezTo>
                    <a:pt x="5584" y="1334"/>
                    <a:pt x="5811" y="1108"/>
                    <a:pt x="5811" y="822"/>
                  </a:cubicBezTo>
                  <a:lnTo>
                    <a:pt x="5811" y="501"/>
                  </a:lnTo>
                  <a:cubicBezTo>
                    <a:pt x="5787" y="227"/>
                    <a:pt x="5549" y="1"/>
                    <a:pt x="5287" y="1"/>
                  </a:cubicBezTo>
                  <a:lnTo>
                    <a:pt x="1822" y="1"/>
                  </a:lnTo>
                  <a:cubicBezTo>
                    <a:pt x="1727" y="1"/>
                    <a:pt x="1655" y="84"/>
                    <a:pt x="1655" y="167"/>
                  </a:cubicBezTo>
                  <a:cubicBezTo>
                    <a:pt x="1655" y="263"/>
                    <a:pt x="1727" y="334"/>
                    <a:pt x="1822" y="334"/>
                  </a:cubicBezTo>
                  <a:lnTo>
                    <a:pt x="5287" y="334"/>
                  </a:lnTo>
                  <a:cubicBezTo>
                    <a:pt x="5394" y="334"/>
                    <a:pt x="5465" y="405"/>
                    <a:pt x="5465" y="513"/>
                  </a:cubicBezTo>
                  <a:lnTo>
                    <a:pt x="5465" y="834"/>
                  </a:lnTo>
                  <a:cubicBezTo>
                    <a:pt x="5465" y="941"/>
                    <a:pt x="5394" y="1013"/>
                    <a:pt x="5287" y="1013"/>
                  </a:cubicBezTo>
                  <a:lnTo>
                    <a:pt x="512" y="1013"/>
                  </a:lnTo>
                  <a:cubicBezTo>
                    <a:pt x="405" y="1013"/>
                    <a:pt x="334" y="941"/>
                    <a:pt x="334" y="834"/>
                  </a:cubicBezTo>
                  <a:lnTo>
                    <a:pt x="334" y="513"/>
                  </a:lnTo>
                  <a:cubicBezTo>
                    <a:pt x="334" y="405"/>
                    <a:pt x="405" y="334"/>
                    <a:pt x="512" y="334"/>
                  </a:cubicBezTo>
                  <a:lnTo>
                    <a:pt x="941" y="334"/>
                  </a:lnTo>
                  <a:cubicBezTo>
                    <a:pt x="1024" y="334"/>
                    <a:pt x="1108" y="263"/>
                    <a:pt x="1108" y="167"/>
                  </a:cubicBezTo>
                  <a:cubicBezTo>
                    <a:pt x="1108" y="84"/>
                    <a:pt x="1024"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67" name="Google Shape;10567;p59"/>
          <p:cNvSpPr/>
          <p:nvPr/>
        </p:nvSpPr>
        <p:spPr>
          <a:xfrm>
            <a:off x="7574555" y="2903043"/>
            <a:ext cx="303387" cy="355597"/>
          </a:xfrm>
          <a:custGeom>
            <a:avLst/>
            <a:gdLst/>
            <a:ahLst/>
            <a:cxnLst/>
            <a:rect l="l" t="t" r="r" b="b"/>
            <a:pathLst>
              <a:path w="9524" h="11163" extrusionOk="0">
                <a:moveTo>
                  <a:pt x="4791" y="3888"/>
                </a:moveTo>
                <a:cubicBezTo>
                  <a:pt x="5165" y="3888"/>
                  <a:pt x="5540" y="3936"/>
                  <a:pt x="5909" y="4031"/>
                </a:cubicBezTo>
                <a:lnTo>
                  <a:pt x="5909" y="4543"/>
                </a:lnTo>
                <a:cubicBezTo>
                  <a:pt x="5540" y="4442"/>
                  <a:pt x="5168" y="4391"/>
                  <a:pt x="4796" y="4391"/>
                </a:cubicBezTo>
                <a:cubicBezTo>
                  <a:pt x="4423" y="4391"/>
                  <a:pt x="4051" y="4442"/>
                  <a:pt x="3682" y="4543"/>
                </a:cubicBezTo>
                <a:lnTo>
                  <a:pt x="3682" y="4031"/>
                </a:lnTo>
                <a:cubicBezTo>
                  <a:pt x="4045" y="3936"/>
                  <a:pt x="4418" y="3888"/>
                  <a:pt x="4791" y="3888"/>
                </a:cubicBezTo>
                <a:close/>
                <a:moveTo>
                  <a:pt x="4778" y="4724"/>
                </a:moveTo>
                <a:cubicBezTo>
                  <a:pt x="5150" y="4724"/>
                  <a:pt x="5522" y="4775"/>
                  <a:pt x="5897" y="4876"/>
                </a:cubicBezTo>
                <a:lnTo>
                  <a:pt x="5897" y="5305"/>
                </a:lnTo>
                <a:cubicBezTo>
                  <a:pt x="5522" y="5210"/>
                  <a:pt x="5150" y="5162"/>
                  <a:pt x="4778" y="5162"/>
                </a:cubicBezTo>
                <a:cubicBezTo>
                  <a:pt x="4406" y="5162"/>
                  <a:pt x="4034" y="5210"/>
                  <a:pt x="3659" y="5305"/>
                </a:cubicBezTo>
                <a:lnTo>
                  <a:pt x="3659" y="4876"/>
                </a:lnTo>
                <a:cubicBezTo>
                  <a:pt x="4034" y="4775"/>
                  <a:pt x="4406" y="4724"/>
                  <a:pt x="4778" y="4724"/>
                </a:cubicBezTo>
                <a:close/>
                <a:moveTo>
                  <a:pt x="4778" y="5492"/>
                </a:moveTo>
                <a:cubicBezTo>
                  <a:pt x="5132" y="5492"/>
                  <a:pt x="5486" y="5537"/>
                  <a:pt x="5837" y="5626"/>
                </a:cubicBezTo>
                <a:cubicBezTo>
                  <a:pt x="5778" y="5698"/>
                  <a:pt x="5706" y="5769"/>
                  <a:pt x="5611" y="5852"/>
                </a:cubicBezTo>
                <a:cubicBezTo>
                  <a:pt x="5325" y="6091"/>
                  <a:pt x="5052" y="6186"/>
                  <a:pt x="4778" y="6186"/>
                </a:cubicBezTo>
                <a:cubicBezTo>
                  <a:pt x="4516" y="6186"/>
                  <a:pt x="4230" y="6067"/>
                  <a:pt x="3944" y="5852"/>
                </a:cubicBezTo>
                <a:lnTo>
                  <a:pt x="3932" y="5829"/>
                </a:lnTo>
                <a:cubicBezTo>
                  <a:pt x="3861" y="5769"/>
                  <a:pt x="3801" y="5698"/>
                  <a:pt x="3718" y="5626"/>
                </a:cubicBezTo>
                <a:cubicBezTo>
                  <a:pt x="4069" y="5537"/>
                  <a:pt x="4423" y="5492"/>
                  <a:pt x="4778" y="5492"/>
                </a:cubicBezTo>
                <a:close/>
                <a:moveTo>
                  <a:pt x="4803" y="9277"/>
                </a:moveTo>
                <a:cubicBezTo>
                  <a:pt x="5172" y="9277"/>
                  <a:pt x="5538" y="9411"/>
                  <a:pt x="5909" y="9674"/>
                </a:cubicBezTo>
                <a:lnTo>
                  <a:pt x="5909" y="9901"/>
                </a:lnTo>
                <a:cubicBezTo>
                  <a:pt x="5540" y="9799"/>
                  <a:pt x="5168" y="9749"/>
                  <a:pt x="4796" y="9749"/>
                </a:cubicBezTo>
                <a:cubicBezTo>
                  <a:pt x="4423" y="9749"/>
                  <a:pt x="4051" y="9799"/>
                  <a:pt x="3682" y="9901"/>
                </a:cubicBezTo>
                <a:lnTo>
                  <a:pt x="3682" y="9674"/>
                </a:lnTo>
                <a:cubicBezTo>
                  <a:pt x="4067" y="9408"/>
                  <a:pt x="4437" y="9277"/>
                  <a:pt x="4803" y="9277"/>
                </a:cubicBezTo>
                <a:close/>
                <a:moveTo>
                  <a:pt x="4778" y="10070"/>
                </a:moveTo>
                <a:cubicBezTo>
                  <a:pt x="5150" y="10070"/>
                  <a:pt x="5522" y="10121"/>
                  <a:pt x="5897" y="10222"/>
                </a:cubicBezTo>
                <a:lnTo>
                  <a:pt x="5897" y="10329"/>
                </a:lnTo>
                <a:cubicBezTo>
                  <a:pt x="5909" y="10591"/>
                  <a:pt x="5683" y="10817"/>
                  <a:pt x="5409" y="10817"/>
                </a:cubicBezTo>
                <a:lnTo>
                  <a:pt x="4159" y="10817"/>
                </a:lnTo>
                <a:cubicBezTo>
                  <a:pt x="3885" y="10817"/>
                  <a:pt x="3659" y="10591"/>
                  <a:pt x="3659" y="10329"/>
                </a:cubicBezTo>
                <a:lnTo>
                  <a:pt x="3659" y="10222"/>
                </a:lnTo>
                <a:cubicBezTo>
                  <a:pt x="4034" y="10121"/>
                  <a:pt x="4406" y="10070"/>
                  <a:pt x="4778" y="10070"/>
                </a:cubicBezTo>
                <a:close/>
                <a:moveTo>
                  <a:pt x="6668" y="0"/>
                </a:moveTo>
                <a:cubicBezTo>
                  <a:pt x="6280" y="0"/>
                  <a:pt x="6026" y="240"/>
                  <a:pt x="5956" y="280"/>
                </a:cubicBezTo>
                <a:cubicBezTo>
                  <a:pt x="5599" y="513"/>
                  <a:pt x="5188" y="629"/>
                  <a:pt x="4778" y="629"/>
                </a:cubicBezTo>
                <a:cubicBezTo>
                  <a:pt x="4367" y="629"/>
                  <a:pt x="3956" y="513"/>
                  <a:pt x="3599" y="280"/>
                </a:cubicBezTo>
                <a:lnTo>
                  <a:pt x="3408" y="161"/>
                </a:lnTo>
                <a:cubicBezTo>
                  <a:pt x="3245" y="55"/>
                  <a:pt x="3064" y="5"/>
                  <a:pt x="2885" y="5"/>
                </a:cubicBezTo>
                <a:cubicBezTo>
                  <a:pt x="2545" y="5"/>
                  <a:pt x="2215" y="186"/>
                  <a:pt x="2027" y="507"/>
                </a:cubicBezTo>
                <a:lnTo>
                  <a:pt x="1599" y="1292"/>
                </a:lnTo>
                <a:cubicBezTo>
                  <a:pt x="1337" y="1769"/>
                  <a:pt x="1503" y="2352"/>
                  <a:pt x="1980" y="2602"/>
                </a:cubicBezTo>
                <a:lnTo>
                  <a:pt x="2944" y="3138"/>
                </a:lnTo>
                <a:cubicBezTo>
                  <a:pt x="3182" y="3269"/>
                  <a:pt x="3325" y="3507"/>
                  <a:pt x="3325" y="3781"/>
                </a:cubicBezTo>
                <a:lnTo>
                  <a:pt x="3325" y="5162"/>
                </a:lnTo>
                <a:cubicBezTo>
                  <a:pt x="3063" y="4805"/>
                  <a:pt x="2813" y="4376"/>
                  <a:pt x="2551" y="3840"/>
                </a:cubicBezTo>
                <a:cubicBezTo>
                  <a:pt x="2299" y="3327"/>
                  <a:pt x="1836" y="3098"/>
                  <a:pt x="1377" y="3098"/>
                </a:cubicBezTo>
                <a:cubicBezTo>
                  <a:pt x="685" y="3098"/>
                  <a:pt x="1" y="3616"/>
                  <a:pt x="51" y="4459"/>
                </a:cubicBezTo>
                <a:cubicBezTo>
                  <a:pt x="51" y="4507"/>
                  <a:pt x="51" y="4543"/>
                  <a:pt x="63" y="4578"/>
                </a:cubicBezTo>
                <a:cubicBezTo>
                  <a:pt x="134" y="5198"/>
                  <a:pt x="218" y="5817"/>
                  <a:pt x="325" y="6388"/>
                </a:cubicBezTo>
                <a:cubicBezTo>
                  <a:pt x="336" y="6464"/>
                  <a:pt x="416" y="6521"/>
                  <a:pt x="494" y="6521"/>
                </a:cubicBezTo>
                <a:cubicBezTo>
                  <a:pt x="501" y="6521"/>
                  <a:pt x="508" y="6520"/>
                  <a:pt x="515" y="6519"/>
                </a:cubicBezTo>
                <a:cubicBezTo>
                  <a:pt x="611" y="6495"/>
                  <a:pt x="670" y="6412"/>
                  <a:pt x="658" y="6329"/>
                </a:cubicBezTo>
                <a:cubicBezTo>
                  <a:pt x="551" y="5769"/>
                  <a:pt x="468" y="5150"/>
                  <a:pt x="384" y="4543"/>
                </a:cubicBezTo>
                <a:lnTo>
                  <a:pt x="384" y="4448"/>
                </a:lnTo>
                <a:cubicBezTo>
                  <a:pt x="349" y="3807"/>
                  <a:pt x="862" y="3421"/>
                  <a:pt x="1380" y="3421"/>
                </a:cubicBezTo>
                <a:cubicBezTo>
                  <a:pt x="1729" y="3421"/>
                  <a:pt x="2079" y="3595"/>
                  <a:pt x="2265" y="3983"/>
                </a:cubicBezTo>
                <a:cubicBezTo>
                  <a:pt x="3081" y="5674"/>
                  <a:pt x="3926" y="6519"/>
                  <a:pt x="4772" y="6519"/>
                </a:cubicBezTo>
                <a:cubicBezTo>
                  <a:pt x="5617" y="6519"/>
                  <a:pt x="6462" y="5674"/>
                  <a:pt x="7278" y="3983"/>
                </a:cubicBezTo>
                <a:cubicBezTo>
                  <a:pt x="7466" y="3603"/>
                  <a:pt x="7818" y="3428"/>
                  <a:pt x="8167" y="3428"/>
                </a:cubicBezTo>
                <a:cubicBezTo>
                  <a:pt x="8703" y="3428"/>
                  <a:pt x="9229" y="3841"/>
                  <a:pt x="9135" y="4555"/>
                </a:cubicBezTo>
                <a:cubicBezTo>
                  <a:pt x="9004" y="5757"/>
                  <a:pt x="8623" y="8198"/>
                  <a:pt x="8052" y="9258"/>
                </a:cubicBezTo>
                <a:cubicBezTo>
                  <a:pt x="7840" y="9638"/>
                  <a:pt x="7443" y="9848"/>
                  <a:pt x="7039" y="9848"/>
                </a:cubicBezTo>
                <a:cubicBezTo>
                  <a:pt x="6786" y="9848"/>
                  <a:pt x="6529" y="9765"/>
                  <a:pt x="6314" y="9591"/>
                </a:cubicBezTo>
                <a:cubicBezTo>
                  <a:pt x="6254" y="9555"/>
                  <a:pt x="5921" y="9329"/>
                  <a:pt x="5861" y="9281"/>
                </a:cubicBezTo>
                <a:cubicBezTo>
                  <a:pt x="5493" y="9072"/>
                  <a:pt x="5125" y="8962"/>
                  <a:pt x="4752" y="8962"/>
                </a:cubicBezTo>
                <a:cubicBezTo>
                  <a:pt x="4340" y="8962"/>
                  <a:pt x="3923" y="9096"/>
                  <a:pt x="3492" y="9377"/>
                </a:cubicBezTo>
                <a:cubicBezTo>
                  <a:pt x="3480" y="9389"/>
                  <a:pt x="3230" y="9567"/>
                  <a:pt x="3218" y="9579"/>
                </a:cubicBezTo>
                <a:cubicBezTo>
                  <a:pt x="2982" y="9768"/>
                  <a:pt x="2715" y="9875"/>
                  <a:pt x="2442" y="9875"/>
                </a:cubicBezTo>
                <a:cubicBezTo>
                  <a:pt x="2372" y="9875"/>
                  <a:pt x="2301" y="9868"/>
                  <a:pt x="2230" y="9853"/>
                </a:cubicBezTo>
                <a:cubicBezTo>
                  <a:pt x="1908" y="9793"/>
                  <a:pt x="1634" y="9579"/>
                  <a:pt x="1456" y="9258"/>
                </a:cubicBezTo>
                <a:cubicBezTo>
                  <a:pt x="1444" y="9222"/>
                  <a:pt x="1432" y="9198"/>
                  <a:pt x="1408" y="9174"/>
                </a:cubicBezTo>
                <a:cubicBezTo>
                  <a:pt x="1194" y="8686"/>
                  <a:pt x="980" y="8007"/>
                  <a:pt x="789" y="7174"/>
                </a:cubicBezTo>
                <a:cubicBezTo>
                  <a:pt x="780" y="7098"/>
                  <a:pt x="717" y="7044"/>
                  <a:pt x="649" y="7044"/>
                </a:cubicBezTo>
                <a:cubicBezTo>
                  <a:pt x="632" y="7044"/>
                  <a:pt x="615" y="7048"/>
                  <a:pt x="599" y="7055"/>
                </a:cubicBezTo>
                <a:cubicBezTo>
                  <a:pt x="503" y="7067"/>
                  <a:pt x="444" y="7150"/>
                  <a:pt x="480" y="7245"/>
                </a:cubicBezTo>
                <a:cubicBezTo>
                  <a:pt x="670" y="8127"/>
                  <a:pt x="884" y="8817"/>
                  <a:pt x="1134" y="9329"/>
                </a:cubicBezTo>
                <a:lnTo>
                  <a:pt x="1182" y="9412"/>
                </a:lnTo>
                <a:cubicBezTo>
                  <a:pt x="1396" y="9817"/>
                  <a:pt x="1742" y="10091"/>
                  <a:pt x="2170" y="10174"/>
                </a:cubicBezTo>
                <a:cubicBezTo>
                  <a:pt x="2265" y="10186"/>
                  <a:pt x="2349" y="10210"/>
                  <a:pt x="2444" y="10210"/>
                </a:cubicBezTo>
                <a:cubicBezTo>
                  <a:pt x="2742" y="10210"/>
                  <a:pt x="3039" y="10103"/>
                  <a:pt x="3301" y="9924"/>
                </a:cubicBezTo>
                <a:lnTo>
                  <a:pt x="3301" y="10341"/>
                </a:lnTo>
                <a:cubicBezTo>
                  <a:pt x="3301" y="10805"/>
                  <a:pt x="3670" y="11163"/>
                  <a:pt x="4123" y="11163"/>
                </a:cubicBezTo>
                <a:lnTo>
                  <a:pt x="5373" y="11163"/>
                </a:lnTo>
                <a:cubicBezTo>
                  <a:pt x="5837" y="11163"/>
                  <a:pt x="6195" y="10782"/>
                  <a:pt x="6195" y="10341"/>
                </a:cubicBezTo>
                <a:lnTo>
                  <a:pt x="6195" y="9924"/>
                </a:lnTo>
                <a:cubicBezTo>
                  <a:pt x="6454" y="10105"/>
                  <a:pt x="6745" y="10191"/>
                  <a:pt x="7032" y="10191"/>
                </a:cubicBezTo>
                <a:cubicBezTo>
                  <a:pt x="7576" y="10191"/>
                  <a:pt x="8104" y="9883"/>
                  <a:pt x="8361" y="9329"/>
                </a:cubicBezTo>
                <a:cubicBezTo>
                  <a:pt x="9016" y="7912"/>
                  <a:pt x="9421" y="5067"/>
                  <a:pt x="9445" y="4495"/>
                </a:cubicBezTo>
                <a:cubicBezTo>
                  <a:pt x="9524" y="3627"/>
                  <a:pt x="8846" y="3100"/>
                  <a:pt x="8157" y="3100"/>
                </a:cubicBezTo>
                <a:cubicBezTo>
                  <a:pt x="7702" y="3100"/>
                  <a:pt x="7243" y="3329"/>
                  <a:pt x="6992" y="3840"/>
                </a:cubicBezTo>
                <a:cubicBezTo>
                  <a:pt x="6742" y="4376"/>
                  <a:pt x="6480" y="4805"/>
                  <a:pt x="6218" y="5162"/>
                </a:cubicBezTo>
                <a:lnTo>
                  <a:pt x="6218" y="3781"/>
                </a:lnTo>
                <a:cubicBezTo>
                  <a:pt x="6218" y="3507"/>
                  <a:pt x="6373" y="3269"/>
                  <a:pt x="6599" y="3138"/>
                </a:cubicBezTo>
                <a:lnTo>
                  <a:pt x="7564" y="2602"/>
                </a:lnTo>
                <a:cubicBezTo>
                  <a:pt x="8040" y="2352"/>
                  <a:pt x="8207" y="1757"/>
                  <a:pt x="7945" y="1292"/>
                </a:cubicBezTo>
                <a:lnTo>
                  <a:pt x="7885" y="1173"/>
                </a:lnTo>
                <a:cubicBezTo>
                  <a:pt x="7853" y="1124"/>
                  <a:pt x="7797" y="1092"/>
                  <a:pt x="7739" y="1092"/>
                </a:cubicBezTo>
                <a:cubicBezTo>
                  <a:pt x="7712" y="1092"/>
                  <a:pt x="7685" y="1099"/>
                  <a:pt x="7659" y="1114"/>
                </a:cubicBezTo>
                <a:cubicBezTo>
                  <a:pt x="7588" y="1161"/>
                  <a:pt x="7564" y="1269"/>
                  <a:pt x="7599" y="1340"/>
                </a:cubicBezTo>
                <a:lnTo>
                  <a:pt x="7659" y="1459"/>
                </a:lnTo>
                <a:cubicBezTo>
                  <a:pt x="7826" y="1769"/>
                  <a:pt x="7730" y="2162"/>
                  <a:pt x="7409" y="2340"/>
                </a:cubicBezTo>
                <a:lnTo>
                  <a:pt x="6445" y="2876"/>
                </a:lnTo>
                <a:cubicBezTo>
                  <a:pt x="6135" y="3054"/>
                  <a:pt x="5933" y="3364"/>
                  <a:pt x="5909" y="3721"/>
                </a:cubicBezTo>
                <a:cubicBezTo>
                  <a:pt x="5534" y="3626"/>
                  <a:pt x="5159" y="3578"/>
                  <a:pt x="4782" y="3578"/>
                </a:cubicBezTo>
                <a:cubicBezTo>
                  <a:pt x="4406" y="3578"/>
                  <a:pt x="4028" y="3626"/>
                  <a:pt x="3647" y="3721"/>
                </a:cubicBezTo>
                <a:cubicBezTo>
                  <a:pt x="3611" y="3364"/>
                  <a:pt x="3420" y="3031"/>
                  <a:pt x="3111" y="2876"/>
                </a:cubicBezTo>
                <a:lnTo>
                  <a:pt x="2146" y="2340"/>
                </a:lnTo>
                <a:cubicBezTo>
                  <a:pt x="1837" y="2173"/>
                  <a:pt x="1706" y="1769"/>
                  <a:pt x="1884" y="1459"/>
                </a:cubicBezTo>
                <a:lnTo>
                  <a:pt x="2325" y="673"/>
                </a:lnTo>
                <a:cubicBezTo>
                  <a:pt x="2441" y="457"/>
                  <a:pt x="2657" y="336"/>
                  <a:pt x="2879" y="336"/>
                </a:cubicBezTo>
                <a:cubicBezTo>
                  <a:pt x="2999" y="336"/>
                  <a:pt x="3121" y="372"/>
                  <a:pt x="3230" y="447"/>
                </a:cubicBezTo>
                <a:cubicBezTo>
                  <a:pt x="3337" y="495"/>
                  <a:pt x="3873" y="971"/>
                  <a:pt x="4778" y="971"/>
                </a:cubicBezTo>
                <a:cubicBezTo>
                  <a:pt x="5683" y="971"/>
                  <a:pt x="6218" y="495"/>
                  <a:pt x="6326" y="447"/>
                </a:cubicBezTo>
                <a:cubicBezTo>
                  <a:pt x="6434" y="372"/>
                  <a:pt x="6556" y="336"/>
                  <a:pt x="6677" y="336"/>
                </a:cubicBezTo>
                <a:cubicBezTo>
                  <a:pt x="6899" y="336"/>
                  <a:pt x="7115" y="457"/>
                  <a:pt x="7230" y="673"/>
                </a:cubicBezTo>
                <a:cubicBezTo>
                  <a:pt x="7263" y="723"/>
                  <a:pt x="7325" y="749"/>
                  <a:pt x="7383" y="749"/>
                </a:cubicBezTo>
                <a:cubicBezTo>
                  <a:pt x="7409" y="749"/>
                  <a:pt x="7434" y="744"/>
                  <a:pt x="7457" y="733"/>
                </a:cubicBezTo>
                <a:cubicBezTo>
                  <a:pt x="7528" y="685"/>
                  <a:pt x="7564" y="578"/>
                  <a:pt x="7516" y="507"/>
                </a:cubicBezTo>
                <a:cubicBezTo>
                  <a:pt x="7385" y="268"/>
                  <a:pt x="7159" y="102"/>
                  <a:pt x="6909" y="30"/>
                </a:cubicBezTo>
                <a:cubicBezTo>
                  <a:pt x="6824" y="9"/>
                  <a:pt x="6744" y="0"/>
                  <a:pt x="6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8" name="Google Shape;10568;p59"/>
          <p:cNvSpPr/>
          <p:nvPr/>
        </p:nvSpPr>
        <p:spPr>
          <a:xfrm>
            <a:off x="7121800" y="2902852"/>
            <a:ext cx="318231" cy="354642"/>
          </a:xfrm>
          <a:custGeom>
            <a:avLst/>
            <a:gdLst/>
            <a:ahLst/>
            <a:cxnLst/>
            <a:rect l="l" t="t" r="r" b="b"/>
            <a:pathLst>
              <a:path w="9990" h="11133" extrusionOk="0">
                <a:moveTo>
                  <a:pt x="3096" y="1"/>
                </a:moveTo>
                <a:cubicBezTo>
                  <a:pt x="1358" y="36"/>
                  <a:pt x="0" y="1656"/>
                  <a:pt x="346" y="3418"/>
                </a:cubicBezTo>
                <a:cubicBezTo>
                  <a:pt x="356" y="3494"/>
                  <a:pt x="437" y="3550"/>
                  <a:pt x="514" y="3550"/>
                </a:cubicBezTo>
                <a:cubicBezTo>
                  <a:pt x="522" y="3550"/>
                  <a:pt x="529" y="3550"/>
                  <a:pt x="536" y="3549"/>
                </a:cubicBezTo>
                <a:cubicBezTo>
                  <a:pt x="631" y="3525"/>
                  <a:pt x="691" y="3441"/>
                  <a:pt x="667" y="3358"/>
                </a:cubicBezTo>
                <a:cubicBezTo>
                  <a:pt x="369" y="1810"/>
                  <a:pt x="1560" y="358"/>
                  <a:pt x="3108" y="334"/>
                </a:cubicBezTo>
                <a:cubicBezTo>
                  <a:pt x="3128" y="333"/>
                  <a:pt x="3148" y="333"/>
                  <a:pt x="3168" y="333"/>
                </a:cubicBezTo>
                <a:cubicBezTo>
                  <a:pt x="3671" y="333"/>
                  <a:pt x="4160" y="476"/>
                  <a:pt x="4572" y="763"/>
                </a:cubicBezTo>
                <a:cubicBezTo>
                  <a:pt x="4745" y="876"/>
                  <a:pt x="4935" y="932"/>
                  <a:pt x="5124" y="932"/>
                </a:cubicBezTo>
                <a:cubicBezTo>
                  <a:pt x="5313" y="932"/>
                  <a:pt x="5501" y="876"/>
                  <a:pt x="5668" y="763"/>
                </a:cubicBezTo>
                <a:cubicBezTo>
                  <a:pt x="6113" y="465"/>
                  <a:pt x="6597" y="331"/>
                  <a:pt x="7070" y="331"/>
                </a:cubicBezTo>
                <a:cubicBezTo>
                  <a:pt x="8393" y="331"/>
                  <a:pt x="9624" y="1384"/>
                  <a:pt x="9632" y="2858"/>
                </a:cubicBezTo>
                <a:cubicBezTo>
                  <a:pt x="9632" y="3477"/>
                  <a:pt x="9406" y="4073"/>
                  <a:pt x="9025" y="4525"/>
                </a:cubicBezTo>
                <a:cubicBezTo>
                  <a:pt x="8370" y="5287"/>
                  <a:pt x="8013" y="6228"/>
                  <a:pt x="8013" y="7192"/>
                </a:cubicBezTo>
                <a:lnTo>
                  <a:pt x="8013" y="8966"/>
                </a:lnTo>
                <a:cubicBezTo>
                  <a:pt x="8013" y="9930"/>
                  <a:pt x="7263" y="10716"/>
                  <a:pt x="6322" y="10811"/>
                </a:cubicBezTo>
                <a:lnTo>
                  <a:pt x="6322" y="8573"/>
                </a:lnTo>
                <a:cubicBezTo>
                  <a:pt x="6322" y="7918"/>
                  <a:pt x="5787" y="7382"/>
                  <a:pt x="5132" y="7382"/>
                </a:cubicBezTo>
                <a:cubicBezTo>
                  <a:pt x="4477" y="7382"/>
                  <a:pt x="3941" y="7918"/>
                  <a:pt x="3941" y="8573"/>
                </a:cubicBezTo>
                <a:lnTo>
                  <a:pt x="3941" y="10811"/>
                </a:lnTo>
                <a:cubicBezTo>
                  <a:pt x="3013" y="10716"/>
                  <a:pt x="2262" y="9930"/>
                  <a:pt x="2262" y="8966"/>
                </a:cubicBezTo>
                <a:lnTo>
                  <a:pt x="2262" y="7192"/>
                </a:lnTo>
                <a:cubicBezTo>
                  <a:pt x="2262" y="6228"/>
                  <a:pt x="1905" y="5275"/>
                  <a:pt x="1250" y="4525"/>
                </a:cubicBezTo>
                <a:cubicBezTo>
                  <a:pt x="1131" y="4394"/>
                  <a:pt x="1048" y="4263"/>
                  <a:pt x="953" y="4096"/>
                </a:cubicBezTo>
                <a:cubicBezTo>
                  <a:pt x="920" y="4047"/>
                  <a:pt x="865" y="4015"/>
                  <a:pt x="807" y="4015"/>
                </a:cubicBezTo>
                <a:cubicBezTo>
                  <a:pt x="780" y="4015"/>
                  <a:pt x="753" y="4022"/>
                  <a:pt x="727" y="4037"/>
                </a:cubicBezTo>
                <a:cubicBezTo>
                  <a:pt x="655" y="4084"/>
                  <a:pt x="631" y="4192"/>
                  <a:pt x="667" y="4263"/>
                </a:cubicBezTo>
                <a:cubicBezTo>
                  <a:pt x="762" y="4430"/>
                  <a:pt x="881" y="4584"/>
                  <a:pt x="1012" y="4739"/>
                </a:cubicBezTo>
                <a:cubicBezTo>
                  <a:pt x="1608" y="5442"/>
                  <a:pt x="1953" y="6299"/>
                  <a:pt x="1953" y="7192"/>
                </a:cubicBezTo>
                <a:lnTo>
                  <a:pt x="1953" y="8966"/>
                </a:lnTo>
                <a:cubicBezTo>
                  <a:pt x="1953" y="10168"/>
                  <a:pt x="2929" y="11133"/>
                  <a:pt x="4120" y="11133"/>
                </a:cubicBezTo>
                <a:cubicBezTo>
                  <a:pt x="4215" y="11133"/>
                  <a:pt x="4286" y="11061"/>
                  <a:pt x="4286" y="10978"/>
                </a:cubicBezTo>
                <a:lnTo>
                  <a:pt x="4286" y="8561"/>
                </a:lnTo>
                <a:cubicBezTo>
                  <a:pt x="4286" y="8085"/>
                  <a:pt x="4679" y="7704"/>
                  <a:pt x="5156" y="7704"/>
                </a:cubicBezTo>
                <a:cubicBezTo>
                  <a:pt x="5632" y="7704"/>
                  <a:pt x="6013" y="8085"/>
                  <a:pt x="6013" y="8561"/>
                </a:cubicBezTo>
                <a:lnTo>
                  <a:pt x="6013" y="10978"/>
                </a:lnTo>
                <a:cubicBezTo>
                  <a:pt x="6013" y="11061"/>
                  <a:pt x="6084" y="11133"/>
                  <a:pt x="6180" y="11133"/>
                </a:cubicBezTo>
                <a:cubicBezTo>
                  <a:pt x="7382" y="11133"/>
                  <a:pt x="8347" y="10157"/>
                  <a:pt x="8347" y="8966"/>
                </a:cubicBezTo>
                <a:lnTo>
                  <a:pt x="8347" y="7192"/>
                </a:lnTo>
                <a:cubicBezTo>
                  <a:pt x="8347" y="6299"/>
                  <a:pt x="8680" y="5442"/>
                  <a:pt x="9287" y="4739"/>
                </a:cubicBezTo>
                <a:cubicBezTo>
                  <a:pt x="9740" y="4215"/>
                  <a:pt x="9990" y="3549"/>
                  <a:pt x="9990" y="2858"/>
                </a:cubicBezTo>
                <a:cubicBezTo>
                  <a:pt x="9955" y="1194"/>
                  <a:pt x="8560" y="7"/>
                  <a:pt x="7072" y="7"/>
                </a:cubicBezTo>
                <a:cubicBezTo>
                  <a:pt x="6537" y="7"/>
                  <a:pt x="5990" y="161"/>
                  <a:pt x="5489" y="501"/>
                </a:cubicBezTo>
                <a:cubicBezTo>
                  <a:pt x="5382" y="572"/>
                  <a:pt x="5257" y="608"/>
                  <a:pt x="5129" y="608"/>
                </a:cubicBezTo>
                <a:cubicBezTo>
                  <a:pt x="5001" y="608"/>
                  <a:pt x="4870" y="572"/>
                  <a:pt x="4751" y="501"/>
                </a:cubicBezTo>
                <a:cubicBezTo>
                  <a:pt x="4263" y="167"/>
                  <a:pt x="3691" y="1"/>
                  <a:pt x="3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69" name="Google Shape;10569;p59"/>
          <p:cNvGrpSpPr/>
          <p:nvPr/>
        </p:nvGrpSpPr>
        <p:grpSpPr>
          <a:xfrm>
            <a:off x="6685259" y="2902852"/>
            <a:ext cx="311414" cy="355406"/>
            <a:chOff x="6685259" y="2902852"/>
            <a:chExt cx="311414" cy="355406"/>
          </a:xfrm>
        </p:grpSpPr>
        <p:sp>
          <p:nvSpPr>
            <p:cNvPr id="10570" name="Google Shape;10570;p59"/>
            <p:cNvSpPr/>
            <p:nvPr/>
          </p:nvSpPr>
          <p:spPr>
            <a:xfrm>
              <a:off x="6835805" y="3045466"/>
              <a:ext cx="10671" cy="155134"/>
            </a:xfrm>
            <a:custGeom>
              <a:avLst/>
              <a:gdLst/>
              <a:ahLst/>
              <a:cxnLst/>
              <a:rect l="l" t="t" r="r" b="b"/>
              <a:pathLst>
                <a:path w="335" h="4870" extrusionOk="0">
                  <a:moveTo>
                    <a:pt x="168" y="0"/>
                  </a:moveTo>
                  <a:cubicBezTo>
                    <a:pt x="84" y="0"/>
                    <a:pt x="1" y="84"/>
                    <a:pt x="1" y="167"/>
                  </a:cubicBezTo>
                  <a:lnTo>
                    <a:pt x="1" y="4703"/>
                  </a:lnTo>
                  <a:cubicBezTo>
                    <a:pt x="1" y="4799"/>
                    <a:pt x="84" y="4870"/>
                    <a:pt x="168" y="4870"/>
                  </a:cubicBezTo>
                  <a:cubicBezTo>
                    <a:pt x="263" y="4870"/>
                    <a:pt x="334" y="4799"/>
                    <a:pt x="334" y="4703"/>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1" name="Google Shape;10571;p59"/>
            <p:cNvSpPr/>
            <p:nvPr/>
          </p:nvSpPr>
          <p:spPr>
            <a:xfrm>
              <a:off x="6765661" y="2938497"/>
              <a:ext cx="149846" cy="63774"/>
            </a:xfrm>
            <a:custGeom>
              <a:avLst/>
              <a:gdLst/>
              <a:ahLst/>
              <a:cxnLst/>
              <a:rect l="l" t="t" r="r" b="b"/>
              <a:pathLst>
                <a:path w="4704" h="2002" extrusionOk="0">
                  <a:moveTo>
                    <a:pt x="572" y="1"/>
                  </a:moveTo>
                  <a:cubicBezTo>
                    <a:pt x="262" y="1"/>
                    <a:pt x="0" y="251"/>
                    <a:pt x="0" y="572"/>
                  </a:cubicBezTo>
                  <a:lnTo>
                    <a:pt x="0" y="1430"/>
                  </a:lnTo>
                  <a:cubicBezTo>
                    <a:pt x="0" y="1739"/>
                    <a:pt x="262" y="2001"/>
                    <a:pt x="572" y="2001"/>
                  </a:cubicBezTo>
                  <a:lnTo>
                    <a:pt x="2679" y="2001"/>
                  </a:lnTo>
                  <a:cubicBezTo>
                    <a:pt x="2774" y="2001"/>
                    <a:pt x="2846" y="1918"/>
                    <a:pt x="2846" y="1834"/>
                  </a:cubicBezTo>
                  <a:cubicBezTo>
                    <a:pt x="2846" y="1739"/>
                    <a:pt x="2774" y="1668"/>
                    <a:pt x="2679" y="1668"/>
                  </a:cubicBezTo>
                  <a:lnTo>
                    <a:pt x="572" y="1668"/>
                  </a:lnTo>
                  <a:cubicBezTo>
                    <a:pt x="441" y="1668"/>
                    <a:pt x="334" y="1560"/>
                    <a:pt x="334" y="1430"/>
                  </a:cubicBezTo>
                  <a:lnTo>
                    <a:pt x="334" y="572"/>
                  </a:lnTo>
                  <a:cubicBezTo>
                    <a:pt x="334" y="429"/>
                    <a:pt x="441" y="322"/>
                    <a:pt x="572" y="322"/>
                  </a:cubicBezTo>
                  <a:lnTo>
                    <a:pt x="4144" y="322"/>
                  </a:lnTo>
                  <a:cubicBezTo>
                    <a:pt x="4275" y="322"/>
                    <a:pt x="4382" y="429"/>
                    <a:pt x="4382" y="572"/>
                  </a:cubicBezTo>
                  <a:lnTo>
                    <a:pt x="4382" y="1430"/>
                  </a:lnTo>
                  <a:cubicBezTo>
                    <a:pt x="4394" y="1549"/>
                    <a:pt x="4275" y="1668"/>
                    <a:pt x="4144" y="1668"/>
                  </a:cubicBezTo>
                  <a:lnTo>
                    <a:pt x="3513" y="1668"/>
                  </a:lnTo>
                  <a:cubicBezTo>
                    <a:pt x="3429" y="1668"/>
                    <a:pt x="3358" y="1739"/>
                    <a:pt x="3358" y="1834"/>
                  </a:cubicBezTo>
                  <a:cubicBezTo>
                    <a:pt x="3358" y="1918"/>
                    <a:pt x="3429" y="2001"/>
                    <a:pt x="3513" y="2001"/>
                  </a:cubicBezTo>
                  <a:lnTo>
                    <a:pt x="4144" y="2001"/>
                  </a:lnTo>
                  <a:cubicBezTo>
                    <a:pt x="4453" y="2001"/>
                    <a:pt x="4703" y="1739"/>
                    <a:pt x="4703" y="1430"/>
                  </a:cubicBezTo>
                  <a:lnTo>
                    <a:pt x="4703" y="572"/>
                  </a:lnTo>
                  <a:cubicBezTo>
                    <a:pt x="4703" y="251"/>
                    <a:pt x="4453" y="1"/>
                    <a:pt x="4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2" name="Google Shape;10572;p59"/>
            <p:cNvSpPr/>
            <p:nvPr/>
          </p:nvSpPr>
          <p:spPr>
            <a:xfrm>
              <a:off x="6685259" y="2902852"/>
              <a:ext cx="311414" cy="355406"/>
            </a:xfrm>
            <a:custGeom>
              <a:avLst/>
              <a:gdLst/>
              <a:ahLst/>
              <a:cxnLst/>
              <a:rect l="l" t="t" r="r" b="b"/>
              <a:pathLst>
                <a:path w="9776" h="11157" extrusionOk="0">
                  <a:moveTo>
                    <a:pt x="3227" y="1"/>
                  </a:moveTo>
                  <a:cubicBezTo>
                    <a:pt x="2227" y="1"/>
                    <a:pt x="1810" y="774"/>
                    <a:pt x="1667" y="894"/>
                  </a:cubicBezTo>
                  <a:lnTo>
                    <a:pt x="822" y="894"/>
                  </a:lnTo>
                  <a:cubicBezTo>
                    <a:pt x="369" y="894"/>
                    <a:pt x="0" y="1275"/>
                    <a:pt x="0" y="1715"/>
                  </a:cubicBezTo>
                  <a:lnTo>
                    <a:pt x="0" y="4287"/>
                  </a:lnTo>
                  <a:cubicBezTo>
                    <a:pt x="0" y="4382"/>
                    <a:pt x="72" y="4454"/>
                    <a:pt x="155" y="4454"/>
                  </a:cubicBezTo>
                  <a:cubicBezTo>
                    <a:pt x="250" y="4454"/>
                    <a:pt x="322" y="4382"/>
                    <a:pt x="322" y="4287"/>
                  </a:cubicBezTo>
                  <a:lnTo>
                    <a:pt x="322" y="1715"/>
                  </a:lnTo>
                  <a:cubicBezTo>
                    <a:pt x="322" y="1453"/>
                    <a:pt x="548" y="1227"/>
                    <a:pt x="810" y="1227"/>
                  </a:cubicBezTo>
                  <a:lnTo>
                    <a:pt x="1738" y="1227"/>
                  </a:lnTo>
                  <a:cubicBezTo>
                    <a:pt x="1786" y="1227"/>
                    <a:pt x="1822" y="1215"/>
                    <a:pt x="1858" y="1167"/>
                  </a:cubicBezTo>
                  <a:lnTo>
                    <a:pt x="2167" y="810"/>
                  </a:lnTo>
                  <a:cubicBezTo>
                    <a:pt x="2441" y="513"/>
                    <a:pt x="2822" y="334"/>
                    <a:pt x="3227" y="334"/>
                  </a:cubicBezTo>
                  <a:lnTo>
                    <a:pt x="6525" y="334"/>
                  </a:lnTo>
                  <a:cubicBezTo>
                    <a:pt x="6930" y="334"/>
                    <a:pt x="7322" y="513"/>
                    <a:pt x="7584" y="810"/>
                  </a:cubicBezTo>
                  <a:lnTo>
                    <a:pt x="7894" y="1167"/>
                  </a:lnTo>
                  <a:cubicBezTo>
                    <a:pt x="7930" y="1191"/>
                    <a:pt x="7977" y="1227"/>
                    <a:pt x="8013" y="1227"/>
                  </a:cubicBezTo>
                  <a:lnTo>
                    <a:pt x="8942" y="1227"/>
                  </a:lnTo>
                  <a:cubicBezTo>
                    <a:pt x="9204" y="1227"/>
                    <a:pt x="9430" y="1453"/>
                    <a:pt x="9430" y="1715"/>
                  </a:cubicBezTo>
                  <a:lnTo>
                    <a:pt x="9430" y="10335"/>
                  </a:lnTo>
                  <a:cubicBezTo>
                    <a:pt x="9430" y="10597"/>
                    <a:pt x="9204" y="10823"/>
                    <a:pt x="8942" y="10823"/>
                  </a:cubicBezTo>
                  <a:lnTo>
                    <a:pt x="7632" y="10823"/>
                  </a:lnTo>
                  <a:lnTo>
                    <a:pt x="7632" y="9823"/>
                  </a:lnTo>
                  <a:cubicBezTo>
                    <a:pt x="7632" y="9740"/>
                    <a:pt x="7561" y="9657"/>
                    <a:pt x="7465" y="9657"/>
                  </a:cubicBezTo>
                  <a:cubicBezTo>
                    <a:pt x="7382" y="9657"/>
                    <a:pt x="7299" y="9740"/>
                    <a:pt x="7299" y="9823"/>
                  </a:cubicBezTo>
                  <a:lnTo>
                    <a:pt x="7299" y="10823"/>
                  </a:lnTo>
                  <a:lnTo>
                    <a:pt x="2453" y="10823"/>
                  </a:lnTo>
                  <a:lnTo>
                    <a:pt x="2453" y="9823"/>
                  </a:lnTo>
                  <a:cubicBezTo>
                    <a:pt x="2453" y="9740"/>
                    <a:pt x="2381" y="9657"/>
                    <a:pt x="2286" y="9657"/>
                  </a:cubicBezTo>
                  <a:cubicBezTo>
                    <a:pt x="2203" y="9657"/>
                    <a:pt x="2119" y="9740"/>
                    <a:pt x="2119" y="9823"/>
                  </a:cubicBezTo>
                  <a:lnTo>
                    <a:pt x="2119" y="10823"/>
                  </a:lnTo>
                  <a:lnTo>
                    <a:pt x="822" y="10823"/>
                  </a:lnTo>
                  <a:cubicBezTo>
                    <a:pt x="548" y="10823"/>
                    <a:pt x="322" y="10597"/>
                    <a:pt x="322" y="10335"/>
                  </a:cubicBezTo>
                  <a:lnTo>
                    <a:pt x="322" y="5227"/>
                  </a:lnTo>
                  <a:cubicBezTo>
                    <a:pt x="322" y="5144"/>
                    <a:pt x="250" y="5061"/>
                    <a:pt x="167" y="5061"/>
                  </a:cubicBezTo>
                  <a:cubicBezTo>
                    <a:pt x="72" y="5061"/>
                    <a:pt x="0" y="5144"/>
                    <a:pt x="0" y="5227"/>
                  </a:cubicBezTo>
                  <a:lnTo>
                    <a:pt x="0" y="10335"/>
                  </a:lnTo>
                  <a:cubicBezTo>
                    <a:pt x="0" y="10776"/>
                    <a:pt x="369" y="11157"/>
                    <a:pt x="822" y="11157"/>
                  </a:cubicBezTo>
                  <a:lnTo>
                    <a:pt x="8942" y="11157"/>
                  </a:lnTo>
                  <a:cubicBezTo>
                    <a:pt x="9394" y="11157"/>
                    <a:pt x="9763" y="10776"/>
                    <a:pt x="9763" y="10335"/>
                  </a:cubicBezTo>
                  <a:lnTo>
                    <a:pt x="9763" y="1715"/>
                  </a:lnTo>
                  <a:cubicBezTo>
                    <a:pt x="9775" y="1275"/>
                    <a:pt x="9406" y="894"/>
                    <a:pt x="8942" y="894"/>
                  </a:cubicBezTo>
                  <a:lnTo>
                    <a:pt x="8096" y="894"/>
                  </a:lnTo>
                  <a:cubicBezTo>
                    <a:pt x="7965" y="774"/>
                    <a:pt x="7525" y="1"/>
                    <a:pt x="6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3" name="Google Shape;10573;p59"/>
          <p:cNvGrpSpPr/>
          <p:nvPr/>
        </p:nvGrpSpPr>
        <p:grpSpPr>
          <a:xfrm>
            <a:off x="5309250" y="2903170"/>
            <a:ext cx="359579" cy="355852"/>
            <a:chOff x="5309250" y="2903170"/>
            <a:chExt cx="359579" cy="355852"/>
          </a:xfrm>
        </p:grpSpPr>
        <p:sp>
          <p:nvSpPr>
            <p:cNvPr id="10574" name="Google Shape;10574;p59"/>
            <p:cNvSpPr/>
            <p:nvPr/>
          </p:nvSpPr>
          <p:spPr>
            <a:xfrm>
              <a:off x="5410517" y="3006317"/>
              <a:ext cx="77854" cy="76452"/>
            </a:xfrm>
            <a:custGeom>
              <a:avLst/>
              <a:gdLst/>
              <a:ahLst/>
              <a:cxnLst/>
              <a:rect l="l" t="t" r="r" b="b"/>
              <a:pathLst>
                <a:path w="2444" h="2400" extrusionOk="0">
                  <a:moveTo>
                    <a:pt x="1345" y="315"/>
                  </a:moveTo>
                  <a:cubicBezTo>
                    <a:pt x="1450" y="315"/>
                    <a:pt x="1549" y="346"/>
                    <a:pt x="1631" y="420"/>
                  </a:cubicBezTo>
                  <a:cubicBezTo>
                    <a:pt x="1905" y="634"/>
                    <a:pt x="2060" y="1206"/>
                    <a:pt x="2096" y="1622"/>
                  </a:cubicBezTo>
                  <a:cubicBezTo>
                    <a:pt x="2104" y="1923"/>
                    <a:pt x="1755" y="2071"/>
                    <a:pt x="1406" y="2071"/>
                  </a:cubicBezTo>
                  <a:cubicBezTo>
                    <a:pt x="1257" y="2071"/>
                    <a:pt x="1109" y="2045"/>
                    <a:pt x="988" y="1991"/>
                  </a:cubicBezTo>
                  <a:cubicBezTo>
                    <a:pt x="560" y="1801"/>
                    <a:pt x="381" y="1313"/>
                    <a:pt x="560" y="872"/>
                  </a:cubicBezTo>
                  <a:cubicBezTo>
                    <a:pt x="693" y="580"/>
                    <a:pt x="1042" y="315"/>
                    <a:pt x="1345" y="315"/>
                  </a:cubicBezTo>
                  <a:close/>
                  <a:moveTo>
                    <a:pt x="1344" y="1"/>
                  </a:moveTo>
                  <a:cubicBezTo>
                    <a:pt x="906" y="1"/>
                    <a:pt x="447" y="320"/>
                    <a:pt x="262" y="741"/>
                  </a:cubicBezTo>
                  <a:cubicBezTo>
                    <a:pt x="0" y="1336"/>
                    <a:pt x="262" y="2027"/>
                    <a:pt x="857" y="2289"/>
                  </a:cubicBezTo>
                  <a:cubicBezTo>
                    <a:pt x="1022" y="2363"/>
                    <a:pt x="1214" y="2400"/>
                    <a:pt x="1407" y="2400"/>
                  </a:cubicBezTo>
                  <a:cubicBezTo>
                    <a:pt x="1925" y="2400"/>
                    <a:pt x="2443" y="2134"/>
                    <a:pt x="2417" y="1622"/>
                  </a:cubicBezTo>
                  <a:cubicBezTo>
                    <a:pt x="2405" y="1134"/>
                    <a:pt x="2203" y="479"/>
                    <a:pt x="1858" y="182"/>
                  </a:cubicBezTo>
                  <a:cubicBezTo>
                    <a:pt x="1704" y="56"/>
                    <a:pt x="1526" y="1"/>
                    <a:pt x="1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5" name="Google Shape;10575;p59"/>
            <p:cNvSpPr/>
            <p:nvPr/>
          </p:nvSpPr>
          <p:spPr>
            <a:xfrm>
              <a:off x="5309250" y="2903170"/>
              <a:ext cx="359579" cy="355852"/>
            </a:xfrm>
            <a:custGeom>
              <a:avLst/>
              <a:gdLst/>
              <a:ahLst/>
              <a:cxnLst/>
              <a:rect l="l" t="t" r="r" b="b"/>
              <a:pathLst>
                <a:path w="11288" h="11171" extrusionOk="0">
                  <a:moveTo>
                    <a:pt x="3691" y="336"/>
                  </a:moveTo>
                  <a:cubicBezTo>
                    <a:pt x="3775" y="336"/>
                    <a:pt x="3846" y="383"/>
                    <a:pt x="3870" y="455"/>
                  </a:cubicBezTo>
                  <a:lnTo>
                    <a:pt x="4084" y="991"/>
                  </a:lnTo>
                  <a:cubicBezTo>
                    <a:pt x="3953" y="1003"/>
                    <a:pt x="3846" y="1050"/>
                    <a:pt x="3739" y="1122"/>
                  </a:cubicBezTo>
                  <a:lnTo>
                    <a:pt x="3536" y="586"/>
                  </a:lnTo>
                  <a:cubicBezTo>
                    <a:pt x="3489" y="455"/>
                    <a:pt x="3572" y="336"/>
                    <a:pt x="3691" y="336"/>
                  </a:cubicBezTo>
                  <a:close/>
                  <a:moveTo>
                    <a:pt x="7834" y="436"/>
                  </a:moveTo>
                  <a:cubicBezTo>
                    <a:pt x="7859" y="436"/>
                    <a:pt x="7883" y="442"/>
                    <a:pt x="7906" y="455"/>
                  </a:cubicBezTo>
                  <a:cubicBezTo>
                    <a:pt x="7989" y="503"/>
                    <a:pt x="8037" y="598"/>
                    <a:pt x="7989" y="693"/>
                  </a:cubicBezTo>
                  <a:lnTo>
                    <a:pt x="7763" y="1217"/>
                  </a:lnTo>
                  <a:cubicBezTo>
                    <a:pt x="7668" y="1134"/>
                    <a:pt x="7561" y="1086"/>
                    <a:pt x="7418" y="1062"/>
                  </a:cubicBezTo>
                  <a:lnTo>
                    <a:pt x="7668" y="538"/>
                  </a:lnTo>
                  <a:cubicBezTo>
                    <a:pt x="7702" y="478"/>
                    <a:pt x="7769" y="436"/>
                    <a:pt x="7834" y="436"/>
                  </a:cubicBezTo>
                  <a:close/>
                  <a:moveTo>
                    <a:pt x="698" y="3177"/>
                  </a:moveTo>
                  <a:cubicBezTo>
                    <a:pt x="775" y="3177"/>
                    <a:pt x="883" y="3247"/>
                    <a:pt x="1298" y="3431"/>
                  </a:cubicBezTo>
                  <a:cubicBezTo>
                    <a:pt x="1250" y="3479"/>
                    <a:pt x="1227" y="3539"/>
                    <a:pt x="1191" y="3586"/>
                  </a:cubicBezTo>
                  <a:cubicBezTo>
                    <a:pt x="1191" y="3586"/>
                    <a:pt x="1167" y="3658"/>
                    <a:pt x="1155" y="3765"/>
                  </a:cubicBezTo>
                  <a:lnTo>
                    <a:pt x="631" y="3527"/>
                  </a:lnTo>
                  <a:cubicBezTo>
                    <a:pt x="477" y="3479"/>
                    <a:pt x="477" y="3253"/>
                    <a:pt x="631" y="3193"/>
                  </a:cubicBezTo>
                  <a:cubicBezTo>
                    <a:pt x="655" y="3183"/>
                    <a:pt x="675" y="3177"/>
                    <a:pt x="698" y="3177"/>
                  </a:cubicBezTo>
                  <a:close/>
                  <a:moveTo>
                    <a:pt x="10679" y="3437"/>
                  </a:moveTo>
                  <a:cubicBezTo>
                    <a:pt x="10755" y="3437"/>
                    <a:pt x="10841" y="3482"/>
                    <a:pt x="10871" y="3551"/>
                  </a:cubicBezTo>
                  <a:cubicBezTo>
                    <a:pt x="10906" y="3646"/>
                    <a:pt x="10847" y="3765"/>
                    <a:pt x="10764" y="3789"/>
                  </a:cubicBezTo>
                  <a:lnTo>
                    <a:pt x="10228" y="4003"/>
                  </a:lnTo>
                  <a:cubicBezTo>
                    <a:pt x="10216" y="3848"/>
                    <a:pt x="10168" y="3741"/>
                    <a:pt x="10097" y="3658"/>
                  </a:cubicBezTo>
                  <a:lnTo>
                    <a:pt x="10633" y="3443"/>
                  </a:lnTo>
                  <a:cubicBezTo>
                    <a:pt x="10647" y="3439"/>
                    <a:pt x="10663" y="3437"/>
                    <a:pt x="10679" y="3437"/>
                  </a:cubicBezTo>
                  <a:close/>
                  <a:moveTo>
                    <a:pt x="1060" y="7134"/>
                  </a:moveTo>
                  <a:cubicBezTo>
                    <a:pt x="1072" y="7265"/>
                    <a:pt x="1119" y="7372"/>
                    <a:pt x="1191" y="7480"/>
                  </a:cubicBezTo>
                  <a:lnTo>
                    <a:pt x="655" y="7682"/>
                  </a:lnTo>
                  <a:cubicBezTo>
                    <a:pt x="635" y="7694"/>
                    <a:pt x="612" y="7699"/>
                    <a:pt x="589" y="7699"/>
                  </a:cubicBezTo>
                  <a:cubicBezTo>
                    <a:pt x="518" y="7699"/>
                    <a:pt x="444" y="7650"/>
                    <a:pt x="417" y="7587"/>
                  </a:cubicBezTo>
                  <a:cubicBezTo>
                    <a:pt x="381" y="7492"/>
                    <a:pt x="429" y="7372"/>
                    <a:pt x="524" y="7349"/>
                  </a:cubicBezTo>
                  <a:lnTo>
                    <a:pt x="1060" y="7134"/>
                  </a:lnTo>
                  <a:close/>
                  <a:moveTo>
                    <a:pt x="10144" y="7361"/>
                  </a:moveTo>
                  <a:lnTo>
                    <a:pt x="10656" y="7599"/>
                  </a:lnTo>
                  <a:cubicBezTo>
                    <a:pt x="10811" y="7658"/>
                    <a:pt x="10811" y="7884"/>
                    <a:pt x="10656" y="7944"/>
                  </a:cubicBezTo>
                  <a:cubicBezTo>
                    <a:pt x="10637" y="7950"/>
                    <a:pt x="10619" y="7953"/>
                    <a:pt x="10601" y="7953"/>
                  </a:cubicBezTo>
                  <a:cubicBezTo>
                    <a:pt x="10506" y="7953"/>
                    <a:pt x="10398" y="7875"/>
                    <a:pt x="9990" y="7706"/>
                  </a:cubicBezTo>
                  <a:cubicBezTo>
                    <a:pt x="10061" y="7611"/>
                    <a:pt x="10121" y="7515"/>
                    <a:pt x="10144" y="7361"/>
                  </a:cubicBezTo>
                  <a:close/>
                  <a:moveTo>
                    <a:pt x="3536" y="9920"/>
                  </a:moveTo>
                  <a:cubicBezTo>
                    <a:pt x="3620" y="9992"/>
                    <a:pt x="3727" y="10051"/>
                    <a:pt x="3870" y="10063"/>
                  </a:cubicBezTo>
                  <a:lnTo>
                    <a:pt x="3620" y="10587"/>
                  </a:lnTo>
                  <a:cubicBezTo>
                    <a:pt x="3584" y="10658"/>
                    <a:pt x="3522" y="10696"/>
                    <a:pt x="3454" y="10696"/>
                  </a:cubicBezTo>
                  <a:cubicBezTo>
                    <a:pt x="3430" y="10696"/>
                    <a:pt x="3406" y="10691"/>
                    <a:pt x="3382" y="10682"/>
                  </a:cubicBezTo>
                  <a:cubicBezTo>
                    <a:pt x="3298" y="10635"/>
                    <a:pt x="3251" y="10528"/>
                    <a:pt x="3298" y="10444"/>
                  </a:cubicBezTo>
                  <a:lnTo>
                    <a:pt x="3536" y="9920"/>
                  </a:lnTo>
                  <a:close/>
                  <a:moveTo>
                    <a:pt x="7549" y="10016"/>
                  </a:moveTo>
                  <a:cubicBezTo>
                    <a:pt x="7727" y="10528"/>
                    <a:pt x="7799" y="10575"/>
                    <a:pt x="7763" y="10694"/>
                  </a:cubicBezTo>
                  <a:cubicBezTo>
                    <a:pt x="7728" y="10770"/>
                    <a:pt x="7659" y="10809"/>
                    <a:pt x="7590" y="10809"/>
                  </a:cubicBezTo>
                  <a:cubicBezTo>
                    <a:pt x="7519" y="10809"/>
                    <a:pt x="7448" y="10767"/>
                    <a:pt x="7418" y="10682"/>
                  </a:cubicBezTo>
                  <a:lnTo>
                    <a:pt x="7204" y="10147"/>
                  </a:lnTo>
                  <a:cubicBezTo>
                    <a:pt x="7346" y="10123"/>
                    <a:pt x="7442" y="10087"/>
                    <a:pt x="7549" y="10016"/>
                  </a:cubicBezTo>
                  <a:close/>
                  <a:moveTo>
                    <a:pt x="3696" y="1"/>
                  </a:moveTo>
                  <a:cubicBezTo>
                    <a:pt x="3631" y="1"/>
                    <a:pt x="3565" y="13"/>
                    <a:pt x="3501" y="38"/>
                  </a:cubicBezTo>
                  <a:cubicBezTo>
                    <a:pt x="3239" y="145"/>
                    <a:pt x="3096" y="443"/>
                    <a:pt x="3203" y="705"/>
                  </a:cubicBezTo>
                  <a:lnTo>
                    <a:pt x="3477" y="1407"/>
                  </a:lnTo>
                  <a:cubicBezTo>
                    <a:pt x="3239" y="1753"/>
                    <a:pt x="3203" y="1765"/>
                    <a:pt x="2846" y="1824"/>
                  </a:cubicBezTo>
                  <a:cubicBezTo>
                    <a:pt x="2655" y="1848"/>
                    <a:pt x="2429" y="1896"/>
                    <a:pt x="2286" y="2050"/>
                  </a:cubicBezTo>
                  <a:cubicBezTo>
                    <a:pt x="2012" y="2300"/>
                    <a:pt x="2060" y="2741"/>
                    <a:pt x="1929" y="2955"/>
                  </a:cubicBezTo>
                  <a:cubicBezTo>
                    <a:pt x="1870" y="3027"/>
                    <a:pt x="1762" y="3098"/>
                    <a:pt x="1643" y="3181"/>
                  </a:cubicBezTo>
                  <a:cubicBezTo>
                    <a:pt x="1631" y="3193"/>
                    <a:pt x="1608" y="3205"/>
                    <a:pt x="1584" y="3217"/>
                  </a:cubicBezTo>
                  <a:lnTo>
                    <a:pt x="893" y="2920"/>
                  </a:lnTo>
                  <a:cubicBezTo>
                    <a:pt x="830" y="2888"/>
                    <a:pt x="761" y="2873"/>
                    <a:pt x="692" y="2873"/>
                  </a:cubicBezTo>
                  <a:cubicBezTo>
                    <a:pt x="630" y="2873"/>
                    <a:pt x="568" y="2885"/>
                    <a:pt x="512" y="2908"/>
                  </a:cubicBezTo>
                  <a:cubicBezTo>
                    <a:pt x="84" y="3074"/>
                    <a:pt x="60" y="3670"/>
                    <a:pt x="477" y="3860"/>
                  </a:cubicBezTo>
                  <a:lnTo>
                    <a:pt x="1167" y="4158"/>
                  </a:lnTo>
                  <a:cubicBezTo>
                    <a:pt x="1239" y="4563"/>
                    <a:pt x="1239" y="4586"/>
                    <a:pt x="1012" y="4920"/>
                  </a:cubicBezTo>
                  <a:cubicBezTo>
                    <a:pt x="893" y="5086"/>
                    <a:pt x="774" y="5265"/>
                    <a:pt x="774" y="5467"/>
                  </a:cubicBezTo>
                  <a:cubicBezTo>
                    <a:pt x="762" y="5825"/>
                    <a:pt x="1119" y="6122"/>
                    <a:pt x="1167" y="6360"/>
                  </a:cubicBezTo>
                  <a:cubicBezTo>
                    <a:pt x="1179" y="6479"/>
                    <a:pt x="1155" y="6646"/>
                    <a:pt x="1108" y="6777"/>
                  </a:cubicBezTo>
                  <a:lnTo>
                    <a:pt x="405" y="7051"/>
                  </a:lnTo>
                  <a:cubicBezTo>
                    <a:pt x="143" y="7146"/>
                    <a:pt x="0" y="7444"/>
                    <a:pt x="107" y="7718"/>
                  </a:cubicBezTo>
                  <a:cubicBezTo>
                    <a:pt x="190" y="7920"/>
                    <a:pt x="386" y="8051"/>
                    <a:pt x="592" y="8051"/>
                  </a:cubicBezTo>
                  <a:cubicBezTo>
                    <a:pt x="653" y="8051"/>
                    <a:pt x="714" y="8040"/>
                    <a:pt x="774" y="8015"/>
                  </a:cubicBezTo>
                  <a:lnTo>
                    <a:pt x="1477" y="7742"/>
                  </a:lnTo>
                  <a:cubicBezTo>
                    <a:pt x="1822" y="7980"/>
                    <a:pt x="1834" y="8015"/>
                    <a:pt x="1893" y="8373"/>
                  </a:cubicBezTo>
                  <a:cubicBezTo>
                    <a:pt x="1989" y="8932"/>
                    <a:pt x="2131" y="9075"/>
                    <a:pt x="2667" y="9194"/>
                  </a:cubicBezTo>
                  <a:cubicBezTo>
                    <a:pt x="3036" y="9277"/>
                    <a:pt x="3060" y="9289"/>
                    <a:pt x="3274" y="9647"/>
                  </a:cubicBezTo>
                  <a:lnTo>
                    <a:pt x="2977" y="10337"/>
                  </a:lnTo>
                  <a:cubicBezTo>
                    <a:pt x="2815" y="10691"/>
                    <a:pt x="3091" y="11053"/>
                    <a:pt x="3439" y="11053"/>
                  </a:cubicBezTo>
                  <a:cubicBezTo>
                    <a:pt x="3502" y="11053"/>
                    <a:pt x="3567" y="11041"/>
                    <a:pt x="3632" y="11016"/>
                  </a:cubicBezTo>
                  <a:cubicBezTo>
                    <a:pt x="3775" y="10980"/>
                    <a:pt x="3858" y="10873"/>
                    <a:pt x="3917" y="10754"/>
                  </a:cubicBezTo>
                  <a:lnTo>
                    <a:pt x="4215" y="10063"/>
                  </a:lnTo>
                  <a:cubicBezTo>
                    <a:pt x="4361" y="10038"/>
                    <a:pt x="4457" y="10021"/>
                    <a:pt x="4536" y="10021"/>
                  </a:cubicBezTo>
                  <a:cubicBezTo>
                    <a:pt x="4677" y="10021"/>
                    <a:pt x="4764" y="10073"/>
                    <a:pt x="4977" y="10218"/>
                  </a:cubicBezTo>
                  <a:cubicBezTo>
                    <a:pt x="5204" y="10377"/>
                    <a:pt x="5367" y="10458"/>
                    <a:pt x="5538" y="10458"/>
                  </a:cubicBezTo>
                  <a:cubicBezTo>
                    <a:pt x="5699" y="10458"/>
                    <a:pt x="5865" y="10386"/>
                    <a:pt x="6096" y="10242"/>
                  </a:cubicBezTo>
                  <a:cubicBezTo>
                    <a:pt x="6280" y="10126"/>
                    <a:pt x="6363" y="10080"/>
                    <a:pt x="6476" y="10080"/>
                  </a:cubicBezTo>
                  <a:cubicBezTo>
                    <a:pt x="6560" y="10080"/>
                    <a:pt x="6661" y="10106"/>
                    <a:pt x="6834" y="10147"/>
                  </a:cubicBezTo>
                  <a:lnTo>
                    <a:pt x="7108" y="10837"/>
                  </a:lnTo>
                  <a:cubicBezTo>
                    <a:pt x="7180" y="11051"/>
                    <a:pt x="7370" y="11171"/>
                    <a:pt x="7585" y="11171"/>
                  </a:cubicBezTo>
                  <a:cubicBezTo>
                    <a:pt x="7942" y="11171"/>
                    <a:pt x="8192" y="10813"/>
                    <a:pt x="8061" y="10468"/>
                  </a:cubicBezTo>
                  <a:lnTo>
                    <a:pt x="7787" y="9766"/>
                  </a:lnTo>
                  <a:cubicBezTo>
                    <a:pt x="8025" y="9432"/>
                    <a:pt x="8061" y="9408"/>
                    <a:pt x="8418" y="9349"/>
                  </a:cubicBezTo>
                  <a:cubicBezTo>
                    <a:pt x="8978" y="9266"/>
                    <a:pt x="9109" y="9111"/>
                    <a:pt x="9228" y="8575"/>
                  </a:cubicBezTo>
                  <a:cubicBezTo>
                    <a:pt x="9323" y="8206"/>
                    <a:pt x="9335" y="8194"/>
                    <a:pt x="9692" y="7968"/>
                  </a:cubicBezTo>
                  <a:cubicBezTo>
                    <a:pt x="10198" y="8180"/>
                    <a:pt x="10406" y="8313"/>
                    <a:pt x="10595" y="8313"/>
                  </a:cubicBezTo>
                  <a:cubicBezTo>
                    <a:pt x="10650" y="8313"/>
                    <a:pt x="10704" y="8302"/>
                    <a:pt x="10764" y="8277"/>
                  </a:cubicBezTo>
                  <a:cubicBezTo>
                    <a:pt x="11192" y="8075"/>
                    <a:pt x="11216" y="7480"/>
                    <a:pt x="10799" y="7301"/>
                  </a:cubicBezTo>
                  <a:lnTo>
                    <a:pt x="10109" y="7003"/>
                  </a:lnTo>
                  <a:cubicBezTo>
                    <a:pt x="10037" y="6599"/>
                    <a:pt x="10037" y="6575"/>
                    <a:pt x="10263" y="6241"/>
                  </a:cubicBezTo>
                  <a:cubicBezTo>
                    <a:pt x="10573" y="5801"/>
                    <a:pt x="10597" y="5622"/>
                    <a:pt x="10287" y="5134"/>
                  </a:cubicBezTo>
                  <a:cubicBezTo>
                    <a:pt x="10085" y="4801"/>
                    <a:pt x="10097" y="4789"/>
                    <a:pt x="10180" y="4384"/>
                  </a:cubicBezTo>
                  <a:lnTo>
                    <a:pt x="10883" y="4122"/>
                  </a:lnTo>
                  <a:cubicBezTo>
                    <a:pt x="11156" y="4015"/>
                    <a:pt x="11287" y="3717"/>
                    <a:pt x="11180" y="3443"/>
                  </a:cubicBezTo>
                  <a:cubicBezTo>
                    <a:pt x="11097" y="3239"/>
                    <a:pt x="10898" y="3115"/>
                    <a:pt x="10690" y="3115"/>
                  </a:cubicBezTo>
                  <a:cubicBezTo>
                    <a:pt x="10631" y="3115"/>
                    <a:pt x="10571" y="3125"/>
                    <a:pt x="10513" y="3146"/>
                  </a:cubicBezTo>
                  <a:lnTo>
                    <a:pt x="9811" y="3420"/>
                  </a:lnTo>
                  <a:cubicBezTo>
                    <a:pt x="9466" y="3181"/>
                    <a:pt x="9454" y="3146"/>
                    <a:pt x="9394" y="2789"/>
                  </a:cubicBezTo>
                  <a:cubicBezTo>
                    <a:pt x="9311" y="2229"/>
                    <a:pt x="9156" y="2086"/>
                    <a:pt x="8620" y="1979"/>
                  </a:cubicBezTo>
                  <a:cubicBezTo>
                    <a:pt x="8251" y="1884"/>
                    <a:pt x="8239" y="1872"/>
                    <a:pt x="8013" y="1515"/>
                  </a:cubicBezTo>
                  <a:lnTo>
                    <a:pt x="8311" y="824"/>
                  </a:lnTo>
                  <a:cubicBezTo>
                    <a:pt x="8430" y="574"/>
                    <a:pt x="8311" y="264"/>
                    <a:pt x="8037" y="157"/>
                  </a:cubicBezTo>
                  <a:cubicBezTo>
                    <a:pt x="7971" y="126"/>
                    <a:pt x="7901" y="111"/>
                    <a:pt x="7831" y="111"/>
                  </a:cubicBezTo>
                  <a:cubicBezTo>
                    <a:pt x="7638" y="111"/>
                    <a:pt x="7449" y="226"/>
                    <a:pt x="7370" y="419"/>
                  </a:cubicBezTo>
                  <a:lnTo>
                    <a:pt x="7073" y="1110"/>
                  </a:lnTo>
                  <a:cubicBezTo>
                    <a:pt x="6927" y="1135"/>
                    <a:pt x="6831" y="1152"/>
                    <a:pt x="6751" y="1152"/>
                  </a:cubicBezTo>
                  <a:cubicBezTo>
                    <a:pt x="6611" y="1152"/>
                    <a:pt x="6524" y="1100"/>
                    <a:pt x="6311" y="955"/>
                  </a:cubicBezTo>
                  <a:lnTo>
                    <a:pt x="6180" y="872"/>
                  </a:lnTo>
                  <a:cubicBezTo>
                    <a:pt x="6152" y="853"/>
                    <a:pt x="6119" y="844"/>
                    <a:pt x="6087" y="844"/>
                  </a:cubicBezTo>
                  <a:cubicBezTo>
                    <a:pt x="6034" y="844"/>
                    <a:pt x="5983" y="868"/>
                    <a:pt x="5953" y="919"/>
                  </a:cubicBezTo>
                  <a:cubicBezTo>
                    <a:pt x="5918" y="991"/>
                    <a:pt x="5930" y="1098"/>
                    <a:pt x="6001" y="1134"/>
                  </a:cubicBezTo>
                  <a:lnTo>
                    <a:pt x="6132" y="1229"/>
                  </a:lnTo>
                  <a:cubicBezTo>
                    <a:pt x="6389" y="1406"/>
                    <a:pt x="6533" y="1474"/>
                    <a:pt x="6731" y="1474"/>
                  </a:cubicBezTo>
                  <a:cubicBezTo>
                    <a:pt x="6826" y="1474"/>
                    <a:pt x="6933" y="1458"/>
                    <a:pt x="7073" y="1431"/>
                  </a:cubicBezTo>
                  <a:cubicBezTo>
                    <a:pt x="7189" y="1411"/>
                    <a:pt x="7278" y="1397"/>
                    <a:pt x="7350" y="1397"/>
                  </a:cubicBezTo>
                  <a:cubicBezTo>
                    <a:pt x="7531" y="1397"/>
                    <a:pt x="7614" y="1481"/>
                    <a:pt x="7775" y="1753"/>
                  </a:cubicBezTo>
                  <a:cubicBezTo>
                    <a:pt x="8013" y="2122"/>
                    <a:pt x="8120" y="2193"/>
                    <a:pt x="8561" y="2300"/>
                  </a:cubicBezTo>
                  <a:cubicBezTo>
                    <a:pt x="8966" y="2384"/>
                    <a:pt x="9013" y="2419"/>
                    <a:pt x="9085" y="2848"/>
                  </a:cubicBezTo>
                  <a:cubicBezTo>
                    <a:pt x="9109" y="3015"/>
                    <a:pt x="9144" y="3181"/>
                    <a:pt x="9228" y="3324"/>
                  </a:cubicBezTo>
                  <a:cubicBezTo>
                    <a:pt x="9370" y="3551"/>
                    <a:pt x="9621" y="3658"/>
                    <a:pt x="9799" y="3812"/>
                  </a:cubicBezTo>
                  <a:cubicBezTo>
                    <a:pt x="9882" y="3908"/>
                    <a:pt x="9906" y="3932"/>
                    <a:pt x="9906" y="3955"/>
                  </a:cubicBezTo>
                  <a:cubicBezTo>
                    <a:pt x="9906" y="3955"/>
                    <a:pt x="9930" y="4015"/>
                    <a:pt x="9906" y="4193"/>
                  </a:cubicBezTo>
                  <a:cubicBezTo>
                    <a:pt x="9859" y="4444"/>
                    <a:pt x="9787" y="4634"/>
                    <a:pt x="9823" y="4860"/>
                  </a:cubicBezTo>
                  <a:cubicBezTo>
                    <a:pt x="9882" y="5194"/>
                    <a:pt x="10216" y="5467"/>
                    <a:pt x="10204" y="5694"/>
                  </a:cubicBezTo>
                  <a:cubicBezTo>
                    <a:pt x="10204" y="5920"/>
                    <a:pt x="9859" y="6170"/>
                    <a:pt x="9787" y="6515"/>
                  </a:cubicBezTo>
                  <a:cubicBezTo>
                    <a:pt x="9704" y="6813"/>
                    <a:pt x="9906" y="7241"/>
                    <a:pt x="9811" y="7420"/>
                  </a:cubicBezTo>
                  <a:cubicBezTo>
                    <a:pt x="9728" y="7611"/>
                    <a:pt x="9275" y="7777"/>
                    <a:pt x="9109" y="8015"/>
                  </a:cubicBezTo>
                  <a:cubicBezTo>
                    <a:pt x="8918" y="8277"/>
                    <a:pt x="8954" y="8718"/>
                    <a:pt x="8787" y="8873"/>
                  </a:cubicBezTo>
                  <a:cubicBezTo>
                    <a:pt x="8620" y="9027"/>
                    <a:pt x="8192" y="8980"/>
                    <a:pt x="7906" y="9158"/>
                  </a:cubicBezTo>
                  <a:cubicBezTo>
                    <a:pt x="7644" y="9325"/>
                    <a:pt x="7477" y="9754"/>
                    <a:pt x="7287" y="9825"/>
                  </a:cubicBezTo>
                  <a:cubicBezTo>
                    <a:pt x="7254" y="9840"/>
                    <a:pt x="7210" y="9846"/>
                    <a:pt x="7163" y="9846"/>
                  </a:cubicBezTo>
                  <a:cubicBezTo>
                    <a:pt x="7058" y="9846"/>
                    <a:pt x="6936" y="9818"/>
                    <a:pt x="6870" y="9801"/>
                  </a:cubicBezTo>
                  <a:cubicBezTo>
                    <a:pt x="6712" y="9764"/>
                    <a:pt x="6595" y="9744"/>
                    <a:pt x="6493" y="9744"/>
                  </a:cubicBezTo>
                  <a:cubicBezTo>
                    <a:pt x="6304" y="9744"/>
                    <a:pt x="6170" y="9813"/>
                    <a:pt x="5930" y="9968"/>
                  </a:cubicBezTo>
                  <a:cubicBezTo>
                    <a:pt x="5756" y="10072"/>
                    <a:pt x="5655" y="10126"/>
                    <a:pt x="5557" y="10126"/>
                  </a:cubicBezTo>
                  <a:cubicBezTo>
                    <a:pt x="5453" y="10126"/>
                    <a:pt x="5351" y="10066"/>
                    <a:pt x="5168" y="9944"/>
                  </a:cubicBezTo>
                  <a:cubicBezTo>
                    <a:pt x="4918" y="9767"/>
                    <a:pt x="4777" y="9704"/>
                    <a:pt x="4576" y="9704"/>
                  </a:cubicBezTo>
                  <a:cubicBezTo>
                    <a:pt x="4480" y="9704"/>
                    <a:pt x="4370" y="9719"/>
                    <a:pt x="4227" y="9742"/>
                  </a:cubicBezTo>
                  <a:cubicBezTo>
                    <a:pt x="4095" y="9764"/>
                    <a:pt x="4008" y="9771"/>
                    <a:pt x="3947" y="9771"/>
                  </a:cubicBezTo>
                  <a:cubicBezTo>
                    <a:pt x="3843" y="9771"/>
                    <a:pt x="3821" y="9749"/>
                    <a:pt x="3798" y="9742"/>
                  </a:cubicBezTo>
                  <a:cubicBezTo>
                    <a:pt x="3608" y="9647"/>
                    <a:pt x="3453" y="9218"/>
                    <a:pt x="3203" y="9039"/>
                  </a:cubicBezTo>
                  <a:cubicBezTo>
                    <a:pt x="2941" y="8849"/>
                    <a:pt x="2501" y="8873"/>
                    <a:pt x="2346" y="8718"/>
                  </a:cubicBezTo>
                  <a:cubicBezTo>
                    <a:pt x="2191" y="8551"/>
                    <a:pt x="2239" y="8123"/>
                    <a:pt x="2060" y="7837"/>
                  </a:cubicBezTo>
                  <a:cubicBezTo>
                    <a:pt x="1941" y="7646"/>
                    <a:pt x="1750" y="7551"/>
                    <a:pt x="1548" y="7384"/>
                  </a:cubicBezTo>
                  <a:cubicBezTo>
                    <a:pt x="1417" y="7265"/>
                    <a:pt x="1393" y="7206"/>
                    <a:pt x="1393" y="7206"/>
                  </a:cubicBezTo>
                  <a:cubicBezTo>
                    <a:pt x="1310" y="7015"/>
                    <a:pt x="1524" y="6599"/>
                    <a:pt x="1465" y="6301"/>
                  </a:cubicBezTo>
                  <a:cubicBezTo>
                    <a:pt x="1405" y="5979"/>
                    <a:pt x="1072" y="5694"/>
                    <a:pt x="1096" y="5467"/>
                  </a:cubicBezTo>
                  <a:cubicBezTo>
                    <a:pt x="1096" y="5241"/>
                    <a:pt x="1429" y="4991"/>
                    <a:pt x="1512" y="4646"/>
                  </a:cubicBezTo>
                  <a:cubicBezTo>
                    <a:pt x="1584" y="4336"/>
                    <a:pt x="1393" y="3932"/>
                    <a:pt x="1477" y="3741"/>
                  </a:cubicBezTo>
                  <a:cubicBezTo>
                    <a:pt x="1572" y="3551"/>
                    <a:pt x="2001" y="3396"/>
                    <a:pt x="2179" y="3146"/>
                  </a:cubicBezTo>
                  <a:cubicBezTo>
                    <a:pt x="2370" y="2884"/>
                    <a:pt x="2346" y="2443"/>
                    <a:pt x="2501" y="2288"/>
                  </a:cubicBezTo>
                  <a:cubicBezTo>
                    <a:pt x="2667" y="2134"/>
                    <a:pt x="3096" y="2181"/>
                    <a:pt x="3382" y="2003"/>
                  </a:cubicBezTo>
                  <a:cubicBezTo>
                    <a:pt x="3608" y="1872"/>
                    <a:pt x="3715" y="1610"/>
                    <a:pt x="3870" y="1431"/>
                  </a:cubicBezTo>
                  <a:cubicBezTo>
                    <a:pt x="3944" y="1357"/>
                    <a:pt x="3995" y="1320"/>
                    <a:pt x="4116" y="1320"/>
                  </a:cubicBezTo>
                  <a:cubicBezTo>
                    <a:pt x="4189" y="1320"/>
                    <a:pt x="4287" y="1333"/>
                    <a:pt x="4429" y="1360"/>
                  </a:cubicBezTo>
                  <a:cubicBezTo>
                    <a:pt x="4543" y="1395"/>
                    <a:pt x="4662" y="1417"/>
                    <a:pt x="4784" y="1417"/>
                  </a:cubicBezTo>
                  <a:cubicBezTo>
                    <a:pt x="4828" y="1417"/>
                    <a:pt x="4873" y="1414"/>
                    <a:pt x="4918" y="1407"/>
                  </a:cubicBezTo>
                  <a:cubicBezTo>
                    <a:pt x="5144" y="1360"/>
                    <a:pt x="5322" y="1217"/>
                    <a:pt x="5513" y="1110"/>
                  </a:cubicBezTo>
                  <a:cubicBezTo>
                    <a:pt x="5584" y="1062"/>
                    <a:pt x="5620" y="955"/>
                    <a:pt x="5572" y="884"/>
                  </a:cubicBezTo>
                  <a:cubicBezTo>
                    <a:pt x="5540" y="835"/>
                    <a:pt x="5479" y="802"/>
                    <a:pt x="5421" y="802"/>
                  </a:cubicBezTo>
                  <a:cubicBezTo>
                    <a:pt x="5395" y="802"/>
                    <a:pt x="5369" y="809"/>
                    <a:pt x="5346" y="824"/>
                  </a:cubicBezTo>
                  <a:cubicBezTo>
                    <a:pt x="5023" y="1010"/>
                    <a:pt x="4963" y="1086"/>
                    <a:pt x="4794" y="1086"/>
                  </a:cubicBezTo>
                  <a:cubicBezTo>
                    <a:pt x="4714" y="1086"/>
                    <a:pt x="4610" y="1069"/>
                    <a:pt x="4441" y="1038"/>
                  </a:cubicBezTo>
                  <a:lnTo>
                    <a:pt x="4167" y="336"/>
                  </a:lnTo>
                  <a:cubicBezTo>
                    <a:pt x="4095" y="127"/>
                    <a:pt x="3904"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6" name="Google Shape;10576;p59"/>
            <p:cNvSpPr/>
            <p:nvPr/>
          </p:nvSpPr>
          <p:spPr>
            <a:xfrm>
              <a:off x="5466263" y="3032979"/>
              <a:ext cx="127101" cy="146214"/>
            </a:xfrm>
            <a:custGeom>
              <a:avLst/>
              <a:gdLst/>
              <a:ahLst/>
              <a:cxnLst/>
              <a:rect l="l" t="t" r="r" b="b"/>
              <a:pathLst>
                <a:path w="3990" h="4590" extrusionOk="0">
                  <a:moveTo>
                    <a:pt x="2681" y="1"/>
                  </a:moveTo>
                  <a:cubicBezTo>
                    <a:pt x="2422" y="1"/>
                    <a:pt x="2181" y="137"/>
                    <a:pt x="2120" y="428"/>
                  </a:cubicBezTo>
                  <a:cubicBezTo>
                    <a:pt x="2036" y="773"/>
                    <a:pt x="1941" y="1095"/>
                    <a:pt x="1786" y="1392"/>
                  </a:cubicBezTo>
                  <a:cubicBezTo>
                    <a:pt x="1739" y="1476"/>
                    <a:pt x="1786" y="1571"/>
                    <a:pt x="1858" y="1619"/>
                  </a:cubicBezTo>
                  <a:cubicBezTo>
                    <a:pt x="1881" y="1632"/>
                    <a:pt x="1905" y="1638"/>
                    <a:pt x="1929" y="1638"/>
                  </a:cubicBezTo>
                  <a:cubicBezTo>
                    <a:pt x="1991" y="1638"/>
                    <a:pt x="2050" y="1599"/>
                    <a:pt x="2084" y="1547"/>
                  </a:cubicBezTo>
                  <a:cubicBezTo>
                    <a:pt x="2251" y="1214"/>
                    <a:pt x="2358" y="880"/>
                    <a:pt x="2441" y="499"/>
                  </a:cubicBezTo>
                  <a:cubicBezTo>
                    <a:pt x="2466" y="387"/>
                    <a:pt x="2563" y="336"/>
                    <a:pt x="2676" y="336"/>
                  </a:cubicBezTo>
                  <a:cubicBezTo>
                    <a:pt x="2836" y="336"/>
                    <a:pt x="3028" y="439"/>
                    <a:pt x="3084" y="607"/>
                  </a:cubicBezTo>
                  <a:cubicBezTo>
                    <a:pt x="3287" y="1214"/>
                    <a:pt x="3632" y="2214"/>
                    <a:pt x="3072" y="3095"/>
                  </a:cubicBezTo>
                  <a:cubicBezTo>
                    <a:pt x="2512" y="3947"/>
                    <a:pt x="1615" y="4265"/>
                    <a:pt x="1007" y="4265"/>
                  </a:cubicBezTo>
                  <a:cubicBezTo>
                    <a:pt x="672" y="4265"/>
                    <a:pt x="425" y="4168"/>
                    <a:pt x="370" y="4012"/>
                  </a:cubicBezTo>
                  <a:cubicBezTo>
                    <a:pt x="334" y="3881"/>
                    <a:pt x="417" y="3678"/>
                    <a:pt x="643" y="3440"/>
                  </a:cubicBezTo>
                  <a:cubicBezTo>
                    <a:pt x="1060" y="2964"/>
                    <a:pt x="1405" y="2583"/>
                    <a:pt x="1679" y="2190"/>
                  </a:cubicBezTo>
                  <a:cubicBezTo>
                    <a:pt x="1739" y="2107"/>
                    <a:pt x="1715" y="2012"/>
                    <a:pt x="1644" y="1964"/>
                  </a:cubicBezTo>
                  <a:cubicBezTo>
                    <a:pt x="1611" y="1946"/>
                    <a:pt x="1576" y="1936"/>
                    <a:pt x="1542" y="1936"/>
                  </a:cubicBezTo>
                  <a:cubicBezTo>
                    <a:pt x="1488" y="1936"/>
                    <a:pt x="1439" y="1960"/>
                    <a:pt x="1417" y="2012"/>
                  </a:cubicBezTo>
                  <a:cubicBezTo>
                    <a:pt x="1143" y="2393"/>
                    <a:pt x="810" y="2762"/>
                    <a:pt x="405" y="3202"/>
                  </a:cubicBezTo>
                  <a:cubicBezTo>
                    <a:pt x="0" y="3607"/>
                    <a:pt x="0" y="3928"/>
                    <a:pt x="60" y="4119"/>
                  </a:cubicBezTo>
                  <a:cubicBezTo>
                    <a:pt x="171" y="4424"/>
                    <a:pt x="546" y="4589"/>
                    <a:pt x="1019" y="4589"/>
                  </a:cubicBezTo>
                  <a:cubicBezTo>
                    <a:pt x="1763" y="4589"/>
                    <a:pt x="2752" y="4179"/>
                    <a:pt x="3334" y="3262"/>
                  </a:cubicBezTo>
                  <a:cubicBezTo>
                    <a:pt x="3989" y="2250"/>
                    <a:pt x="3608" y="1095"/>
                    <a:pt x="3394" y="488"/>
                  </a:cubicBezTo>
                  <a:cubicBezTo>
                    <a:pt x="3287" y="172"/>
                    <a:pt x="2973" y="1"/>
                    <a:pt x="2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77" name="Google Shape;10577;p59"/>
          <p:cNvGrpSpPr/>
          <p:nvPr/>
        </p:nvGrpSpPr>
        <p:grpSpPr>
          <a:xfrm>
            <a:off x="2199565" y="2421172"/>
            <a:ext cx="312179" cy="353431"/>
            <a:chOff x="2199565" y="2421172"/>
            <a:chExt cx="312179" cy="353431"/>
          </a:xfrm>
        </p:grpSpPr>
        <p:sp>
          <p:nvSpPr>
            <p:cNvPr id="10578" name="Google Shape;10578;p59"/>
            <p:cNvSpPr/>
            <p:nvPr/>
          </p:nvSpPr>
          <p:spPr>
            <a:xfrm>
              <a:off x="2199565" y="2421172"/>
              <a:ext cx="312179" cy="353431"/>
            </a:xfrm>
            <a:custGeom>
              <a:avLst/>
              <a:gdLst/>
              <a:ahLst/>
              <a:cxnLst/>
              <a:rect l="l" t="t" r="r" b="b"/>
              <a:pathLst>
                <a:path w="9800" h="11095" extrusionOk="0">
                  <a:moveTo>
                    <a:pt x="5156" y="322"/>
                  </a:moveTo>
                  <a:cubicBezTo>
                    <a:pt x="5228" y="322"/>
                    <a:pt x="5311" y="370"/>
                    <a:pt x="5311" y="465"/>
                  </a:cubicBezTo>
                  <a:lnTo>
                    <a:pt x="5311" y="858"/>
                  </a:lnTo>
                  <a:cubicBezTo>
                    <a:pt x="5202" y="822"/>
                    <a:pt x="5100" y="806"/>
                    <a:pt x="4999" y="806"/>
                  </a:cubicBezTo>
                  <a:cubicBezTo>
                    <a:pt x="4968" y="806"/>
                    <a:pt x="4937" y="807"/>
                    <a:pt x="4906" y="810"/>
                  </a:cubicBezTo>
                  <a:cubicBezTo>
                    <a:pt x="4775" y="810"/>
                    <a:pt x="4656" y="822"/>
                    <a:pt x="4549" y="858"/>
                  </a:cubicBezTo>
                  <a:lnTo>
                    <a:pt x="4549" y="465"/>
                  </a:lnTo>
                  <a:cubicBezTo>
                    <a:pt x="4549" y="394"/>
                    <a:pt x="4609" y="322"/>
                    <a:pt x="4692" y="322"/>
                  </a:cubicBezTo>
                  <a:close/>
                  <a:moveTo>
                    <a:pt x="4906" y="1132"/>
                  </a:moveTo>
                  <a:cubicBezTo>
                    <a:pt x="5502" y="1132"/>
                    <a:pt x="6002" y="1608"/>
                    <a:pt x="6002" y="2227"/>
                  </a:cubicBezTo>
                  <a:cubicBezTo>
                    <a:pt x="6002" y="2838"/>
                    <a:pt x="5504" y="3302"/>
                    <a:pt x="4927" y="3302"/>
                  </a:cubicBezTo>
                  <a:cubicBezTo>
                    <a:pt x="4807" y="3302"/>
                    <a:pt x="4684" y="3282"/>
                    <a:pt x="4561" y="3239"/>
                  </a:cubicBezTo>
                  <a:cubicBezTo>
                    <a:pt x="4144" y="3084"/>
                    <a:pt x="3847" y="2680"/>
                    <a:pt x="3847" y="2227"/>
                  </a:cubicBezTo>
                  <a:cubicBezTo>
                    <a:pt x="3835" y="1632"/>
                    <a:pt x="4311" y="1132"/>
                    <a:pt x="4906" y="1132"/>
                  </a:cubicBezTo>
                  <a:close/>
                  <a:moveTo>
                    <a:pt x="4978" y="3620"/>
                  </a:moveTo>
                  <a:lnTo>
                    <a:pt x="6061" y="6251"/>
                  </a:lnTo>
                  <a:lnTo>
                    <a:pt x="5621" y="6251"/>
                  </a:lnTo>
                  <a:cubicBezTo>
                    <a:pt x="5621" y="5918"/>
                    <a:pt x="5335" y="5644"/>
                    <a:pt x="4990" y="5644"/>
                  </a:cubicBezTo>
                  <a:lnTo>
                    <a:pt x="4847" y="5644"/>
                  </a:lnTo>
                  <a:cubicBezTo>
                    <a:pt x="4501" y="5644"/>
                    <a:pt x="4216" y="5918"/>
                    <a:pt x="4216" y="6251"/>
                  </a:cubicBezTo>
                  <a:lnTo>
                    <a:pt x="3775" y="6251"/>
                  </a:lnTo>
                  <a:lnTo>
                    <a:pt x="4859" y="3620"/>
                  </a:lnTo>
                  <a:close/>
                  <a:moveTo>
                    <a:pt x="1406" y="6573"/>
                  </a:moveTo>
                  <a:lnTo>
                    <a:pt x="1323" y="6740"/>
                  </a:lnTo>
                  <a:lnTo>
                    <a:pt x="430" y="6740"/>
                  </a:lnTo>
                  <a:cubicBezTo>
                    <a:pt x="423" y="6741"/>
                    <a:pt x="417" y="6742"/>
                    <a:pt x="411" y="6742"/>
                  </a:cubicBezTo>
                  <a:cubicBezTo>
                    <a:pt x="370" y="6742"/>
                    <a:pt x="334" y="6708"/>
                    <a:pt x="334" y="6656"/>
                  </a:cubicBezTo>
                  <a:cubicBezTo>
                    <a:pt x="334" y="6609"/>
                    <a:pt x="382" y="6573"/>
                    <a:pt x="430" y="6573"/>
                  </a:cubicBezTo>
                  <a:close/>
                  <a:moveTo>
                    <a:pt x="6204" y="6573"/>
                  </a:moveTo>
                  <a:lnTo>
                    <a:pt x="6276" y="6752"/>
                  </a:lnTo>
                  <a:lnTo>
                    <a:pt x="5621" y="6752"/>
                  </a:lnTo>
                  <a:lnTo>
                    <a:pt x="5621" y="6573"/>
                  </a:lnTo>
                  <a:close/>
                  <a:moveTo>
                    <a:pt x="9419" y="6573"/>
                  </a:moveTo>
                  <a:cubicBezTo>
                    <a:pt x="9454" y="6573"/>
                    <a:pt x="9502" y="6609"/>
                    <a:pt x="9502" y="6656"/>
                  </a:cubicBezTo>
                  <a:cubicBezTo>
                    <a:pt x="9502" y="6716"/>
                    <a:pt x="9454" y="6752"/>
                    <a:pt x="9419" y="6752"/>
                  </a:cubicBezTo>
                  <a:lnTo>
                    <a:pt x="8526" y="6752"/>
                  </a:lnTo>
                  <a:cubicBezTo>
                    <a:pt x="8526" y="6752"/>
                    <a:pt x="8451" y="6592"/>
                    <a:pt x="8434" y="6573"/>
                  </a:cubicBezTo>
                  <a:close/>
                  <a:moveTo>
                    <a:pt x="4216" y="6585"/>
                  </a:moveTo>
                  <a:lnTo>
                    <a:pt x="4216" y="6763"/>
                  </a:lnTo>
                  <a:lnTo>
                    <a:pt x="3573" y="6763"/>
                  </a:lnTo>
                  <a:lnTo>
                    <a:pt x="3644" y="6585"/>
                  </a:lnTo>
                  <a:close/>
                  <a:moveTo>
                    <a:pt x="4990" y="5954"/>
                  </a:moveTo>
                  <a:cubicBezTo>
                    <a:pt x="5156" y="5954"/>
                    <a:pt x="5287" y="6097"/>
                    <a:pt x="5287" y="6251"/>
                  </a:cubicBezTo>
                  <a:lnTo>
                    <a:pt x="5287" y="7061"/>
                  </a:lnTo>
                  <a:cubicBezTo>
                    <a:pt x="5287" y="7228"/>
                    <a:pt x="5156" y="7359"/>
                    <a:pt x="4990" y="7359"/>
                  </a:cubicBezTo>
                  <a:lnTo>
                    <a:pt x="4847" y="7359"/>
                  </a:lnTo>
                  <a:cubicBezTo>
                    <a:pt x="4680" y="7359"/>
                    <a:pt x="4549" y="7228"/>
                    <a:pt x="4549" y="7061"/>
                  </a:cubicBezTo>
                  <a:lnTo>
                    <a:pt x="4549" y="6251"/>
                  </a:lnTo>
                  <a:cubicBezTo>
                    <a:pt x="4549" y="6097"/>
                    <a:pt x="4680" y="5954"/>
                    <a:pt x="4847" y="5954"/>
                  </a:cubicBezTo>
                  <a:close/>
                  <a:moveTo>
                    <a:pt x="1299" y="10157"/>
                  </a:moveTo>
                  <a:lnTo>
                    <a:pt x="1477" y="10228"/>
                  </a:lnTo>
                  <a:lnTo>
                    <a:pt x="1287" y="10454"/>
                  </a:lnTo>
                  <a:lnTo>
                    <a:pt x="1299" y="10157"/>
                  </a:lnTo>
                  <a:close/>
                  <a:moveTo>
                    <a:pt x="8538" y="10157"/>
                  </a:moveTo>
                  <a:lnTo>
                    <a:pt x="8550" y="10454"/>
                  </a:lnTo>
                  <a:lnTo>
                    <a:pt x="8359" y="10228"/>
                  </a:lnTo>
                  <a:lnTo>
                    <a:pt x="8538" y="10157"/>
                  </a:lnTo>
                  <a:close/>
                  <a:moveTo>
                    <a:pt x="4680" y="1"/>
                  </a:moveTo>
                  <a:cubicBezTo>
                    <a:pt x="4430" y="1"/>
                    <a:pt x="4204" y="215"/>
                    <a:pt x="4204" y="477"/>
                  </a:cubicBezTo>
                  <a:lnTo>
                    <a:pt x="4204" y="1001"/>
                  </a:lnTo>
                  <a:cubicBezTo>
                    <a:pt x="3716" y="1287"/>
                    <a:pt x="3418" y="1870"/>
                    <a:pt x="3525" y="2441"/>
                  </a:cubicBezTo>
                  <a:lnTo>
                    <a:pt x="3108" y="3263"/>
                  </a:lnTo>
                  <a:cubicBezTo>
                    <a:pt x="3061" y="3334"/>
                    <a:pt x="3085" y="3442"/>
                    <a:pt x="3180" y="3489"/>
                  </a:cubicBezTo>
                  <a:cubicBezTo>
                    <a:pt x="3202" y="3504"/>
                    <a:pt x="3227" y="3511"/>
                    <a:pt x="3253" y="3511"/>
                  </a:cubicBezTo>
                  <a:cubicBezTo>
                    <a:pt x="3311" y="3511"/>
                    <a:pt x="3373" y="3476"/>
                    <a:pt x="3406" y="3418"/>
                  </a:cubicBezTo>
                  <a:lnTo>
                    <a:pt x="3680" y="2858"/>
                  </a:lnTo>
                  <a:cubicBezTo>
                    <a:pt x="3859" y="3203"/>
                    <a:pt x="4168" y="3453"/>
                    <a:pt x="4549" y="3561"/>
                  </a:cubicBezTo>
                  <a:cubicBezTo>
                    <a:pt x="4442" y="3811"/>
                    <a:pt x="2287" y="9073"/>
                    <a:pt x="1930" y="9919"/>
                  </a:cubicBezTo>
                  <a:cubicBezTo>
                    <a:pt x="1900" y="9968"/>
                    <a:pt x="1845" y="9993"/>
                    <a:pt x="1794" y="9993"/>
                  </a:cubicBezTo>
                  <a:cubicBezTo>
                    <a:pt x="1783" y="9993"/>
                    <a:pt x="1773" y="9992"/>
                    <a:pt x="1763" y="9990"/>
                  </a:cubicBezTo>
                  <a:lnTo>
                    <a:pt x="1168" y="9752"/>
                  </a:lnTo>
                  <a:cubicBezTo>
                    <a:pt x="1120" y="9740"/>
                    <a:pt x="1096" y="9692"/>
                    <a:pt x="1096" y="9645"/>
                  </a:cubicBezTo>
                  <a:cubicBezTo>
                    <a:pt x="882" y="7990"/>
                    <a:pt x="1632" y="6906"/>
                    <a:pt x="1692" y="6763"/>
                  </a:cubicBezTo>
                  <a:cubicBezTo>
                    <a:pt x="1846" y="6430"/>
                    <a:pt x="2847" y="4501"/>
                    <a:pt x="3120" y="3977"/>
                  </a:cubicBezTo>
                  <a:cubicBezTo>
                    <a:pt x="3156" y="3906"/>
                    <a:pt x="3132" y="3799"/>
                    <a:pt x="3037" y="3751"/>
                  </a:cubicBezTo>
                  <a:cubicBezTo>
                    <a:pt x="3016" y="3741"/>
                    <a:pt x="2992" y="3735"/>
                    <a:pt x="2968" y="3735"/>
                  </a:cubicBezTo>
                  <a:cubicBezTo>
                    <a:pt x="2909" y="3735"/>
                    <a:pt x="2848" y="3767"/>
                    <a:pt x="2823" y="3834"/>
                  </a:cubicBezTo>
                  <a:lnTo>
                    <a:pt x="1573" y="6251"/>
                  </a:lnTo>
                  <a:lnTo>
                    <a:pt x="430" y="6251"/>
                  </a:lnTo>
                  <a:cubicBezTo>
                    <a:pt x="203" y="6251"/>
                    <a:pt x="1" y="6430"/>
                    <a:pt x="1" y="6668"/>
                  </a:cubicBezTo>
                  <a:cubicBezTo>
                    <a:pt x="1" y="6894"/>
                    <a:pt x="180" y="7085"/>
                    <a:pt x="430" y="7085"/>
                  </a:cubicBezTo>
                  <a:lnTo>
                    <a:pt x="1156" y="7085"/>
                  </a:lnTo>
                  <a:cubicBezTo>
                    <a:pt x="775" y="7906"/>
                    <a:pt x="644" y="8799"/>
                    <a:pt x="751" y="9704"/>
                  </a:cubicBezTo>
                  <a:cubicBezTo>
                    <a:pt x="763" y="9847"/>
                    <a:pt x="858" y="9978"/>
                    <a:pt x="977" y="10038"/>
                  </a:cubicBezTo>
                  <a:lnTo>
                    <a:pt x="930" y="10919"/>
                  </a:lnTo>
                  <a:cubicBezTo>
                    <a:pt x="930" y="11017"/>
                    <a:pt x="1014" y="11081"/>
                    <a:pt x="1101" y="11081"/>
                  </a:cubicBezTo>
                  <a:cubicBezTo>
                    <a:pt x="1141" y="11081"/>
                    <a:pt x="1182" y="11068"/>
                    <a:pt x="1215" y="11038"/>
                  </a:cubicBezTo>
                  <a:lnTo>
                    <a:pt x="1823" y="10347"/>
                  </a:lnTo>
                  <a:cubicBezTo>
                    <a:pt x="1989" y="10335"/>
                    <a:pt x="2132" y="10228"/>
                    <a:pt x="2215" y="10061"/>
                  </a:cubicBezTo>
                  <a:lnTo>
                    <a:pt x="3430" y="7109"/>
                  </a:lnTo>
                  <a:lnTo>
                    <a:pt x="4204" y="7109"/>
                  </a:lnTo>
                  <a:cubicBezTo>
                    <a:pt x="4204" y="7442"/>
                    <a:pt x="4490" y="7716"/>
                    <a:pt x="4823" y="7716"/>
                  </a:cubicBezTo>
                  <a:lnTo>
                    <a:pt x="4978" y="7716"/>
                  </a:lnTo>
                  <a:cubicBezTo>
                    <a:pt x="5323" y="7716"/>
                    <a:pt x="5597" y="7442"/>
                    <a:pt x="5597" y="7109"/>
                  </a:cubicBezTo>
                  <a:lnTo>
                    <a:pt x="6371" y="7109"/>
                  </a:lnTo>
                  <a:lnTo>
                    <a:pt x="7014" y="8668"/>
                  </a:lnTo>
                  <a:cubicBezTo>
                    <a:pt x="7040" y="8730"/>
                    <a:pt x="7099" y="8766"/>
                    <a:pt x="7161" y="8766"/>
                  </a:cubicBezTo>
                  <a:cubicBezTo>
                    <a:pt x="7184" y="8766"/>
                    <a:pt x="7206" y="8761"/>
                    <a:pt x="7228" y="8752"/>
                  </a:cubicBezTo>
                  <a:cubicBezTo>
                    <a:pt x="7311" y="8728"/>
                    <a:pt x="7347" y="8621"/>
                    <a:pt x="7311" y="8549"/>
                  </a:cubicBezTo>
                  <a:cubicBezTo>
                    <a:pt x="7192" y="8252"/>
                    <a:pt x="5394" y="3870"/>
                    <a:pt x="5275" y="3608"/>
                  </a:cubicBezTo>
                  <a:cubicBezTo>
                    <a:pt x="5644" y="3501"/>
                    <a:pt x="5954" y="3251"/>
                    <a:pt x="6133" y="2906"/>
                  </a:cubicBezTo>
                  <a:cubicBezTo>
                    <a:pt x="6168" y="2953"/>
                    <a:pt x="8145" y="6811"/>
                    <a:pt x="8264" y="7061"/>
                  </a:cubicBezTo>
                  <a:cubicBezTo>
                    <a:pt x="8681" y="7859"/>
                    <a:pt x="8847" y="8776"/>
                    <a:pt x="8728" y="9680"/>
                  </a:cubicBezTo>
                  <a:cubicBezTo>
                    <a:pt x="8728" y="9728"/>
                    <a:pt x="8692" y="9764"/>
                    <a:pt x="8657" y="9788"/>
                  </a:cubicBezTo>
                  <a:lnTo>
                    <a:pt x="8061" y="10026"/>
                  </a:lnTo>
                  <a:cubicBezTo>
                    <a:pt x="8047" y="10031"/>
                    <a:pt x="8032" y="10034"/>
                    <a:pt x="8017" y="10034"/>
                  </a:cubicBezTo>
                  <a:cubicBezTo>
                    <a:pt x="7969" y="10034"/>
                    <a:pt x="7922" y="10005"/>
                    <a:pt x="7895" y="9942"/>
                  </a:cubicBezTo>
                  <a:lnTo>
                    <a:pt x="7573" y="9145"/>
                  </a:lnTo>
                  <a:cubicBezTo>
                    <a:pt x="7546" y="9072"/>
                    <a:pt x="7477" y="9041"/>
                    <a:pt x="7414" y="9041"/>
                  </a:cubicBezTo>
                  <a:cubicBezTo>
                    <a:pt x="7395" y="9041"/>
                    <a:pt x="7376" y="9044"/>
                    <a:pt x="7359" y="9049"/>
                  </a:cubicBezTo>
                  <a:cubicBezTo>
                    <a:pt x="7276" y="9085"/>
                    <a:pt x="7240" y="9192"/>
                    <a:pt x="7276" y="9264"/>
                  </a:cubicBezTo>
                  <a:lnTo>
                    <a:pt x="7597" y="10061"/>
                  </a:lnTo>
                  <a:cubicBezTo>
                    <a:pt x="7657" y="10228"/>
                    <a:pt x="7823" y="10335"/>
                    <a:pt x="7990" y="10347"/>
                  </a:cubicBezTo>
                  <a:lnTo>
                    <a:pt x="8597" y="11038"/>
                  </a:lnTo>
                  <a:cubicBezTo>
                    <a:pt x="8632" y="11077"/>
                    <a:pt x="8676" y="11094"/>
                    <a:pt x="8717" y="11094"/>
                  </a:cubicBezTo>
                  <a:cubicBezTo>
                    <a:pt x="8803" y="11094"/>
                    <a:pt x="8883" y="11023"/>
                    <a:pt x="8883" y="10919"/>
                  </a:cubicBezTo>
                  <a:lnTo>
                    <a:pt x="8835" y="10038"/>
                  </a:lnTo>
                  <a:cubicBezTo>
                    <a:pt x="8954" y="9966"/>
                    <a:pt x="9038" y="9847"/>
                    <a:pt x="9062" y="9704"/>
                  </a:cubicBezTo>
                  <a:cubicBezTo>
                    <a:pt x="9181" y="8811"/>
                    <a:pt x="9038" y="7906"/>
                    <a:pt x="8657" y="7085"/>
                  </a:cubicBezTo>
                  <a:lnTo>
                    <a:pt x="9383" y="7085"/>
                  </a:lnTo>
                  <a:cubicBezTo>
                    <a:pt x="9609" y="7085"/>
                    <a:pt x="9800" y="6906"/>
                    <a:pt x="9800" y="6668"/>
                  </a:cubicBezTo>
                  <a:cubicBezTo>
                    <a:pt x="9800" y="6430"/>
                    <a:pt x="9633" y="6251"/>
                    <a:pt x="9419" y="6251"/>
                  </a:cubicBezTo>
                  <a:lnTo>
                    <a:pt x="8264" y="6251"/>
                  </a:lnTo>
                  <a:lnTo>
                    <a:pt x="6299" y="2441"/>
                  </a:lnTo>
                  <a:cubicBezTo>
                    <a:pt x="6395" y="1846"/>
                    <a:pt x="6109" y="1287"/>
                    <a:pt x="5621" y="1001"/>
                  </a:cubicBezTo>
                  <a:lnTo>
                    <a:pt x="5621" y="477"/>
                  </a:lnTo>
                  <a:cubicBezTo>
                    <a:pt x="5621" y="227"/>
                    <a:pt x="5406" y="1"/>
                    <a:pt x="5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9" name="Google Shape;10579;p59"/>
            <p:cNvSpPr/>
            <p:nvPr/>
          </p:nvSpPr>
          <p:spPr>
            <a:xfrm>
              <a:off x="2335745" y="2471248"/>
              <a:ext cx="40997" cy="40615"/>
            </a:xfrm>
            <a:custGeom>
              <a:avLst/>
              <a:gdLst/>
              <a:ahLst/>
              <a:cxnLst/>
              <a:rect l="l" t="t" r="r" b="b"/>
              <a:pathLst>
                <a:path w="1287" h="1275" extrusionOk="0">
                  <a:moveTo>
                    <a:pt x="643" y="322"/>
                  </a:moveTo>
                  <a:cubicBezTo>
                    <a:pt x="822" y="322"/>
                    <a:pt x="953" y="477"/>
                    <a:pt x="953" y="631"/>
                  </a:cubicBezTo>
                  <a:cubicBezTo>
                    <a:pt x="953" y="798"/>
                    <a:pt x="810" y="953"/>
                    <a:pt x="643" y="953"/>
                  </a:cubicBezTo>
                  <a:cubicBezTo>
                    <a:pt x="477" y="953"/>
                    <a:pt x="334" y="798"/>
                    <a:pt x="334" y="631"/>
                  </a:cubicBezTo>
                  <a:cubicBezTo>
                    <a:pt x="334" y="477"/>
                    <a:pt x="465" y="322"/>
                    <a:pt x="643" y="322"/>
                  </a:cubicBezTo>
                  <a:close/>
                  <a:moveTo>
                    <a:pt x="643" y="0"/>
                  </a:moveTo>
                  <a:cubicBezTo>
                    <a:pt x="286" y="0"/>
                    <a:pt x="0" y="274"/>
                    <a:pt x="0" y="631"/>
                  </a:cubicBezTo>
                  <a:cubicBezTo>
                    <a:pt x="0" y="989"/>
                    <a:pt x="286" y="1274"/>
                    <a:pt x="643" y="1274"/>
                  </a:cubicBezTo>
                  <a:cubicBezTo>
                    <a:pt x="1000" y="1274"/>
                    <a:pt x="1286" y="989"/>
                    <a:pt x="1286" y="631"/>
                  </a:cubicBezTo>
                  <a:cubicBezTo>
                    <a:pt x="1286" y="274"/>
                    <a:pt x="1000"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0" name="Google Shape;10580;p59"/>
          <p:cNvGrpSpPr/>
          <p:nvPr/>
        </p:nvGrpSpPr>
        <p:grpSpPr>
          <a:xfrm>
            <a:off x="1750887" y="2425727"/>
            <a:ext cx="320143" cy="343269"/>
            <a:chOff x="1750887" y="2425727"/>
            <a:chExt cx="320143" cy="343269"/>
          </a:xfrm>
        </p:grpSpPr>
        <p:sp>
          <p:nvSpPr>
            <p:cNvPr id="10581" name="Google Shape;10581;p59"/>
            <p:cNvSpPr/>
            <p:nvPr/>
          </p:nvSpPr>
          <p:spPr>
            <a:xfrm>
              <a:off x="1750887" y="2425727"/>
              <a:ext cx="320143" cy="289052"/>
            </a:xfrm>
            <a:custGeom>
              <a:avLst/>
              <a:gdLst/>
              <a:ahLst/>
              <a:cxnLst/>
              <a:rect l="l" t="t" r="r" b="b"/>
              <a:pathLst>
                <a:path w="10050" h="9074" extrusionOk="0">
                  <a:moveTo>
                    <a:pt x="1668" y="322"/>
                  </a:moveTo>
                  <a:cubicBezTo>
                    <a:pt x="1834" y="322"/>
                    <a:pt x="1953" y="453"/>
                    <a:pt x="1953" y="608"/>
                  </a:cubicBezTo>
                  <a:lnTo>
                    <a:pt x="1953" y="1275"/>
                  </a:lnTo>
                  <a:cubicBezTo>
                    <a:pt x="1953" y="1441"/>
                    <a:pt x="1811" y="1560"/>
                    <a:pt x="1668" y="1560"/>
                  </a:cubicBezTo>
                  <a:cubicBezTo>
                    <a:pt x="1513" y="1560"/>
                    <a:pt x="1382" y="1429"/>
                    <a:pt x="1382" y="1275"/>
                  </a:cubicBezTo>
                  <a:lnTo>
                    <a:pt x="1382" y="929"/>
                  </a:lnTo>
                  <a:lnTo>
                    <a:pt x="1382" y="608"/>
                  </a:lnTo>
                  <a:cubicBezTo>
                    <a:pt x="1370" y="453"/>
                    <a:pt x="1501" y="322"/>
                    <a:pt x="1668" y="322"/>
                  </a:cubicBezTo>
                  <a:close/>
                  <a:moveTo>
                    <a:pt x="3918" y="322"/>
                  </a:moveTo>
                  <a:cubicBezTo>
                    <a:pt x="4061" y="322"/>
                    <a:pt x="4192" y="453"/>
                    <a:pt x="4192" y="608"/>
                  </a:cubicBezTo>
                  <a:lnTo>
                    <a:pt x="4192" y="1275"/>
                  </a:lnTo>
                  <a:cubicBezTo>
                    <a:pt x="4192" y="1441"/>
                    <a:pt x="4061" y="1560"/>
                    <a:pt x="3918" y="1560"/>
                  </a:cubicBezTo>
                  <a:cubicBezTo>
                    <a:pt x="3763" y="1560"/>
                    <a:pt x="3632" y="1429"/>
                    <a:pt x="3632" y="1275"/>
                  </a:cubicBezTo>
                  <a:lnTo>
                    <a:pt x="3632" y="608"/>
                  </a:lnTo>
                  <a:cubicBezTo>
                    <a:pt x="3632" y="441"/>
                    <a:pt x="3763" y="322"/>
                    <a:pt x="3918" y="322"/>
                  </a:cubicBezTo>
                  <a:close/>
                  <a:moveTo>
                    <a:pt x="6180" y="322"/>
                  </a:moveTo>
                  <a:cubicBezTo>
                    <a:pt x="6323" y="322"/>
                    <a:pt x="6454" y="453"/>
                    <a:pt x="6454" y="608"/>
                  </a:cubicBezTo>
                  <a:lnTo>
                    <a:pt x="6454" y="1275"/>
                  </a:lnTo>
                  <a:cubicBezTo>
                    <a:pt x="6454" y="1441"/>
                    <a:pt x="6323" y="1560"/>
                    <a:pt x="6180" y="1560"/>
                  </a:cubicBezTo>
                  <a:cubicBezTo>
                    <a:pt x="6025" y="1560"/>
                    <a:pt x="5894" y="1429"/>
                    <a:pt x="5894" y="1275"/>
                  </a:cubicBezTo>
                  <a:lnTo>
                    <a:pt x="5894" y="608"/>
                  </a:lnTo>
                  <a:cubicBezTo>
                    <a:pt x="5894" y="441"/>
                    <a:pt x="6025" y="322"/>
                    <a:pt x="6180" y="322"/>
                  </a:cubicBezTo>
                  <a:close/>
                  <a:moveTo>
                    <a:pt x="8419" y="322"/>
                  </a:moveTo>
                  <a:cubicBezTo>
                    <a:pt x="8573" y="322"/>
                    <a:pt x="8704" y="453"/>
                    <a:pt x="8704" y="608"/>
                  </a:cubicBezTo>
                  <a:lnTo>
                    <a:pt x="8704" y="929"/>
                  </a:lnTo>
                  <a:lnTo>
                    <a:pt x="8704" y="1275"/>
                  </a:lnTo>
                  <a:cubicBezTo>
                    <a:pt x="8704" y="1441"/>
                    <a:pt x="8573" y="1560"/>
                    <a:pt x="8419" y="1560"/>
                  </a:cubicBezTo>
                  <a:cubicBezTo>
                    <a:pt x="8276" y="1560"/>
                    <a:pt x="8145" y="1429"/>
                    <a:pt x="8145" y="1275"/>
                  </a:cubicBezTo>
                  <a:lnTo>
                    <a:pt x="8145" y="608"/>
                  </a:lnTo>
                  <a:cubicBezTo>
                    <a:pt x="8145" y="441"/>
                    <a:pt x="8276" y="322"/>
                    <a:pt x="8419" y="322"/>
                  </a:cubicBezTo>
                  <a:close/>
                  <a:moveTo>
                    <a:pt x="9526" y="1096"/>
                  </a:moveTo>
                  <a:cubicBezTo>
                    <a:pt x="9669" y="1096"/>
                    <a:pt x="9788" y="1215"/>
                    <a:pt x="9788" y="1370"/>
                  </a:cubicBezTo>
                  <a:lnTo>
                    <a:pt x="9788" y="2525"/>
                  </a:lnTo>
                  <a:lnTo>
                    <a:pt x="370" y="2525"/>
                  </a:lnTo>
                  <a:lnTo>
                    <a:pt x="370" y="1370"/>
                  </a:lnTo>
                  <a:cubicBezTo>
                    <a:pt x="370" y="1215"/>
                    <a:pt x="489" y="1096"/>
                    <a:pt x="644" y="1096"/>
                  </a:cubicBezTo>
                  <a:lnTo>
                    <a:pt x="1060" y="1096"/>
                  </a:lnTo>
                  <a:lnTo>
                    <a:pt x="1060" y="1275"/>
                  </a:lnTo>
                  <a:cubicBezTo>
                    <a:pt x="1060" y="1596"/>
                    <a:pt x="1322" y="1882"/>
                    <a:pt x="1668" y="1882"/>
                  </a:cubicBezTo>
                  <a:cubicBezTo>
                    <a:pt x="1989" y="1882"/>
                    <a:pt x="2275" y="1620"/>
                    <a:pt x="2275" y="1275"/>
                  </a:cubicBezTo>
                  <a:lnTo>
                    <a:pt x="2275" y="1096"/>
                  </a:lnTo>
                  <a:lnTo>
                    <a:pt x="3335" y="1096"/>
                  </a:lnTo>
                  <a:lnTo>
                    <a:pt x="3335" y="1275"/>
                  </a:lnTo>
                  <a:cubicBezTo>
                    <a:pt x="3335" y="1596"/>
                    <a:pt x="3597" y="1882"/>
                    <a:pt x="3942" y="1882"/>
                  </a:cubicBezTo>
                  <a:cubicBezTo>
                    <a:pt x="4287" y="1882"/>
                    <a:pt x="4549" y="1620"/>
                    <a:pt x="4549" y="1275"/>
                  </a:cubicBezTo>
                  <a:lnTo>
                    <a:pt x="4549" y="1096"/>
                  </a:lnTo>
                  <a:lnTo>
                    <a:pt x="5609" y="1096"/>
                  </a:lnTo>
                  <a:lnTo>
                    <a:pt x="5609" y="1275"/>
                  </a:lnTo>
                  <a:cubicBezTo>
                    <a:pt x="5609" y="1596"/>
                    <a:pt x="5883" y="1882"/>
                    <a:pt x="6216" y="1882"/>
                  </a:cubicBezTo>
                  <a:cubicBezTo>
                    <a:pt x="6561" y="1882"/>
                    <a:pt x="6835" y="1620"/>
                    <a:pt x="6835" y="1275"/>
                  </a:cubicBezTo>
                  <a:lnTo>
                    <a:pt x="6835" y="1096"/>
                  </a:lnTo>
                  <a:lnTo>
                    <a:pt x="7883" y="1096"/>
                  </a:lnTo>
                  <a:lnTo>
                    <a:pt x="7883" y="1275"/>
                  </a:lnTo>
                  <a:cubicBezTo>
                    <a:pt x="7883" y="1596"/>
                    <a:pt x="8157" y="1882"/>
                    <a:pt x="8502" y="1882"/>
                  </a:cubicBezTo>
                  <a:cubicBezTo>
                    <a:pt x="8823" y="1882"/>
                    <a:pt x="9109" y="1620"/>
                    <a:pt x="9109" y="1275"/>
                  </a:cubicBezTo>
                  <a:lnTo>
                    <a:pt x="9109" y="1096"/>
                  </a:lnTo>
                  <a:close/>
                  <a:moveTo>
                    <a:pt x="1608" y="1"/>
                  </a:moveTo>
                  <a:cubicBezTo>
                    <a:pt x="1275" y="1"/>
                    <a:pt x="989" y="262"/>
                    <a:pt x="989" y="608"/>
                  </a:cubicBezTo>
                  <a:lnTo>
                    <a:pt x="989" y="786"/>
                  </a:lnTo>
                  <a:lnTo>
                    <a:pt x="572" y="786"/>
                  </a:lnTo>
                  <a:cubicBezTo>
                    <a:pt x="251" y="786"/>
                    <a:pt x="1" y="1048"/>
                    <a:pt x="1" y="1370"/>
                  </a:cubicBezTo>
                  <a:lnTo>
                    <a:pt x="1" y="3584"/>
                  </a:lnTo>
                  <a:cubicBezTo>
                    <a:pt x="1" y="3668"/>
                    <a:pt x="72" y="3751"/>
                    <a:pt x="156" y="3751"/>
                  </a:cubicBezTo>
                  <a:cubicBezTo>
                    <a:pt x="251" y="3751"/>
                    <a:pt x="322" y="3668"/>
                    <a:pt x="322" y="3584"/>
                  </a:cubicBezTo>
                  <a:lnTo>
                    <a:pt x="322" y="2834"/>
                  </a:lnTo>
                  <a:lnTo>
                    <a:pt x="9681" y="2834"/>
                  </a:lnTo>
                  <a:lnTo>
                    <a:pt x="9681" y="8906"/>
                  </a:lnTo>
                  <a:cubicBezTo>
                    <a:pt x="9681" y="9002"/>
                    <a:pt x="9764" y="9073"/>
                    <a:pt x="9847" y="9073"/>
                  </a:cubicBezTo>
                  <a:cubicBezTo>
                    <a:pt x="9943" y="9073"/>
                    <a:pt x="10014" y="9002"/>
                    <a:pt x="10014" y="8906"/>
                  </a:cubicBezTo>
                  <a:lnTo>
                    <a:pt x="10014" y="1346"/>
                  </a:lnTo>
                  <a:cubicBezTo>
                    <a:pt x="10050" y="1036"/>
                    <a:pt x="9776" y="786"/>
                    <a:pt x="9466" y="786"/>
                  </a:cubicBezTo>
                  <a:lnTo>
                    <a:pt x="9050" y="786"/>
                  </a:lnTo>
                  <a:lnTo>
                    <a:pt x="9050" y="608"/>
                  </a:lnTo>
                  <a:cubicBezTo>
                    <a:pt x="9050" y="274"/>
                    <a:pt x="8776" y="1"/>
                    <a:pt x="8430" y="1"/>
                  </a:cubicBezTo>
                  <a:cubicBezTo>
                    <a:pt x="8109" y="1"/>
                    <a:pt x="7823" y="262"/>
                    <a:pt x="7823" y="608"/>
                  </a:cubicBezTo>
                  <a:lnTo>
                    <a:pt x="7823" y="786"/>
                  </a:lnTo>
                  <a:lnTo>
                    <a:pt x="6764" y="786"/>
                  </a:lnTo>
                  <a:lnTo>
                    <a:pt x="6764" y="608"/>
                  </a:lnTo>
                  <a:cubicBezTo>
                    <a:pt x="6764" y="274"/>
                    <a:pt x="6502" y="1"/>
                    <a:pt x="6156" y="1"/>
                  </a:cubicBezTo>
                  <a:cubicBezTo>
                    <a:pt x="5811" y="1"/>
                    <a:pt x="5549" y="262"/>
                    <a:pt x="5549" y="608"/>
                  </a:cubicBezTo>
                  <a:lnTo>
                    <a:pt x="5549" y="786"/>
                  </a:lnTo>
                  <a:lnTo>
                    <a:pt x="4489" y="786"/>
                  </a:lnTo>
                  <a:lnTo>
                    <a:pt x="4489" y="608"/>
                  </a:lnTo>
                  <a:cubicBezTo>
                    <a:pt x="4489" y="274"/>
                    <a:pt x="4228" y="1"/>
                    <a:pt x="3882" y="1"/>
                  </a:cubicBezTo>
                  <a:cubicBezTo>
                    <a:pt x="3549" y="1"/>
                    <a:pt x="3275" y="262"/>
                    <a:pt x="3275" y="608"/>
                  </a:cubicBezTo>
                  <a:lnTo>
                    <a:pt x="3275" y="786"/>
                  </a:lnTo>
                  <a:lnTo>
                    <a:pt x="2215" y="786"/>
                  </a:lnTo>
                  <a:lnTo>
                    <a:pt x="2215" y="608"/>
                  </a:lnTo>
                  <a:cubicBezTo>
                    <a:pt x="2215" y="274"/>
                    <a:pt x="1942"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2" name="Google Shape;10582;p59"/>
            <p:cNvSpPr/>
            <p:nvPr/>
          </p:nvSpPr>
          <p:spPr>
            <a:xfrm>
              <a:off x="1751652" y="2558467"/>
              <a:ext cx="319378" cy="210530"/>
            </a:xfrm>
            <a:custGeom>
              <a:avLst/>
              <a:gdLst/>
              <a:ahLst/>
              <a:cxnLst/>
              <a:rect l="l" t="t" r="r" b="b"/>
              <a:pathLst>
                <a:path w="10026" h="6609" extrusionOk="0">
                  <a:moveTo>
                    <a:pt x="167" y="1"/>
                  </a:moveTo>
                  <a:cubicBezTo>
                    <a:pt x="72" y="1"/>
                    <a:pt x="1" y="72"/>
                    <a:pt x="1" y="156"/>
                  </a:cubicBezTo>
                  <a:lnTo>
                    <a:pt x="1" y="6025"/>
                  </a:lnTo>
                  <a:cubicBezTo>
                    <a:pt x="1" y="6347"/>
                    <a:pt x="274" y="6609"/>
                    <a:pt x="584" y="6609"/>
                  </a:cubicBezTo>
                  <a:lnTo>
                    <a:pt x="9407" y="6609"/>
                  </a:lnTo>
                  <a:cubicBezTo>
                    <a:pt x="9740" y="6609"/>
                    <a:pt x="9990" y="6335"/>
                    <a:pt x="9990" y="6025"/>
                  </a:cubicBezTo>
                  <a:lnTo>
                    <a:pt x="9990" y="5501"/>
                  </a:lnTo>
                  <a:cubicBezTo>
                    <a:pt x="10026" y="5418"/>
                    <a:pt x="9942" y="5335"/>
                    <a:pt x="9859" y="5335"/>
                  </a:cubicBezTo>
                  <a:cubicBezTo>
                    <a:pt x="9764" y="5335"/>
                    <a:pt x="9692" y="5418"/>
                    <a:pt x="9692" y="5501"/>
                  </a:cubicBezTo>
                  <a:lnTo>
                    <a:pt x="9692" y="6025"/>
                  </a:lnTo>
                  <a:cubicBezTo>
                    <a:pt x="9692" y="6168"/>
                    <a:pt x="9573" y="6287"/>
                    <a:pt x="9430" y="6287"/>
                  </a:cubicBezTo>
                  <a:lnTo>
                    <a:pt x="596" y="6287"/>
                  </a:lnTo>
                  <a:cubicBezTo>
                    <a:pt x="453" y="6287"/>
                    <a:pt x="334" y="6168"/>
                    <a:pt x="334" y="6025"/>
                  </a:cubicBezTo>
                  <a:lnTo>
                    <a:pt x="334" y="156"/>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83" name="Google Shape;10583;p59"/>
          <p:cNvGrpSpPr/>
          <p:nvPr/>
        </p:nvGrpSpPr>
        <p:grpSpPr>
          <a:xfrm>
            <a:off x="1298037" y="2425727"/>
            <a:ext cx="338364" cy="342887"/>
            <a:chOff x="1298037" y="2425727"/>
            <a:chExt cx="338364" cy="342887"/>
          </a:xfrm>
        </p:grpSpPr>
        <p:sp>
          <p:nvSpPr>
            <p:cNvPr id="10584" name="Google Shape;10584;p59"/>
            <p:cNvSpPr/>
            <p:nvPr/>
          </p:nvSpPr>
          <p:spPr>
            <a:xfrm>
              <a:off x="1339384" y="2471631"/>
              <a:ext cx="256050" cy="136180"/>
            </a:xfrm>
            <a:custGeom>
              <a:avLst/>
              <a:gdLst/>
              <a:ahLst/>
              <a:cxnLst/>
              <a:rect l="l" t="t" r="r" b="b"/>
              <a:pathLst>
                <a:path w="8038" h="4275" extrusionOk="0">
                  <a:moveTo>
                    <a:pt x="7704" y="1477"/>
                  </a:moveTo>
                  <a:lnTo>
                    <a:pt x="7704" y="3501"/>
                  </a:lnTo>
                  <a:cubicBezTo>
                    <a:pt x="7704" y="3751"/>
                    <a:pt x="7513" y="3941"/>
                    <a:pt x="7263" y="3941"/>
                  </a:cubicBezTo>
                  <a:lnTo>
                    <a:pt x="774" y="3941"/>
                  </a:lnTo>
                  <a:cubicBezTo>
                    <a:pt x="524" y="3941"/>
                    <a:pt x="322" y="3751"/>
                    <a:pt x="322" y="3501"/>
                  </a:cubicBezTo>
                  <a:lnTo>
                    <a:pt x="322" y="1477"/>
                  </a:lnTo>
                  <a:close/>
                  <a:moveTo>
                    <a:pt x="774" y="0"/>
                  </a:moveTo>
                  <a:cubicBezTo>
                    <a:pt x="346" y="0"/>
                    <a:pt x="1" y="345"/>
                    <a:pt x="1" y="774"/>
                  </a:cubicBezTo>
                  <a:lnTo>
                    <a:pt x="1" y="3501"/>
                  </a:lnTo>
                  <a:cubicBezTo>
                    <a:pt x="1" y="3929"/>
                    <a:pt x="346" y="4275"/>
                    <a:pt x="774" y="4275"/>
                  </a:cubicBezTo>
                  <a:lnTo>
                    <a:pt x="7263" y="4275"/>
                  </a:lnTo>
                  <a:cubicBezTo>
                    <a:pt x="7692" y="4275"/>
                    <a:pt x="8037" y="3929"/>
                    <a:pt x="8037" y="3501"/>
                  </a:cubicBezTo>
                  <a:lnTo>
                    <a:pt x="8037" y="774"/>
                  </a:lnTo>
                  <a:cubicBezTo>
                    <a:pt x="8025" y="345"/>
                    <a:pt x="7680" y="0"/>
                    <a:pt x="7263" y="0"/>
                  </a:cubicBezTo>
                  <a:lnTo>
                    <a:pt x="5787" y="0"/>
                  </a:lnTo>
                  <a:cubicBezTo>
                    <a:pt x="5704" y="0"/>
                    <a:pt x="5620" y="72"/>
                    <a:pt x="5620" y="167"/>
                  </a:cubicBezTo>
                  <a:cubicBezTo>
                    <a:pt x="5620" y="250"/>
                    <a:pt x="5704" y="322"/>
                    <a:pt x="5787" y="322"/>
                  </a:cubicBezTo>
                  <a:lnTo>
                    <a:pt x="7263" y="322"/>
                  </a:lnTo>
                  <a:cubicBezTo>
                    <a:pt x="7513" y="322"/>
                    <a:pt x="7704" y="524"/>
                    <a:pt x="7704" y="774"/>
                  </a:cubicBezTo>
                  <a:lnTo>
                    <a:pt x="7704" y="1155"/>
                  </a:lnTo>
                  <a:lnTo>
                    <a:pt x="322" y="1155"/>
                  </a:lnTo>
                  <a:lnTo>
                    <a:pt x="322" y="774"/>
                  </a:lnTo>
                  <a:cubicBezTo>
                    <a:pt x="322" y="524"/>
                    <a:pt x="524" y="322"/>
                    <a:pt x="774" y="322"/>
                  </a:cubicBezTo>
                  <a:lnTo>
                    <a:pt x="5049" y="322"/>
                  </a:lnTo>
                  <a:cubicBezTo>
                    <a:pt x="5132" y="322"/>
                    <a:pt x="5204" y="250"/>
                    <a:pt x="5204" y="167"/>
                  </a:cubicBezTo>
                  <a:cubicBezTo>
                    <a:pt x="5204" y="72"/>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5" name="Google Shape;10585;p59"/>
            <p:cNvSpPr/>
            <p:nvPr/>
          </p:nvSpPr>
          <p:spPr>
            <a:xfrm>
              <a:off x="1341646" y="2618036"/>
              <a:ext cx="50490" cy="50458"/>
            </a:xfrm>
            <a:custGeom>
              <a:avLst/>
              <a:gdLst/>
              <a:ahLst/>
              <a:cxnLst/>
              <a:rect l="l" t="t" r="r" b="b"/>
              <a:pathLst>
                <a:path w="1585" h="1584" extrusionOk="0">
                  <a:moveTo>
                    <a:pt x="787" y="321"/>
                  </a:moveTo>
                  <a:cubicBezTo>
                    <a:pt x="1049" y="321"/>
                    <a:pt x="1251" y="536"/>
                    <a:pt x="1251" y="786"/>
                  </a:cubicBezTo>
                  <a:cubicBezTo>
                    <a:pt x="1251" y="1048"/>
                    <a:pt x="1049" y="1250"/>
                    <a:pt x="787" y="1250"/>
                  </a:cubicBezTo>
                  <a:cubicBezTo>
                    <a:pt x="537" y="1250"/>
                    <a:pt x="334" y="1048"/>
                    <a:pt x="334" y="786"/>
                  </a:cubicBezTo>
                  <a:cubicBezTo>
                    <a:pt x="334" y="536"/>
                    <a:pt x="537" y="321"/>
                    <a:pt x="787" y="321"/>
                  </a:cubicBezTo>
                  <a:close/>
                  <a:moveTo>
                    <a:pt x="787" y="0"/>
                  </a:moveTo>
                  <a:cubicBezTo>
                    <a:pt x="358" y="0"/>
                    <a:pt x="1" y="357"/>
                    <a:pt x="1" y="786"/>
                  </a:cubicBezTo>
                  <a:cubicBezTo>
                    <a:pt x="1" y="1226"/>
                    <a:pt x="358" y="1584"/>
                    <a:pt x="787" y="1584"/>
                  </a:cubicBezTo>
                  <a:cubicBezTo>
                    <a:pt x="1227" y="1584"/>
                    <a:pt x="1585" y="1226"/>
                    <a:pt x="1585" y="786"/>
                  </a:cubicBezTo>
                  <a:cubicBezTo>
                    <a:pt x="1585" y="357"/>
                    <a:pt x="1227"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6" name="Google Shape;10586;p59"/>
            <p:cNvSpPr/>
            <p:nvPr/>
          </p:nvSpPr>
          <p:spPr>
            <a:xfrm>
              <a:off x="1542301" y="2618036"/>
              <a:ext cx="50076" cy="50458"/>
            </a:xfrm>
            <a:custGeom>
              <a:avLst/>
              <a:gdLst/>
              <a:ahLst/>
              <a:cxnLst/>
              <a:rect l="l" t="t" r="r" b="b"/>
              <a:pathLst>
                <a:path w="1572" h="1584" extrusionOk="0">
                  <a:moveTo>
                    <a:pt x="786" y="321"/>
                  </a:moveTo>
                  <a:cubicBezTo>
                    <a:pt x="1036" y="321"/>
                    <a:pt x="1251" y="536"/>
                    <a:pt x="1251" y="786"/>
                  </a:cubicBezTo>
                  <a:cubicBezTo>
                    <a:pt x="1251" y="1048"/>
                    <a:pt x="1036" y="1250"/>
                    <a:pt x="786" y="1250"/>
                  </a:cubicBezTo>
                  <a:cubicBezTo>
                    <a:pt x="536" y="1250"/>
                    <a:pt x="322" y="1048"/>
                    <a:pt x="322" y="786"/>
                  </a:cubicBezTo>
                  <a:cubicBezTo>
                    <a:pt x="322" y="536"/>
                    <a:pt x="536" y="321"/>
                    <a:pt x="786" y="321"/>
                  </a:cubicBezTo>
                  <a:close/>
                  <a:moveTo>
                    <a:pt x="786" y="0"/>
                  </a:moveTo>
                  <a:cubicBezTo>
                    <a:pt x="358" y="0"/>
                    <a:pt x="0" y="357"/>
                    <a:pt x="0" y="786"/>
                  </a:cubicBezTo>
                  <a:cubicBezTo>
                    <a:pt x="0" y="1226"/>
                    <a:pt x="358" y="1584"/>
                    <a:pt x="786" y="1584"/>
                  </a:cubicBezTo>
                  <a:cubicBezTo>
                    <a:pt x="1215" y="1584"/>
                    <a:pt x="1572" y="1226"/>
                    <a:pt x="1572" y="786"/>
                  </a:cubicBezTo>
                  <a:cubicBezTo>
                    <a:pt x="1572" y="357"/>
                    <a:pt x="1215"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7" name="Google Shape;10587;p59"/>
            <p:cNvSpPr/>
            <p:nvPr/>
          </p:nvSpPr>
          <p:spPr>
            <a:xfrm>
              <a:off x="1298037" y="2425727"/>
              <a:ext cx="338364" cy="342887"/>
            </a:xfrm>
            <a:custGeom>
              <a:avLst/>
              <a:gdLst/>
              <a:ahLst/>
              <a:cxnLst/>
              <a:rect l="l" t="t" r="r" b="b"/>
              <a:pathLst>
                <a:path w="10622" h="10764" extrusionOk="0">
                  <a:moveTo>
                    <a:pt x="715" y="2525"/>
                  </a:moveTo>
                  <a:lnTo>
                    <a:pt x="715" y="4644"/>
                  </a:lnTo>
                  <a:lnTo>
                    <a:pt x="560" y="4644"/>
                  </a:lnTo>
                  <a:lnTo>
                    <a:pt x="560" y="4656"/>
                  </a:lnTo>
                  <a:cubicBezTo>
                    <a:pt x="429" y="4656"/>
                    <a:pt x="322" y="4549"/>
                    <a:pt x="322" y="4418"/>
                  </a:cubicBezTo>
                  <a:lnTo>
                    <a:pt x="322" y="2763"/>
                  </a:lnTo>
                  <a:cubicBezTo>
                    <a:pt x="322" y="2632"/>
                    <a:pt x="429" y="2525"/>
                    <a:pt x="560" y="2525"/>
                  </a:cubicBezTo>
                  <a:close/>
                  <a:moveTo>
                    <a:pt x="10050" y="2537"/>
                  </a:moveTo>
                  <a:cubicBezTo>
                    <a:pt x="10181" y="2537"/>
                    <a:pt x="10288" y="2644"/>
                    <a:pt x="10288" y="2775"/>
                  </a:cubicBezTo>
                  <a:lnTo>
                    <a:pt x="10288" y="4418"/>
                  </a:lnTo>
                  <a:cubicBezTo>
                    <a:pt x="10288" y="4549"/>
                    <a:pt x="10181" y="4656"/>
                    <a:pt x="10050" y="4656"/>
                  </a:cubicBezTo>
                  <a:lnTo>
                    <a:pt x="9895" y="4656"/>
                  </a:lnTo>
                  <a:lnTo>
                    <a:pt x="9895" y="2537"/>
                  </a:lnTo>
                  <a:close/>
                  <a:moveTo>
                    <a:pt x="6418" y="6263"/>
                  </a:moveTo>
                  <a:cubicBezTo>
                    <a:pt x="6680" y="6263"/>
                    <a:pt x="6906" y="6489"/>
                    <a:pt x="6906" y="6751"/>
                  </a:cubicBezTo>
                  <a:lnTo>
                    <a:pt x="6906" y="7930"/>
                  </a:lnTo>
                  <a:lnTo>
                    <a:pt x="3727" y="7930"/>
                  </a:lnTo>
                  <a:lnTo>
                    <a:pt x="3727" y="6751"/>
                  </a:lnTo>
                  <a:cubicBezTo>
                    <a:pt x="3727" y="6489"/>
                    <a:pt x="3942" y="6263"/>
                    <a:pt x="4216" y="6263"/>
                  </a:cubicBezTo>
                  <a:close/>
                  <a:moveTo>
                    <a:pt x="8347" y="334"/>
                  </a:moveTo>
                  <a:cubicBezTo>
                    <a:pt x="9026" y="334"/>
                    <a:pt x="9561" y="870"/>
                    <a:pt x="9561" y="1536"/>
                  </a:cubicBezTo>
                  <a:lnTo>
                    <a:pt x="9561" y="2382"/>
                  </a:lnTo>
                  <a:lnTo>
                    <a:pt x="9561" y="4811"/>
                  </a:lnTo>
                  <a:lnTo>
                    <a:pt x="9561" y="7930"/>
                  </a:lnTo>
                  <a:lnTo>
                    <a:pt x="7204" y="7930"/>
                  </a:lnTo>
                  <a:lnTo>
                    <a:pt x="7204" y="6751"/>
                  </a:lnTo>
                  <a:cubicBezTo>
                    <a:pt x="7204" y="6299"/>
                    <a:pt x="6847" y="5930"/>
                    <a:pt x="6383" y="5930"/>
                  </a:cubicBezTo>
                  <a:lnTo>
                    <a:pt x="4180" y="5930"/>
                  </a:lnTo>
                  <a:cubicBezTo>
                    <a:pt x="3739" y="5930"/>
                    <a:pt x="3370" y="6287"/>
                    <a:pt x="3370" y="6751"/>
                  </a:cubicBezTo>
                  <a:lnTo>
                    <a:pt x="3370" y="7930"/>
                  </a:lnTo>
                  <a:lnTo>
                    <a:pt x="3215" y="7930"/>
                  </a:lnTo>
                  <a:cubicBezTo>
                    <a:pt x="3120" y="7930"/>
                    <a:pt x="3049" y="8002"/>
                    <a:pt x="3049" y="8085"/>
                  </a:cubicBezTo>
                  <a:cubicBezTo>
                    <a:pt x="3049" y="8180"/>
                    <a:pt x="3120" y="8252"/>
                    <a:pt x="3215" y="8252"/>
                  </a:cubicBezTo>
                  <a:lnTo>
                    <a:pt x="9931" y="8252"/>
                  </a:lnTo>
                  <a:cubicBezTo>
                    <a:pt x="9990" y="8252"/>
                    <a:pt x="10050" y="8299"/>
                    <a:pt x="10050" y="8371"/>
                  </a:cubicBezTo>
                  <a:lnTo>
                    <a:pt x="10050" y="9323"/>
                  </a:lnTo>
                  <a:cubicBezTo>
                    <a:pt x="10050" y="9383"/>
                    <a:pt x="10002" y="9442"/>
                    <a:pt x="9931" y="9442"/>
                  </a:cubicBezTo>
                  <a:lnTo>
                    <a:pt x="763" y="9442"/>
                  </a:lnTo>
                  <a:cubicBezTo>
                    <a:pt x="703" y="9442"/>
                    <a:pt x="644" y="9406"/>
                    <a:pt x="644" y="9323"/>
                  </a:cubicBezTo>
                  <a:lnTo>
                    <a:pt x="644" y="8371"/>
                  </a:lnTo>
                  <a:cubicBezTo>
                    <a:pt x="644" y="8311"/>
                    <a:pt x="691" y="8252"/>
                    <a:pt x="763" y="8252"/>
                  </a:cubicBezTo>
                  <a:lnTo>
                    <a:pt x="2477" y="8252"/>
                  </a:lnTo>
                  <a:cubicBezTo>
                    <a:pt x="2561" y="8252"/>
                    <a:pt x="2632" y="8180"/>
                    <a:pt x="2632" y="8085"/>
                  </a:cubicBezTo>
                  <a:cubicBezTo>
                    <a:pt x="2632" y="8002"/>
                    <a:pt x="2561" y="7930"/>
                    <a:pt x="2477" y="7930"/>
                  </a:cubicBezTo>
                  <a:lnTo>
                    <a:pt x="1013" y="7930"/>
                  </a:lnTo>
                  <a:lnTo>
                    <a:pt x="1013" y="4811"/>
                  </a:lnTo>
                  <a:lnTo>
                    <a:pt x="1013" y="2382"/>
                  </a:lnTo>
                  <a:lnTo>
                    <a:pt x="1013" y="1536"/>
                  </a:lnTo>
                  <a:cubicBezTo>
                    <a:pt x="1013" y="870"/>
                    <a:pt x="1549" y="334"/>
                    <a:pt x="2215" y="334"/>
                  </a:cubicBezTo>
                  <a:close/>
                  <a:moveTo>
                    <a:pt x="6906" y="9740"/>
                  </a:moveTo>
                  <a:cubicBezTo>
                    <a:pt x="6859" y="9835"/>
                    <a:pt x="6775" y="9883"/>
                    <a:pt x="6668" y="9883"/>
                  </a:cubicBezTo>
                  <a:lnTo>
                    <a:pt x="3930" y="9883"/>
                  </a:lnTo>
                  <a:cubicBezTo>
                    <a:pt x="3823" y="9883"/>
                    <a:pt x="3739" y="9835"/>
                    <a:pt x="3692" y="9740"/>
                  </a:cubicBezTo>
                  <a:close/>
                  <a:moveTo>
                    <a:pt x="2751" y="9764"/>
                  </a:moveTo>
                  <a:lnTo>
                    <a:pt x="2751" y="10311"/>
                  </a:lnTo>
                  <a:cubicBezTo>
                    <a:pt x="2751" y="10383"/>
                    <a:pt x="2692" y="10454"/>
                    <a:pt x="2608" y="10454"/>
                  </a:cubicBezTo>
                  <a:lnTo>
                    <a:pt x="1430" y="10454"/>
                  </a:lnTo>
                  <a:cubicBezTo>
                    <a:pt x="1346" y="10454"/>
                    <a:pt x="1287" y="10383"/>
                    <a:pt x="1287" y="10311"/>
                  </a:cubicBezTo>
                  <a:lnTo>
                    <a:pt x="1287" y="9764"/>
                  </a:lnTo>
                  <a:close/>
                  <a:moveTo>
                    <a:pt x="9442" y="9764"/>
                  </a:moveTo>
                  <a:lnTo>
                    <a:pt x="9442" y="10311"/>
                  </a:lnTo>
                  <a:cubicBezTo>
                    <a:pt x="9442" y="10395"/>
                    <a:pt x="9359" y="10454"/>
                    <a:pt x="9288" y="10454"/>
                  </a:cubicBezTo>
                  <a:lnTo>
                    <a:pt x="8109" y="10454"/>
                  </a:lnTo>
                  <a:cubicBezTo>
                    <a:pt x="8026" y="10454"/>
                    <a:pt x="7966" y="10383"/>
                    <a:pt x="7966" y="10311"/>
                  </a:cubicBezTo>
                  <a:lnTo>
                    <a:pt x="7966" y="9764"/>
                  </a:lnTo>
                  <a:close/>
                  <a:moveTo>
                    <a:pt x="2239" y="1"/>
                  </a:moveTo>
                  <a:cubicBezTo>
                    <a:pt x="1382" y="1"/>
                    <a:pt x="703" y="679"/>
                    <a:pt x="703" y="1525"/>
                  </a:cubicBezTo>
                  <a:lnTo>
                    <a:pt x="703" y="2215"/>
                  </a:lnTo>
                  <a:lnTo>
                    <a:pt x="548" y="2215"/>
                  </a:lnTo>
                  <a:cubicBezTo>
                    <a:pt x="239" y="2215"/>
                    <a:pt x="1" y="2465"/>
                    <a:pt x="1" y="2763"/>
                  </a:cubicBezTo>
                  <a:lnTo>
                    <a:pt x="1" y="4418"/>
                  </a:lnTo>
                  <a:cubicBezTo>
                    <a:pt x="1" y="4727"/>
                    <a:pt x="251" y="4965"/>
                    <a:pt x="548" y="4965"/>
                  </a:cubicBezTo>
                  <a:lnTo>
                    <a:pt x="703" y="4965"/>
                  </a:lnTo>
                  <a:lnTo>
                    <a:pt x="703" y="7930"/>
                  </a:lnTo>
                  <a:cubicBezTo>
                    <a:pt x="489" y="7954"/>
                    <a:pt x="346" y="8133"/>
                    <a:pt x="346" y="8359"/>
                  </a:cubicBezTo>
                  <a:lnTo>
                    <a:pt x="346" y="9311"/>
                  </a:lnTo>
                  <a:cubicBezTo>
                    <a:pt x="346" y="9549"/>
                    <a:pt x="537" y="9740"/>
                    <a:pt x="775" y="9740"/>
                  </a:cubicBezTo>
                  <a:lnTo>
                    <a:pt x="953" y="9740"/>
                  </a:lnTo>
                  <a:lnTo>
                    <a:pt x="953" y="10288"/>
                  </a:lnTo>
                  <a:cubicBezTo>
                    <a:pt x="953" y="10549"/>
                    <a:pt x="1156" y="10764"/>
                    <a:pt x="1430" y="10764"/>
                  </a:cubicBezTo>
                  <a:lnTo>
                    <a:pt x="2608" y="10764"/>
                  </a:lnTo>
                  <a:cubicBezTo>
                    <a:pt x="2858" y="10764"/>
                    <a:pt x="3084" y="10561"/>
                    <a:pt x="3084" y="10299"/>
                  </a:cubicBezTo>
                  <a:lnTo>
                    <a:pt x="3084" y="9740"/>
                  </a:lnTo>
                  <a:lnTo>
                    <a:pt x="3346" y="9740"/>
                  </a:lnTo>
                  <a:cubicBezTo>
                    <a:pt x="3418" y="10002"/>
                    <a:pt x="3668" y="10192"/>
                    <a:pt x="3942" y="10192"/>
                  </a:cubicBezTo>
                  <a:lnTo>
                    <a:pt x="6680" y="10192"/>
                  </a:lnTo>
                  <a:cubicBezTo>
                    <a:pt x="6966" y="10192"/>
                    <a:pt x="7204" y="10002"/>
                    <a:pt x="7275" y="9740"/>
                  </a:cubicBezTo>
                  <a:lnTo>
                    <a:pt x="7645" y="9740"/>
                  </a:lnTo>
                  <a:lnTo>
                    <a:pt x="7645" y="10299"/>
                  </a:lnTo>
                  <a:cubicBezTo>
                    <a:pt x="7645" y="10549"/>
                    <a:pt x="7859" y="10764"/>
                    <a:pt x="8121" y="10764"/>
                  </a:cubicBezTo>
                  <a:lnTo>
                    <a:pt x="9300" y="10764"/>
                  </a:lnTo>
                  <a:cubicBezTo>
                    <a:pt x="9550" y="10764"/>
                    <a:pt x="9776" y="10561"/>
                    <a:pt x="9776" y="10299"/>
                  </a:cubicBezTo>
                  <a:lnTo>
                    <a:pt x="9776" y="9740"/>
                  </a:lnTo>
                  <a:lnTo>
                    <a:pt x="9954" y="9740"/>
                  </a:lnTo>
                  <a:cubicBezTo>
                    <a:pt x="10193" y="9740"/>
                    <a:pt x="10383" y="9549"/>
                    <a:pt x="10383" y="9311"/>
                  </a:cubicBezTo>
                  <a:lnTo>
                    <a:pt x="10383" y="8359"/>
                  </a:lnTo>
                  <a:cubicBezTo>
                    <a:pt x="10383" y="8121"/>
                    <a:pt x="10193" y="7930"/>
                    <a:pt x="9954" y="7930"/>
                  </a:cubicBezTo>
                  <a:lnTo>
                    <a:pt x="9931" y="7930"/>
                  </a:lnTo>
                  <a:lnTo>
                    <a:pt x="9931" y="4965"/>
                  </a:lnTo>
                  <a:lnTo>
                    <a:pt x="10073" y="4965"/>
                  </a:lnTo>
                  <a:cubicBezTo>
                    <a:pt x="10383" y="4965"/>
                    <a:pt x="10621" y="4715"/>
                    <a:pt x="10621" y="4418"/>
                  </a:cubicBezTo>
                  <a:lnTo>
                    <a:pt x="10621" y="2763"/>
                  </a:lnTo>
                  <a:cubicBezTo>
                    <a:pt x="10609" y="2465"/>
                    <a:pt x="10359" y="2215"/>
                    <a:pt x="10050" y="2215"/>
                  </a:cubicBezTo>
                  <a:lnTo>
                    <a:pt x="9895" y="2215"/>
                  </a:lnTo>
                  <a:lnTo>
                    <a:pt x="9895" y="1525"/>
                  </a:lnTo>
                  <a:cubicBezTo>
                    <a:pt x="9895" y="679"/>
                    <a:pt x="9216" y="1"/>
                    <a:pt x="83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588" name="Google Shape;10588;p59"/>
          <p:cNvSpPr/>
          <p:nvPr/>
        </p:nvSpPr>
        <p:spPr>
          <a:xfrm>
            <a:off x="848977" y="2418528"/>
            <a:ext cx="347060" cy="357286"/>
          </a:xfrm>
          <a:custGeom>
            <a:avLst/>
            <a:gdLst/>
            <a:ahLst/>
            <a:cxnLst/>
            <a:rect l="l" t="t" r="r" b="b"/>
            <a:pathLst>
              <a:path w="10895" h="11216" extrusionOk="0">
                <a:moveTo>
                  <a:pt x="5454" y="322"/>
                </a:moveTo>
                <a:cubicBezTo>
                  <a:pt x="5740" y="322"/>
                  <a:pt x="5954" y="548"/>
                  <a:pt x="5954" y="834"/>
                </a:cubicBezTo>
                <a:cubicBezTo>
                  <a:pt x="5954" y="1012"/>
                  <a:pt x="5871" y="1155"/>
                  <a:pt x="5716" y="1250"/>
                </a:cubicBezTo>
                <a:lnTo>
                  <a:pt x="5704" y="1262"/>
                </a:lnTo>
                <a:lnTo>
                  <a:pt x="5692" y="1262"/>
                </a:lnTo>
                <a:cubicBezTo>
                  <a:pt x="5680" y="1262"/>
                  <a:pt x="5680" y="1274"/>
                  <a:pt x="5656" y="1274"/>
                </a:cubicBezTo>
                <a:lnTo>
                  <a:pt x="5644" y="1274"/>
                </a:lnTo>
                <a:cubicBezTo>
                  <a:pt x="5644" y="1274"/>
                  <a:pt x="5632" y="1274"/>
                  <a:pt x="5632" y="1298"/>
                </a:cubicBezTo>
                <a:lnTo>
                  <a:pt x="5621" y="1298"/>
                </a:lnTo>
                <a:cubicBezTo>
                  <a:pt x="5597" y="1298"/>
                  <a:pt x="5597" y="1298"/>
                  <a:pt x="5585" y="1310"/>
                </a:cubicBezTo>
                <a:lnTo>
                  <a:pt x="5263" y="1310"/>
                </a:lnTo>
                <a:cubicBezTo>
                  <a:pt x="5240" y="1310"/>
                  <a:pt x="5240" y="1310"/>
                  <a:pt x="5228" y="1298"/>
                </a:cubicBezTo>
                <a:lnTo>
                  <a:pt x="5216" y="1298"/>
                </a:lnTo>
                <a:cubicBezTo>
                  <a:pt x="5216" y="1298"/>
                  <a:pt x="5204" y="1298"/>
                  <a:pt x="5204" y="1274"/>
                </a:cubicBezTo>
                <a:lnTo>
                  <a:pt x="5180" y="1274"/>
                </a:lnTo>
                <a:cubicBezTo>
                  <a:pt x="5168" y="1274"/>
                  <a:pt x="5168" y="1262"/>
                  <a:pt x="5156" y="1262"/>
                </a:cubicBezTo>
                <a:lnTo>
                  <a:pt x="5144" y="1262"/>
                </a:lnTo>
                <a:cubicBezTo>
                  <a:pt x="5144" y="1262"/>
                  <a:pt x="5120" y="1262"/>
                  <a:pt x="5120" y="1250"/>
                </a:cubicBezTo>
                <a:cubicBezTo>
                  <a:pt x="4989" y="1155"/>
                  <a:pt x="4882" y="1012"/>
                  <a:pt x="4882" y="834"/>
                </a:cubicBezTo>
                <a:cubicBezTo>
                  <a:pt x="4942" y="548"/>
                  <a:pt x="5168" y="322"/>
                  <a:pt x="5454" y="322"/>
                </a:cubicBezTo>
                <a:close/>
                <a:moveTo>
                  <a:pt x="5644" y="1631"/>
                </a:moveTo>
                <a:lnTo>
                  <a:pt x="5644" y="1834"/>
                </a:lnTo>
                <a:lnTo>
                  <a:pt x="5240" y="1834"/>
                </a:lnTo>
                <a:lnTo>
                  <a:pt x="5240" y="1631"/>
                </a:lnTo>
                <a:lnTo>
                  <a:pt x="5263" y="1631"/>
                </a:lnTo>
                <a:cubicBezTo>
                  <a:pt x="5275" y="1631"/>
                  <a:pt x="5287" y="1631"/>
                  <a:pt x="5287" y="1655"/>
                </a:cubicBezTo>
                <a:lnTo>
                  <a:pt x="5632" y="1655"/>
                </a:lnTo>
                <a:cubicBezTo>
                  <a:pt x="5621" y="1631"/>
                  <a:pt x="5632" y="1631"/>
                  <a:pt x="5644" y="1631"/>
                </a:cubicBezTo>
                <a:close/>
                <a:moveTo>
                  <a:pt x="7002" y="2143"/>
                </a:moveTo>
                <a:cubicBezTo>
                  <a:pt x="7418" y="2143"/>
                  <a:pt x="7799" y="2310"/>
                  <a:pt x="8085" y="2584"/>
                </a:cubicBezTo>
                <a:cubicBezTo>
                  <a:pt x="8335" y="2858"/>
                  <a:pt x="8680" y="3001"/>
                  <a:pt x="9050" y="3001"/>
                </a:cubicBezTo>
                <a:lnTo>
                  <a:pt x="10514" y="3001"/>
                </a:lnTo>
                <a:lnTo>
                  <a:pt x="10514" y="3334"/>
                </a:lnTo>
                <a:lnTo>
                  <a:pt x="9050" y="3334"/>
                </a:lnTo>
                <a:lnTo>
                  <a:pt x="9050" y="3346"/>
                </a:lnTo>
                <a:cubicBezTo>
                  <a:pt x="8597" y="3346"/>
                  <a:pt x="8180" y="3167"/>
                  <a:pt x="7859" y="2846"/>
                </a:cubicBezTo>
                <a:cubicBezTo>
                  <a:pt x="7645" y="2608"/>
                  <a:pt x="7323" y="2465"/>
                  <a:pt x="7002" y="2465"/>
                </a:cubicBezTo>
                <a:lnTo>
                  <a:pt x="3942" y="2465"/>
                </a:lnTo>
                <a:cubicBezTo>
                  <a:pt x="3573" y="2465"/>
                  <a:pt x="3227" y="2620"/>
                  <a:pt x="2977" y="2882"/>
                </a:cubicBezTo>
                <a:cubicBezTo>
                  <a:pt x="2715" y="3167"/>
                  <a:pt x="2311" y="3334"/>
                  <a:pt x="1894" y="3334"/>
                </a:cubicBezTo>
                <a:lnTo>
                  <a:pt x="370" y="3334"/>
                </a:lnTo>
                <a:lnTo>
                  <a:pt x="370" y="3001"/>
                </a:lnTo>
                <a:lnTo>
                  <a:pt x="1834" y="3001"/>
                </a:lnTo>
                <a:cubicBezTo>
                  <a:pt x="2203" y="3001"/>
                  <a:pt x="2549" y="2858"/>
                  <a:pt x="2799" y="2584"/>
                </a:cubicBezTo>
                <a:cubicBezTo>
                  <a:pt x="3073" y="2310"/>
                  <a:pt x="3477" y="2143"/>
                  <a:pt x="3894" y="2143"/>
                </a:cubicBezTo>
                <a:close/>
                <a:moveTo>
                  <a:pt x="1525" y="3894"/>
                </a:moveTo>
                <a:lnTo>
                  <a:pt x="2644" y="6382"/>
                </a:lnTo>
                <a:lnTo>
                  <a:pt x="406" y="6382"/>
                </a:lnTo>
                <a:lnTo>
                  <a:pt x="1525" y="3894"/>
                </a:lnTo>
                <a:close/>
                <a:moveTo>
                  <a:pt x="9371" y="3894"/>
                </a:moveTo>
                <a:lnTo>
                  <a:pt x="10478" y="6382"/>
                </a:lnTo>
                <a:lnTo>
                  <a:pt x="8252" y="6382"/>
                </a:lnTo>
                <a:lnTo>
                  <a:pt x="9371" y="3894"/>
                </a:lnTo>
                <a:close/>
                <a:moveTo>
                  <a:pt x="2739" y="6692"/>
                </a:moveTo>
                <a:cubicBezTo>
                  <a:pt x="2727" y="7335"/>
                  <a:pt x="2227" y="7847"/>
                  <a:pt x="1596" y="7847"/>
                </a:cubicBezTo>
                <a:lnTo>
                  <a:pt x="1477" y="7847"/>
                </a:lnTo>
                <a:cubicBezTo>
                  <a:pt x="858" y="7847"/>
                  <a:pt x="334" y="7335"/>
                  <a:pt x="334" y="6692"/>
                </a:cubicBezTo>
                <a:close/>
                <a:moveTo>
                  <a:pt x="10574" y="6692"/>
                </a:moveTo>
                <a:cubicBezTo>
                  <a:pt x="10574" y="7335"/>
                  <a:pt x="10050" y="7847"/>
                  <a:pt x="9431" y="7847"/>
                </a:cubicBezTo>
                <a:lnTo>
                  <a:pt x="9300" y="7847"/>
                </a:lnTo>
                <a:cubicBezTo>
                  <a:pt x="8680" y="7847"/>
                  <a:pt x="8157" y="7335"/>
                  <a:pt x="8157" y="6692"/>
                </a:cubicBezTo>
                <a:close/>
                <a:moveTo>
                  <a:pt x="7645" y="9585"/>
                </a:moveTo>
                <a:cubicBezTo>
                  <a:pt x="7728" y="9585"/>
                  <a:pt x="7811" y="9656"/>
                  <a:pt x="7811" y="9763"/>
                </a:cubicBezTo>
                <a:lnTo>
                  <a:pt x="7811" y="10049"/>
                </a:lnTo>
                <a:lnTo>
                  <a:pt x="4418" y="10049"/>
                </a:lnTo>
                <a:cubicBezTo>
                  <a:pt x="4335" y="10049"/>
                  <a:pt x="4263" y="10121"/>
                  <a:pt x="4263" y="10204"/>
                </a:cubicBezTo>
                <a:cubicBezTo>
                  <a:pt x="4263" y="10299"/>
                  <a:pt x="4335" y="10371"/>
                  <a:pt x="4418" y="10371"/>
                </a:cubicBezTo>
                <a:lnTo>
                  <a:pt x="8407" y="10371"/>
                </a:lnTo>
                <a:cubicBezTo>
                  <a:pt x="8514" y="10371"/>
                  <a:pt x="8585" y="10442"/>
                  <a:pt x="8585" y="10549"/>
                </a:cubicBezTo>
                <a:lnTo>
                  <a:pt x="8585" y="10906"/>
                </a:lnTo>
                <a:lnTo>
                  <a:pt x="2275" y="10906"/>
                </a:lnTo>
                <a:lnTo>
                  <a:pt x="2275" y="10549"/>
                </a:lnTo>
                <a:cubicBezTo>
                  <a:pt x="2275" y="10442"/>
                  <a:pt x="2358" y="10371"/>
                  <a:pt x="2453" y="10371"/>
                </a:cubicBezTo>
                <a:lnTo>
                  <a:pt x="3382" y="10371"/>
                </a:lnTo>
                <a:cubicBezTo>
                  <a:pt x="3465" y="10371"/>
                  <a:pt x="3549" y="10299"/>
                  <a:pt x="3549" y="10204"/>
                </a:cubicBezTo>
                <a:cubicBezTo>
                  <a:pt x="3549" y="10121"/>
                  <a:pt x="3465" y="10049"/>
                  <a:pt x="3382" y="10049"/>
                </a:cubicBezTo>
                <a:lnTo>
                  <a:pt x="3073" y="10049"/>
                </a:lnTo>
                <a:lnTo>
                  <a:pt x="3073" y="9763"/>
                </a:lnTo>
                <a:cubicBezTo>
                  <a:pt x="3073" y="9668"/>
                  <a:pt x="3144" y="9585"/>
                  <a:pt x="3251" y="9585"/>
                </a:cubicBezTo>
                <a:close/>
                <a:moveTo>
                  <a:pt x="5454" y="0"/>
                </a:moveTo>
                <a:cubicBezTo>
                  <a:pt x="4989" y="0"/>
                  <a:pt x="4632" y="369"/>
                  <a:pt x="4632" y="822"/>
                </a:cubicBezTo>
                <a:cubicBezTo>
                  <a:pt x="4632" y="1072"/>
                  <a:pt x="4751" y="1298"/>
                  <a:pt x="4930" y="1453"/>
                </a:cubicBezTo>
                <a:lnTo>
                  <a:pt x="4930" y="1810"/>
                </a:lnTo>
                <a:lnTo>
                  <a:pt x="3894" y="1810"/>
                </a:lnTo>
                <a:cubicBezTo>
                  <a:pt x="3382" y="1810"/>
                  <a:pt x="2906" y="2024"/>
                  <a:pt x="2584" y="2370"/>
                </a:cubicBezTo>
                <a:cubicBezTo>
                  <a:pt x="2382" y="2572"/>
                  <a:pt x="2120" y="2691"/>
                  <a:pt x="1834" y="2691"/>
                </a:cubicBezTo>
                <a:lnTo>
                  <a:pt x="346" y="2691"/>
                </a:lnTo>
                <a:cubicBezTo>
                  <a:pt x="179" y="2691"/>
                  <a:pt x="48" y="2822"/>
                  <a:pt x="48" y="2989"/>
                </a:cubicBezTo>
                <a:lnTo>
                  <a:pt x="48" y="3382"/>
                </a:lnTo>
                <a:cubicBezTo>
                  <a:pt x="48" y="3536"/>
                  <a:pt x="179" y="3679"/>
                  <a:pt x="346" y="3679"/>
                </a:cubicBezTo>
                <a:lnTo>
                  <a:pt x="1263" y="3679"/>
                </a:lnTo>
                <a:lnTo>
                  <a:pt x="1" y="6477"/>
                </a:lnTo>
                <a:lnTo>
                  <a:pt x="1" y="6489"/>
                </a:lnTo>
                <a:lnTo>
                  <a:pt x="1" y="6501"/>
                </a:lnTo>
                <a:lnTo>
                  <a:pt x="1" y="6513"/>
                </a:lnTo>
                <a:lnTo>
                  <a:pt x="1" y="6537"/>
                </a:lnTo>
                <a:lnTo>
                  <a:pt x="1" y="6692"/>
                </a:lnTo>
                <a:cubicBezTo>
                  <a:pt x="1" y="7501"/>
                  <a:pt x="656" y="8168"/>
                  <a:pt x="1477" y="8168"/>
                </a:cubicBezTo>
                <a:lnTo>
                  <a:pt x="1596" y="8168"/>
                </a:lnTo>
                <a:cubicBezTo>
                  <a:pt x="2406" y="8168"/>
                  <a:pt x="3073" y="7513"/>
                  <a:pt x="3073" y="6692"/>
                </a:cubicBezTo>
                <a:lnTo>
                  <a:pt x="3073" y="6537"/>
                </a:lnTo>
                <a:lnTo>
                  <a:pt x="3073" y="6513"/>
                </a:lnTo>
                <a:lnTo>
                  <a:pt x="3073" y="6501"/>
                </a:lnTo>
                <a:lnTo>
                  <a:pt x="3073" y="6489"/>
                </a:lnTo>
                <a:lnTo>
                  <a:pt x="3073" y="6477"/>
                </a:lnTo>
                <a:lnTo>
                  <a:pt x="1811" y="3679"/>
                </a:lnTo>
                <a:lnTo>
                  <a:pt x="1930" y="3679"/>
                </a:lnTo>
                <a:cubicBezTo>
                  <a:pt x="2430" y="3679"/>
                  <a:pt x="2906" y="3465"/>
                  <a:pt x="3239" y="3120"/>
                </a:cubicBezTo>
                <a:cubicBezTo>
                  <a:pt x="3430" y="2917"/>
                  <a:pt x="3692" y="2798"/>
                  <a:pt x="3977" y="2798"/>
                </a:cubicBezTo>
                <a:lnTo>
                  <a:pt x="4942" y="2798"/>
                </a:lnTo>
                <a:lnTo>
                  <a:pt x="4942" y="9251"/>
                </a:lnTo>
                <a:lnTo>
                  <a:pt x="3275" y="9251"/>
                </a:lnTo>
                <a:cubicBezTo>
                  <a:pt x="3013" y="9251"/>
                  <a:pt x="2787" y="9478"/>
                  <a:pt x="2787" y="9752"/>
                </a:cubicBezTo>
                <a:lnTo>
                  <a:pt x="2787" y="10025"/>
                </a:lnTo>
                <a:lnTo>
                  <a:pt x="2501" y="10025"/>
                </a:lnTo>
                <a:cubicBezTo>
                  <a:pt x="2227" y="10025"/>
                  <a:pt x="2001" y="10252"/>
                  <a:pt x="2001" y="10537"/>
                </a:cubicBezTo>
                <a:lnTo>
                  <a:pt x="2001" y="11061"/>
                </a:lnTo>
                <a:cubicBezTo>
                  <a:pt x="2001" y="11145"/>
                  <a:pt x="2072" y="11216"/>
                  <a:pt x="2168" y="11216"/>
                </a:cubicBezTo>
                <a:lnTo>
                  <a:pt x="8799" y="11216"/>
                </a:lnTo>
                <a:cubicBezTo>
                  <a:pt x="8895" y="11216"/>
                  <a:pt x="8966" y="11145"/>
                  <a:pt x="8966" y="11061"/>
                </a:cubicBezTo>
                <a:lnTo>
                  <a:pt x="8966" y="10537"/>
                </a:lnTo>
                <a:cubicBezTo>
                  <a:pt x="8966" y="10252"/>
                  <a:pt x="8740" y="10025"/>
                  <a:pt x="8454" y="10025"/>
                </a:cubicBezTo>
                <a:lnTo>
                  <a:pt x="8180" y="10025"/>
                </a:lnTo>
                <a:lnTo>
                  <a:pt x="8180" y="9752"/>
                </a:lnTo>
                <a:cubicBezTo>
                  <a:pt x="8180" y="9478"/>
                  <a:pt x="7954" y="9251"/>
                  <a:pt x="7680" y="9251"/>
                </a:cubicBezTo>
                <a:lnTo>
                  <a:pt x="5978" y="9251"/>
                </a:lnTo>
                <a:lnTo>
                  <a:pt x="5978" y="4572"/>
                </a:lnTo>
                <a:cubicBezTo>
                  <a:pt x="5978" y="4477"/>
                  <a:pt x="5894" y="4406"/>
                  <a:pt x="5811" y="4406"/>
                </a:cubicBezTo>
                <a:cubicBezTo>
                  <a:pt x="5716" y="4406"/>
                  <a:pt x="5644" y="4477"/>
                  <a:pt x="5644" y="4572"/>
                </a:cubicBezTo>
                <a:lnTo>
                  <a:pt x="5644" y="9251"/>
                </a:lnTo>
                <a:lnTo>
                  <a:pt x="5240" y="9251"/>
                </a:lnTo>
                <a:lnTo>
                  <a:pt x="5240" y="2798"/>
                </a:lnTo>
                <a:lnTo>
                  <a:pt x="5644" y="2798"/>
                </a:lnTo>
                <a:lnTo>
                  <a:pt x="5644" y="3536"/>
                </a:lnTo>
                <a:cubicBezTo>
                  <a:pt x="5644" y="3632"/>
                  <a:pt x="5716" y="3703"/>
                  <a:pt x="5811" y="3703"/>
                </a:cubicBezTo>
                <a:cubicBezTo>
                  <a:pt x="5894" y="3703"/>
                  <a:pt x="5978" y="3632"/>
                  <a:pt x="5978" y="3536"/>
                </a:cubicBezTo>
                <a:lnTo>
                  <a:pt x="5978" y="2798"/>
                </a:lnTo>
                <a:lnTo>
                  <a:pt x="7002" y="2798"/>
                </a:lnTo>
                <a:cubicBezTo>
                  <a:pt x="7240" y="2798"/>
                  <a:pt x="7466" y="2905"/>
                  <a:pt x="7621" y="3060"/>
                </a:cubicBezTo>
                <a:cubicBezTo>
                  <a:pt x="8002" y="3453"/>
                  <a:pt x="8502" y="3679"/>
                  <a:pt x="9050" y="3679"/>
                </a:cubicBezTo>
                <a:lnTo>
                  <a:pt x="9097" y="3679"/>
                </a:lnTo>
                <a:lnTo>
                  <a:pt x="7835" y="6477"/>
                </a:lnTo>
                <a:lnTo>
                  <a:pt x="7835" y="6489"/>
                </a:lnTo>
                <a:lnTo>
                  <a:pt x="7835" y="6501"/>
                </a:lnTo>
                <a:lnTo>
                  <a:pt x="7835" y="6513"/>
                </a:lnTo>
                <a:lnTo>
                  <a:pt x="7835" y="6537"/>
                </a:lnTo>
                <a:lnTo>
                  <a:pt x="7835" y="6692"/>
                </a:lnTo>
                <a:cubicBezTo>
                  <a:pt x="7835" y="7501"/>
                  <a:pt x="8490" y="8168"/>
                  <a:pt x="9311" y="8168"/>
                </a:cubicBezTo>
                <a:lnTo>
                  <a:pt x="9431" y="8168"/>
                </a:lnTo>
                <a:cubicBezTo>
                  <a:pt x="10228" y="8168"/>
                  <a:pt x="10895" y="7513"/>
                  <a:pt x="10895" y="6692"/>
                </a:cubicBezTo>
                <a:lnTo>
                  <a:pt x="10895" y="6537"/>
                </a:lnTo>
                <a:lnTo>
                  <a:pt x="10895" y="6513"/>
                </a:lnTo>
                <a:lnTo>
                  <a:pt x="10895" y="6501"/>
                </a:lnTo>
                <a:lnTo>
                  <a:pt x="10895" y="6489"/>
                </a:lnTo>
                <a:lnTo>
                  <a:pt x="10895" y="6465"/>
                </a:lnTo>
                <a:lnTo>
                  <a:pt x="9633" y="3667"/>
                </a:lnTo>
                <a:lnTo>
                  <a:pt x="10562" y="3667"/>
                </a:lnTo>
                <a:cubicBezTo>
                  <a:pt x="10716" y="3667"/>
                  <a:pt x="10859" y="3536"/>
                  <a:pt x="10859" y="3370"/>
                </a:cubicBezTo>
                <a:lnTo>
                  <a:pt x="10859" y="2989"/>
                </a:lnTo>
                <a:cubicBezTo>
                  <a:pt x="10859" y="2822"/>
                  <a:pt x="10716" y="2691"/>
                  <a:pt x="10562" y="2691"/>
                </a:cubicBezTo>
                <a:lnTo>
                  <a:pt x="9073" y="2691"/>
                </a:lnTo>
                <a:cubicBezTo>
                  <a:pt x="8788" y="2691"/>
                  <a:pt x="8514" y="2572"/>
                  <a:pt x="8323" y="2370"/>
                </a:cubicBezTo>
                <a:cubicBezTo>
                  <a:pt x="8002" y="2012"/>
                  <a:pt x="7502" y="1810"/>
                  <a:pt x="7014" y="1810"/>
                </a:cubicBezTo>
                <a:lnTo>
                  <a:pt x="5978" y="1810"/>
                </a:lnTo>
                <a:lnTo>
                  <a:pt x="5978" y="1453"/>
                </a:lnTo>
                <a:cubicBezTo>
                  <a:pt x="6156" y="1310"/>
                  <a:pt x="6275" y="1072"/>
                  <a:pt x="6275" y="822"/>
                </a:cubicBezTo>
                <a:cubicBezTo>
                  <a:pt x="6275" y="358"/>
                  <a:pt x="5894" y="0"/>
                  <a:pt x="5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589" name="Google Shape;10589;p59"/>
          <p:cNvGrpSpPr/>
          <p:nvPr/>
        </p:nvGrpSpPr>
        <p:grpSpPr>
          <a:xfrm>
            <a:off x="3974207" y="2429009"/>
            <a:ext cx="320143" cy="338491"/>
            <a:chOff x="3974207" y="2429009"/>
            <a:chExt cx="320143" cy="338491"/>
          </a:xfrm>
        </p:grpSpPr>
        <p:sp>
          <p:nvSpPr>
            <p:cNvPr id="10590" name="Google Shape;10590;p59"/>
            <p:cNvSpPr/>
            <p:nvPr/>
          </p:nvSpPr>
          <p:spPr>
            <a:xfrm>
              <a:off x="3974207" y="2429009"/>
              <a:ext cx="320143" cy="338491"/>
            </a:xfrm>
            <a:custGeom>
              <a:avLst/>
              <a:gdLst/>
              <a:ahLst/>
              <a:cxnLst/>
              <a:rect l="l" t="t" r="r" b="b"/>
              <a:pathLst>
                <a:path w="10050" h="10626" extrusionOk="0">
                  <a:moveTo>
                    <a:pt x="9390" y="0"/>
                  </a:moveTo>
                  <a:cubicBezTo>
                    <a:pt x="9344" y="0"/>
                    <a:pt x="9298" y="6"/>
                    <a:pt x="9251" y="17"/>
                  </a:cubicBezTo>
                  <a:lnTo>
                    <a:pt x="3132" y="1100"/>
                  </a:lnTo>
                  <a:cubicBezTo>
                    <a:pt x="2798" y="1160"/>
                    <a:pt x="2560" y="1445"/>
                    <a:pt x="2560" y="1779"/>
                  </a:cubicBezTo>
                  <a:lnTo>
                    <a:pt x="2560" y="6803"/>
                  </a:lnTo>
                  <a:cubicBezTo>
                    <a:pt x="2358" y="6744"/>
                    <a:pt x="2143" y="6708"/>
                    <a:pt x="1929" y="6708"/>
                  </a:cubicBezTo>
                  <a:cubicBezTo>
                    <a:pt x="1417" y="6720"/>
                    <a:pt x="941" y="6934"/>
                    <a:pt x="584" y="7291"/>
                  </a:cubicBezTo>
                  <a:cubicBezTo>
                    <a:pt x="226" y="7649"/>
                    <a:pt x="24" y="8125"/>
                    <a:pt x="24" y="8625"/>
                  </a:cubicBezTo>
                  <a:cubicBezTo>
                    <a:pt x="0" y="9161"/>
                    <a:pt x="215" y="9649"/>
                    <a:pt x="584" y="10042"/>
                  </a:cubicBezTo>
                  <a:cubicBezTo>
                    <a:pt x="953" y="10411"/>
                    <a:pt x="1453" y="10625"/>
                    <a:pt x="1965" y="10625"/>
                  </a:cubicBezTo>
                  <a:lnTo>
                    <a:pt x="2001" y="10625"/>
                  </a:lnTo>
                  <a:cubicBezTo>
                    <a:pt x="3060" y="10613"/>
                    <a:pt x="3917" y="9732"/>
                    <a:pt x="3917" y="8649"/>
                  </a:cubicBezTo>
                  <a:lnTo>
                    <a:pt x="3917" y="4684"/>
                  </a:lnTo>
                  <a:cubicBezTo>
                    <a:pt x="3917" y="4577"/>
                    <a:pt x="3834" y="4493"/>
                    <a:pt x="3727" y="4493"/>
                  </a:cubicBezTo>
                  <a:cubicBezTo>
                    <a:pt x="3620" y="4493"/>
                    <a:pt x="3536" y="4577"/>
                    <a:pt x="3536" y="4684"/>
                  </a:cubicBezTo>
                  <a:lnTo>
                    <a:pt x="3536" y="8613"/>
                  </a:lnTo>
                  <a:cubicBezTo>
                    <a:pt x="3536" y="9482"/>
                    <a:pt x="2834" y="10196"/>
                    <a:pt x="1989" y="10208"/>
                  </a:cubicBezTo>
                  <a:lnTo>
                    <a:pt x="1953" y="10208"/>
                  </a:lnTo>
                  <a:cubicBezTo>
                    <a:pt x="1536" y="10208"/>
                    <a:pt x="1131" y="10042"/>
                    <a:pt x="834" y="9744"/>
                  </a:cubicBezTo>
                  <a:cubicBezTo>
                    <a:pt x="536" y="9446"/>
                    <a:pt x="381" y="9030"/>
                    <a:pt x="381" y="8613"/>
                  </a:cubicBezTo>
                  <a:cubicBezTo>
                    <a:pt x="393" y="7779"/>
                    <a:pt x="1072" y="7089"/>
                    <a:pt x="1905" y="7065"/>
                  </a:cubicBezTo>
                  <a:cubicBezTo>
                    <a:pt x="2167" y="7065"/>
                    <a:pt x="2417" y="7113"/>
                    <a:pt x="2643" y="7232"/>
                  </a:cubicBezTo>
                  <a:cubicBezTo>
                    <a:pt x="2670" y="7242"/>
                    <a:pt x="2699" y="7248"/>
                    <a:pt x="2728" y="7248"/>
                  </a:cubicBezTo>
                  <a:cubicBezTo>
                    <a:pt x="2762" y="7248"/>
                    <a:pt x="2796" y="7240"/>
                    <a:pt x="2822" y="7220"/>
                  </a:cubicBezTo>
                  <a:cubicBezTo>
                    <a:pt x="2882" y="7184"/>
                    <a:pt x="2905" y="7125"/>
                    <a:pt x="2905" y="7053"/>
                  </a:cubicBezTo>
                  <a:lnTo>
                    <a:pt x="2905" y="1767"/>
                  </a:lnTo>
                  <a:cubicBezTo>
                    <a:pt x="2905" y="1624"/>
                    <a:pt x="3013" y="1481"/>
                    <a:pt x="3155" y="1457"/>
                  </a:cubicBezTo>
                  <a:lnTo>
                    <a:pt x="9275" y="374"/>
                  </a:lnTo>
                  <a:cubicBezTo>
                    <a:pt x="9296" y="369"/>
                    <a:pt x="9315" y="366"/>
                    <a:pt x="9335" y="366"/>
                  </a:cubicBezTo>
                  <a:cubicBezTo>
                    <a:pt x="9406" y="366"/>
                    <a:pt x="9469" y="398"/>
                    <a:pt x="9525" y="445"/>
                  </a:cubicBezTo>
                  <a:cubicBezTo>
                    <a:pt x="9609" y="505"/>
                    <a:pt x="9644" y="588"/>
                    <a:pt x="9644" y="683"/>
                  </a:cubicBezTo>
                  <a:lnTo>
                    <a:pt x="9644" y="2767"/>
                  </a:lnTo>
                  <a:cubicBezTo>
                    <a:pt x="9644" y="2874"/>
                    <a:pt x="9740" y="2957"/>
                    <a:pt x="9847" y="2957"/>
                  </a:cubicBezTo>
                  <a:cubicBezTo>
                    <a:pt x="9942" y="2957"/>
                    <a:pt x="10037" y="2874"/>
                    <a:pt x="10037" y="2767"/>
                  </a:cubicBezTo>
                  <a:lnTo>
                    <a:pt x="10037" y="683"/>
                  </a:lnTo>
                  <a:cubicBezTo>
                    <a:pt x="10049" y="469"/>
                    <a:pt x="9966" y="279"/>
                    <a:pt x="9811" y="159"/>
                  </a:cubicBezTo>
                  <a:cubicBezTo>
                    <a:pt x="9683" y="59"/>
                    <a:pt x="9541" y="0"/>
                    <a:pt x="93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1" name="Google Shape;10591;p59"/>
            <p:cNvSpPr/>
            <p:nvPr/>
          </p:nvSpPr>
          <p:spPr>
            <a:xfrm>
              <a:off x="4086846" y="2479977"/>
              <a:ext cx="207503" cy="245793"/>
            </a:xfrm>
            <a:custGeom>
              <a:avLst/>
              <a:gdLst/>
              <a:ahLst/>
              <a:cxnLst/>
              <a:rect l="l" t="t" r="r" b="b"/>
              <a:pathLst>
                <a:path w="6514" h="7716" extrusionOk="0">
                  <a:moveTo>
                    <a:pt x="5299" y="0"/>
                  </a:moveTo>
                  <a:lnTo>
                    <a:pt x="143" y="905"/>
                  </a:lnTo>
                  <a:cubicBezTo>
                    <a:pt x="60" y="929"/>
                    <a:pt x="0" y="1000"/>
                    <a:pt x="0" y="1084"/>
                  </a:cubicBezTo>
                  <a:lnTo>
                    <a:pt x="0" y="2131"/>
                  </a:lnTo>
                  <a:cubicBezTo>
                    <a:pt x="0" y="2239"/>
                    <a:pt x="84" y="2322"/>
                    <a:pt x="191" y="2322"/>
                  </a:cubicBezTo>
                  <a:cubicBezTo>
                    <a:pt x="298" y="2322"/>
                    <a:pt x="381" y="2239"/>
                    <a:pt x="381" y="2131"/>
                  </a:cubicBezTo>
                  <a:lnTo>
                    <a:pt x="381" y="1250"/>
                  </a:lnTo>
                  <a:lnTo>
                    <a:pt x="5156" y="405"/>
                  </a:lnTo>
                  <a:lnTo>
                    <a:pt x="5156" y="3882"/>
                  </a:lnTo>
                  <a:cubicBezTo>
                    <a:pt x="4953" y="3834"/>
                    <a:pt x="4739" y="3798"/>
                    <a:pt x="4525" y="3798"/>
                  </a:cubicBezTo>
                  <a:cubicBezTo>
                    <a:pt x="4013" y="3810"/>
                    <a:pt x="3537" y="4024"/>
                    <a:pt x="3179" y="4382"/>
                  </a:cubicBezTo>
                  <a:cubicBezTo>
                    <a:pt x="2822" y="4739"/>
                    <a:pt x="2620" y="5215"/>
                    <a:pt x="2620" y="5715"/>
                  </a:cubicBezTo>
                  <a:cubicBezTo>
                    <a:pt x="2596" y="6251"/>
                    <a:pt x="2810" y="6739"/>
                    <a:pt x="3179" y="7132"/>
                  </a:cubicBezTo>
                  <a:cubicBezTo>
                    <a:pt x="3548" y="7501"/>
                    <a:pt x="4037" y="7715"/>
                    <a:pt x="4561" y="7715"/>
                  </a:cubicBezTo>
                  <a:lnTo>
                    <a:pt x="4596" y="7715"/>
                  </a:lnTo>
                  <a:cubicBezTo>
                    <a:pt x="5656" y="7692"/>
                    <a:pt x="6513" y="6822"/>
                    <a:pt x="6513" y="5727"/>
                  </a:cubicBezTo>
                  <a:lnTo>
                    <a:pt x="6513" y="2024"/>
                  </a:lnTo>
                  <a:cubicBezTo>
                    <a:pt x="6513" y="1941"/>
                    <a:pt x="6442" y="1846"/>
                    <a:pt x="6335" y="1846"/>
                  </a:cubicBezTo>
                  <a:cubicBezTo>
                    <a:pt x="6227" y="1846"/>
                    <a:pt x="6144" y="1941"/>
                    <a:pt x="6144" y="2048"/>
                  </a:cubicBezTo>
                  <a:lnTo>
                    <a:pt x="6144" y="5751"/>
                  </a:lnTo>
                  <a:cubicBezTo>
                    <a:pt x="6144" y="6608"/>
                    <a:pt x="5442" y="7322"/>
                    <a:pt x="4596" y="7346"/>
                  </a:cubicBezTo>
                  <a:lnTo>
                    <a:pt x="4561" y="7346"/>
                  </a:lnTo>
                  <a:cubicBezTo>
                    <a:pt x="4144" y="7346"/>
                    <a:pt x="3751" y="7180"/>
                    <a:pt x="3453" y="6882"/>
                  </a:cubicBezTo>
                  <a:cubicBezTo>
                    <a:pt x="3156" y="6584"/>
                    <a:pt x="2989" y="6168"/>
                    <a:pt x="2989" y="5751"/>
                  </a:cubicBezTo>
                  <a:cubicBezTo>
                    <a:pt x="3001" y="4917"/>
                    <a:pt x="3691" y="4227"/>
                    <a:pt x="4525" y="4203"/>
                  </a:cubicBezTo>
                  <a:cubicBezTo>
                    <a:pt x="4775" y="4203"/>
                    <a:pt x="5025" y="4251"/>
                    <a:pt x="5251" y="4370"/>
                  </a:cubicBezTo>
                  <a:cubicBezTo>
                    <a:pt x="5276" y="4380"/>
                    <a:pt x="5302" y="4385"/>
                    <a:pt x="5329" y="4385"/>
                  </a:cubicBezTo>
                  <a:cubicBezTo>
                    <a:pt x="5366" y="4385"/>
                    <a:pt x="5402" y="4374"/>
                    <a:pt x="5430" y="4346"/>
                  </a:cubicBezTo>
                  <a:cubicBezTo>
                    <a:pt x="5489" y="4322"/>
                    <a:pt x="5513" y="4263"/>
                    <a:pt x="5513" y="4179"/>
                  </a:cubicBezTo>
                  <a:lnTo>
                    <a:pt x="5513" y="191"/>
                  </a:lnTo>
                  <a:cubicBezTo>
                    <a:pt x="5513" y="131"/>
                    <a:pt x="5489" y="95"/>
                    <a:pt x="5442" y="48"/>
                  </a:cubicBezTo>
                  <a:cubicBezTo>
                    <a:pt x="5394" y="12"/>
                    <a:pt x="5334"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2" name="Google Shape;10592;p59"/>
          <p:cNvGrpSpPr/>
          <p:nvPr/>
        </p:nvGrpSpPr>
        <p:grpSpPr>
          <a:xfrm>
            <a:off x="2623237" y="2431047"/>
            <a:ext cx="355024" cy="332630"/>
            <a:chOff x="2623237" y="2431047"/>
            <a:chExt cx="355024" cy="332630"/>
          </a:xfrm>
        </p:grpSpPr>
        <p:sp>
          <p:nvSpPr>
            <p:cNvPr id="10593" name="Google Shape;10593;p59"/>
            <p:cNvSpPr/>
            <p:nvPr/>
          </p:nvSpPr>
          <p:spPr>
            <a:xfrm>
              <a:off x="2655856" y="2604370"/>
              <a:ext cx="48579" cy="64506"/>
            </a:xfrm>
            <a:custGeom>
              <a:avLst/>
              <a:gdLst/>
              <a:ahLst/>
              <a:cxnLst/>
              <a:rect l="l" t="t" r="r" b="b"/>
              <a:pathLst>
                <a:path w="1525" h="2025" extrusionOk="0">
                  <a:moveTo>
                    <a:pt x="762" y="346"/>
                  </a:moveTo>
                  <a:cubicBezTo>
                    <a:pt x="1000" y="346"/>
                    <a:pt x="1191" y="536"/>
                    <a:pt x="1191" y="774"/>
                  </a:cubicBezTo>
                  <a:lnTo>
                    <a:pt x="1191" y="1715"/>
                  </a:lnTo>
                  <a:lnTo>
                    <a:pt x="345" y="1715"/>
                  </a:lnTo>
                  <a:lnTo>
                    <a:pt x="345" y="774"/>
                  </a:lnTo>
                  <a:lnTo>
                    <a:pt x="334" y="774"/>
                  </a:lnTo>
                  <a:cubicBezTo>
                    <a:pt x="334" y="536"/>
                    <a:pt x="524" y="346"/>
                    <a:pt x="762" y="346"/>
                  </a:cubicBezTo>
                  <a:close/>
                  <a:moveTo>
                    <a:pt x="762" y="0"/>
                  </a:moveTo>
                  <a:cubicBezTo>
                    <a:pt x="345" y="0"/>
                    <a:pt x="0" y="346"/>
                    <a:pt x="0" y="762"/>
                  </a:cubicBezTo>
                  <a:lnTo>
                    <a:pt x="0" y="1858"/>
                  </a:lnTo>
                  <a:cubicBezTo>
                    <a:pt x="0" y="1953"/>
                    <a:pt x="72" y="2024"/>
                    <a:pt x="167" y="2024"/>
                  </a:cubicBezTo>
                  <a:lnTo>
                    <a:pt x="1357" y="2024"/>
                  </a:lnTo>
                  <a:cubicBezTo>
                    <a:pt x="1441" y="2024"/>
                    <a:pt x="1524" y="1953"/>
                    <a:pt x="1524" y="1858"/>
                  </a:cubicBezTo>
                  <a:lnTo>
                    <a:pt x="1524" y="762"/>
                  </a:lnTo>
                  <a:cubicBezTo>
                    <a:pt x="1524" y="346"/>
                    <a:pt x="1179"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4" name="Google Shape;10594;p59"/>
            <p:cNvSpPr/>
            <p:nvPr/>
          </p:nvSpPr>
          <p:spPr>
            <a:xfrm>
              <a:off x="2623237" y="2431047"/>
              <a:ext cx="355024" cy="332630"/>
            </a:xfrm>
            <a:custGeom>
              <a:avLst/>
              <a:gdLst/>
              <a:ahLst/>
              <a:cxnLst/>
              <a:rect l="l" t="t" r="r" b="b"/>
              <a:pathLst>
                <a:path w="11145" h="10442" extrusionOk="0">
                  <a:moveTo>
                    <a:pt x="8692" y="2608"/>
                  </a:moveTo>
                  <a:cubicBezTo>
                    <a:pt x="8716" y="2608"/>
                    <a:pt x="8751" y="2643"/>
                    <a:pt x="8751" y="2667"/>
                  </a:cubicBezTo>
                  <a:lnTo>
                    <a:pt x="8751" y="3024"/>
                  </a:lnTo>
                  <a:cubicBezTo>
                    <a:pt x="8751" y="3060"/>
                    <a:pt x="8716" y="3084"/>
                    <a:pt x="8692" y="3084"/>
                  </a:cubicBezTo>
                  <a:lnTo>
                    <a:pt x="2453" y="3084"/>
                  </a:lnTo>
                  <a:cubicBezTo>
                    <a:pt x="2441" y="3084"/>
                    <a:pt x="2405" y="3060"/>
                    <a:pt x="2405" y="3024"/>
                  </a:cubicBezTo>
                  <a:lnTo>
                    <a:pt x="2405" y="2667"/>
                  </a:lnTo>
                  <a:cubicBezTo>
                    <a:pt x="2405" y="2643"/>
                    <a:pt x="2441" y="2608"/>
                    <a:pt x="2465" y="2608"/>
                  </a:cubicBezTo>
                  <a:close/>
                  <a:moveTo>
                    <a:pt x="8096" y="3405"/>
                  </a:moveTo>
                  <a:lnTo>
                    <a:pt x="8096" y="3834"/>
                  </a:lnTo>
                  <a:lnTo>
                    <a:pt x="7977" y="3953"/>
                  </a:lnTo>
                  <a:lnTo>
                    <a:pt x="7227" y="3953"/>
                  </a:lnTo>
                  <a:lnTo>
                    <a:pt x="7108" y="3834"/>
                  </a:lnTo>
                  <a:lnTo>
                    <a:pt x="7108" y="3405"/>
                  </a:lnTo>
                  <a:close/>
                  <a:moveTo>
                    <a:pt x="4048" y="3417"/>
                  </a:moveTo>
                  <a:lnTo>
                    <a:pt x="4048" y="3846"/>
                  </a:lnTo>
                  <a:lnTo>
                    <a:pt x="3929" y="3965"/>
                  </a:lnTo>
                  <a:lnTo>
                    <a:pt x="3179" y="3965"/>
                  </a:lnTo>
                  <a:lnTo>
                    <a:pt x="3060" y="3846"/>
                  </a:lnTo>
                  <a:lnTo>
                    <a:pt x="3060" y="3417"/>
                  </a:lnTo>
                  <a:close/>
                  <a:moveTo>
                    <a:pt x="2739" y="3417"/>
                  </a:moveTo>
                  <a:lnTo>
                    <a:pt x="2739" y="3905"/>
                  </a:lnTo>
                  <a:cubicBezTo>
                    <a:pt x="2739" y="3953"/>
                    <a:pt x="2751" y="4001"/>
                    <a:pt x="2774" y="4025"/>
                  </a:cubicBezTo>
                  <a:lnTo>
                    <a:pt x="2941" y="4191"/>
                  </a:lnTo>
                  <a:lnTo>
                    <a:pt x="2941" y="4667"/>
                  </a:lnTo>
                  <a:lnTo>
                    <a:pt x="357" y="4667"/>
                  </a:lnTo>
                  <a:lnTo>
                    <a:pt x="476" y="3453"/>
                  </a:lnTo>
                  <a:cubicBezTo>
                    <a:pt x="476" y="3429"/>
                    <a:pt x="500" y="3417"/>
                    <a:pt x="536" y="3417"/>
                  </a:cubicBezTo>
                  <a:close/>
                  <a:moveTo>
                    <a:pt x="10621" y="3417"/>
                  </a:moveTo>
                  <a:cubicBezTo>
                    <a:pt x="10656" y="3417"/>
                    <a:pt x="10668" y="3429"/>
                    <a:pt x="10680" y="3453"/>
                  </a:cubicBezTo>
                  <a:lnTo>
                    <a:pt x="10799" y="4667"/>
                  </a:lnTo>
                  <a:lnTo>
                    <a:pt x="8204" y="4667"/>
                  </a:lnTo>
                  <a:lnTo>
                    <a:pt x="8204" y="4191"/>
                  </a:lnTo>
                  <a:lnTo>
                    <a:pt x="8382" y="4025"/>
                  </a:lnTo>
                  <a:cubicBezTo>
                    <a:pt x="8406" y="4001"/>
                    <a:pt x="8418" y="3953"/>
                    <a:pt x="8418" y="3905"/>
                  </a:cubicBezTo>
                  <a:lnTo>
                    <a:pt x="8418" y="3417"/>
                  </a:lnTo>
                  <a:close/>
                  <a:moveTo>
                    <a:pt x="3834" y="4298"/>
                  </a:moveTo>
                  <a:lnTo>
                    <a:pt x="3834" y="7644"/>
                  </a:lnTo>
                  <a:lnTo>
                    <a:pt x="3286" y="7644"/>
                  </a:lnTo>
                  <a:lnTo>
                    <a:pt x="3286" y="4298"/>
                  </a:lnTo>
                  <a:close/>
                  <a:moveTo>
                    <a:pt x="7870" y="4298"/>
                  </a:moveTo>
                  <a:lnTo>
                    <a:pt x="7870" y="7644"/>
                  </a:lnTo>
                  <a:lnTo>
                    <a:pt x="7323" y="7644"/>
                  </a:lnTo>
                  <a:lnTo>
                    <a:pt x="7323" y="4298"/>
                  </a:lnTo>
                  <a:close/>
                  <a:moveTo>
                    <a:pt x="5563" y="6230"/>
                  </a:moveTo>
                  <a:cubicBezTo>
                    <a:pt x="5617" y="6230"/>
                    <a:pt x="5674" y="6245"/>
                    <a:pt x="5727" y="6275"/>
                  </a:cubicBezTo>
                  <a:lnTo>
                    <a:pt x="6013" y="6465"/>
                  </a:lnTo>
                  <a:cubicBezTo>
                    <a:pt x="6084" y="6513"/>
                    <a:pt x="6132" y="6596"/>
                    <a:pt x="6132" y="6692"/>
                  </a:cubicBezTo>
                  <a:lnTo>
                    <a:pt x="6132" y="8525"/>
                  </a:lnTo>
                  <a:lnTo>
                    <a:pt x="5013" y="8525"/>
                  </a:lnTo>
                  <a:lnTo>
                    <a:pt x="5013" y="6692"/>
                  </a:lnTo>
                  <a:cubicBezTo>
                    <a:pt x="5013" y="6596"/>
                    <a:pt x="5060" y="6513"/>
                    <a:pt x="5132" y="6465"/>
                  </a:cubicBezTo>
                  <a:lnTo>
                    <a:pt x="5418" y="6275"/>
                  </a:lnTo>
                  <a:cubicBezTo>
                    <a:pt x="5459" y="6245"/>
                    <a:pt x="5510" y="6230"/>
                    <a:pt x="5563" y="6230"/>
                  </a:cubicBezTo>
                  <a:close/>
                  <a:moveTo>
                    <a:pt x="3929" y="7989"/>
                  </a:moveTo>
                  <a:lnTo>
                    <a:pt x="4048" y="8108"/>
                  </a:lnTo>
                  <a:lnTo>
                    <a:pt x="4048" y="8537"/>
                  </a:lnTo>
                  <a:lnTo>
                    <a:pt x="3060" y="8537"/>
                  </a:lnTo>
                  <a:lnTo>
                    <a:pt x="3060" y="8108"/>
                  </a:lnTo>
                  <a:lnTo>
                    <a:pt x="3179" y="7989"/>
                  </a:lnTo>
                  <a:close/>
                  <a:moveTo>
                    <a:pt x="7954" y="7989"/>
                  </a:moveTo>
                  <a:lnTo>
                    <a:pt x="8073" y="8108"/>
                  </a:lnTo>
                  <a:lnTo>
                    <a:pt x="8073" y="8537"/>
                  </a:lnTo>
                  <a:lnTo>
                    <a:pt x="7096" y="8537"/>
                  </a:lnTo>
                  <a:lnTo>
                    <a:pt x="7096" y="8525"/>
                  </a:lnTo>
                  <a:lnTo>
                    <a:pt x="7096" y="8108"/>
                  </a:lnTo>
                  <a:lnTo>
                    <a:pt x="7215" y="7989"/>
                  </a:lnTo>
                  <a:close/>
                  <a:moveTo>
                    <a:pt x="6787" y="3429"/>
                  </a:moveTo>
                  <a:lnTo>
                    <a:pt x="6787" y="3917"/>
                  </a:lnTo>
                  <a:cubicBezTo>
                    <a:pt x="6787" y="3965"/>
                    <a:pt x="6799" y="4013"/>
                    <a:pt x="6834" y="4036"/>
                  </a:cubicBezTo>
                  <a:lnTo>
                    <a:pt x="7013" y="4215"/>
                  </a:lnTo>
                  <a:lnTo>
                    <a:pt x="7013" y="7763"/>
                  </a:lnTo>
                  <a:lnTo>
                    <a:pt x="6834" y="7942"/>
                  </a:lnTo>
                  <a:cubicBezTo>
                    <a:pt x="6799" y="7966"/>
                    <a:pt x="6787" y="8013"/>
                    <a:pt x="6787" y="8061"/>
                  </a:cubicBezTo>
                  <a:lnTo>
                    <a:pt x="6787" y="8549"/>
                  </a:lnTo>
                  <a:lnTo>
                    <a:pt x="6477" y="8525"/>
                  </a:lnTo>
                  <a:lnTo>
                    <a:pt x="6477" y="6692"/>
                  </a:lnTo>
                  <a:cubicBezTo>
                    <a:pt x="6477" y="6501"/>
                    <a:pt x="6370" y="6299"/>
                    <a:pt x="6203" y="6180"/>
                  </a:cubicBezTo>
                  <a:lnTo>
                    <a:pt x="5918" y="5989"/>
                  </a:lnTo>
                  <a:cubicBezTo>
                    <a:pt x="5816" y="5924"/>
                    <a:pt x="5703" y="5891"/>
                    <a:pt x="5589" y="5891"/>
                  </a:cubicBezTo>
                  <a:cubicBezTo>
                    <a:pt x="5474" y="5891"/>
                    <a:pt x="5358" y="5924"/>
                    <a:pt x="5251" y="5989"/>
                  </a:cubicBezTo>
                  <a:lnTo>
                    <a:pt x="4965" y="6180"/>
                  </a:lnTo>
                  <a:cubicBezTo>
                    <a:pt x="4810" y="6299"/>
                    <a:pt x="4703" y="6477"/>
                    <a:pt x="4703" y="6692"/>
                  </a:cubicBezTo>
                  <a:lnTo>
                    <a:pt x="4703" y="8525"/>
                  </a:lnTo>
                  <a:lnTo>
                    <a:pt x="4394" y="8525"/>
                  </a:lnTo>
                  <a:lnTo>
                    <a:pt x="4394" y="8025"/>
                  </a:lnTo>
                  <a:cubicBezTo>
                    <a:pt x="4394" y="7989"/>
                    <a:pt x="4370" y="7942"/>
                    <a:pt x="4346" y="7906"/>
                  </a:cubicBezTo>
                  <a:lnTo>
                    <a:pt x="4167" y="7751"/>
                  </a:lnTo>
                  <a:lnTo>
                    <a:pt x="4167" y="4203"/>
                  </a:lnTo>
                  <a:lnTo>
                    <a:pt x="4346" y="4036"/>
                  </a:lnTo>
                  <a:cubicBezTo>
                    <a:pt x="4370" y="4013"/>
                    <a:pt x="4394" y="3965"/>
                    <a:pt x="4394" y="3917"/>
                  </a:cubicBezTo>
                  <a:lnTo>
                    <a:pt x="4394" y="3429"/>
                  </a:lnTo>
                  <a:close/>
                  <a:moveTo>
                    <a:pt x="8525" y="8847"/>
                  </a:moveTo>
                  <a:lnTo>
                    <a:pt x="8525" y="9311"/>
                  </a:lnTo>
                  <a:lnTo>
                    <a:pt x="2631" y="9311"/>
                  </a:lnTo>
                  <a:lnTo>
                    <a:pt x="2631" y="8847"/>
                  </a:lnTo>
                  <a:close/>
                  <a:moveTo>
                    <a:pt x="1858" y="9632"/>
                  </a:moveTo>
                  <a:lnTo>
                    <a:pt x="1858" y="10097"/>
                  </a:lnTo>
                  <a:lnTo>
                    <a:pt x="607" y="10097"/>
                  </a:lnTo>
                  <a:lnTo>
                    <a:pt x="607" y="9632"/>
                  </a:lnTo>
                  <a:close/>
                  <a:moveTo>
                    <a:pt x="8978" y="9632"/>
                  </a:moveTo>
                  <a:lnTo>
                    <a:pt x="8978" y="10097"/>
                  </a:lnTo>
                  <a:lnTo>
                    <a:pt x="2203" y="10097"/>
                  </a:lnTo>
                  <a:lnTo>
                    <a:pt x="2203" y="9632"/>
                  </a:lnTo>
                  <a:close/>
                  <a:moveTo>
                    <a:pt x="10549" y="9632"/>
                  </a:moveTo>
                  <a:lnTo>
                    <a:pt x="10549" y="10097"/>
                  </a:lnTo>
                  <a:lnTo>
                    <a:pt x="9299" y="10097"/>
                  </a:lnTo>
                  <a:lnTo>
                    <a:pt x="9299" y="9632"/>
                  </a:lnTo>
                  <a:close/>
                  <a:moveTo>
                    <a:pt x="5566" y="0"/>
                  </a:moveTo>
                  <a:cubicBezTo>
                    <a:pt x="5531" y="0"/>
                    <a:pt x="5495" y="12"/>
                    <a:pt x="5465" y="36"/>
                  </a:cubicBezTo>
                  <a:lnTo>
                    <a:pt x="4417" y="857"/>
                  </a:lnTo>
                  <a:cubicBezTo>
                    <a:pt x="4346" y="917"/>
                    <a:pt x="4334" y="1024"/>
                    <a:pt x="4394" y="1096"/>
                  </a:cubicBezTo>
                  <a:cubicBezTo>
                    <a:pt x="4427" y="1136"/>
                    <a:pt x="4473" y="1158"/>
                    <a:pt x="4521" y="1158"/>
                  </a:cubicBezTo>
                  <a:cubicBezTo>
                    <a:pt x="4557" y="1158"/>
                    <a:pt x="4596" y="1145"/>
                    <a:pt x="4632" y="1119"/>
                  </a:cubicBezTo>
                  <a:lnTo>
                    <a:pt x="5560" y="393"/>
                  </a:lnTo>
                  <a:lnTo>
                    <a:pt x="8025" y="2298"/>
                  </a:lnTo>
                  <a:lnTo>
                    <a:pt x="3143" y="2298"/>
                  </a:lnTo>
                  <a:lnTo>
                    <a:pt x="4036" y="1596"/>
                  </a:lnTo>
                  <a:cubicBezTo>
                    <a:pt x="4108" y="1536"/>
                    <a:pt x="4120" y="1441"/>
                    <a:pt x="4060" y="1358"/>
                  </a:cubicBezTo>
                  <a:cubicBezTo>
                    <a:pt x="4026" y="1317"/>
                    <a:pt x="3977" y="1296"/>
                    <a:pt x="3928" y="1296"/>
                  </a:cubicBezTo>
                  <a:cubicBezTo>
                    <a:pt x="3891" y="1296"/>
                    <a:pt x="3853" y="1308"/>
                    <a:pt x="3822" y="1334"/>
                  </a:cubicBezTo>
                  <a:lnTo>
                    <a:pt x="2584" y="2298"/>
                  </a:lnTo>
                  <a:lnTo>
                    <a:pt x="2453" y="2298"/>
                  </a:lnTo>
                  <a:cubicBezTo>
                    <a:pt x="2250" y="2298"/>
                    <a:pt x="2072" y="2477"/>
                    <a:pt x="2072" y="2691"/>
                  </a:cubicBezTo>
                  <a:lnTo>
                    <a:pt x="2072" y="3048"/>
                  </a:lnTo>
                  <a:lnTo>
                    <a:pt x="2072" y="3108"/>
                  </a:lnTo>
                  <a:lnTo>
                    <a:pt x="524" y="3108"/>
                  </a:lnTo>
                  <a:cubicBezTo>
                    <a:pt x="322" y="3108"/>
                    <a:pt x="167" y="3251"/>
                    <a:pt x="131" y="3441"/>
                  </a:cubicBezTo>
                  <a:lnTo>
                    <a:pt x="0" y="4834"/>
                  </a:lnTo>
                  <a:cubicBezTo>
                    <a:pt x="0" y="4870"/>
                    <a:pt x="12" y="4918"/>
                    <a:pt x="48" y="4953"/>
                  </a:cubicBezTo>
                  <a:cubicBezTo>
                    <a:pt x="72" y="4977"/>
                    <a:pt x="119" y="5013"/>
                    <a:pt x="167" y="5013"/>
                  </a:cubicBezTo>
                  <a:lnTo>
                    <a:pt x="262" y="5013"/>
                  </a:lnTo>
                  <a:lnTo>
                    <a:pt x="262" y="5822"/>
                  </a:lnTo>
                  <a:cubicBezTo>
                    <a:pt x="262" y="5918"/>
                    <a:pt x="345" y="5989"/>
                    <a:pt x="429" y="5989"/>
                  </a:cubicBezTo>
                  <a:cubicBezTo>
                    <a:pt x="524" y="5989"/>
                    <a:pt x="596" y="5918"/>
                    <a:pt x="596" y="5822"/>
                  </a:cubicBezTo>
                  <a:lnTo>
                    <a:pt x="596" y="5013"/>
                  </a:lnTo>
                  <a:lnTo>
                    <a:pt x="2965" y="5013"/>
                  </a:lnTo>
                  <a:lnTo>
                    <a:pt x="2965" y="7763"/>
                  </a:lnTo>
                  <a:lnTo>
                    <a:pt x="2798" y="7930"/>
                  </a:lnTo>
                  <a:cubicBezTo>
                    <a:pt x="2762" y="7954"/>
                    <a:pt x="2751" y="8001"/>
                    <a:pt x="2751" y="8049"/>
                  </a:cubicBezTo>
                  <a:lnTo>
                    <a:pt x="2751" y="8537"/>
                  </a:lnTo>
                  <a:lnTo>
                    <a:pt x="2489" y="8537"/>
                  </a:lnTo>
                  <a:cubicBezTo>
                    <a:pt x="2393" y="8537"/>
                    <a:pt x="2322" y="8608"/>
                    <a:pt x="2322" y="8704"/>
                  </a:cubicBezTo>
                  <a:lnTo>
                    <a:pt x="2322" y="9323"/>
                  </a:lnTo>
                  <a:lnTo>
                    <a:pt x="643" y="9323"/>
                  </a:lnTo>
                  <a:lnTo>
                    <a:pt x="643" y="6584"/>
                  </a:lnTo>
                  <a:cubicBezTo>
                    <a:pt x="643" y="6501"/>
                    <a:pt x="560" y="6418"/>
                    <a:pt x="476" y="6418"/>
                  </a:cubicBezTo>
                  <a:cubicBezTo>
                    <a:pt x="381" y="6418"/>
                    <a:pt x="310" y="6501"/>
                    <a:pt x="310" y="6584"/>
                  </a:cubicBezTo>
                  <a:lnTo>
                    <a:pt x="310" y="10275"/>
                  </a:lnTo>
                  <a:cubicBezTo>
                    <a:pt x="310" y="10371"/>
                    <a:pt x="381" y="10442"/>
                    <a:pt x="476" y="10442"/>
                  </a:cubicBezTo>
                  <a:lnTo>
                    <a:pt x="10740" y="10442"/>
                  </a:lnTo>
                  <a:cubicBezTo>
                    <a:pt x="10835" y="10442"/>
                    <a:pt x="10906" y="10371"/>
                    <a:pt x="10906" y="10275"/>
                  </a:cubicBezTo>
                  <a:lnTo>
                    <a:pt x="10906" y="8347"/>
                  </a:lnTo>
                  <a:cubicBezTo>
                    <a:pt x="10906" y="8251"/>
                    <a:pt x="10835" y="8180"/>
                    <a:pt x="10740" y="8180"/>
                  </a:cubicBezTo>
                  <a:cubicBezTo>
                    <a:pt x="10656" y="8180"/>
                    <a:pt x="10585" y="8251"/>
                    <a:pt x="10585" y="8347"/>
                  </a:cubicBezTo>
                  <a:lnTo>
                    <a:pt x="10585" y="9323"/>
                  </a:lnTo>
                  <a:lnTo>
                    <a:pt x="8894" y="9323"/>
                  </a:lnTo>
                  <a:lnTo>
                    <a:pt x="8894" y="8704"/>
                  </a:lnTo>
                  <a:cubicBezTo>
                    <a:pt x="8894" y="8608"/>
                    <a:pt x="8823" y="8537"/>
                    <a:pt x="8739" y="8537"/>
                  </a:cubicBezTo>
                  <a:lnTo>
                    <a:pt x="8466" y="8537"/>
                  </a:lnTo>
                  <a:lnTo>
                    <a:pt x="8466" y="8049"/>
                  </a:lnTo>
                  <a:cubicBezTo>
                    <a:pt x="8466" y="8001"/>
                    <a:pt x="8454" y="7954"/>
                    <a:pt x="8418" y="7930"/>
                  </a:cubicBezTo>
                  <a:lnTo>
                    <a:pt x="8239" y="7763"/>
                  </a:lnTo>
                  <a:lnTo>
                    <a:pt x="8239" y="5013"/>
                  </a:lnTo>
                  <a:lnTo>
                    <a:pt x="10549" y="5013"/>
                  </a:lnTo>
                  <a:lnTo>
                    <a:pt x="10549" y="7585"/>
                  </a:lnTo>
                  <a:cubicBezTo>
                    <a:pt x="10549" y="7668"/>
                    <a:pt x="10621" y="7751"/>
                    <a:pt x="10716" y="7751"/>
                  </a:cubicBezTo>
                  <a:cubicBezTo>
                    <a:pt x="10799" y="7751"/>
                    <a:pt x="10883" y="7668"/>
                    <a:pt x="10883" y="7585"/>
                  </a:cubicBezTo>
                  <a:lnTo>
                    <a:pt x="10883" y="5013"/>
                  </a:lnTo>
                  <a:lnTo>
                    <a:pt x="10978" y="5013"/>
                  </a:lnTo>
                  <a:cubicBezTo>
                    <a:pt x="11025" y="5013"/>
                    <a:pt x="11073" y="4989"/>
                    <a:pt x="11097" y="4953"/>
                  </a:cubicBezTo>
                  <a:cubicBezTo>
                    <a:pt x="11133" y="4906"/>
                    <a:pt x="11144" y="4858"/>
                    <a:pt x="11133" y="4810"/>
                  </a:cubicBezTo>
                  <a:lnTo>
                    <a:pt x="11002" y="3429"/>
                  </a:lnTo>
                  <a:cubicBezTo>
                    <a:pt x="10978" y="3239"/>
                    <a:pt x="10811" y="3084"/>
                    <a:pt x="10609" y="3084"/>
                  </a:cubicBezTo>
                  <a:lnTo>
                    <a:pt x="9061" y="3084"/>
                  </a:lnTo>
                  <a:lnTo>
                    <a:pt x="9061" y="3024"/>
                  </a:lnTo>
                  <a:lnTo>
                    <a:pt x="9061" y="2667"/>
                  </a:lnTo>
                  <a:cubicBezTo>
                    <a:pt x="9061" y="2465"/>
                    <a:pt x="8882" y="2286"/>
                    <a:pt x="8680" y="2286"/>
                  </a:cubicBezTo>
                  <a:lnTo>
                    <a:pt x="8537" y="2286"/>
                  </a:lnTo>
                  <a:lnTo>
                    <a:pt x="5668" y="36"/>
                  </a:lnTo>
                  <a:cubicBezTo>
                    <a:pt x="5638" y="12"/>
                    <a:pt x="5602" y="0"/>
                    <a:pt x="55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5" name="Google Shape;10595;p59"/>
            <p:cNvSpPr/>
            <p:nvPr/>
          </p:nvSpPr>
          <p:spPr>
            <a:xfrm>
              <a:off x="2897827" y="2604753"/>
              <a:ext cx="48197" cy="64506"/>
            </a:xfrm>
            <a:custGeom>
              <a:avLst/>
              <a:gdLst/>
              <a:ahLst/>
              <a:cxnLst/>
              <a:rect l="l" t="t" r="r" b="b"/>
              <a:pathLst>
                <a:path w="1513" h="2025" extrusionOk="0">
                  <a:moveTo>
                    <a:pt x="762" y="334"/>
                  </a:moveTo>
                  <a:cubicBezTo>
                    <a:pt x="989" y="334"/>
                    <a:pt x="1191" y="524"/>
                    <a:pt x="1191" y="762"/>
                  </a:cubicBezTo>
                  <a:lnTo>
                    <a:pt x="1191" y="1703"/>
                  </a:lnTo>
                  <a:lnTo>
                    <a:pt x="334" y="1703"/>
                  </a:lnTo>
                  <a:lnTo>
                    <a:pt x="334" y="762"/>
                  </a:lnTo>
                  <a:cubicBezTo>
                    <a:pt x="334" y="524"/>
                    <a:pt x="524" y="334"/>
                    <a:pt x="762" y="334"/>
                  </a:cubicBezTo>
                  <a:close/>
                  <a:moveTo>
                    <a:pt x="750" y="0"/>
                  </a:moveTo>
                  <a:cubicBezTo>
                    <a:pt x="334" y="0"/>
                    <a:pt x="0" y="346"/>
                    <a:pt x="0" y="762"/>
                  </a:cubicBezTo>
                  <a:lnTo>
                    <a:pt x="0" y="1858"/>
                  </a:lnTo>
                  <a:cubicBezTo>
                    <a:pt x="0" y="1953"/>
                    <a:pt x="72" y="2024"/>
                    <a:pt x="155" y="2024"/>
                  </a:cubicBezTo>
                  <a:lnTo>
                    <a:pt x="1346" y="2024"/>
                  </a:lnTo>
                  <a:cubicBezTo>
                    <a:pt x="1441" y="2024"/>
                    <a:pt x="1512" y="1953"/>
                    <a:pt x="1512" y="1858"/>
                  </a:cubicBezTo>
                  <a:lnTo>
                    <a:pt x="1512" y="762"/>
                  </a:lnTo>
                  <a:cubicBezTo>
                    <a:pt x="1512" y="346"/>
                    <a:pt x="1167"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6" name="Google Shape;10596;p59"/>
            <p:cNvSpPr/>
            <p:nvPr/>
          </p:nvSpPr>
          <p:spPr>
            <a:xfrm>
              <a:off x="2775695" y="2551650"/>
              <a:ext cx="51223" cy="51223"/>
            </a:xfrm>
            <a:custGeom>
              <a:avLst/>
              <a:gdLst/>
              <a:ahLst/>
              <a:cxnLst/>
              <a:rect l="l" t="t" r="r" b="b"/>
              <a:pathLst>
                <a:path w="1608" h="1608" extrusionOk="0">
                  <a:moveTo>
                    <a:pt x="810" y="310"/>
                  </a:moveTo>
                  <a:cubicBezTo>
                    <a:pt x="1060" y="310"/>
                    <a:pt x="1286" y="524"/>
                    <a:pt x="1286" y="786"/>
                  </a:cubicBezTo>
                  <a:cubicBezTo>
                    <a:pt x="1263" y="1060"/>
                    <a:pt x="1060" y="1262"/>
                    <a:pt x="810" y="1262"/>
                  </a:cubicBezTo>
                  <a:cubicBezTo>
                    <a:pt x="560" y="1262"/>
                    <a:pt x="334" y="1060"/>
                    <a:pt x="334" y="786"/>
                  </a:cubicBezTo>
                  <a:cubicBezTo>
                    <a:pt x="334" y="536"/>
                    <a:pt x="536" y="310"/>
                    <a:pt x="810" y="310"/>
                  </a:cubicBezTo>
                  <a:close/>
                  <a:moveTo>
                    <a:pt x="810" y="0"/>
                  </a:moveTo>
                  <a:cubicBezTo>
                    <a:pt x="358" y="0"/>
                    <a:pt x="1" y="358"/>
                    <a:pt x="1" y="810"/>
                  </a:cubicBezTo>
                  <a:cubicBezTo>
                    <a:pt x="1" y="1251"/>
                    <a:pt x="358" y="1608"/>
                    <a:pt x="810" y="1608"/>
                  </a:cubicBezTo>
                  <a:cubicBezTo>
                    <a:pt x="1251" y="1608"/>
                    <a:pt x="1608" y="1251"/>
                    <a:pt x="1608" y="810"/>
                  </a:cubicBezTo>
                  <a:cubicBezTo>
                    <a:pt x="1596" y="358"/>
                    <a:pt x="1239"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597" name="Google Shape;10597;p59"/>
          <p:cNvGrpSpPr/>
          <p:nvPr/>
        </p:nvGrpSpPr>
        <p:grpSpPr>
          <a:xfrm>
            <a:off x="6657194" y="2434073"/>
            <a:ext cx="375507" cy="367925"/>
            <a:chOff x="6657194" y="2434073"/>
            <a:chExt cx="375507" cy="367925"/>
          </a:xfrm>
        </p:grpSpPr>
        <p:sp>
          <p:nvSpPr>
            <p:cNvPr id="10598" name="Google Shape;10598;p59"/>
            <p:cNvSpPr/>
            <p:nvPr/>
          </p:nvSpPr>
          <p:spPr>
            <a:xfrm>
              <a:off x="6657194" y="2434073"/>
              <a:ext cx="190780" cy="367925"/>
            </a:xfrm>
            <a:custGeom>
              <a:avLst/>
              <a:gdLst/>
              <a:ahLst/>
              <a:cxnLst/>
              <a:rect l="l" t="t" r="r" b="b"/>
              <a:pathLst>
                <a:path w="5989" h="11550" extrusionOk="0">
                  <a:moveTo>
                    <a:pt x="3024" y="346"/>
                  </a:moveTo>
                  <a:cubicBezTo>
                    <a:pt x="4465" y="346"/>
                    <a:pt x="5644" y="1524"/>
                    <a:pt x="5644" y="2965"/>
                  </a:cubicBezTo>
                  <a:lnTo>
                    <a:pt x="5644" y="5596"/>
                  </a:lnTo>
                  <a:lnTo>
                    <a:pt x="2977" y="5596"/>
                  </a:lnTo>
                  <a:cubicBezTo>
                    <a:pt x="2893" y="5596"/>
                    <a:pt x="2810" y="5668"/>
                    <a:pt x="2810" y="5763"/>
                  </a:cubicBezTo>
                  <a:cubicBezTo>
                    <a:pt x="2810" y="5846"/>
                    <a:pt x="2893" y="5930"/>
                    <a:pt x="2977" y="5930"/>
                  </a:cubicBezTo>
                  <a:lnTo>
                    <a:pt x="5644" y="5930"/>
                  </a:lnTo>
                  <a:lnTo>
                    <a:pt x="5644" y="8561"/>
                  </a:lnTo>
                  <a:cubicBezTo>
                    <a:pt x="5644" y="10002"/>
                    <a:pt x="4465" y="11180"/>
                    <a:pt x="3024" y="11180"/>
                  </a:cubicBezTo>
                  <a:lnTo>
                    <a:pt x="2965" y="11180"/>
                  </a:lnTo>
                  <a:cubicBezTo>
                    <a:pt x="1524" y="11180"/>
                    <a:pt x="345" y="10002"/>
                    <a:pt x="345" y="8561"/>
                  </a:cubicBezTo>
                  <a:lnTo>
                    <a:pt x="345" y="5930"/>
                  </a:lnTo>
                  <a:lnTo>
                    <a:pt x="2119" y="5930"/>
                  </a:lnTo>
                  <a:cubicBezTo>
                    <a:pt x="2203" y="5930"/>
                    <a:pt x="2274" y="5846"/>
                    <a:pt x="2274" y="5763"/>
                  </a:cubicBezTo>
                  <a:cubicBezTo>
                    <a:pt x="2274" y="5668"/>
                    <a:pt x="2203" y="5596"/>
                    <a:pt x="2119" y="5596"/>
                  </a:cubicBezTo>
                  <a:lnTo>
                    <a:pt x="345" y="5596"/>
                  </a:lnTo>
                  <a:lnTo>
                    <a:pt x="345" y="2965"/>
                  </a:lnTo>
                  <a:cubicBezTo>
                    <a:pt x="345" y="1524"/>
                    <a:pt x="1524" y="346"/>
                    <a:pt x="2965" y="346"/>
                  </a:cubicBezTo>
                  <a:close/>
                  <a:moveTo>
                    <a:pt x="2965" y="0"/>
                  </a:moveTo>
                  <a:cubicBezTo>
                    <a:pt x="1322" y="0"/>
                    <a:pt x="0" y="1322"/>
                    <a:pt x="0" y="2965"/>
                  </a:cubicBezTo>
                  <a:lnTo>
                    <a:pt x="0" y="8585"/>
                  </a:lnTo>
                  <a:cubicBezTo>
                    <a:pt x="0" y="10228"/>
                    <a:pt x="1322" y="11550"/>
                    <a:pt x="2965" y="11550"/>
                  </a:cubicBezTo>
                  <a:lnTo>
                    <a:pt x="3024" y="11550"/>
                  </a:lnTo>
                  <a:cubicBezTo>
                    <a:pt x="4655" y="11550"/>
                    <a:pt x="5989" y="10228"/>
                    <a:pt x="5989" y="8585"/>
                  </a:cubicBezTo>
                  <a:lnTo>
                    <a:pt x="5989" y="2953"/>
                  </a:lnTo>
                  <a:cubicBezTo>
                    <a:pt x="5965" y="1322"/>
                    <a:pt x="4644" y="0"/>
                    <a:pt x="3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9" name="Google Shape;10599;p59"/>
            <p:cNvSpPr/>
            <p:nvPr/>
          </p:nvSpPr>
          <p:spPr>
            <a:xfrm>
              <a:off x="6854409" y="2464399"/>
              <a:ext cx="178292" cy="162365"/>
            </a:xfrm>
            <a:custGeom>
              <a:avLst/>
              <a:gdLst/>
              <a:ahLst/>
              <a:cxnLst/>
              <a:rect l="l" t="t" r="r" b="b"/>
              <a:pathLst>
                <a:path w="5597" h="5097" extrusionOk="0">
                  <a:moveTo>
                    <a:pt x="2807" y="346"/>
                  </a:moveTo>
                  <a:cubicBezTo>
                    <a:pt x="3371" y="346"/>
                    <a:pt x="3933" y="564"/>
                    <a:pt x="4358" y="1001"/>
                  </a:cubicBezTo>
                  <a:cubicBezTo>
                    <a:pt x="5180" y="1835"/>
                    <a:pt x="5227" y="3132"/>
                    <a:pt x="4477" y="3990"/>
                  </a:cubicBezTo>
                  <a:lnTo>
                    <a:pt x="3441" y="2954"/>
                  </a:lnTo>
                  <a:cubicBezTo>
                    <a:pt x="3411" y="2924"/>
                    <a:pt x="3367" y="2909"/>
                    <a:pt x="3322" y="2909"/>
                  </a:cubicBezTo>
                  <a:cubicBezTo>
                    <a:pt x="3278" y="2909"/>
                    <a:pt x="3233" y="2924"/>
                    <a:pt x="3203" y="2954"/>
                  </a:cubicBezTo>
                  <a:cubicBezTo>
                    <a:pt x="3144" y="3013"/>
                    <a:pt x="3144" y="3132"/>
                    <a:pt x="3203" y="3192"/>
                  </a:cubicBezTo>
                  <a:lnTo>
                    <a:pt x="4239" y="4228"/>
                  </a:lnTo>
                  <a:cubicBezTo>
                    <a:pt x="3831" y="4584"/>
                    <a:pt x="3321" y="4763"/>
                    <a:pt x="2810" y="4763"/>
                  </a:cubicBezTo>
                  <a:cubicBezTo>
                    <a:pt x="2246" y="4763"/>
                    <a:pt x="1681" y="4546"/>
                    <a:pt x="1250" y="4109"/>
                  </a:cubicBezTo>
                  <a:cubicBezTo>
                    <a:pt x="417" y="3287"/>
                    <a:pt x="393" y="1977"/>
                    <a:pt x="1131" y="1120"/>
                  </a:cubicBezTo>
                  <a:lnTo>
                    <a:pt x="1131" y="1120"/>
                  </a:lnTo>
                  <a:lnTo>
                    <a:pt x="2679" y="2668"/>
                  </a:lnTo>
                  <a:cubicBezTo>
                    <a:pt x="2709" y="2698"/>
                    <a:pt x="2754" y="2713"/>
                    <a:pt x="2798" y="2713"/>
                  </a:cubicBezTo>
                  <a:cubicBezTo>
                    <a:pt x="2843" y="2713"/>
                    <a:pt x="2888" y="2698"/>
                    <a:pt x="2917" y="2668"/>
                  </a:cubicBezTo>
                  <a:cubicBezTo>
                    <a:pt x="2977" y="2608"/>
                    <a:pt x="2977" y="2489"/>
                    <a:pt x="2917" y="2430"/>
                  </a:cubicBezTo>
                  <a:lnTo>
                    <a:pt x="1370" y="882"/>
                  </a:lnTo>
                  <a:cubicBezTo>
                    <a:pt x="1783" y="525"/>
                    <a:pt x="2296" y="346"/>
                    <a:pt x="2807" y="346"/>
                  </a:cubicBezTo>
                  <a:close/>
                  <a:moveTo>
                    <a:pt x="2803" y="1"/>
                  </a:moveTo>
                  <a:cubicBezTo>
                    <a:pt x="2152" y="1"/>
                    <a:pt x="1501" y="251"/>
                    <a:pt x="1000" y="751"/>
                  </a:cubicBezTo>
                  <a:cubicBezTo>
                    <a:pt x="0" y="1739"/>
                    <a:pt x="0" y="3347"/>
                    <a:pt x="1000" y="4347"/>
                  </a:cubicBezTo>
                  <a:cubicBezTo>
                    <a:pt x="1501" y="4847"/>
                    <a:pt x="2152" y="5097"/>
                    <a:pt x="2803" y="5097"/>
                  </a:cubicBezTo>
                  <a:cubicBezTo>
                    <a:pt x="3453" y="5097"/>
                    <a:pt x="4102" y="4847"/>
                    <a:pt x="4596" y="4347"/>
                  </a:cubicBezTo>
                  <a:cubicBezTo>
                    <a:pt x="5596" y="3347"/>
                    <a:pt x="5596" y="1739"/>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0" name="Google Shape;10600;p59"/>
            <p:cNvSpPr/>
            <p:nvPr/>
          </p:nvSpPr>
          <p:spPr>
            <a:xfrm>
              <a:off x="6854409" y="2631288"/>
              <a:ext cx="177528" cy="162365"/>
            </a:xfrm>
            <a:custGeom>
              <a:avLst/>
              <a:gdLst/>
              <a:ahLst/>
              <a:cxnLst/>
              <a:rect l="l" t="t" r="r" b="b"/>
              <a:pathLst>
                <a:path w="5573" h="5097" extrusionOk="0">
                  <a:moveTo>
                    <a:pt x="2805" y="338"/>
                  </a:moveTo>
                  <a:cubicBezTo>
                    <a:pt x="3314" y="338"/>
                    <a:pt x="3821" y="515"/>
                    <a:pt x="4227" y="870"/>
                  </a:cubicBezTo>
                  <a:lnTo>
                    <a:pt x="1120" y="3977"/>
                  </a:lnTo>
                  <a:cubicBezTo>
                    <a:pt x="393" y="3108"/>
                    <a:pt x="417" y="1799"/>
                    <a:pt x="1239" y="989"/>
                  </a:cubicBezTo>
                  <a:cubicBezTo>
                    <a:pt x="1671" y="556"/>
                    <a:pt x="2239" y="338"/>
                    <a:pt x="2805" y="338"/>
                  </a:cubicBezTo>
                  <a:close/>
                  <a:moveTo>
                    <a:pt x="2803" y="1"/>
                  </a:moveTo>
                  <a:cubicBezTo>
                    <a:pt x="2152" y="1"/>
                    <a:pt x="1501" y="251"/>
                    <a:pt x="1000" y="751"/>
                  </a:cubicBezTo>
                  <a:cubicBezTo>
                    <a:pt x="0" y="1739"/>
                    <a:pt x="0" y="3346"/>
                    <a:pt x="1000" y="4346"/>
                  </a:cubicBezTo>
                  <a:cubicBezTo>
                    <a:pt x="1501" y="4847"/>
                    <a:pt x="2152" y="5097"/>
                    <a:pt x="2803" y="5097"/>
                  </a:cubicBezTo>
                  <a:cubicBezTo>
                    <a:pt x="3453" y="5097"/>
                    <a:pt x="4102" y="4847"/>
                    <a:pt x="4596" y="4346"/>
                  </a:cubicBezTo>
                  <a:cubicBezTo>
                    <a:pt x="4656" y="4287"/>
                    <a:pt x="4656" y="4168"/>
                    <a:pt x="4596" y="4108"/>
                  </a:cubicBezTo>
                  <a:cubicBezTo>
                    <a:pt x="4566" y="4079"/>
                    <a:pt x="4522" y="4064"/>
                    <a:pt x="4477" y="4064"/>
                  </a:cubicBezTo>
                  <a:cubicBezTo>
                    <a:pt x="4432" y="4064"/>
                    <a:pt x="4388" y="4079"/>
                    <a:pt x="4358" y="4108"/>
                  </a:cubicBezTo>
                  <a:cubicBezTo>
                    <a:pt x="3933" y="4540"/>
                    <a:pt x="3370" y="4754"/>
                    <a:pt x="2806" y="4754"/>
                  </a:cubicBezTo>
                  <a:cubicBezTo>
                    <a:pt x="2295" y="4754"/>
                    <a:pt x="1783" y="4578"/>
                    <a:pt x="1370" y="4227"/>
                  </a:cubicBezTo>
                  <a:lnTo>
                    <a:pt x="2417" y="3180"/>
                  </a:lnTo>
                  <a:lnTo>
                    <a:pt x="4477" y="1120"/>
                  </a:lnTo>
                  <a:cubicBezTo>
                    <a:pt x="5060" y="1799"/>
                    <a:pt x="5180" y="2775"/>
                    <a:pt x="4763" y="3573"/>
                  </a:cubicBezTo>
                  <a:cubicBezTo>
                    <a:pt x="4715" y="3668"/>
                    <a:pt x="4751" y="3751"/>
                    <a:pt x="4834" y="3799"/>
                  </a:cubicBezTo>
                  <a:cubicBezTo>
                    <a:pt x="4863" y="3813"/>
                    <a:pt x="4890" y="3820"/>
                    <a:pt x="4916" y="3820"/>
                  </a:cubicBezTo>
                  <a:cubicBezTo>
                    <a:pt x="4976" y="3820"/>
                    <a:pt x="5027" y="3782"/>
                    <a:pt x="5060" y="3715"/>
                  </a:cubicBezTo>
                  <a:cubicBezTo>
                    <a:pt x="5572" y="2739"/>
                    <a:pt x="5406" y="1537"/>
                    <a:pt x="4596" y="751"/>
                  </a:cubicBezTo>
                  <a:cubicBezTo>
                    <a:pt x="4102" y="251"/>
                    <a:pt x="3453" y="1"/>
                    <a:pt x="28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1" name="Google Shape;10601;p59"/>
          <p:cNvGrpSpPr/>
          <p:nvPr/>
        </p:nvGrpSpPr>
        <p:grpSpPr>
          <a:xfrm>
            <a:off x="7101317" y="2441655"/>
            <a:ext cx="367925" cy="352380"/>
            <a:chOff x="7101317" y="2441655"/>
            <a:chExt cx="367925" cy="352380"/>
          </a:xfrm>
        </p:grpSpPr>
        <p:sp>
          <p:nvSpPr>
            <p:cNvPr id="10602" name="Google Shape;10602;p59"/>
            <p:cNvSpPr/>
            <p:nvPr/>
          </p:nvSpPr>
          <p:spPr>
            <a:xfrm>
              <a:off x="7101317" y="2441655"/>
              <a:ext cx="367925" cy="352380"/>
            </a:xfrm>
            <a:custGeom>
              <a:avLst/>
              <a:gdLst/>
              <a:ahLst/>
              <a:cxnLst/>
              <a:rect l="l" t="t" r="r" b="b"/>
              <a:pathLst>
                <a:path w="11550" h="11062" extrusionOk="0">
                  <a:moveTo>
                    <a:pt x="7061" y="334"/>
                  </a:moveTo>
                  <a:cubicBezTo>
                    <a:pt x="7799" y="334"/>
                    <a:pt x="8406" y="941"/>
                    <a:pt x="8406" y="1679"/>
                  </a:cubicBezTo>
                  <a:lnTo>
                    <a:pt x="8406" y="3108"/>
                  </a:lnTo>
                  <a:lnTo>
                    <a:pt x="7906" y="3108"/>
                  </a:lnTo>
                  <a:lnTo>
                    <a:pt x="7906" y="1679"/>
                  </a:lnTo>
                  <a:cubicBezTo>
                    <a:pt x="7906" y="1227"/>
                    <a:pt x="7537" y="834"/>
                    <a:pt x="7061" y="834"/>
                  </a:cubicBezTo>
                  <a:lnTo>
                    <a:pt x="4465" y="834"/>
                  </a:lnTo>
                  <a:cubicBezTo>
                    <a:pt x="4001" y="834"/>
                    <a:pt x="3620" y="1203"/>
                    <a:pt x="3620" y="1679"/>
                  </a:cubicBezTo>
                  <a:lnTo>
                    <a:pt x="3620" y="2429"/>
                  </a:lnTo>
                  <a:cubicBezTo>
                    <a:pt x="3620" y="2513"/>
                    <a:pt x="3691" y="2596"/>
                    <a:pt x="3786" y="2596"/>
                  </a:cubicBezTo>
                  <a:cubicBezTo>
                    <a:pt x="3870" y="2596"/>
                    <a:pt x="3941" y="2513"/>
                    <a:pt x="3941" y="2429"/>
                  </a:cubicBezTo>
                  <a:lnTo>
                    <a:pt x="3941" y="1679"/>
                  </a:lnTo>
                  <a:cubicBezTo>
                    <a:pt x="3941" y="1406"/>
                    <a:pt x="4167" y="1179"/>
                    <a:pt x="4453" y="1179"/>
                  </a:cubicBezTo>
                  <a:lnTo>
                    <a:pt x="7037" y="1179"/>
                  </a:lnTo>
                  <a:cubicBezTo>
                    <a:pt x="7323" y="1179"/>
                    <a:pt x="7549" y="1406"/>
                    <a:pt x="7549" y="1679"/>
                  </a:cubicBezTo>
                  <a:lnTo>
                    <a:pt x="7549" y="3108"/>
                  </a:lnTo>
                  <a:lnTo>
                    <a:pt x="3108" y="3108"/>
                  </a:lnTo>
                  <a:lnTo>
                    <a:pt x="3120" y="1679"/>
                  </a:lnTo>
                  <a:cubicBezTo>
                    <a:pt x="3120" y="941"/>
                    <a:pt x="3727" y="334"/>
                    <a:pt x="4465" y="334"/>
                  </a:cubicBezTo>
                  <a:close/>
                  <a:moveTo>
                    <a:pt x="8382" y="3453"/>
                  </a:moveTo>
                  <a:cubicBezTo>
                    <a:pt x="9930" y="3453"/>
                    <a:pt x="11180" y="4704"/>
                    <a:pt x="11180" y="6251"/>
                  </a:cubicBezTo>
                  <a:lnTo>
                    <a:pt x="11180" y="9252"/>
                  </a:lnTo>
                  <a:lnTo>
                    <a:pt x="2905" y="9252"/>
                  </a:lnTo>
                  <a:cubicBezTo>
                    <a:pt x="2822" y="9252"/>
                    <a:pt x="2739" y="9335"/>
                    <a:pt x="2739" y="9418"/>
                  </a:cubicBezTo>
                  <a:cubicBezTo>
                    <a:pt x="2739" y="9514"/>
                    <a:pt x="2822" y="9585"/>
                    <a:pt x="2905" y="9585"/>
                  </a:cubicBezTo>
                  <a:lnTo>
                    <a:pt x="11180" y="9585"/>
                  </a:lnTo>
                  <a:lnTo>
                    <a:pt x="11180" y="10288"/>
                  </a:lnTo>
                  <a:cubicBezTo>
                    <a:pt x="11168" y="10538"/>
                    <a:pt x="10942" y="10728"/>
                    <a:pt x="10716" y="10728"/>
                  </a:cubicBezTo>
                  <a:cubicBezTo>
                    <a:pt x="10716" y="10716"/>
                    <a:pt x="822" y="10716"/>
                    <a:pt x="774" y="10716"/>
                  </a:cubicBezTo>
                  <a:cubicBezTo>
                    <a:pt x="536" y="10704"/>
                    <a:pt x="334" y="10490"/>
                    <a:pt x="334" y="10240"/>
                  </a:cubicBezTo>
                  <a:lnTo>
                    <a:pt x="334" y="9585"/>
                  </a:lnTo>
                  <a:lnTo>
                    <a:pt x="2072" y="9585"/>
                  </a:lnTo>
                  <a:cubicBezTo>
                    <a:pt x="2167" y="9585"/>
                    <a:pt x="2239" y="9514"/>
                    <a:pt x="2239" y="9418"/>
                  </a:cubicBezTo>
                  <a:cubicBezTo>
                    <a:pt x="2239" y="9335"/>
                    <a:pt x="2167" y="9252"/>
                    <a:pt x="2072" y="9252"/>
                  </a:cubicBezTo>
                  <a:lnTo>
                    <a:pt x="334" y="9252"/>
                  </a:lnTo>
                  <a:lnTo>
                    <a:pt x="334" y="6251"/>
                  </a:lnTo>
                  <a:cubicBezTo>
                    <a:pt x="334" y="4704"/>
                    <a:pt x="1584" y="3453"/>
                    <a:pt x="3132" y="3453"/>
                  </a:cubicBezTo>
                  <a:close/>
                  <a:moveTo>
                    <a:pt x="4465" y="1"/>
                  </a:moveTo>
                  <a:cubicBezTo>
                    <a:pt x="3536" y="1"/>
                    <a:pt x="2786" y="763"/>
                    <a:pt x="2786" y="1679"/>
                  </a:cubicBezTo>
                  <a:lnTo>
                    <a:pt x="2786" y="3132"/>
                  </a:lnTo>
                  <a:cubicBezTo>
                    <a:pt x="1227" y="3311"/>
                    <a:pt x="0" y="4632"/>
                    <a:pt x="0" y="6239"/>
                  </a:cubicBezTo>
                  <a:lnTo>
                    <a:pt x="0" y="10240"/>
                  </a:lnTo>
                  <a:cubicBezTo>
                    <a:pt x="0" y="10692"/>
                    <a:pt x="357" y="11061"/>
                    <a:pt x="822" y="11061"/>
                  </a:cubicBezTo>
                  <a:lnTo>
                    <a:pt x="10740" y="11061"/>
                  </a:lnTo>
                  <a:cubicBezTo>
                    <a:pt x="11180" y="11061"/>
                    <a:pt x="11549" y="10704"/>
                    <a:pt x="11549" y="10240"/>
                  </a:cubicBezTo>
                  <a:lnTo>
                    <a:pt x="11549" y="6239"/>
                  </a:lnTo>
                  <a:cubicBezTo>
                    <a:pt x="11526" y="4632"/>
                    <a:pt x="10299" y="3287"/>
                    <a:pt x="8739" y="3132"/>
                  </a:cubicBezTo>
                  <a:lnTo>
                    <a:pt x="8739" y="1679"/>
                  </a:lnTo>
                  <a:cubicBezTo>
                    <a:pt x="8739" y="751"/>
                    <a:pt x="7977" y="1"/>
                    <a:pt x="7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3" name="Google Shape;10603;p59"/>
            <p:cNvSpPr/>
            <p:nvPr/>
          </p:nvSpPr>
          <p:spPr>
            <a:xfrm>
              <a:off x="7222302" y="2588443"/>
              <a:ext cx="124426" cy="124043"/>
            </a:xfrm>
            <a:custGeom>
              <a:avLst/>
              <a:gdLst/>
              <a:ahLst/>
              <a:cxnLst/>
              <a:rect l="l" t="t" r="r" b="b"/>
              <a:pathLst>
                <a:path w="3906" h="3894" extrusionOk="0">
                  <a:moveTo>
                    <a:pt x="2441" y="334"/>
                  </a:moveTo>
                  <a:lnTo>
                    <a:pt x="2441" y="1286"/>
                  </a:lnTo>
                  <a:cubicBezTo>
                    <a:pt x="2441" y="1381"/>
                    <a:pt x="2513" y="1453"/>
                    <a:pt x="2608" y="1453"/>
                  </a:cubicBezTo>
                  <a:lnTo>
                    <a:pt x="3560" y="1453"/>
                  </a:lnTo>
                  <a:lnTo>
                    <a:pt x="3560" y="2429"/>
                  </a:lnTo>
                  <a:lnTo>
                    <a:pt x="2608" y="2429"/>
                  </a:lnTo>
                  <a:cubicBezTo>
                    <a:pt x="2513" y="2429"/>
                    <a:pt x="2441" y="2513"/>
                    <a:pt x="2441" y="2596"/>
                  </a:cubicBezTo>
                  <a:lnTo>
                    <a:pt x="2441" y="3548"/>
                  </a:lnTo>
                  <a:lnTo>
                    <a:pt x="1465" y="3548"/>
                  </a:lnTo>
                  <a:lnTo>
                    <a:pt x="1465" y="2596"/>
                  </a:lnTo>
                  <a:cubicBezTo>
                    <a:pt x="1465" y="2513"/>
                    <a:pt x="1382" y="2429"/>
                    <a:pt x="1298" y="2429"/>
                  </a:cubicBezTo>
                  <a:lnTo>
                    <a:pt x="346" y="2429"/>
                  </a:lnTo>
                  <a:lnTo>
                    <a:pt x="346" y="1453"/>
                  </a:lnTo>
                  <a:lnTo>
                    <a:pt x="1298" y="1453"/>
                  </a:lnTo>
                  <a:cubicBezTo>
                    <a:pt x="1382" y="1453"/>
                    <a:pt x="1465" y="1381"/>
                    <a:pt x="1465" y="1286"/>
                  </a:cubicBezTo>
                  <a:lnTo>
                    <a:pt x="1465" y="334"/>
                  </a:lnTo>
                  <a:close/>
                  <a:moveTo>
                    <a:pt x="1298" y="0"/>
                  </a:moveTo>
                  <a:cubicBezTo>
                    <a:pt x="1203" y="0"/>
                    <a:pt x="1131" y="84"/>
                    <a:pt x="1131" y="167"/>
                  </a:cubicBezTo>
                  <a:lnTo>
                    <a:pt x="1131" y="1120"/>
                  </a:lnTo>
                  <a:lnTo>
                    <a:pt x="179" y="1120"/>
                  </a:lnTo>
                  <a:cubicBezTo>
                    <a:pt x="96" y="1120"/>
                    <a:pt x="12" y="1191"/>
                    <a:pt x="12" y="1286"/>
                  </a:cubicBezTo>
                  <a:lnTo>
                    <a:pt x="12" y="2608"/>
                  </a:lnTo>
                  <a:cubicBezTo>
                    <a:pt x="0" y="2703"/>
                    <a:pt x="96" y="2774"/>
                    <a:pt x="179" y="2774"/>
                  </a:cubicBezTo>
                  <a:lnTo>
                    <a:pt x="1131" y="2774"/>
                  </a:lnTo>
                  <a:lnTo>
                    <a:pt x="1131" y="3727"/>
                  </a:lnTo>
                  <a:cubicBezTo>
                    <a:pt x="1131" y="3822"/>
                    <a:pt x="1203" y="3894"/>
                    <a:pt x="1298" y="3894"/>
                  </a:cubicBezTo>
                  <a:lnTo>
                    <a:pt x="2620" y="3894"/>
                  </a:lnTo>
                  <a:cubicBezTo>
                    <a:pt x="2715" y="3894"/>
                    <a:pt x="2786" y="3822"/>
                    <a:pt x="2786" y="3727"/>
                  </a:cubicBezTo>
                  <a:lnTo>
                    <a:pt x="2786" y="2774"/>
                  </a:lnTo>
                  <a:lnTo>
                    <a:pt x="3739" y="2774"/>
                  </a:lnTo>
                  <a:cubicBezTo>
                    <a:pt x="3822" y="2774"/>
                    <a:pt x="3906" y="2703"/>
                    <a:pt x="3906" y="2608"/>
                  </a:cubicBezTo>
                  <a:lnTo>
                    <a:pt x="3906" y="1286"/>
                  </a:lnTo>
                  <a:cubicBezTo>
                    <a:pt x="3906" y="1191"/>
                    <a:pt x="3822" y="1120"/>
                    <a:pt x="3739" y="1120"/>
                  </a:cubicBezTo>
                  <a:lnTo>
                    <a:pt x="2786" y="1120"/>
                  </a:lnTo>
                  <a:lnTo>
                    <a:pt x="2786" y="167"/>
                  </a:lnTo>
                  <a:cubicBezTo>
                    <a:pt x="2786" y="84"/>
                    <a:pt x="2715"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04" name="Google Shape;10604;p59"/>
          <p:cNvGrpSpPr/>
          <p:nvPr/>
        </p:nvGrpSpPr>
        <p:grpSpPr>
          <a:xfrm>
            <a:off x="5756399" y="2434456"/>
            <a:ext cx="367925" cy="367161"/>
            <a:chOff x="5756399" y="2434456"/>
            <a:chExt cx="367925" cy="367161"/>
          </a:xfrm>
        </p:grpSpPr>
        <p:sp>
          <p:nvSpPr>
            <p:cNvPr id="10605" name="Google Shape;10605;p59"/>
            <p:cNvSpPr/>
            <p:nvPr/>
          </p:nvSpPr>
          <p:spPr>
            <a:xfrm>
              <a:off x="5864865" y="2563023"/>
              <a:ext cx="39882" cy="68297"/>
            </a:xfrm>
            <a:custGeom>
              <a:avLst/>
              <a:gdLst/>
              <a:ahLst/>
              <a:cxnLst/>
              <a:rect l="l" t="t" r="r" b="b"/>
              <a:pathLst>
                <a:path w="1252" h="2144" extrusionOk="0">
                  <a:moveTo>
                    <a:pt x="918" y="334"/>
                  </a:moveTo>
                  <a:lnTo>
                    <a:pt x="918" y="1822"/>
                  </a:lnTo>
                  <a:lnTo>
                    <a:pt x="334" y="1822"/>
                  </a:lnTo>
                  <a:lnTo>
                    <a:pt x="334" y="334"/>
                  </a:lnTo>
                  <a:close/>
                  <a:moveTo>
                    <a:pt x="168" y="1"/>
                  </a:moveTo>
                  <a:cubicBezTo>
                    <a:pt x="84" y="1"/>
                    <a:pt x="1" y="72"/>
                    <a:pt x="1" y="167"/>
                  </a:cubicBezTo>
                  <a:lnTo>
                    <a:pt x="1" y="1977"/>
                  </a:lnTo>
                  <a:cubicBezTo>
                    <a:pt x="1" y="2072"/>
                    <a:pt x="84" y="2144"/>
                    <a:pt x="168" y="2144"/>
                  </a:cubicBezTo>
                  <a:lnTo>
                    <a:pt x="1096" y="2144"/>
                  </a:lnTo>
                  <a:cubicBezTo>
                    <a:pt x="1180" y="2144"/>
                    <a:pt x="1251" y="2072"/>
                    <a:pt x="1251" y="1977"/>
                  </a:cubicBezTo>
                  <a:lnTo>
                    <a:pt x="1251" y="167"/>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6" name="Google Shape;10606;p59"/>
            <p:cNvSpPr/>
            <p:nvPr/>
          </p:nvSpPr>
          <p:spPr>
            <a:xfrm>
              <a:off x="5920261" y="2563023"/>
              <a:ext cx="40233" cy="68297"/>
            </a:xfrm>
            <a:custGeom>
              <a:avLst/>
              <a:gdLst/>
              <a:ahLst/>
              <a:cxnLst/>
              <a:rect l="l" t="t" r="r" b="b"/>
              <a:pathLst>
                <a:path w="1263" h="2144" extrusionOk="0">
                  <a:moveTo>
                    <a:pt x="929" y="334"/>
                  </a:moveTo>
                  <a:lnTo>
                    <a:pt x="929" y="1822"/>
                  </a:lnTo>
                  <a:lnTo>
                    <a:pt x="346" y="1822"/>
                  </a:lnTo>
                  <a:lnTo>
                    <a:pt x="346" y="334"/>
                  </a:lnTo>
                  <a:close/>
                  <a:moveTo>
                    <a:pt x="167" y="1"/>
                  </a:moveTo>
                  <a:cubicBezTo>
                    <a:pt x="84" y="1"/>
                    <a:pt x="12" y="72"/>
                    <a:pt x="12" y="167"/>
                  </a:cubicBezTo>
                  <a:lnTo>
                    <a:pt x="12" y="1977"/>
                  </a:lnTo>
                  <a:cubicBezTo>
                    <a:pt x="0" y="2072"/>
                    <a:pt x="84" y="2144"/>
                    <a:pt x="167" y="2144"/>
                  </a:cubicBezTo>
                  <a:lnTo>
                    <a:pt x="1096" y="2144"/>
                  </a:lnTo>
                  <a:cubicBezTo>
                    <a:pt x="1179" y="2144"/>
                    <a:pt x="1262" y="2072"/>
                    <a:pt x="1262" y="1977"/>
                  </a:cubicBezTo>
                  <a:lnTo>
                    <a:pt x="1262" y="167"/>
                  </a:lnTo>
                  <a:cubicBezTo>
                    <a:pt x="1262" y="72"/>
                    <a:pt x="1179"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7" name="Google Shape;10607;p59"/>
            <p:cNvSpPr/>
            <p:nvPr/>
          </p:nvSpPr>
          <p:spPr>
            <a:xfrm>
              <a:off x="5790165" y="2646451"/>
              <a:ext cx="39851" cy="68329"/>
            </a:xfrm>
            <a:custGeom>
              <a:avLst/>
              <a:gdLst/>
              <a:ahLst/>
              <a:cxnLst/>
              <a:rect l="l" t="t" r="r" b="b"/>
              <a:pathLst>
                <a:path w="1251" h="2145" extrusionOk="0">
                  <a:moveTo>
                    <a:pt x="917" y="334"/>
                  </a:moveTo>
                  <a:lnTo>
                    <a:pt x="917" y="1823"/>
                  </a:lnTo>
                  <a:lnTo>
                    <a:pt x="346" y="1823"/>
                  </a:lnTo>
                  <a:lnTo>
                    <a:pt x="346" y="334"/>
                  </a:lnTo>
                  <a:close/>
                  <a:moveTo>
                    <a:pt x="167" y="1"/>
                  </a:moveTo>
                  <a:cubicBezTo>
                    <a:pt x="72" y="1"/>
                    <a:pt x="0" y="72"/>
                    <a:pt x="0" y="168"/>
                  </a:cubicBezTo>
                  <a:lnTo>
                    <a:pt x="0" y="1977"/>
                  </a:lnTo>
                  <a:cubicBezTo>
                    <a:pt x="0" y="2073"/>
                    <a:pt x="72" y="2144"/>
                    <a:pt x="167" y="2144"/>
                  </a:cubicBezTo>
                  <a:lnTo>
                    <a:pt x="1084" y="2144"/>
                  </a:lnTo>
                  <a:cubicBezTo>
                    <a:pt x="1179" y="2144"/>
                    <a:pt x="1251" y="2073"/>
                    <a:pt x="1251" y="1977"/>
                  </a:cubicBezTo>
                  <a:lnTo>
                    <a:pt x="1251" y="168"/>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8" name="Google Shape;10608;p59"/>
            <p:cNvSpPr/>
            <p:nvPr/>
          </p:nvSpPr>
          <p:spPr>
            <a:xfrm>
              <a:off x="6050707" y="2646451"/>
              <a:ext cx="39882" cy="68329"/>
            </a:xfrm>
            <a:custGeom>
              <a:avLst/>
              <a:gdLst/>
              <a:ahLst/>
              <a:cxnLst/>
              <a:rect l="l" t="t" r="r" b="b"/>
              <a:pathLst>
                <a:path w="1252" h="2145" extrusionOk="0">
                  <a:moveTo>
                    <a:pt x="930" y="334"/>
                  </a:moveTo>
                  <a:lnTo>
                    <a:pt x="930" y="1823"/>
                  </a:lnTo>
                  <a:lnTo>
                    <a:pt x="346" y="1823"/>
                  </a:lnTo>
                  <a:lnTo>
                    <a:pt x="346" y="334"/>
                  </a:lnTo>
                  <a:close/>
                  <a:moveTo>
                    <a:pt x="168" y="1"/>
                  </a:moveTo>
                  <a:cubicBezTo>
                    <a:pt x="84" y="1"/>
                    <a:pt x="1" y="72"/>
                    <a:pt x="1" y="168"/>
                  </a:cubicBezTo>
                  <a:lnTo>
                    <a:pt x="1" y="1977"/>
                  </a:lnTo>
                  <a:cubicBezTo>
                    <a:pt x="1" y="2073"/>
                    <a:pt x="72" y="2144"/>
                    <a:pt x="168" y="2144"/>
                  </a:cubicBezTo>
                  <a:lnTo>
                    <a:pt x="1096" y="2144"/>
                  </a:lnTo>
                  <a:cubicBezTo>
                    <a:pt x="1180" y="2144"/>
                    <a:pt x="1251" y="2073"/>
                    <a:pt x="1251" y="1977"/>
                  </a:cubicBezTo>
                  <a:lnTo>
                    <a:pt x="1251" y="168"/>
                  </a:lnTo>
                  <a:cubicBezTo>
                    <a:pt x="1251" y="72"/>
                    <a:pt x="1180"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9" name="Google Shape;10609;p59"/>
            <p:cNvSpPr/>
            <p:nvPr/>
          </p:nvSpPr>
          <p:spPr>
            <a:xfrm>
              <a:off x="5976007" y="2563023"/>
              <a:ext cx="39851" cy="68297"/>
            </a:xfrm>
            <a:custGeom>
              <a:avLst/>
              <a:gdLst/>
              <a:ahLst/>
              <a:cxnLst/>
              <a:rect l="l" t="t" r="r" b="b"/>
              <a:pathLst>
                <a:path w="1251" h="2144" extrusionOk="0">
                  <a:moveTo>
                    <a:pt x="917" y="334"/>
                  </a:moveTo>
                  <a:lnTo>
                    <a:pt x="917" y="1822"/>
                  </a:lnTo>
                  <a:lnTo>
                    <a:pt x="334" y="1822"/>
                  </a:lnTo>
                  <a:lnTo>
                    <a:pt x="334" y="334"/>
                  </a:lnTo>
                  <a:close/>
                  <a:moveTo>
                    <a:pt x="167" y="1"/>
                  </a:moveTo>
                  <a:cubicBezTo>
                    <a:pt x="72" y="1"/>
                    <a:pt x="0" y="72"/>
                    <a:pt x="0" y="167"/>
                  </a:cubicBezTo>
                  <a:lnTo>
                    <a:pt x="0" y="1977"/>
                  </a:lnTo>
                  <a:cubicBezTo>
                    <a:pt x="0" y="2072"/>
                    <a:pt x="72" y="2144"/>
                    <a:pt x="167" y="2144"/>
                  </a:cubicBezTo>
                  <a:lnTo>
                    <a:pt x="1084" y="2144"/>
                  </a:lnTo>
                  <a:cubicBezTo>
                    <a:pt x="1179" y="2144"/>
                    <a:pt x="1251" y="2072"/>
                    <a:pt x="1251" y="1977"/>
                  </a:cubicBezTo>
                  <a:lnTo>
                    <a:pt x="1251" y="167"/>
                  </a:lnTo>
                  <a:cubicBezTo>
                    <a:pt x="1251" y="72"/>
                    <a:pt x="11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0" name="Google Shape;10610;p59"/>
            <p:cNvSpPr/>
            <p:nvPr/>
          </p:nvSpPr>
          <p:spPr>
            <a:xfrm>
              <a:off x="5919114" y="2453027"/>
              <a:ext cx="42877" cy="43673"/>
            </a:xfrm>
            <a:custGeom>
              <a:avLst/>
              <a:gdLst/>
              <a:ahLst/>
              <a:cxnLst/>
              <a:rect l="l" t="t" r="r" b="b"/>
              <a:pathLst>
                <a:path w="1346" h="1371" extrusionOk="0">
                  <a:moveTo>
                    <a:pt x="679" y="1"/>
                  </a:moveTo>
                  <a:cubicBezTo>
                    <a:pt x="596" y="1"/>
                    <a:pt x="524" y="72"/>
                    <a:pt x="524" y="167"/>
                  </a:cubicBezTo>
                  <a:lnTo>
                    <a:pt x="524" y="525"/>
                  </a:lnTo>
                  <a:lnTo>
                    <a:pt x="167" y="525"/>
                  </a:lnTo>
                  <a:cubicBezTo>
                    <a:pt x="72" y="525"/>
                    <a:pt x="1" y="596"/>
                    <a:pt x="1" y="691"/>
                  </a:cubicBezTo>
                  <a:cubicBezTo>
                    <a:pt x="1" y="775"/>
                    <a:pt x="72" y="846"/>
                    <a:pt x="167" y="846"/>
                  </a:cubicBezTo>
                  <a:lnTo>
                    <a:pt x="524" y="846"/>
                  </a:lnTo>
                  <a:lnTo>
                    <a:pt x="501" y="1203"/>
                  </a:lnTo>
                  <a:cubicBezTo>
                    <a:pt x="501" y="1299"/>
                    <a:pt x="584" y="1370"/>
                    <a:pt x="667" y="1370"/>
                  </a:cubicBezTo>
                  <a:cubicBezTo>
                    <a:pt x="751" y="1370"/>
                    <a:pt x="834" y="1299"/>
                    <a:pt x="834" y="1203"/>
                  </a:cubicBezTo>
                  <a:lnTo>
                    <a:pt x="834" y="846"/>
                  </a:lnTo>
                  <a:lnTo>
                    <a:pt x="1191" y="846"/>
                  </a:lnTo>
                  <a:cubicBezTo>
                    <a:pt x="1274" y="846"/>
                    <a:pt x="1346" y="775"/>
                    <a:pt x="1346" y="691"/>
                  </a:cubicBezTo>
                  <a:cubicBezTo>
                    <a:pt x="1346" y="596"/>
                    <a:pt x="1274" y="525"/>
                    <a:pt x="1191" y="525"/>
                  </a:cubicBezTo>
                  <a:lnTo>
                    <a:pt x="846" y="525"/>
                  </a:lnTo>
                  <a:lnTo>
                    <a:pt x="846" y="167"/>
                  </a:ln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1" name="Google Shape;10611;p59"/>
            <p:cNvSpPr/>
            <p:nvPr/>
          </p:nvSpPr>
          <p:spPr>
            <a:xfrm>
              <a:off x="5756399" y="2434456"/>
              <a:ext cx="367925" cy="367161"/>
            </a:xfrm>
            <a:custGeom>
              <a:avLst/>
              <a:gdLst/>
              <a:ahLst/>
              <a:cxnLst/>
              <a:rect l="l" t="t" r="r" b="b"/>
              <a:pathLst>
                <a:path w="11550" h="11526" extrusionOk="0">
                  <a:moveTo>
                    <a:pt x="7192" y="334"/>
                  </a:moveTo>
                  <a:lnTo>
                    <a:pt x="7192" y="2215"/>
                  </a:lnTo>
                  <a:lnTo>
                    <a:pt x="6287" y="2215"/>
                  </a:lnTo>
                  <a:cubicBezTo>
                    <a:pt x="6192" y="2215"/>
                    <a:pt x="6121" y="2298"/>
                    <a:pt x="6121" y="2382"/>
                  </a:cubicBezTo>
                  <a:cubicBezTo>
                    <a:pt x="6121" y="2477"/>
                    <a:pt x="6192" y="2548"/>
                    <a:pt x="6287" y="2548"/>
                  </a:cubicBezTo>
                  <a:lnTo>
                    <a:pt x="8859" y="2548"/>
                  </a:lnTo>
                  <a:lnTo>
                    <a:pt x="8859" y="2822"/>
                  </a:lnTo>
                  <a:lnTo>
                    <a:pt x="2692" y="2822"/>
                  </a:lnTo>
                  <a:lnTo>
                    <a:pt x="2692" y="2548"/>
                  </a:lnTo>
                  <a:lnTo>
                    <a:pt x="5335" y="2548"/>
                  </a:lnTo>
                  <a:cubicBezTo>
                    <a:pt x="5418" y="2548"/>
                    <a:pt x="5490" y="2477"/>
                    <a:pt x="5490" y="2382"/>
                  </a:cubicBezTo>
                  <a:cubicBezTo>
                    <a:pt x="5490" y="2298"/>
                    <a:pt x="5418" y="2215"/>
                    <a:pt x="5335" y="2215"/>
                  </a:cubicBezTo>
                  <a:lnTo>
                    <a:pt x="4370" y="2215"/>
                  </a:lnTo>
                  <a:lnTo>
                    <a:pt x="4370" y="334"/>
                  </a:lnTo>
                  <a:close/>
                  <a:moveTo>
                    <a:pt x="2787" y="4287"/>
                  </a:moveTo>
                  <a:lnTo>
                    <a:pt x="2787" y="4560"/>
                  </a:lnTo>
                  <a:lnTo>
                    <a:pt x="346" y="4560"/>
                  </a:lnTo>
                  <a:lnTo>
                    <a:pt x="346" y="4287"/>
                  </a:lnTo>
                  <a:close/>
                  <a:moveTo>
                    <a:pt x="7133" y="8037"/>
                  </a:moveTo>
                  <a:lnTo>
                    <a:pt x="7133" y="10537"/>
                  </a:lnTo>
                  <a:lnTo>
                    <a:pt x="5954" y="10537"/>
                  </a:lnTo>
                  <a:lnTo>
                    <a:pt x="5954" y="8037"/>
                  </a:lnTo>
                  <a:close/>
                  <a:moveTo>
                    <a:pt x="8442" y="3156"/>
                  </a:moveTo>
                  <a:lnTo>
                    <a:pt x="8442" y="10537"/>
                  </a:lnTo>
                  <a:lnTo>
                    <a:pt x="7478" y="10537"/>
                  </a:lnTo>
                  <a:lnTo>
                    <a:pt x="7478" y="7859"/>
                  </a:lnTo>
                  <a:cubicBezTo>
                    <a:pt x="7478" y="7775"/>
                    <a:pt x="7395" y="7704"/>
                    <a:pt x="7311" y="7704"/>
                  </a:cubicBezTo>
                  <a:lnTo>
                    <a:pt x="4287" y="7704"/>
                  </a:lnTo>
                  <a:cubicBezTo>
                    <a:pt x="4204" y="7704"/>
                    <a:pt x="4120" y="7775"/>
                    <a:pt x="4120" y="7859"/>
                  </a:cubicBezTo>
                  <a:lnTo>
                    <a:pt x="4120" y="10537"/>
                  </a:lnTo>
                  <a:lnTo>
                    <a:pt x="3156" y="10537"/>
                  </a:lnTo>
                  <a:lnTo>
                    <a:pt x="3132" y="3156"/>
                  </a:lnTo>
                  <a:close/>
                  <a:moveTo>
                    <a:pt x="5609" y="8061"/>
                  </a:moveTo>
                  <a:lnTo>
                    <a:pt x="5609" y="10561"/>
                  </a:lnTo>
                  <a:lnTo>
                    <a:pt x="4442" y="10561"/>
                  </a:lnTo>
                  <a:lnTo>
                    <a:pt x="4442" y="8061"/>
                  </a:lnTo>
                  <a:close/>
                  <a:moveTo>
                    <a:pt x="10966" y="4906"/>
                  </a:moveTo>
                  <a:lnTo>
                    <a:pt x="10966" y="10561"/>
                  </a:lnTo>
                  <a:lnTo>
                    <a:pt x="8764" y="10561"/>
                  </a:lnTo>
                  <a:lnTo>
                    <a:pt x="8764" y="4906"/>
                  </a:lnTo>
                  <a:close/>
                  <a:moveTo>
                    <a:pt x="11205" y="10883"/>
                  </a:moveTo>
                  <a:lnTo>
                    <a:pt x="11205" y="11180"/>
                  </a:lnTo>
                  <a:lnTo>
                    <a:pt x="334" y="11180"/>
                  </a:lnTo>
                  <a:lnTo>
                    <a:pt x="334" y="10883"/>
                  </a:lnTo>
                  <a:close/>
                  <a:moveTo>
                    <a:pt x="4216" y="0"/>
                  </a:moveTo>
                  <a:cubicBezTo>
                    <a:pt x="4120" y="0"/>
                    <a:pt x="4049" y="72"/>
                    <a:pt x="4049" y="167"/>
                  </a:cubicBezTo>
                  <a:lnTo>
                    <a:pt x="4049" y="2239"/>
                  </a:lnTo>
                  <a:lnTo>
                    <a:pt x="2537" y="2239"/>
                  </a:lnTo>
                  <a:cubicBezTo>
                    <a:pt x="2442" y="2239"/>
                    <a:pt x="2370" y="2310"/>
                    <a:pt x="2370" y="2394"/>
                  </a:cubicBezTo>
                  <a:lnTo>
                    <a:pt x="2370" y="3013"/>
                  </a:lnTo>
                  <a:cubicBezTo>
                    <a:pt x="2370" y="3096"/>
                    <a:pt x="2442" y="3179"/>
                    <a:pt x="2537" y="3179"/>
                  </a:cubicBezTo>
                  <a:lnTo>
                    <a:pt x="2787" y="3179"/>
                  </a:lnTo>
                  <a:lnTo>
                    <a:pt x="2787" y="3965"/>
                  </a:lnTo>
                  <a:lnTo>
                    <a:pt x="167" y="3965"/>
                  </a:lnTo>
                  <a:cubicBezTo>
                    <a:pt x="72" y="3965"/>
                    <a:pt x="1" y="4037"/>
                    <a:pt x="1" y="4132"/>
                  </a:cubicBezTo>
                  <a:lnTo>
                    <a:pt x="1" y="4739"/>
                  </a:lnTo>
                  <a:cubicBezTo>
                    <a:pt x="1" y="4822"/>
                    <a:pt x="72" y="4906"/>
                    <a:pt x="167" y="4906"/>
                  </a:cubicBezTo>
                  <a:lnTo>
                    <a:pt x="239" y="4906"/>
                  </a:lnTo>
                  <a:lnTo>
                    <a:pt x="239" y="6013"/>
                  </a:lnTo>
                  <a:cubicBezTo>
                    <a:pt x="239" y="6108"/>
                    <a:pt x="310" y="6180"/>
                    <a:pt x="406" y="6180"/>
                  </a:cubicBezTo>
                  <a:cubicBezTo>
                    <a:pt x="489" y="6180"/>
                    <a:pt x="572" y="6108"/>
                    <a:pt x="572" y="6013"/>
                  </a:cubicBezTo>
                  <a:lnTo>
                    <a:pt x="572" y="4906"/>
                  </a:lnTo>
                  <a:lnTo>
                    <a:pt x="2763" y="4906"/>
                  </a:lnTo>
                  <a:lnTo>
                    <a:pt x="2763" y="10561"/>
                  </a:lnTo>
                  <a:lnTo>
                    <a:pt x="572" y="10561"/>
                  </a:lnTo>
                  <a:lnTo>
                    <a:pt x="572" y="6870"/>
                  </a:lnTo>
                  <a:cubicBezTo>
                    <a:pt x="572" y="6775"/>
                    <a:pt x="489" y="6704"/>
                    <a:pt x="406" y="6704"/>
                  </a:cubicBezTo>
                  <a:cubicBezTo>
                    <a:pt x="310" y="6704"/>
                    <a:pt x="239" y="6775"/>
                    <a:pt x="239" y="6870"/>
                  </a:cubicBezTo>
                  <a:lnTo>
                    <a:pt x="239" y="10561"/>
                  </a:lnTo>
                  <a:lnTo>
                    <a:pt x="167" y="10561"/>
                  </a:lnTo>
                  <a:cubicBezTo>
                    <a:pt x="72" y="10561"/>
                    <a:pt x="1" y="10633"/>
                    <a:pt x="1" y="10716"/>
                  </a:cubicBezTo>
                  <a:lnTo>
                    <a:pt x="1" y="11359"/>
                  </a:lnTo>
                  <a:cubicBezTo>
                    <a:pt x="1" y="11454"/>
                    <a:pt x="72" y="11526"/>
                    <a:pt x="167" y="11526"/>
                  </a:cubicBezTo>
                  <a:lnTo>
                    <a:pt x="11371" y="11526"/>
                  </a:lnTo>
                  <a:cubicBezTo>
                    <a:pt x="11466" y="11526"/>
                    <a:pt x="11538" y="11454"/>
                    <a:pt x="11538" y="11359"/>
                  </a:cubicBezTo>
                  <a:lnTo>
                    <a:pt x="11538" y="10716"/>
                  </a:lnTo>
                  <a:cubicBezTo>
                    <a:pt x="11538" y="10633"/>
                    <a:pt x="11466" y="10561"/>
                    <a:pt x="11371" y="10561"/>
                  </a:cubicBezTo>
                  <a:lnTo>
                    <a:pt x="11300" y="10561"/>
                  </a:lnTo>
                  <a:lnTo>
                    <a:pt x="11300" y="4906"/>
                  </a:lnTo>
                  <a:lnTo>
                    <a:pt x="11383" y="4906"/>
                  </a:lnTo>
                  <a:cubicBezTo>
                    <a:pt x="11478" y="4906"/>
                    <a:pt x="11550" y="4822"/>
                    <a:pt x="11550" y="4739"/>
                  </a:cubicBezTo>
                  <a:lnTo>
                    <a:pt x="11550" y="4132"/>
                  </a:lnTo>
                  <a:cubicBezTo>
                    <a:pt x="11550" y="4037"/>
                    <a:pt x="11478" y="3965"/>
                    <a:pt x="11383" y="3965"/>
                  </a:cubicBezTo>
                  <a:lnTo>
                    <a:pt x="10359" y="3965"/>
                  </a:lnTo>
                  <a:cubicBezTo>
                    <a:pt x="10276" y="3965"/>
                    <a:pt x="10192" y="4037"/>
                    <a:pt x="10192" y="4132"/>
                  </a:cubicBezTo>
                  <a:cubicBezTo>
                    <a:pt x="10192" y="4215"/>
                    <a:pt x="10276" y="4287"/>
                    <a:pt x="10359" y="4287"/>
                  </a:cubicBezTo>
                  <a:lnTo>
                    <a:pt x="11216" y="4287"/>
                  </a:lnTo>
                  <a:lnTo>
                    <a:pt x="11216" y="4560"/>
                  </a:lnTo>
                  <a:lnTo>
                    <a:pt x="8776" y="4560"/>
                  </a:lnTo>
                  <a:lnTo>
                    <a:pt x="8776" y="4287"/>
                  </a:lnTo>
                  <a:lnTo>
                    <a:pt x="9526" y="4287"/>
                  </a:lnTo>
                  <a:cubicBezTo>
                    <a:pt x="9609" y="4287"/>
                    <a:pt x="9692" y="4215"/>
                    <a:pt x="9692" y="4132"/>
                  </a:cubicBezTo>
                  <a:cubicBezTo>
                    <a:pt x="9692" y="4037"/>
                    <a:pt x="9609" y="3965"/>
                    <a:pt x="9526" y="3965"/>
                  </a:cubicBezTo>
                  <a:lnTo>
                    <a:pt x="8776" y="3965"/>
                  </a:lnTo>
                  <a:lnTo>
                    <a:pt x="8776" y="3179"/>
                  </a:lnTo>
                  <a:lnTo>
                    <a:pt x="9038" y="3179"/>
                  </a:lnTo>
                  <a:cubicBezTo>
                    <a:pt x="9121" y="3179"/>
                    <a:pt x="9192" y="3096"/>
                    <a:pt x="9192" y="3013"/>
                  </a:cubicBezTo>
                  <a:lnTo>
                    <a:pt x="9192" y="2394"/>
                  </a:lnTo>
                  <a:cubicBezTo>
                    <a:pt x="9192" y="2310"/>
                    <a:pt x="9121" y="2239"/>
                    <a:pt x="9038" y="2239"/>
                  </a:cubicBezTo>
                  <a:lnTo>
                    <a:pt x="7525" y="2239"/>
                  </a:lnTo>
                  <a:lnTo>
                    <a:pt x="7525" y="167"/>
                  </a:lnTo>
                  <a:cubicBezTo>
                    <a:pt x="7525" y="72"/>
                    <a:pt x="7454" y="0"/>
                    <a:pt x="73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612" name="Google Shape;10612;p59"/>
          <p:cNvSpPr/>
          <p:nvPr/>
        </p:nvSpPr>
        <p:spPr>
          <a:xfrm>
            <a:off x="5304695" y="2434551"/>
            <a:ext cx="368308" cy="366970"/>
          </a:xfrm>
          <a:custGeom>
            <a:avLst/>
            <a:gdLst/>
            <a:ahLst/>
            <a:cxnLst/>
            <a:rect l="l" t="t" r="r" b="b"/>
            <a:pathLst>
              <a:path w="11562" h="11520" extrusionOk="0">
                <a:moveTo>
                  <a:pt x="9204" y="402"/>
                </a:moveTo>
                <a:lnTo>
                  <a:pt x="11145" y="2343"/>
                </a:lnTo>
                <a:lnTo>
                  <a:pt x="11073" y="2414"/>
                </a:lnTo>
                <a:lnTo>
                  <a:pt x="9132" y="474"/>
                </a:lnTo>
                <a:lnTo>
                  <a:pt x="9204" y="402"/>
                </a:lnTo>
                <a:close/>
                <a:moveTo>
                  <a:pt x="7049" y="1712"/>
                </a:moveTo>
                <a:lnTo>
                  <a:pt x="9823" y="4486"/>
                </a:lnTo>
                <a:lnTo>
                  <a:pt x="9668" y="4629"/>
                </a:lnTo>
                <a:lnTo>
                  <a:pt x="6906" y="1855"/>
                </a:lnTo>
                <a:lnTo>
                  <a:pt x="7049" y="1712"/>
                </a:lnTo>
                <a:close/>
                <a:moveTo>
                  <a:pt x="5025" y="4927"/>
                </a:moveTo>
                <a:lnTo>
                  <a:pt x="5025" y="4927"/>
                </a:lnTo>
                <a:cubicBezTo>
                  <a:pt x="5192" y="5022"/>
                  <a:pt x="5465" y="5224"/>
                  <a:pt x="5703" y="5760"/>
                </a:cubicBezTo>
                <a:cubicBezTo>
                  <a:pt x="5965" y="6367"/>
                  <a:pt x="6323" y="6629"/>
                  <a:pt x="6596" y="6724"/>
                </a:cubicBezTo>
                <a:lnTo>
                  <a:pt x="5489" y="7832"/>
                </a:lnTo>
                <a:cubicBezTo>
                  <a:pt x="5048" y="8272"/>
                  <a:pt x="4462" y="8519"/>
                  <a:pt x="3836" y="8519"/>
                </a:cubicBezTo>
                <a:cubicBezTo>
                  <a:pt x="3768" y="8519"/>
                  <a:pt x="3700" y="8516"/>
                  <a:pt x="3632" y="8510"/>
                </a:cubicBezTo>
                <a:cubicBezTo>
                  <a:pt x="3298" y="8487"/>
                  <a:pt x="3048" y="8237"/>
                  <a:pt x="3025" y="7903"/>
                </a:cubicBezTo>
                <a:cubicBezTo>
                  <a:pt x="2977" y="7308"/>
                  <a:pt x="3156" y="6713"/>
                  <a:pt x="3525" y="6248"/>
                </a:cubicBezTo>
                <a:cubicBezTo>
                  <a:pt x="4358" y="7058"/>
                  <a:pt x="4334" y="7117"/>
                  <a:pt x="4465" y="7117"/>
                </a:cubicBezTo>
                <a:cubicBezTo>
                  <a:pt x="4608" y="7117"/>
                  <a:pt x="4691" y="6939"/>
                  <a:pt x="4584" y="6832"/>
                </a:cubicBezTo>
                <a:lnTo>
                  <a:pt x="3763" y="6010"/>
                </a:lnTo>
                <a:lnTo>
                  <a:pt x="4120" y="5653"/>
                </a:lnTo>
                <a:cubicBezTo>
                  <a:pt x="4477" y="5998"/>
                  <a:pt x="4489" y="6093"/>
                  <a:pt x="4608" y="6093"/>
                </a:cubicBezTo>
                <a:cubicBezTo>
                  <a:pt x="4763" y="6093"/>
                  <a:pt x="4834" y="5915"/>
                  <a:pt x="4727" y="5808"/>
                </a:cubicBezTo>
                <a:lnTo>
                  <a:pt x="4358" y="5439"/>
                </a:lnTo>
                <a:lnTo>
                  <a:pt x="4715" y="5081"/>
                </a:lnTo>
                <a:cubicBezTo>
                  <a:pt x="5072" y="5415"/>
                  <a:pt x="5084" y="5510"/>
                  <a:pt x="5203" y="5510"/>
                </a:cubicBezTo>
                <a:cubicBezTo>
                  <a:pt x="5358" y="5510"/>
                  <a:pt x="5430" y="5331"/>
                  <a:pt x="5322" y="5224"/>
                </a:cubicBezTo>
                <a:lnTo>
                  <a:pt x="5025" y="4927"/>
                </a:lnTo>
                <a:close/>
                <a:moveTo>
                  <a:pt x="2751" y="8248"/>
                </a:moveTo>
                <a:cubicBezTo>
                  <a:pt x="2858" y="8487"/>
                  <a:pt x="3048" y="8677"/>
                  <a:pt x="3287" y="8784"/>
                </a:cubicBezTo>
                <a:cubicBezTo>
                  <a:pt x="3036" y="9022"/>
                  <a:pt x="3001" y="9106"/>
                  <a:pt x="2882" y="9106"/>
                </a:cubicBezTo>
                <a:cubicBezTo>
                  <a:pt x="2763" y="9106"/>
                  <a:pt x="2727" y="9010"/>
                  <a:pt x="2477" y="8784"/>
                </a:cubicBezTo>
                <a:cubicBezTo>
                  <a:pt x="2405" y="8713"/>
                  <a:pt x="2405" y="8594"/>
                  <a:pt x="2477" y="8510"/>
                </a:cubicBezTo>
                <a:lnTo>
                  <a:pt x="2751" y="8248"/>
                </a:lnTo>
                <a:close/>
                <a:moveTo>
                  <a:pt x="9216" y="0"/>
                </a:moveTo>
                <a:cubicBezTo>
                  <a:pt x="9171" y="0"/>
                  <a:pt x="9127" y="15"/>
                  <a:pt x="9097" y="45"/>
                </a:cubicBezTo>
                <a:lnTo>
                  <a:pt x="8775" y="355"/>
                </a:lnTo>
                <a:cubicBezTo>
                  <a:pt x="8716" y="414"/>
                  <a:pt x="8716" y="533"/>
                  <a:pt x="8775" y="593"/>
                </a:cubicBezTo>
                <a:lnTo>
                  <a:pt x="9037" y="855"/>
                </a:lnTo>
                <a:lnTo>
                  <a:pt x="8775" y="1105"/>
                </a:lnTo>
                <a:cubicBezTo>
                  <a:pt x="8716" y="1164"/>
                  <a:pt x="8716" y="1283"/>
                  <a:pt x="8775" y="1343"/>
                </a:cubicBezTo>
                <a:cubicBezTo>
                  <a:pt x="8805" y="1373"/>
                  <a:pt x="8850" y="1387"/>
                  <a:pt x="8894" y="1387"/>
                </a:cubicBezTo>
                <a:cubicBezTo>
                  <a:pt x="8939" y="1387"/>
                  <a:pt x="8984" y="1373"/>
                  <a:pt x="9013" y="1343"/>
                </a:cubicBezTo>
                <a:lnTo>
                  <a:pt x="9275" y="1093"/>
                </a:lnTo>
                <a:lnTo>
                  <a:pt x="10466" y="2283"/>
                </a:lnTo>
                <a:lnTo>
                  <a:pt x="9275" y="3474"/>
                </a:lnTo>
                <a:lnTo>
                  <a:pt x="8085" y="2283"/>
                </a:lnTo>
                <a:lnTo>
                  <a:pt x="8406" y="1950"/>
                </a:lnTo>
                <a:cubicBezTo>
                  <a:pt x="8466" y="1890"/>
                  <a:pt x="8466" y="1771"/>
                  <a:pt x="8406" y="1712"/>
                </a:cubicBezTo>
                <a:cubicBezTo>
                  <a:pt x="8376" y="1682"/>
                  <a:pt x="8332" y="1667"/>
                  <a:pt x="8287" y="1667"/>
                </a:cubicBezTo>
                <a:cubicBezTo>
                  <a:pt x="8242" y="1667"/>
                  <a:pt x="8198" y="1682"/>
                  <a:pt x="8168" y="1712"/>
                </a:cubicBezTo>
                <a:lnTo>
                  <a:pt x="7847" y="2045"/>
                </a:lnTo>
                <a:cubicBezTo>
                  <a:pt x="7168" y="1390"/>
                  <a:pt x="7168" y="1331"/>
                  <a:pt x="7049" y="1331"/>
                </a:cubicBezTo>
                <a:cubicBezTo>
                  <a:pt x="6930" y="1331"/>
                  <a:pt x="6906" y="1414"/>
                  <a:pt x="6549" y="1760"/>
                </a:cubicBezTo>
                <a:cubicBezTo>
                  <a:pt x="6489" y="1819"/>
                  <a:pt x="6489" y="1938"/>
                  <a:pt x="6549" y="1998"/>
                </a:cubicBezTo>
                <a:lnTo>
                  <a:pt x="6918" y="2367"/>
                </a:lnTo>
                <a:lnTo>
                  <a:pt x="3346" y="5939"/>
                </a:lnTo>
                <a:cubicBezTo>
                  <a:pt x="2870" y="6462"/>
                  <a:pt x="2620" y="7165"/>
                  <a:pt x="2644" y="7879"/>
                </a:cubicBezTo>
                <a:lnTo>
                  <a:pt x="2215" y="8308"/>
                </a:lnTo>
                <a:cubicBezTo>
                  <a:pt x="2108" y="8403"/>
                  <a:pt x="2072" y="8534"/>
                  <a:pt x="2072" y="8677"/>
                </a:cubicBezTo>
                <a:cubicBezTo>
                  <a:pt x="2072" y="8915"/>
                  <a:pt x="2227" y="9070"/>
                  <a:pt x="2227" y="9070"/>
                </a:cubicBezTo>
                <a:lnTo>
                  <a:pt x="60" y="11237"/>
                </a:lnTo>
                <a:cubicBezTo>
                  <a:pt x="0" y="11296"/>
                  <a:pt x="0" y="11415"/>
                  <a:pt x="60" y="11475"/>
                </a:cubicBezTo>
                <a:cubicBezTo>
                  <a:pt x="90" y="11505"/>
                  <a:pt x="134" y="11520"/>
                  <a:pt x="179" y="11520"/>
                </a:cubicBezTo>
                <a:cubicBezTo>
                  <a:pt x="224" y="11520"/>
                  <a:pt x="268" y="11505"/>
                  <a:pt x="298" y="11475"/>
                </a:cubicBezTo>
                <a:lnTo>
                  <a:pt x="2465" y="9296"/>
                </a:lnTo>
                <a:lnTo>
                  <a:pt x="2477" y="9320"/>
                </a:lnTo>
                <a:cubicBezTo>
                  <a:pt x="2584" y="9421"/>
                  <a:pt x="2718" y="9472"/>
                  <a:pt x="2852" y="9472"/>
                </a:cubicBezTo>
                <a:cubicBezTo>
                  <a:pt x="2986" y="9472"/>
                  <a:pt x="3120" y="9421"/>
                  <a:pt x="3227" y="9320"/>
                </a:cubicBezTo>
                <a:lnTo>
                  <a:pt x="3656" y="8891"/>
                </a:lnTo>
                <a:cubicBezTo>
                  <a:pt x="3685" y="8892"/>
                  <a:pt x="3715" y="8893"/>
                  <a:pt x="3745" y="8893"/>
                </a:cubicBezTo>
                <a:cubicBezTo>
                  <a:pt x="4485" y="8893"/>
                  <a:pt x="5176" y="8609"/>
                  <a:pt x="5680" y="8094"/>
                </a:cubicBezTo>
                <a:lnTo>
                  <a:pt x="7835" y="5939"/>
                </a:lnTo>
                <a:cubicBezTo>
                  <a:pt x="7906" y="5879"/>
                  <a:pt x="7906" y="5760"/>
                  <a:pt x="7835" y="5700"/>
                </a:cubicBezTo>
                <a:cubicBezTo>
                  <a:pt x="7805" y="5671"/>
                  <a:pt x="7760" y="5656"/>
                  <a:pt x="7717" y="5656"/>
                </a:cubicBezTo>
                <a:cubicBezTo>
                  <a:pt x="7674" y="5656"/>
                  <a:pt x="7632" y="5671"/>
                  <a:pt x="7608" y="5700"/>
                </a:cubicBezTo>
                <a:lnTo>
                  <a:pt x="6811" y="6486"/>
                </a:lnTo>
                <a:cubicBezTo>
                  <a:pt x="6668" y="6462"/>
                  <a:pt x="6275" y="6343"/>
                  <a:pt x="5965" y="5641"/>
                </a:cubicBezTo>
                <a:cubicBezTo>
                  <a:pt x="5680" y="5022"/>
                  <a:pt x="5358" y="4748"/>
                  <a:pt x="5120" y="4629"/>
                </a:cubicBezTo>
                <a:lnTo>
                  <a:pt x="5251" y="4498"/>
                </a:lnTo>
                <a:lnTo>
                  <a:pt x="6073" y="5319"/>
                </a:lnTo>
                <a:cubicBezTo>
                  <a:pt x="6102" y="5349"/>
                  <a:pt x="6147" y="5364"/>
                  <a:pt x="6192" y="5364"/>
                </a:cubicBezTo>
                <a:cubicBezTo>
                  <a:pt x="6236" y="5364"/>
                  <a:pt x="6281" y="5349"/>
                  <a:pt x="6311" y="5319"/>
                </a:cubicBezTo>
                <a:cubicBezTo>
                  <a:pt x="6370" y="5260"/>
                  <a:pt x="6370" y="5141"/>
                  <a:pt x="6311" y="5081"/>
                </a:cubicBezTo>
                <a:lnTo>
                  <a:pt x="5489" y="4260"/>
                </a:lnTo>
                <a:lnTo>
                  <a:pt x="5846" y="3903"/>
                </a:lnTo>
                <a:lnTo>
                  <a:pt x="6215" y="4272"/>
                </a:lnTo>
                <a:cubicBezTo>
                  <a:pt x="6245" y="4301"/>
                  <a:pt x="6290" y="4316"/>
                  <a:pt x="6335" y="4316"/>
                </a:cubicBezTo>
                <a:cubicBezTo>
                  <a:pt x="6379" y="4316"/>
                  <a:pt x="6424" y="4301"/>
                  <a:pt x="6454" y="4272"/>
                </a:cubicBezTo>
                <a:cubicBezTo>
                  <a:pt x="6513" y="4212"/>
                  <a:pt x="6513" y="4093"/>
                  <a:pt x="6454" y="4034"/>
                </a:cubicBezTo>
                <a:lnTo>
                  <a:pt x="6084" y="3665"/>
                </a:lnTo>
                <a:lnTo>
                  <a:pt x="6442" y="3307"/>
                </a:lnTo>
                <a:lnTo>
                  <a:pt x="6811" y="3676"/>
                </a:lnTo>
                <a:cubicBezTo>
                  <a:pt x="6841" y="3706"/>
                  <a:pt x="6885" y="3721"/>
                  <a:pt x="6930" y="3721"/>
                </a:cubicBezTo>
                <a:cubicBezTo>
                  <a:pt x="6974" y="3721"/>
                  <a:pt x="7019" y="3706"/>
                  <a:pt x="7049" y="3676"/>
                </a:cubicBezTo>
                <a:cubicBezTo>
                  <a:pt x="7108" y="3617"/>
                  <a:pt x="7108" y="3498"/>
                  <a:pt x="7049" y="3438"/>
                </a:cubicBezTo>
                <a:lnTo>
                  <a:pt x="6680" y="3069"/>
                </a:lnTo>
                <a:lnTo>
                  <a:pt x="7144" y="2605"/>
                </a:lnTo>
                <a:lnTo>
                  <a:pt x="8906" y="4379"/>
                </a:lnTo>
                <a:lnTo>
                  <a:pt x="8287" y="4998"/>
                </a:lnTo>
                <a:cubicBezTo>
                  <a:pt x="8228" y="5058"/>
                  <a:pt x="8228" y="5177"/>
                  <a:pt x="8287" y="5236"/>
                </a:cubicBezTo>
                <a:cubicBezTo>
                  <a:pt x="8317" y="5266"/>
                  <a:pt x="8362" y="5281"/>
                  <a:pt x="8406" y="5281"/>
                </a:cubicBezTo>
                <a:cubicBezTo>
                  <a:pt x="8451" y="5281"/>
                  <a:pt x="8495" y="5266"/>
                  <a:pt x="8525" y="5236"/>
                </a:cubicBezTo>
                <a:lnTo>
                  <a:pt x="9144" y="4617"/>
                </a:lnTo>
                <a:cubicBezTo>
                  <a:pt x="9502" y="4962"/>
                  <a:pt x="9525" y="5034"/>
                  <a:pt x="9644" y="5034"/>
                </a:cubicBezTo>
                <a:cubicBezTo>
                  <a:pt x="9680" y="5034"/>
                  <a:pt x="9728" y="5010"/>
                  <a:pt x="9764" y="4986"/>
                </a:cubicBezTo>
                <a:cubicBezTo>
                  <a:pt x="10121" y="4617"/>
                  <a:pt x="10192" y="4593"/>
                  <a:pt x="10192" y="4486"/>
                </a:cubicBezTo>
                <a:cubicBezTo>
                  <a:pt x="10192" y="4367"/>
                  <a:pt x="10133" y="4379"/>
                  <a:pt x="9478" y="3688"/>
                </a:cubicBezTo>
                <a:lnTo>
                  <a:pt x="10668" y="2498"/>
                </a:lnTo>
                <a:cubicBezTo>
                  <a:pt x="10907" y="2724"/>
                  <a:pt x="10930" y="2819"/>
                  <a:pt x="11037" y="2819"/>
                </a:cubicBezTo>
                <a:cubicBezTo>
                  <a:pt x="11085" y="2819"/>
                  <a:pt x="11133" y="2795"/>
                  <a:pt x="11157" y="2772"/>
                </a:cubicBezTo>
                <a:lnTo>
                  <a:pt x="11502" y="2462"/>
                </a:lnTo>
                <a:cubicBezTo>
                  <a:pt x="11561" y="2402"/>
                  <a:pt x="11561" y="2283"/>
                  <a:pt x="11502" y="2224"/>
                </a:cubicBezTo>
                <a:lnTo>
                  <a:pt x="9335" y="45"/>
                </a:lnTo>
                <a:cubicBezTo>
                  <a:pt x="9305" y="15"/>
                  <a:pt x="9260" y="0"/>
                  <a:pt x="9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3" name="Google Shape;10613;p59"/>
          <p:cNvSpPr/>
          <p:nvPr/>
        </p:nvSpPr>
        <p:spPr>
          <a:xfrm>
            <a:off x="7542031" y="2445541"/>
            <a:ext cx="370187" cy="344034"/>
          </a:xfrm>
          <a:custGeom>
            <a:avLst/>
            <a:gdLst/>
            <a:ahLst/>
            <a:cxnLst/>
            <a:rect l="l" t="t" r="r" b="b"/>
            <a:pathLst>
              <a:path w="11621" h="10800" extrusionOk="0">
                <a:moveTo>
                  <a:pt x="9522" y="349"/>
                </a:moveTo>
                <a:cubicBezTo>
                  <a:pt x="9633" y="349"/>
                  <a:pt x="9746" y="391"/>
                  <a:pt x="9835" y="474"/>
                </a:cubicBezTo>
                <a:lnTo>
                  <a:pt x="11097" y="1736"/>
                </a:lnTo>
                <a:cubicBezTo>
                  <a:pt x="11252" y="1891"/>
                  <a:pt x="11252" y="2153"/>
                  <a:pt x="11085" y="2331"/>
                </a:cubicBezTo>
                <a:lnTo>
                  <a:pt x="10299" y="3129"/>
                </a:lnTo>
                <a:lnTo>
                  <a:pt x="8430" y="1260"/>
                </a:lnTo>
                <a:lnTo>
                  <a:pt x="9228" y="474"/>
                </a:lnTo>
                <a:cubicBezTo>
                  <a:pt x="9305" y="391"/>
                  <a:pt x="9412" y="349"/>
                  <a:pt x="9522" y="349"/>
                </a:cubicBezTo>
                <a:close/>
                <a:moveTo>
                  <a:pt x="8216" y="1486"/>
                </a:moveTo>
                <a:lnTo>
                  <a:pt x="10073" y="3343"/>
                </a:lnTo>
                <a:lnTo>
                  <a:pt x="9799" y="3617"/>
                </a:lnTo>
                <a:lnTo>
                  <a:pt x="7942" y="1760"/>
                </a:lnTo>
                <a:lnTo>
                  <a:pt x="8216" y="1486"/>
                </a:lnTo>
                <a:close/>
                <a:moveTo>
                  <a:pt x="9513" y="1"/>
                </a:moveTo>
                <a:cubicBezTo>
                  <a:pt x="9314" y="1"/>
                  <a:pt x="9115" y="75"/>
                  <a:pt x="8966" y="224"/>
                </a:cubicBezTo>
                <a:lnTo>
                  <a:pt x="6977" y="2200"/>
                </a:lnTo>
                <a:cubicBezTo>
                  <a:pt x="6918" y="2260"/>
                  <a:pt x="6918" y="2379"/>
                  <a:pt x="6977" y="2438"/>
                </a:cubicBezTo>
                <a:cubicBezTo>
                  <a:pt x="7007" y="2468"/>
                  <a:pt x="7052" y="2483"/>
                  <a:pt x="7096" y="2483"/>
                </a:cubicBezTo>
                <a:cubicBezTo>
                  <a:pt x="7141" y="2483"/>
                  <a:pt x="7186" y="2468"/>
                  <a:pt x="7216" y="2438"/>
                </a:cubicBezTo>
                <a:lnTo>
                  <a:pt x="7668" y="1974"/>
                </a:lnTo>
                <a:lnTo>
                  <a:pt x="9537" y="3843"/>
                </a:lnTo>
                <a:lnTo>
                  <a:pt x="7120" y="6260"/>
                </a:lnTo>
                <a:cubicBezTo>
                  <a:pt x="7043" y="6344"/>
                  <a:pt x="6933" y="6385"/>
                  <a:pt x="6821" y="6385"/>
                </a:cubicBezTo>
                <a:cubicBezTo>
                  <a:pt x="6710" y="6385"/>
                  <a:pt x="6596" y="6344"/>
                  <a:pt x="6513" y="6260"/>
                </a:cubicBezTo>
                <a:lnTo>
                  <a:pt x="5251" y="4998"/>
                </a:lnTo>
                <a:cubicBezTo>
                  <a:pt x="5084" y="4832"/>
                  <a:pt x="5084" y="4570"/>
                  <a:pt x="5251" y="4391"/>
                </a:cubicBezTo>
                <a:lnTo>
                  <a:pt x="6668" y="2974"/>
                </a:lnTo>
                <a:cubicBezTo>
                  <a:pt x="6727" y="2915"/>
                  <a:pt x="6727" y="2796"/>
                  <a:pt x="6668" y="2736"/>
                </a:cubicBezTo>
                <a:cubicBezTo>
                  <a:pt x="6632" y="2706"/>
                  <a:pt x="6585" y="2691"/>
                  <a:pt x="6540" y="2691"/>
                </a:cubicBezTo>
                <a:cubicBezTo>
                  <a:pt x="6495" y="2691"/>
                  <a:pt x="6454" y="2706"/>
                  <a:pt x="6430" y="2736"/>
                </a:cubicBezTo>
                <a:lnTo>
                  <a:pt x="5013" y="4153"/>
                </a:lnTo>
                <a:cubicBezTo>
                  <a:pt x="4727" y="4439"/>
                  <a:pt x="4715" y="4915"/>
                  <a:pt x="5001" y="5213"/>
                </a:cubicBezTo>
                <a:lnTo>
                  <a:pt x="1679" y="8523"/>
                </a:lnTo>
                <a:cubicBezTo>
                  <a:pt x="1620" y="8582"/>
                  <a:pt x="1620" y="8701"/>
                  <a:pt x="1679" y="8761"/>
                </a:cubicBezTo>
                <a:cubicBezTo>
                  <a:pt x="1709" y="8790"/>
                  <a:pt x="1754" y="8805"/>
                  <a:pt x="1798" y="8805"/>
                </a:cubicBezTo>
                <a:cubicBezTo>
                  <a:pt x="1843" y="8805"/>
                  <a:pt x="1887" y="8790"/>
                  <a:pt x="1917" y="8761"/>
                </a:cubicBezTo>
                <a:lnTo>
                  <a:pt x="5215" y="5463"/>
                </a:lnTo>
                <a:lnTo>
                  <a:pt x="5977" y="6225"/>
                </a:lnTo>
                <a:lnTo>
                  <a:pt x="4977" y="7213"/>
                </a:lnTo>
                <a:cubicBezTo>
                  <a:pt x="4787" y="7415"/>
                  <a:pt x="4680" y="7630"/>
                  <a:pt x="4668" y="7856"/>
                </a:cubicBezTo>
                <a:cubicBezTo>
                  <a:pt x="4581" y="9489"/>
                  <a:pt x="2148" y="10471"/>
                  <a:pt x="955" y="10471"/>
                </a:cubicBezTo>
                <a:cubicBezTo>
                  <a:pt x="678" y="10471"/>
                  <a:pt x="468" y="10418"/>
                  <a:pt x="369" y="10308"/>
                </a:cubicBezTo>
                <a:lnTo>
                  <a:pt x="1334" y="9344"/>
                </a:lnTo>
                <a:cubicBezTo>
                  <a:pt x="1393" y="9285"/>
                  <a:pt x="1393" y="9165"/>
                  <a:pt x="1334" y="9106"/>
                </a:cubicBezTo>
                <a:cubicBezTo>
                  <a:pt x="1304" y="9076"/>
                  <a:pt x="1259" y="9061"/>
                  <a:pt x="1215" y="9061"/>
                </a:cubicBezTo>
                <a:cubicBezTo>
                  <a:pt x="1170" y="9061"/>
                  <a:pt x="1125" y="9076"/>
                  <a:pt x="1096" y="9106"/>
                </a:cubicBezTo>
                <a:lnTo>
                  <a:pt x="60" y="10154"/>
                </a:lnTo>
                <a:cubicBezTo>
                  <a:pt x="12" y="10189"/>
                  <a:pt x="0" y="10249"/>
                  <a:pt x="12" y="10308"/>
                </a:cubicBezTo>
                <a:cubicBezTo>
                  <a:pt x="119" y="10695"/>
                  <a:pt x="578" y="10799"/>
                  <a:pt x="1021" y="10799"/>
                </a:cubicBezTo>
                <a:cubicBezTo>
                  <a:pt x="1124" y="10799"/>
                  <a:pt x="1226" y="10794"/>
                  <a:pt x="1322" y="10785"/>
                </a:cubicBezTo>
                <a:cubicBezTo>
                  <a:pt x="2858" y="10630"/>
                  <a:pt x="4941" y="9499"/>
                  <a:pt x="5013" y="7868"/>
                </a:cubicBezTo>
                <a:cubicBezTo>
                  <a:pt x="5025" y="7558"/>
                  <a:pt x="5299" y="7427"/>
                  <a:pt x="6215" y="6475"/>
                </a:cubicBezTo>
                <a:cubicBezTo>
                  <a:pt x="6227" y="6487"/>
                  <a:pt x="6430" y="6737"/>
                  <a:pt x="6799" y="6737"/>
                </a:cubicBezTo>
                <a:cubicBezTo>
                  <a:pt x="6989" y="6737"/>
                  <a:pt x="7180" y="6665"/>
                  <a:pt x="7335" y="6522"/>
                </a:cubicBezTo>
                <a:lnTo>
                  <a:pt x="11276" y="2569"/>
                </a:lnTo>
                <a:cubicBezTo>
                  <a:pt x="11621" y="2260"/>
                  <a:pt x="11621" y="1784"/>
                  <a:pt x="11323" y="1486"/>
                </a:cubicBezTo>
                <a:lnTo>
                  <a:pt x="10061" y="224"/>
                </a:lnTo>
                <a:cubicBezTo>
                  <a:pt x="9912" y="75"/>
                  <a:pt x="9713" y="1"/>
                  <a:pt x="9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614" name="Google Shape;10614;p59"/>
          <p:cNvGrpSpPr/>
          <p:nvPr/>
        </p:nvGrpSpPr>
        <p:grpSpPr>
          <a:xfrm>
            <a:off x="7964906" y="2434073"/>
            <a:ext cx="373627" cy="367925"/>
            <a:chOff x="7964906" y="2434073"/>
            <a:chExt cx="373627" cy="367925"/>
          </a:xfrm>
        </p:grpSpPr>
        <p:sp>
          <p:nvSpPr>
            <p:cNvPr id="10615" name="Google Shape;10615;p59"/>
            <p:cNvSpPr/>
            <p:nvPr/>
          </p:nvSpPr>
          <p:spPr>
            <a:xfrm>
              <a:off x="8252397" y="2622942"/>
              <a:ext cx="46699" cy="46317"/>
            </a:xfrm>
            <a:custGeom>
              <a:avLst/>
              <a:gdLst/>
              <a:ahLst/>
              <a:cxnLst/>
              <a:rect l="l" t="t" r="r" b="b"/>
              <a:pathLst>
                <a:path w="1466" h="1454" extrusionOk="0">
                  <a:moveTo>
                    <a:pt x="715" y="334"/>
                  </a:moveTo>
                  <a:cubicBezTo>
                    <a:pt x="941" y="358"/>
                    <a:pt x="1108" y="513"/>
                    <a:pt x="1108" y="727"/>
                  </a:cubicBezTo>
                  <a:cubicBezTo>
                    <a:pt x="1108" y="929"/>
                    <a:pt x="929" y="1108"/>
                    <a:pt x="715" y="1108"/>
                  </a:cubicBezTo>
                  <a:cubicBezTo>
                    <a:pt x="513" y="1108"/>
                    <a:pt x="334" y="929"/>
                    <a:pt x="334" y="727"/>
                  </a:cubicBezTo>
                  <a:cubicBezTo>
                    <a:pt x="334" y="513"/>
                    <a:pt x="513" y="334"/>
                    <a:pt x="715" y="334"/>
                  </a:cubicBezTo>
                  <a:close/>
                  <a:moveTo>
                    <a:pt x="739" y="1"/>
                  </a:moveTo>
                  <a:cubicBezTo>
                    <a:pt x="334" y="13"/>
                    <a:pt x="1" y="334"/>
                    <a:pt x="1" y="727"/>
                  </a:cubicBezTo>
                  <a:cubicBezTo>
                    <a:pt x="1" y="1132"/>
                    <a:pt x="334" y="1453"/>
                    <a:pt x="739" y="1453"/>
                  </a:cubicBezTo>
                  <a:cubicBezTo>
                    <a:pt x="1132" y="1453"/>
                    <a:pt x="1465" y="1132"/>
                    <a:pt x="1465" y="727"/>
                  </a:cubicBezTo>
                  <a:cubicBezTo>
                    <a:pt x="1465" y="322"/>
                    <a:pt x="113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6" name="Google Shape;10616;p59"/>
            <p:cNvSpPr/>
            <p:nvPr/>
          </p:nvSpPr>
          <p:spPr>
            <a:xfrm>
              <a:off x="7964906" y="2434073"/>
              <a:ext cx="373627" cy="367925"/>
            </a:xfrm>
            <a:custGeom>
              <a:avLst/>
              <a:gdLst/>
              <a:ahLst/>
              <a:cxnLst/>
              <a:rect l="l" t="t" r="r" b="b"/>
              <a:pathLst>
                <a:path w="11729" h="11550" extrusionOk="0">
                  <a:moveTo>
                    <a:pt x="2525" y="358"/>
                  </a:moveTo>
                  <a:cubicBezTo>
                    <a:pt x="2835" y="358"/>
                    <a:pt x="3096" y="608"/>
                    <a:pt x="3096" y="929"/>
                  </a:cubicBezTo>
                  <a:lnTo>
                    <a:pt x="3096" y="941"/>
                  </a:lnTo>
                  <a:cubicBezTo>
                    <a:pt x="3096" y="1251"/>
                    <a:pt x="2835" y="1501"/>
                    <a:pt x="2525" y="1501"/>
                  </a:cubicBezTo>
                  <a:lnTo>
                    <a:pt x="2299" y="1501"/>
                  </a:lnTo>
                  <a:cubicBezTo>
                    <a:pt x="2227" y="1501"/>
                    <a:pt x="2168" y="1441"/>
                    <a:pt x="2168" y="1370"/>
                  </a:cubicBezTo>
                  <a:lnTo>
                    <a:pt x="2168" y="489"/>
                  </a:lnTo>
                  <a:cubicBezTo>
                    <a:pt x="2168" y="417"/>
                    <a:pt x="2227" y="358"/>
                    <a:pt x="2299" y="358"/>
                  </a:cubicBezTo>
                  <a:close/>
                  <a:moveTo>
                    <a:pt x="5704" y="358"/>
                  </a:moveTo>
                  <a:cubicBezTo>
                    <a:pt x="5787" y="358"/>
                    <a:pt x="5847" y="417"/>
                    <a:pt x="5847" y="512"/>
                  </a:cubicBezTo>
                  <a:lnTo>
                    <a:pt x="5847" y="1358"/>
                  </a:lnTo>
                  <a:cubicBezTo>
                    <a:pt x="5847" y="1429"/>
                    <a:pt x="5787" y="1501"/>
                    <a:pt x="5704" y="1501"/>
                  </a:cubicBezTo>
                  <a:lnTo>
                    <a:pt x="5490" y="1501"/>
                  </a:lnTo>
                  <a:cubicBezTo>
                    <a:pt x="5180" y="1501"/>
                    <a:pt x="4918" y="1251"/>
                    <a:pt x="4918" y="941"/>
                  </a:cubicBezTo>
                  <a:lnTo>
                    <a:pt x="4918" y="929"/>
                  </a:lnTo>
                  <a:cubicBezTo>
                    <a:pt x="4918" y="608"/>
                    <a:pt x="5180" y="358"/>
                    <a:pt x="5490" y="358"/>
                  </a:cubicBezTo>
                  <a:close/>
                  <a:moveTo>
                    <a:pt x="5478" y="0"/>
                  </a:moveTo>
                  <a:cubicBezTo>
                    <a:pt x="4966" y="0"/>
                    <a:pt x="4561" y="405"/>
                    <a:pt x="4561" y="905"/>
                  </a:cubicBezTo>
                  <a:lnTo>
                    <a:pt x="4561" y="929"/>
                  </a:lnTo>
                  <a:cubicBezTo>
                    <a:pt x="4561" y="1429"/>
                    <a:pt x="4966" y="1834"/>
                    <a:pt x="5478" y="1834"/>
                  </a:cubicBezTo>
                  <a:lnTo>
                    <a:pt x="5692" y="1834"/>
                  </a:lnTo>
                  <a:cubicBezTo>
                    <a:pt x="5966" y="1834"/>
                    <a:pt x="6168" y="1620"/>
                    <a:pt x="6168" y="1358"/>
                  </a:cubicBezTo>
                  <a:lnTo>
                    <a:pt x="6168" y="1084"/>
                  </a:lnTo>
                  <a:lnTo>
                    <a:pt x="6561" y="1084"/>
                  </a:lnTo>
                  <a:cubicBezTo>
                    <a:pt x="6930" y="1084"/>
                    <a:pt x="7228" y="1382"/>
                    <a:pt x="7228" y="1763"/>
                  </a:cubicBezTo>
                  <a:lnTo>
                    <a:pt x="7228" y="2667"/>
                  </a:lnTo>
                  <a:cubicBezTo>
                    <a:pt x="6966" y="2715"/>
                    <a:pt x="6740" y="2918"/>
                    <a:pt x="6692" y="3215"/>
                  </a:cubicBezTo>
                  <a:lnTo>
                    <a:pt x="6466" y="4953"/>
                  </a:lnTo>
                  <a:cubicBezTo>
                    <a:pt x="6383" y="5668"/>
                    <a:pt x="5775" y="6204"/>
                    <a:pt x="5061" y="6204"/>
                  </a:cubicBezTo>
                  <a:lnTo>
                    <a:pt x="4323" y="6204"/>
                  </a:lnTo>
                  <a:cubicBezTo>
                    <a:pt x="4239" y="6204"/>
                    <a:pt x="4168" y="6287"/>
                    <a:pt x="4168" y="6370"/>
                  </a:cubicBezTo>
                  <a:cubicBezTo>
                    <a:pt x="4168" y="6466"/>
                    <a:pt x="4239" y="6537"/>
                    <a:pt x="4323" y="6537"/>
                  </a:cubicBezTo>
                  <a:lnTo>
                    <a:pt x="5061" y="6537"/>
                  </a:lnTo>
                  <a:cubicBezTo>
                    <a:pt x="5954" y="6537"/>
                    <a:pt x="6704" y="5870"/>
                    <a:pt x="6811" y="4989"/>
                  </a:cubicBezTo>
                  <a:lnTo>
                    <a:pt x="7037" y="3251"/>
                  </a:lnTo>
                  <a:cubicBezTo>
                    <a:pt x="7049" y="3093"/>
                    <a:pt x="7189" y="2988"/>
                    <a:pt x="7335" y="2988"/>
                  </a:cubicBezTo>
                  <a:cubicBezTo>
                    <a:pt x="7343" y="2988"/>
                    <a:pt x="7351" y="2988"/>
                    <a:pt x="7359" y="2989"/>
                  </a:cubicBezTo>
                  <a:cubicBezTo>
                    <a:pt x="7526" y="3013"/>
                    <a:pt x="7633" y="3156"/>
                    <a:pt x="7621" y="3322"/>
                  </a:cubicBezTo>
                  <a:lnTo>
                    <a:pt x="7395" y="5061"/>
                  </a:lnTo>
                  <a:cubicBezTo>
                    <a:pt x="7240" y="6239"/>
                    <a:pt x="6252" y="7120"/>
                    <a:pt x="5061" y="7120"/>
                  </a:cubicBezTo>
                  <a:lnTo>
                    <a:pt x="4442" y="7120"/>
                  </a:lnTo>
                  <a:cubicBezTo>
                    <a:pt x="4359" y="7120"/>
                    <a:pt x="4287" y="7192"/>
                    <a:pt x="4287" y="7275"/>
                  </a:cubicBezTo>
                  <a:lnTo>
                    <a:pt x="4287" y="8156"/>
                  </a:lnTo>
                  <a:cubicBezTo>
                    <a:pt x="4287" y="8323"/>
                    <a:pt x="4144" y="8454"/>
                    <a:pt x="3989" y="8454"/>
                  </a:cubicBezTo>
                  <a:cubicBezTo>
                    <a:pt x="3823" y="8454"/>
                    <a:pt x="3692" y="8323"/>
                    <a:pt x="3692" y="8156"/>
                  </a:cubicBezTo>
                  <a:lnTo>
                    <a:pt x="3692" y="7275"/>
                  </a:lnTo>
                  <a:cubicBezTo>
                    <a:pt x="3692" y="7192"/>
                    <a:pt x="3608" y="7120"/>
                    <a:pt x="3525" y="7120"/>
                  </a:cubicBezTo>
                  <a:lnTo>
                    <a:pt x="2918" y="7120"/>
                  </a:lnTo>
                  <a:cubicBezTo>
                    <a:pt x="1727" y="7120"/>
                    <a:pt x="727" y="6227"/>
                    <a:pt x="572" y="5061"/>
                  </a:cubicBezTo>
                  <a:lnTo>
                    <a:pt x="358" y="3322"/>
                  </a:lnTo>
                  <a:cubicBezTo>
                    <a:pt x="334" y="3156"/>
                    <a:pt x="441" y="3013"/>
                    <a:pt x="608" y="2989"/>
                  </a:cubicBezTo>
                  <a:cubicBezTo>
                    <a:pt x="616" y="2988"/>
                    <a:pt x="625" y="2988"/>
                    <a:pt x="633" y="2988"/>
                  </a:cubicBezTo>
                  <a:cubicBezTo>
                    <a:pt x="789" y="2988"/>
                    <a:pt x="918" y="3093"/>
                    <a:pt x="930" y="3251"/>
                  </a:cubicBezTo>
                  <a:lnTo>
                    <a:pt x="1156" y="4989"/>
                  </a:lnTo>
                  <a:cubicBezTo>
                    <a:pt x="1263" y="5882"/>
                    <a:pt x="2025" y="6537"/>
                    <a:pt x="2918" y="6537"/>
                  </a:cubicBezTo>
                  <a:lnTo>
                    <a:pt x="3644" y="6537"/>
                  </a:lnTo>
                  <a:cubicBezTo>
                    <a:pt x="3727" y="6537"/>
                    <a:pt x="3811" y="6466"/>
                    <a:pt x="3811" y="6370"/>
                  </a:cubicBezTo>
                  <a:cubicBezTo>
                    <a:pt x="3811" y="6287"/>
                    <a:pt x="3727" y="6204"/>
                    <a:pt x="3644" y="6204"/>
                  </a:cubicBezTo>
                  <a:lnTo>
                    <a:pt x="2918" y="6204"/>
                  </a:lnTo>
                  <a:cubicBezTo>
                    <a:pt x="2203" y="6204"/>
                    <a:pt x="1584" y="5668"/>
                    <a:pt x="1501" y="4953"/>
                  </a:cubicBezTo>
                  <a:lnTo>
                    <a:pt x="1275" y="3215"/>
                  </a:lnTo>
                  <a:cubicBezTo>
                    <a:pt x="1251" y="2929"/>
                    <a:pt x="1025" y="2727"/>
                    <a:pt x="775" y="2679"/>
                  </a:cubicBezTo>
                  <a:lnTo>
                    <a:pt x="775" y="1775"/>
                  </a:lnTo>
                  <a:cubicBezTo>
                    <a:pt x="775" y="1405"/>
                    <a:pt x="1072" y="1108"/>
                    <a:pt x="1441" y="1108"/>
                  </a:cubicBezTo>
                  <a:lnTo>
                    <a:pt x="1822" y="1108"/>
                  </a:lnTo>
                  <a:lnTo>
                    <a:pt x="1822" y="1370"/>
                  </a:lnTo>
                  <a:cubicBezTo>
                    <a:pt x="1822" y="1644"/>
                    <a:pt x="2037" y="1846"/>
                    <a:pt x="2299" y="1846"/>
                  </a:cubicBezTo>
                  <a:lnTo>
                    <a:pt x="2525" y="1846"/>
                  </a:lnTo>
                  <a:cubicBezTo>
                    <a:pt x="3037" y="1846"/>
                    <a:pt x="3430" y="1441"/>
                    <a:pt x="3430" y="941"/>
                  </a:cubicBezTo>
                  <a:lnTo>
                    <a:pt x="3430" y="929"/>
                  </a:lnTo>
                  <a:cubicBezTo>
                    <a:pt x="3430" y="417"/>
                    <a:pt x="3037" y="12"/>
                    <a:pt x="2525" y="12"/>
                  </a:cubicBezTo>
                  <a:lnTo>
                    <a:pt x="2299" y="12"/>
                  </a:lnTo>
                  <a:cubicBezTo>
                    <a:pt x="2037" y="12"/>
                    <a:pt x="1822" y="227"/>
                    <a:pt x="1822" y="489"/>
                  </a:cubicBezTo>
                  <a:lnTo>
                    <a:pt x="1822" y="762"/>
                  </a:lnTo>
                  <a:lnTo>
                    <a:pt x="1441" y="762"/>
                  </a:lnTo>
                  <a:cubicBezTo>
                    <a:pt x="870" y="762"/>
                    <a:pt x="429" y="1227"/>
                    <a:pt x="429" y="1775"/>
                  </a:cubicBezTo>
                  <a:lnTo>
                    <a:pt x="429" y="2715"/>
                  </a:lnTo>
                  <a:cubicBezTo>
                    <a:pt x="156" y="2810"/>
                    <a:pt x="1" y="3084"/>
                    <a:pt x="25" y="3382"/>
                  </a:cubicBezTo>
                  <a:lnTo>
                    <a:pt x="251" y="5120"/>
                  </a:lnTo>
                  <a:cubicBezTo>
                    <a:pt x="418" y="6466"/>
                    <a:pt x="1561" y="7478"/>
                    <a:pt x="2918" y="7478"/>
                  </a:cubicBezTo>
                  <a:lnTo>
                    <a:pt x="3358" y="7478"/>
                  </a:lnTo>
                  <a:lnTo>
                    <a:pt x="3358" y="8192"/>
                  </a:lnTo>
                  <a:cubicBezTo>
                    <a:pt x="3358" y="8466"/>
                    <a:pt x="3549" y="8728"/>
                    <a:pt x="3823" y="8799"/>
                  </a:cubicBezTo>
                  <a:lnTo>
                    <a:pt x="3823" y="9418"/>
                  </a:lnTo>
                  <a:cubicBezTo>
                    <a:pt x="3823" y="10597"/>
                    <a:pt x="4775" y="11550"/>
                    <a:pt x="5954" y="11550"/>
                  </a:cubicBezTo>
                  <a:lnTo>
                    <a:pt x="7799" y="11550"/>
                  </a:lnTo>
                  <a:cubicBezTo>
                    <a:pt x="8966" y="11550"/>
                    <a:pt x="9919" y="10597"/>
                    <a:pt x="9919" y="9418"/>
                  </a:cubicBezTo>
                  <a:lnTo>
                    <a:pt x="9919" y="8454"/>
                  </a:lnTo>
                  <a:cubicBezTo>
                    <a:pt x="10335" y="8430"/>
                    <a:pt x="10740" y="8252"/>
                    <a:pt x="11038" y="7930"/>
                  </a:cubicBezTo>
                  <a:cubicBezTo>
                    <a:pt x="11633" y="7335"/>
                    <a:pt x="11728" y="6382"/>
                    <a:pt x="11264" y="5668"/>
                  </a:cubicBezTo>
                  <a:cubicBezTo>
                    <a:pt x="11235" y="5624"/>
                    <a:pt x="11184" y="5598"/>
                    <a:pt x="11129" y="5598"/>
                  </a:cubicBezTo>
                  <a:cubicBezTo>
                    <a:pt x="11095" y="5598"/>
                    <a:pt x="11058" y="5609"/>
                    <a:pt x="11026" y="5632"/>
                  </a:cubicBezTo>
                  <a:cubicBezTo>
                    <a:pt x="10955" y="5668"/>
                    <a:pt x="10919" y="5775"/>
                    <a:pt x="10978" y="5870"/>
                  </a:cubicBezTo>
                  <a:cubicBezTo>
                    <a:pt x="11609" y="6799"/>
                    <a:pt x="10966" y="8109"/>
                    <a:pt x="9740" y="8109"/>
                  </a:cubicBezTo>
                  <a:cubicBezTo>
                    <a:pt x="8478" y="8109"/>
                    <a:pt x="7823" y="6549"/>
                    <a:pt x="8728" y="5632"/>
                  </a:cubicBezTo>
                  <a:cubicBezTo>
                    <a:pt x="9013" y="5347"/>
                    <a:pt x="9379" y="5201"/>
                    <a:pt x="9749" y="5201"/>
                  </a:cubicBezTo>
                  <a:cubicBezTo>
                    <a:pt x="10029" y="5201"/>
                    <a:pt x="10311" y="5285"/>
                    <a:pt x="10562" y="5454"/>
                  </a:cubicBezTo>
                  <a:cubicBezTo>
                    <a:pt x="10587" y="5466"/>
                    <a:pt x="10618" y="5473"/>
                    <a:pt x="10649" y="5473"/>
                  </a:cubicBezTo>
                  <a:cubicBezTo>
                    <a:pt x="10704" y="5473"/>
                    <a:pt x="10762" y="5452"/>
                    <a:pt x="10800" y="5406"/>
                  </a:cubicBezTo>
                  <a:cubicBezTo>
                    <a:pt x="10847" y="5334"/>
                    <a:pt x="10836" y="5227"/>
                    <a:pt x="10752" y="5168"/>
                  </a:cubicBezTo>
                  <a:cubicBezTo>
                    <a:pt x="10439" y="4961"/>
                    <a:pt x="10099" y="4867"/>
                    <a:pt x="9768" y="4867"/>
                  </a:cubicBezTo>
                  <a:cubicBezTo>
                    <a:pt x="8839" y="4867"/>
                    <a:pt x="7978" y="5606"/>
                    <a:pt x="7978" y="6668"/>
                  </a:cubicBezTo>
                  <a:cubicBezTo>
                    <a:pt x="7978" y="7609"/>
                    <a:pt x="8692" y="8371"/>
                    <a:pt x="9585" y="8454"/>
                  </a:cubicBezTo>
                  <a:lnTo>
                    <a:pt x="9585" y="9406"/>
                  </a:lnTo>
                  <a:cubicBezTo>
                    <a:pt x="9585" y="10395"/>
                    <a:pt x="8776" y="11192"/>
                    <a:pt x="7799" y="11192"/>
                  </a:cubicBezTo>
                  <a:lnTo>
                    <a:pt x="5954" y="11192"/>
                  </a:lnTo>
                  <a:cubicBezTo>
                    <a:pt x="4966" y="11192"/>
                    <a:pt x="4168" y="10395"/>
                    <a:pt x="4168" y="9406"/>
                  </a:cubicBezTo>
                  <a:lnTo>
                    <a:pt x="4168" y="8787"/>
                  </a:lnTo>
                  <a:cubicBezTo>
                    <a:pt x="4430" y="8704"/>
                    <a:pt x="4620" y="8466"/>
                    <a:pt x="4620" y="8168"/>
                  </a:cubicBezTo>
                  <a:lnTo>
                    <a:pt x="4620" y="7478"/>
                  </a:lnTo>
                  <a:lnTo>
                    <a:pt x="5073" y="7478"/>
                  </a:lnTo>
                  <a:cubicBezTo>
                    <a:pt x="6418" y="7478"/>
                    <a:pt x="7573" y="6466"/>
                    <a:pt x="7740" y="5120"/>
                  </a:cubicBezTo>
                  <a:lnTo>
                    <a:pt x="7954" y="3382"/>
                  </a:lnTo>
                  <a:cubicBezTo>
                    <a:pt x="7990" y="3096"/>
                    <a:pt x="7823" y="2834"/>
                    <a:pt x="7573" y="2727"/>
                  </a:cubicBezTo>
                  <a:lnTo>
                    <a:pt x="7573" y="1763"/>
                  </a:lnTo>
                  <a:cubicBezTo>
                    <a:pt x="7573" y="1191"/>
                    <a:pt x="7109" y="751"/>
                    <a:pt x="6561" y="751"/>
                  </a:cubicBezTo>
                  <a:lnTo>
                    <a:pt x="6168" y="751"/>
                  </a:lnTo>
                  <a:lnTo>
                    <a:pt x="6168" y="477"/>
                  </a:lnTo>
                  <a:cubicBezTo>
                    <a:pt x="6168" y="215"/>
                    <a:pt x="5966" y="0"/>
                    <a:pt x="56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17" name="Google Shape;10617;p59"/>
          <p:cNvGrpSpPr/>
          <p:nvPr/>
        </p:nvGrpSpPr>
        <p:grpSpPr>
          <a:xfrm>
            <a:off x="6194086" y="2437737"/>
            <a:ext cx="369837" cy="360471"/>
            <a:chOff x="6194086" y="2437737"/>
            <a:chExt cx="369837" cy="360471"/>
          </a:xfrm>
        </p:grpSpPr>
        <p:sp>
          <p:nvSpPr>
            <p:cNvPr id="10618" name="Google Shape;10618;p59"/>
            <p:cNvSpPr/>
            <p:nvPr/>
          </p:nvSpPr>
          <p:spPr>
            <a:xfrm>
              <a:off x="6194086" y="2437737"/>
              <a:ext cx="369837" cy="360471"/>
            </a:xfrm>
            <a:custGeom>
              <a:avLst/>
              <a:gdLst/>
              <a:ahLst/>
              <a:cxnLst/>
              <a:rect l="l" t="t" r="r" b="b"/>
              <a:pathLst>
                <a:path w="11610" h="11316" extrusionOk="0">
                  <a:moveTo>
                    <a:pt x="630" y="321"/>
                  </a:moveTo>
                  <a:cubicBezTo>
                    <a:pt x="672" y="321"/>
                    <a:pt x="714" y="334"/>
                    <a:pt x="751" y="362"/>
                  </a:cubicBezTo>
                  <a:lnTo>
                    <a:pt x="1286" y="731"/>
                  </a:lnTo>
                  <a:cubicBezTo>
                    <a:pt x="1251" y="790"/>
                    <a:pt x="1096" y="1028"/>
                    <a:pt x="1036" y="1112"/>
                  </a:cubicBezTo>
                  <a:cubicBezTo>
                    <a:pt x="573" y="774"/>
                    <a:pt x="509" y="732"/>
                    <a:pt x="505" y="732"/>
                  </a:cubicBezTo>
                  <a:lnTo>
                    <a:pt x="505" y="732"/>
                  </a:lnTo>
                  <a:cubicBezTo>
                    <a:pt x="503" y="732"/>
                    <a:pt x="509" y="736"/>
                    <a:pt x="508" y="736"/>
                  </a:cubicBezTo>
                  <a:cubicBezTo>
                    <a:pt x="508" y="736"/>
                    <a:pt x="506" y="735"/>
                    <a:pt x="501" y="731"/>
                  </a:cubicBezTo>
                  <a:cubicBezTo>
                    <a:pt x="405" y="659"/>
                    <a:pt x="370" y="528"/>
                    <a:pt x="441" y="421"/>
                  </a:cubicBezTo>
                  <a:cubicBezTo>
                    <a:pt x="492" y="355"/>
                    <a:pt x="562" y="321"/>
                    <a:pt x="630" y="321"/>
                  </a:cubicBezTo>
                  <a:close/>
                  <a:moveTo>
                    <a:pt x="9192" y="2493"/>
                  </a:moveTo>
                  <a:cubicBezTo>
                    <a:pt x="9347" y="2493"/>
                    <a:pt x="9466" y="2612"/>
                    <a:pt x="9466" y="2755"/>
                  </a:cubicBezTo>
                  <a:lnTo>
                    <a:pt x="9466" y="2779"/>
                  </a:lnTo>
                  <a:cubicBezTo>
                    <a:pt x="9466" y="2922"/>
                    <a:pt x="9347" y="3041"/>
                    <a:pt x="9192" y="3041"/>
                  </a:cubicBezTo>
                  <a:lnTo>
                    <a:pt x="7799" y="3041"/>
                  </a:lnTo>
                  <a:lnTo>
                    <a:pt x="7799" y="2493"/>
                  </a:lnTo>
                  <a:close/>
                  <a:moveTo>
                    <a:pt x="6513" y="2933"/>
                  </a:moveTo>
                  <a:lnTo>
                    <a:pt x="6513" y="3743"/>
                  </a:lnTo>
                  <a:lnTo>
                    <a:pt x="2084" y="3743"/>
                  </a:lnTo>
                  <a:lnTo>
                    <a:pt x="2084" y="2933"/>
                  </a:lnTo>
                  <a:close/>
                  <a:moveTo>
                    <a:pt x="3180" y="5422"/>
                  </a:moveTo>
                  <a:cubicBezTo>
                    <a:pt x="4727" y="5422"/>
                    <a:pt x="5966" y="6672"/>
                    <a:pt x="5966" y="8196"/>
                  </a:cubicBezTo>
                  <a:cubicBezTo>
                    <a:pt x="5954" y="9744"/>
                    <a:pt x="4715" y="10970"/>
                    <a:pt x="3180" y="10970"/>
                  </a:cubicBezTo>
                  <a:cubicBezTo>
                    <a:pt x="1656" y="10970"/>
                    <a:pt x="417" y="9720"/>
                    <a:pt x="417" y="8196"/>
                  </a:cubicBezTo>
                  <a:cubicBezTo>
                    <a:pt x="417" y="6660"/>
                    <a:pt x="1667" y="5422"/>
                    <a:pt x="3180" y="5422"/>
                  </a:cubicBezTo>
                  <a:close/>
                  <a:moveTo>
                    <a:pt x="9240" y="8827"/>
                  </a:moveTo>
                  <a:cubicBezTo>
                    <a:pt x="9823" y="8827"/>
                    <a:pt x="10311" y="9327"/>
                    <a:pt x="10311" y="9899"/>
                  </a:cubicBezTo>
                  <a:cubicBezTo>
                    <a:pt x="10311" y="10494"/>
                    <a:pt x="9835" y="10970"/>
                    <a:pt x="9240" y="10970"/>
                  </a:cubicBezTo>
                  <a:cubicBezTo>
                    <a:pt x="8644" y="10970"/>
                    <a:pt x="8168" y="10482"/>
                    <a:pt x="8168" y="9899"/>
                  </a:cubicBezTo>
                  <a:cubicBezTo>
                    <a:pt x="8168" y="9303"/>
                    <a:pt x="8656" y="8827"/>
                    <a:pt x="9240" y="8827"/>
                  </a:cubicBezTo>
                  <a:close/>
                  <a:moveTo>
                    <a:pt x="651" y="1"/>
                  </a:moveTo>
                  <a:cubicBezTo>
                    <a:pt x="471" y="1"/>
                    <a:pt x="290" y="87"/>
                    <a:pt x="179" y="243"/>
                  </a:cubicBezTo>
                  <a:cubicBezTo>
                    <a:pt x="1" y="493"/>
                    <a:pt x="72" y="850"/>
                    <a:pt x="322" y="1017"/>
                  </a:cubicBezTo>
                  <a:cubicBezTo>
                    <a:pt x="911" y="1399"/>
                    <a:pt x="989" y="1512"/>
                    <a:pt x="1077" y="1512"/>
                  </a:cubicBezTo>
                  <a:cubicBezTo>
                    <a:pt x="1090" y="1512"/>
                    <a:pt x="1104" y="1509"/>
                    <a:pt x="1120" y="1505"/>
                  </a:cubicBezTo>
                  <a:cubicBezTo>
                    <a:pt x="1215" y="1493"/>
                    <a:pt x="1239" y="1386"/>
                    <a:pt x="1322" y="1290"/>
                  </a:cubicBezTo>
                  <a:lnTo>
                    <a:pt x="1739" y="1564"/>
                  </a:lnTo>
                  <a:lnTo>
                    <a:pt x="1739" y="5458"/>
                  </a:lnTo>
                  <a:cubicBezTo>
                    <a:pt x="763" y="5970"/>
                    <a:pt x="72" y="7017"/>
                    <a:pt x="72" y="8208"/>
                  </a:cubicBezTo>
                  <a:cubicBezTo>
                    <a:pt x="72" y="9922"/>
                    <a:pt x="1477" y="11315"/>
                    <a:pt x="3180" y="11315"/>
                  </a:cubicBezTo>
                  <a:cubicBezTo>
                    <a:pt x="5049" y="11315"/>
                    <a:pt x="6501" y="9684"/>
                    <a:pt x="6275" y="7815"/>
                  </a:cubicBezTo>
                  <a:lnTo>
                    <a:pt x="9073" y="7815"/>
                  </a:lnTo>
                  <a:lnTo>
                    <a:pt x="9073" y="8506"/>
                  </a:lnTo>
                  <a:cubicBezTo>
                    <a:pt x="8383" y="8589"/>
                    <a:pt x="7823" y="9184"/>
                    <a:pt x="7823" y="9899"/>
                  </a:cubicBezTo>
                  <a:cubicBezTo>
                    <a:pt x="7823" y="10673"/>
                    <a:pt x="8466" y="11315"/>
                    <a:pt x="9240" y="11315"/>
                  </a:cubicBezTo>
                  <a:cubicBezTo>
                    <a:pt x="9966" y="11315"/>
                    <a:pt x="10561" y="10768"/>
                    <a:pt x="10645" y="10065"/>
                  </a:cubicBezTo>
                  <a:lnTo>
                    <a:pt x="11431" y="10065"/>
                  </a:lnTo>
                  <a:cubicBezTo>
                    <a:pt x="11514" y="10065"/>
                    <a:pt x="11597" y="9994"/>
                    <a:pt x="11597" y="9899"/>
                  </a:cubicBezTo>
                  <a:cubicBezTo>
                    <a:pt x="11609" y="9815"/>
                    <a:pt x="11538" y="9720"/>
                    <a:pt x="11431" y="9720"/>
                  </a:cubicBezTo>
                  <a:lnTo>
                    <a:pt x="10645" y="9720"/>
                  </a:lnTo>
                  <a:cubicBezTo>
                    <a:pt x="10561" y="9089"/>
                    <a:pt x="10049" y="8565"/>
                    <a:pt x="9406" y="8494"/>
                  </a:cubicBezTo>
                  <a:lnTo>
                    <a:pt x="9406" y="6922"/>
                  </a:lnTo>
                  <a:cubicBezTo>
                    <a:pt x="9406" y="6839"/>
                    <a:pt x="9335" y="6767"/>
                    <a:pt x="9240" y="6767"/>
                  </a:cubicBezTo>
                  <a:cubicBezTo>
                    <a:pt x="9156" y="6767"/>
                    <a:pt x="9073" y="6839"/>
                    <a:pt x="9073" y="6922"/>
                  </a:cubicBezTo>
                  <a:lnTo>
                    <a:pt x="9073" y="7482"/>
                  </a:lnTo>
                  <a:lnTo>
                    <a:pt x="6216" y="7482"/>
                  </a:lnTo>
                  <a:cubicBezTo>
                    <a:pt x="5875" y="6064"/>
                    <a:pt x="4598" y="5082"/>
                    <a:pt x="3192" y="5082"/>
                  </a:cubicBezTo>
                  <a:cubicBezTo>
                    <a:pt x="2827" y="5082"/>
                    <a:pt x="2453" y="5148"/>
                    <a:pt x="2084" y="5291"/>
                  </a:cubicBezTo>
                  <a:lnTo>
                    <a:pt x="2084" y="4088"/>
                  </a:lnTo>
                  <a:lnTo>
                    <a:pt x="6859" y="4088"/>
                  </a:lnTo>
                  <a:cubicBezTo>
                    <a:pt x="8037" y="4088"/>
                    <a:pt x="9002" y="5005"/>
                    <a:pt x="9073" y="6184"/>
                  </a:cubicBezTo>
                  <a:cubicBezTo>
                    <a:pt x="9073" y="6267"/>
                    <a:pt x="9168" y="6351"/>
                    <a:pt x="9252" y="6351"/>
                  </a:cubicBezTo>
                  <a:cubicBezTo>
                    <a:pt x="9347" y="6351"/>
                    <a:pt x="9418" y="6255"/>
                    <a:pt x="9418" y="6172"/>
                  </a:cubicBezTo>
                  <a:cubicBezTo>
                    <a:pt x="9347" y="4815"/>
                    <a:pt x="8228" y="3755"/>
                    <a:pt x="6870" y="3755"/>
                  </a:cubicBezTo>
                  <a:lnTo>
                    <a:pt x="6870" y="2957"/>
                  </a:lnTo>
                  <a:lnTo>
                    <a:pt x="7490" y="2957"/>
                  </a:lnTo>
                  <a:lnTo>
                    <a:pt x="7490" y="3231"/>
                  </a:lnTo>
                  <a:cubicBezTo>
                    <a:pt x="7490" y="3326"/>
                    <a:pt x="7561" y="3398"/>
                    <a:pt x="7644" y="3398"/>
                  </a:cubicBezTo>
                  <a:lnTo>
                    <a:pt x="9228" y="3398"/>
                  </a:lnTo>
                  <a:cubicBezTo>
                    <a:pt x="9573" y="3398"/>
                    <a:pt x="9835" y="3136"/>
                    <a:pt x="9835" y="2791"/>
                  </a:cubicBezTo>
                  <a:lnTo>
                    <a:pt x="9835" y="2779"/>
                  </a:lnTo>
                  <a:cubicBezTo>
                    <a:pt x="9835" y="2433"/>
                    <a:pt x="9573" y="2160"/>
                    <a:pt x="9228" y="2160"/>
                  </a:cubicBezTo>
                  <a:lnTo>
                    <a:pt x="7644" y="2160"/>
                  </a:lnTo>
                  <a:cubicBezTo>
                    <a:pt x="7561" y="2160"/>
                    <a:pt x="7490" y="2243"/>
                    <a:pt x="7490" y="2326"/>
                  </a:cubicBezTo>
                  <a:lnTo>
                    <a:pt x="7490" y="2612"/>
                  </a:lnTo>
                  <a:lnTo>
                    <a:pt x="2096" y="2612"/>
                  </a:lnTo>
                  <a:lnTo>
                    <a:pt x="2096" y="1481"/>
                  </a:lnTo>
                  <a:cubicBezTo>
                    <a:pt x="2096" y="1421"/>
                    <a:pt x="2072" y="1374"/>
                    <a:pt x="2025" y="1350"/>
                  </a:cubicBezTo>
                  <a:lnTo>
                    <a:pt x="1536" y="1028"/>
                  </a:lnTo>
                  <a:lnTo>
                    <a:pt x="1679" y="814"/>
                  </a:lnTo>
                  <a:cubicBezTo>
                    <a:pt x="1727" y="731"/>
                    <a:pt x="1715" y="636"/>
                    <a:pt x="1632" y="564"/>
                  </a:cubicBezTo>
                  <a:cubicBezTo>
                    <a:pt x="1050" y="153"/>
                    <a:pt x="969" y="96"/>
                    <a:pt x="966" y="96"/>
                  </a:cubicBezTo>
                  <a:lnTo>
                    <a:pt x="966" y="96"/>
                  </a:lnTo>
                  <a:cubicBezTo>
                    <a:pt x="965" y="96"/>
                    <a:pt x="976" y="104"/>
                    <a:pt x="974" y="104"/>
                  </a:cubicBezTo>
                  <a:cubicBezTo>
                    <a:pt x="973" y="104"/>
                    <a:pt x="971" y="103"/>
                    <a:pt x="965" y="100"/>
                  </a:cubicBezTo>
                  <a:cubicBezTo>
                    <a:pt x="871" y="32"/>
                    <a:pt x="761" y="1"/>
                    <a:pt x="6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9" name="Google Shape;10619;p59"/>
            <p:cNvSpPr/>
            <p:nvPr/>
          </p:nvSpPr>
          <p:spPr>
            <a:xfrm>
              <a:off x="6251362" y="2655721"/>
              <a:ext cx="89927" cy="88621"/>
            </a:xfrm>
            <a:custGeom>
              <a:avLst/>
              <a:gdLst/>
              <a:ahLst/>
              <a:cxnLst/>
              <a:rect l="l" t="t" r="r" b="b"/>
              <a:pathLst>
                <a:path w="2823" h="2782" extrusionOk="0">
                  <a:moveTo>
                    <a:pt x="1032" y="0"/>
                  </a:moveTo>
                  <a:cubicBezTo>
                    <a:pt x="1014" y="0"/>
                    <a:pt x="996" y="3"/>
                    <a:pt x="977" y="8"/>
                  </a:cubicBezTo>
                  <a:cubicBezTo>
                    <a:pt x="381" y="198"/>
                    <a:pt x="0" y="734"/>
                    <a:pt x="0" y="1365"/>
                  </a:cubicBezTo>
                  <a:cubicBezTo>
                    <a:pt x="0" y="2139"/>
                    <a:pt x="643" y="2782"/>
                    <a:pt x="1417" y="2782"/>
                  </a:cubicBezTo>
                  <a:cubicBezTo>
                    <a:pt x="2191" y="2782"/>
                    <a:pt x="2822" y="2139"/>
                    <a:pt x="2822" y="1365"/>
                  </a:cubicBezTo>
                  <a:cubicBezTo>
                    <a:pt x="2798" y="734"/>
                    <a:pt x="2417" y="198"/>
                    <a:pt x="1822" y="8"/>
                  </a:cubicBezTo>
                  <a:cubicBezTo>
                    <a:pt x="1803" y="3"/>
                    <a:pt x="1784" y="0"/>
                    <a:pt x="1767" y="0"/>
                  </a:cubicBezTo>
                  <a:cubicBezTo>
                    <a:pt x="1695" y="0"/>
                    <a:pt x="1636" y="39"/>
                    <a:pt x="1608" y="115"/>
                  </a:cubicBezTo>
                  <a:cubicBezTo>
                    <a:pt x="1572" y="198"/>
                    <a:pt x="1620" y="293"/>
                    <a:pt x="1715" y="317"/>
                  </a:cubicBezTo>
                  <a:cubicBezTo>
                    <a:pt x="2155" y="472"/>
                    <a:pt x="2465" y="865"/>
                    <a:pt x="2465" y="1341"/>
                  </a:cubicBezTo>
                  <a:cubicBezTo>
                    <a:pt x="2465" y="1936"/>
                    <a:pt x="1977" y="2413"/>
                    <a:pt x="1393" y="2413"/>
                  </a:cubicBezTo>
                  <a:cubicBezTo>
                    <a:pt x="822" y="2413"/>
                    <a:pt x="322" y="1925"/>
                    <a:pt x="322" y="1341"/>
                  </a:cubicBezTo>
                  <a:cubicBezTo>
                    <a:pt x="322" y="865"/>
                    <a:pt x="620" y="448"/>
                    <a:pt x="1084" y="317"/>
                  </a:cubicBezTo>
                  <a:cubicBezTo>
                    <a:pt x="1179" y="293"/>
                    <a:pt x="1215" y="198"/>
                    <a:pt x="1191" y="115"/>
                  </a:cubicBezTo>
                  <a:cubicBezTo>
                    <a:pt x="1162" y="39"/>
                    <a:pt x="1103" y="0"/>
                    <a:pt x="1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0623"/>
        <p:cNvGrpSpPr/>
        <p:nvPr/>
      </p:nvGrpSpPr>
      <p:grpSpPr>
        <a:xfrm>
          <a:off x="0" y="0"/>
          <a:ext cx="0" cy="0"/>
          <a:chOff x="0" y="0"/>
          <a:chExt cx="0" cy="0"/>
        </a:xfrm>
      </p:grpSpPr>
      <p:sp>
        <p:nvSpPr>
          <p:cNvPr id="10624" name="Google Shape;10624;p60"/>
          <p:cNvSpPr txBox="1">
            <a:spLocks noGrp="1"/>
          </p:cNvSpPr>
          <p:nvPr>
            <p:ph type="title" idx="4294967295"/>
          </p:nvPr>
        </p:nvSpPr>
        <p:spPr>
          <a:xfrm>
            <a:off x="849675"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25" name="Google Shape;10625;p60"/>
          <p:cNvSpPr txBox="1">
            <a:spLocks noGrp="1"/>
          </p:cNvSpPr>
          <p:nvPr>
            <p:ph type="title" idx="4294967295"/>
          </p:nvPr>
        </p:nvSpPr>
        <p:spPr>
          <a:xfrm>
            <a:off x="4858400" y="943775"/>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10626" name="Google Shape;10626;p60"/>
          <p:cNvGrpSpPr/>
          <p:nvPr/>
        </p:nvGrpSpPr>
        <p:grpSpPr>
          <a:xfrm>
            <a:off x="3541011" y="1508594"/>
            <a:ext cx="350166" cy="349434"/>
            <a:chOff x="3541011" y="1508594"/>
            <a:chExt cx="350166" cy="349434"/>
          </a:xfrm>
        </p:grpSpPr>
        <p:sp>
          <p:nvSpPr>
            <p:cNvPr id="10627" name="Google Shape;10627;p60"/>
            <p:cNvSpPr/>
            <p:nvPr/>
          </p:nvSpPr>
          <p:spPr>
            <a:xfrm>
              <a:off x="3600879" y="1568270"/>
              <a:ext cx="230049" cy="289758"/>
            </a:xfrm>
            <a:custGeom>
              <a:avLst/>
              <a:gdLst/>
              <a:ahLst/>
              <a:cxnLst/>
              <a:rect l="l" t="t" r="r" b="b"/>
              <a:pathLst>
                <a:path w="7228" h="9104" extrusionOk="0">
                  <a:moveTo>
                    <a:pt x="3810" y="3781"/>
                  </a:moveTo>
                  <a:cubicBezTo>
                    <a:pt x="4001" y="3781"/>
                    <a:pt x="4156" y="3936"/>
                    <a:pt x="4156" y="4138"/>
                  </a:cubicBezTo>
                  <a:lnTo>
                    <a:pt x="4156" y="4472"/>
                  </a:lnTo>
                  <a:cubicBezTo>
                    <a:pt x="4144" y="4757"/>
                    <a:pt x="3906" y="4995"/>
                    <a:pt x="3632" y="4995"/>
                  </a:cubicBezTo>
                  <a:cubicBezTo>
                    <a:pt x="3334" y="4995"/>
                    <a:pt x="3108" y="4757"/>
                    <a:pt x="3108" y="4472"/>
                  </a:cubicBezTo>
                  <a:lnTo>
                    <a:pt x="3108" y="4138"/>
                  </a:lnTo>
                  <a:cubicBezTo>
                    <a:pt x="3108" y="3936"/>
                    <a:pt x="3275" y="3781"/>
                    <a:pt x="3465" y="3781"/>
                  </a:cubicBezTo>
                  <a:close/>
                  <a:moveTo>
                    <a:pt x="3787" y="5329"/>
                  </a:moveTo>
                  <a:lnTo>
                    <a:pt x="3787" y="5400"/>
                  </a:lnTo>
                  <a:cubicBezTo>
                    <a:pt x="3810" y="5460"/>
                    <a:pt x="3822" y="5519"/>
                    <a:pt x="3846" y="5567"/>
                  </a:cubicBezTo>
                  <a:lnTo>
                    <a:pt x="3632" y="5781"/>
                  </a:lnTo>
                  <a:lnTo>
                    <a:pt x="3596" y="5781"/>
                  </a:lnTo>
                  <a:lnTo>
                    <a:pt x="3370" y="5567"/>
                  </a:lnTo>
                  <a:cubicBezTo>
                    <a:pt x="3406" y="5519"/>
                    <a:pt x="3417" y="5460"/>
                    <a:pt x="3417" y="5400"/>
                  </a:cubicBezTo>
                  <a:lnTo>
                    <a:pt x="3417" y="5329"/>
                  </a:lnTo>
                  <a:close/>
                  <a:moveTo>
                    <a:pt x="3617" y="361"/>
                  </a:moveTo>
                  <a:cubicBezTo>
                    <a:pt x="4471" y="361"/>
                    <a:pt x="5286" y="670"/>
                    <a:pt x="5918" y="1257"/>
                  </a:cubicBezTo>
                  <a:cubicBezTo>
                    <a:pt x="6573" y="1888"/>
                    <a:pt x="6942" y="2733"/>
                    <a:pt x="6942" y="3638"/>
                  </a:cubicBezTo>
                  <a:cubicBezTo>
                    <a:pt x="6906" y="4281"/>
                    <a:pt x="6692" y="4936"/>
                    <a:pt x="6323" y="5484"/>
                  </a:cubicBezTo>
                  <a:cubicBezTo>
                    <a:pt x="5953" y="6019"/>
                    <a:pt x="5430" y="6436"/>
                    <a:pt x="4822" y="6674"/>
                  </a:cubicBezTo>
                  <a:cubicBezTo>
                    <a:pt x="4620" y="6758"/>
                    <a:pt x="4501" y="6948"/>
                    <a:pt x="4501" y="7139"/>
                  </a:cubicBezTo>
                  <a:lnTo>
                    <a:pt x="4501" y="7591"/>
                  </a:lnTo>
                  <a:cubicBezTo>
                    <a:pt x="4501" y="7662"/>
                    <a:pt x="4489" y="7722"/>
                    <a:pt x="4441" y="7781"/>
                  </a:cubicBezTo>
                  <a:lnTo>
                    <a:pt x="4287" y="8032"/>
                  </a:lnTo>
                  <a:cubicBezTo>
                    <a:pt x="4263" y="8043"/>
                    <a:pt x="4251" y="8079"/>
                    <a:pt x="4251" y="8091"/>
                  </a:cubicBezTo>
                  <a:lnTo>
                    <a:pt x="3025" y="8091"/>
                  </a:lnTo>
                  <a:cubicBezTo>
                    <a:pt x="3013" y="8079"/>
                    <a:pt x="3013" y="8043"/>
                    <a:pt x="3001" y="8032"/>
                  </a:cubicBezTo>
                  <a:lnTo>
                    <a:pt x="2834" y="7781"/>
                  </a:lnTo>
                  <a:cubicBezTo>
                    <a:pt x="2786" y="7722"/>
                    <a:pt x="2775" y="7651"/>
                    <a:pt x="2775" y="7591"/>
                  </a:cubicBezTo>
                  <a:lnTo>
                    <a:pt x="2775" y="6067"/>
                  </a:lnTo>
                  <a:cubicBezTo>
                    <a:pt x="2775" y="5996"/>
                    <a:pt x="2822" y="5936"/>
                    <a:pt x="2882" y="5900"/>
                  </a:cubicBezTo>
                  <a:lnTo>
                    <a:pt x="3167" y="5769"/>
                  </a:lnTo>
                  <a:lnTo>
                    <a:pt x="3417" y="6019"/>
                  </a:lnTo>
                  <a:cubicBezTo>
                    <a:pt x="3477" y="6079"/>
                    <a:pt x="3560" y="6127"/>
                    <a:pt x="3656" y="6127"/>
                  </a:cubicBezTo>
                  <a:cubicBezTo>
                    <a:pt x="3751" y="6127"/>
                    <a:pt x="3834" y="6103"/>
                    <a:pt x="3894" y="6019"/>
                  </a:cubicBezTo>
                  <a:lnTo>
                    <a:pt x="4144" y="5769"/>
                  </a:lnTo>
                  <a:lnTo>
                    <a:pt x="4429" y="5900"/>
                  </a:lnTo>
                  <a:cubicBezTo>
                    <a:pt x="4489" y="5936"/>
                    <a:pt x="4537" y="5996"/>
                    <a:pt x="4537" y="6067"/>
                  </a:cubicBezTo>
                  <a:lnTo>
                    <a:pt x="4537" y="6198"/>
                  </a:lnTo>
                  <a:cubicBezTo>
                    <a:pt x="4537" y="6293"/>
                    <a:pt x="4608" y="6365"/>
                    <a:pt x="4703" y="6365"/>
                  </a:cubicBezTo>
                  <a:cubicBezTo>
                    <a:pt x="4787" y="6365"/>
                    <a:pt x="4858" y="6293"/>
                    <a:pt x="4858" y="6198"/>
                  </a:cubicBezTo>
                  <a:lnTo>
                    <a:pt x="4858" y="6067"/>
                  </a:lnTo>
                  <a:cubicBezTo>
                    <a:pt x="4858" y="5877"/>
                    <a:pt x="4763" y="5698"/>
                    <a:pt x="4584" y="5626"/>
                  </a:cubicBezTo>
                  <a:lnTo>
                    <a:pt x="4179" y="5412"/>
                  </a:lnTo>
                  <a:lnTo>
                    <a:pt x="4179" y="5400"/>
                  </a:lnTo>
                  <a:lnTo>
                    <a:pt x="4179" y="5162"/>
                  </a:lnTo>
                  <a:cubicBezTo>
                    <a:pt x="4382" y="5007"/>
                    <a:pt x="4525" y="4757"/>
                    <a:pt x="4525" y="4472"/>
                  </a:cubicBezTo>
                  <a:lnTo>
                    <a:pt x="4525" y="4138"/>
                  </a:lnTo>
                  <a:cubicBezTo>
                    <a:pt x="4525" y="3757"/>
                    <a:pt x="4227" y="3448"/>
                    <a:pt x="3834" y="3448"/>
                  </a:cubicBezTo>
                  <a:lnTo>
                    <a:pt x="3489" y="3448"/>
                  </a:lnTo>
                  <a:cubicBezTo>
                    <a:pt x="3120" y="3448"/>
                    <a:pt x="2810" y="3745"/>
                    <a:pt x="2810" y="4138"/>
                  </a:cubicBezTo>
                  <a:lnTo>
                    <a:pt x="2810" y="4472"/>
                  </a:lnTo>
                  <a:cubicBezTo>
                    <a:pt x="2810" y="4757"/>
                    <a:pt x="2941" y="4995"/>
                    <a:pt x="3156" y="5162"/>
                  </a:cubicBezTo>
                  <a:lnTo>
                    <a:pt x="3156" y="5400"/>
                  </a:lnTo>
                  <a:lnTo>
                    <a:pt x="3156" y="5412"/>
                  </a:lnTo>
                  <a:lnTo>
                    <a:pt x="2751" y="5626"/>
                  </a:lnTo>
                  <a:cubicBezTo>
                    <a:pt x="2572" y="5710"/>
                    <a:pt x="2465" y="5877"/>
                    <a:pt x="2465" y="6067"/>
                  </a:cubicBezTo>
                  <a:lnTo>
                    <a:pt x="2465" y="6674"/>
                  </a:lnTo>
                  <a:cubicBezTo>
                    <a:pt x="1882" y="6460"/>
                    <a:pt x="1381" y="6055"/>
                    <a:pt x="1012" y="5567"/>
                  </a:cubicBezTo>
                  <a:cubicBezTo>
                    <a:pt x="572" y="4984"/>
                    <a:pt x="369" y="4281"/>
                    <a:pt x="381" y="3567"/>
                  </a:cubicBezTo>
                  <a:cubicBezTo>
                    <a:pt x="393" y="2745"/>
                    <a:pt x="727" y="1959"/>
                    <a:pt x="1310" y="1364"/>
                  </a:cubicBezTo>
                  <a:cubicBezTo>
                    <a:pt x="1882" y="769"/>
                    <a:pt x="2655" y="412"/>
                    <a:pt x="3477" y="364"/>
                  </a:cubicBezTo>
                  <a:cubicBezTo>
                    <a:pt x="3524" y="362"/>
                    <a:pt x="3571" y="361"/>
                    <a:pt x="3617" y="361"/>
                  </a:cubicBezTo>
                  <a:close/>
                  <a:moveTo>
                    <a:pt x="4144" y="8424"/>
                  </a:moveTo>
                  <a:lnTo>
                    <a:pt x="4144" y="8782"/>
                  </a:lnTo>
                  <a:lnTo>
                    <a:pt x="3108" y="8794"/>
                  </a:lnTo>
                  <a:cubicBezTo>
                    <a:pt x="3108" y="8794"/>
                    <a:pt x="3096" y="8794"/>
                    <a:pt x="3096" y="8782"/>
                  </a:cubicBezTo>
                  <a:lnTo>
                    <a:pt x="3096" y="8424"/>
                  </a:lnTo>
                  <a:close/>
                  <a:moveTo>
                    <a:pt x="3635" y="0"/>
                  </a:moveTo>
                  <a:cubicBezTo>
                    <a:pt x="3563" y="0"/>
                    <a:pt x="3490" y="2"/>
                    <a:pt x="3417" y="7"/>
                  </a:cubicBezTo>
                  <a:cubicBezTo>
                    <a:pt x="2513" y="54"/>
                    <a:pt x="1667" y="435"/>
                    <a:pt x="1024" y="1114"/>
                  </a:cubicBezTo>
                  <a:cubicBezTo>
                    <a:pt x="381" y="1769"/>
                    <a:pt x="24" y="2626"/>
                    <a:pt x="12" y="3531"/>
                  </a:cubicBezTo>
                  <a:cubicBezTo>
                    <a:pt x="0" y="4341"/>
                    <a:pt x="238" y="5103"/>
                    <a:pt x="691" y="5734"/>
                  </a:cubicBezTo>
                  <a:cubicBezTo>
                    <a:pt x="1131" y="6317"/>
                    <a:pt x="1739" y="6781"/>
                    <a:pt x="2405" y="7019"/>
                  </a:cubicBezTo>
                  <a:lnTo>
                    <a:pt x="2405" y="7603"/>
                  </a:lnTo>
                  <a:cubicBezTo>
                    <a:pt x="2405" y="7734"/>
                    <a:pt x="2453" y="7865"/>
                    <a:pt x="2524" y="7972"/>
                  </a:cubicBezTo>
                  <a:lnTo>
                    <a:pt x="2691" y="8222"/>
                  </a:lnTo>
                  <a:cubicBezTo>
                    <a:pt x="2739" y="8282"/>
                    <a:pt x="2751" y="8353"/>
                    <a:pt x="2751" y="8413"/>
                  </a:cubicBezTo>
                  <a:lnTo>
                    <a:pt x="2751" y="8770"/>
                  </a:lnTo>
                  <a:cubicBezTo>
                    <a:pt x="2751" y="8948"/>
                    <a:pt x="2894" y="9103"/>
                    <a:pt x="3072" y="9103"/>
                  </a:cubicBezTo>
                  <a:lnTo>
                    <a:pt x="4108" y="9103"/>
                  </a:lnTo>
                  <a:cubicBezTo>
                    <a:pt x="4287" y="9103"/>
                    <a:pt x="4429" y="8948"/>
                    <a:pt x="4429" y="8770"/>
                  </a:cubicBezTo>
                  <a:lnTo>
                    <a:pt x="4429" y="8413"/>
                  </a:lnTo>
                  <a:cubicBezTo>
                    <a:pt x="4429" y="8341"/>
                    <a:pt x="4441" y="8282"/>
                    <a:pt x="4489" y="8222"/>
                  </a:cubicBezTo>
                  <a:lnTo>
                    <a:pt x="4656" y="7972"/>
                  </a:lnTo>
                  <a:cubicBezTo>
                    <a:pt x="4727" y="7865"/>
                    <a:pt x="4775" y="7734"/>
                    <a:pt x="4775" y="7603"/>
                  </a:cubicBezTo>
                  <a:lnTo>
                    <a:pt x="4775" y="7150"/>
                  </a:lnTo>
                  <a:cubicBezTo>
                    <a:pt x="4775" y="7079"/>
                    <a:pt x="4822" y="7008"/>
                    <a:pt x="4894" y="6984"/>
                  </a:cubicBezTo>
                  <a:cubicBezTo>
                    <a:pt x="5561" y="6734"/>
                    <a:pt x="6132" y="6269"/>
                    <a:pt x="6549" y="5698"/>
                  </a:cubicBezTo>
                  <a:cubicBezTo>
                    <a:pt x="6966" y="5079"/>
                    <a:pt x="7180" y="4388"/>
                    <a:pt x="7180" y="3638"/>
                  </a:cubicBezTo>
                  <a:cubicBezTo>
                    <a:pt x="7227" y="2614"/>
                    <a:pt x="6823" y="1674"/>
                    <a:pt x="6096" y="995"/>
                  </a:cubicBezTo>
                  <a:cubicBezTo>
                    <a:pt x="5422" y="354"/>
                    <a:pt x="4564" y="0"/>
                    <a:pt x="36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8" name="Google Shape;10628;p60"/>
            <p:cNvSpPr/>
            <p:nvPr/>
          </p:nvSpPr>
          <p:spPr>
            <a:xfrm>
              <a:off x="3541011" y="1677980"/>
              <a:ext cx="48919" cy="10630"/>
            </a:xfrm>
            <a:custGeom>
              <a:avLst/>
              <a:gdLst/>
              <a:ahLst/>
              <a:cxnLst/>
              <a:rect l="l" t="t" r="r" b="b"/>
              <a:pathLst>
                <a:path w="1537" h="334" extrusionOk="0">
                  <a:moveTo>
                    <a:pt x="167" y="1"/>
                  </a:moveTo>
                  <a:cubicBezTo>
                    <a:pt x="72" y="1"/>
                    <a:pt x="0" y="72"/>
                    <a:pt x="0" y="167"/>
                  </a:cubicBezTo>
                  <a:cubicBezTo>
                    <a:pt x="0" y="251"/>
                    <a:pt x="72" y="334"/>
                    <a:pt x="167" y="334"/>
                  </a:cubicBezTo>
                  <a:lnTo>
                    <a:pt x="1369" y="334"/>
                  </a:lnTo>
                  <a:cubicBezTo>
                    <a:pt x="1465" y="334"/>
                    <a:pt x="1536" y="251"/>
                    <a:pt x="1536" y="167"/>
                  </a:cubicBezTo>
                  <a:cubicBezTo>
                    <a:pt x="1536" y="72"/>
                    <a:pt x="1465" y="1"/>
                    <a:pt x="13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9" name="Google Shape;10629;p60"/>
            <p:cNvSpPr/>
            <p:nvPr/>
          </p:nvSpPr>
          <p:spPr>
            <a:xfrm>
              <a:off x="3842259" y="1677980"/>
              <a:ext cx="48919" cy="10630"/>
            </a:xfrm>
            <a:custGeom>
              <a:avLst/>
              <a:gdLst/>
              <a:ahLst/>
              <a:cxnLst/>
              <a:rect l="l" t="t" r="r" b="b"/>
              <a:pathLst>
                <a:path w="1537" h="334" extrusionOk="0">
                  <a:moveTo>
                    <a:pt x="167" y="1"/>
                  </a:moveTo>
                  <a:cubicBezTo>
                    <a:pt x="72" y="1"/>
                    <a:pt x="1" y="72"/>
                    <a:pt x="1" y="167"/>
                  </a:cubicBezTo>
                  <a:cubicBezTo>
                    <a:pt x="1" y="251"/>
                    <a:pt x="72" y="334"/>
                    <a:pt x="167"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0" name="Google Shape;10630;p60"/>
            <p:cNvSpPr/>
            <p:nvPr/>
          </p:nvSpPr>
          <p:spPr>
            <a:xfrm>
              <a:off x="3711161" y="1508594"/>
              <a:ext cx="10248" cy="48537"/>
            </a:xfrm>
            <a:custGeom>
              <a:avLst/>
              <a:gdLst/>
              <a:ahLst/>
              <a:cxnLst/>
              <a:rect l="l" t="t" r="r" b="b"/>
              <a:pathLst>
                <a:path w="322" h="1525" extrusionOk="0">
                  <a:moveTo>
                    <a:pt x="167" y="1"/>
                  </a:moveTo>
                  <a:cubicBezTo>
                    <a:pt x="72" y="1"/>
                    <a:pt x="0" y="72"/>
                    <a:pt x="0" y="155"/>
                  </a:cubicBezTo>
                  <a:lnTo>
                    <a:pt x="0" y="1370"/>
                  </a:lnTo>
                  <a:cubicBezTo>
                    <a:pt x="0" y="1453"/>
                    <a:pt x="72" y="1525"/>
                    <a:pt x="167" y="1525"/>
                  </a:cubicBezTo>
                  <a:cubicBezTo>
                    <a:pt x="250" y="1525"/>
                    <a:pt x="322" y="1453"/>
                    <a:pt x="322" y="1370"/>
                  </a:cubicBezTo>
                  <a:lnTo>
                    <a:pt x="322" y="155"/>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1" name="Google Shape;10631;p60"/>
            <p:cNvSpPr/>
            <p:nvPr/>
          </p:nvSpPr>
          <p:spPr>
            <a:xfrm>
              <a:off x="3633470" y="1792018"/>
              <a:ext cx="22757" cy="29249"/>
            </a:xfrm>
            <a:custGeom>
              <a:avLst/>
              <a:gdLst/>
              <a:ahLst/>
              <a:cxnLst/>
              <a:rect l="l" t="t" r="r" b="b"/>
              <a:pathLst>
                <a:path w="715" h="919" extrusionOk="0">
                  <a:moveTo>
                    <a:pt x="525" y="1"/>
                  </a:moveTo>
                  <a:cubicBezTo>
                    <a:pt x="470" y="1"/>
                    <a:pt x="413" y="30"/>
                    <a:pt x="381" y="85"/>
                  </a:cubicBezTo>
                  <a:lnTo>
                    <a:pt x="48" y="680"/>
                  </a:lnTo>
                  <a:cubicBezTo>
                    <a:pt x="0" y="751"/>
                    <a:pt x="24" y="859"/>
                    <a:pt x="107" y="894"/>
                  </a:cubicBezTo>
                  <a:cubicBezTo>
                    <a:pt x="131" y="918"/>
                    <a:pt x="167" y="918"/>
                    <a:pt x="179" y="918"/>
                  </a:cubicBezTo>
                  <a:cubicBezTo>
                    <a:pt x="238" y="918"/>
                    <a:pt x="286" y="882"/>
                    <a:pt x="310" y="835"/>
                  </a:cubicBezTo>
                  <a:lnTo>
                    <a:pt x="655" y="240"/>
                  </a:lnTo>
                  <a:cubicBezTo>
                    <a:pt x="715" y="156"/>
                    <a:pt x="679"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2" name="Google Shape;10632;p60"/>
            <p:cNvSpPr/>
            <p:nvPr/>
          </p:nvSpPr>
          <p:spPr>
            <a:xfrm>
              <a:off x="3775962" y="1545195"/>
              <a:ext cx="22757" cy="28995"/>
            </a:xfrm>
            <a:custGeom>
              <a:avLst/>
              <a:gdLst/>
              <a:ahLst/>
              <a:cxnLst/>
              <a:rect l="l" t="t" r="r" b="b"/>
              <a:pathLst>
                <a:path w="715" h="911" extrusionOk="0">
                  <a:moveTo>
                    <a:pt x="534" y="1"/>
                  </a:moveTo>
                  <a:cubicBezTo>
                    <a:pt x="476" y="1"/>
                    <a:pt x="418" y="28"/>
                    <a:pt x="393" y="77"/>
                  </a:cubicBezTo>
                  <a:lnTo>
                    <a:pt x="48" y="672"/>
                  </a:lnTo>
                  <a:cubicBezTo>
                    <a:pt x="0" y="744"/>
                    <a:pt x="36" y="851"/>
                    <a:pt x="107" y="898"/>
                  </a:cubicBezTo>
                  <a:cubicBezTo>
                    <a:pt x="131" y="910"/>
                    <a:pt x="167" y="910"/>
                    <a:pt x="179" y="910"/>
                  </a:cubicBezTo>
                  <a:cubicBezTo>
                    <a:pt x="238" y="910"/>
                    <a:pt x="286" y="887"/>
                    <a:pt x="310" y="839"/>
                  </a:cubicBezTo>
                  <a:lnTo>
                    <a:pt x="655" y="244"/>
                  </a:lnTo>
                  <a:cubicBezTo>
                    <a:pt x="714" y="172"/>
                    <a:pt x="691" y="65"/>
                    <a:pt x="607" y="17"/>
                  </a:cubicBezTo>
                  <a:cubicBezTo>
                    <a:pt x="585" y="6"/>
                    <a:pt x="560"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3" name="Google Shape;10633;p60"/>
            <p:cNvSpPr/>
            <p:nvPr/>
          </p:nvSpPr>
          <p:spPr>
            <a:xfrm>
              <a:off x="3577390" y="1601498"/>
              <a:ext cx="31095" cy="21197"/>
            </a:xfrm>
            <a:custGeom>
              <a:avLst/>
              <a:gdLst/>
              <a:ahLst/>
              <a:cxnLst/>
              <a:rect l="l" t="t" r="r" b="b"/>
              <a:pathLst>
                <a:path w="977" h="666" extrusionOk="0">
                  <a:moveTo>
                    <a:pt x="199" y="1"/>
                  </a:moveTo>
                  <a:cubicBezTo>
                    <a:pt x="141" y="1"/>
                    <a:pt x="80" y="33"/>
                    <a:pt x="48" y="82"/>
                  </a:cubicBezTo>
                  <a:cubicBezTo>
                    <a:pt x="0" y="153"/>
                    <a:pt x="36" y="261"/>
                    <a:pt x="107" y="308"/>
                  </a:cubicBezTo>
                  <a:lnTo>
                    <a:pt x="703" y="642"/>
                  </a:lnTo>
                  <a:cubicBezTo>
                    <a:pt x="738" y="665"/>
                    <a:pt x="762" y="665"/>
                    <a:pt x="774" y="665"/>
                  </a:cubicBezTo>
                  <a:cubicBezTo>
                    <a:pt x="834" y="665"/>
                    <a:pt x="881" y="630"/>
                    <a:pt x="917" y="594"/>
                  </a:cubicBezTo>
                  <a:cubicBezTo>
                    <a:pt x="976" y="499"/>
                    <a:pt x="941"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4" name="Google Shape;10634;p60"/>
            <p:cNvSpPr/>
            <p:nvPr/>
          </p:nvSpPr>
          <p:spPr>
            <a:xfrm>
              <a:off x="3823703" y="1743608"/>
              <a:ext cx="31095" cy="21197"/>
            </a:xfrm>
            <a:custGeom>
              <a:avLst/>
              <a:gdLst/>
              <a:ahLst/>
              <a:cxnLst/>
              <a:rect l="l" t="t" r="r" b="b"/>
              <a:pathLst>
                <a:path w="977" h="666" extrusionOk="0">
                  <a:moveTo>
                    <a:pt x="199" y="1"/>
                  </a:moveTo>
                  <a:cubicBezTo>
                    <a:pt x="141" y="1"/>
                    <a:pt x="81" y="33"/>
                    <a:pt x="48" y="82"/>
                  </a:cubicBezTo>
                  <a:cubicBezTo>
                    <a:pt x="0" y="153"/>
                    <a:pt x="36" y="260"/>
                    <a:pt x="107" y="308"/>
                  </a:cubicBezTo>
                  <a:lnTo>
                    <a:pt x="703" y="641"/>
                  </a:lnTo>
                  <a:cubicBezTo>
                    <a:pt x="738" y="665"/>
                    <a:pt x="762" y="665"/>
                    <a:pt x="774" y="665"/>
                  </a:cubicBezTo>
                  <a:cubicBezTo>
                    <a:pt x="834" y="665"/>
                    <a:pt x="881" y="629"/>
                    <a:pt x="917" y="594"/>
                  </a:cubicBezTo>
                  <a:cubicBezTo>
                    <a:pt x="977" y="510"/>
                    <a:pt x="953" y="415"/>
                    <a:pt x="869" y="368"/>
                  </a:cubicBezTo>
                  <a:lnTo>
                    <a:pt x="274" y="22"/>
                  </a:lnTo>
                  <a:cubicBezTo>
                    <a:pt x="252" y="7"/>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5" name="Google Shape;10635;p60"/>
            <p:cNvSpPr/>
            <p:nvPr/>
          </p:nvSpPr>
          <p:spPr>
            <a:xfrm>
              <a:off x="3775962" y="1792018"/>
              <a:ext cx="22757" cy="29249"/>
            </a:xfrm>
            <a:custGeom>
              <a:avLst/>
              <a:gdLst/>
              <a:ahLst/>
              <a:cxnLst/>
              <a:rect l="l" t="t" r="r" b="b"/>
              <a:pathLst>
                <a:path w="715" h="919" extrusionOk="0">
                  <a:moveTo>
                    <a:pt x="190" y="1"/>
                  </a:moveTo>
                  <a:cubicBezTo>
                    <a:pt x="160" y="1"/>
                    <a:pt x="132" y="9"/>
                    <a:pt x="107" y="25"/>
                  </a:cubicBezTo>
                  <a:cubicBezTo>
                    <a:pt x="36" y="61"/>
                    <a:pt x="0" y="168"/>
                    <a:pt x="48" y="240"/>
                  </a:cubicBezTo>
                  <a:lnTo>
                    <a:pt x="393" y="835"/>
                  </a:lnTo>
                  <a:cubicBezTo>
                    <a:pt x="417" y="882"/>
                    <a:pt x="476" y="918"/>
                    <a:pt x="524" y="918"/>
                  </a:cubicBezTo>
                  <a:cubicBezTo>
                    <a:pt x="548" y="918"/>
                    <a:pt x="583" y="918"/>
                    <a:pt x="595" y="894"/>
                  </a:cubicBezTo>
                  <a:cubicBezTo>
                    <a:pt x="691" y="859"/>
                    <a:pt x="714" y="751"/>
                    <a:pt x="667" y="680"/>
                  </a:cubicBezTo>
                  <a:lnTo>
                    <a:pt x="333"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6" name="Google Shape;10636;p60"/>
            <p:cNvSpPr/>
            <p:nvPr/>
          </p:nvSpPr>
          <p:spPr>
            <a:xfrm>
              <a:off x="3633470" y="1545195"/>
              <a:ext cx="22757" cy="28995"/>
            </a:xfrm>
            <a:custGeom>
              <a:avLst/>
              <a:gdLst/>
              <a:ahLst/>
              <a:cxnLst/>
              <a:rect l="l" t="t" r="r" b="b"/>
              <a:pathLst>
                <a:path w="715" h="911" extrusionOk="0">
                  <a:moveTo>
                    <a:pt x="181" y="1"/>
                  </a:moveTo>
                  <a:cubicBezTo>
                    <a:pt x="155" y="1"/>
                    <a:pt x="130" y="6"/>
                    <a:pt x="107" y="17"/>
                  </a:cubicBezTo>
                  <a:cubicBezTo>
                    <a:pt x="24" y="65"/>
                    <a:pt x="0" y="172"/>
                    <a:pt x="48" y="244"/>
                  </a:cubicBezTo>
                  <a:lnTo>
                    <a:pt x="381" y="839"/>
                  </a:lnTo>
                  <a:cubicBezTo>
                    <a:pt x="417" y="887"/>
                    <a:pt x="477" y="910"/>
                    <a:pt x="524" y="910"/>
                  </a:cubicBezTo>
                  <a:cubicBezTo>
                    <a:pt x="548" y="910"/>
                    <a:pt x="584" y="910"/>
                    <a:pt x="596" y="898"/>
                  </a:cubicBezTo>
                  <a:cubicBezTo>
                    <a:pt x="679" y="851"/>
                    <a:pt x="715" y="744"/>
                    <a:pt x="667" y="672"/>
                  </a:cubicBezTo>
                  <a:lnTo>
                    <a:pt x="322" y="77"/>
                  </a:lnTo>
                  <a:cubicBezTo>
                    <a:pt x="297" y="28"/>
                    <a:pt x="23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7" name="Google Shape;10637;p60"/>
            <p:cNvSpPr/>
            <p:nvPr/>
          </p:nvSpPr>
          <p:spPr>
            <a:xfrm>
              <a:off x="3823703" y="1601498"/>
              <a:ext cx="31095" cy="21197"/>
            </a:xfrm>
            <a:custGeom>
              <a:avLst/>
              <a:gdLst/>
              <a:ahLst/>
              <a:cxnLst/>
              <a:rect l="l" t="t" r="r" b="b"/>
              <a:pathLst>
                <a:path w="977" h="666" extrusionOk="0">
                  <a:moveTo>
                    <a:pt x="778" y="1"/>
                  </a:moveTo>
                  <a:cubicBezTo>
                    <a:pt x="751" y="1"/>
                    <a:pt x="725" y="7"/>
                    <a:pt x="703" y="22"/>
                  </a:cubicBezTo>
                  <a:lnTo>
                    <a:pt x="107" y="368"/>
                  </a:lnTo>
                  <a:cubicBezTo>
                    <a:pt x="36" y="415"/>
                    <a:pt x="0" y="511"/>
                    <a:pt x="48" y="594"/>
                  </a:cubicBezTo>
                  <a:cubicBezTo>
                    <a:pt x="84" y="630"/>
                    <a:pt x="143" y="665"/>
                    <a:pt x="179" y="665"/>
                  </a:cubicBezTo>
                  <a:cubicBezTo>
                    <a:pt x="215" y="665"/>
                    <a:pt x="238" y="665"/>
                    <a:pt x="262" y="653"/>
                  </a:cubicBezTo>
                  <a:lnTo>
                    <a:pt x="857" y="308"/>
                  </a:lnTo>
                  <a:cubicBezTo>
                    <a:pt x="953" y="249"/>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8" name="Google Shape;10638;p60"/>
            <p:cNvSpPr/>
            <p:nvPr/>
          </p:nvSpPr>
          <p:spPr>
            <a:xfrm>
              <a:off x="3577390" y="1743608"/>
              <a:ext cx="31095" cy="21197"/>
            </a:xfrm>
            <a:custGeom>
              <a:avLst/>
              <a:gdLst/>
              <a:ahLst/>
              <a:cxnLst/>
              <a:rect l="l" t="t" r="r" b="b"/>
              <a:pathLst>
                <a:path w="977" h="666" extrusionOk="0">
                  <a:moveTo>
                    <a:pt x="778" y="1"/>
                  </a:moveTo>
                  <a:cubicBezTo>
                    <a:pt x="751" y="1"/>
                    <a:pt x="725" y="7"/>
                    <a:pt x="703" y="22"/>
                  </a:cubicBezTo>
                  <a:lnTo>
                    <a:pt x="107" y="368"/>
                  </a:lnTo>
                  <a:cubicBezTo>
                    <a:pt x="36" y="415"/>
                    <a:pt x="0" y="510"/>
                    <a:pt x="48" y="594"/>
                  </a:cubicBezTo>
                  <a:cubicBezTo>
                    <a:pt x="84" y="629"/>
                    <a:pt x="143" y="665"/>
                    <a:pt x="179" y="665"/>
                  </a:cubicBezTo>
                  <a:cubicBezTo>
                    <a:pt x="214" y="665"/>
                    <a:pt x="238" y="665"/>
                    <a:pt x="262" y="653"/>
                  </a:cubicBezTo>
                  <a:lnTo>
                    <a:pt x="857" y="308"/>
                  </a:lnTo>
                  <a:cubicBezTo>
                    <a:pt x="941" y="260"/>
                    <a:pt x="976" y="153"/>
                    <a:pt x="929" y="82"/>
                  </a:cubicBezTo>
                  <a:cubicBezTo>
                    <a:pt x="896" y="33"/>
                    <a:pt x="835"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9" name="Google Shape;10639;p60"/>
            <p:cNvSpPr/>
            <p:nvPr/>
          </p:nvSpPr>
          <p:spPr>
            <a:xfrm>
              <a:off x="3732358" y="1593032"/>
              <a:ext cx="71294" cy="62255"/>
            </a:xfrm>
            <a:custGeom>
              <a:avLst/>
              <a:gdLst/>
              <a:ahLst/>
              <a:cxnLst/>
              <a:rect l="l" t="t" r="r" b="b"/>
              <a:pathLst>
                <a:path w="2240" h="1956" extrusionOk="0">
                  <a:moveTo>
                    <a:pt x="186" y="1"/>
                  </a:moveTo>
                  <a:cubicBezTo>
                    <a:pt x="103" y="1"/>
                    <a:pt x="34" y="47"/>
                    <a:pt x="13" y="122"/>
                  </a:cubicBezTo>
                  <a:cubicBezTo>
                    <a:pt x="1" y="217"/>
                    <a:pt x="48" y="300"/>
                    <a:pt x="132" y="324"/>
                  </a:cubicBezTo>
                  <a:cubicBezTo>
                    <a:pt x="930" y="527"/>
                    <a:pt x="1584" y="1098"/>
                    <a:pt x="1894" y="1848"/>
                  </a:cubicBezTo>
                  <a:cubicBezTo>
                    <a:pt x="1918" y="1908"/>
                    <a:pt x="1977" y="1955"/>
                    <a:pt x="2037" y="1955"/>
                  </a:cubicBezTo>
                  <a:cubicBezTo>
                    <a:pt x="2061" y="1955"/>
                    <a:pt x="2084" y="1955"/>
                    <a:pt x="2096" y="1943"/>
                  </a:cubicBezTo>
                  <a:cubicBezTo>
                    <a:pt x="2192" y="1908"/>
                    <a:pt x="2239" y="1824"/>
                    <a:pt x="2192" y="1729"/>
                  </a:cubicBezTo>
                  <a:cubicBezTo>
                    <a:pt x="1846" y="884"/>
                    <a:pt x="1108" y="229"/>
                    <a:pt x="215" y="3"/>
                  </a:cubicBezTo>
                  <a:cubicBezTo>
                    <a:pt x="205"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0" name="Google Shape;10640;p60"/>
          <p:cNvGrpSpPr/>
          <p:nvPr/>
        </p:nvGrpSpPr>
        <p:grpSpPr>
          <a:xfrm>
            <a:off x="3122257" y="1508594"/>
            <a:ext cx="294850" cy="349434"/>
            <a:chOff x="3122257" y="1508594"/>
            <a:chExt cx="294850" cy="349434"/>
          </a:xfrm>
        </p:grpSpPr>
        <p:sp>
          <p:nvSpPr>
            <p:cNvPr id="10641" name="Google Shape;10641;p60"/>
            <p:cNvSpPr/>
            <p:nvPr/>
          </p:nvSpPr>
          <p:spPr>
            <a:xfrm>
              <a:off x="3226110" y="1659042"/>
              <a:ext cx="87557" cy="29568"/>
            </a:xfrm>
            <a:custGeom>
              <a:avLst/>
              <a:gdLst/>
              <a:ahLst/>
              <a:cxnLst/>
              <a:rect l="l" t="t" r="r" b="b"/>
              <a:pathLst>
                <a:path w="2751" h="929" extrusionOk="0">
                  <a:moveTo>
                    <a:pt x="1099" y="0"/>
                  </a:moveTo>
                  <a:cubicBezTo>
                    <a:pt x="771" y="0"/>
                    <a:pt x="476" y="33"/>
                    <a:pt x="286" y="60"/>
                  </a:cubicBezTo>
                  <a:cubicBezTo>
                    <a:pt x="119" y="96"/>
                    <a:pt x="0" y="227"/>
                    <a:pt x="0" y="393"/>
                  </a:cubicBezTo>
                  <a:lnTo>
                    <a:pt x="0" y="762"/>
                  </a:lnTo>
                  <a:cubicBezTo>
                    <a:pt x="0" y="846"/>
                    <a:pt x="72" y="929"/>
                    <a:pt x="167" y="929"/>
                  </a:cubicBezTo>
                  <a:cubicBezTo>
                    <a:pt x="250" y="929"/>
                    <a:pt x="322" y="846"/>
                    <a:pt x="322" y="762"/>
                  </a:cubicBezTo>
                  <a:lnTo>
                    <a:pt x="322" y="393"/>
                  </a:lnTo>
                  <a:cubicBezTo>
                    <a:pt x="322" y="393"/>
                    <a:pt x="322" y="369"/>
                    <a:pt x="345" y="369"/>
                  </a:cubicBezTo>
                  <a:cubicBezTo>
                    <a:pt x="509" y="350"/>
                    <a:pt x="813" y="315"/>
                    <a:pt x="1144" y="315"/>
                  </a:cubicBezTo>
                  <a:cubicBezTo>
                    <a:pt x="1222" y="315"/>
                    <a:pt x="1302" y="317"/>
                    <a:pt x="1381" y="322"/>
                  </a:cubicBezTo>
                  <a:cubicBezTo>
                    <a:pt x="1893" y="358"/>
                    <a:pt x="2250" y="488"/>
                    <a:pt x="2465" y="703"/>
                  </a:cubicBezTo>
                  <a:cubicBezTo>
                    <a:pt x="2494" y="733"/>
                    <a:pt x="2536" y="747"/>
                    <a:pt x="2578" y="747"/>
                  </a:cubicBezTo>
                  <a:cubicBezTo>
                    <a:pt x="2619" y="747"/>
                    <a:pt x="2661" y="733"/>
                    <a:pt x="2691" y="703"/>
                  </a:cubicBezTo>
                  <a:cubicBezTo>
                    <a:pt x="2750" y="643"/>
                    <a:pt x="2750" y="536"/>
                    <a:pt x="2679" y="477"/>
                  </a:cubicBezTo>
                  <a:cubicBezTo>
                    <a:pt x="2297" y="95"/>
                    <a:pt x="1652" y="0"/>
                    <a:pt x="10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2" name="Google Shape;10642;p60"/>
            <p:cNvSpPr/>
            <p:nvPr/>
          </p:nvSpPr>
          <p:spPr>
            <a:xfrm>
              <a:off x="3171144" y="1612033"/>
              <a:ext cx="196694" cy="245613"/>
            </a:xfrm>
            <a:custGeom>
              <a:avLst/>
              <a:gdLst/>
              <a:ahLst/>
              <a:cxnLst/>
              <a:rect l="l" t="t" r="r" b="b"/>
              <a:pathLst>
                <a:path w="6180" h="7717" extrusionOk="0">
                  <a:moveTo>
                    <a:pt x="4835" y="334"/>
                  </a:moveTo>
                  <a:lnTo>
                    <a:pt x="4835" y="1894"/>
                  </a:lnTo>
                  <a:cubicBezTo>
                    <a:pt x="4835" y="2132"/>
                    <a:pt x="4775" y="2358"/>
                    <a:pt x="4692" y="2561"/>
                  </a:cubicBezTo>
                  <a:cubicBezTo>
                    <a:pt x="4668" y="2585"/>
                    <a:pt x="4668" y="2608"/>
                    <a:pt x="4668" y="2644"/>
                  </a:cubicBezTo>
                  <a:lnTo>
                    <a:pt x="4668" y="3097"/>
                  </a:lnTo>
                  <a:cubicBezTo>
                    <a:pt x="4668" y="3537"/>
                    <a:pt x="4489" y="3930"/>
                    <a:pt x="4180" y="4228"/>
                  </a:cubicBezTo>
                  <a:cubicBezTo>
                    <a:pt x="3900" y="4497"/>
                    <a:pt x="3532" y="4649"/>
                    <a:pt x="3129" y="4649"/>
                  </a:cubicBezTo>
                  <a:cubicBezTo>
                    <a:pt x="3087" y="4649"/>
                    <a:pt x="3044" y="4648"/>
                    <a:pt x="3001" y="4644"/>
                  </a:cubicBezTo>
                  <a:cubicBezTo>
                    <a:pt x="2168" y="4597"/>
                    <a:pt x="1537" y="3894"/>
                    <a:pt x="1537" y="3037"/>
                  </a:cubicBezTo>
                  <a:lnTo>
                    <a:pt x="1537" y="2644"/>
                  </a:lnTo>
                  <a:cubicBezTo>
                    <a:pt x="1537" y="2608"/>
                    <a:pt x="1537" y="2597"/>
                    <a:pt x="1513" y="2561"/>
                  </a:cubicBezTo>
                  <a:cubicBezTo>
                    <a:pt x="1418" y="2358"/>
                    <a:pt x="1370" y="2120"/>
                    <a:pt x="1370" y="1894"/>
                  </a:cubicBezTo>
                  <a:lnTo>
                    <a:pt x="1370" y="1549"/>
                  </a:lnTo>
                  <a:cubicBezTo>
                    <a:pt x="1370" y="882"/>
                    <a:pt x="1918" y="334"/>
                    <a:pt x="2584" y="334"/>
                  </a:cubicBezTo>
                  <a:close/>
                  <a:moveTo>
                    <a:pt x="3954" y="4763"/>
                  </a:moveTo>
                  <a:lnTo>
                    <a:pt x="3954" y="5061"/>
                  </a:lnTo>
                  <a:lnTo>
                    <a:pt x="3096" y="5656"/>
                  </a:lnTo>
                  <a:lnTo>
                    <a:pt x="2215" y="5061"/>
                  </a:lnTo>
                  <a:lnTo>
                    <a:pt x="2215" y="4763"/>
                  </a:lnTo>
                  <a:cubicBezTo>
                    <a:pt x="2441" y="4883"/>
                    <a:pt x="2691" y="4966"/>
                    <a:pt x="2965" y="4978"/>
                  </a:cubicBezTo>
                  <a:lnTo>
                    <a:pt x="3096" y="4978"/>
                  </a:lnTo>
                  <a:cubicBezTo>
                    <a:pt x="3406" y="4978"/>
                    <a:pt x="3704" y="4894"/>
                    <a:pt x="3954" y="4763"/>
                  </a:cubicBezTo>
                  <a:close/>
                  <a:moveTo>
                    <a:pt x="2084" y="5359"/>
                  </a:moveTo>
                  <a:lnTo>
                    <a:pt x="2846" y="5883"/>
                  </a:lnTo>
                  <a:lnTo>
                    <a:pt x="2441" y="6276"/>
                  </a:lnTo>
                  <a:lnTo>
                    <a:pt x="2430" y="6276"/>
                  </a:lnTo>
                  <a:lnTo>
                    <a:pt x="1918" y="5525"/>
                  </a:lnTo>
                  <a:lnTo>
                    <a:pt x="2084" y="5359"/>
                  </a:lnTo>
                  <a:close/>
                  <a:moveTo>
                    <a:pt x="4108" y="5347"/>
                  </a:moveTo>
                  <a:lnTo>
                    <a:pt x="4275" y="5514"/>
                  </a:lnTo>
                  <a:lnTo>
                    <a:pt x="3763" y="6276"/>
                  </a:lnTo>
                  <a:lnTo>
                    <a:pt x="3751" y="6276"/>
                  </a:lnTo>
                  <a:lnTo>
                    <a:pt x="3346" y="5871"/>
                  </a:lnTo>
                  <a:lnTo>
                    <a:pt x="4108" y="5347"/>
                  </a:lnTo>
                  <a:close/>
                  <a:moveTo>
                    <a:pt x="2572" y="1"/>
                  </a:moveTo>
                  <a:cubicBezTo>
                    <a:pt x="1727" y="1"/>
                    <a:pt x="1037" y="692"/>
                    <a:pt x="1037" y="1537"/>
                  </a:cubicBezTo>
                  <a:lnTo>
                    <a:pt x="1037" y="1882"/>
                  </a:lnTo>
                  <a:cubicBezTo>
                    <a:pt x="1037" y="2144"/>
                    <a:pt x="1096" y="2418"/>
                    <a:pt x="1215" y="2668"/>
                  </a:cubicBezTo>
                  <a:lnTo>
                    <a:pt x="1215" y="3025"/>
                  </a:lnTo>
                  <a:cubicBezTo>
                    <a:pt x="1215" y="3620"/>
                    <a:pt x="1489" y="4168"/>
                    <a:pt x="1906" y="4525"/>
                  </a:cubicBezTo>
                  <a:lnTo>
                    <a:pt x="1906" y="5061"/>
                  </a:lnTo>
                  <a:lnTo>
                    <a:pt x="1608" y="5383"/>
                  </a:lnTo>
                  <a:cubicBezTo>
                    <a:pt x="1572" y="5406"/>
                    <a:pt x="1560" y="5454"/>
                    <a:pt x="1560" y="5502"/>
                  </a:cubicBezTo>
                  <a:lnTo>
                    <a:pt x="560" y="5859"/>
                  </a:lnTo>
                  <a:cubicBezTo>
                    <a:pt x="239" y="5978"/>
                    <a:pt x="1" y="6299"/>
                    <a:pt x="1" y="6657"/>
                  </a:cubicBezTo>
                  <a:lnTo>
                    <a:pt x="1" y="7549"/>
                  </a:lnTo>
                  <a:cubicBezTo>
                    <a:pt x="1" y="7645"/>
                    <a:pt x="72" y="7716"/>
                    <a:pt x="167" y="7716"/>
                  </a:cubicBezTo>
                  <a:cubicBezTo>
                    <a:pt x="251" y="7716"/>
                    <a:pt x="322" y="7645"/>
                    <a:pt x="322" y="7549"/>
                  </a:cubicBezTo>
                  <a:lnTo>
                    <a:pt x="322" y="6657"/>
                  </a:lnTo>
                  <a:cubicBezTo>
                    <a:pt x="322" y="6430"/>
                    <a:pt x="465" y="6240"/>
                    <a:pt x="667" y="6168"/>
                  </a:cubicBezTo>
                  <a:lnTo>
                    <a:pt x="1715" y="5775"/>
                  </a:lnTo>
                  <a:lnTo>
                    <a:pt x="2144" y="6430"/>
                  </a:lnTo>
                  <a:cubicBezTo>
                    <a:pt x="2203" y="6526"/>
                    <a:pt x="2287" y="6561"/>
                    <a:pt x="2382" y="6585"/>
                  </a:cubicBezTo>
                  <a:lnTo>
                    <a:pt x="2406" y="6585"/>
                  </a:lnTo>
                  <a:cubicBezTo>
                    <a:pt x="2501" y="6585"/>
                    <a:pt x="2584" y="6549"/>
                    <a:pt x="2644" y="6478"/>
                  </a:cubicBezTo>
                  <a:lnTo>
                    <a:pt x="2918" y="6204"/>
                  </a:lnTo>
                  <a:lnTo>
                    <a:pt x="2918" y="7549"/>
                  </a:lnTo>
                  <a:cubicBezTo>
                    <a:pt x="2918" y="7633"/>
                    <a:pt x="2989" y="7716"/>
                    <a:pt x="3084" y="7716"/>
                  </a:cubicBezTo>
                  <a:cubicBezTo>
                    <a:pt x="3168" y="7716"/>
                    <a:pt x="3239" y="7633"/>
                    <a:pt x="3239" y="7549"/>
                  </a:cubicBezTo>
                  <a:lnTo>
                    <a:pt x="3239" y="6204"/>
                  </a:lnTo>
                  <a:lnTo>
                    <a:pt x="3513" y="6478"/>
                  </a:lnTo>
                  <a:cubicBezTo>
                    <a:pt x="3573" y="6537"/>
                    <a:pt x="3656" y="6585"/>
                    <a:pt x="3751" y="6585"/>
                  </a:cubicBezTo>
                  <a:lnTo>
                    <a:pt x="3775" y="6585"/>
                  </a:lnTo>
                  <a:cubicBezTo>
                    <a:pt x="3882" y="6561"/>
                    <a:pt x="3977" y="6526"/>
                    <a:pt x="4013" y="6430"/>
                  </a:cubicBezTo>
                  <a:lnTo>
                    <a:pt x="4454" y="5775"/>
                  </a:lnTo>
                  <a:lnTo>
                    <a:pt x="5489" y="6168"/>
                  </a:lnTo>
                  <a:cubicBezTo>
                    <a:pt x="5704" y="6240"/>
                    <a:pt x="5835" y="6430"/>
                    <a:pt x="5835" y="6657"/>
                  </a:cubicBezTo>
                  <a:lnTo>
                    <a:pt x="5835" y="7549"/>
                  </a:lnTo>
                  <a:cubicBezTo>
                    <a:pt x="5835" y="7645"/>
                    <a:pt x="5906" y="7716"/>
                    <a:pt x="6001" y="7716"/>
                  </a:cubicBezTo>
                  <a:cubicBezTo>
                    <a:pt x="6085" y="7716"/>
                    <a:pt x="6156" y="7645"/>
                    <a:pt x="6156" y="7549"/>
                  </a:cubicBezTo>
                  <a:lnTo>
                    <a:pt x="6156" y="6657"/>
                  </a:lnTo>
                  <a:cubicBezTo>
                    <a:pt x="6180" y="6311"/>
                    <a:pt x="5954" y="6002"/>
                    <a:pt x="5620" y="5883"/>
                  </a:cubicBezTo>
                  <a:lnTo>
                    <a:pt x="4632" y="5525"/>
                  </a:lnTo>
                  <a:cubicBezTo>
                    <a:pt x="4632" y="5478"/>
                    <a:pt x="4608" y="5442"/>
                    <a:pt x="4585" y="5406"/>
                  </a:cubicBezTo>
                  <a:lnTo>
                    <a:pt x="4287" y="5097"/>
                  </a:lnTo>
                  <a:lnTo>
                    <a:pt x="4287" y="4549"/>
                  </a:lnTo>
                  <a:cubicBezTo>
                    <a:pt x="4311" y="4513"/>
                    <a:pt x="4346" y="4490"/>
                    <a:pt x="4370" y="4466"/>
                  </a:cubicBezTo>
                  <a:cubicBezTo>
                    <a:pt x="4751" y="4109"/>
                    <a:pt x="4966" y="3620"/>
                    <a:pt x="4966" y="3097"/>
                  </a:cubicBezTo>
                  <a:lnTo>
                    <a:pt x="4966" y="2680"/>
                  </a:lnTo>
                  <a:cubicBezTo>
                    <a:pt x="5085" y="2430"/>
                    <a:pt x="5144" y="2180"/>
                    <a:pt x="5144" y="1894"/>
                  </a:cubicBezTo>
                  <a:lnTo>
                    <a:pt x="5144" y="168"/>
                  </a:lnTo>
                  <a:cubicBezTo>
                    <a:pt x="5144" y="72"/>
                    <a:pt x="5073" y="1"/>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3" name="Google Shape;10643;p60"/>
            <p:cNvSpPr/>
            <p:nvPr/>
          </p:nvSpPr>
          <p:spPr>
            <a:xfrm>
              <a:off x="3204117" y="1836767"/>
              <a:ext cx="10630" cy="21261"/>
            </a:xfrm>
            <a:custGeom>
              <a:avLst/>
              <a:gdLst/>
              <a:ahLst/>
              <a:cxnLst/>
              <a:rect l="l" t="t" r="r" b="b"/>
              <a:pathLst>
                <a:path w="334" h="668" extrusionOk="0">
                  <a:moveTo>
                    <a:pt x="167" y="0"/>
                  </a:moveTo>
                  <a:cubicBezTo>
                    <a:pt x="84" y="0"/>
                    <a:pt x="1" y="72"/>
                    <a:pt x="1" y="167"/>
                  </a:cubicBezTo>
                  <a:lnTo>
                    <a:pt x="1" y="500"/>
                  </a:lnTo>
                  <a:cubicBezTo>
                    <a:pt x="1" y="596"/>
                    <a:pt x="84" y="667"/>
                    <a:pt x="167" y="667"/>
                  </a:cubicBezTo>
                  <a:cubicBezTo>
                    <a:pt x="262" y="667"/>
                    <a:pt x="334" y="596"/>
                    <a:pt x="334" y="500"/>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4" name="Google Shape;10644;p60"/>
            <p:cNvSpPr/>
            <p:nvPr/>
          </p:nvSpPr>
          <p:spPr>
            <a:xfrm>
              <a:off x="3324616" y="1836767"/>
              <a:ext cx="10280" cy="21261"/>
            </a:xfrm>
            <a:custGeom>
              <a:avLst/>
              <a:gdLst/>
              <a:ahLst/>
              <a:cxnLst/>
              <a:rect l="l" t="t" r="r" b="b"/>
              <a:pathLst>
                <a:path w="323" h="668" extrusionOk="0">
                  <a:moveTo>
                    <a:pt x="167" y="0"/>
                  </a:moveTo>
                  <a:cubicBezTo>
                    <a:pt x="72" y="0"/>
                    <a:pt x="1" y="72"/>
                    <a:pt x="1" y="167"/>
                  </a:cubicBezTo>
                  <a:lnTo>
                    <a:pt x="1" y="500"/>
                  </a:lnTo>
                  <a:cubicBezTo>
                    <a:pt x="1" y="596"/>
                    <a:pt x="72" y="667"/>
                    <a:pt x="167" y="667"/>
                  </a:cubicBezTo>
                  <a:cubicBezTo>
                    <a:pt x="251" y="667"/>
                    <a:pt x="322" y="596"/>
                    <a:pt x="322" y="500"/>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5" name="Google Shape;10645;p60"/>
            <p:cNvSpPr/>
            <p:nvPr/>
          </p:nvSpPr>
          <p:spPr>
            <a:xfrm>
              <a:off x="3122257" y="1508594"/>
              <a:ext cx="294850" cy="278554"/>
            </a:xfrm>
            <a:custGeom>
              <a:avLst/>
              <a:gdLst/>
              <a:ahLst/>
              <a:cxnLst/>
              <a:rect l="l" t="t" r="r" b="b"/>
              <a:pathLst>
                <a:path w="9264" h="8752" extrusionOk="0">
                  <a:moveTo>
                    <a:pt x="3096" y="584"/>
                  </a:moveTo>
                  <a:lnTo>
                    <a:pt x="3096" y="584"/>
                  </a:lnTo>
                  <a:cubicBezTo>
                    <a:pt x="2858" y="798"/>
                    <a:pt x="2620" y="1060"/>
                    <a:pt x="2430" y="1382"/>
                  </a:cubicBezTo>
                  <a:cubicBezTo>
                    <a:pt x="2299" y="1584"/>
                    <a:pt x="2156" y="1810"/>
                    <a:pt x="2061" y="2048"/>
                  </a:cubicBezTo>
                  <a:lnTo>
                    <a:pt x="1168" y="2048"/>
                  </a:lnTo>
                  <a:cubicBezTo>
                    <a:pt x="1656" y="1394"/>
                    <a:pt x="2322" y="882"/>
                    <a:pt x="3096" y="584"/>
                  </a:cubicBezTo>
                  <a:close/>
                  <a:moveTo>
                    <a:pt x="4466" y="310"/>
                  </a:moveTo>
                  <a:lnTo>
                    <a:pt x="4466" y="2048"/>
                  </a:lnTo>
                  <a:lnTo>
                    <a:pt x="2418" y="2048"/>
                  </a:lnTo>
                  <a:cubicBezTo>
                    <a:pt x="2894" y="1048"/>
                    <a:pt x="3632" y="382"/>
                    <a:pt x="4466" y="310"/>
                  </a:cubicBezTo>
                  <a:close/>
                  <a:moveTo>
                    <a:pt x="4799" y="310"/>
                  </a:moveTo>
                  <a:cubicBezTo>
                    <a:pt x="5644" y="382"/>
                    <a:pt x="6371" y="1048"/>
                    <a:pt x="6847" y="2048"/>
                  </a:cubicBezTo>
                  <a:lnTo>
                    <a:pt x="4799" y="2048"/>
                  </a:lnTo>
                  <a:lnTo>
                    <a:pt x="4799" y="310"/>
                  </a:lnTo>
                  <a:close/>
                  <a:moveTo>
                    <a:pt x="6168" y="608"/>
                  </a:moveTo>
                  <a:cubicBezTo>
                    <a:pt x="6942" y="905"/>
                    <a:pt x="7609" y="1405"/>
                    <a:pt x="8097" y="2060"/>
                  </a:cubicBezTo>
                  <a:lnTo>
                    <a:pt x="7204" y="2060"/>
                  </a:lnTo>
                  <a:cubicBezTo>
                    <a:pt x="7097" y="1810"/>
                    <a:pt x="6966" y="1584"/>
                    <a:pt x="6835" y="1382"/>
                  </a:cubicBezTo>
                  <a:cubicBezTo>
                    <a:pt x="6621" y="1072"/>
                    <a:pt x="6406" y="810"/>
                    <a:pt x="6168" y="608"/>
                  </a:cubicBezTo>
                  <a:close/>
                  <a:moveTo>
                    <a:pt x="1941" y="2382"/>
                  </a:moveTo>
                  <a:cubicBezTo>
                    <a:pt x="1703" y="3013"/>
                    <a:pt x="1560" y="3715"/>
                    <a:pt x="1549" y="4465"/>
                  </a:cubicBezTo>
                  <a:lnTo>
                    <a:pt x="322" y="4465"/>
                  </a:lnTo>
                  <a:cubicBezTo>
                    <a:pt x="358" y="3703"/>
                    <a:pt x="584" y="2989"/>
                    <a:pt x="953" y="2382"/>
                  </a:cubicBezTo>
                  <a:close/>
                  <a:moveTo>
                    <a:pt x="8323" y="2382"/>
                  </a:moveTo>
                  <a:cubicBezTo>
                    <a:pt x="8692" y="2989"/>
                    <a:pt x="8919" y="3703"/>
                    <a:pt x="8942" y="4465"/>
                  </a:cubicBezTo>
                  <a:lnTo>
                    <a:pt x="7728" y="4465"/>
                  </a:lnTo>
                  <a:cubicBezTo>
                    <a:pt x="7692" y="3715"/>
                    <a:pt x="7561" y="3013"/>
                    <a:pt x="7335" y="2382"/>
                  </a:cubicBezTo>
                  <a:close/>
                  <a:moveTo>
                    <a:pt x="1537" y="4787"/>
                  </a:moveTo>
                  <a:cubicBezTo>
                    <a:pt x="1560" y="5466"/>
                    <a:pt x="1668" y="6132"/>
                    <a:pt x="1882" y="6739"/>
                  </a:cubicBezTo>
                  <a:lnTo>
                    <a:pt x="1918" y="6870"/>
                  </a:lnTo>
                  <a:lnTo>
                    <a:pt x="941" y="6870"/>
                  </a:lnTo>
                  <a:cubicBezTo>
                    <a:pt x="572" y="6239"/>
                    <a:pt x="346" y="5525"/>
                    <a:pt x="310" y="4787"/>
                  </a:cubicBezTo>
                  <a:close/>
                  <a:moveTo>
                    <a:pt x="8919" y="4787"/>
                  </a:moveTo>
                  <a:cubicBezTo>
                    <a:pt x="8919" y="5501"/>
                    <a:pt x="8704" y="6204"/>
                    <a:pt x="8347" y="6811"/>
                  </a:cubicBezTo>
                  <a:cubicBezTo>
                    <a:pt x="8335" y="6823"/>
                    <a:pt x="8323" y="6859"/>
                    <a:pt x="8311" y="6870"/>
                  </a:cubicBezTo>
                  <a:lnTo>
                    <a:pt x="7323" y="6870"/>
                  </a:lnTo>
                  <a:lnTo>
                    <a:pt x="7371" y="6739"/>
                  </a:lnTo>
                  <a:cubicBezTo>
                    <a:pt x="7573" y="6120"/>
                    <a:pt x="7680" y="5466"/>
                    <a:pt x="7692" y="4787"/>
                  </a:cubicBezTo>
                  <a:close/>
                  <a:moveTo>
                    <a:pt x="4632" y="1"/>
                  </a:moveTo>
                  <a:cubicBezTo>
                    <a:pt x="3394" y="1"/>
                    <a:pt x="2239" y="477"/>
                    <a:pt x="1358" y="1346"/>
                  </a:cubicBezTo>
                  <a:cubicBezTo>
                    <a:pt x="477" y="2227"/>
                    <a:pt x="1" y="3382"/>
                    <a:pt x="1" y="4620"/>
                  </a:cubicBezTo>
                  <a:cubicBezTo>
                    <a:pt x="1" y="6358"/>
                    <a:pt x="953" y="7930"/>
                    <a:pt x="2501" y="8728"/>
                  </a:cubicBezTo>
                  <a:cubicBezTo>
                    <a:pt x="2537" y="8752"/>
                    <a:pt x="2549" y="8752"/>
                    <a:pt x="2573" y="8752"/>
                  </a:cubicBezTo>
                  <a:cubicBezTo>
                    <a:pt x="2632" y="8752"/>
                    <a:pt x="2692" y="8716"/>
                    <a:pt x="2727" y="8656"/>
                  </a:cubicBezTo>
                  <a:cubicBezTo>
                    <a:pt x="2775" y="8585"/>
                    <a:pt x="2739" y="8478"/>
                    <a:pt x="2656" y="8430"/>
                  </a:cubicBezTo>
                  <a:cubicBezTo>
                    <a:pt x="2061" y="8121"/>
                    <a:pt x="1560" y="7692"/>
                    <a:pt x="1179" y="7180"/>
                  </a:cubicBezTo>
                  <a:lnTo>
                    <a:pt x="2072" y="7180"/>
                  </a:lnTo>
                  <a:cubicBezTo>
                    <a:pt x="2263" y="7632"/>
                    <a:pt x="2513" y="8013"/>
                    <a:pt x="2799" y="8335"/>
                  </a:cubicBezTo>
                  <a:cubicBezTo>
                    <a:pt x="2831" y="8368"/>
                    <a:pt x="2879" y="8386"/>
                    <a:pt x="2924" y="8386"/>
                  </a:cubicBezTo>
                  <a:cubicBezTo>
                    <a:pt x="2962" y="8386"/>
                    <a:pt x="2998" y="8374"/>
                    <a:pt x="3025" y="8347"/>
                  </a:cubicBezTo>
                  <a:cubicBezTo>
                    <a:pt x="3084" y="8287"/>
                    <a:pt x="3096" y="8180"/>
                    <a:pt x="3037" y="8121"/>
                  </a:cubicBezTo>
                  <a:cubicBezTo>
                    <a:pt x="2799" y="7859"/>
                    <a:pt x="2596" y="7537"/>
                    <a:pt x="2430" y="7180"/>
                  </a:cubicBezTo>
                  <a:cubicBezTo>
                    <a:pt x="2501" y="7168"/>
                    <a:pt x="2561" y="7109"/>
                    <a:pt x="2561" y="7025"/>
                  </a:cubicBezTo>
                  <a:cubicBezTo>
                    <a:pt x="2561" y="6930"/>
                    <a:pt x="2489" y="6859"/>
                    <a:pt x="2394" y="6859"/>
                  </a:cubicBezTo>
                  <a:lnTo>
                    <a:pt x="2275" y="6859"/>
                  </a:lnTo>
                  <a:cubicBezTo>
                    <a:pt x="2025" y="6228"/>
                    <a:pt x="1894" y="5513"/>
                    <a:pt x="1882" y="4775"/>
                  </a:cubicBezTo>
                  <a:lnTo>
                    <a:pt x="2061" y="4775"/>
                  </a:lnTo>
                  <a:cubicBezTo>
                    <a:pt x="2144" y="4775"/>
                    <a:pt x="2215" y="4704"/>
                    <a:pt x="2215" y="4608"/>
                  </a:cubicBezTo>
                  <a:cubicBezTo>
                    <a:pt x="2215" y="4513"/>
                    <a:pt x="2144" y="4442"/>
                    <a:pt x="2061" y="4442"/>
                  </a:cubicBezTo>
                  <a:lnTo>
                    <a:pt x="1882" y="4442"/>
                  </a:lnTo>
                  <a:cubicBezTo>
                    <a:pt x="1894" y="3680"/>
                    <a:pt x="2037" y="2965"/>
                    <a:pt x="2275" y="2358"/>
                  </a:cubicBezTo>
                  <a:lnTo>
                    <a:pt x="4478" y="2358"/>
                  </a:lnTo>
                  <a:lnTo>
                    <a:pt x="4478" y="2715"/>
                  </a:lnTo>
                  <a:cubicBezTo>
                    <a:pt x="4478" y="2810"/>
                    <a:pt x="4561" y="2882"/>
                    <a:pt x="4644" y="2882"/>
                  </a:cubicBezTo>
                  <a:cubicBezTo>
                    <a:pt x="4739" y="2882"/>
                    <a:pt x="4811" y="2810"/>
                    <a:pt x="4811" y="2715"/>
                  </a:cubicBezTo>
                  <a:lnTo>
                    <a:pt x="4811" y="2358"/>
                  </a:lnTo>
                  <a:lnTo>
                    <a:pt x="7014" y="2358"/>
                  </a:lnTo>
                  <a:cubicBezTo>
                    <a:pt x="7252" y="2965"/>
                    <a:pt x="7395" y="3680"/>
                    <a:pt x="7418" y="4442"/>
                  </a:cubicBezTo>
                  <a:lnTo>
                    <a:pt x="7204" y="4442"/>
                  </a:lnTo>
                  <a:cubicBezTo>
                    <a:pt x="7121" y="4442"/>
                    <a:pt x="7037" y="4513"/>
                    <a:pt x="7037" y="4608"/>
                  </a:cubicBezTo>
                  <a:cubicBezTo>
                    <a:pt x="7037" y="4704"/>
                    <a:pt x="7121" y="4775"/>
                    <a:pt x="7204" y="4775"/>
                  </a:cubicBezTo>
                  <a:lnTo>
                    <a:pt x="7383" y="4775"/>
                  </a:lnTo>
                  <a:cubicBezTo>
                    <a:pt x="7371" y="5513"/>
                    <a:pt x="7216" y="6228"/>
                    <a:pt x="6978" y="6859"/>
                  </a:cubicBezTo>
                  <a:lnTo>
                    <a:pt x="6859" y="6859"/>
                  </a:lnTo>
                  <a:cubicBezTo>
                    <a:pt x="6775" y="6859"/>
                    <a:pt x="6704" y="6930"/>
                    <a:pt x="6704" y="7025"/>
                  </a:cubicBezTo>
                  <a:cubicBezTo>
                    <a:pt x="6704" y="7109"/>
                    <a:pt x="6764" y="7168"/>
                    <a:pt x="6835" y="7180"/>
                  </a:cubicBezTo>
                  <a:cubicBezTo>
                    <a:pt x="6668" y="7537"/>
                    <a:pt x="6466" y="7859"/>
                    <a:pt x="6228" y="8121"/>
                  </a:cubicBezTo>
                  <a:cubicBezTo>
                    <a:pt x="6168" y="8180"/>
                    <a:pt x="6168" y="8287"/>
                    <a:pt x="6240" y="8347"/>
                  </a:cubicBezTo>
                  <a:cubicBezTo>
                    <a:pt x="6263" y="8371"/>
                    <a:pt x="6311" y="8394"/>
                    <a:pt x="6347" y="8394"/>
                  </a:cubicBezTo>
                  <a:cubicBezTo>
                    <a:pt x="6383" y="8394"/>
                    <a:pt x="6430" y="8371"/>
                    <a:pt x="6466" y="8335"/>
                  </a:cubicBezTo>
                  <a:cubicBezTo>
                    <a:pt x="6740" y="8013"/>
                    <a:pt x="7002" y="7621"/>
                    <a:pt x="7192" y="7180"/>
                  </a:cubicBezTo>
                  <a:lnTo>
                    <a:pt x="8085" y="7180"/>
                  </a:lnTo>
                  <a:cubicBezTo>
                    <a:pt x="7728" y="7656"/>
                    <a:pt x="7299" y="8061"/>
                    <a:pt x="6775" y="8347"/>
                  </a:cubicBezTo>
                  <a:cubicBezTo>
                    <a:pt x="6704" y="8394"/>
                    <a:pt x="6668" y="8490"/>
                    <a:pt x="6716" y="8573"/>
                  </a:cubicBezTo>
                  <a:cubicBezTo>
                    <a:pt x="6749" y="8622"/>
                    <a:pt x="6804" y="8649"/>
                    <a:pt x="6863" y="8649"/>
                  </a:cubicBezTo>
                  <a:cubicBezTo>
                    <a:pt x="6889" y="8649"/>
                    <a:pt x="6916" y="8644"/>
                    <a:pt x="6942" y="8633"/>
                  </a:cubicBezTo>
                  <a:cubicBezTo>
                    <a:pt x="7621" y="8228"/>
                    <a:pt x="8204" y="7644"/>
                    <a:pt x="8621" y="6966"/>
                  </a:cubicBezTo>
                  <a:cubicBezTo>
                    <a:pt x="9038" y="6251"/>
                    <a:pt x="9264" y="5442"/>
                    <a:pt x="9264" y="4608"/>
                  </a:cubicBezTo>
                  <a:cubicBezTo>
                    <a:pt x="9264" y="3382"/>
                    <a:pt x="8788" y="2227"/>
                    <a:pt x="7907" y="1346"/>
                  </a:cubicBezTo>
                  <a:cubicBezTo>
                    <a:pt x="7025" y="477"/>
                    <a:pt x="5871" y="1"/>
                    <a:pt x="4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46" name="Google Shape;10646;p60"/>
          <p:cNvGrpSpPr/>
          <p:nvPr/>
        </p:nvGrpSpPr>
        <p:grpSpPr>
          <a:xfrm>
            <a:off x="910723" y="1508212"/>
            <a:ext cx="251660" cy="350166"/>
            <a:chOff x="910723" y="1508212"/>
            <a:chExt cx="251660" cy="350166"/>
          </a:xfrm>
        </p:grpSpPr>
        <p:sp>
          <p:nvSpPr>
            <p:cNvPr id="10647" name="Google Shape;10647;p60"/>
            <p:cNvSpPr/>
            <p:nvPr/>
          </p:nvSpPr>
          <p:spPr>
            <a:xfrm>
              <a:off x="910723" y="1508212"/>
              <a:ext cx="251660" cy="350166"/>
            </a:xfrm>
            <a:custGeom>
              <a:avLst/>
              <a:gdLst/>
              <a:ahLst/>
              <a:cxnLst/>
              <a:rect l="l" t="t" r="r" b="b"/>
              <a:pathLst>
                <a:path w="7907" h="11002" extrusionOk="0">
                  <a:moveTo>
                    <a:pt x="3942" y="334"/>
                  </a:moveTo>
                  <a:cubicBezTo>
                    <a:pt x="4132" y="334"/>
                    <a:pt x="4299" y="441"/>
                    <a:pt x="4394" y="608"/>
                  </a:cubicBezTo>
                  <a:cubicBezTo>
                    <a:pt x="4418" y="644"/>
                    <a:pt x="4466" y="679"/>
                    <a:pt x="4525" y="679"/>
                  </a:cubicBezTo>
                  <a:lnTo>
                    <a:pt x="5132" y="679"/>
                  </a:lnTo>
                  <a:cubicBezTo>
                    <a:pt x="5240" y="679"/>
                    <a:pt x="5311" y="763"/>
                    <a:pt x="5311" y="858"/>
                  </a:cubicBezTo>
                  <a:lnTo>
                    <a:pt x="5311" y="1382"/>
                  </a:lnTo>
                  <a:lnTo>
                    <a:pt x="2573" y="1382"/>
                  </a:lnTo>
                  <a:lnTo>
                    <a:pt x="2573" y="858"/>
                  </a:lnTo>
                  <a:cubicBezTo>
                    <a:pt x="2573" y="751"/>
                    <a:pt x="2668" y="679"/>
                    <a:pt x="2751" y="679"/>
                  </a:cubicBezTo>
                  <a:lnTo>
                    <a:pt x="3358" y="679"/>
                  </a:lnTo>
                  <a:cubicBezTo>
                    <a:pt x="3418" y="679"/>
                    <a:pt x="3466" y="644"/>
                    <a:pt x="3501" y="608"/>
                  </a:cubicBezTo>
                  <a:cubicBezTo>
                    <a:pt x="3585" y="441"/>
                    <a:pt x="3763" y="334"/>
                    <a:pt x="3942" y="334"/>
                  </a:cubicBezTo>
                  <a:close/>
                  <a:moveTo>
                    <a:pt x="7240" y="1013"/>
                  </a:moveTo>
                  <a:cubicBezTo>
                    <a:pt x="7442" y="1013"/>
                    <a:pt x="7609" y="1179"/>
                    <a:pt x="7609" y="1370"/>
                  </a:cubicBezTo>
                  <a:lnTo>
                    <a:pt x="7609" y="10323"/>
                  </a:lnTo>
                  <a:lnTo>
                    <a:pt x="7585" y="10323"/>
                  </a:lnTo>
                  <a:cubicBezTo>
                    <a:pt x="7585" y="10514"/>
                    <a:pt x="7430" y="10681"/>
                    <a:pt x="7228" y="10681"/>
                  </a:cubicBezTo>
                  <a:lnTo>
                    <a:pt x="691" y="10681"/>
                  </a:lnTo>
                  <a:cubicBezTo>
                    <a:pt x="501" y="10681"/>
                    <a:pt x="334" y="10514"/>
                    <a:pt x="334" y="10323"/>
                  </a:cubicBezTo>
                  <a:lnTo>
                    <a:pt x="334" y="1370"/>
                  </a:lnTo>
                  <a:cubicBezTo>
                    <a:pt x="334" y="1179"/>
                    <a:pt x="501" y="1013"/>
                    <a:pt x="691" y="1013"/>
                  </a:cubicBezTo>
                  <a:lnTo>
                    <a:pt x="2263" y="1013"/>
                  </a:lnTo>
                  <a:lnTo>
                    <a:pt x="2263" y="1537"/>
                  </a:lnTo>
                  <a:cubicBezTo>
                    <a:pt x="2263" y="1632"/>
                    <a:pt x="2335" y="1703"/>
                    <a:pt x="2418" y="1703"/>
                  </a:cubicBezTo>
                  <a:lnTo>
                    <a:pt x="5525" y="1703"/>
                  </a:lnTo>
                  <a:cubicBezTo>
                    <a:pt x="5609" y="1703"/>
                    <a:pt x="5680" y="1632"/>
                    <a:pt x="5680" y="1537"/>
                  </a:cubicBezTo>
                  <a:lnTo>
                    <a:pt x="5680" y="1013"/>
                  </a:lnTo>
                  <a:close/>
                  <a:moveTo>
                    <a:pt x="3954" y="1"/>
                  </a:moveTo>
                  <a:cubicBezTo>
                    <a:pt x="3692" y="1"/>
                    <a:pt x="3442" y="144"/>
                    <a:pt x="3275" y="346"/>
                  </a:cubicBezTo>
                  <a:lnTo>
                    <a:pt x="2751" y="346"/>
                  </a:lnTo>
                  <a:cubicBezTo>
                    <a:pt x="2525" y="346"/>
                    <a:pt x="2335" y="501"/>
                    <a:pt x="2275" y="691"/>
                  </a:cubicBezTo>
                  <a:lnTo>
                    <a:pt x="680" y="691"/>
                  </a:lnTo>
                  <a:cubicBezTo>
                    <a:pt x="310" y="691"/>
                    <a:pt x="1" y="989"/>
                    <a:pt x="1" y="1382"/>
                  </a:cubicBezTo>
                  <a:lnTo>
                    <a:pt x="1" y="10323"/>
                  </a:lnTo>
                  <a:cubicBezTo>
                    <a:pt x="1" y="10692"/>
                    <a:pt x="299" y="11002"/>
                    <a:pt x="680" y="11002"/>
                  </a:cubicBezTo>
                  <a:lnTo>
                    <a:pt x="7216" y="11002"/>
                  </a:lnTo>
                  <a:cubicBezTo>
                    <a:pt x="7585" y="11002"/>
                    <a:pt x="7907" y="10704"/>
                    <a:pt x="7907" y="10323"/>
                  </a:cubicBezTo>
                  <a:lnTo>
                    <a:pt x="7907" y="1382"/>
                  </a:lnTo>
                  <a:cubicBezTo>
                    <a:pt x="7907" y="989"/>
                    <a:pt x="7609" y="691"/>
                    <a:pt x="7228" y="691"/>
                  </a:cubicBezTo>
                  <a:lnTo>
                    <a:pt x="5644" y="691"/>
                  </a:lnTo>
                  <a:cubicBezTo>
                    <a:pt x="5561" y="501"/>
                    <a:pt x="5383" y="346"/>
                    <a:pt x="5168" y="346"/>
                  </a:cubicBezTo>
                  <a:lnTo>
                    <a:pt x="4644" y="346"/>
                  </a:lnTo>
                  <a:cubicBezTo>
                    <a:pt x="4478" y="144"/>
                    <a:pt x="4228" y="1"/>
                    <a:pt x="3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8" name="Google Shape;10648;p60"/>
            <p:cNvSpPr/>
            <p:nvPr/>
          </p:nvSpPr>
          <p:spPr>
            <a:xfrm>
              <a:off x="1031604" y="1530205"/>
              <a:ext cx="10280" cy="10248"/>
            </a:xfrm>
            <a:custGeom>
              <a:avLst/>
              <a:gdLst/>
              <a:ahLst/>
              <a:cxnLst/>
              <a:rect l="l" t="t" r="r" b="b"/>
              <a:pathLst>
                <a:path w="323" h="322" extrusionOk="0">
                  <a:moveTo>
                    <a:pt x="156" y="0"/>
                  </a:moveTo>
                  <a:cubicBezTo>
                    <a:pt x="72" y="0"/>
                    <a:pt x="1" y="72"/>
                    <a:pt x="1" y="167"/>
                  </a:cubicBezTo>
                  <a:cubicBezTo>
                    <a:pt x="1" y="250"/>
                    <a:pt x="72" y="322"/>
                    <a:pt x="156" y="322"/>
                  </a:cubicBezTo>
                  <a:cubicBezTo>
                    <a:pt x="251" y="322"/>
                    <a:pt x="322" y="250"/>
                    <a:pt x="322" y="167"/>
                  </a:cubicBez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9" name="Google Shape;10649;p60"/>
            <p:cNvSpPr/>
            <p:nvPr/>
          </p:nvSpPr>
          <p:spPr>
            <a:xfrm>
              <a:off x="932334" y="1551784"/>
              <a:ext cx="208088" cy="273653"/>
            </a:xfrm>
            <a:custGeom>
              <a:avLst/>
              <a:gdLst/>
              <a:ahLst/>
              <a:cxnLst/>
              <a:rect l="l" t="t" r="r" b="b"/>
              <a:pathLst>
                <a:path w="6538" h="8598" extrusionOk="0">
                  <a:moveTo>
                    <a:pt x="167" y="1"/>
                  </a:moveTo>
                  <a:cubicBezTo>
                    <a:pt x="72" y="1"/>
                    <a:pt x="1" y="84"/>
                    <a:pt x="1" y="168"/>
                  </a:cubicBezTo>
                  <a:lnTo>
                    <a:pt x="1" y="8430"/>
                  </a:lnTo>
                  <a:cubicBezTo>
                    <a:pt x="1" y="8526"/>
                    <a:pt x="72" y="8597"/>
                    <a:pt x="167" y="8597"/>
                  </a:cubicBezTo>
                  <a:lnTo>
                    <a:pt x="6358" y="8597"/>
                  </a:lnTo>
                  <a:cubicBezTo>
                    <a:pt x="6442" y="8597"/>
                    <a:pt x="6525" y="8526"/>
                    <a:pt x="6525" y="8430"/>
                  </a:cubicBezTo>
                  <a:lnTo>
                    <a:pt x="6525" y="168"/>
                  </a:lnTo>
                  <a:cubicBezTo>
                    <a:pt x="6537" y="84"/>
                    <a:pt x="6466" y="13"/>
                    <a:pt x="6370" y="13"/>
                  </a:cubicBezTo>
                  <a:lnTo>
                    <a:pt x="5513" y="13"/>
                  </a:lnTo>
                  <a:cubicBezTo>
                    <a:pt x="5418" y="13"/>
                    <a:pt x="5346" y="84"/>
                    <a:pt x="5346" y="168"/>
                  </a:cubicBezTo>
                  <a:cubicBezTo>
                    <a:pt x="5346" y="263"/>
                    <a:pt x="5418" y="334"/>
                    <a:pt x="5513" y="334"/>
                  </a:cubicBezTo>
                  <a:lnTo>
                    <a:pt x="6204" y="334"/>
                  </a:lnTo>
                  <a:lnTo>
                    <a:pt x="6204" y="8264"/>
                  </a:lnTo>
                  <a:lnTo>
                    <a:pt x="334" y="8264"/>
                  </a:lnTo>
                  <a:lnTo>
                    <a:pt x="334" y="334"/>
                  </a:lnTo>
                  <a:lnTo>
                    <a:pt x="1024" y="334"/>
                  </a:lnTo>
                  <a:cubicBezTo>
                    <a:pt x="1120" y="334"/>
                    <a:pt x="1191" y="263"/>
                    <a:pt x="1191" y="168"/>
                  </a:cubicBezTo>
                  <a:cubicBezTo>
                    <a:pt x="1191" y="84"/>
                    <a:pt x="1120" y="1"/>
                    <a:pt x="1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0" name="Google Shape;10650;p60"/>
            <p:cNvSpPr/>
            <p:nvPr/>
          </p:nvSpPr>
          <p:spPr>
            <a:xfrm>
              <a:off x="965689" y="1661302"/>
              <a:ext cx="32241" cy="32241"/>
            </a:xfrm>
            <a:custGeom>
              <a:avLst/>
              <a:gdLst/>
              <a:ahLst/>
              <a:cxnLst/>
              <a:rect l="l" t="t" r="r" b="b"/>
              <a:pathLst>
                <a:path w="1013" h="1013" extrusionOk="0">
                  <a:moveTo>
                    <a:pt x="500" y="346"/>
                  </a:moveTo>
                  <a:cubicBezTo>
                    <a:pt x="608" y="346"/>
                    <a:pt x="679" y="441"/>
                    <a:pt x="679" y="525"/>
                  </a:cubicBezTo>
                  <a:cubicBezTo>
                    <a:pt x="703" y="620"/>
                    <a:pt x="608" y="703"/>
                    <a:pt x="500" y="703"/>
                  </a:cubicBezTo>
                  <a:cubicBezTo>
                    <a:pt x="405" y="703"/>
                    <a:pt x="322" y="620"/>
                    <a:pt x="322" y="525"/>
                  </a:cubicBezTo>
                  <a:cubicBezTo>
                    <a:pt x="322" y="417"/>
                    <a:pt x="417" y="346"/>
                    <a:pt x="500" y="346"/>
                  </a:cubicBezTo>
                  <a:close/>
                  <a:moveTo>
                    <a:pt x="500" y="1"/>
                  </a:moveTo>
                  <a:cubicBezTo>
                    <a:pt x="227" y="1"/>
                    <a:pt x="0" y="227"/>
                    <a:pt x="0" y="513"/>
                  </a:cubicBezTo>
                  <a:cubicBezTo>
                    <a:pt x="0" y="787"/>
                    <a:pt x="227" y="1013"/>
                    <a:pt x="500" y="1013"/>
                  </a:cubicBezTo>
                  <a:cubicBezTo>
                    <a:pt x="786" y="1013"/>
                    <a:pt x="1012" y="787"/>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1" name="Google Shape;10651;p60"/>
            <p:cNvSpPr/>
            <p:nvPr/>
          </p:nvSpPr>
          <p:spPr>
            <a:xfrm>
              <a:off x="965689" y="1710571"/>
              <a:ext cx="32241" cy="32241"/>
            </a:xfrm>
            <a:custGeom>
              <a:avLst/>
              <a:gdLst/>
              <a:ahLst/>
              <a:cxnLst/>
              <a:rect l="l" t="t" r="r" b="b"/>
              <a:pathLst>
                <a:path w="1013" h="1013" extrusionOk="0">
                  <a:moveTo>
                    <a:pt x="500" y="346"/>
                  </a:moveTo>
                  <a:cubicBezTo>
                    <a:pt x="608" y="346"/>
                    <a:pt x="679" y="441"/>
                    <a:pt x="679" y="524"/>
                  </a:cubicBezTo>
                  <a:cubicBezTo>
                    <a:pt x="679" y="608"/>
                    <a:pt x="608" y="703"/>
                    <a:pt x="500" y="703"/>
                  </a:cubicBezTo>
                  <a:cubicBezTo>
                    <a:pt x="405" y="703"/>
                    <a:pt x="322" y="608"/>
                    <a:pt x="322" y="524"/>
                  </a:cubicBezTo>
                  <a:cubicBezTo>
                    <a:pt x="322" y="441"/>
                    <a:pt x="417" y="346"/>
                    <a:pt x="500" y="346"/>
                  </a:cubicBezTo>
                  <a:close/>
                  <a:moveTo>
                    <a:pt x="500" y="1"/>
                  </a:moveTo>
                  <a:cubicBezTo>
                    <a:pt x="227" y="1"/>
                    <a:pt x="0" y="227"/>
                    <a:pt x="0" y="513"/>
                  </a:cubicBezTo>
                  <a:cubicBezTo>
                    <a:pt x="0" y="786"/>
                    <a:pt x="227" y="1013"/>
                    <a:pt x="500" y="1013"/>
                  </a:cubicBezTo>
                  <a:cubicBezTo>
                    <a:pt x="786" y="1013"/>
                    <a:pt x="1012" y="786"/>
                    <a:pt x="1012" y="513"/>
                  </a:cubicBezTo>
                  <a:cubicBezTo>
                    <a:pt x="1012"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2" name="Google Shape;10652;p60"/>
            <p:cNvSpPr/>
            <p:nvPr/>
          </p:nvSpPr>
          <p:spPr>
            <a:xfrm>
              <a:off x="965689" y="1760604"/>
              <a:ext cx="32241" cy="31859"/>
            </a:xfrm>
            <a:custGeom>
              <a:avLst/>
              <a:gdLst/>
              <a:ahLst/>
              <a:cxnLst/>
              <a:rect l="l" t="t" r="r" b="b"/>
              <a:pathLst>
                <a:path w="1013" h="1001" extrusionOk="0">
                  <a:moveTo>
                    <a:pt x="500" y="322"/>
                  </a:moveTo>
                  <a:cubicBezTo>
                    <a:pt x="608" y="322"/>
                    <a:pt x="679" y="417"/>
                    <a:pt x="679" y="500"/>
                  </a:cubicBezTo>
                  <a:cubicBezTo>
                    <a:pt x="703" y="596"/>
                    <a:pt x="608" y="679"/>
                    <a:pt x="500" y="679"/>
                  </a:cubicBezTo>
                  <a:cubicBezTo>
                    <a:pt x="405" y="679"/>
                    <a:pt x="322" y="584"/>
                    <a:pt x="322" y="500"/>
                  </a:cubicBezTo>
                  <a:cubicBezTo>
                    <a:pt x="322" y="393"/>
                    <a:pt x="417" y="322"/>
                    <a:pt x="500" y="322"/>
                  </a:cubicBezTo>
                  <a:close/>
                  <a:moveTo>
                    <a:pt x="500" y="0"/>
                  </a:moveTo>
                  <a:cubicBezTo>
                    <a:pt x="227" y="0"/>
                    <a:pt x="0" y="215"/>
                    <a:pt x="0" y="500"/>
                  </a:cubicBezTo>
                  <a:cubicBezTo>
                    <a:pt x="0" y="786"/>
                    <a:pt x="227" y="1000"/>
                    <a:pt x="500" y="1000"/>
                  </a:cubicBezTo>
                  <a:cubicBezTo>
                    <a:pt x="786" y="1000"/>
                    <a:pt x="1012" y="786"/>
                    <a:pt x="1012" y="500"/>
                  </a:cubicBezTo>
                  <a:cubicBezTo>
                    <a:pt x="1012" y="215"/>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3" name="Google Shape;10653;p60"/>
            <p:cNvSpPr/>
            <p:nvPr/>
          </p:nvSpPr>
          <p:spPr>
            <a:xfrm>
              <a:off x="1009643" y="1661302"/>
              <a:ext cx="59899" cy="10662"/>
            </a:xfrm>
            <a:custGeom>
              <a:avLst/>
              <a:gdLst/>
              <a:ahLst/>
              <a:cxnLst/>
              <a:rect l="l" t="t" r="r" b="b"/>
              <a:pathLst>
                <a:path w="1882" h="335" extrusionOk="0">
                  <a:moveTo>
                    <a:pt x="167" y="1"/>
                  </a:moveTo>
                  <a:cubicBezTo>
                    <a:pt x="72" y="1"/>
                    <a:pt x="0" y="72"/>
                    <a:pt x="0" y="167"/>
                  </a:cubicBezTo>
                  <a:cubicBezTo>
                    <a:pt x="0" y="263"/>
                    <a:pt x="72" y="334"/>
                    <a:pt x="167" y="334"/>
                  </a:cubicBezTo>
                  <a:lnTo>
                    <a:pt x="1715" y="334"/>
                  </a:lnTo>
                  <a:cubicBezTo>
                    <a:pt x="1798" y="334"/>
                    <a:pt x="1882" y="263"/>
                    <a:pt x="1882" y="167"/>
                  </a:cubicBezTo>
                  <a:cubicBezTo>
                    <a:pt x="1882" y="72"/>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4" name="Google Shape;10654;p60"/>
            <p:cNvSpPr/>
            <p:nvPr/>
          </p:nvSpPr>
          <p:spPr>
            <a:xfrm>
              <a:off x="1009643" y="1683677"/>
              <a:ext cx="98188" cy="10630"/>
            </a:xfrm>
            <a:custGeom>
              <a:avLst/>
              <a:gdLst/>
              <a:ahLst/>
              <a:cxnLst/>
              <a:rect l="l" t="t" r="r" b="b"/>
              <a:pathLst>
                <a:path w="3085" h="334" extrusionOk="0">
                  <a:moveTo>
                    <a:pt x="167" y="0"/>
                  </a:moveTo>
                  <a:cubicBezTo>
                    <a:pt x="72" y="0"/>
                    <a:pt x="0" y="72"/>
                    <a:pt x="0" y="167"/>
                  </a:cubicBezTo>
                  <a:cubicBezTo>
                    <a:pt x="0" y="250"/>
                    <a:pt x="72" y="334"/>
                    <a:pt x="167" y="334"/>
                  </a:cubicBezTo>
                  <a:lnTo>
                    <a:pt x="2917" y="334"/>
                  </a:lnTo>
                  <a:cubicBezTo>
                    <a:pt x="3013" y="334"/>
                    <a:pt x="3084" y="250"/>
                    <a:pt x="3084" y="167"/>
                  </a:cubicBezTo>
                  <a:cubicBezTo>
                    <a:pt x="3084" y="72"/>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5" name="Google Shape;10655;p60"/>
            <p:cNvSpPr/>
            <p:nvPr/>
          </p:nvSpPr>
          <p:spPr>
            <a:xfrm>
              <a:off x="1009643" y="1710571"/>
              <a:ext cx="59899" cy="10630"/>
            </a:xfrm>
            <a:custGeom>
              <a:avLst/>
              <a:gdLst/>
              <a:ahLst/>
              <a:cxnLst/>
              <a:rect l="l" t="t" r="r" b="b"/>
              <a:pathLst>
                <a:path w="1882" h="334" extrusionOk="0">
                  <a:moveTo>
                    <a:pt x="167" y="1"/>
                  </a:moveTo>
                  <a:cubicBezTo>
                    <a:pt x="72" y="1"/>
                    <a:pt x="0" y="84"/>
                    <a:pt x="0" y="167"/>
                  </a:cubicBezTo>
                  <a:cubicBezTo>
                    <a:pt x="0" y="263"/>
                    <a:pt x="72" y="334"/>
                    <a:pt x="167" y="334"/>
                  </a:cubicBezTo>
                  <a:lnTo>
                    <a:pt x="1715" y="334"/>
                  </a:lnTo>
                  <a:cubicBezTo>
                    <a:pt x="1798" y="334"/>
                    <a:pt x="1882" y="263"/>
                    <a:pt x="1882" y="167"/>
                  </a:cubicBezTo>
                  <a:cubicBezTo>
                    <a:pt x="1882" y="84"/>
                    <a:pt x="1798"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6" name="Google Shape;10656;p60"/>
            <p:cNvSpPr/>
            <p:nvPr/>
          </p:nvSpPr>
          <p:spPr>
            <a:xfrm>
              <a:off x="1009643" y="1732946"/>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7" name="Google Shape;10657;p60"/>
            <p:cNvSpPr/>
            <p:nvPr/>
          </p:nvSpPr>
          <p:spPr>
            <a:xfrm>
              <a:off x="1009643" y="1760604"/>
              <a:ext cx="59899" cy="10248"/>
            </a:xfrm>
            <a:custGeom>
              <a:avLst/>
              <a:gdLst/>
              <a:ahLst/>
              <a:cxnLst/>
              <a:rect l="l" t="t" r="r" b="b"/>
              <a:pathLst>
                <a:path w="1882" h="322" extrusionOk="0">
                  <a:moveTo>
                    <a:pt x="167" y="0"/>
                  </a:moveTo>
                  <a:cubicBezTo>
                    <a:pt x="72" y="0"/>
                    <a:pt x="0" y="72"/>
                    <a:pt x="0" y="155"/>
                  </a:cubicBezTo>
                  <a:cubicBezTo>
                    <a:pt x="0" y="250"/>
                    <a:pt x="72" y="322"/>
                    <a:pt x="167" y="322"/>
                  </a:cubicBezTo>
                  <a:lnTo>
                    <a:pt x="1715" y="322"/>
                  </a:lnTo>
                  <a:cubicBezTo>
                    <a:pt x="1798" y="322"/>
                    <a:pt x="1882" y="250"/>
                    <a:pt x="1882" y="155"/>
                  </a:cubicBezTo>
                  <a:cubicBezTo>
                    <a:pt x="1882" y="72"/>
                    <a:pt x="1798" y="0"/>
                    <a:pt x="1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8" name="Google Shape;10658;p60"/>
            <p:cNvSpPr/>
            <p:nvPr/>
          </p:nvSpPr>
          <p:spPr>
            <a:xfrm>
              <a:off x="1009643" y="1782183"/>
              <a:ext cx="98188" cy="10662"/>
            </a:xfrm>
            <a:custGeom>
              <a:avLst/>
              <a:gdLst/>
              <a:ahLst/>
              <a:cxnLst/>
              <a:rect l="l" t="t" r="r" b="b"/>
              <a:pathLst>
                <a:path w="3085" h="335" extrusionOk="0">
                  <a:moveTo>
                    <a:pt x="167" y="1"/>
                  </a:moveTo>
                  <a:cubicBezTo>
                    <a:pt x="72" y="1"/>
                    <a:pt x="0" y="72"/>
                    <a:pt x="0" y="168"/>
                  </a:cubicBezTo>
                  <a:cubicBezTo>
                    <a:pt x="0" y="251"/>
                    <a:pt x="72" y="334"/>
                    <a:pt x="167" y="334"/>
                  </a:cubicBezTo>
                  <a:lnTo>
                    <a:pt x="2917" y="334"/>
                  </a:lnTo>
                  <a:cubicBezTo>
                    <a:pt x="3013" y="334"/>
                    <a:pt x="3084" y="251"/>
                    <a:pt x="3084" y="168"/>
                  </a:cubicBezTo>
                  <a:cubicBezTo>
                    <a:pt x="3084" y="72"/>
                    <a:pt x="3013" y="1"/>
                    <a:pt x="2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9" name="Google Shape;10659;p60"/>
            <p:cNvSpPr/>
            <p:nvPr/>
          </p:nvSpPr>
          <p:spPr>
            <a:xfrm>
              <a:off x="1009643" y="1579473"/>
              <a:ext cx="98188" cy="10630"/>
            </a:xfrm>
            <a:custGeom>
              <a:avLst/>
              <a:gdLst/>
              <a:ahLst/>
              <a:cxnLst/>
              <a:rect l="l" t="t" r="r" b="b"/>
              <a:pathLst>
                <a:path w="3085" h="334" extrusionOk="0">
                  <a:moveTo>
                    <a:pt x="167" y="0"/>
                  </a:moveTo>
                  <a:cubicBezTo>
                    <a:pt x="72" y="0"/>
                    <a:pt x="0" y="71"/>
                    <a:pt x="0" y="167"/>
                  </a:cubicBezTo>
                  <a:cubicBezTo>
                    <a:pt x="0" y="250"/>
                    <a:pt x="72" y="333"/>
                    <a:pt x="167" y="333"/>
                  </a:cubicBezTo>
                  <a:lnTo>
                    <a:pt x="2917" y="333"/>
                  </a:lnTo>
                  <a:cubicBezTo>
                    <a:pt x="3013" y="333"/>
                    <a:pt x="3084" y="250"/>
                    <a:pt x="3084" y="167"/>
                  </a:cubicBezTo>
                  <a:cubicBezTo>
                    <a:pt x="3084" y="71"/>
                    <a:pt x="3013" y="0"/>
                    <a:pt x="29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0" name="Google Shape;10660;p60"/>
            <p:cNvSpPr/>
            <p:nvPr/>
          </p:nvSpPr>
          <p:spPr>
            <a:xfrm>
              <a:off x="965689" y="1628711"/>
              <a:ext cx="142142" cy="10662"/>
            </a:xfrm>
            <a:custGeom>
              <a:avLst/>
              <a:gdLst/>
              <a:ahLst/>
              <a:cxnLst/>
              <a:rect l="l" t="t" r="r" b="b"/>
              <a:pathLst>
                <a:path w="4466" h="335" extrusionOk="0">
                  <a:moveTo>
                    <a:pt x="155" y="1"/>
                  </a:moveTo>
                  <a:cubicBezTo>
                    <a:pt x="72" y="1"/>
                    <a:pt x="0" y="72"/>
                    <a:pt x="0" y="168"/>
                  </a:cubicBezTo>
                  <a:cubicBezTo>
                    <a:pt x="0" y="251"/>
                    <a:pt x="72" y="334"/>
                    <a:pt x="155" y="334"/>
                  </a:cubicBezTo>
                  <a:lnTo>
                    <a:pt x="4298" y="334"/>
                  </a:lnTo>
                  <a:cubicBezTo>
                    <a:pt x="4394" y="334"/>
                    <a:pt x="4465" y="251"/>
                    <a:pt x="4465" y="168"/>
                  </a:cubicBezTo>
                  <a:cubicBezTo>
                    <a:pt x="4465" y="72"/>
                    <a:pt x="4394" y="1"/>
                    <a:pt x="4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1" name="Google Shape;10661;p60"/>
            <p:cNvSpPr/>
            <p:nvPr/>
          </p:nvSpPr>
          <p:spPr>
            <a:xfrm>
              <a:off x="1009643" y="1601434"/>
              <a:ext cx="26926" cy="10280"/>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6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2" name="Google Shape;10662;p60"/>
            <p:cNvSpPr/>
            <p:nvPr/>
          </p:nvSpPr>
          <p:spPr>
            <a:xfrm>
              <a:off x="1047550" y="1601434"/>
              <a:ext cx="26926" cy="10280"/>
            </a:xfrm>
            <a:custGeom>
              <a:avLst/>
              <a:gdLst/>
              <a:ahLst/>
              <a:cxnLst/>
              <a:rect l="l" t="t" r="r" b="b"/>
              <a:pathLst>
                <a:path w="846" h="323" extrusionOk="0">
                  <a:moveTo>
                    <a:pt x="167" y="1"/>
                  </a:moveTo>
                  <a:cubicBezTo>
                    <a:pt x="71" y="1"/>
                    <a:pt x="0" y="72"/>
                    <a:pt x="0" y="155"/>
                  </a:cubicBezTo>
                  <a:cubicBezTo>
                    <a:pt x="0" y="251"/>
                    <a:pt x="71" y="322"/>
                    <a:pt x="167" y="322"/>
                  </a:cubicBezTo>
                  <a:lnTo>
                    <a:pt x="691" y="322"/>
                  </a:lnTo>
                  <a:cubicBezTo>
                    <a:pt x="774" y="322"/>
                    <a:pt x="845" y="251"/>
                    <a:pt x="845" y="155"/>
                  </a:cubicBezTo>
                  <a:cubicBezTo>
                    <a:pt x="845" y="72"/>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3" name="Google Shape;10663;p60"/>
            <p:cNvSpPr/>
            <p:nvPr/>
          </p:nvSpPr>
          <p:spPr>
            <a:xfrm>
              <a:off x="966071" y="1579473"/>
              <a:ext cx="32241" cy="32241"/>
            </a:xfrm>
            <a:custGeom>
              <a:avLst/>
              <a:gdLst/>
              <a:ahLst/>
              <a:cxnLst/>
              <a:rect l="l" t="t" r="r" b="b"/>
              <a:pathLst>
                <a:path w="1013" h="1013" extrusionOk="0">
                  <a:moveTo>
                    <a:pt x="691" y="310"/>
                  </a:moveTo>
                  <a:lnTo>
                    <a:pt x="691" y="691"/>
                  </a:lnTo>
                  <a:lnTo>
                    <a:pt x="310" y="691"/>
                  </a:lnTo>
                  <a:lnTo>
                    <a:pt x="310" y="310"/>
                  </a:lnTo>
                  <a:close/>
                  <a:moveTo>
                    <a:pt x="167" y="0"/>
                  </a:moveTo>
                  <a:cubicBezTo>
                    <a:pt x="72" y="0"/>
                    <a:pt x="0" y="71"/>
                    <a:pt x="0" y="167"/>
                  </a:cubicBezTo>
                  <a:lnTo>
                    <a:pt x="0" y="845"/>
                  </a:lnTo>
                  <a:cubicBezTo>
                    <a:pt x="0" y="941"/>
                    <a:pt x="72" y="1012"/>
                    <a:pt x="167" y="1012"/>
                  </a:cubicBezTo>
                  <a:lnTo>
                    <a:pt x="846" y="1012"/>
                  </a:lnTo>
                  <a:cubicBezTo>
                    <a:pt x="941" y="1012"/>
                    <a:pt x="1012" y="941"/>
                    <a:pt x="1012" y="845"/>
                  </a:cubicBezTo>
                  <a:lnTo>
                    <a:pt x="1012" y="167"/>
                  </a:lnTo>
                  <a:cubicBezTo>
                    <a:pt x="1000" y="71"/>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4" name="Google Shape;10664;p60"/>
          <p:cNvGrpSpPr/>
          <p:nvPr/>
        </p:nvGrpSpPr>
        <p:grpSpPr>
          <a:xfrm>
            <a:off x="1308631" y="1507830"/>
            <a:ext cx="350166" cy="350198"/>
            <a:chOff x="1308631" y="1507830"/>
            <a:chExt cx="350166" cy="350198"/>
          </a:xfrm>
        </p:grpSpPr>
        <p:sp>
          <p:nvSpPr>
            <p:cNvPr id="10665" name="Google Shape;10665;p60"/>
            <p:cNvSpPr/>
            <p:nvPr/>
          </p:nvSpPr>
          <p:spPr>
            <a:xfrm>
              <a:off x="1308631" y="1507830"/>
              <a:ext cx="350166" cy="350198"/>
            </a:xfrm>
            <a:custGeom>
              <a:avLst/>
              <a:gdLst/>
              <a:ahLst/>
              <a:cxnLst/>
              <a:rect l="l" t="t" r="r" b="b"/>
              <a:pathLst>
                <a:path w="11002" h="11003" extrusionOk="0">
                  <a:moveTo>
                    <a:pt x="6192" y="310"/>
                  </a:moveTo>
                  <a:cubicBezTo>
                    <a:pt x="6192" y="310"/>
                    <a:pt x="6204" y="310"/>
                    <a:pt x="6204" y="334"/>
                  </a:cubicBezTo>
                  <a:lnTo>
                    <a:pt x="6204" y="787"/>
                  </a:lnTo>
                  <a:cubicBezTo>
                    <a:pt x="6204" y="953"/>
                    <a:pt x="6311" y="1084"/>
                    <a:pt x="6477" y="1120"/>
                  </a:cubicBezTo>
                  <a:cubicBezTo>
                    <a:pt x="6989" y="1239"/>
                    <a:pt x="7489" y="1429"/>
                    <a:pt x="7930" y="1715"/>
                  </a:cubicBezTo>
                  <a:cubicBezTo>
                    <a:pt x="7986" y="1751"/>
                    <a:pt x="8048" y="1769"/>
                    <a:pt x="8110" y="1769"/>
                  </a:cubicBezTo>
                  <a:cubicBezTo>
                    <a:pt x="8194" y="1769"/>
                    <a:pt x="8278" y="1736"/>
                    <a:pt x="8347" y="1668"/>
                  </a:cubicBezTo>
                  <a:lnTo>
                    <a:pt x="8680" y="1346"/>
                  </a:lnTo>
                  <a:lnTo>
                    <a:pt x="8692" y="1346"/>
                  </a:lnTo>
                  <a:lnTo>
                    <a:pt x="9656" y="2311"/>
                  </a:lnTo>
                  <a:lnTo>
                    <a:pt x="9656" y="2322"/>
                  </a:lnTo>
                  <a:lnTo>
                    <a:pt x="9335" y="2656"/>
                  </a:lnTo>
                  <a:cubicBezTo>
                    <a:pt x="9228" y="2751"/>
                    <a:pt x="9192" y="2930"/>
                    <a:pt x="9287" y="3073"/>
                  </a:cubicBezTo>
                  <a:cubicBezTo>
                    <a:pt x="9573" y="3513"/>
                    <a:pt x="9775" y="4001"/>
                    <a:pt x="9883" y="4525"/>
                  </a:cubicBezTo>
                  <a:cubicBezTo>
                    <a:pt x="9906" y="4680"/>
                    <a:pt x="10049" y="4799"/>
                    <a:pt x="10204" y="4799"/>
                  </a:cubicBezTo>
                  <a:lnTo>
                    <a:pt x="10668" y="4799"/>
                  </a:lnTo>
                  <a:cubicBezTo>
                    <a:pt x="10668" y="4799"/>
                    <a:pt x="10680" y="4799"/>
                    <a:pt x="10680" y="4811"/>
                  </a:cubicBezTo>
                  <a:lnTo>
                    <a:pt x="10657" y="6216"/>
                  </a:lnTo>
                  <a:lnTo>
                    <a:pt x="10192" y="6216"/>
                  </a:lnTo>
                  <a:cubicBezTo>
                    <a:pt x="10026" y="6216"/>
                    <a:pt x="9895" y="6311"/>
                    <a:pt x="9871" y="6478"/>
                  </a:cubicBezTo>
                  <a:cubicBezTo>
                    <a:pt x="9752" y="7002"/>
                    <a:pt x="9549" y="7490"/>
                    <a:pt x="9275" y="7942"/>
                  </a:cubicBezTo>
                  <a:cubicBezTo>
                    <a:pt x="9180" y="8073"/>
                    <a:pt x="9192" y="8240"/>
                    <a:pt x="9311" y="8359"/>
                  </a:cubicBezTo>
                  <a:lnTo>
                    <a:pt x="9645" y="8680"/>
                  </a:lnTo>
                  <a:lnTo>
                    <a:pt x="9645" y="8692"/>
                  </a:lnTo>
                  <a:lnTo>
                    <a:pt x="8680" y="9669"/>
                  </a:lnTo>
                  <a:lnTo>
                    <a:pt x="8656" y="9669"/>
                  </a:lnTo>
                  <a:lnTo>
                    <a:pt x="8335" y="9335"/>
                  </a:lnTo>
                  <a:cubicBezTo>
                    <a:pt x="8271" y="9272"/>
                    <a:pt x="8183" y="9237"/>
                    <a:pt x="8094" y="9237"/>
                  </a:cubicBezTo>
                  <a:cubicBezTo>
                    <a:pt x="8033" y="9237"/>
                    <a:pt x="7971" y="9254"/>
                    <a:pt x="7918" y="9288"/>
                  </a:cubicBezTo>
                  <a:cubicBezTo>
                    <a:pt x="7466" y="9573"/>
                    <a:pt x="6978" y="9788"/>
                    <a:pt x="6454" y="9883"/>
                  </a:cubicBezTo>
                  <a:cubicBezTo>
                    <a:pt x="6311" y="9919"/>
                    <a:pt x="6192" y="10050"/>
                    <a:pt x="6192" y="10216"/>
                  </a:cubicBezTo>
                  <a:lnTo>
                    <a:pt x="6192" y="10681"/>
                  </a:lnTo>
                  <a:cubicBezTo>
                    <a:pt x="6192" y="10681"/>
                    <a:pt x="6192" y="10693"/>
                    <a:pt x="6168" y="10693"/>
                  </a:cubicBezTo>
                  <a:lnTo>
                    <a:pt x="4811" y="10693"/>
                  </a:lnTo>
                  <a:cubicBezTo>
                    <a:pt x="4811" y="10693"/>
                    <a:pt x="4787" y="10693"/>
                    <a:pt x="4787" y="10681"/>
                  </a:cubicBezTo>
                  <a:lnTo>
                    <a:pt x="4787" y="10216"/>
                  </a:lnTo>
                  <a:cubicBezTo>
                    <a:pt x="4787" y="10050"/>
                    <a:pt x="4692" y="9919"/>
                    <a:pt x="4525" y="9883"/>
                  </a:cubicBezTo>
                  <a:cubicBezTo>
                    <a:pt x="4001" y="9764"/>
                    <a:pt x="3513" y="9573"/>
                    <a:pt x="3060" y="9288"/>
                  </a:cubicBezTo>
                  <a:cubicBezTo>
                    <a:pt x="3001" y="9264"/>
                    <a:pt x="2941" y="9228"/>
                    <a:pt x="2882" y="9228"/>
                  </a:cubicBezTo>
                  <a:cubicBezTo>
                    <a:pt x="2798" y="9228"/>
                    <a:pt x="2715" y="9264"/>
                    <a:pt x="2644" y="9335"/>
                  </a:cubicBezTo>
                  <a:lnTo>
                    <a:pt x="2322" y="9669"/>
                  </a:lnTo>
                  <a:lnTo>
                    <a:pt x="2298" y="9669"/>
                  </a:lnTo>
                  <a:lnTo>
                    <a:pt x="1334" y="8692"/>
                  </a:lnTo>
                  <a:lnTo>
                    <a:pt x="1334" y="8680"/>
                  </a:lnTo>
                  <a:lnTo>
                    <a:pt x="1667" y="8359"/>
                  </a:lnTo>
                  <a:cubicBezTo>
                    <a:pt x="1763" y="8252"/>
                    <a:pt x="1798" y="8073"/>
                    <a:pt x="1703" y="7942"/>
                  </a:cubicBezTo>
                  <a:cubicBezTo>
                    <a:pt x="1429" y="7490"/>
                    <a:pt x="1215" y="7002"/>
                    <a:pt x="1108" y="6478"/>
                  </a:cubicBezTo>
                  <a:cubicBezTo>
                    <a:pt x="1084" y="6335"/>
                    <a:pt x="953" y="6216"/>
                    <a:pt x="786" y="6216"/>
                  </a:cubicBezTo>
                  <a:lnTo>
                    <a:pt x="322" y="6216"/>
                  </a:lnTo>
                  <a:cubicBezTo>
                    <a:pt x="322" y="6216"/>
                    <a:pt x="310" y="6216"/>
                    <a:pt x="310" y="6192"/>
                  </a:cubicBezTo>
                  <a:lnTo>
                    <a:pt x="310" y="4811"/>
                  </a:lnTo>
                  <a:cubicBezTo>
                    <a:pt x="310" y="4811"/>
                    <a:pt x="310" y="4799"/>
                    <a:pt x="322" y="4799"/>
                  </a:cubicBezTo>
                  <a:lnTo>
                    <a:pt x="786" y="4799"/>
                  </a:lnTo>
                  <a:cubicBezTo>
                    <a:pt x="953" y="4799"/>
                    <a:pt x="1084" y="4692"/>
                    <a:pt x="1108" y="4525"/>
                  </a:cubicBezTo>
                  <a:cubicBezTo>
                    <a:pt x="1227" y="4001"/>
                    <a:pt x="1429" y="3513"/>
                    <a:pt x="1703" y="3073"/>
                  </a:cubicBezTo>
                  <a:cubicBezTo>
                    <a:pt x="1798" y="2930"/>
                    <a:pt x="1786" y="2775"/>
                    <a:pt x="1667" y="2656"/>
                  </a:cubicBezTo>
                  <a:lnTo>
                    <a:pt x="1334" y="2322"/>
                  </a:lnTo>
                  <a:lnTo>
                    <a:pt x="1334" y="2311"/>
                  </a:lnTo>
                  <a:lnTo>
                    <a:pt x="2298" y="1346"/>
                  </a:lnTo>
                  <a:lnTo>
                    <a:pt x="2322" y="1346"/>
                  </a:lnTo>
                  <a:lnTo>
                    <a:pt x="2644" y="1668"/>
                  </a:lnTo>
                  <a:cubicBezTo>
                    <a:pt x="2707" y="1731"/>
                    <a:pt x="2796" y="1765"/>
                    <a:pt x="2885" y="1765"/>
                  </a:cubicBezTo>
                  <a:cubicBezTo>
                    <a:pt x="2946" y="1765"/>
                    <a:pt x="3007" y="1749"/>
                    <a:pt x="3060" y="1715"/>
                  </a:cubicBezTo>
                  <a:cubicBezTo>
                    <a:pt x="3513" y="1429"/>
                    <a:pt x="4001" y="1227"/>
                    <a:pt x="4525" y="1120"/>
                  </a:cubicBezTo>
                  <a:cubicBezTo>
                    <a:pt x="4668" y="1084"/>
                    <a:pt x="4787" y="953"/>
                    <a:pt x="4787" y="787"/>
                  </a:cubicBezTo>
                  <a:lnTo>
                    <a:pt x="4787" y="334"/>
                  </a:lnTo>
                  <a:cubicBezTo>
                    <a:pt x="4787" y="334"/>
                    <a:pt x="4787" y="310"/>
                    <a:pt x="4811" y="310"/>
                  </a:cubicBezTo>
                  <a:close/>
                  <a:moveTo>
                    <a:pt x="4811" y="1"/>
                  </a:moveTo>
                  <a:cubicBezTo>
                    <a:pt x="4632" y="1"/>
                    <a:pt x="4477" y="156"/>
                    <a:pt x="4477" y="334"/>
                  </a:cubicBezTo>
                  <a:lnTo>
                    <a:pt x="4477" y="798"/>
                  </a:lnTo>
                  <a:cubicBezTo>
                    <a:pt x="4477" y="798"/>
                    <a:pt x="4477" y="810"/>
                    <a:pt x="4465" y="810"/>
                  </a:cubicBezTo>
                  <a:cubicBezTo>
                    <a:pt x="3918" y="929"/>
                    <a:pt x="3370" y="1156"/>
                    <a:pt x="2906" y="1453"/>
                  </a:cubicBezTo>
                  <a:lnTo>
                    <a:pt x="2882" y="1453"/>
                  </a:lnTo>
                  <a:lnTo>
                    <a:pt x="2560" y="1120"/>
                  </a:lnTo>
                  <a:cubicBezTo>
                    <a:pt x="2495" y="1054"/>
                    <a:pt x="2408" y="1022"/>
                    <a:pt x="2322" y="1022"/>
                  </a:cubicBezTo>
                  <a:cubicBezTo>
                    <a:pt x="2236" y="1022"/>
                    <a:pt x="2150" y="1054"/>
                    <a:pt x="2084" y="1120"/>
                  </a:cubicBezTo>
                  <a:lnTo>
                    <a:pt x="1120" y="2084"/>
                  </a:lnTo>
                  <a:cubicBezTo>
                    <a:pt x="977" y="2215"/>
                    <a:pt x="977" y="2430"/>
                    <a:pt x="1120" y="2561"/>
                  </a:cubicBezTo>
                  <a:lnTo>
                    <a:pt x="1441" y="2894"/>
                  </a:lnTo>
                  <a:lnTo>
                    <a:pt x="1441" y="2906"/>
                  </a:lnTo>
                  <a:cubicBezTo>
                    <a:pt x="1132" y="3382"/>
                    <a:pt x="917" y="3906"/>
                    <a:pt x="798" y="4466"/>
                  </a:cubicBezTo>
                  <a:cubicBezTo>
                    <a:pt x="798" y="4466"/>
                    <a:pt x="798" y="4489"/>
                    <a:pt x="786" y="4489"/>
                  </a:cubicBezTo>
                  <a:lnTo>
                    <a:pt x="322" y="4489"/>
                  </a:lnTo>
                  <a:cubicBezTo>
                    <a:pt x="143" y="4489"/>
                    <a:pt x="0" y="4632"/>
                    <a:pt x="0" y="4811"/>
                  </a:cubicBezTo>
                  <a:lnTo>
                    <a:pt x="0" y="6192"/>
                  </a:lnTo>
                  <a:cubicBezTo>
                    <a:pt x="0" y="6371"/>
                    <a:pt x="143" y="6525"/>
                    <a:pt x="322" y="6525"/>
                  </a:cubicBezTo>
                  <a:lnTo>
                    <a:pt x="786" y="6525"/>
                  </a:lnTo>
                  <a:cubicBezTo>
                    <a:pt x="786" y="6525"/>
                    <a:pt x="798" y="6525"/>
                    <a:pt x="798" y="6537"/>
                  </a:cubicBezTo>
                  <a:cubicBezTo>
                    <a:pt x="917" y="7085"/>
                    <a:pt x="1143" y="7621"/>
                    <a:pt x="1441" y="8097"/>
                  </a:cubicBezTo>
                  <a:lnTo>
                    <a:pt x="1441" y="8121"/>
                  </a:lnTo>
                  <a:lnTo>
                    <a:pt x="1120" y="8442"/>
                  </a:lnTo>
                  <a:cubicBezTo>
                    <a:pt x="977" y="8573"/>
                    <a:pt x="977" y="8788"/>
                    <a:pt x="1120" y="8918"/>
                  </a:cubicBezTo>
                  <a:lnTo>
                    <a:pt x="2084" y="9883"/>
                  </a:lnTo>
                  <a:cubicBezTo>
                    <a:pt x="2150" y="9954"/>
                    <a:pt x="2236" y="9990"/>
                    <a:pt x="2322" y="9990"/>
                  </a:cubicBezTo>
                  <a:cubicBezTo>
                    <a:pt x="2408" y="9990"/>
                    <a:pt x="2495" y="9954"/>
                    <a:pt x="2560" y="9883"/>
                  </a:cubicBezTo>
                  <a:lnTo>
                    <a:pt x="2882" y="9561"/>
                  </a:lnTo>
                  <a:lnTo>
                    <a:pt x="2906" y="9561"/>
                  </a:lnTo>
                  <a:cubicBezTo>
                    <a:pt x="3370" y="9871"/>
                    <a:pt x="3894" y="10085"/>
                    <a:pt x="4465" y="10204"/>
                  </a:cubicBezTo>
                  <a:cubicBezTo>
                    <a:pt x="4465" y="10204"/>
                    <a:pt x="4477" y="10204"/>
                    <a:pt x="4477" y="10216"/>
                  </a:cubicBezTo>
                  <a:lnTo>
                    <a:pt x="4477" y="10681"/>
                  </a:lnTo>
                  <a:cubicBezTo>
                    <a:pt x="4477" y="10859"/>
                    <a:pt x="4632" y="11002"/>
                    <a:pt x="4811" y="11002"/>
                  </a:cubicBezTo>
                  <a:lnTo>
                    <a:pt x="6192" y="11002"/>
                  </a:lnTo>
                  <a:cubicBezTo>
                    <a:pt x="6370" y="11002"/>
                    <a:pt x="6513" y="10859"/>
                    <a:pt x="6513" y="10681"/>
                  </a:cubicBezTo>
                  <a:lnTo>
                    <a:pt x="6513" y="10216"/>
                  </a:lnTo>
                  <a:cubicBezTo>
                    <a:pt x="6513" y="10216"/>
                    <a:pt x="6513" y="10204"/>
                    <a:pt x="6537" y="10204"/>
                  </a:cubicBezTo>
                  <a:cubicBezTo>
                    <a:pt x="7085" y="10085"/>
                    <a:pt x="7620" y="9859"/>
                    <a:pt x="8097" y="9561"/>
                  </a:cubicBezTo>
                  <a:lnTo>
                    <a:pt x="8109" y="9561"/>
                  </a:lnTo>
                  <a:lnTo>
                    <a:pt x="8442" y="9883"/>
                  </a:lnTo>
                  <a:cubicBezTo>
                    <a:pt x="8507" y="9954"/>
                    <a:pt x="8591" y="9990"/>
                    <a:pt x="8676" y="9990"/>
                  </a:cubicBezTo>
                  <a:cubicBezTo>
                    <a:pt x="8760" y="9990"/>
                    <a:pt x="8847" y="9954"/>
                    <a:pt x="8918" y="9883"/>
                  </a:cubicBezTo>
                  <a:lnTo>
                    <a:pt x="9883" y="8918"/>
                  </a:lnTo>
                  <a:cubicBezTo>
                    <a:pt x="10014" y="8788"/>
                    <a:pt x="10014" y="8573"/>
                    <a:pt x="9883" y="8442"/>
                  </a:cubicBezTo>
                  <a:lnTo>
                    <a:pt x="9549" y="8121"/>
                  </a:lnTo>
                  <a:lnTo>
                    <a:pt x="9549" y="8097"/>
                  </a:lnTo>
                  <a:cubicBezTo>
                    <a:pt x="9871" y="7621"/>
                    <a:pt x="10073" y="7109"/>
                    <a:pt x="10192" y="6537"/>
                  </a:cubicBezTo>
                  <a:cubicBezTo>
                    <a:pt x="10192" y="6537"/>
                    <a:pt x="10192" y="6525"/>
                    <a:pt x="10204" y="6525"/>
                  </a:cubicBezTo>
                  <a:lnTo>
                    <a:pt x="10668" y="6525"/>
                  </a:lnTo>
                  <a:cubicBezTo>
                    <a:pt x="10847" y="6525"/>
                    <a:pt x="11002" y="6371"/>
                    <a:pt x="11002" y="6192"/>
                  </a:cubicBezTo>
                  <a:lnTo>
                    <a:pt x="11002" y="4811"/>
                  </a:lnTo>
                  <a:cubicBezTo>
                    <a:pt x="10978" y="4632"/>
                    <a:pt x="10835" y="4489"/>
                    <a:pt x="10657" y="4489"/>
                  </a:cubicBezTo>
                  <a:lnTo>
                    <a:pt x="10192" y="4489"/>
                  </a:lnTo>
                  <a:cubicBezTo>
                    <a:pt x="10192" y="4489"/>
                    <a:pt x="10180" y="4489"/>
                    <a:pt x="10180" y="4466"/>
                  </a:cubicBezTo>
                  <a:cubicBezTo>
                    <a:pt x="10061" y="3918"/>
                    <a:pt x="9835" y="3382"/>
                    <a:pt x="9537" y="2906"/>
                  </a:cubicBezTo>
                  <a:lnTo>
                    <a:pt x="9537" y="2894"/>
                  </a:lnTo>
                  <a:lnTo>
                    <a:pt x="9859" y="2561"/>
                  </a:lnTo>
                  <a:cubicBezTo>
                    <a:pt x="10002" y="2430"/>
                    <a:pt x="10002" y="2215"/>
                    <a:pt x="9859" y="2084"/>
                  </a:cubicBezTo>
                  <a:lnTo>
                    <a:pt x="8894" y="1120"/>
                  </a:lnTo>
                  <a:cubicBezTo>
                    <a:pt x="8829" y="1054"/>
                    <a:pt x="8743" y="1022"/>
                    <a:pt x="8656" y="1022"/>
                  </a:cubicBezTo>
                  <a:cubicBezTo>
                    <a:pt x="8570" y="1022"/>
                    <a:pt x="8484" y="1054"/>
                    <a:pt x="8418" y="1120"/>
                  </a:cubicBezTo>
                  <a:lnTo>
                    <a:pt x="8097" y="1453"/>
                  </a:lnTo>
                  <a:lnTo>
                    <a:pt x="8073" y="1453"/>
                  </a:lnTo>
                  <a:cubicBezTo>
                    <a:pt x="7597" y="1132"/>
                    <a:pt x="7085" y="929"/>
                    <a:pt x="6513" y="810"/>
                  </a:cubicBezTo>
                  <a:cubicBezTo>
                    <a:pt x="6513" y="810"/>
                    <a:pt x="6501" y="810"/>
                    <a:pt x="6501" y="798"/>
                  </a:cubicBezTo>
                  <a:lnTo>
                    <a:pt x="6501" y="334"/>
                  </a:lnTo>
                  <a:cubicBezTo>
                    <a:pt x="6501" y="156"/>
                    <a:pt x="6346" y="1"/>
                    <a:pt x="6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6" name="Google Shape;10666;p60"/>
            <p:cNvSpPr/>
            <p:nvPr/>
          </p:nvSpPr>
          <p:spPr>
            <a:xfrm>
              <a:off x="1373049" y="1574063"/>
              <a:ext cx="181544" cy="179730"/>
            </a:xfrm>
            <a:custGeom>
              <a:avLst/>
              <a:gdLst/>
              <a:ahLst/>
              <a:cxnLst/>
              <a:rect l="l" t="t" r="r" b="b"/>
              <a:pathLst>
                <a:path w="5704" h="5647" extrusionOk="0">
                  <a:moveTo>
                    <a:pt x="3449" y="0"/>
                  </a:moveTo>
                  <a:cubicBezTo>
                    <a:pt x="3399" y="0"/>
                    <a:pt x="3349" y="1"/>
                    <a:pt x="3299" y="3"/>
                  </a:cubicBezTo>
                  <a:cubicBezTo>
                    <a:pt x="2453" y="51"/>
                    <a:pt x="1644" y="408"/>
                    <a:pt x="1036" y="1003"/>
                  </a:cubicBezTo>
                  <a:cubicBezTo>
                    <a:pt x="429" y="1611"/>
                    <a:pt x="84" y="2396"/>
                    <a:pt x="48" y="3266"/>
                  </a:cubicBezTo>
                  <a:cubicBezTo>
                    <a:pt x="1" y="4111"/>
                    <a:pt x="262" y="4933"/>
                    <a:pt x="798" y="5587"/>
                  </a:cubicBezTo>
                  <a:cubicBezTo>
                    <a:pt x="834" y="5635"/>
                    <a:pt x="882" y="5647"/>
                    <a:pt x="917" y="5647"/>
                  </a:cubicBezTo>
                  <a:cubicBezTo>
                    <a:pt x="953" y="5647"/>
                    <a:pt x="1001" y="5635"/>
                    <a:pt x="1024" y="5623"/>
                  </a:cubicBezTo>
                  <a:cubicBezTo>
                    <a:pt x="1096" y="5564"/>
                    <a:pt x="1096" y="5456"/>
                    <a:pt x="1060" y="5397"/>
                  </a:cubicBezTo>
                  <a:cubicBezTo>
                    <a:pt x="584" y="4802"/>
                    <a:pt x="322" y="4051"/>
                    <a:pt x="370" y="3278"/>
                  </a:cubicBezTo>
                  <a:cubicBezTo>
                    <a:pt x="417" y="2504"/>
                    <a:pt x="727" y="1777"/>
                    <a:pt x="1274" y="1242"/>
                  </a:cubicBezTo>
                  <a:cubicBezTo>
                    <a:pt x="1834" y="694"/>
                    <a:pt x="2560" y="384"/>
                    <a:pt x="3322" y="337"/>
                  </a:cubicBezTo>
                  <a:cubicBezTo>
                    <a:pt x="3385" y="333"/>
                    <a:pt x="3447" y="331"/>
                    <a:pt x="3509" y="331"/>
                  </a:cubicBezTo>
                  <a:cubicBezTo>
                    <a:pt x="4215" y="331"/>
                    <a:pt x="4883" y="578"/>
                    <a:pt x="5430" y="1015"/>
                  </a:cubicBezTo>
                  <a:cubicBezTo>
                    <a:pt x="5461" y="1041"/>
                    <a:pt x="5496" y="1053"/>
                    <a:pt x="5531" y="1053"/>
                  </a:cubicBezTo>
                  <a:cubicBezTo>
                    <a:pt x="5577" y="1053"/>
                    <a:pt x="5622" y="1032"/>
                    <a:pt x="5656" y="992"/>
                  </a:cubicBezTo>
                  <a:cubicBezTo>
                    <a:pt x="5704" y="920"/>
                    <a:pt x="5680" y="813"/>
                    <a:pt x="5620" y="765"/>
                  </a:cubicBezTo>
                  <a:cubicBezTo>
                    <a:pt x="5005" y="262"/>
                    <a:pt x="4232" y="0"/>
                    <a:pt x="3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7" name="Google Shape;10667;p60"/>
            <p:cNvSpPr/>
            <p:nvPr/>
          </p:nvSpPr>
          <p:spPr>
            <a:xfrm>
              <a:off x="1411338" y="1606368"/>
              <a:ext cx="182276" cy="186477"/>
            </a:xfrm>
            <a:custGeom>
              <a:avLst/>
              <a:gdLst/>
              <a:ahLst/>
              <a:cxnLst/>
              <a:rect l="l" t="t" r="r" b="b"/>
              <a:pathLst>
                <a:path w="5727" h="5859" extrusionOk="0">
                  <a:moveTo>
                    <a:pt x="3286" y="334"/>
                  </a:moveTo>
                  <a:lnTo>
                    <a:pt x="3286" y="1000"/>
                  </a:lnTo>
                  <a:cubicBezTo>
                    <a:pt x="3286" y="1108"/>
                    <a:pt x="3262" y="1227"/>
                    <a:pt x="3215" y="1310"/>
                  </a:cubicBezTo>
                  <a:lnTo>
                    <a:pt x="3143" y="1477"/>
                  </a:lnTo>
                  <a:cubicBezTo>
                    <a:pt x="3119" y="1501"/>
                    <a:pt x="3119" y="1524"/>
                    <a:pt x="3119" y="1548"/>
                  </a:cubicBezTo>
                  <a:lnTo>
                    <a:pt x="3119" y="1893"/>
                  </a:lnTo>
                  <a:cubicBezTo>
                    <a:pt x="3119" y="2132"/>
                    <a:pt x="3036" y="2358"/>
                    <a:pt x="2858" y="2524"/>
                  </a:cubicBezTo>
                  <a:cubicBezTo>
                    <a:pt x="2691" y="2679"/>
                    <a:pt x="2453" y="2775"/>
                    <a:pt x="2215" y="2775"/>
                  </a:cubicBezTo>
                  <a:cubicBezTo>
                    <a:pt x="1774" y="2763"/>
                    <a:pt x="1381" y="2346"/>
                    <a:pt x="1381" y="1846"/>
                  </a:cubicBezTo>
                  <a:lnTo>
                    <a:pt x="1381" y="1548"/>
                  </a:lnTo>
                  <a:cubicBezTo>
                    <a:pt x="1381" y="1524"/>
                    <a:pt x="1381" y="1501"/>
                    <a:pt x="1369" y="1477"/>
                  </a:cubicBezTo>
                  <a:lnTo>
                    <a:pt x="1262" y="1286"/>
                  </a:lnTo>
                  <a:cubicBezTo>
                    <a:pt x="1238" y="1203"/>
                    <a:pt x="1203" y="1131"/>
                    <a:pt x="1203" y="1048"/>
                  </a:cubicBezTo>
                  <a:lnTo>
                    <a:pt x="1203" y="1024"/>
                  </a:lnTo>
                  <a:cubicBezTo>
                    <a:pt x="1203" y="643"/>
                    <a:pt x="1524" y="334"/>
                    <a:pt x="1905" y="334"/>
                  </a:cubicBezTo>
                  <a:close/>
                  <a:moveTo>
                    <a:pt x="2608" y="3025"/>
                  </a:moveTo>
                  <a:cubicBezTo>
                    <a:pt x="2619" y="3084"/>
                    <a:pt x="2631" y="3132"/>
                    <a:pt x="2655" y="3179"/>
                  </a:cubicBezTo>
                  <a:lnTo>
                    <a:pt x="2512" y="3310"/>
                  </a:lnTo>
                  <a:cubicBezTo>
                    <a:pt x="2441" y="3382"/>
                    <a:pt x="2357" y="3417"/>
                    <a:pt x="2262" y="3417"/>
                  </a:cubicBezTo>
                  <a:cubicBezTo>
                    <a:pt x="2179" y="3417"/>
                    <a:pt x="2084" y="3382"/>
                    <a:pt x="2012" y="3310"/>
                  </a:cubicBezTo>
                  <a:lnTo>
                    <a:pt x="1881" y="3179"/>
                  </a:lnTo>
                  <a:cubicBezTo>
                    <a:pt x="1893" y="3132"/>
                    <a:pt x="1905" y="3084"/>
                    <a:pt x="1905" y="3025"/>
                  </a:cubicBezTo>
                  <a:cubicBezTo>
                    <a:pt x="2012" y="3060"/>
                    <a:pt x="2119" y="3084"/>
                    <a:pt x="2215" y="3084"/>
                  </a:cubicBezTo>
                  <a:lnTo>
                    <a:pt x="2250" y="3084"/>
                  </a:lnTo>
                  <a:cubicBezTo>
                    <a:pt x="2369" y="3084"/>
                    <a:pt x="2488" y="3072"/>
                    <a:pt x="2608" y="3025"/>
                  </a:cubicBezTo>
                  <a:close/>
                  <a:moveTo>
                    <a:pt x="2810" y="3441"/>
                  </a:moveTo>
                  <a:cubicBezTo>
                    <a:pt x="2858" y="3477"/>
                    <a:pt x="2905" y="3489"/>
                    <a:pt x="2941" y="3501"/>
                  </a:cubicBezTo>
                  <a:lnTo>
                    <a:pt x="3524" y="3667"/>
                  </a:lnTo>
                  <a:cubicBezTo>
                    <a:pt x="3679" y="3715"/>
                    <a:pt x="3774" y="3846"/>
                    <a:pt x="3774" y="4013"/>
                  </a:cubicBezTo>
                  <a:lnTo>
                    <a:pt x="3774" y="5108"/>
                  </a:lnTo>
                  <a:lnTo>
                    <a:pt x="3822" y="5108"/>
                  </a:lnTo>
                  <a:cubicBezTo>
                    <a:pt x="3703" y="5180"/>
                    <a:pt x="3584" y="5239"/>
                    <a:pt x="3453" y="5287"/>
                  </a:cubicBezTo>
                  <a:lnTo>
                    <a:pt x="3453" y="4310"/>
                  </a:lnTo>
                  <a:cubicBezTo>
                    <a:pt x="3453" y="4215"/>
                    <a:pt x="3381" y="4144"/>
                    <a:pt x="3286" y="4144"/>
                  </a:cubicBezTo>
                  <a:cubicBezTo>
                    <a:pt x="3203" y="4144"/>
                    <a:pt x="3119" y="4215"/>
                    <a:pt x="3119" y="4310"/>
                  </a:cubicBezTo>
                  <a:lnTo>
                    <a:pt x="3119" y="5394"/>
                  </a:lnTo>
                  <a:cubicBezTo>
                    <a:pt x="2881" y="5465"/>
                    <a:pt x="2655" y="5501"/>
                    <a:pt x="2405" y="5513"/>
                  </a:cubicBezTo>
                  <a:lnTo>
                    <a:pt x="2262" y="5513"/>
                  </a:lnTo>
                  <a:cubicBezTo>
                    <a:pt x="1965" y="5513"/>
                    <a:pt x="1667" y="5465"/>
                    <a:pt x="1381" y="5394"/>
                  </a:cubicBezTo>
                  <a:lnTo>
                    <a:pt x="1381" y="4310"/>
                  </a:lnTo>
                  <a:cubicBezTo>
                    <a:pt x="1381" y="4215"/>
                    <a:pt x="1310" y="4144"/>
                    <a:pt x="1214" y="4144"/>
                  </a:cubicBezTo>
                  <a:cubicBezTo>
                    <a:pt x="1131" y="4144"/>
                    <a:pt x="1060" y="4215"/>
                    <a:pt x="1060" y="4310"/>
                  </a:cubicBezTo>
                  <a:lnTo>
                    <a:pt x="1060" y="5287"/>
                  </a:lnTo>
                  <a:cubicBezTo>
                    <a:pt x="941" y="5227"/>
                    <a:pt x="798" y="5168"/>
                    <a:pt x="679" y="5108"/>
                  </a:cubicBezTo>
                  <a:lnTo>
                    <a:pt x="679" y="4013"/>
                  </a:lnTo>
                  <a:cubicBezTo>
                    <a:pt x="679" y="3846"/>
                    <a:pt x="786" y="3715"/>
                    <a:pt x="941" y="3667"/>
                  </a:cubicBezTo>
                  <a:lnTo>
                    <a:pt x="1512" y="3501"/>
                  </a:lnTo>
                  <a:cubicBezTo>
                    <a:pt x="1560" y="3489"/>
                    <a:pt x="1619" y="3477"/>
                    <a:pt x="1655" y="3441"/>
                  </a:cubicBezTo>
                  <a:lnTo>
                    <a:pt x="1750" y="3548"/>
                  </a:lnTo>
                  <a:cubicBezTo>
                    <a:pt x="1893" y="3679"/>
                    <a:pt x="2072" y="3739"/>
                    <a:pt x="2227" y="3739"/>
                  </a:cubicBezTo>
                  <a:cubicBezTo>
                    <a:pt x="2393" y="3739"/>
                    <a:pt x="2572" y="3679"/>
                    <a:pt x="2703" y="3548"/>
                  </a:cubicBezTo>
                  <a:lnTo>
                    <a:pt x="2810" y="3441"/>
                  </a:lnTo>
                  <a:close/>
                  <a:moveTo>
                    <a:pt x="1893" y="0"/>
                  </a:moveTo>
                  <a:cubicBezTo>
                    <a:pt x="1322" y="0"/>
                    <a:pt x="869" y="465"/>
                    <a:pt x="869" y="1024"/>
                  </a:cubicBezTo>
                  <a:lnTo>
                    <a:pt x="869" y="1048"/>
                  </a:lnTo>
                  <a:cubicBezTo>
                    <a:pt x="869" y="1179"/>
                    <a:pt x="893" y="1310"/>
                    <a:pt x="953" y="1429"/>
                  </a:cubicBezTo>
                  <a:lnTo>
                    <a:pt x="1048" y="1596"/>
                  </a:lnTo>
                  <a:lnTo>
                    <a:pt x="1048" y="1870"/>
                  </a:lnTo>
                  <a:cubicBezTo>
                    <a:pt x="1048" y="2286"/>
                    <a:pt x="1250" y="2655"/>
                    <a:pt x="1560" y="2882"/>
                  </a:cubicBezTo>
                  <a:lnTo>
                    <a:pt x="1560" y="3025"/>
                  </a:lnTo>
                  <a:cubicBezTo>
                    <a:pt x="1560" y="3096"/>
                    <a:pt x="1500" y="3179"/>
                    <a:pt x="1429" y="3203"/>
                  </a:cubicBezTo>
                  <a:lnTo>
                    <a:pt x="845" y="3370"/>
                  </a:lnTo>
                  <a:cubicBezTo>
                    <a:pt x="572" y="3453"/>
                    <a:pt x="357" y="3727"/>
                    <a:pt x="357" y="4025"/>
                  </a:cubicBezTo>
                  <a:lnTo>
                    <a:pt x="357" y="4906"/>
                  </a:lnTo>
                  <a:cubicBezTo>
                    <a:pt x="333" y="4882"/>
                    <a:pt x="310" y="4858"/>
                    <a:pt x="286" y="4846"/>
                  </a:cubicBezTo>
                  <a:cubicBezTo>
                    <a:pt x="255" y="4820"/>
                    <a:pt x="220" y="4808"/>
                    <a:pt x="185" y="4808"/>
                  </a:cubicBezTo>
                  <a:cubicBezTo>
                    <a:pt x="139" y="4808"/>
                    <a:pt x="93" y="4829"/>
                    <a:pt x="60" y="4870"/>
                  </a:cubicBezTo>
                  <a:cubicBezTo>
                    <a:pt x="0" y="4941"/>
                    <a:pt x="12" y="5037"/>
                    <a:pt x="95" y="5096"/>
                  </a:cubicBezTo>
                  <a:cubicBezTo>
                    <a:pt x="703" y="5584"/>
                    <a:pt x="1465" y="5858"/>
                    <a:pt x="2250" y="5858"/>
                  </a:cubicBezTo>
                  <a:lnTo>
                    <a:pt x="2417" y="5858"/>
                  </a:lnTo>
                  <a:cubicBezTo>
                    <a:pt x="3262" y="5811"/>
                    <a:pt x="4060" y="5453"/>
                    <a:pt x="4679" y="4858"/>
                  </a:cubicBezTo>
                  <a:cubicBezTo>
                    <a:pt x="5286" y="4251"/>
                    <a:pt x="5632" y="3453"/>
                    <a:pt x="5667" y="2596"/>
                  </a:cubicBezTo>
                  <a:cubicBezTo>
                    <a:pt x="5727" y="1727"/>
                    <a:pt x="5465" y="905"/>
                    <a:pt x="4929" y="262"/>
                  </a:cubicBezTo>
                  <a:cubicBezTo>
                    <a:pt x="4895" y="215"/>
                    <a:pt x="4846" y="194"/>
                    <a:pt x="4799" y="194"/>
                  </a:cubicBezTo>
                  <a:cubicBezTo>
                    <a:pt x="4763" y="194"/>
                    <a:pt x="4729" y="206"/>
                    <a:pt x="4703" y="227"/>
                  </a:cubicBezTo>
                  <a:cubicBezTo>
                    <a:pt x="4632" y="286"/>
                    <a:pt x="4632" y="393"/>
                    <a:pt x="4679" y="453"/>
                  </a:cubicBezTo>
                  <a:cubicBezTo>
                    <a:pt x="5155" y="1048"/>
                    <a:pt x="5405" y="1786"/>
                    <a:pt x="5358" y="2560"/>
                  </a:cubicBezTo>
                  <a:cubicBezTo>
                    <a:pt x="5310" y="3334"/>
                    <a:pt x="5001" y="4072"/>
                    <a:pt x="4453" y="4608"/>
                  </a:cubicBezTo>
                  <a:cubicBezTo>
                    <a:pt x="4346" y="4703"/>
                    <a:pt x="4239" y="4799"/>
                    <a:pt x="4143" y="4882"/>
                  </a:cubicBezTo>
                  <a:lnTo>
                    <a:pt x="4143" y="4013"/>
                  </a:lnTo>
                  <a:cubicBezTo>
                    <a:pt x="4143" y="3715"/>
                    <a:pt x="3929" y="3441"/>
                    <a:pt x="3643" y="3358"/>
                  </a:cubicBezTo>
                  <a:lnTo>
                    <a:pt x="3072" y="3191"/>
                  </a:lnTo>
                  <a:cubicBezTo>
                    <a:pt x="2989" y="3156"/>
                    <a:pt x="2929" y="3096"/>
                    <a:pt x="2929" y="3013"/>
                  </a:cubicBezTo>
                  <a:lnTo>
                    <a:pt x="2929" y="2882"/>
                  </a:lnTo>
                  <a:cubicBezTo>
                    <a:pt x="2989" y="2834"/>
                    <a:pt x="3036" y="2798"/>
                    <a:pt x="3084" y="2763"/>
                  </a:cubicBezTo>
                  <a:cubicBezTo>
                    <a:pt x="3322" y="2536"/>
                    <a:pt x="3441" y="2227"/>
                    <a:pt x="3441" y="1893"/>
                  </a:cubicBezTo>
                  <a:lnTo>
                    <a:pt x="3441" y="1596"/>
                  </a:lnTo>
                  <a:lnTo>
                    <a:pt x="3500" y="1465"/>
                  </a:lnTo>
                  <a:cubicBezTo>
                    <a:pt x="3572" y="1334"/>
                    <a:pt x="3596" y="1167"/>
                    <a:pt x="3596" y="1000"/>
                  </a:cubicBezTo>
                  <a:lnTo>
                    <a:pt x="3596" y="167"/>
                  </a:lnTo>
                  <a:cubicBezTo>
                    <a:pt x="3596" y="72"/>
                    <a:pt x="3524" y="0"/>
                    <a:pt x="3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8" name="Google Shape;10668;p60"/>
            <p:cNvSpPr/>
            <p:nvPr/>
          </p:nvSpPr>
          <p:spPr>
            <a:xfrm>
              <a:off x="1461721" y="1634026"/>
              <a:ext cx="43986" cy="15564"/>
            </a:xfrm>
            <a:custGeom>
              <a:avLst/>
              <a:gdLst/>
              <a:ahLst/>
              <a:cxnLst/>
              <a:rect l="l" t="t" r="r" b="b"/>
              <a:pathLst>
                <a:path w="1382" h="489" extrusionOk="0">
                  <a:moveTo>
                    <a:pt x="155" y="1"/>
                  </a:moveTo>
                  <a:cubicBezTo>
                    <a:pt x="72" y="1"/>
                    <a:pt x="1" y="72"/>
                    <a:pt x="1" y="167"/>
                  </a:cubicBezTo>
                  <a:cubicBezTo>
                    <a:pt x="1" y="251"/>
                    <a:pt x="72" y="322"/>
                    <a:pt x="155" y="322"/>
                  </a:cubicBezTo>
                  <a:cubicBezTo>
                    <a:pt x="334" y="322"/>
                    <a:pt x="858" y="358"/>
                    <a:pt x="1132" y="477"/>
                  </a:cubicBezTo>
                  <a:cubicBezTo>
                    <a:pt x="1155" y="489"/>
                    <a:pt x="1167" y="489"/>
                    <a:pt x="1203" y="489"/>
                  </a:cubicBezTo>
                  <a:cubicBezTo>
                    <a:pt x="1263" y="489"/>
                    <a:pt x="1322" y="465"/>
                    <a:pt x="1346" y="405"/>
                  </a:cubicBezTo>
                  <a:cubicBezTo>
                    <a:pt x="1382" y="322"/>
                    <a:pt x="1346" y="239"/>
                    <a:pt x="1263" y="191"/>
                  </a:cubicBezTo>
                  <a:cubicBezTo>
                    <a:pt x="894"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69" name="Google Shape;10669;p60"/>
          <p:cNvGrpSpPr/>
          <p:nvPr/>
        </p:nvGrpSpPr>
        <p:grpSpPr>
          <a:xfrm>
            <a:off x="1756921" y="1509739"/>
            <a:ext cx="345997" cy="345997"/>
            <a:chOff x="1756921" y="1509739"/>
            <a:chExt cx="345997" cy="345997"/>
          </a:xfrm>
        </p:grpSpPr>
        <p:sp>
          <p:nvSpPr>
            <p:cNvPr id="10670" name="Google Shape;10670;p60"/>
            <p:cNvSpPr/>
            <p:nvPr/>
          </p:nvSpPr>
          <p:spPr>
            <a:xfrm>
              <a:off x="1756921" y="1509739"/>
              <a:ext cx="345997" cy="345997"/>
            </a:xfrm>
            <a:custGeom>
              <a:avLst/>
              <a:gdLst/>
              <a:ahLst/>
              <a:cxnLst/>
              <a:rect l="l" t="t" r="r" b="b"/>
              <a:pathLst>
                <a:path w="10871" h="10871" extrusionOk="0">
                  <a:moveTo>
                    <a:pt x="5442" y="0"/>
                  </a:moveTo>
                  <a:cubicBezTo>
                    <a:pt x="3977" y="0"/>
                    <a:pt x="2620" y="572"/>
                    <a:pt x="1596" y="1596"/>
                  </a:cubicBezTo>
                  <a:cubicBezTo>
                    <a:pt x="572" y="2620"/>
                    <a:pt x="1" y="3989"/>
                    <a:pt x="1" y="5441"/>
                  </a:cubicBezTo>
                  <a:cubicBezTo>
                    <a:pt x="1" y="6882"/>
                    <a:pt x="572" y="8251"/>
                    <a:pt x="1596" y="9275"/>
                  </a:cubicBezTo>
                  <a:cubicBezTo>
                    <a:pt x="2620" y="10299"/>
                    <a:pt x="3989" y="10871"/>
                    <a:pt x="5442" y="10871"/>
                  </a:cubicBezTo>
                  <a:cubicBezTo>
                    <a:pt x="6882" y="10871"/>
                    <a:pt x="8252" y="10299"/>
                    <a:pt x="9276" y="9275"/>
                  </a:cubicBezTo>
                  <a:cubicBezTo>
                    <a:pt x="10299" y="8251"/>
                    <a:pt x="10871" y="6882"/>
                    <a:pt x="10871" y="5441"/>
                  </a:cubicBezTo>
                  <a:cubicBezTo>
                    <a:pt x="10871" y="5346"/>
                    <a:pt x="10871" y="5263"/>
                    <a:pt x="10859" y="5156"/>
                  </a:cubicBezTo>
                  <a:cubicBezTo>
                    <a:pt x="10859" y="5060"/>
                    <a:pt x="10788" y="5001"/>
                    <a:pt x="10692" y="5001"/>
                  </a:cubicBezTo>
                  <a:cubicBezTo>
                    <a:pt x="10609" y="5001"/>
                    <a:pt x="10549" y="5084"/>
                    <a:pt x="10549" y="5168"/>
                  </a:cubicBezTo>
                  <a:lnTo>
                    <a:pt x="10549" y="5441"/>
                  </a:lnTo>
                  <a:cubicBezTo>
                    <a:pt x="10549" y="6811"/>
                    <a:pt x="10014" y="8085"/>
                    <a:pt x="9037" y="9049"/>
                  </a:cubicBezTo>
                  <a:cubicBezTo>
                    <a:pt x="8073" y="10025"/>
                    <a:pt x="6787" y="10561"/>
                    <a:pt x="5418" y="10561"/>
                  </a:cubicBezTo>
                  <a:cubicBezTo>
                    <a:pt x="4061" y="10561"/>
                    <a:pt x="2775" y="10025"/>
                    <a:pt x="1810" y="9049"/>
                  </a:cubicBezTo>
                  <a:cubicBezTo>
                    <a:pt x="834" y="8085"/>
                    <a:pt x="298" y="6811"/>
                    <a:pt x="298" y="5441"/>
                  </a:cubicBezTo>
                  <a:cubicBezTo>
                    <a:pt x="298" y="4072"/>
                    <a:pt x="834" y="2786"/>
                    <a:pt x="1810" y="1822"/>
                  </a:cubicBezTo>
                  <a:cubicBezTo>
                    <a:pt x="2775" y="858"/>
                    <a:pt x="4061" y="322"/>
                    <a:pt x="5418" y="322"/>
                  </a:cubicBezTo>
                  <a:cubicBezTo>
                    <a:pt x="6632" y="322"/>
                    <a:pt x="7799" y="750"/>
                    <a:pt x="8728" y="1524"/>
                  </a:cubicBezTo>
                  <a:cubicBezTo>
                    <a:pt x="9633" y="2298"/>
                    <a:pt x="10264" y="3358"/>
                    <a:pt x="10466" y="4513"/>
                  </a:cubicBezTo>
                  <a:cubicBezTo>
                    <a:pt x="10476" y="4594"/>
                    <a:pt x="10547" y="4649"/>
                    <a:pt x="10612" y="4649"/>
                  </a:cubicBezTo>
                  <a:cubicBezTo>
                    <a:pt x="10623" y="4649"/>
                    <a:pt x="10634" y="4647"/>
                    <a:pt x="10645" y="4644"/>
                  </a:cubicBezTo>
                  <a:cubicBezTo>
                    <a:pt x="10740" y="4632"/>
                    <a:pt x="10800" y="4548"/>
                    <a:pt x="10776" y="4465"/>
                  </a:cubicBezTo>
                  <a:cubicBezTo>
                    <a:pt x="10561" y="3239"/>
                    <a:pt x="9907" y="2108"/>
                    <a:pt x="8930" y="1286"/>
                  </a:cubicBezTo>
                  <a:cubicBezTo>
                    <a:pt x="7954" y="465"/>
                    <a:pt x="6716" y="0"/>
                    <a:pt x="5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1" name="Google Shape;10671;p60"/>
            <p:cNvSpPr/>
            <p:nvPr/>
          </p:nvSpPr>
          <p:spPr>
            <a:xfrm>
              <a:off x="1781937" y="1535488"/>
              <a:ext cx="295614" cy="295614"/>
            </a:xfrm>
            <a:custGeom>
              <a:avLst/>
              <a:gdLst/>
              <a:ahLst/>
              <a:cxnLst/>
              <a:rect l="l" t="t" r="r" b="b"/>
              <a:pathLst>
                <a:path w="9288" h="9288" extrusionOk="0">
                  <a:moveTo>
                    <a:pt x="4644" y="1"/>
                  </a:moveTo>
                  <a:cubicBezTo>
                    <a:pt x="3989" y="1"/>
                    <a:pt x="3346" y="132"/>
                    <a:pt x="2751" y="406"/>
                  </a:cubicBezTo>
                  <a:cubicBezTo>
                    <a:pt x="2167" y="656"/>
                    <a:pt x="1667" y="1025"/>
                    <a:pt x="1227" y="1489"/>
                  </a:cubicBezTo>
                  <a:cubicBezTo>
                    <a:pt x="1167" y="1549"/>
                    <a:pt x="1167" y="1656"/>
                    <a:pt x="1251" y="1715"/>
                  </a:cubicBezTo>
                  <a:cubicBezTo>
                    <a:pt x="1278" y="1743"/>
                    <a:pt x="1313" y="1757"/>
                    <a:pt x="1348" y="1757"/>
                  </a:cubicBezTo>
                  <a:cubicBezTo>
                    <a:pt x="1390" y="1757"/>
                    <a:pt x="1433" y="1737"/>
                    <a:pt x="1465" y="1692"/>
                  </a:cubicBezTo>
                  <a:cubicBezTo>
                    <a:pt x="1870" y="1263"/>
                    <a:pt x="2346" y="918"/>
                    <a:pt x="2882" y="680"/>
                  </a:cubicBezTo>
                  <a:cubicBezTo>
                    <a:pt x="3429" y="430"/>
                    <a:pt x="4025" y="310"/>
                    <a:pt x="4644" y="310"/>
                  </a:cubicBezTo>
                  <a:cubicBezTo>
                    <a:pt x="7025" y="310"/>
                    <a:pt x="8966" y="2239"/>
                    <a:pt x="8966" y="4644"/>
                  </a:cubicBezTo>
                  <a:cubicBezTo>
                    <a:pt x="8966" y="7037"/>
                    <a:pt x="7037" y="8978"/>
                    <a:pt x="4644" y="8978"/>
                  </a:cubicBezTo>
                  <a:cubicBezTo>
                    <a:pt x="2263" y="8978"/>
                    <a:pt x="310" y="7037"/>
                    <a:pt x="310" y="4644"/>
                  </a:cubicBezTo>
                  <a:cubicBezTo>
                    <a:pt x="310" y="3799"/>
                    <a:pt x="560" y="2966"/>
                    <a:pt x="1024" y="2263"/>
                  </a:cubicBezTo>
                  <a:cubicBezTo>
                    <a:pt x="1084" y="2192"/>
                    <a:pt x="1072" y="2084"/>
                    <a:pt x="989" y="2037"/>
                  </a:cubicBezTo>
                  <a:cubicBezTo>
                    <a:pt x="963" y="2020"/>
                    <a:pt x="933" y="2012"/>
                    <a:pt x="904" y="2012"/>
                  </a:cubicBezTo>
                  <a:cubicBezTo>
                    <a:pt x="850" y="2012"/>
                    <a:pt x="797" y="2038"/>
                    <a:pt x="774" y="2084"/>
                  </a:cubicBezTo>
                  <a:cubicBezTo>
                    <a:pt x="262" y="2846"/>
                    <a:pt x="0" y="3716"/>
                    <a:pt x="0" y="4644"/>
                  </a:cubicBezTo>
                  <a:cubicBezTo>
                    <a:pt x="0" y="5883"/>
                    <a:pt x="477" y="7049"/>
                    <a:pt x="1346" y="7930"/>
                  </a:cubicBezTo>
                  <a:cubicBezTo>
                    <a:pt x="2227" y="8811"/>
                    <a:pt x="3394" y="9288"/>
                    <a:pt x="4644" y="9288"/>
                  </a:cubicBezTo>
                  <a:cubicBezTo>
                    <a:pt x="5894" y="9288"/>
                    <a:pt x="7049" y="8811"/>
                    <a:pt x="7930" y="7930"/>
                  </a:cubicBezTo>
                  <a:cubicBezTo>
                    <a:pt x="8811" y="7049"/>
                    <a:pt x="9287" y="5894"/>
                    <a:pt x="9287" y="4644"/>
                  </a:cubicBezTo>
                  <a:cubicBezTo>
                    <a:pt x="9287" y="3394"/>
                    <a:pt x="8811" y="2227"/>
                    <a:pt x="7930" y="1346"/>
                  </a:cubicBezTo>
                  <a:cubicBezTo>
                    <a:pt x="7049" y="477"/>
                    <a:pt x="5894"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2" name="Google Shape;10672;p60"/>
            <p:cNvSpPr/>
            <p:nvPr/>
          </p:nvSpPr>
          <p:spPr>
            <a:xfrm>
              <a:off x="1806954" y="1677980"/>
              <a:ext cx="17441" cy="10630"/>
            </a:xfrm>
            <a:custGeom>
              <a:avLst/>
              <a:gdLst/>
              <a:ahLst/>
              <a:cxnLst/>
              <a:rect l="l" t="t" r="r" b="b"/>
              <a:pathLst>
                <a:path w="548" h="334" extrusionOk="0">
                  <a:moveTo>
                    <a:pt x="167" y="1"/>
                  </a:moveTo>
                  <a:cubicBezTo>
                    <a:pt x="72" y="1"/>
                    <a:pt x="0" y="72"/>
                    <a:pt x="0" y="167"/>
                  </a:cubicBezTo>
                  <a:cubicBezTo>
                    <a:pt x="0" y="251"/>
                    <a:pt x="72" y="334"/>
                    <a:pt x="167" y="334"/>
                  </a:cubicBezTo>
                  <a:lnTo>
                    <a:pt x="381" y="334"/>
                  </a:lnTo>
                  <a:cubicBezTo>
                    <a:pt x="476" y="334"/>
                    <a:pt x="548" y="251"/>
                    <a:pt x="548" y="167"/>
                  </a:cubicBezTo>
                  <a:cubicBezTo>
                    <a:pt x="548" y="72"/>
                    <a:pt x="476" y="1"/>
                    <a:pt x="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3" name="Google Shape;10673;p60"/>
            <p:cNvSpPr/>
            <p:nvPr/>
          </p:nvSpPr>
          <p:spPr>
            <a:xfrm>
              <a:off x="1924429" y="1560122"/>
              <a:ext cx="128106" cy="128488"/>
            </a:xfrm>
            <a:custGeom>
              <a:avLst/>
              <a:gdLst/>
              <a:ahLst/>
              <a:cxnLst/>
              <a:rect l="l" t="t" r="r" b="b"/>
              <a:pathLst>
                <a:path w="4025" h="4037" extrusionOk="0">
                  <a:moveTo>
                    <a:pt x="155" y="1"/>
                  </a:moveTo>
                  <a:cubicBezTo>
                    <a:pt x="72" y="1"/>
                    <a:pt x="0" y="72"/>
                    <a:pt x="0" y="167"/>
                  </a:cubicBezTo>
                  <a:lnTo>
                    <a:pt x="0" y="3870"/>
                  </a:lnTo>
                  <a:cubicBezTo>
                    <a:pt x="0" y="3954"/>
                    <a:pt x="72" y="4037"/>
                    <a:pt x="155" y="4037"/>
                  </a:cubicBezTo>
                  <a:lnTo>
                    <a:pt x="3870" y="4037"/>
                  </a:lnTo>
                  <a:cubicBezTo>
                    <a:pt x="3953" y="4037"/>
                    <a:pt x="4024" y="3954"/>
                    <a:pt x="4024" y="3870"/>
                  </a:cubicBezTo>
                  <a:cubicBezTo>
                    <a:pt x="4024" y="3775"/>
                    <a:pt x="3953" y="3704"/>
                    <a:pt x="3870" y="3704"/>
                  </a:cubicBezTo>
                  <a:lnTo>
                    <a:pt x="322" y="3704"/>
                  </a:ln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4" name="Google Shape;10674;p60"/>
            <p:cNvSpPr/>
            <p:nvPr/>
          </p:nvSpPr>
          <p:spPr>
            <a:xfrm>
              <a:off x="1924811" y="1788644"/>
              <a:ext cx="10630" cy="17823"/>
            </a:xfrm>
            <a:custGeom>
              <a:avLst/>
              <a:gdLst/>
              <a:ahLst/>
              <a:cxnLst/>
              <a:rect l="l" t="t" r="r" b="b"/>
              <a:pathLst>
                <a:path w="334" h="560" extrusionOk="0">
                  <a:moveTo>
                    <a:pt x="167" y="0"/>
                  </a:moveTo>
                  <a:cubicBezTo>
                    <a:pt x="71" y="0"/>
                    <a:pt x="0" y="84"/>
                    <a:pt x="0" y="167"/>
                  </a:cubicBezTo>
                  <a:lnTo>
                    <a:pt x="0" y="393"/>
                  </a:lnTo>
                  <a:cubicBezTo>
                    <a:pt x="0" y="488"/>
                    <a:pt x="71" y="560"/>
                    <a:pt x="167" y="560"/>
                  </a:cubicBezTo>
                  <a:cubicBezTo>
                    <a:pt x="250" y="560"/>
                    <a:pt x="333" y="488"/>
                    <a:pt x="333" y="393"/>
                  </a:cubicBezTo>
                  <a:lnTo>
                    <a:pt x="333" y="167"/>
                  </a:lnTo>
                  <a:cubicBezTo>
                    <a:pt x="333"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5" name="Google Shape;10675;p60"/>
            <p:cNvSpPr/>
            <p:nvPr/>
          </p:nvSpPr>
          <p:spPr>
            <a:xfrm>
              <a:off x="1841423" y="1594719"/>
              <a:ext cx="16328" cy="15086"/>
            </a:xfrm>
            <a:custGeom>
              <a:avLst/>
              <a:gdLst/>
              <a:ahLst/>
              <a:cxnLst/>
              <a:rect l="l" t="t" r="r" b="b"/>
              <a:pathLst>
                <a:path w="513" h="474" extrusionOk="0">
                  <a:moveTo>
                    <a:pt x="173" y="0"/>
                  </a:moveTo>
                  <a:cubicBezTo>
                    <a:pt x="132" y="0"/>
                    <a:pt x="90" y="15"/>
                    <a:pt x="60" y="45"/>
                  </a:cubicBezTo>
                  <a:cubicBezTo>
                    <a:pt x="1" y="104"/>
                    <a:pt x="1" y="212"/>
                    <a:pt x="60" y="259"/>
                  </a:cubicBezTo>
                  <a:lnTo>
                    <a:pt x="215" y="426"/>
                  </a:lnTo>
                  <a:cubicBezTo>
                    <a:pt x="239" y="462"/>
                    <a:pt x="286" y="474"/>
                    <a:pt x="334" y="474"/>
                  </a:cubicBezTo>
                  <a:cubicBezTo>
                    <a:pt x="370" y="474"/>
                    <a:pt x="405" y="462"/>
                    <a:pt x="453" y="426"/>
                  </a:cubicBezTo>
                  <a:cubicBezTo>
                    <a:pt x="513" y="366"/>
                    <a:pt x="513" y="259"/>
                    <a:pt x="453" y="212"/>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6" name="Google Shape;10676;p60"/>
            <p:cNvSpPr/>
            <p:nvPr/>
          </p:nvSpPr>
          <p:spPr>
            <a:xfrm>
              <a:off x="2002470" y="1756243"/>
              <a:ext cx="16709" cy="15755"/>
            </a:xfrm>
            <a:custGeom>
              <a:avLst/>
              <a:gdLst/>
              <a:ahLst/>
              <a:cxnLst/>
              <a:rect l="l" t="t" r="r" b="b"/>
              <a:pathLst>
                <a:path w="525" h="495" extrusionOk="0">
                  <a:moveTo>
                    <a:pt x="175" y="0"/>
                  </a:moveTo>
                  <a:cubicBezTo>
                    <a:pt x="132" y="0"/>
                    <a:pt x="90" y="18"/>
                    <a:pt x="60" y="54"/>
                  </a:cubicBezTo>
                  <a:cubicBezTo>
                    <a:pt x="1" y="113"/>
                    <a:pt x="1" y="221"/>
                    <a:pt x="60" y="280"/>
                  </a:cubicBezTo>
                  <a:lnTo>
                    <a:pt x="227" y="447"/>
                  </a:lnTo>
                  <a:cubicBezTo>
                    <a:pt x="251" y="471"/>
                    <a:pt x="298" y="494"/>
                    <a:pt x="346" y="494"/>
                  </a:cubicBezTo>
                  <a:cubicBezTo>
                    <a:pt x="394" y="494"/>
                    <a:pt x="418" y="471"/>
                    <a:pt x="465" y="447"/>
                  </a:cubicBezTo>
                  <a:cubicBezTo>
                    <a:pt x="525" y="387"/>
                    <a:pt x="525" y="280"/>
                    <a:pt x="465" y="221"/>
                  </a:cubicBezTo>
                  <a:lnTo>
                    <a:pt x="298" y="54"/>
                  </a:lnTo>
                  <a:cubicBezTo>
                    <a:pt x="263" y="18"/>
                    <a:pt x="218"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7" name="Google Shape;10677;p60"/>
            <p:cNvSpPr/>
            <p:nvPr/>
          </p:nvSpPr>
          <p:spPr>
            <a:xfrm>
              <a:off x="2002470" y="1594719"/>
              <a:ext cx="16328" cy="15086"/>
            </a:xfrm>
            <a:custGeom>
              <a:avLst/>
              <a:gdLst/>
              <a:ahLst/>
              <a:cxnLst/>
              <a:rect l="l" t="t" r="r" b="b"/>
              <a:pathLst>
                <a:path w="513" h="474" extrusionOk="0">
                  <a:moveTo>
                    <a:pt x="340" y="0"/>
                  </a:moveTo>
                  <a:cubicBezTo>
                    <a:pt x="298" y="0"/>
                    <a:pt x="257" y="15"/>
                    <a:pt x="227" y="45"/>
                  </a:cubicBezTo>
                  <a:lnTo>
                    <a:pt x="60" y="212"/>
                  </a:lnTo>
                  <a:cubicBezTo>
                    <a:pt x="1" y="259"/>
                    <a:pt x="1" y="366"/>
                    <a:pt x="60" y="426"/>
                  </a:cubicBezTo>
                  <a:cubicBezTo>
                    <a:pt x="96" y="462"/>
                    <a:pt x="132" y="474"/>
                    <a:pt x="179" y="474"/>
                  </a:cubicBezTo>
                  <a:cubicBezTo>
                    <a:pt x="227" y="474"/>
                    <a:pt x="251" y="462"/>
                    <a:pt x="287" y="426"/>
                  </a:cubicBezTo>
                  <a:lnTo>
                    <a:pt x="453" y="259"/>
                  </a:lnTo>
                  <a:cubicBezTo>
                    <a:pt x="513" y="212"/>
                    <a:pt x="513" y="104"/>
                    <a:pt x="453" y="45"/>
                  </a:cubicBezTo>
                  <a:cubicBezTo>
                    <a:pt x="423" y="15"/>
                    <a:pt x="382"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8" name="Google Shape;10678;p60"/>
            <p:cNvSpPr/>
            <p:nvPr/>
          </p:nvSpPr>
          <p:spPr>
            <a:xfrm>
              <a:off x="1841041" y="1756530"/>
              <a:ext cx="16709" cy="15468"/>
            </a:xfrm>
            <a:custGeom>
              <a:avLst/>
              <a:gdLst/>
              <a:ahLst/>
              <a:cxnLst/>
              <a:rect l="l" t="t" r="r" b="b"/>
              <a:pathLst>
                <a:path w="525" h="486" extrusionOk="0">
                  <a:moveTo>
                    <a:pt x="352" y="0"/>
                  </a:moveTo>
                  <a:cubicBezTo>
                    <a:pt x="310" y="0"/>
                    <a:pt x="269" y="15"/>
                    <a:pt x="239" y="45"/>
                  </a:cubicBezTo>
                  <a:lnTo>
                    <a:pt x="72" y="212"/>
                  </a:lnTo>
                  <a:cubicBezTo>
                    <a:pt x="1" y="271"/>
                    <a:pt x="1" y="354"/>
                    <a:pt x="60" y="438"/>
                  </a:cubicBezTo>
                  <a:cubicBezTo>
                    <a:pt x="84" y="462"/>
                    <a:pt x="132" y="485"/>
                    <a:pt x="179" y="485"/>
                  </a:cubicBezTo>
                  <a:cubicBezTo>
                    <a:pt x="227" y="485"/>
                    <a:pt x="251" y="462"/>
                    <a:pt x="298" y="438"/>
                  </a:cubicBezTo>
                  <a:lnTo>
                    <a:pt x="465" y="271"/>
                  </a:lnTo>
                  <a:cubicBezTo>
                    <a:pt x="525" y="212"/>
                    <a:pt x="525" y="104"/>
                    <a:pt x="465" y="45"/>
                  </a:cubicBezTo>
                  <a:cubicBezTo>
                    <a:pt x="435" y="15"/>
                    <a:pt x="394"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9" name="Google Shape;10679;p60"/>
            <p:cNvSpPr/>
            <p:nvPr/>
          </p:nvSpPr>
          <p:spPr>
            <a:xfrm>
              <a:off x="1816025" y="1632084"/>
              <a:ext cx="17855" cy="13336"/>
            </a:xfrm>
            <a:custGeom>
              <a:avLst/>
              <a:gdLst/>
              <a:ahLst/>
              <a:cxnLst/>
              <a:rect l="l" t="t" r="r" b="b"/>
              <a:pathLst>
                <a:path w="561" h="419" extrusionOk="0">
                  <a:moveTo>
                    <a:pt x="173" y="0"/>
                  </a:moveTo>
                  <a:cubicBezTo>
                    <a:pt x="110" y="0"/>
                    <a:pt x="51" y="36"/>
                    <a:pt x="25" y="97"/>
                  </a:cubicBezTo>
                  <a:cubicBezTo>
                    <a:pt x="1" y="181"/>
                    <a:pt x="25" y="276"/>
                    <a:pt x="120" y="312"/>
                  </a:cubicBezTo>
                  <a:lnTo>
                    <a:pt x="322" y="395"/>
                  </a:lnTo>
                  <a:cubicBezTo>
                    <a:pt x="334" y="419"/>
                    <a:pt x="370" y="419"/>
                    <a:pt x="382" y="419"/>
                  </a:cubicBezTo>
                  <a:cubicBezTo>
                    <a:pt x="441" y="419"/>
                    <a:pt x="501" y="383"/>
                    <a:pt x="537" y="312"/>
                  </a:cubicBezTo>
                  <a:cubicBezTo>
                    <a:pt x="561" y="228"/>
                    <a:pt x="513" y="133"/>
                    <a:pt x="441" y="97"/>
                  </a:cubicBezTo>
                  <a:lnTo>
                    <a:pt x="239" y="14"/>
                  </a:lnTo>
                  <a:cubicBezTo>
                    <a:pt x="217" y="5"/>
                    <a:pt x="19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0" name="Google Shape;10680;p60"/>
            <p:cNvSpPr/>
            <p:nvPr/>
          </p:nvSpPr>
          <p:spPr>
            <a:xfrm>
              <a:off x="2026341" y="1721297"/>
              <a:ext cx="17855" cy="13177"/>
            </a:xfrm>
            <a:custGeom>
              <a:avLst/>
              <a:gdLst/>
              <a:ahLst/>
              <a:cxnLst/>
              <a:rect l="l" t="t" r="r" b="b"/>
              <a:pathLst>
                <a:path w="561" h="414" extrusionOk="0">
                  <a:moveTo>
                    <a:pt x="179" y="0"/>
                  </a:moveTo>
                  <a:cubicBezTo>
                    <a:pt x="114" y="0"/>
                    <a:pt x="52" y="31"/>
                    <a:pt x="25" y="104"/>
                  </a:cubicBezTo>
                  <a:cubicBezTo>
                    <a:pt x="1" y="176"/>
                    <a:pt x="25" y="283"/>
                    <a:pt x="120" y="307"/>
                  </a:cubicBezTo>
                  <a:lnTo>
                    <a:pt x="322" y="402"/>
                  </a:lnTo>
                  <a:cubicBezTo>
                    <a:pt x="334" y="414"/>
                    <a:pt x="370" y="414"/>
                    <a:pt x="382" y="414"/>
                  </a:cubicBezTo>
                  <a:cubicBezTo>
                    <a:pt x="441" y="414"/>
                    <a:pt x="501" y="378"/>
                    <a:pt x="537" y="307"/>
                  </a:cubicBezTo>
                  <a:cubicBezTo>
                    <a:pt x="560" y="235"/>
                    <a:pt x="537" y="128"/>
                    <a:pt x="441" y="104"/>
                  </a:cubicBezTo>
                  <a:lnTo>
                    <a:pt x="239" y="9"/>
                  </a:lnTo>
                  <a:cubicBezTo>
                    <a:pt x="219" y="3"/>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1" name="Google Shape;10681;p60"/>
            <p:cNvSpPr/>
            <p:nvPr/>
          </p:nvSpPr>
          <p:spPr>
            <a:xfrm>
              <a:off x="1967619" y="1569702"/>
              <a:ext cx="14036" cy="16996"/>
            </a:xfrm>
            <a:custGeom>
              <a:avLst/>
              <a:gdLst/>
              <a:ahLst/>
              <a:cxnLst/>
              <a:rect l="l" t="t" r="r" b="b"/>
              <a:pathLst>
                <a:path w="441" h="534" extrusionOk="0">
                  <a:moveTo>
                    <a:pt x="267" y="1"/>
                  </a:moveTo>
                  <a:cubicBezTo>
                    <a:pt x="204" y="1"/>
                    <a:pt x="138" y="32"/>
                    <a:pt x="119" y="105"/>
                  </a:cubicBezTo>
                  <a:lnTo>
                    <a:pt x="24" y="307"/>
                  </a:lnTo>
                  <a:cubicBezTo>
                    <a:pt x="0" y="378"/>
                    <a:pt x="24" y="486"/>
                    <a:pt x="119" y="521"/>
                  </a:cubicBezTo>
                  <a:cubicBezTo>
                    <a:pt x="131" y="521"/>
                    <a:pt x="155" y="533"/>
                    <a:pt x="179" y="533"/>
                  </a:cubicBezTo>
                  <a:cubicBezTo>
                    <a:pt x="239" y="533"/>
                    <a:pt x="298" y="498"/>
                    <a:pt x="322" y="426"/>
                  </a:cubicBezTo>
                  <a:lnTo>
                    <a:pt x="417" y="224"/>
                  </a:lnTo>
                  <a:cubicBezTo>
                    <a:pt x="441" y="140"/>
                    <a:pt x="417" y="45"/>
                    <a:pt x="322" y="9"/>
                  </a:cubicBezTo>
                  <a:cubicBezTo>
                    <a:pt x="305" y="4"/>
                    <a:pt x="286" y="1"/>
                    <a:pt x="2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2" name="Google Shape;10682;p60"/>
            <p:cNvSpPr/>
            <p:nvPr/>
          </p:nvSpPr>
          <p:spPr>
            <a:xfrm>
              <a:off x="1877802" y="1780019"/>
              <a:ext cx="14450" cy="16996"/>
            </a:xfrm>
            <a:custGeom>
              <a:avLst/>
              <a:gdLst/>
              <a:ahLst/>
              <a:cxnLst/>
              <a:rect l="l" t="t" r="r" b="b"/>
              <a:pathLst>
                <a:path w="454" h="534" extrusionOk="0">
                  <a:moveTo>
                    <a:pt x="279" y="1"/>
                  </a:moveTo>
                  <a:cubicBezTo>
                    <a:pt x="216" y="1"/>
                    <a:pt x="147" y="32"/>
                    <a:pt x="120" y="105"/>
                  </a:cubicBezTo>
                  <a:lnTo>
                    <a:pt x="36" y="307"/>
                  </a:lnTo>
                  <a:cubicBezTo>
                    <a:pt x="1" y="378"/>
                    <a:pt x="48" y="486"/>
                    <a:pt x="120" y="509"/>
                  </a:cubicBezTo>
                  <a:cubicBezTo>
                    <a:pt x="144" y="533"/>
                    <a:pt x="167" y="533"/>
                    <a:pt x="179" y="533"/>
                  </a:cubicBezTo>
                  <a:cubicBezTo>
                    <a:pt x="239" y="533"/>
                    <a:pt x="298" y="497"/>
                    <a:pt x="334" y="426"/>
                  </a:cubicBezTo>
                  <a:lnTo>
                    <a:pt x="417" y="224"/>
                  </a:lnTo>
                  <a:cubicBezTo>
                    <a:pt x="453" y="140"/>
                    <a:pt x="417" y="45"/>
                    <a:pt x="334" y="9"/>
                  </a:cubicBezTo>
                  <a:cubicBezTo>
                    <a:pt x="317" y="4"/>
                    <a:pt x="298" y="1"/>
                    <a:pt x="2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3" name="Google Shape;10683;p60"/>
            <p:cNvSpPr/>
            <p:nvPr/>
          </p:nvSpPr>
          <p:spPr>
            <a:xfrm>
              <a:off x="1879711" y="1568652"/>
              <a:ext cx="14418" cy="16900"/>
            </a:xfrm>
            <a:custGeom>
              <a:avLst/>
              <a:gdLst/>
              <a:ahLst/>
              <a:cxnLst/>
              <a:rect l="l" t="t" r="r" b="b"/>
              <a:pathLst>
                <a:path w="453" h="531" extrusionOk="0">
                  <a:moveTo>
                    <a:pt x="169" y="0"/>
                  </a:moveTo>
                  <a:cubicBezTo>
                    <a:pt x="153" y="0"/>
                    <a:pt x="136" y="2"/>
                    <a:pt x="119" y="7"/>
                  </a:cubicBezTo>
                  <a:cubicBezTo>
                    <a:pt x="48" y="42"/>
                    <a:pt x="0" y="138"/>
                    <a:pt x="36" y="221"/>
                  </a:cubicBezTo>
                  <a:lnTo>
                    <a:pt x="119" y="423"/>
                  </a:lnTo>
                  <a:cubicBezTo>
                    <a:pt x="155" y="495"/>
                    <a:pt x="214" y="531"/>
                    <a:pt x="274" y="531"/>
                  </a:cubicBezTo>
                  <a:cubicBezTo>
                    <a:pt x="286" y="531"/>
                    <a:pt x="322" y="531"/>
                    <a:pt x="334" y="519"/>
                  </a:cubicBezTo>
                  <a:cubicBezTo>
                    <a:pt x="405" y="483"/>
                    <a:pt x="453" y="400"/>
                    <a:pt x="417" y="304"/>
                  </a:cubicBezTo>
                  <a:lnTo>
                    <a:pt x="334" y="102"/>
                  </a:lnTo>
                  <a:cubicBezTo>
                    <a:pt x="304" y="43"/>
                    <a:pt x="243" y="0"/>
                    <a:pt x="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4" name="Google Shape;10684;p60"/>
            <p:cNvSpPr/>
            <p:nvPr/>
          </p:nvSpPr>
          <p:spPr>
            <a:xfrm>
              <a:off x="1965709" y="1780846"/>
              <a:ext cx="14068" cy="16900"/>
            </a:xfrm>
            <a:custGeom>
              <a:avLst/>
              <a:gdLst/>
              <a:ahLst/>
              <a:cxnLst/>
              <a:rect l="l" t="t" r="r" b="b"/>
              <a:pathLst>
                <a:path w="442" h="531" extrusionOk="0">
                  <a:moveTo>
                    <a:pt x="189" y="0"/>
                  </a:moveTo>
                  <a:cubicBezTo>
                    <a:pt x="166" y="0"/>
                    <a:pt x="143" y="6"/>
                    <a:pt x="120" y="19"/>
                  </a:cubicBezTo>
                  <a:cubicBezTo>
                    <a:pt x="37" y="43"/>
                    <a:pt x="1" y="138"/>
                    <a:pt x="25" y="221"/>
                  </a:cubicBezTo>
                  <a:lnTo>
                    <a:pt x="120" y="424"/>
                  </a:lnTo>
                  <a:cubicBezTo>
                    <a:pt x="144" y="483"/>
                    <a:pt x="203" y="531"/>
                    <a:pt x="263" y="531"/>
                  </a:cubicBezTo>
                  <a:cubicBezTo>
                    <a:pt x="275" y="531"/>
                    <a:pt x="310" y="531"/>
                    <a:pt x="322" y="519"/>
                  </a:cubicBezTo>
                  <a:cubicBezTo>
                    <a:pt x="394" y="483"/>
                    <a:pt x="441" y="400"/>
                    <a:pt x="418" y="305"/>
                  </a:cubicBezTo>
                  <a:lnTo>
                    <a:pt x="322" y="102"/>
                  </a:lnTo>
                  <a:cubicBezTo>
                    <a:pt x="305" y="42"/>
                    <a:pt x="250"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5" name="Google Shape;10685;p60"/>
            <p:cNvSpPr/>
            <p:nvPr/>
          </p:nvSpPr>
          <p:spPr>
            <a:xfrm>
              <a:off x="2026723" y="1633644"/>
              <a:ext cx="17855" cy="13304"/>
            </a:xfrm>
            <a:custGeom>
              <a:avLst/>
              <a:gdLst/>
              <a:ahLst/>
              <a:cxnLst/>
              <a:rect l="l" t="t" r="r" b="b"/>
              <a:pathLst>
                <a:path w="561" h="418" extrusionOk="0">
                  <a:moveTo>
                    <a:pt x="387" y="0"/>
                  </a:moveTo>
                  <a:cubicBezTo>
                    <a:pt x="366" y="0"/>
                    <a:pt x="345" y="4"/>
                    <a:pt x="322" y="13"/>
                  </a:cubicBezTo>
                  <a:lnTo>
                    <a:pt x="120" y="96"/>
                  </a:lnTo>
                  <a:cubicBezTo>
                    <a:pt x="48" y="132"/>
                    <a:pt x="1" y="215"/>
                    <a:pt x="25" y="310"/>
                  </a:cubicBezTo>
                  <a:cubicBezTo>
                    <a:pt x="60" y="382"/>
                    <a:pt x="120" y="417"/>
                    <a:pt x="179" y="417"/>
                  </a:cubicBezTo>
                  <a:cubicBezTo>
                    <a:pt x="191" y="417"/>
                    <a:pt x="227" y="417"/>
                    <a:pt x="239" y="394"/>
                  </a:cubicBezTo>
                  <a:lnTo>
                    <a:pt x="441" y="310"/>
                  </a:lnTo>
                  <a:cubicBezTo>
                    <a:pt x="513" y="274"/>
                    <a:pt x="560" y="191"/>
                    <a:pt x="537" y="96"/>
                  </a:cubicBezTo>
                  <a:cubicBezTo>
                    <a:pt x="509" y="41"/>
                    <a:pt x="454" y="0"/>
                    <a:pt x="3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6" name="Google Shape;10686;p60"/>
            <p:cNvSpPr/>
            <p:nvPr/>
          </p:nvSpPr>
          <p:spPr>
            <a:xfrm>
              <a:off x="1814911" y="1719419"/>
              <a:ext cx="18205" cy="13177"/>
            </a:xfrm>
            <a:custGeom>
              <a:avLst/>
              <a:gdLst/>
              <a:ahLst/>
              <a:cxnLst/>
              <a:rect l="l" t="t" r="r" b="b"/>
              <a:pathLst>
                <a:path w="572" h="414" extrusionOk="0">
                  <a:moveTo>
                    <a:pt x="382" y="1"/>
                  </a:moveTo>
                  <a:cubicBezTo>
                    <a:pt x="365" y="1"/>
                    <a:pt x="348" y="3"/>
                    <a:pt x="334" y="8"/>
                  </a:cubicBezTo>
                  <a:lnTo>
                    <a:pt x="119" y="104"/>
                  </a:lnTo>
                  <a:cubicBezTo>
                    <a:pt x="48" y="127"/>
                    <a:pt x="0" y="223"/>
                    <a:pt x="36" y="306"/>
                  </a:cubicBezTo>
                  <a:cubicBezTo>
                    <a:pt x="60" y="366"/>
                    <a:pt x="119" y="413"/>
                    <a:pt x="179" y="413"/>
                  </a:cubicBezTo>
                  <a:cubicBezTo>
                    <a:pt x="191" y="413"/>
                    <a:pt x="226" y="413"/>
                    <a:pt x="238" y="389"/>
                  </a:cubicBezTo>
                  <a:lnTo>
                    <a:pt x="453" y="306"/>
                  </a:lnTo>
                  <a:cubicBezTo>
                    <a:pt x="524" y="270"/>
                    <a:pt x="572" y="187"/>
                    <a:pt x="536" y="92"/>
                  </a:cubicBezTo>
                  <a:cubicBezTo>
                    <a:pt x="517" y="35"/>
                    <a:pt x="446" y="1"/>
                    <a:pt x="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87" name="Google Shape;10687;p60"/>
          <p:cNvGrpSpPr/>
          <p:nvPr/>
        </p:nvGrpSpPr>
        <p:grpSpPr>
          <a:xfrm>
            <a:off x="2216956" y="1510503"/>
            <a:ext cx="318721" cy="345615"/>
            <a:chOff x="2216956" y="1510503"/>
            <a:chExt cx="318721" cy="345615"/>
          </a:xfrm>
        </p:grpSpPr>
        <p:sp>
          <p:nvSpPr>
            <p:cNvPr id="10688" name="Google Shape;10688;p60"/>
            <p:cNvSpPr/>
            <p:nvPr/>
          </p:nvSpPr>
          <p:spPr>
            <a:xfrm>
              <a:off x="2386724" y="1510503"/>
              <a:ext cx="142524" cy="151594"/>
            </a:xfrm>
            <a:custGeom>
              <a:avLst/>
              <a:gdLst/>
              <a:ahLst/>
              <a:cxnLst/>
              <a:rect l="l" t="t" r="r" b="b"/>
              <a:pathLst>
                <a:path w="4478" h="4763" extrusionOk="0">
                  <a:moveTo>
                    <a:pt x="2315" y="1"/>
                  </a:moveTo>
                  <a:cubicBezTo>
                    <a:pt x="2179" y="1"/>
                    <a:pt x="2042" y="13"/>
                    <a:pt x="1906" y="36"/>
                  </a:cubicBezTo>
                  <a:cubicBezTo>
                    <a:pt x="1334" y="155"/>
                    <a:pt x="846" y="488"/>
                    <a:pt x="513" y="964"/>
                  </a:cubicBezTo>
                  <a:cubicBezTo>
                    <a:pt x="1" y="1738"/>
                    <a:pt x="25" y="2727"/>
                    <a:pt x="572" y="3465"/>
                  </a:cubicBezTo>
                  <a:lnTo>
                    <a:pt x="537" y="4596"/>
                  </a:lnTo>
                  <a:cubicBezTo>
                    <a:pt x="537" y="4655"/>
                    <a:pt x="560" y="4703"/>
                    <a:pt x="608" y="4727"/>
                  </a:cubicBezTo>
                  <a:cubicBezTo>
                    <a:pt x="632" y="4739"/>
                    <a:pt x="667" y="4763"/>
                    <a:pt x="691" y="4763"/>
                  </a:cubicBezTo>
                  <a:cubicBezTo>
                    <a:pt x="727" y="4763"/>
                    <a:pt x="739" y="4763"/>
                    <a:pt x="775" y="4739"/>
                  </a:cubicBezTo>
                  <a:lnTo>
                    <a:pt x="1799" y="4263"/>
                  </a:lnTo>
                  <a:cubicBezTo>
                    <a:pt x="1980" y="4308"/>
                    <a:pt x="2163" y="4331"/>
                    <a:pt x="2344" y="4331"/>
                  </a:cubicBezTo>
                  <a:cubicBezTo>
                    <a:pt x="3055" y="4331"/>
                    <a:pt x="3734" y="3986"/>
                    <a:pt x="4132" y="3370"/>
                  </a:cubicBezTo>
                  <a:cubicBezTo>
                    <a:pt x="4323" y="3096"/>
                    <a:pt x="4430" y="2774"/>
                    <a:pt x="4477" y="2453"/>
                  </a:cubicBezTo>
                  <a:cubicBezTo>
                    <a:pt x="4477" y="2358"/>
                    <a:pt x="4418" y="2274"/>
                    <a:pt x="4335" y="2262"/>
                  </a:cubicBezTo>
                  <a:cubicBezTo>
                    <a:pt x="4320" y="2259"/>
                    <a:pt x="4307" y="2257"/>
                    <a:pt x="4294" y="2257"/>
                  </a:cubicBezTo>
                  <a:cubicBezTo>
                    <a:pt x="4219" y="2257"/>
                    <a:pt x="4164" y="2312"/>
                    <a:pt x="4144" y="2393"/>
                  </a:cubicBezTo>
                  <a:cubicBezTo>
                    <a:pt x="4120" y="2667"/>
                    <a:pt x="4013" y="2941"/>
                    <a:pt x="3846" y="3179"/>
                  </a:cubicBezTo>
                  <a:cubicBezTo>
                    <a:pt x="3504" y="3697"/>
                    <a:pt x="2932" y="3992"/>
                    <a:pt x="2326" y="3992"/>
                  </a:cubicBezTo>
                  <a:cubicBezTo>
                    <a:pt x="2151" y="3992"/>
                    <a:pt x="1974" y="3968"/>
                    <a:pt x="1799" y="3917"/>
                  </a:cubicBezTo>
                  <a:cubicBezTo>
                    <a:pt x="1789" y="3914"/>
                    <a:pt x="1779" y="3913"/>
                    <a:pt x="1770" y="3913"/>
                  </a:cubicBezTo>
                  <a:cubicBezTo>
                    <a:pt x="1744" y="3913"/>
                    <a:pt x="1718" y="3924"/>
                    <a:pt x="1691" y="3941"/>
                  </a:cubicBezTo>
                  <a:lnTo>
                    <a:pt x="858" y="4322"/>
                  </a:lnTo>
                  <a:lnTo>
                    <a:pt x="906" y="3405"/>
                  </a:lnTo>
                  <a:cubicBezTo>
                    <a:pt x="906" y="3358"/>
                    <a:pt x="894" y="3334"/>
                    <a:pt x="870" y="3298"/>
                  </a:cubicBezTo>
                  <a:cubicBezTo>
                    <a:pt x="370" y="2679"/>
                    <a:pt x="334" y="1798"/>
                    <a:pt x="787" y="1131"/>
                  </a:cubicBezTo>
                  <a:cubicBezTo>
                    <a:pt x="1048" y="714"/>
                    <a:pt x="1489" y="441"/>
                    <a:pt x="1965" y="333"/>
                  </a:cubicBezTo>
                  <a:cubicBezTo>
                    <a:pt x="2084" y="313"/>
                    <a:pt x="2203" y="303"/>
                    <a:pt x="2321" y="303"/>
                  </a:cubicBezTo>
                  <a:cubicBezTo>
                    <a:pt x="2686" y="303"/>
                    <a:pt x="3040" y="403"/>
                    <a:pt x="3346" y="619"/>
                  </a:cubicBezTo>
                  <a:cubicBezTo>
                    <a:pt x="3763" y="905"/>
                    <a:pt x="4049" y="1322"/>
                    <a:pt x="4132" y="1822"/>
                  </a:cubicBezTo>
                  <a:cubicBezTo>
                    <a:pt x="4143" y="1909"/>
                    <a:pt x="4224" y="1966"/>
                    <a:pt x="4292" y="1966"/>
                  </a:cubicBezTo>
                  <a:cubicBezTo>
                    <a:pt x="4298" y="1966"/>
                    <a:pt x="4305" y="1966"/>
                    <a:pt x="4311" y="1965"/>
                  </a:cubicBezTo>
                  <a:cubicBezTo>
                    <a:pt x="4406" y="1941"/>
                    <a:pt x="4466" y="1857"/>
                    <a:pt x="4442" y="1786"/>
                  </a:cubicBezTo>
                  <a:cubicBezTo>
                    <a:pt x="4347" y="1203"/>
                    <a:pt x="4013" y="714"/>
                    <a:pt x="3525" y="369"/>
                  </a:cubicBezTo>
                  <a:cubicBezTo>
                    <a:pt x="3164" y="117"/>
                    <a:pt x="2742" y="1"/>
                    <a:pt x="23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9" name="Google Shape;10689;p60"/>
            <p:cNvSpPr/>
            <p:nvPr/>
          </p:nvSpPr>
          <p:spPr>
            <a:xfrm>
              <a:off x="2423102" y="1541185"/>
              <a:ext cx="77723" cy="77723"/>
            </a:xfrm>
            <a:custGeom>
              <a:avLst/>
              <a:gdLst/>
              <a:ahLst/>
              <a:cxnLst/>
              <a:rect l="l" t="t" r="r" b="b"/>
              <a:pathLst>
                <a:path w="2442" h="2442" extrusionOk="0">
                  <a:moveTo>
                    <a:pt x="1084" y="346"/>
                  </a:moveTo>
                  <a:lnTo>
                    <a:pt x="1084" y="1215"/>
                  </a:lnTo>
                  <a:cubicBezTo>
                    <a:pt x="1084" y="1310"/>
                    <a:pt x="1168" y="1382"/>
                    <a:pt x="1251" y="1382"/>
                  </a:cubicBezTo>
                  <a:lnTo>
                    <a:pt x="2132" y="1382"/>
                  </a:lnTo>
                  <a:cubicBezTo>
                    <a:pt x="2037" y="1786"/>
                    <a:pt x="1668" y="2108"/>
                    <a:pt x="1239" y="2108"/>
                  </a:cubicBezTo>
                  <a:cubicBezTo>
                    <a:pt x="751" y="2108"/>
                    <a:pt x="346" y="1715"/>
                    <a:pt x="346" y="1215"/>
                  </a:cubicBezTo>
                  <a:cubicBezTo>
                    <a:pt x="346" y="774"/>
                    <a:pt x="656" y="417"/>
                    <a:pt x="1084" y="346"/>
                  </a:cubicBezTo>
                  <a:close/>
                  <a:moveTo>
                    <a:pt x="1215" y="0"/>
                  </a:moveTo>
                  <a:cubicBezTo>
                    <a:pt x="548" y="0"/>
                    <a:pt x="1" y="548"/>
                    <a:pt x="1" y="1215"/>
                  </a:cubicBezTo>
                  <a:cubicBezTo>
                    <a:pt x="1" y="1894"/>
                    <a:pt x="548" y="2441"/>
                    <a:pt x="1215" y="2441"/>
                  </a:cubicBezTo>
                  <a:cubicBezTo>
                    <a:pt x="1894" y="2441"/>
                    <a:pt x="2442" y="1894"/>
                    <a:pt x="2442" y="1215"/>
                  </a:cubicBezTo>
                  <a:cubicBezTo>
                    <a:pt x="2442" y="1120"/>
                    <a:pt x="2370" y="1060"/>
                    <a:pt x="2275" y="1060"/>
                  </a:cubicBezTo>
                  <a:lnTo>
                    <a:pt x="1382" y="1060"/>
                  </a:lnTo>
                  <a:lnTo>
                    <a:pt x="1382" y="167"/>
                  </a:lnTo>
                  <a:cubicBezTo>
                    <a:pt x="1382"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0" name="Google Shape;10690;p60"/>
            <p:cNvSpPr/>
            <p:nvPr/>
          </p:nvSpPr>
          <p:spPr>
            <a:xfrm>
              <a:off x="2216956" y="1538543"/>
              <a:ext cx="318721" cy="317575"/>
            </a:xfrm>
            <a:custGeom>
              <a:avLst/>
              <a:gdLst/>
              <a:ahLst/>
              <a:cxnLst/>
              <a:rect l="l" t="t" r="r" b="b"/>
              <a:pathLst>
                <a:path w="10014" h="9978" extrusionOk="0">
                  <a:moveTo>
                    <a:pt x="3787" y="1191"/>
                  </a:moveTo>
                  <a:lnTo>
                    <a:pt x="4763" y="2179"/>
                  </a:lnTo>
                  <a:cubicBezTo>
                    <a:pt x="5347" y="2762"/>
                    <a:pt x="5466" y="3667"/>
                    <a:pt x="5037" y="4382"/>
                  </a:cubicBezTo>
                  <a:cubicBezTo>
                    <a:pt x="4989" y="4441"/>
                    <a:pt x="5001" y="4525"/>
                    <a:pt x="5061" y="4572"/>
                  </a:cubicBezTo>
                  <a:lnTo>
                    <a:pt x="5394" y="4906"/>
                  </a:lnTo>
                  <a:cubicBezTo>
                    <a:pt x="5423" y="4934"/>
                    <a:pt x="5465" y="4950"/>
                    <a:pt x="5507" y="4950"/>
                  </a:cubicBezTo>
                  <a:cubicBezTo>
                    <a:pt x="5534" y="4950"/>
                    <a:pt x="5561" y="4943"/>
                    <a:pt x="5585" y="4929"/>
                  </a:cubicBezTo>
                  <a:cubicBezTo>
                    <a:pt x="5873" y="4756"/>
                    <a:pt x="6191" y="4673"/>
                    <a:pt x="6506" y="4673"/>
                  </a:cubicBezTo>
                  <a:cubicBezTo>
                    <a:pt x="6972" y="4673"/>
                    <a:pt x="7432" y="4855"/>
                    <a:pt x="7787" y="5203"/>
                  </a:cubicBezTo>
                  <a:lnTo>
                    <a:pt x="8776" y="6179"/>
                  </a:lnTo>
                  <a:lnTo>
                    <a:pt x="6228" y="8727"/>
                  </a:lnTo>
                  <a:lnTo>
                    <a:pt x="5239" y="7751"/>
                  </a:lnTo>
                  <a:cubicBezTo>
                    <a:pt x="5025" y="7525"/>
                    <a:pt x="4870" y="7251"/>
                    <a:pt x="4787" y="6953"/>
                  </a:cubicBezTo>
                  <a:cubicBezTo>
                    <a:pt x="4644" y="6477"/>
                    <a:pt x="4728" y="5965"/>
                    <a:pt x="4978" y="5548"/>
                  </a:cubicBezTo>
                  <a:cubicBezTo>
                    <a:pt x="5025" y="5489"/>
                    <a:pt x="5001" y="5394"/>
                    <a:pt x="4942" y="5346"/>
                  </a:cubicBezTo>
                  <a:lnTo>
                    <a:pt x="4620" y="5025"/>
                  </a:lnTo>
                  <a:cubicBezTo>
                    <a:pt x="4589" y="4993"/>
                    <a:pt x="4541" y="4977"/>
                    <a:pt x="4495" y="4977"/>
                  </a:cubicBezTo>
                  <a:cubicBezTo>
                    <a:pt x="4472" y="4977"/>
                    <a:pt x="4450" y="4981"/>
                    <a:pt x="4430" y="4989"/>
                  </a:cubicBezTo>
                  <a:cubicBezTo>
                    <a:pt x="4137" y="5164"/>
                    <a:pt x="3815" y="5250"/>
                    <a:pt x="3496" y="5250"/>
                  </a:cubicBezTo>
                  <a:cubicBezTo>
                    <a:pt x="3034" y="5250"/>
                    <a:pt x="2579" y="5072"/>
                    <a:pt x="2227" y="4727"/>
                  </a:cubicBezTo>
                  <a:lnTo>
                    <a:pt x="1239" y="3739"/>
                  </a:lnTo>
                  <a:lnTo>
                    <a:pt x="3787" y="1191"/>
                  </a:lnTo>
                  <a:close/>
                  <a:moveTo>
                    <a:pt x="9288" y="6120"/>
                  </a:moveTo>
                  <a:lnTo>
                    <a:pt x="9633" y="6465"/>
                  </a:lnTo>
                  <a:lnTo>
                    <a:pt x="6513" y="9585"/>
                  </a:lnTo>
                  <a:lnTo>
                    <a:pt x="6168" y="9251"/>
                  </a:lnTo>
                  <a:lnTo>
                    <a:pt x="9109" y="6299"/>
                  </a:lnTo>
                  <a:lnTo>
                    <a:pt x="9288" y="6120"/>
                  </a:lnTo>
                  <a:close/>
                  <a:moveTo>
                    <a:pt x="3525" y="0"/>
                  </a:moveTo>
                  <a:cubicBezTo>
                    <a:pt x="3489" y="0"/>
                    <a:pt x="3442" y="24"/>
                    <a:pt x="3406" y="48"/>
                  </a:cubicBezTo>
                  <a:lnTo>
                    <a:pt x="2180" y="1286"/>
                  </a:lnTo>
                  <a:cubicBezTo>
                    <a:pt x="2120" y="1346"/>
                    <a:pt x="2120" y="1453"/>
                    <a:pt x="2180" y="1512"/>
                  </a:cubicBezTo>
                  <a:cubicBezTo>
                    <a:pt x="2209" y="1542"/>
                    <a:pt x="2248" y="1557"/>
                    <a:pt x="2287" y="1557"/>
                  </a:cubicBezTo>
                  <a:cubicBezTo>
                    <a:pt x="2325" y="1557"/>
                    <a:pt x="2364" y="1542"/>
                    <a:pt x="2394" y="1512"/>
                  </a:cubicBezTo>
                  <a:lnTo>
                    <a:pt x="3525" y="381"/>
                  </a:lnTo>
                  <a:lnTo>
                    <a:pt x="3870" y="715"/>
                  </a:lnTo>
                  <a:lnTo>
                    <a:pt x="3692" y="893"/>
                  </a:lnTo>
                  <a:lnTo>
                    <a:pt x="929" y="3667"/>
                  </a:lnTo>
                  <a:lnTo>
                    <a:pt x="751" y="3846"/>
                  </a:lnTo>
                  <a:lnTo>
                    <a:pt x="406" y="3501"/>
                  </a:lnTo>
                  <a:lnTo>
                    <a:pt x="1953" y="1953"/>
                  </a:lnTo>
                  <a:cubicBezTo>
                    <a:pt x="2013" y="1893"/>
                    <a:pt x="2013" y="1786"/>
                    <a:pt x="1953" y="1727"/>
                  </a:cubicBezTo>
                  <a:cubicBezTo>
                    <a:pt x="1924" y="1697"/>
                    <a:pt x="1882" y="1682"/>
                    <a:pt x="1840" y="1682"/>
                  </a:cubicBezTo>
                  <a:cubicBezTo>
                    <a:pt x="1799" y="1682"/>
                    <a:pt x="1757" y="1697"/>
                    <a:pt x="1727" y="1727"/>
                  </a:cubicBezTo>
                  <a:lnTo>
                    <a:pt x="60" y="3393"/>
                  </a:lnTo>
                  <a:cubicBezTo>
                    <a:pt x="1" y="3453"/>
                    <a:pt x="1" y="3560"/>
                    <a:pt x="60" y="3620"/>
                  </a:cubicBezTo>
                  <a:lnTo>
                    <a:pt x="632" y="4191"/>
                  </a:lnTo>
                  <a:cubicBezTo>
                    <a:pt x="656" y="4215"/>
                    <a:pt x="703" y="4227"/>
                    <a:pt x="751" y="4227"/>
                  </a:cubicBezTo>
                  <a:cubicBezTo>
                    <a:pt x="787" y="4227"/>
                    <a:pt x="834" y="4215"/>
                    <a:pt x="870" y="4191"/>
                  </a:cubicBezTo>
                  <a:lnTo>
                    <a:pt x="1048" y="4013"/>
                  </a:lnTo>
                  <a:lnTo>
                    <a:pt x="2025" y="4989"/>
                  </a:lnTo>
                  <a:cubicBezTo>
                    <a:pt x="2430" y="5394"/>
                    <a:pt x="2971" y="5607"/>
                    <a:pt x="3517" y="5607"/>
                  </a:cubicBezTo>
                  <a:cubicBezTo>
                    <a:pt x="3854" y="5607"/>
                    <a:pt x="4192" y="5526"/>
                    <a:pt x="4501" y="5358"/>
                  </a:cubicBezTo>
                  <a:lnTo>
                    <a:pt x="4644" y="5513"/>
                  </a:lnTo>
                  <a:cubicBezTo>
                    <a:pt x="4394" y="5989"/>
                    <a:pt x="4335" y="6537"/>
                    <a:pt x="4477" y="7061"/>
                  </a:cubicBezTo>
                  <a:cubicBezTo>
                    <a:pt x="4573" y="7406"/>
                    <a:pt x="4763" y="7727"/>
                    <a:pt x="5013" y="7977"/>
                  </a:cubicBezTo>
                  <a:lnTo>
                    <a:pt x="6001" y="8966"/>
                  </a:lnTo>
                  <a:lnTo>
                    <a:pt x="5823" y="9144"/>
                  </a:lnTo>
                  <a:cubicBezTo>
                    <a:pt x="5763" y="9204"/>
                    <a:pt x="5763" y="9311"/>
                    <a:pt x="5823" y="9370"/>
                  </a:cubicBezTo>
                  <a:lnTo>
                    <a:pt x="6394" y="9930"/>
                  </a:lnTo>
                  <a:cubicBezTo>
                    <a:pt x="6418" y="9966"/>
                    <a:pt x="6466" y="9978"/>
                    <a:pt x="6513" y="9978"/>
                  </a:cubicBezTo>
                  <a:cubicBezTo>
                    <a:pt x="6549" y="9978"/>
                    <a:pt x="6585" y="9966"/>
                    <a:pt x="6633" y="9930"/>
                  </a:cubicBezTo>
                  <a:lnTo>
                    <a:pt x="9978" y="6584"/>
                  </a:lnTo>
                  <a:cubicBezTo>
                    <a:pt x="10014" y="6525"/>
                    <a:pt x="10014" y="6418"/>
                    <a:pt x="9966" y="6358"/>
                  </a:cubicBezTo>
                  <a:lnTo>
                    <a:pt x="9395" y="5798"/>
                  </a:lnTo>
                  <a:cubicBezTo>
                    <a:pt x="9365" y="5769"/>
                    <a:pt x="9323" y="5754"/>
                    <a:pt x="9282" y="5754"/>
                  </a:cubicBezTo>
                  <a:cubicBezTo>
                    <a:pt x="9240" y="5754"/>
                    <a:pt x="9198" y="5769"/>
                    <a:pt x="9169" y="5798"/>
                  </a:cubicBezTo>
                  <a:lnTo>
                    <a:pt x="8990" y="5977"/>
                  </a:lnTo>
                  <a:lnTo>
                    <a:pt x="8014" y="4989"/>
                  </a:lnTo>
                  <a:cubicBezTo>
                    <a:pt x="7609" y="4585"/>
                    <a:pt x="7069" y="4375"/>
                    <a:pt x="6524" y="4375"/>
                  </a:cubicBezTo>
                  <a:cubicBezTo>
                    <a:pt x="6186" y="4375"/>
                    <a:pt x="5847" y="4456"/>
                    <a:pt x="5537" y="4620"/>
                  </a:cubicBezTo>
                  <a:lnTo>
                    <a:pt x="5394" y="4465"/>
                  </a:lnTo>
                  <a:cubicBezTo>
                    <a:pt x="5823" y="3655"/>
                    <a:pt x="5668" y="2655"/>
                    <a:pt x="5013" y="2000"/>
                  </a:cubicBezTo>
                  <a:lnTo>
                    <a:pt x="4037" y="1012"/>
                  </a:lnTo>
                  <a:lnTo>
                    <a:pt x="4216" y="834"/>
                  </a:lnTo>
                  <a:cubicBezTo>
                    <a:pt x="4275" y="774"/>
                    <a:pt x="4275" y="679"/>
                    <a:pt x="4216" y="619"/>
                  </a:cubicBezTo>
                  <a:lnTo>
                    <a:pt x="3644" y="48"/>
                  </a:lnTo>
                  <a:cubicBezTo>
                    <a:pt x="3620" y="24"/>
                    <a:pt x="3573" y="0"/>
                    <a:pt x="3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1" name="Google Shape;10691;p60"/>
            <p:cNvSpPr/>
            <p:nvPr/>
          </p:nvSpPr>
          <p:spPr>
            <a:xfrm>
              <a:off x="2275327" y="1662448"/>
              <a:ext cx="100066" cy="39434"/>
            </a:xfrm>
            <a:custGeom>
              <a:avLst/>
              <a:gdLst/>
              <a:ahLst/>
              <a:cxnLst/>
              <a:rect l="l" t="t" r="r" b="b"/>
              <a:pathLst>
                <a:path w="3144" h="1239" extrusionOk="0">
                  <a:moveTo>
                    <a:pt x="2632" y="310"/>
                  </a:moveTo>
                  <a:lnTo>
                    <a:pt x="2560" y="417"/>
                  </a:lnTo>
                  <a:cubicBezTo>
                    <a:pt x="2298" y="739"/>
                    <a:pt x="1953" y="917"/>
                    <a:pt x="1596" y="929"/>
                  </a:cubicBezTo>
                  <a:cubicBezTo>
                    <a:pt x="1239" y="929"/>
                    <a:pt x="905" y="774"/>
                    <a:pt x="643" y="477"/>
                  </a:cubicBezTo>
                  <a:cubicBezTo>
                    <a:pt x="643" y="477"/>
                    <a:pt x="584" y="393"/>
                    <a:pt x="512" y="310"/>
                  </a:cubicBezTo>
                  <a:close/>
                  <a:moveTo>
                    <a:pt x="179" y="0"/>
                  </a:moveTo>
                  <a:cubicBezTo>
                    <a:pt x="119" y="0"/>
                    <a:pt x="60" y="24"/>
                    <a:pt x="36" y="84"/>
                  </a:cubicBezTo>
                  <a:cubicBezTo>
                    <a:pt x="0" y="143"/>
                    <a:pt x="12" y="203"/>
                    <a:pt x="48" y="251"/>
                  </a:cubicBezTo>
                  <a:cubicBezTo>
                    <a:pt x="155" y="370"/>
                    <a:pt x="369" y="667"/>
                    <a:pt x="393" y="667"/>
                  </a:cubicBezTo>
                  <a:cubicBezTo>
                    <a:pt x="703" y="1036"/>
                    <a:pt x="1119" y="1239"/>
                    <a:pt x="1560" y="1239"/>
                  </a:cubicBezTo>
                  <a:lnTo>
                    <a:pt x="1596" y="1239"/>
                  </a:lnTo>
                  <a:cubicBezTo>
                    <a:pt x="2060" y="1215"/>
                    <a:pt x="2489" y="1001"/>
                    <a:pt x="2810" y="596"/>
                  </a:cubicBezTo>
                  <a:lnTo>
                    <a:pt x="3096" y="239"/>
                  </a:lnTo>
                  <a:cubicBezTo>
                    <a:pt x="3132" y="203"/>
                    <a:pt x="3144" y="143"/>
                    <a:pt x="3108" y="84"/>
                  </a:cubicBezTo>
                  <a:cubicBezTo>
                    <a:pt x="3084" y="24"/>
                    <a:pt x="3024"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2" name="Google Shape;10692;p60"/>
            <p:cNvSpPr/>
            <p:nvPr/>
          </p:nvSpPr>
          <p:spPr>
            <a:xfrm>
              <a:off x="2371192" y="1745422"/>
              <a:ext cx="101211" cy="60663"/>
            </a:xfrm>
            <a:custGeom>
              <a:avLst/>
              <a:gdLst/>
              <a:ahLst/>
              <a:cxnLst/>
              <a:rect l="l" t="t" r="r" b="b"/>
              <a:pathLst>
                <a:path w="3180" h="1906" extrusionOk="0">
                  <a:moveTo>
                    <a:pt x="155" y="1"/>
                  </a:moveTo>
                  <a:cubicBezTo>
                    <a:pt x="72" y="1"/>
                    <a:pt x="1" y="72"/>
                    <a:pt x="1" y="156"/>
                  </a:cubicBezTo>
                  <a:cubicBezTo>
                    <a:pt x="1" y="513"/>
                    <a:pt x="239" y="787"/>
                    <a:pt x="274" y="834"/>
                  </a:cubicBezTo>
                  <a:lnTo>
                    <a:pt x="1298" y="1858"/>
                  </a:lnTo>
                  <a:cubicBezTo>
                    <a:pt x="1334" y="1882"/>
                    <a:pt x="1382" y="1906"/>
                    <a:pt x="1429" y="1906"/>
                  </a:cubicBezTo>
                  <a:cubicBezTo>
                    <a:pt x="1465" y="1906"/>
                    <a:pt x="1501" y="1882"/>
                    <a:pt x="1548" y="1858"/>
                  </a:cubicBezTo>
                  <a:lnTo>
                    <a:pt x="3120" y="275"/>
                  </a:lnTo>
                  <a:cubicBezTo>
                    <a:pt x="3168" y="215"/>
                    <a:pt x="3180" y="156"/>
                    <a:pt x="3156" y="96"/>
                  </a:cubicBezTo>
                  <a:cubicBezTo>
                    <a:pt x="3120" y="37"/>
                    <a:pt x="3060" y="1"/>
                    <a:pt x="3001" y="1"/>
                  </a:cubicBezTo>
                  <a:lnTo>
                    <a:pt x="1584" y="1"/>
                  </a:lnTo>
                  <a:cubicBezTo>
                    <a:pt x="1501" y="1"/>
                    <a:pt x="1429" y="72"/>
                    <a:pt x="1429" y="156"/>
                  </a:cubicBezTo>
                  <a:cubicBezTo>
                    <a:pt x="1429" y="251"/>
                    <a:pt x="1501" y="322"/>
                    <a:pt x="1584" y="322"/>
                  </a:cubicBezTo>
                  <a:lnTo>
                    <a:pt x="2620" y="322"/>
                  </a:lnTo>
                  <a:lnTo>
                    <a:pt x="1429" y="1513"/>
                  </a:lnTo>
                  <a:lnTo>
                    <a:pt x="513" y="608"/>
                  </a:lnTo>
                  <a:cubicBezTo>
                    <a:pt x="501" y="596"/>
                    <a:pt x="393" y="489"/>
                    <a:pt x="358" y="322"/>
                  </a:cubicBezTo>
                  <a:lnTo>
                    <a:pt x="965" y="322"/>
                  </a:lnTo>
                  <a:cubicBezTo>
                    <a:pt x="1048" y="322"/>
                    <a:pt x="1132" y="251"/>
                    <a:pt x="1132" y="156"/>
                  </a:cubicBezTo>
                  <a:cubicBezTo>
                    <a:pt x="1132" y="72"/>
                    <a:pt x="1048"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93" name="Google Shape;10693;p60"/>
          <p:cNvGrpSpPr/>
          <p:nvPr/>
        </p:nvGrpSpPr>
        <p:grpSpPr>
          <a:xfrm>
            <a:off x="3988156" y="1568461"/>
            <a:ext cx="349052" cy="230049"/>
            <a:chOff x="3988156" y="1568461"/>
            <a:chExt cx="349052" cy="230049"/>
          </a:xfrm>
        </p:grpSpPr>
        <p:sp>
          <p:nvSpPr>
            <p:cNvPr id="10694" name="Google Shape;10694;p60"/>
            <p:cNvSpPr/>
            <p:nvPr/>
          </p:nvSpPr>
          <p:spPr>
            <a:xfrm>
              <a:off x="3988156" y="1571135"/>
              <a:ext cx="349052" cy="227376"/>
            </a:xfrm>
            <a:custGeom>
              <a:avLst/>
              <a:gdLst/>
              <a:ahLst/>
              <a:cxnLst/>
              <a:rect l="l" t="t" r="r" b="b"/>
              <a:pathLst>
                <a:path w="10967" h="7144" extrusionOk="0">
                  <a:moveTo>
                    <a:pt x="3203" y="322"/>
                  </a:moveTo>
                  <a:cubicBezTo>
                    <a:pt x="3489" y="322"/>
                    <a:pt x="3763" y="429"/>
                    <a:pt x="3977" y="631"/>
                  </a:cubicBezTo>
                  <a:lnTo>
                    <a:pt x="6168" y="2703"/>
                  </a:lnTo>
                  <a:lnTo>
                    <a:pt x="4930" y="2703"/>
                  </a:lnTo>
                  <a:lnTo>
                    <a:pt x="3072" y="322"/>
                  </a:lnTo>
                  <a:close/>
                  <a:moveTo>
                    <a:pt x="9240" y="3012"/>
                  </a:moveTo>
                  <a:cubicBezTo>
                    <a:pt x="9514" y="3036"/>
                    <a:pt x="9752" y="3143"/>
                    <a:pt x="9942" y="3346"/>
                  </a:cubicBezTo>
                  <a:lnTo>
                    <a:pt x="10049" y="3441"/>
                  </a:lnTo>
                  <a:lnTo>
                    <a:pt x="9406" y="3441"/>
                  </a:lnTo>
                  <a:lnTo>
                    <a:pt x="9406" y="3453"/>
                  </a:lnTo>
                  <a:cubicBezTo>
                    <a:pt x="9323" y="3453"/>
                    <a:pt x="9240" y="3370"/>
                    <a:pt x="9240" y="3286"/>
                  </a:cubicBezTo>
                  <a:lnTo>
                    <a:pt x="9240" y="3012"/>
                  </a:lnTo>
                  <a:close/>
                  <a:moveTo>
                    <a:pt x="6894" y="3715"/>
                  </a:moveTo>
                  <a:lnTo>
                    <a:pt x="3977" y="6477"/>
                  </a:lnTo>
                  <a:cubicBezTo>
                    <a:pt x="3763" y="6679"/>
                    <a:pt x="3501" y="6799"/>
                    <a:pt x="3203" y="6799"/>
                  </a:cubicBezTo>
                  <a:lnTo>
                    <a:pt x="3072" y="6799"/>
                  </a:lnTo>
                  <a:lnTo>
                    <a:pt x="5466" y="3715"/>
                  </a:lnTo>
                  <a:close/>
                  <a:moveTo>
                    <a:pt x="2953" y="0"/>
                  </a:moveTo>
                  <a:cubicBezTo>
                    <a:pt x="2846" y="0"/>
                    <a:pt x="2751" y="60"/>
                    <a:pt x="2703" y="143"/>
                  </a:cubicBezTo>
                  <a:cubicBezTo>
                    <a:pt x="2668" y="238"/>
                    <a:pt x="2679" y="333"/>
                    <a:pt x="2739" y="429"/>
                  </a:cubicBezTo>
                  <a:lnTo>
                    <a:pt x="4513" y="2703"/>
                  </a:lnTo>
                  <a:lnTo>
                    <a:pt x="2191" y="2703"/>
                  </a:lnTo>
                  <a:cubicBezTo>
                    <a:pt x="2096" y="2703"/>
                    <a:pt x="2013" y="2655"/>
                    <a:pt x="1953" y="2572"/>
                  </a:cubicBezTo>
                  <a:lnTo>
                    <a:pt x="1239" y="1334"/>
                  </a:lnTo>
                  <a:cubicBezTo>
                    <a:pt x="1132" y="1155"/>
                    <a:pt x="941" y="1048"/>
                    <a:pt x="727" y="1048"/>
                  </a:cubicBezTo>
                  <a:lnTo>
                    <a:pt x="274" y="1048"/>
                  </a:lnTo>
                  <a:cubicBezTo>
                    <a:pt x="120" y="1048"/>
                    <a:pt x="1" y="1167"/>
                    <a:pt x="1" y="1322"/>
                  </a:cubicBezTo>
                  <a:lnTo>
                    <a:pt x="1" y="3834"/>
                  </a:lnTo>
                  <a:cubicBezTo>
                    <a:pt x="1" y="4167"/>
                    <a:pt x="274" y="4429"/>
                    <a:pt x="596" y="4429"/>
                  </a:cubicBezTo>
                  <a:lnTo>
                    <a:pt x="1977" y="4429"/>
                  </a:lnTo>
                  <a:cubicBezTo>
                    <a:pt x="2072" y="4429"/>
                    <a:pt x="2144" y="4358"/>
                    <a:pt x="2144" y="4263"/>
                  </a:cubicBezTo>
                  <a:cubicBezTo>
                    <a:pt x="2144" y="4179"/>
                    <a:pt x="2072" y="4096"/>
                    <a:pt x="1977" y="4096"/>
                  </a:cubicBezTo>
                  <a:lnTo>
                    <a:pt x="596" y="4096"/>
                  </a:lnTo>
                  <a:cubicBezTo>
                    <a:pt x="453" y="4096"/>
                    <a:pt x="310" y="3977"/>
                    <a:pt x="310" y="3822"/>
                  </a:cubicBezTo>
                  <a:lnTo>
                    <a:pt x="310" y="1369"/>
                  </a:lnTo>
                  <a:lnTo>
                    <a:pt x="727" y="1369"/>
                  </a:lnTo>
                  <a:cubicBezTo>
                    <a:pt x="834" y="1369"/>
                    <a:pt x="905" y="1405"/>
                    <a:pt x="965" y="1500"/>
                  </a:cubicBezTo>
                  <a:lnTo>
                    <a:pt x="1679" y="2739"/>
                  </a:lnTo>
                  <a:cubicBezTo>
                    <a:pt x="1786" y="2905"/>
                    <a:pt x="1977" y="3036"/>
                    <a:pt x="2191" y="3036"/>
                  </a:cubicBezTo>
                  <a:lnTo>
                    <a:pt x="8895" y="3036"/>
                  </a:lnTo>
                  <a:lnTo>
                    <a:pt x="8895" y="3298"/>
                  </a:lnTo>
                  <a:cubicBezTo>
                    <a:pt x="8895" y="3572"/>
                    <a:pt x="9109" y="3774"/>
                    <a:pt x="9371" y="3774"/>
                  </a:cubicBezTo>
                  <a:lnTo>
                    <a:pt x="10323" y="3774"/>
                  </a:lnTo>
                  <a:lnTo>
                    <a:pt x="10538" y="3977"/>
                  </a:lnTo>
                  <a:cubicBezTo>
                    <a:pt x="10561" y="4012"/>
                    <a:pt x="10597" y="4060"/>
                    <a:pt x="10597" y="4096"/>
                  </a:cubicBezTo>
                  <a:lnTo>
                    <a:pt x="6930" y="4096"/>
                  </a:lnTo>
                  <a:lnTo>
                    <a:pt x="7382" y="3679"/>
                  </a:lnTo>
                  <a:cubicBezTo>
                    <a:pt x="7430" y="3643"/>
                    <a:pt x="7442" y="3560"/>
                    <a:pt x="7430" y="3501"/>
                  </a:cubicBezTo>
                  <a:cubicBezTo>
                    <a:pt x="7394" y="3453"/>
                    <a:pt x="7335" y="3405"/>
                    <a:pt x="7275" y="3405"/>
                  </a:cubicBezTo>
                  <a:lnTo>
                    <a:pt x="5454" y="3405"/>
                  </a:lnTo>
                  <a:cubicBezTo>
                    <a:pt x="5358" y="3405"/>
                    <a:pt x="5287" y="3453"/>
                    <a:pt x="5239" y="3501"/>
                  </a:cubicBezTo>
                  <a:lnTo>
                    <a:pt x="4775" y="4096"/>
                  </a:lnTo>
                  <a:lnTo>
                    <a:pt x="2739" y="4096"/>
                  </a:lnTo>
                  <a:cubicBezTo>
                    <a:pt x="2656" y="4096"/>
                    <a:pt x="2572" y="4179"/>
                    <a:pt x="2572" y="4263"/>
                  </a:cubicBezTo>
                  <a:cubicBezTo>
                    <a:pt x="2572" y="4358"/>
                    <a:pt x="2656" y="4429"/>
                    <a:pt x="2739" y="4429"/>
                  </a:cubicBezTo>
                  <a:lnTo>
                    <a:pt x="4525" y="4429"/>
                  </a:lnTo>
                  <a:lnTo>
                    <a:pt x="2751" y="6703"/>
                  </a:lnTo>
                  <a:cubicBezTo>
                    <a:pt x="2691" y="6787"/>
                    <a:pt x="2679" y="6906"/>
                    <a:pt x="2727" y="6989"/>
                  </a:cubicBezTo>
                  <a:cubicBezTo>
                    <a:pt x="2763" y="7084"/>
                    <a:pt x="2858" y="7144"/>
                    <a:pt x="2965" y="7144"/>
                  </a:cubicBezTo>
                  <a:lnTo>
                    <a:pt x="3203" y="7144"/>
                  </a:lnTo>
                  <a:cubicBezTo>
                    <a:pt x="3572" y="7144"/>
                    <a:pt x="3930" y="7001"/>
                    <a:pt x="4203" y="6739"/>
                  </a:cubicBezTo>
                  <a:lnTo>
                    <a:pt x="6644" y="4429"/>
                  </a:lnTo>
                  <a:lnTo>
                    <a:pt x="10716" y="4429"/>
                  </a:lnTo>
                  <a:cubicBezTo>
                    <a:pt x="10847" y="4429"/>
                    <a:pt x="10966" y="4322"/>
                    <a:pt x="10966" y="4179"/>
                  </a:cubicBezTo>
                  <a:cubicBezTo>
                    <a:pt x="10954" y="4001"/>
                    <a:pt x="10895" y="3846"/>
                    <a:pt x="10788" y="3751"/>
                  </a:cubicBezTo>
                  <a:lnTo>
                    <a:pt x="10168" y="3120"/>
                  </a:lnTo>
                  <a:cubicBezTo>
                    <a:pt x="9895" y="2858"/>
                    <a:pt x="9526" y="2703"/>
                    <a:pt x="9156" y="2703"/>
                  </a:cubicBezTo>
                  <a:lnTo>
                    <a:pt x="6620" y="2703"/>
                  </a:lnTo>
                  <a:lnTo>
                    <a:pt x="4180" y="393"/>
                  </a:lnTo>
                  <a:cubicBezTo>
                    <a:pt x="3918" y="143"/>
                    <a:pt x="3561" y="0"/>
                    <a:pt x="3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5" name="Google Shape;10695;p60"/>
            <p:cNvSpPr/>
            <p:nvPr/>
          </p:nvSpPr>
          <p:spPr>
            <a:xfrm>
              <a:off x="4188256" y="1568461"/>
              <a:ext cx="146661" cy="61809"/>
            </a:xfrm>
            <a:custGeom>
              <a:avLst/>
              <a:gdLst/>
              <a:ahLst/>
              <a:cxnLst/>
              <a:rect l="l" t="t" r="r" b="b"/>
              <a:pathLst>
                <a:path w="4608" h="1942" extrusionOk="0">
                  <a:moveTo>
                    <a:pt x="2274" y="1"/>
                  </a:moveTo>
                  <a:cubicBezTo>
                    <a:pt x="1726" y="1"/>
                    <a:pt x="1250" y="382"/>
                    <a:pt x="1095" y="882"/>
                  </a:cubicBezTo>
                  <a:cubicBezTo>
                    <a:pt x="1036" y="870"/>
                    <a:pt x="976" y="870"/>
                    <a:pt x="905" y="870"/>
                  </a:cubicBezTo>
                  <a:cubicBezTo>
                    <a:pt x="393" y="870"/>
                    <a:pt x="0" y="1263"/>
                    <a:pt x="0" y="1775"/>
                  </a:cubicBezTo>
                  <a:cubicBezTo>
                    <a:pt x="12" y="1882"/>
                    <a:pt x="83" y="1941"/>
                    <a:pt x="179" y="1941"/>
                  </a:cubicBezTo>
                  <a:lnTo>
                    <a:pt x="2929" y="1941"/>
                  </a:lnTo>
                  <a:cubicBezTo>
                    <a:pt x="3012" y="1941"/>
                    <a:pt x="3096" y="1870"/>
                    <a:pt x="3096" y="1775"/>
                  </a:cubicBezTo>
                  <a:cubicBezTo>
                    <a:pt x="3096" y="1680"/>
                    <a:pt x="3012" y="1608"/>
                    <a:pt x="2929" y="1608"/>
                  </a:cubicBezTo>
                  <a:lnTo>
                    <a:pt x="357" y="1608"/>
                  </a:lnTo>
                  <a:cubicBezTo>
                    <a:pt x="429" y="1358"/>
                    <a:pt x="655" y="1179"/>
                    <a:pt x="917" y="1179"/>
                  </a:cubicBezTo>
                  <a:cubicBezTo>
                    <a:pt x="1012" y="1179"/>
                    <a:pt x="1084" y="1191"/>
                    <a:pt x="1155" y="1239"/>
                  </a:cubicBezTo>
                  <a:cubicBezTo>
                    <a:pt x="1179" y="1245"/>
                    <a:pt x="1206" y="1248"/>
                    <a:pt x="1232" y="1248"/>
                  </a:cubicBezTo>
                  <a:cubicBezTo>
                    <a:pt x="1259" y="1248"/>
                    <a:pt x="1286" y="1245"/>
                    <a:pt x="1310" y="1239"/>
                  </a:cubicBezTo>
                  <a:cubicBezTo>
                    <a:pt x="1345" y="1203"/>
                    <a:pt x="1381" y="1168"/>
                    <a:pt x="1381" y="1120"/>
                  </a:cubicBezTo>
                  <a:cubicBezTo>
                    <a:pt x="1441" y="667"/>
                    <a:pt x="1822" y="334"/>
                    <a:pt x="2274" y="334"/>
                  </a:cubicBezTo>
                  <a:cubicBezTo>
                    <a:pt x="2691" y="334"/>
                    <a:pt x="3048" y="608"/>
                    <a:pt x="3155" y="1001"/>
                  </a:cubicBezTo>
                  <a:cubicBezTo>
                    <a:pt x="3167" y="1048"/>
                    <a:pt x="3191" y="1072"/>
                    <a:pt x="3227" y="1108"/>
                  </a:cubicBezTo>
                  <a:cubicBezTo>
                    <a:pt x="3241" y="1122"/>
                    <a:pt x="3267" y="1128"/>
                    <a:pt x="3296" y="1128"/>
                  </a:cubicBezTo>
                  <a:cubicBezTo>
                    <a:pt x="3316" y="1128"/>
                    <a:pt x="3338" y="1125"/>
                    <a:pt x="3358" y="1120"/>
                  </a:cubicBezTo>
                  <a:cubicBezTo>
                    <a:pt x="3429" y="1084"/>
                    <a:pt x="3512" y="1072"/>
                    <a:pt x="3584" y="1072"/>
                  </a:cubicBezTo>
                  <a:cubicBezTo>
                    <a:pt x="3905" y="1072"/>
                    <a:pt x="4191" y="1310"/>
                    <a:pt x="4262" y="1608"/>
                  </a:cubicBezTo>
                  <a:lnTo>
                    <a:pt x="3667" y="1608"/>
                  </a:lnTo>
                  <a:cubicBezTo>
                    <a:pt x="3584" y="1608"/>
                    <a:pt x="3512" y="1680"/>
                    <a:pt x="3512" y="1775"/>
                  </a:cubicBezTo>
                  <a:cubicBezTo>
                    <a:pt x="3512" y="1870"/>
                    <a:pt x="3584" y="1941"/>
                    <a:pt x="3667" y="1941"/>
                  </a:cubicBezTo>
                  <a:lnTo>
                    <a:pt x="4441" y="1941"/>
                  </a:lnTo>
                  <a:cubicBezTo>
                    <a:pt x="4536" y="1941"/>
                    <a:pt x="4608" y="1870"/>
                    <a:pt x="4608" y="1775"/>
                  </a:cubicBezTo>
                  <a:cubicBezTo>
                    <a:pt x="4608" y="1203"/>
                    <a:pt x="4143" y="751"/>
                    <a:pt x="3584" y="751"/>
                  </a:cubicBezTo>
                  <a:cubicBezTo>
                    <a:pt x="3524" y="751"/>
                    <a:pt x="3465" y="751"/>
                    <a:pt x="3405" y="763"/>
                  </a:cubicBezTo>
                  <a:cubicBezTo>
                    <a:pt x="3227" y="298"/>
                    <a:pt x="2774"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6" name="Google Shape;10696;p60"/>
            <p:cNvSpPr/>
            <p:nvPr/>
          </p:nvSpPr>
          <p:spPr>
            <a:xfrm>
              <a:off x="4123805" y="1677598"/>
              <a:ext cx="13304" cy="13304"/>
            </a:xfrm>
            <a:custGeom>
              <a:avLst/>
              <a:gdLst/>
              <a:ahLst/>
              <a:cxnLst/>
              <a:rect l="l" t="t" r="r" b="b"/>
              <a:pathLst>
                <a:path w="418" h="418" extrusionOk="0">
                  <a:moveTo>
                    <a:pt x="203" y="1"/>
                  </a:moveTo>
                  <a:cubicBezTo>
                    <a:pt x="84" y="1"/>
                    <a:pt x="1" y="84"/>
                    <a:pt x="1" y="203"/>
                  </a:cubicBezTo>
                  <a:cubicBezTo>
                    <a:pt x="1" y="322"/>
                    <a:pt x="84" y="417"/>
                    <a:pt x="203" y="417"/>
                  </a:cubicBezTo>
                  <a:cubicBezTo>
                    <a:pt x="311" y="417"/>
                    <a:pt x="418" y="322"/>
                    <a:pt x="418" y="203"/>
                  </a:cubicBezTo>
                  <a:cubicBezTo>
                    <a:pt x="418"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7" name="Google Shape;10697;p60"/>
            <p:cNvSpPr/>
            <p:nvPr/>
          </p:nvSpPr>
          <p:spPr>
            <a:xfrm>
              <a:off x="4096147" y="1677598"/>
              <a:ext cx="13304" cy="13304"/>
            </a:xfrm>
            <a:custGeom>
              <a:avLst/>
              <a:gdLst/>
              <a:ahLst/>
              <a:cxnLst/>
              <a:rect l="l" t="t" r="r" b="b"/>
              <a:pathLst>
                <a:path w="418" h="418" extrusionOk="0">
                  <a:moveTo>
                    <a:pt x="215" y="1"/>
                  </a:moveTo>
                  <a:cubicBezTo>
                    <a:pt x="96" y="1"/>
                    <a:pt x="1" y="84"/>
                    <a:pt x="1" y="203"/>
                  </a:cubicBezTo>
                  <a:cubicBezTo>
                    <a:pt x="1" y="322"/>
                    <a:pt x="96" y="417"/>
                    <a:pt x="215" y="417"/>
                  </a:cubicBezTo>
                  <a:cubicBezTo>
                    <a:pt x="334" y="417"/>
                    <a:pt x="418" y="322"/>
                    <a:pt x="418" y="203"/>
                  </a:cubicBezTo>
                  <a:cubicBezTo>
                    <a:pt x="418"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8" name="Google Shape;10698;p60"/>
            <p:cNvSpPr/>
            <p:nvPr/>
          </p:nvSpPr>
          <p:spPr>
            <a:xfrm>
              <a:off x="4068871" y="1677598"/>
              <a:ext cx="13686" cy="13304"/>
            </a:xfrm>
            <a:custGeom>
              <a:avLst/>
              <a:gdLst/>
              <a:ahLst/>
              <a:cxnLst/>
              <a:rect l="l" t="t" r="r" b="b"/>
              <a:pathLst>
                <a:path w="430" h="418" extrusionOk="0">
                  <a:moveTo>
                    <a:pt x="215" y="1"/>
                  </a:moveTo>
                  <a:cubicBezTo>
                    <a:pt x="96" y="1"/>
                    <a:pt x="12" y="84"/>
                    <a:pt x="12" y="203"/>
                  </a:cubicBezTo>
                  <a:cubicBezTo>
                    <a:pt x="1" y="322"/>
                    <a:pt x="96" y="417"/>
                    <a:pt x="215" y="417"/>
                  </a:cubicBezTo>
                  <a:cubicBezTo>
                    <a:pt x="334" y="417"/>
                    <a:pt x="429" y="322"/>
                    <a:pt x="429" y="203"/>
                  </a:cubicBezTo>
                  <a:cubicBezTo>
                    <a:pt x="429"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9" name="Google Shape;10699;p60"/>
            <p:cNvSpPr/>
            <p:nvPr/>
          </p:nvSpPr>
          <p:spPr>
            <a:xfrm>
              <a:off x="4041594" y="1677598"/>
              <a:ext cx="13304" cy="13304"/>
            </a:xfrm>
            <a:custGeom>
              <a:avLst/>
              <a:gdLst/>
              <a:ahLst/>
              <a:cxnLst/>
              <a:rect l="l" t="t" r="r" b="b"/>
              <a:pathLst>
                <a:path w="418" h="418" extrusionOk="0">
                  <a:moveTo>
                    <a:pt x="215" y="1"/>
                  </a:moveTo>
                  <a:cubicBezTo>
                    <a:pt x="96" y="1"/>
                    <a:pt x="0" y="84"/>
                    <a:pt x="0" y="203"/>
                  </a:cubicBezTo>
                  <a:cubicBezTo>
                    <a:pt x="0" y="322"/>
                    <a:pt x="96" y="417"/>
                    <a:pt x="215" y="417"/>
                  </a:cubicBezTo>
                  <a:cubicBezTo>
                    <a:pt x="334" y="417"/>
                    <a:pt x="417" y="322"/>
                    <a:pt x="417" y="203"/>
                  </a:cubicBezTo>
                  <a:cubicBezTo>
                    <a:pt x="417" y="84"/>
                    <a:pt x="334"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0" name="Google Shape;10700;p60"/>
            <p:cNvSpPr/>
            <p:nvPr/>
          </p:nvSpPr>
          <p:spPr>
            <a:xfrm>
              <a:off x="4239402" y="1677598"/>
              <a:ext cx="13304" cy="13304"/>
            </a:xfrm>
            <a:custGeom>
              <a:avLst/>
              <a:gdLst/>
              <a:ahLst/>
              <a:cxnLst/>
              <a:rect l="l" t="t" r="r" b="b"/>
              <a:pathLst>
                <a:path w="418" h="418" extrusionOk="0">
                  <a:moveTo>
                    <a:pt x="203" y="1"/>
                  </a:moveTo>
                  <a:cubicBezTo>
                    <a:pt x="84" y="1"/>
                    <a:pt x="0" y="84"/>
                    <a:pt x="0" y="203"/>
                  </a:cubicBezTo>
                  <a:cubicBezTo>
                    <a:pt x="0" y="322"/>
                    <a:pt x="84" y="417"/>
                    <a:pt x="203" y="417"/>
                  </a:cubicBezTo>
                  <a:cubicBezTo>
                    <a:pt x="322" y="417"/>
                    <a:pt x="417" y="322"/>
                    <a:pt x="417" y="203"/>
                  </a:cubicBezTo>
                  <a:cubicBezTo>
                    <a:pt x="417" y="84"/>
                    <a:pt x="322"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1" name="Google Shape;10701;p60"/>
          <p:cNvGrpSpPr/>
          <p:nvPr/>
        </p:nvGrpSpPr>
        <p:grpSpPr>
          <a:xfrm>
            <a:off x="2633037" y="1499873"/>
            <a:ext cx="379002" cy="366112"/>
            <a:chOff x="2633037" y="1499873"/>
            <a:chExt cx="379002" cy="366112"/>
          </a:xfrm>
        </p:grpSpPr>
        <p:sp>
          <p:nvSpPr>
            <p:cNvPr id="10702" name="Google Shape;10702;p60"/>
            <p:cNvSpPr/>
            <p:nvPr/>
          </p:nvSpPr>
          <p:spPr>
            <a:xfrm>
              <a:off x="2798635" y="1499873"/>
              <a:ext cx="20497" cy="106145"/>
            </a:xfrm>
            <a:custGeom>
              <a:avLst/>
              <a:gdLst/>
              <a:ahLst/>
              <a:cxnLst/>
              <a:rect l="l" t="t" r="r" b="b"/>
              <a:pathLst>
                <a:path w="644" h="3335" extrusionOk="0">
                  <a:moveTo>
                    <a:pt x="453" y="1"/>
                  </a:moveTo>
                  <a:cubicBezTo>
                    <a:pt x="346" y="1"/>
                    <a:pt x="263" y="96"/>
                    <a:pt x="263" y="191"/>
                  </a:cubicBezTo>
                  <a:cubicBezTo>
                    <a:pt x="263" y="394"/>
                    <a:pt x="215" y="477"/>
                    <a:pt x="156" y="596"/>
                  </a:cubicBezTo>
                  <a:cubicBezTo>
                    <a:pt x="72" y="727"/>
                    <a:pt x="1" y="882"/>
                    <a:pt x="1" y="1179"/>
                  </a:cubicBezTo>
                  <a:cubicBezTo>
                    <a:pt x="1" y="1465"/>
                    <a:pt x="72" y="1620"/>
                    <a:pt x="156" y="1763"/>
                  </a:cubicBezTo>
                  <a:cubicBezTo>
                    <a:pt x="215" y="1882"/>
                    <a:pt x="263" y="1965"/>
                    <a:pt x="263" y="2156"/>
                  </a:cubicBezTo>
                  <a:cubicBezTo>
                    <a:pt x="263" y="2358"/>
                    <a:pt x="215" y="2441"/>
                    <a:pt x="156" y="2561"/>
                  </a:cubicBezTo>
                  <a:cubicBezTo>
                    <a:pt x="72" y="2692"/>
                    <a:pt x="1" y="2846"/>
                    <a:pt x="1" y="3144"/>
                  </a:cubicBezTo>
                  <a:cubicBezTo>
                    <a:pt x="1" y="3239"/>
                    <a:pt x="96" y="3334"/>
                    <a:pt x="191" y="3334"/>
                  </a:cubicBezTo>
                  <a:cubicBezTo>
                    <a:pt x="298" y="3334"/>
                    <a:pt x="394" y="3239"/>
                    <a:pt x="394" y="3144"/>
                  </a:cubicBezTo>
                  <a:cubicBezTo>
                    <a:pt x="394" y="2942"/>
                    <a:pt x="429" y="2858"/>
                    <a:pt x="489" y="2739"/>
                  </a:cubicBezTo>
                  <a:cubicBezTo>
                    <a:pt x="572" y="2608"/>
                    <a:pt x="644" y="2453"/>
                    <a:pt x="644" y="2156"/>
                  </a:cubicBezTo>
                  <a:cubicBezTo>
                    <a:pt x="644" y="1882"/>
                    <a:pt x="572" y="1715"/>
                    <a:pt x="489" y="1584"/>
                  </a:cubicBezTo>
                  <a:cubicBezTo>
                    <a:pt x="429" y="1465"/>
                    <a:pt x="394" y="1370"/>
                    <a:pt x="394" y="1179"/>
                  </a:cubicBezTo>
                  <a:cubicBezTo>
                    <a:pt x="394" y="989"/>
                    <a:pt x="429" y="894"/>
                    <a:pt x="489" y="775"/>
                  </a:cubicBezTo>
                  <a:cubicBezTo>
                    <a:pt x="572" y="644"/>
                    <a:pt x="644" y="489"/>
                    <a:pt x="644" y="191"/>
                  </a:cubicBezTo>
                  <a:cubicBezTo>
                    <a:pt x="644" y="96"/>
                    <a:pt x="549"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3" name="Google Shape;10703;p60"/>
            <p:cNvSpPr/>
            <p:nvPr/>
          </p:nvSpPr>
          <p:spPr>
            <a:xfrm>
              <a:off x="2847140" y="1499873"/>
              <a:ext cx="20115" cy="106145"/>
            </a:xfrm>
            <a:custGeom>
              <a:avLst/>
              <a:gdLst/>
              <a:ahLst/>
              <a:cxnLst/>
              <a:rect l="l" t="t" r="r" b="b"/>
              <a:pathLst>
                <a:path w="632" h="3335" extrusionOk="0">
                  <a:moveTo>
                    <a:pt x="441" y="1"/>
                  </a:moveTo>
                  <a:cubicBezTo>
                    <a:pt x="334" y="1"/>
                    <a:pt x="251" y="96"/>
                    <a:pt x="251" y="191"/>
                  </a:cubicBezTo>
                  <a:cubicBezTo>
                    <a:pt x="251" y="394"/>
                    <a:pt x="203" y="477"/>
                    <a:pt x="144" y="596"/>
                  </a:cubicBezTo>
                  <a:cubicBezTo>
                    <a:pt x="72" y="727"/>
                    <a:pt x="1" y="882"/>
                    <a:pt x="1" y="1179"/>
                  </a:cubicBezTo>
                  <a:cubicBezTo>
                    <a:pt x="1" y="1465"/>
                    <a:pt x="72" y="1620"/>
                    <a:pt x="144" y="1763"/>
                  </a:cubicBezTo>
                  <a:cubicBezTo>
                    <a:pt x="203" y="1882"/>
                    <a:pt x="251" y="1965"/>
                    <a:pt x="251" y="2156"/>
                  </a:cubicBezTo>
                  <a:cubicBezTo>
                    <a:pt x="251" y="2358"/>
                    <a:pt x="203" y="2441"/>
                    <a:pt x="144" y="2561"/>
                  </a:cubicBezTo>
                  <a:cubicBezTo>
                    <a:pt x="84" y="2692"/>
                    <a:pt x="1" y="2846"/>
                    <a:pt x="1" y="3144"/>
                  </a:cubicBezTo>
                  <a:cubicBezTo>
                    <a:pt x="1" y="3239"/>
                    <a:pt x="84" y="3334"/>
                    <a:pt x="191" y="3334"/>
                  </a:cubicBezTo>
                  <a:cubicBezTo>
                    <a:pt x="298" y="3334"/>
                    <a:pt x="382" y="3239"/>
                    <a:pt x="382" y="3144"/>
                  </a:cubicBezTo>
                  <a:cubicBezTo>
                    <a:pt x="382" y="2942"/>
                    <a:pt x="429" y="2858"/>
                    <a:pt x="489" y="2739"/>
                  </a:cubicBezTo>
                  <a:cubicBezTo>
                    <a:pt x="560" y="2608"/>
                    <a:pt x="632" y="2453"/>
                    <a:pt x="632" y="2156"/>
                  </a:cubicBezTo>
                  <a:cubicBezTo>
                    <a:pt x="632" y="1882"/>
                    <a:pt x="560" y="1715"/>
                    <a:pt x="489" y="1584"/>
                  </a:cubicBezTo>
                  <a:cubicBezTo>
                    <a:pt x="429" y="1465"/>
                    <a:pt x="382" y="1370"/>
                    <a:pt x="382" y="1179"/>
                  </a:cubicBezTo>
                  <a:cubicBezTo>
                    <a:pt x="382" y="989"/>
                    <a:pt x="429" y="894"/>
                    <a:pt x="489" y="775"/>
                  </a:cubicBezTo>
                  <a:cubicBezTo>
                    <a:pt x="560" y="644"/>
                    <a:pt x="632" y="489"/>
                    <a:pt x="632" y="191"/>
                  </a:cubicBezTo>
                  <a:cubicBezTo>
                    <a:pt x="632" y="96"/>
                    <a:pt x="549"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4" name="Google Shape;10704;p60"/>
            <p:cNvSpPr/>
            <p:nvPr/>
          </p:nvSpPr>
          <p:spPr>
            <a:xfrm>
              <a:off x="2652738" y="1825405"/>
              <a:ext cx="359301" cy="40580"/>
            </a:xfrm>
            <a:custGeom>
              <a:avLst/>
              <a:gdLst/>
              <a:ahLst/>
              <a:cxnLst/>
              <a:rect l="l" t="t" r="r" b="b"/>
              <a:pathLst>
                <a:path w="11289" h="1275" extrusionOk="0">
                  <a:moveTo>
                    <a:pt x="10645" y="369"/>
                  </a:moveTo>
                  <a:lnTo>
                    <a:pt x="10538" y="655"/>
                  </a:lnTo>
                  <a:cubicBezTo>
                    <a:pt x="10514" y="774"/>
                    <a:pt x="10359" y="869"/>
                    <a:pt x="10240" y="869"/>
                  </a:cubicBezTo>
                  <a:lnTo>
                    <a:pt x="1108" y="869"/>
                  </a:lnTo>
                  <a:cubicBezTo>
                    <a:pt x="989" y="869"/>
                    <a:pt x="834" y="774"/>
                    <a:pt x="811" y="655"/>
                  </a:cubicBezTo>
                  <a:lnTo>
                    <a:pt x="739" y="369"/>
                  </a:lnTo>
                  <a:close/>
                  <a:moveTo>
                    <a:pt x="191" y="0"/>
                  </a:moveTo>
                  <a:cubicBezTo>
                    <a:pt x="96" y="0"/>
                    <a:pt x="1" y="83"/>
                    <a:pt x="1" y="191"/>
                  </a:cubicBezTo>
                  <a:cubicBezTo>
                    <a:pt x="1" y="298"/>
                    <a:pt x="96" y="381"/>
                    <a:pt x="191" y="381"/>
                  </a:cubicBezTo>
                  <a:lnTo>
                    <a:pt x="299" y="381"/>
                  </a:lnTo>
                  <a:lnTo>
                    <a:pt x="406" y="774"/>
                  </a:lnTo>
                  <a:cubicBezTo>
                    <a:pt x="477" y="1060"/>
                    <a:pt x="775" y="1274"/>
                    <a:pt x="1072" y="1274"/>
                  </a:cubicBezTo>
                  <a:lnTo>
                    <a:pt x="10216" y="1274"/>
                  </a:lnTo>
                  <a:cubicBezTo>
                    <a:pt x="10514" y="1274"/>
                    <a:pt x="10812" y="1060"/>
                    <a:pt x="10883" y="774"/>
                  </a:cubicBezTo>
                  <a:lnTo>
                    <a:pt x="10990" y="381"/>
                  </a:lnTo>
                  <a:lnTo>
                    <a:pt x="11098" y="381"/>
                  </a:lnTo>
                  <a:cubicBezTo>
                    <a:pt x="11193" y="381"/>
                    <a:pt x="11288" y="298"/>
                    <a:pt x="11288" y="191"/>
                  </a:cubicBezTo>
                  <a:cubicBezTo>
                    <a:pt x="11288" y="83"/>
                    <a:pt x="11229" y="0"/>
                    <a:pt x="111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5" name="Google Shape;10705;p60"/>
            <p:cNvSpPr/>
            <p:nvPr/>
          </p:nvSpPr>
          <p:spPr>
            <a:xfrm>
              <a:off x="2657289" y="1641983"/>
              <a:ext cx="64833" cy="73935"/>
            </a:xfrm>
            <a:custGeom>
              <a:avLst/>
              <a:gdLst/>
              <a:ahLst/>
              <a:cxnLst/>
              <a:rect l="l" t="t" r="r" b="b"/>
              <a:pathLst>
                <a:path w="2037" h="2323" extrusionOk="0">
                  <a:moveTo>
                    <a:pt x="1584" y="382"/>
                  </a:moveTo>
                  <a:lnTo>
                    <a:pt x="1584" y="1429"/>
                  </a:lnTo>
                  <a:cubicBezTo>
                    <a:pt x="1584" y="1596"/>
                    <a:pt x="1596" y="1751"/>
                    <a:pt x="1620" y="1929"/>
                  </a:cubicBezTo>
                  <a:lnTo>
                    <a:pt x="1596" y="1929"/>
                  </a:lnTo>
                  <a:cubicBezTo>
                    <a:pt x="929" y="1929"/>
                    <a:pt x="382" y="1382"/>
                    <a:pt x="382" y="715"/>
                  </a:cubicBezTo>
                  <a:cubicBezTo>
                    <a:pt x="382" y="596"/>
                    <a:pt x="394" y="489"/>
                    <a:pt x="429" y="382"/>
                  </a:cubicBezTo>
                  <a:close/>
                  <a:moveTo>
                    <a:pt x="298" y="1"/>
                  </a:moveTo>
                  <a:cubicBezTo>
                    <a:pt x="215" y="1"/>
                    <a:pt x="144" y="48"/>
                    <a:pt x="120" y="120"/>
                  </a:cubicBezTo>
                  <a:cubicBezTo>
                    <a:pt x="37" y="310"/>
                    <a:pt x="13" y="513"/>
                    <a:pt x="13" y="703"/>
                  </a:cubicBezTo>
                  <a:cubicBezTo>
                    <a:pt x="1" y="1596"/>
                    <a:pt x="727" y="2322"/>
                    <a:pt x="1608" y="2322"/>
                  </a:cubicBezTo>
                  <a:lnTo>
                    <a:pt x="1846" y="2322"/>
                  </a:lnTo>
                  <a:cubicBezTo>
                    <a:pt x="1906" y="2322"/>
                    <a:pt x="1942" y="2298"/>
                    <a:pt x="1989" y="2251"/>
                  </a:cubicBezTo>
                  <a:cubicBezTo>
                    <a:pt x="2025" y="2203"/>
                    <a:pt x="2037" y="2144"/>
                    <a:pt x="2037" y="2084"/>
                  </a:cubicBezTo>
                  <a:cubicBezTo>
                    <a:pt x="1989" y="1870"/>
                    <a:pt x="1977" y="1656"/>
                    <a:pt x="1977" y="1429"/>
                  </a:cubicBezTo>
                  <a:lnTo>
                    <a:pt x="1977" y="191"/>
                  </a:lnTo>
                  <a:cubicBezTo>
                    <a:pt x="1977" y="84"/>
                    <a:pt x="1882"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6" name="Google Shape;10706;p60"/>
            <p:cNvSpPr/>
            <p:nvPr/>
          </p:nvSpPr>
          <p:spPr>
            <a:xfrm>
              <a:off x="2633037" y="1617730"/>
              <a:ext cx="325945" cy="195198"/>
            </a:xfrm>
            <a:custGeom>
              <a:avLst/>
              <a:gdLst/>
              <a:ahLst/>
              <a:cxnLst/>
              <a:rect l="l" t="t" r="r" b="b"/>
              <a:pathLst>
                <a:path w="10241" h="6133" extrusionOk="0">
                  <a:moveTo>
                    <a:pt x="9847" y="393"/>
                  </a:moveTo>
                  <a:lnTo>
                    <a:pt x="9847" y="2203"/>
                  </a:lnTo>
                  <a:cubicBezTo>
                    <a:pt x="9847" y="4168"/>
                    <a:pt x="8252" y="5763"/>
                    <a:pt x="6287" y="5763"/>
                  </a:cubicBezTo>
                  <a:cubicBezTo>
                    <a:pt x="4859" y="5763"/>
                    <a:pt x="3573" y="4918"/>
                    <a:pt x="3013" y="3584"/>
                  </a:cubicBezTo>
                  <a:cubicBezTo>
                    <a:pt x="2989" y="3513"/>
                    <a:pt x="2918" y="3465"/>
                    <a:pt x="2834" y="3465"/>
                  </a:cubicBezTo>
                  <a:lnTo>
                    <a:pt x="2382" y="3465"/>
                  </a:lnTo>
                  <a:cubicBezTo>
                    <a:pt x="1287" y="3465"/>
                    <a:pt x="394" y="2572"/>
                    <a:pt x="394" y="1489"/>
                  </a:cubicBezTo>
                  <a:cubicBezTo>
                    <a:pt x="382" y="1096"/>
                    <a:pt x="489" y="715"/>
                    <a:pt x="703" y="393"/>
                  </a:cubicBezTo>
                  <a:lnTo>
                    <a:pt x="8823" y="393"/>
                  </a:lnTo>
                  <a:lnTo>
                    <a:pt x="8823" y="1215"/>
                  </a:lnTo>
                  <a:cubicBezTo>
                    <a:pt x="8823" y="1310"/>
                    <a:pt x="8919" y="1405"/>
                    <a:pt x="9014" y="1405"/>
                  </a:cubicBezTo>
                  <a:cubicBezTo>
                    <a:pt x="9121" y="1405"/>
                    <a:pt x="9204" y="1310"/>
                    <a:pt x="9204" y="1215"/>
                  </a:cubicBezTo>
                  <a:lnTo>
                    <a:pt x="9204" y="393"/>
                  </a:lnTo>
                  <a:close/>
                  <a:moveTo>
                    <a:pt x="620" y="1"/>
                  </a:moveTo>
                  <a:cubicBezTo>
                    <a:pt x="560" y="1"/>
                    <a:pt x="501" y="36"/>
                    <a:pt x="477" y="84"/>
                  </a:cubicBezTo>
                  <a:cubicBezTo>
                    <a:pt x="179" y="477"/>
                    <a:pt x="25" y="977"/>
                    <a:pt x="25" y="1465"/>
                  </a:cubicBezTo>
                  <a:cubicBezTo>
                    <a:pt x="1" y="2787"/>
                    <a:pt x="1060" y="3846"/>
                    <a:pt x="2370" y="3846"/>
                  </a:cubicBezTo>
                  <a:lnTo>
                    <a:pt x="2704" y="3846"/>
                  </a:lnTo>
                  <a:cubicBezTo>
                    <a:pt x="3346" y="5239"/>
                    <a:pt x="4751" y="6132"/>
                    <a:pt x="6299" y="6132"/>
                  </a:cubicBezTo>
                  <a:cubicBezTo>
                    <a:pt x="8466" y="6132"/>
                    <a:pt x="10240" y="4370"/>
                    <a:pt x="10240" y="2191"/>
                  </a:cubicBezTo>
                  <a:lnTo>
                    <a:pt x="10240" y="203"/>
                  </a:lnTo>
                  <a:cubicBezTo>
                    <a:pt x="10240" y="96"/>
                    <a:pt x="10145" y="1"/>
                    <a:pt x="100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7" name="Google Shape;10707;p60"/>
            <p:cNvSpPr/>
            <p:nvPr/>
          </p:nvSpPr>
          <p:spPr>
            <a:xfrm>
              <a:off x="2826293" y="1674574"/>
              <a:ext cx="99334" cy="106145"/>
            </a:xfrm>
            <a:custGeom>
              <a:avLst/>
              <a:gdLst/>
              <a:ahLst/>
              <a:cxnLst/>
              <a:rect l="l" t="t" r="r" b="b"/>
              <a:pathLst>
                <a:path w="3121" h="3335" extrusionOk="0">
                  <a:moveTo>
                    <a:pt x="2930" y="0"/>
                  </a:moveTo>
                  <a:cubicBezTo>
                    <a:pt x="2823" y="0"/>
                    <a:pt x="2739" y="96"/>
                    <a:pt x="2739" y="203"/>
                  </a:cubicBezTo>
                  <a:lnTo>
                    <a:pt x="2739" y="417"/>
                  </a:lnTo>
                  <a:cubicBezTo>
                    <a:pt x="2739" y="1822"/>
                    <a:pt x="1596" y="2965"/>
                    <a:pt x="191" y="2965"/>
                  </a:cubicBezTo>
                  <a:cubicBezTo>
                    <a:pt x="84" y="2965"/>
                    <a:pt x="1" y="3060"/>
                    <a:pt x="1" y="3156"/>
                  </a:cubicBezTo>
                  <a:cubicBezTo>
                    <a:pt x="1" y="3263"/>
                    <a:pt x="96" y="3334"/>
                    <a:pt x="203" y="3334"/>
                  </a:cubicBezTo>
                  <a:cubicBezTo>
                    <a:pt x="1811" y="3334"/>
                    <a:pt x="3120" y="2025"/>
                    <a:pt x="3120" y="417"/>
                  </a:cubicBezTo>
                  <a:lnTo>
                    <a:pt x="3120" y="203"/>
                  </a:lnTo>
                  <a:cubicBezTo>
                    <a:pt x="3120" y="96"/>
                    <a:pt x="3037"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08" name="Google Shape;10708;p60"/>
          <p:cNvGrpSpPr/>
          <p:nvPr/>
        </p:nvGrpSpPr>
        <p:grpSpPr>
          <a:xfrm>
            <a:off x="6675256" y="1516169"/>
            <a:ext cx="327823" cy="357009"/>
            <a:chOff x="6675256" y="1516169"/>
            <a:chExt cx="327823" cy="357009"/>
          </a:xfrm>
        </p:grpSpPr>
        <p:sp>
          <p:nvSpPr>
            <p:cNvPr id="10709" name="Google Shape;10709;p60"/>
            <p:cNvSpPr/>
            <p:nvPr/>
          </p:nvSpPr>
          <p:spPr>
            <a:xfrm>
              <a:off x="6675256" y="1516169"/>
              <a:ext cx="111078" cy="188737"/>
            </a:xfrm>
            <a:custGeom>
              <a:avLst/>
              <a:gdLst/>
              <a:ahLst/>
              <a:cxnLst/>
              <a:rect l="l" t="t" r="r" b="b"/>
              <a:pathLst>
                <a:path w="3490" h="5930" extrusionOk="0">
                  <a:moveTo>
                    <a:pt x="1703" y="334"/>
                  </a:moveTo>
                  <a:cubicBezTo>
                    <a:pt x="2001" y="334"/>
                    <a:pt x="2239" y="548"/>
                    <a:pt x="2239" y="786"/>
                  </a:cubicBezTo>
                  <a:lnTo>
                    <a:pt x="2239" y="810"/>
                  </a:lnTo>
                  <a:cubicBezTo>
                    <a:pt x="2072" y="739"/>
                    <a:pt x="1894" y="715"/>
                    <a:pt x="1703" y="715"/>
                  </a:cubicBezTo>
                  <a:cubicBezTo>
                    <a:pt x="1513" y="715"/>
                    <a:pt x="1334" y="751"/>
                    <a:pt x="1168" y="810"/>
                  </a:cubicBezTo>
                  <a:lnTo>
                    <a:pt x="1168" y="786"/>
                  </a:lnTo>
                  <a:cubicBezTo>
                    <a:pt x="1168" y="536"/>
                    <a:pt x="1406" y="334"/>
                    <a:pt x="1703" y="334"/>
                  </a:cubicBezTo>
                  <a:close/>
                  <a:moveTo>
                    <a:pt x="1680" y="1037"/>
                  </a:moveTo>
                  <a:cubicBezTo>
                    <a:pt x="2263" y="1037"/>
                    <a:pt x="2739" y="1513"/>
                    <a:pt x="2739" y="2096"/>
                  </a:cubicBezTo>
                  <a:cubicBezTo>
                    <a:pt x="2739" y="2215"/>
                    <a:pt x="2727" y="2322"/>
                    <a:pt x="2680" y="2418"/>
                  </a:cubicBezTo>
                  <a:cubicBezTo>
                    <a:pt x="2215" y="1941"/>
                    <a:pt x="1406" y="1763"/>
                    <a:pt x="1358" y="1751"/>
                  </a:cubicBezTo>
                  <a:cubicBezTo>
                    <a:pt x="1346" y="1748"/>
                    <a:pt x="1334" y="1746"/>
                    <a:pt x="1321" y="1746"/>
                  </a:cubicBezTo>
                  <a:cubicBezTo>
                    <a:pt x="1283" y="1746"/>
                    <a:pt x="1245" y="1760"/>
                    <a:pt x="1227" y="1787"/>
                  </a:cubicBezTo>
                  <a:cubicBezTo>
                    <a:pt x="1179" y="1810"/>
                    <a:pt x="1168" y="1858"/>
                    <a:pt x="1168" y="1918"/>
                  </a:cubicBezTo>
                  <a:cubicBezTo>
                    <a:pt x="1168" y="1929"/>
                    <a:pt x="1144" y="2037"/>
                    <a:pt x="1025" y="2156"/>
                  </a:cubicBezTo>
                  <a:cubicBezTo>
                    <a:pt x="965" y="2215"/>
                    <a:pt x="965" y="2322"/>
                    <a:pt x="1025" y="2394"/>
                  </a:cubicBezTo>
                  <a:cubicBezTo>
                    <a:pt x="1053" y="2428"/>
                    <a:pt x="1092" y="2443"/>
                    <a:pt x="1133" y="2443"/>
                  </a:cubicBezTo>
                  <a:cubicBezTo>
                    <a:pt x="1178" y="2443"/>
                    <a:pt x="1225" y="2425"/>
                    <a:pt x="1263" y="2394"/>
                  </a:cubicBezTo>
                  <a:cubicBezTo>
                    <a:pt x="1358" y="2299"/>
                    <a:pt x="1418" y="2215"/>
                    <a:pt x="1441" y="2120"/>
                  </a:cubicBezTo>
                  <a:cubicBezTo>
                    <a:pt x="1727" y="2215"/>
                    <a:pt x="2299" y="2406"/>
                    <a:pt x="2549" y="2775"/>
                  </a:cubicBezTo>
                  <a:cubicBezTo>
                    <a:pt x="2501" y="3192"/>
                    <a:pt x="2132" y="3513"/>
                    <a:pt x="1703" y="3513"/>
                  </a:cubicBezTo>
                  <a:cubicBezTo>
                    <a:pt x="1239" y="3513"/>
                    <a:pt x="870" y="3168"/>
                    <a:pt x="822" y="2715"/>
                  </a:cubicBezTo>
                  <a:cubicBezTo>
                    <a:pt x="822" y="2691"/>
                    <a:pt x="810" y="2680"/>
                    <a:pt x="787" y="2644"/>
                  </a:cubicBezTo>
                  <a:cubicBezTo>
                    <a:pt x="691" y="2477"/>
                    <a:pt x="632" y="2287"/>
                    <a:pt x="632" y="2096"/>
                  </a:cubicBezTo>
                  <a:cubicBezTo>
                    <a:pt x="632" y="1513"/>
                    <a:pt x="1108" y="1037"/>
                    <a:pt x="1680" y="1037"/>
                  </a:cubicBezTo>
                  <a:close/>
                  <a:moveTo>
                    <a:pt x="2061" y="3775"/>
                  </a:moveTo>
                  <a:lnTo>
                    <a:pt x="2061" y="3954"/>
                  </a:lnTo>
                  <a:cubicBezTo>
                    <a:pt x="2061" y="4013"/>
                    <a:pt x="2072" y="4073"/>
                    <a:pt x="2108" y="4120"/>
                  </a:cubicBezTo>
                  <a:lnTo>
                    <a:pt x="1703" y="4501"/>
                  </a:lnTo>
                  <a:lnTo>
                    <a:pt x="1299" y="4120"/>
                  </a:lnTo>
                  <a:cubicBezTo>
                    <a:pt x="1334" y="4073"/>
                    <a:pt x="1346" y="4013"/>
                    <a:pt x="1346" y="3954"/>
                  </a:cubicBezTo>
                  <a:lnTo>
                    <a:pt x="1346" y="3775"/>
                  </a:lnTo>
                  <a:cubicBezTo>
                    <a:pt x="1465" y="3799"/>
                    <a:pt x="1584" y="3834"/>
                    <a:pt x="1703" y="3834"/>
                  </a:cubicBezTo>
                  <a:cubicBezTo>
                    <a:pt x="1822" y="3834"/>
                    <a:pt x="1953" y="3823"/>
                    <a:pt x="2061" y="3775"/>
                  </a:cubicBezTo>
                  <a:close/>
                  <a:moveTo>
                    <a:pt x="1727" y="1"/>
                  </a:moveTo>
                  <a:cubicBezTo>
                    <a:pt x="1251" y="1"/>
                    <a:pt x="870" y="334"/>
                    <a:pt x="870" y="775"/>
                  </a:cubicBezTo>
                  <a:cubicBezTo>
                    <a:pt x="870" y="846"/>
                    <a:pt x="882" y="906"/>
                    <a:pt x="894" y="977"/>
                  </a:cubicBezTo>
                  <a:cubicBezTo>
                    <a:pt x="560" y="1227"/>
                    <a:pt x="346" y="1632"/>
                    <a:pt x="346" y="2096"/>
                  </a:cubicBezTo>
                  <a:cubicBezTo>
                    <a:pt x="346" y="2334"/>
                    <a:pt x="406" y="2572"/>
                    <a:pt x="537" y="2799"/>
                  </a:cubicBezTo>
                  <a:cubicBezTo>
                    <a:pt x="584" y="3132"/>
                    <a:pt x="775" y="3430"/>
                    <a:pt x="1060" y="3632"/>
                  </a:cubicBezTo>
                  <a:lnTo>
                    <a:pt x="1060" y="3954"/>
                  </a:lnTo>
                  <a:lnTo>
                    <a:pt x="1060" y="3965"/>
                  </a:lnTo>
                  <a:lnTo>
                    <a:pt x="394" y="4299"/>
                  </a:lnTo>
                  <a:cubicBezTo>
                    <a:pt x="156" y="4418"/>
                    <a:pt x="1" y="4656"/>
                    <a:pt x="1" y="4906"/>
                  </a:cubicBezTo>
                  <a:lnTo>
                    <a:pt x="1" y="5775"/>
                  </a:lnTo>
                  <a:cubicBezTo>
                    <a:pt x="1" y="5859"/>
                    <a:pt x="84" y="5930"/>
                    <a:pt x="167" y="5930"/>
                  </a:cubicBezTo>
                  <a:cubicBezTo>
                    <a:pt x="263" y="5930"/>
                    <a:pt x="334" y="5859"/>
                    <a:pt x="334" y="5775"/>
                  </a:cubicBezTo>
                  <a:lnTo>
                    <a:pt x="334" y="4906"/>
                  </a:lnTo>
                  <a:cubicBezTo>
                    <a:pt x="334" y="4775"/>
                    <a:pt x="406" y="4644"/>
                    <a:pt x="525" y="4585"/>
                  </a:cubicBezTo>
                  <a:lnTo>
                    <a:pt x="1072" y="4311"/>
                  </a:lnTo>
                  <a:lnTo>
                    <a:pt x="1584" y="4787"/>
                  </a:lnTo>
                  <a:lnTo>
                    <a:pt x="1584" y="5775"/>
                  </a:lnTo>
                  <a:cubicBezTo>
                    <a:pt x="1584" y="5859"/>
                    <a:pt x="1656" y="5930"/>
                    <a:pt x="1751" y="5930"/>
                  </a:cubicBezTo>
                  <a:cubicBezTo>
                    <a:pt x="1834" y="5930"/>
                    <a:pt x="1906" y="5859"/>
                    <a:pt x="1906" y="5775"/>
                  </a:cubicBezTo>
                  <a:lnTo>
                    <a:pt x="1906" y="4787"/>
                  </a:lnTo>
                  <a:lnTo>
                    <a:pt x="2418" y="4311"/>
                  </a:lnTo>
                  <a:lnTo>
                    <a:pt x="2965" y="4585"/>
                  </a:lnTo>
                  <a:cubicBezTo>
                    <a:pt x="3084" y="4644"/>
                    <a:pt x="3156" y="4763"/>
                    <a:pt x="3156" y="4906"/>
                  </a:cubicBezTo>
                  <a:lnTo>
                    <a:pt x="3156" y="5775"/>
                  </a:lnTo>
                  <a:cubicBezTo>
                    <a:pt x="3156" y="5859"/>
                    <a:pt x="3239" y="5930"/>
                    <a:pt x="3323" y="5930"/>
                  </a:cubicBezTo>
                  <a:cubicBezTo>
                    <a:pt x="3406" y="5930"/>
                    <a:pt x="3489" y="5859"/>
                    <a:pt x="3489" y="5775"/>
                  </a:cubicBezTo>
                  <a:lnTo>
                    <a:pt x="3489" y="4906"/>
                  </a:lnTo>
                  <a:cubicBezTo>
                    <a:pt x="3442" y="4656"/>
                    <a:pt x="3299" y="4418"/>
                    <a:pt x="3073" y="4299"/>
                  </a:cubicBezTo>
                  <a:lnTo>
                    <a:pt x="2406" y="3965"/>
                  </a:lnTo>
                  <a:lnTo>
                    <a:pt x="2406" y="3954"/>
                  </a:lnTo>
                  <a:lnTo>
                    <a:pt x="2406" y="3632"/>
                  </a:lnTo>
                  <a:cubicBezTo>
                    <a:pt x="2668" y="3430"/>
                    <a:pt x="2858" y="3132"/>
                    <a:pt x="2918" y="2799"/>
                  </a:cubicBezTo>
                  <a:cubicBezTo>
                    <a:pt x="3037" y="2584"/>
                    <a:pt x="3120" y="2346"/>
                    <a:pt x="3120" y="2096"/>
                  </a:cubicBezTo>
                  <a:cubicBezTo>
                    <a:pt x="3120" y="1632"/>
                    <a:pt x="2894" y="1227"/>
                    <a:pt x="2561" y="977"/>
                  </a:cubicBezTo>
                  <a:cubicBezTo>
                    <a:pt x="2573" y="917"/>
                    <a:pt x="2596" y="846"/>
                    <a:pt x="2596" y="775"/>
                  </a:cubicBezTo>
                  <a:cubicBezTo>
                    <a:pt x="2596" y="334"/>
                    <a:pt x="220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0" name="Google Shape;10710;p60"/>
            <p:cNvSpPr/>
            <p:nvPr/>
          </p:nvSpPr>
          <p:spPr>
            <a:xfrm>
              <a:off x="6696103" y="1679507"/>
              <a:ext cx="10630" cy="26162"/>
            </a:xfrm>
            <a:custGeom>
              <a:avLst/>
              <a:gdLst/>
              <a:ahLst/>
              <a:cxnLst/>
              <a:rect l="l" t="t" r="r" b="b"/>
              <a:pathLst>
                <a:path w="334" h="822" extrusionOk="0">
                  <a:moveTo>
                    <a:pt x="167" y="0"/>
                  </a:moveTo>
                  <a:cubicBezTo>
                    <a:pt x="84" y="0"/>
                    <a:pt x="1" y="72"/>
                    <a:pt x="1" y="167"/>
                  </a:cubicBezTo>
                  <a:lnTo>
                    <a:pt x="1" y="655"/>
                  </a:lnTo>
                  <a:cubicBezTo>
                    <a:pt x="1" y="738"/>
                    <a:pt x="84" y="822"/>
                    <a:pt x="167" y="822"/>
                  </a:cubicBezTo>
                  <a:cubicBezTo>
                    <a:pt x="263" y="822"/>
                    <a:pt x="334" y="738"/>
                    <a:pt x="334" y="65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1" name="Google Shape;10711;p60"/>
            <p:cNvSpPr/>
            <p:nvPr/>
          </p:nvSpPr>
          <p:spPr>
            <a:xfrm>
              <a:off x="6752183" y="1679507"/>
              <a:ext cx="10280" cy="26162"/>
            </a:xfrm>
            <a:custGeom>
              <a:avLst/>
              <a:gdLst/>
              <a:ahLst/>
              <a:cxnLst/>
              <a:rect l="l" t="t" r="r" b="b"/>
              <a:pathLst>
                <a:path w="323" h="822" extrusionOk="0">
                  <a:moveTo>
                    <a:pt x="167" y="0"/>
                  </a:moveTo>
                  <a:cubicBezTo>
                    <a:pt x="72" y="0"/>
                    <a:pt x="1" y="72"/>
                    <a:pt x="1" y="167"/>
                  </a:cubicBezTo>
                  <a:lnTo>
                    <a:pt x="1" y="655"/>
                  </a:lnTo>
                  <a:cubicBezTo>
                    <a:pt x="1" y="738"/>
                    <a:pt x="72" y="822"/>
                    <a:pt x="167" y="822"/>
                  </a:cubicBezTo>
                  <a:cubicBezTo>
                    <a:pt x="251" y="822"/>
                    <a:pt x="322" y="738"/>
                    <a:pt x="322" y="655"/>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2" name="Google Shape;10712;p60"/>
            <p:cNvSpPr/>
            <p:nvPr/>
          </p:nvSpPr>
          <p:spPr>
            <a:xfrm>
              <a:off x="6919310" y="1734060"/>
              <a:ext cx="45131" cy="15946"/>
            </a:xfrm>
            <a:custGeom>
              <a:avLst/>
              <a:gdLst/>
              <a:ahLst/>
              <a:cxnLst/>
              <a:rect l="l" t="t" r="r" b="b"/>
              <a:pathLst>
                <a:path w="1418" h="501" extrusionOk="0">
                  <a:moveTo>
                    <a:pt x="167" y="1"/>
                  </a:moveTo>
                  <a:cubicBezTo>
                    <a:pt x="72" y="1"/>
                    <a:pt x="0" y="72"/>
                    <a:pt x="0" y="156"/>
                  </a:cubicBezTo>
                  <a:cubicBezTo>
                    <a:pt x="0" y="251"/>
                    <a:pt x="72" y="322"/>
                    <a:pt x="167" y="322"/>
                  </a:cubicBezTo>
                  <a:cubicBezTo>
                    <a:pt x="346" y="322"/>
                    <a:pt x="881" y="358"/>
                    <a:pt x="1143" y="489"/>
                  </a:cubicBezTo>
                  <a:cubicBezTo>
                    <a:pt x="1179" y="501"/>
                    <a:pt x="1191" y="501"/>
                    <a:pt x="1227" y="501"/>
                  </a:cubicBezTo>
                  <a:cubicBezTo>
                    <a:pt x="1286" y="501"/>
                    <a:pt x="1346" y="477"/>
                    <a:pt x="1370" y="417"/>
                  </a:cubicBezTo>
                  <a:cubicBezTo>
                    <a:pt x="1417" y="334"/>
                    <a:pt x="1382" y="239"/>
                    <a:pt x="1298" y="191"/>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3" name="Google Shape;10713;p60"/>
            <p:cNvSpPr/>
            <p:nvPr/>
          </p:nvSpPr>
          <p:spPr>
            <a:xfrm>
              <a:off x="6879907" y="1706020"/>
              <a:ext cx="123172" cy="167158"/>
            </a:xfrm>
            <a:custGeom>
              <a:avLst/>
              <a:gdLst/>
              <a:ahLst/>
              <a:cxnLst/>
              <a:rect l="l" t="t" r="r" b="b"/>
              <a:pathLst>
                <a:path w="3870" h="5252" extrusionOk="0">
                  <a:moveTo>
                    <a:pt x="3001" y="310"/>
                  </a:moveTo>
                  <a:lnTo>
                    <a:pt x="3001" y="989"/>
                  </a:lnTo>
                  <a:cubicBezTo>
                    <a:pt x="3001" y="1096"/>
                    <a:pt x="2965" y="1215"/>
                    <a:pt x="2917" y="1310"/>
                  </a:cubicBezTo>
                  <a:lnTo>
                    <a:pt x="2834" y="1477"/>
                  </a:lnTo>
                  <a:cubicBezTo>
                    <a:pt x="2822" y="1501"/>
                    <a:pt x="2822" y="1513"/>
                    <a:pt x="2822" y="1549"/>
                  </a:cubicBezTo>
                  <a:lnTo>
                    <a:pt x="2822" y="1906"/>
                  </a:lnTo>
                  <a:cubicBezTo>
                    <a:pt x="2822" y="2144"/>
                    <a:pt x="2727" y="2370"/>
                    <a:pt x="2548" y="2537"/>
                  </a:cubicBezTo>
                  <a:cubicBezTo>
                    <a:pt x="2381" y="2727"/>
                    <a:pt x="2167" y="2811"/>
                    <a:pt x="1905" y="2811"/>
                  </a:cubicBezTo>
                  <a:cubicBezTo>
                    <a:pt x="1429" y="2799"/>
                    <a:pt x="1048" y="2382"/>
                    <a:pt x="1048" y="1870"/>
                  </a:cubicBezTo>
                  <a:lnTo>
                    <a:pt x="1048" y="1560"/>
                  </a:lnTo>
                  <a:cubicBezTo>
                    <a:pt x="1048" y="1525"/>
                    <a:pt x="1048" y="1513"/>
                    <a:pt x="1036" y="1489"/>
                  </a:cubicBezTo>
                  <a:lnTo>
                    <a:pt x="929" y="1275"/>
                  </a:lnTo>
                  <a:cubicBezTo>
                    <a:pt x="893" y="1203"/>
                    <a:pt x="869" y="1108"/>
                    <a:pt x="869" y="1037"/>
                  </a:cubicBezTo>
                  <a:lnTo>
                    <a:pt x="869" y="1025"/>
                  </a:lnTo>
                  <a:cubicBezTo>
                    <a:pt x="869" y="632"/>
                    <a:pt x="1179" y="310"/>
                    <a:pt x="1584" y="310"/>
                  </a:cubicBezTo>
                  <a:close/>
                  <a:moveTo>
                    <a:pt x="2310" y="3084"/>
                  </a:moveTo>
                  <a:cubicBezTo>
                    <a:pt x="2310" y="3120"/>
                    <a:pt x="2322" y="3180"/>
                    <a:pt x="2346" y="3227"/>
                  </a:cubicBezTo>
                  <a:lnTo>
                    <a:pt x="2191" y="3358"/>
                  </a:lnTo>
                  <a:cubicBezTo>
                    <a:pt x="2119" y="3430"/>
                    <a:pt x="2024" y="3465"/>
                    <a:pt x="1941" y="3465"/>
                  </a:cubicBezTo>
                  <a:cubicBezTo>
                    <a:pt x="1846" y="3465"/>
                    <a:pt x="1750" y="3418"/>
                    <a:pt x="1679" y="3358"/>
                  </a:cubicBezTo>
                  <a:lnTo>
                    <a:pt x="1548" y="3227"/>
                  </a:lnTo>
                  <a:cubicBezTo>
                    <a:pt x="1560" y="3180"/>
                    <a:pt x="1584" y="3120"/>
                    <a:pt x="1584" y="3084"/>
                  </a:cubicBezTo>
                  <a:cubicBezTo>
                    <a:pt x="1679" y="3108"/>
                    <a:pt x="1786" y="3132"/>
                    <a:pt x="1905" y="3132"/>
                  </a:cubicBezTo>
                  <a:lnTo>
                    <a:pt x="1953" y="3132"/>
                  </a:lnTo>
                  <a:cubicBezTo>
                    <a:pt x="2072" y="3132"/>
                    <a:pt x="2203" y="3120"/>
                    <a:pt x="2310" y="3084"/>
                  </a:cubicBezTo>
                  <a:close/>
                  <a:moveTo>
                    <a:pt x="1584" y="1"/>
                  </a:moveTo>
                  <a:cubicBezTo>
                    <a:pt x="1000" y="1"/>
                    <a:pt x="536" y="465"/>
                    <a:pt x="536" y="1037"/>
                  </a:cubicBezTo>
                  <a:lnTo>
                    <a:pt x="536" y="1060"/>
                  </a:lnTo>
                  <a:cubicBezTo>
                    <a:pt x="536" y="1191"/>
                    <a:pt x="572" y="1322"/>
                    <a:pt x="631" y="1441"/>
                  </a:cubicBezTo>
                  <a:lnTo>
                    <a:pt x="715" y="1608"/>
                  </a:lnTo>
                  <a:lnTo>
                    <a:pt x="715" y="1870"/>
                  </a:lnTo>
                  <a:cubicBezTo>
                    <a:pt x="715" y="2311"/>
                    <a:pt x="929" y="2680"/>
                    <a:pt x="1238" y="2918"/>
                  </a:cubicBezTo>
                  <a:lnTo>
                    <a:pt x="1238" y="3061"/>
                  </a:lnTo>
                  <a:cubicBezTo>
                    <a:pt x="1238" y="3156"/>
                    <a:pt x="1179" y="3227"/>
                    <a:pt x="1107" y="3239"/>
                  </a:cubicBezTo>
                  <a:lnTo>
                    <a:pt x="512" y="3406"/>
                  </a:lnTo>
                  <a:cubicBezTo>
                    <a:pt x="214" y="3501"/>
                    <a:pt x="0" y="3763"/>
                    <a:pt x="0" y="4073"/>
                  </a:cubicBezTo>
                  <a:lnTo>
                    <a:pt x="0" y="5085"/>
                  </a:lnTo>
                  <a:cubicBezTo>
                    <a:pt x="0" y="5180"/>
                    <a:pt x="83" y="5251"/>
                    <a:pt x="167" y="5251"/>
                  </a:cubicBezTo>
                  <a:cubicBezTo>
                    <a:pt x="250" y="5251"/>
                    <a:pt x="334" y="5180"/>
                    <a:pt x="334" y="5085"/>
                  </a:cubicBezTo>
                  <a:lnTo>
                    <a:pt x="334" y="4073"/>
                  </a:lnTo>
                  <a:cubicBezTo>
                    <a:pt x="334" y="3918"/>
                    <a:pt x="429" y="3775"/>
                    <a:pt x="595" y="3739"/>
                  </a:cubicBezTo>
                  <a:lnTo>
                    <a:pt x="1191" y="3573"/>
                  </a:lnTo>
                  <a:cubicBezTo>
                    <a:pt x="1238" y="3561"/>
                    <a:pt x="1298" y="3525"/>
                    <a:pt x="1346" y="3513"/>
                  </a:cubicBezTo>
                  <a:lnTo>
                    <a:pt x="1441" y="3620"/>
                  </a:lnTo>
                  <a:cubicBezTo>
                    <a:pt x="1584" y="3751"/>
                    <a:pt x="1738" y="3823"/>
                    <a:pt x="1941" y="3823"/>
                  </a:cubicBezTo>
                  <a:cubicBezTo>
                    <a:pt x="2131" y="3823"/>
                    <a:pt x="2298" y="3751"/>
                    <a:pt x="2429" y="3620"/>
                  </a:cubicBezTo>
                  <a:lnTo>
                    <a:pt x="2536" y="3513"/>
                  </a:lnTo>
                  <a:cubicBezTo>
                    <a:pt x="2572" y="3537"/>
                    <a:pt x="2620" y="3561"/>
                    <a:pt x="2679" y="3573"/>
                  </a:cubicBezTo>
                  <a:lnTo>
                    <a:pt x="3274" y="3739"/>
                  </a:lnTo>
                  <a:cubicBezTo>
                    <a:pt x="3429" y="3775"/>
                    <a:pt x="3548" y="3930"/>
                    <a:pt x="3548" y="4073"/>
                  </a:cubicBezTo>
                  <a:lnTo>
                    <a:pt x="3548" y="5085"/>
                  </a:lnTo>
                  <a:cubicBezTo>
                    <a:pt x="3548" y="5180"/>
                    <a:pt x="3620" y="5251"/>
                    <a:pt x="3703" y="5251"/>
                  </a:cubicBezTo>
                  <a:cubicBezTo>
                    <a:pt x="3798" y="5251"/>
                    <a:pt x="3870" y="5180"/>
                    <a:pt x="3870" y="5085"/>
                  </a:cubicBezTo>
                  <a:lnTo>
                    <a:pt x="3870" y="4073"/>
                  </a:lnTo>
                  <a:cubicBezTo>
                    <a:pt x="3858" y="3763"/>
                    <a:pt x="3655" y="3501"/>
                    <a:pt x="3358" y="3406"/>
                  </a:cubicBezTo>
                  <a:lnTo>
                    <a:pt x="2762" y="3239"/>
                  </a:lnTo>
                  <a:cubicBezTo>
                    <a:pt x="2679" y="3215"/>
                    <a:pt x="2620" y="3156"/>
                    <a:pt x="2620" y="3061"/>
                  </a:cubicBezTo>
                  <a:lnTo>
                    <a:pt x="2620" y="2930"/>
                  </a:lnTo>
                  <a:cubicBezTo>
                    <a:pt x="2679" y="2882"/>
                    <a:pt x="2727" y="2858"/>
                    <a:pt x="2786" y="2799"/>
                  </a:cubicBezTo>
                  <a:cubicBezTo>
                    <a:pt x="3024" y="2561"/>
                    <a:pt x="3155" y="2263"/>
                    <a:pt x="3155" y="1918"/>
                  </a:cubicBezTo>
                  <a:lnTo>
                    <a:pt x="3155" y="1608"/>
                  </a:lnTo>
                  <a:lnTo>
                    <a:pt x="3215" y="1477"/>
                  </a:lnTo>
                  <a:cubicBezTo>
                    <a:pt x="3298" y="1322"/>
                    <a:pt x="3322" y="1179"/>
                    <a:pt x="3322" y="1013"/>
                  </a:cubicBezTo>
                  <a:lnTo>
                    <a:pt x="3322" y="167"/>
                  </a:lnTo>
                  <a:cubicBezTo>
                    <a:pt x="3322" y="72"/>
                    <a:pt x="3251" y="1"/>
                    <a:pt x="3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4" name="Google Shape;10714;p60"/>
            <p:cNvSpPr/>
            <p:nvPr/>
          </p:nvSpPr>
          <p:spPr>
            <a:xfrm>
              <a:off x="6902632" y="1840173"/>
              <a:ext cx="10630" cy="32623"/>
            </a:xfrm>
            <a:custGeom>
              <a:avLst/>
              <a:gdLst/>
              <a:ahLst/>
              <a:cxnLst/>
              <a:rect l="l" t="t" r="r" b="b"/>
              <a:pathLst>
                <a:path w="334" h="1025" extrusionOk="0">
                  <a:moveTo>
                    <a:pt x="167" y="0"/>
                  </a:moveTo>
                  <a:cubicBezTo>
                    <a:pt x="84" y="0"/>
                    <a:pt x="1" y="72"/>
                    <a:pt x="1" y="155"/>
                  </a:cubicBezTo>
                  <a:lnTo>
                    <a:pt x="1" y="858"/>
                  </a:lnTo>
                  <a:cubicBezTo>
                    <a:pt x="1" y="953"/>
                    <a:pt x="84" y="1024"/>
                    <a:pt x="167" y="1024"/>
                  </a:cubicBezTo>
                  <a:cubicBezTo>
                    <a:pt x="262" y="1024"/>
                    <a:pt x="334" y="953"/>
                    <a:pt x="334" y="85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5" name="Google Shape;10715;p60"/>
            <p:cNvSpPr/>
            <p:nvPr/>
          </p:nvSpPr>
          <p:spPr>
            <a:xfrm>
              <a:off x="6970075" y="1840173"/>
              <a:ext cx="10280" cy="32623"/>
            </a:xfrm>
            <a:custGeom>
              <a:avLst/>
              <a:gdLst/>
              <a:ahLst/>
              <a:cxnLst/>
              <a:rect l="l" t="t" r="r" b="b"/>
              <a:pathLst>
                <a:path w="323" h="1025" extrusionOk="0">
                  <a:moveTo>
                    <a:pt x="168" y="0"/>
                  </a:moveTo>
                  <a:cubicBezTo>
                    <a:pt x="72" y="0"/>
                    <a:pt x="1" y="72"/>
                    <a:pt x="1" y="155"/>
                  </a:cubicBezTo>
                  <a:lnTo>
                    <a:pt x="1" y="858"/>
                  </a:lnTo>
                  <a:cubicBezTo>
                    <a:pt x="1" y="953"/>
                    <a:pt x="72" y="1024"/>
                    <a:pt x="168" y="1024"/>
                  </a:cubicBezTo>
                  <a:cubicBezTo>
                    <a:pt x="251" y="1024"/>
                    <a:pt x="322" y="953"/>
                    <a:pt x="322" y="858"/>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6" name="Google Shape;10716;p60"/>
            <p:cNvSpPr/>
            <p:nvPr/>
          </p:nvSpPr>
          <p:spPr>
            <a:xfrm>
              <a:off x="6772267" y="1594241"/>
              <a:ext cx="182690" cy="100830"/>
            </a:xfrm>
            <a:custGeom>
              <a:avLst/>
              <a:gdLst/>
              <a:ahLst/>
              <a:cxnLst/>
              <a:rect l="l" t="t" r="r" b="b"/>
              <a:pathLst>
                <a:path w="5740" h="3168" extrusionOk="0">
                  <a:moveTo>
                    <a:pt x="2001" y="0"/>
                  </a:moveTo>
                  <a:cubicBezTo>
                    <a:pt x="1334" y="0"/>
                    <a:pt x="679" y="191"/>
                    <a:pt x="108" y="548"/>
                  </a:cubicBezTo>
                  <a:cubicBezTo>
                    <a:pt x="36" y="596"/>
                    <a:pt x="1" y="691"/>
                    <a:pt x="72" y="774"/>
                  </a:cubicBezTo>
                  <a:cubicBezTo>
                    <a:pt x="95" y="820"/>
                    <a:pt x="148" y="847"/>
                    <a:pt x="202" y="847"/>
                  </a:cubicBezTo>
                  <a:cubicBezTo>
                    <a:pt x="231" y="847"/>
                    <a:pt x="261" y="839"/>
                    <a:pt x="287" y="822"/>
                  </a:cubicBezTo>
                  <a:cubicBezTo>
                    <a:pt x="798" y="489"/>
                    <a:pt x="1394" y="310"/>
                    <a:pt x="2001" y="310"/>
                  </a:cubicBezTo>
                  <a:cubicBezTo>
                    <a:pt x="2763" y="310"/>
                    <a:pt x="3489" y="584"/>
                    <a:pt x="4073" y="1084"/>
                  </a:cubicBezTo>
                  <a:cubicBezTo>
                    <a:pt x="4501" y="1453"/>
                    <a:pt x="4835" y="1953"/>
                    <a:pt x="5013" y="2477"/>
                  </a:cubicBezTo>
                  <a:lnTo>
                    <a:pt x="4739" y="2203"/>
                  </a:lnTo>
                  <a:cubicBezTo>
                    <a:pt x="4710" y="2173"/>
                    <a:pt x="4668" y="2158"/>
                    <a:pt x="4625" y="2158"/>
                  </a:cubicBezTo>
                  <a:cubicBezTo>
                    <a:pt x="4582" y="2158"/>
                    <a:pt x="4537" y="2173"/>
                    <a:pt x="4501" y="2203"/>
                  </a:cubicBezTo>
                  <a:cubicBezTo>
                    <a:pt x="4442" y="2263"/>
                    <a:pt x="4442" y="2370"/>
                    <a:pt x="4501" y="2441"/>
                  </a:cubicBezTo>
                  <a:lnTo>
                    <a:pt x="5168" y="3120"/>
                  </a:lnTo>
                  <a:cubicBezTo>
                    <a:pt x="5204" y="3156"/>
                    <a:pt x="5251" y="3167"/>
                    <a:pt x="5287" y="3167"/>
                  </a:cubicBezTo>
                  <a:lnTo>
                    <a:pt x="5335" y="3167"/>
                  </a:lnTo>
                  <a:cubicBezTo>
                    <a:pt x="5394" y="3156"/>
                    <a:pt x="5442" y="3108"/>
                    <a:pt x="5454" y="3048"/>
                  </a:cubicBezTo>
                  <a:lnTo>
                    <a:pt x="5740" y="2132"/>
                  </a:lnTo>
                  <a:cubicBezTo>
                    <a:pt x="5740" y="2072"/>
                    <a:pt x="5692" y="1977"/>
                    <a:pt x="5609" y="1953"/>
                  </a:cubicBezTo>
                  <a:cubicBezTo>
                    <a:pt x="5589" y="1946"/>
                    <a:pt x="5570" y="1942"/>
                    <a:pt x="5552" y="1942"/>
                  </a:cubicBezTo>
                  <a:cubicBezTo>
                    <a:pt x="5481" y="1942"/>
                    <a:pt x="5423" y="1992"/>
                    <a:pt x="5394" y="2048"/>
                  </a:cubicBezTo>
                  <a:lnTo>
                    <a:pt x="5311" y="2382"/>
                  </a:lnTo>
                  <a:cubicBezTo>
                    <a:pt x="5109" y="1798"/>
                    <a:pt x="4751" y="1262"/>
                    <a:pt x="4275" y="846"/>
                  </a:cubicBezTo>
                  <a:cubicBezTo>
                    <a:pt x="3644" y="298"/>
                    <a:pt x="2834" y="0"/>
                    <a:pt x="2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7" name="Google Shape;10717;p60"/>
            <p:cNvSpPr/>
            <p:nvPr/>
          </p:nvSpPr>
          <p:spPr>
            <a:xfrm>
              <a:off x="6716950" y="1716268"/>
              <a:ext cx="181926" cy="100448"/>
            </a:xfrm>
            <a:custGeom>
              <a:avLst/>
              <a:gdLst/>
              <a:ahLst/>
              <a:cxnLst/>
              <a:rect l="l" t="t" r="r" b="b"/>
              <a:pathLst>
                <a:path w="5716" h="3156" extrusionOk="0">
                  <a:moveTo>
                    <a:pt x="440" y="0"/>
                  </a:moveTo>
                  <a:cubicBezTo>
                    <a:pt x="421" y="0"/>
                    <a:pt x="401" y="4"/>
                    <a:pt x="381" y="12"/>
                  </a:cubicBezTo>
                  <a:cubicBezTo>
                    <a:pt x="322" y="36"/>
                    <a:pt x="274" y="72"/>
                    <a:pt x="262" y="131"/>
                  </a:cubicBezTo>
                  <a:lnTo>
                    <a:pt x="24" y="1060"/>
                  </a:lnTo>
                  <a:cubicBezTo>
                    <a:pt x="0" y="1155"/>
                    <a:pt x="48" y="1238"/>
                    <a:pt x="143" y="1250"/>
                  </a:cubicBezTo>
                  <a:lnTo>
                    <a:pt x="179" y="1250"/>
                  </a:lnTo>
                  <a:cubicBezTo>
                    <a:pt x="262" y="1250"/>
                    <a:pt x="322" y="1203"/>
                    <a:pt x="346" y="1131"/>
                  </a:cubicBezTo>
                  <a:lnTo>
                    <a:pt x="417" y="834"/>
                  </a:lnTo>
                  <a:cubicBezTo>
                    <a:pt x="631" y="1405"/>
                    <a:pt x="977" y="1905"/>
                    <a:pt x="1429" y="2310"/>
                  </a:cubicBezTo>
                  <a:cubicBezTo>
                    <a:pt x="2072" y="2858"/>
                    <a:pt x="2882" y="3155"/>
                    <a:pt x="3715" y="3155"/>
                  </a:cubicBezTo>
                  <a:cubicBezTo>
                    <a:pt x="4382" y="3155"/>
                    <a:pt x="5037" y="2965"/>
                    <a:pt x="5596" y="2608"/>
                  </a:cubicBezTo>
                  <a:cubicBezTo>
                    <a:pt x="5692" y="2560"/>
                    <a:pt x="5715" y="2465"/>
                    <a:pt x="5656" y="2381"/>
                  </a:cubicBezTo>
                  <a:cubicBezTo>
                    <a:pt x="5634" y="2338"/>
                    <a:pt x="5586" y="2312"/>
                    <a:pt x="5535" y="2312"/>
                  </a:cubicBezTo>
                  <a:cubicBezTo>
                    <a:pt x="5503" y="2312"/>
                    <a:pt x="5469" y="2322"/>
                    <a:pt x="5442" y="2346"/>
                  </a:cubicBezTo>
                  <a:cubicBezTo>
                    <a:pt x="4930" y="2667"/>
                    <a:pt x="4334" y="2846"/>
                    <a:pt x="3727" y="2846"/>
                  </a:cubicBezTo>
                  <a:cubicBezTo>
                    <a:pt x="2965" y="2846"/>
                    <a:pt x="2239" y="2572"/>
                    <a:pt x="1655" y="2072"/>
                  </a:cubicBezTo>
                  <a:cubicBezTo>
                    <a:pt x="1227" y="1703"/>
                    <a:pt x="893" y="1203"/>
                    <a:pt x="715" y="679"/>
                  </a:cubicBezTo>
                  <a:lnTo>
                    <a:pt x="715" y="679"/>
                  </a:lnTo>
                  <a:lnTo>
                    <a:pt x="1012" y="953"/>
                  </a:lnTo>
                  <a:cubicBezTo>
                    <a:pt x="1041" y="981"/>
                    <a:pt x="1080" y="996"/>
                    <a:pt x="1121" y="996"/>
                  </a:cubicBezTo>
                  <a:cubicBezTo>
                    <a:pt x="1166" y="996"/>
                    <a:pt x="1213" y="978"/>
                    <a:pt x="1251" y="941"/>
                  </a:cubicBezTo>
                  <a:cubicBezTo>
                    <a:pt x="1310" y="881"/>
                    <a:pt x="1310" y="774"/>
                    <a:pt x="1239" y="703"/>
                  </a:cubicBezTo>
                  <a:lnTo>
                    <a:pt x="536" y="48"/>
                  </a:lnTo>
                  <a:cubicBezTo>
                    <a:pt x="512" y="16"/>
                    <a:pt x="478" y="0"/>
                    <a:pt x="4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18" name="Google Shape;10718;p60"/>
          <p:cNvGrpSpPr/>
          <p:nvPr/>
        </p:nvGrpSpPr>
        <p:grpSpPr>
          <a:xfrm>
            <a:off x="8020159" y="1516551"/>
            <a:ext cx="300897" cy="356627"/>
            <a:chOff x="8020159" y="1516551"/>
            <a:chExt cx="300897" cy="356627"/>
          </a:xfrm>
        </p:grpSpPr>
        <p:sp>
          <p:nvSpPr>
            <p:cNvPr id="10719" name="Google Shape;10719;p60"/>
            <p:cNvSpPr/>
            <p:nvPr/>
          </p:nvSpPr>
          <p:spPr>
            <a:xfrm>
              <a:off x="8126240" y="1669482"/>
              <a:ext cx="88703" cy="30523"/>
            </a:xfrm>
            <a:custGeom>
              <a:avLst/>
              <a:gdLst/>
              <a:ahLst/>
              <a:cxnLst/>
              <a:rect l="l" t="t" r="r" b="b"/>
              <a:pathLst>
                <a:path w="2787" h="959" extrusionOk="0">
                  <a:moveTo>
                    <a:pt x="1144" y="1"/>
                  </a:moveTo>
                  <a:cubicBezTo>
                    <a:pt x="800" y="1"/>
                    <a:pt x="487" y="41"/>
                    <a:pt x="287" y="77"/>
                  </a:cubicBezTo>
                  <a:cubicBezTo>
                    <a:pt x="120" y="101"/>
                    <a:pt x="1" y="244"/>
                    <a:pt x="1" y="411"/>
                  </a:cubicBezTo>
                  <a:lnTo>
                    <a:pt x="1" y="792"/>
                  </a:lnTo>
                  <a:cubicBezTo>
                    <a:pt x="1" y="875"/>
                    <a:pt x="72" y="958"/>
                    <a:pt x="167" y="958"/>
                  </a:cubicBezTo>
                  <a:cubicBezTo>
                    <a:pt x="251" y="958"/>
                    <a:pt x="322" y="875"/>
                    <a:pt x="322" y="792"/>
                  </a:cubicBezTo>
                  <a:lnTo>
                    <a:pt x="322" y="411"/>
                  </a:lnTo>
                  <a:cubicBezTo>
                    <a:pt x="322" y="411"/>
                    <a:pt x="322" y="399"/>
                    <a:pt x="346" y="399"/>
                  </a:cubicBezTo>
                  <a:cubicBezTo>
                    <a:pt x="510" y="379"/>
                    <a:pt x="814" y="344"/>
                    <a:pt x="1164" y="344"/>
                  </a:cubicBezTo>
                  <a:cubicBezTo>
                    <a:pt x="1246" y="344"/>
                    <a:pt x="1331" y="346"/>
                    <a:pt x="1418" y="351"/>
                  </a:cubicBezTo>
                  <a:cubicBezTo>
                    <a:pt x="1918" y="387"/>
                    <a:pt x="2287" y="518"/>
                    <a:pt x="2513" y="744"/>
                  </a:cubicBezTo>
                  <a:cubicBezTo>
                    <a:pt x="2543" y="774"/>
                    <a:pt x="2584" y="789"/>
                    <a:pt x="2628" y="789"/>
                  </a:cubicBezTo>
                  <a:cubicBezTo>
                    <a:pt x="2671" y="789"/>
                    <a:pt x="2715" y="774"/>
                    <a:pt x="2751" y="744"/>
                  </a:cubicBezTo>
                  <a:cubicBezTo>
                    <a:pt x="2787" y="672"/>
                    <a:pt x="2787" y="565"/>
                    <a:pt x="2727" y="494"/>
                  </a:cubicBezTo>
                  <a:cubicBezTo>
                    <a:pt x="2338" y="104"/>
                    <a:pt x="1699" y="1"/>
                    <a:pt x="1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0" name="Google Shape;10720;p60"/>
            <p:cNvSpPr/>
            <p:nvPr/>
          </p:nvSpPr>
          <p:spPr>
            <a:xfrm>
              <a:off x="8069778" y="1621518"/>
              <a:ext cx="200513" cy="251278"/>
            </a:xfrm>
            <a:custGeom>
              <a:avLst/>
              <a:gdLst/>
              <a:ahLst/>
              <a:cxnLst/>
              <a:rect l="l" t="t" r="r" b="b"/>
              <a:pathLst>
                <a:path w="6300" h="7895" extrusionOk="0">
                  <a:moveTo>
                    <a:pt x="4918" y="358"/>
                  </a:moveTo>
                  <a:lnTo>
                    <a:pt x="4918" y="1953"/>
                  </a:lnTo>
                  <a:cubicBezTo>
                    <a:pt x="4918" y="2191"/>
                    <a:pt x="4859" y="2429"/>
                    <a:pt x="4751" y="2644"/>
                  </a:cubicBezTo>
                  <a:cubicBezTo>
                    <a:pt x="4739" y="2656"/>
                    <a:pt x="4739" y="2680"/>
                    <a:pt x="4739" y="2715"/>
                  </a:cubicBezTo>
                  <a:lnTo>
                    <a:pt x="4739" y="3180"/>
                  </a:lnTo>
                  <a:cubicBezTo>
                    <a:pt x="4739" y="3620"/>
                    <a:pt x="4561" y="4037"/>
                    <a:pt x="4227" y="4334"/>
                  </a:cubicBezTo>
                  <a:cubicBezTo>
                    <a:pt x="3935" y="4605"/>
                    <a:pt x="3563" y="4768"/>
                    <a:pt x="3158" y="4768"/>
                  </a:cubicBezTo>
                  <a:cubicBezTo>
                    <a:pt x="3118" y="4768"/>
                    <a:pt x="3077" y="4766"/>
                    <a:pt x="3037" y="4763"/>
                  </a:cubicBezTo>
                  <a:cubicBezTo>
                    <a:pt x="2227" y="4704"/>
                    <a:pt x="1572" y="3977"/>
                    <a:pt x="1572" y="3108"/>
                  </a:cubicBezTo>
                  <a:lnTo>
                    <a:pt x="1572" y="2715"/>
                  </a:lnTo>
                  <a:cubicBezTo>
                    <a:pt x="1572" y="2680"/>
                    <a:pt x="1572" y="2668"/>
                    <a:pt x="1549" y="2644"/>
                  </a:cubicBezTo>
                  <a:cubicBezTo>
                    <a:pt x="1453" y="2418"/>
                    <a:pt x="1394" y="2191"/>
                    <a:pt x="1394" y="1953"/>
                  </a:cubicBezTo>
                  <a:lnTo>
                    <a:pt x="1394" y="1596"/>
                  </a:lnTo>
                  <a:cubicBezTo>
                    <a:pt x="1394" y="905"/>
                    <a:pt x="1941" y="358"/>
                    <a:pt x="2620" y="358"/>
                  </a:cubicBezTo>
                  <a:close/>
                  <a:moveTo>
                    <a:pt x="4049" y="4858"/>
                  </a:moveTo>
                  <a:lnTo>
                    <a:pt x="4049" y="5156"/>
                  </a:lnTo>
                  <a:lnTo>
                    <a:pt x="3156" y="5775"/>
                  </a:lnTo>
                  <a:lnTo>
                    <a:pt x="2263" y="5168"/>
                  </a:lnTo>
                  <a:lnTo>
                    <a:pt x="2263" y="4858"/>
                  </a:lnTo>
                  <a:cubicBezTo>
                    <a:pt x="2489" y="4977"/>
                    <a:pt x="2763" y="5061"/>
                    <a:pt x="3025" y="5073"/>
                  </a:cubicBezTo>
                  <a:lnTo>
                    <a:pt x="3156" y="5073"/>
                  </a:lnTo>
                  <a:cubicBezTo>
                    <a:pt x="3477" y="5073"/>
                    <a:pt x="3775" y="5001"/>
                    <a:pt x="4049" y="4858"/>
                  </a:cubicBezTo>
                  <a:close/>
                  <a:moveTo>
                    <a:pt x="2132" y="5477"/>
                  </a:moveTo>
                  <a:lnTo>
                    <a:pt x="2906" y="6013"/>
                  </a:lnTo>
                  <a:lnTo>
                    <a:pt x="2489" y="6418"/>
                  </a:lnTo>
                  <a:lnTo>
                    <a:pt x="2477" y="6418"/>
                  </a:lnTo>
                  <a:lnTo>
                    <a:pt x="1965" y="5656"/>
                  </a:lnTo>
                  <a:lnTo>
                    <a:pt x="2132" y="5477"/>
                  </a:lnTo>
                  <a:close/>
                  <a:moveTo>
                    <a:pt x="4168" y="5466"/>
                  </a:moveTo>
                  <a:lnTo>
                    <a:pt x="4335" y="5644"/>
                  </a:lnTo>
                  <a:lnTo>
                    <a:pt x="3835" y="6418"/>
                  </a:lnTo>
                  <a:lnTo>
                    <a:pt x="3811" y="6418"/>
                  </a:lnTo>
                  <a:lnTo>
                    <a:pt x="3394" y="6001"/>
                  </a:lnTo>
                  <a:lnTo>
                    <a:pt x="4168" y="5466"/>
                  </a:lnTo>
                  <a:close/>
                  <a:moveTo>
                    <a:pt x="2620" y="1"/>
                  </a:moveTo>
                  <a:cubicBezTo>
                    <a:pt x="1763" y="1"/>
                    <a:pt x="1060" y="703"/>
                    <a:pt x="1060" y="1572"/>
                  </a:cubicBezTo>
                  <a:lnTo>
                    <a:pt x="1060" y="1918"/>
                  </a:lnTo>
                  <a:cubicBezTo>
                    <a:pt x="1060" y="2203"/>
                    <a:pt x="1120" y="2477"/>
                    <a:pt x="1239" y="2727"/>
                  </a:cubicBezTo>
                  <a:lnTo>
                    <a:pt x="1239" y="3096"/>
                  </a:lnTo>
                  <a:cubicBezTo>
                    <a:pt x="1239" y="3703"/>
                    <a:pt x="1513" y="4263"/>
                    <a:pt x="1941" y="4632"/>
                  </a:cubicBezTo>
                  <a:lnTo>
                    <a:pt x="1941" y="5180"/>
                  </a:lnTo>
                  <a:lnTo>
                    <a:pt x="1632" y="5513"/>
                  </a:lnTo>
                  <a:cubicBezTo>
                    <a:pt x="1596" y="5537"/>
                    <a:pt x="1584" y="5585"/>
                    <a:pt x="1584" y="5632"/>
                  </a:cubicBezTo>
                  <a:lnTo>
                    <a:pt x="572" y="6001"/>
                  </a:lnTo>
                  <a:cubicBezTo>
                    <a:pt x="227" y="6120"/>
                    <a:pt x="1" y="6442"/>
                    <a:pt x="1" y="6823"/>
                  </a:cubicBezTo>
                  <a:lnTo>
                    <a:pt x="1" y="7728"/>
                  </a:lnTo>
                  <a:cubicBezTo>
                    <a:pt x="1" y="7823"/>
                    <a:pt x="84" y="7894"/>
                    <a:pt x="167" y="7894"/>
                  </a:cubicBezTo>
                  <a:cubicBezTo>
                    <a:pt x="263" y="7894"/>
                    <a:pt x="334" y="7823"/>
                    <a:pt x="334" y="7728"/>
                  </a:cubicBezTo>
                  <a:lnTo>
                    <a:pt x="334" y="6823"/>
                  </a:lnTo>
                  <a:cubicBezTo>
                    <a:pt x="334" y="6597"/>
                    <a:pt x="477" y="6382"/>
                    <a:pt x="691" y="6311"/>
                  </a:cubicBezTo>
                  <a:lnTo>
                    <a:pt x="1751" y="5930"/>
                  </a:lnTo>
                  <a:lnTo>
                    <a:pt x="2192" y="6597"/>
                  </a:lnTo>
                  <a:cubicBezTo>
                    <a:pt x="2251" y="6680"/>
                    <a:pt x="2346" y="6728"/>
                    <a:pt x="2442" y="6740"/>
                  </a:cubicBezTo>
                  <a:lnTo>
                    <a:pt x="2477" y="6740"/>
                  </a:lnTo>
                  <a:cubicBezTo>
                    <a:pt x="2561" y="6740"/>
                    <a:pt x="2656" y="6716"/>
                    <a:pt x="2715" y="6644"/>
                  </a:cubicBezTo>
                  <a:lnTo>
                    <a:pt x="2977" y="6370"/>
                  </a:lnTo>
                  <a:lnTo>
                    <a:pt x="2977" y="7728"/>
                  </a:lnTo>
                  <a:cubicBezTo>
                    <a:pt x="2977" y="7823"/>
                    <a:pt x="3061" y="7894"/>
                    <a:pt x="3144" y="7894"/>
                  </a:cubicBezTo>
                  <a:cubicBezTo>
                    <a:pt x="3239" y="7894"/>
                    <a:pt x="3311" y="7823"/>
                    <a:pt x="3311" y="7728"/>
                  </a:cubicBezTo>
                  <a:lnTo>
                    <a:pt x="3311" y="6370"/>
                  </a:lnTo>
                  <a:lnTo>
                    <a:pt x="3573" y="6644"/>
                  </a:lnTo>
                  <a:cubicBezTo>
                    <a:pt x="3632" y="6704"/>
                    <a:pt x="3727" y="6740"/>
                    <a:pt x="3811" y="6740"/>
                  </a:cubicBezTo>
                  <a:lnTo>
                    <a:pt x="3846" y="6740"/>
                  </a:lnTo>
                  <a:cubicBezTo>
                    <a:pt x="3954" y="6728"/>
                    <a:pt x="4037" y="6680"/>
                    <a:pt x="4097" y="6597"/>
                  </a:cubicBezTo>
                  <a:lnTo>
                    <a:pt x="4549" y="5930"/>
                  </a:lnTo>
                  <a:lnTo>
                    <a:pt x="5597" y="6311"/>
                  </a:lnTo>
                  <a:cubicBezTo>
                    <a:pt x="5811" y="6382"/>
                    <a:pt x="5954" y="6597"/>
                    <a:pt x="5954" y="6823"/>
                  </a:cubicBezTo>
                  <a:lnTo>
                    <a:pt x="5954" y="7728"/>
                  </a:lnTo>
                  <a:cubicBezTo>
                    <a:pt x="5954" y="7823"/>
                    <a:pt x="6037" y="7894"/>
                    <a:pt x="6121" y="7894"/>
                  </a:cubicBezTo>
                  <a:cubicBezTo>
                    <a:pt x="6204" y="7894"/>
                    <a:pt x="6287" y="7823"/>
                    <a:pt x="6287" y="7728"/>
                  </a:cubicBezTo>
                  <a:lnTo>
                    <a:pt x="6287" y="6823"/>
                  </a:lnTo>
                  <a:cubicBezTo>
                    <a:pt x="6299" y="6466"/>
                    <a:pt x="6073" y="6132"/>
                    <a:pt x="5740" y="6001"/>
                  </a:cubicBezTo>
                  <a:lnTo>
                    <a:pt x="4728" y="5632"/>
                  </a:lnTo>
                  <a:cubicBezTo>
                    <a:pt x="4728" y="5585"/>
                    <a:pt x="4704" y="5537"/>
                    <a:pt x="4680" y="5513"/>
                  </a:cubicBezTo>
                  <a:lnTo>
                    <a:pt x="4370" y="5180"/>
                  </a:lnTo>
                  <a:lnTo>
                    <a:pt x="4370" y="4644"/>
                  </a:lnTo>
                  <a:lnTo>
                    <a:pt x="4454" y="4561"/>
                  </a:lnTo>
                  <a:cubicBezTo>
                    <a:pt x="4847" y="4204"/>
                    <a:pt x="5061" y="3680"/>
                    <a:pt x="5061" y="3156"/>
                  </a:cubicBezTo>
                  <a:lnTo>
                    <a:pt x="5061" y="2727"/>
                  </a:lnTo>
                  <a:cubicBezTo>
                    <a:pt x="5180" y="2477"/>
                    <a:pt x="5240" y="2203"/>
                    <a:pt x="5240" y="1929"/>
                  </a:cubicBezTo>
                  <a:lnTo>
                    <a:pt x="5240" y="167"/>
                  </a:lnTo>
                  <a:cubicBezTo>
                    <a:pt x="5240" y="84"/>
                    <a:pt x="5168" y="1"/>
                    <a:pt x="5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1" name="Google Shape;10721;p60"/>
            <p:cNvSpPr/>
            <p:nvPr/>
          </p:nvSpPr>
          <p:spPr>
            <a:xfrm>
              <a:off x="8103515" y="1851535"/>
              <a:ext cx="10630" cy="21643"/>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2" name="Google Shape;10722;p60"/>
            <p:cNvSpPr/>
            <p:nvPr/>
          </p:nvSpPr>
          <p:spPr>
            <a:xfrm>
              <a:off x="8226306" y="1851535"/>
              <a:ext cx="10248" cy="21643"/>
            </a:xfrm>
            <a:custGeom>
              <a:avLst/>
              <a:gdLst/>
              <a:ahLst/>
              <a:cxnLst/>
              <a:rect l="l" t="t" r="r" b="b"/>
              <a:pathLst>
                <a:path w="322" h="680" extrusionOk="0">
                  <a:moveTo>
                    <a:pt x="167" y="1"/>
                  </a:moveTo>
                  <a:cubicBezTo>
                    <a:pt x="71" y="1"/>
                    <a:pt x="0" y="72"/>
                    <a:pt x="0" y="155"/>
                  </a:cubicBezTo>
                  <a:lnTo>
                    <a:pt x="0" y="513"/>
                  </a:lnTo>
                  <a:cubicBezTo>
                    <a:pt x="0" y="608"/>
                    <a:pt x="71" y="679"/>
                    <a:pt x="167" y="679"/>
                  </a:cubicBezTo>
                  <a:cubicBezTo>
                    <a:pt x="250" y="679"/>
                    <a:pt x="322" y="608"/>
                    <a:pt x="322" y="513"/>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3" name="Google Shape;10723;p60"/>
            <p:cNvSpPr/>
            <p:nvPr/>
          </p:nvSpPr>
          <p:spPr>
            <a:xfrm>
              <a:off x="8020159" y="1516551"/>
              <a:ext cx="300897" cy="284251"/>
            </a:xfrm>
            <a:custGeom>
              <a:avLst/>
              <a:gdLst/>
              <a:ahLst/>
              <a:cxnLst/>
              <a:rect l="l" t="t" r="r" b="b"/>
              <a:pathLst>
                <a:path w="9454" h="8931" extrusionOk="0">
                  <a:moveTo>
                    <a:pt x="6263" y="596"/>
                  </a:moveTo>
                  <a:lnTo>
                    <a:pt x="6263" y="596"/>
                  </a:lnTo>
                  <a:cubicBezTo>
                    <a:pt x="7060" y="894"/>
                    <a:pt x="7739" y="1406"/>
                    <a:pt x="8227" y="2084"/>
                  </a:cubicBezTo>
                  <a:lnTo>
                    <a:pt x="7322" y="2084"/>
                  </a:lnTo>
                  <a:cubicBezTo>
                    <a:pt x="7215" y="1846"/>
                    <a:pt x="7096" y="1620"/>
                    <a:pt x="6953" y="1394"/>
                  </a:cubicBezTo>
                  <a:cubicBezTo>
                    <a:pt x="6739" y="1084"/>
                    <a:pt x="6525" y="822"/>
                    <a:pt x="6263" y="596"/>
                  </a:cubicBezTo>
                  <a:close/>
                  <a:moveTo>
                    <a:pt x="3143" y="608"/>
                  </a:moveTo>
                  <a:cubicBezTo>
                    <a:pt x="2893" y="822"/>
                    <a:pt x="2667" y="1084"/>
                    <a:pt x="2453" y="1406"/>
                  </a:cubicBezTo>
                  <a:cubicBezTo>
                    <a:pt x="2322" y="1620"/>
                    <a:pt x="2203" y="1846"/>
                    <a:pt x="2084" y="2096"/>
                  </a:cubicBezTo>
                  <a:lnTo>
                    <a:pt x="1179" y="2096"/>
                  </a:lnTo>
                  <a:cubicBezTo>
                    <a:pt x="1667" y="1429"/>
                    <a:pt x="2357" y="905"/>
                    <a:pt x="3143" y="608"/>
                  </a:cubicBezTo>
                  <a:close/>
                  <a:moveTo>
                    <a:pt x="4560" y="322"/>
                  </a:moveTo>
                  <a:lnTo>
                    <a:pt x="4560" y="2096"/>
                  </a:lnTo>
                  <a:lnTo>
                    <a:pt x="2453" y="2096"/>
                  </a:lnTo>
                  <a:cubicBezTo>
                    <a:pt x="2929" y="1084"/>
                    <a:pt x="3691" y="393"/>
                    <a:pt x="4560" y="322"/>
                  </a:cubicBezTo>
                  <a:close/>
                  <a:moveTo>
                    <a:pt x="4882" y="322"/>
                  </a:moveTo>
                  <a:cubicBezTo>
                    <a:pt x="5751" y="393"/>
                    <a:pt x="6489" y="1084"/>
                    <a:pt x="6977" y="2096"/>
                  </a:cubicBezTo>
                  <a:lnTo>
                    <a:pt x="4882" y="2096"/>
                  </a:lnTo>
                  <a:lnTo>
                    <a:pt x="4882" y="322"/>
                  </a:lnTo>
                  <a:close/>
                  <a:moveTo>
                    <a:pt x="1953" y="2418"/>
                  </a:moveTo>
                  <a:cubicBezTo>
                    <a:pt x="1715" y="3084"/>
                    <a:pt x="1584" y="3799"/>
                    <a:pt x="1560" y="4549"/>
                  </a:cubicBezTo>
                  <a:lnTo>
                    <a:pt x="310" y="4549"/>
                  </a:lnTo>
                  <a:cubicBezTo>
                    <a:pt x="345" y="3775"/>
                    <a:pt x="572" y="3049"/>
                    <a:pt x="953" y="2418"/>
                  </a:cubicBezTo>
                  <a:close/>
                  <a:moveTo>
                    <a:pt x="8465" y="2429"/>
                  </a:moveTo>
                  <a:cubicBezTo>
                    <a:pt x="8858" y="3049"/>
                    <a:pt x="9085" y="3775"/>
                    <a:pt x="9108" y="4549"/>
                  </a:cubicBezTo>
                  <a:lnTo>
                    <a:pt x="7858" y="4549"/>
                  </a:lnTo>
                  <a:cubicBezTo>
                    <a:pt x="7846" y="3799"/>
                    <a:pt x="7715" y="3084"/>
                    <a:pt x="7477" y="2429"/>
                  </a:cubicBezTo>
                  <a:close/>
                  <a:moveTo>
                    <a:pt x="1560" y="4882"/>
                  </a:moveTo>
                  <a:cubicBezTo>
                    <a:pt x="1584" y="5585"/>
                    <a:pt x="1703" y="6251"/>
                    <a:pt x="1905" y="6870"/>
                  </a:cubicBezTo>
                  <a:lnTo>
                    <a:pt x="1953" y="7001"/>
                  </a:lnTo>
                  <a:lnTo>
                    <a:pt x="953" y="7001"/>
                  </a:lnTo>
                  <a:cubicBezTo>
                    <a:pt x="572" y="6382"/>
                    <a:pt x="345" y="5656"/>
                    <a:pt x="310" y="4882"/>
                  </a:cubicBezTo>
                  <a:close/>
                  <a:moveTo>
                    <a:pt x="9096" y="4894"/>
                  </a:moveTo>
                  <a:cubicBezTo>
                    <a:pt x="9085" y="5608"/>
                    <a:pt x="8870" y="6323"/>
                    <a:pt x="8501" y="6954"/>
                  </a:cubicBezTo>
                  <a:cubicBezTo>
                    <a:pt x="8489" y="6966"/>
                    <a:pt x="8465" y="6990"/>
                    <a:pt x="8453" y="7001"/>
                  </a:cubicBezTo>
                  <a:lnTo>
                    <a:pt x="7453" y="7001"/>
                  </a:lnTo>
                  <a:lnTo>
                    <a:pt x="7501" y="6870"/>
                  </a:lnTo>
                  <a:cubicBezTo>
                    <a:pt x="7715" y="6251"/>
                    <a:pt x="7834" y="5585"/>
                    <a:pt x="7846" y="4894"/>
                  </a:cubicBezTo>
                  <a:close/>
                  <a:moveTo>
                    <a:pt x="4715" y="1"/>
                  </a:moveTo>
                  <a:cubicBezTo>
                    <a:pt x="3465" y="1"/>
                    <a:pt x="2262" y="489"/>
                    <a:pt x="1381" y="1382"/>
                  </a:cubicBezTo>
                  <a:cubicBezTo>
                    <a:pt x="488" y="2275"/>
                    <a:pt x="0" y="3465"/>
                    <a:pt x="0" y="4715"/>
                  </a:cubicBezTo>
                  <a:cubicBezTo>
                    <a:pt x="0" y="6489"/>
                    <a:pt x="976" y="8097"/>
                    <a:pt x="2548" y="8918"/>
                  </a:cubicBezTo>
                  <a:cubicBezTo>
                    <a:pt x="2572" y="8930"/>
                    <a:pt x="2584" y="8930"/>
                    <a:pt x="2619" y="8930"/>
                  </a:cubicBezTo>
                  <a:cubicBezTo>
                    <a:pt x="2679" y="8930"/>
                    <a:pt x="2738" y="8895"/>
                    <a:pt x="2762" y="8835"/>
                  </a:cubicBezTo>
                  <a:cubicBezTo>
                    <a:pt x="2810" y="8764"/>
                    <a:pt x="2786" y="8656"/>
                    <a:pt x="2691" y="8621"/>
                  </a:cubicBezTo>
                  <a:cubicBezTo>
                    <a:pt x="2084" y="8299"/>
                    <a:pt x="1572" y="7859"/>
                    <a:pt x="1191" y="7335"/>
                  </a:cubicBezTo>
                  <a:lnTo>
                    <a:pt x="2096" y="7335"/>
                  </a:lnTo>
                  <a:cubicBezTo>
                    <a:pt x="2286" y="7775"/>
                    <a:pt x="2548" y="8180"/>
                    <a:pt x="2846" y="8514"/>
                  </a:cubicBezTo>
                  <a:cubicBezTo>
                    <a:pt x="2877" y="8551"/>
                    <a:pt x="2918" y="8569"/>
                    <a:pt x="2961" y="8569"/>
                  </a:cubicBezTo>
                  <a:cubicBezTo>
                    <a:pt x="3002" y="8569"/>
                    <a:pt x="3044" y="8554"/>
                    <a:pt x="3084" y="8525"/>
                  </a:cubicBezTo>
                  <a:cubicBezTo>
                    <a:pt x="3155" y="8466"/>
                    <a:pt x="3155" y="8359"/>
                    <a:pt x="3096" y="8287"/>
                  </a:cubicBezTo>
                  <a:cubicBezTo>
                    <a:pt x="2858" y="8013"/>
                    <a:pt x="2643" y="7692"/>
                    <a:pt x="2465" y="7335"/>
                  </a:cubicBezTo>
                  <a:cubicBezTo>
                    <a:pt x="2548" y="7323"/>
                    <a:pt x="2619" y="7263"/>
                    <a:pt x="2619" y="7168"/>
                  </a:cubicBezTo>
                  <a:cubicBezTo>
                    <a:pt x="2619" y="7085"/>
                    <a:pt x="2548" y="7001"/>
                    <a:pt x="2453" y="7001"/>
                  </a:cubicBezTo>
                  <a:lnTo>
                    <a:pt x="2334" y="7001"/>
                  </a:lnTo>
                  <a:cubicBezTo>
                    <a:pt x="2084" y="6370"/>
                    <a:pt x="1929" y="5632"/>
                    <a:pt x="1917" y="4882"/>
                  </a:cubicBezTo>
                  <a:lnTo>
                    <a:pt x="2096" y="4882"/>
                  </a:lnTo>
                  <a:cubicBezTo>
                    <a:pt x="2191" y="4882"/>
                    <a:pt x="2262" y="4799"/>
                    <a:pt x="2262" y="4715"/>
                  </a:cubicBezTo>
                  <a:cubicBezTo>
                    <a:pt x="2262" y="4620"/>
                    <a:pt x="2191" y="4549"/>
                    <a:pt x="2096" y="4549"/>
                  </a:cubicBezTo>
                  <a:lnTo>
                    <a:pt x="1917" y="4549"/>
                  </a:lnTo>
                  <a:cubicBezTo>
                    <a:pt x="1929" y="3775"/>
                    <a:pt x="2084" y="3049"/>
                    <a:pt x="2334" y="2418"/>
                  </a:cubicBezTo>
                  <a:lnTo>
                    <a:pt x="4572" y="2418"/>
                  </a:lnTo>
                  <a:lnTo>
                    <a:pt x="4572" y="2775"/>
                  </a:lnTo>
                  <a:cubicBezTo>
                    <a:pt x="4572" y="2870"/>
                    <a:pt x="4643" y="2941"/>
                    <a:pt x="4727" y="2941"/>
                  </a:cubicBezTo>
                  <a:cubicBezTo>
                    <a:pt x="4822" y="2941"/>
                    <a:pt x="4894" y="2870"/>
                    <a:pt x="4894" y="2775"/>
                  </a:cubicBezTo>
                  <a:lnTo>
                    <a:pt x="4894" y="2418"/>
                  </a:lnTo>
                  <a:lnTo>
                    <a:pt x="7132" y="2418"/>
                  </a:lnTo>
                  <a:cubicBezTo>
                    <a:pt x="7370" y="3049"/>
                    <a:pt x="7513" y="3775"/>
                    <a:pt x="7549" y="4549"/>
                  </a:cubicBezTo>
                  <a:lnTo>
                    <a:pt x="7370" y="4549"/>
                  </a:lnTo>
                  <a:cubicBezTo>
                    <a:pt x="7275" y="4549"/>
                    <a:pt x="7203" y="4620"/>
                    <a:pt x="7203" y="4715"/>
                  </a:cubicBezTo>
                  <a:cubicBezTo>
                    <a:pt x="7203" y="4799"/>
                    <a:pt x="7275" y="4882"/>
                    <a:pt x="7370" y="4882"/>
                  </a:cubicBezTo>
                  <a:lnTo>
                    <a:pt x="7549" y="4882"/>
                  </a:lnTo>
                  <a:cubicBezTo>
                    <a:pt x="7525" y="5632"/>
                    <a:pt x="7382" y="6370"/>
                    <a:pt x="7132" y="7001"/>
                  </a:cubicBezTo>
                  <a:lnTo>
                    <a:pt x="7013" y="7001"/>
                  </a:lnTo>
                  <a:cubicBezTo>
                    <a:pt x="6918" y="7001"/>
                    <a:pt x="6846" y="7085"/>
                    <a:pt x="6846" y="7168"/>
                  </a:cubicBezTo>
                  <a:cubicBezTo>
                    <a:pt x="6846" y="7263"/>
                    <a:pt x="6906" y="7323"/>
                    <a:pt x="6989" y="7335"/>
                  </a:cubicBezTo>
                  <a:cubicBezTo>
                    <a:pt x="6810" y="7692"/>
                    <a:pt x="6608" y="8025"/>
                    <a:pt x="6370" y="8287"/>
                  </a:cubicBezTo>
                  <a:cubicBezTo>
                    <a:pt x="6310" y="8359"/>
                    <a:pt x="6310" y="8466"/>
                    <a:pt x="6382" y="8525"/>
                  </a:cubicBezTo>
                  <a:cubicBezTo>
                    <a:pt x="6418" y="8549"/>
                    <a:pt x="6453" y="8573"/>
                    <a:pt x="6489" y="8573"/>
                  </a:cubicBezTo>
                  <a:cubicBezTo>
                    <a:pt x="6537" y="8573"/>
                    <a:pt x="6572" y="8549"/>
                    <a:pt x="6608" y="8514"/>
                  </a:cubicBezTo>
                  <a:cubicBezTo>
                    <a:pt x="6894" y="8180"/>
                    <a:pt x="7144" y="7787"/>
                    <a:pt x="7346" y="7335"/>
                  </a:cubicBezTo>
                  <a:lnTo>
                    <a:pt x="8263" y="7335"/>
                  </a:lnTo>
                  <a:cubicBezTo>
                    <a:pt x="7906" y="7811"/>
                    <a:pt x="7441" y="8228"/>
                    <a:pt x="6918" y="8525"/>
                  </a:cubicBezTo>
                  <a:cubicBezTo>
                    <a:pt x="6846" y="8573"/>
                    <a:pt x="6810" y="8680"/>
                    <a:pt x="6858" y="8752"/>
                  </a:cubicBezTo>
                  <a:cubicBezTo>
                    <a:pt x="6891" y="8801"/>
                    <a:pt x="6951" y="8833"/>
                    <a:pt x="7009" y="8833"/>
                  </a:cubicBezTo>
                  <a:cubicBezTo>
                    <a:pt x="7036" y="8833"/>
                    <a:pt x="7062" y="8826"/>
                    <a:pt x="7084" y="8811"/>
                  </a:cubicBezTo>
                  <a:cubicBezTo>
                    <a:pt x="7787" y="8406"/>
                    <a:pt x="8382" y="7811"/>
                    <a:pt x="8799" y="7109"/>
                  </a:cubicBezTo>
                  <a:cubicBezTo>
                    <a:pt x="9227" y="6382"/>
                    <a:pt x="9454" y="5561"/>
                    <a:pt x="9454" y="4715"/>
                  </a:cubicBezTo>
                  <a:cubicBezTo>
                    <a:pt x="9442" y="3453"/>
                    <a:pt x="8942" y="2275"/>
                    <a:pt x="8049" y="1382"/>
                  </a:cubicBezTo>
                  <a:cubicBezTo>
                    <a:pt x="7156" y="489"/>
                    <a:pt x="5965"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24" name="Google Shape;10724;p60"/>
          <p:cNvGrpSpPr/>
          <p:nvPr/>
        </p:nvGrpSpPr>
        <p:grpSpPr>
          <a:xfrm>
            <a:off x="5377363" y="1516169"/>
            <a:ext cx="257357" cy="356627"/>
            <a:chOff x="5377363" y="1516169"/>
            <a:chExt cx="257357" cy="356627"/>
          </a:xfrm>
        </p:grpSpPr>
        <p:sp>
          <p:nvSpPr>
            <p:cNvPr id="10725" name="Google Shape;10725;p60"/>
            <p:cNvSpPr/>
            <p:nvPr/>
          </p:nvSpPr>
          <p:spPr>
            <a:xfrm>
              <a:off x="5377363" y="1516169"/>
              <a:ext cx="257357" cy="356627"/>
            </a:xfrm>
            <a:custGeom>
              <a:avLst/>
              <a:gdLst/>
              <a:ahLst/>
              <a:cxnLst/>
              <a:rect l="l" t="t" r="r" b="b"/>
              <a:pathLst>
                <a:path w="8086" h="11205" extrusionOk="0">
                  <a:moveTo>
                    <a:pt x="4073" y="334"/>
                  </a:moveTo>
                  <a:cubicBezTo>
                    <a:pt x="4263" y="334"/>
                    <a:pt x="4430" y="441"/>
                    <a:pt x="4525" y="608"/>
                  </a:cubicBezTo>
                  <a:cubicBezTo>
                    <a:pt x="4561" y="656"/>
                    <a:pt x="4620" y="679"/>
                    <a:pt x="4680" y="679"/>
                  </a:cubicBezTo>
                  <a:lnTo>
                    <a:pt x="5299" y="679"/>
                  </a:lnTo>
                  <a:cubicBezTo>
                    <a:pt x="5406" y="679"/>
                    <a:pt x="5490" y="775"/>
                    <a:pt x="5490" y="870"/>
                  </a:cubicBezTo>
                  <a:lnTo>
                    <a:pt x="5490" y="1406"/>
                  </a:lnTo>
                  <a:lnTo>
                    <a:pt x="2668" y="1406"/>
                  </a:lnTo>
                  <a:lnTo>
                    <a:pt x="2668" y="870"/>
                  </a:lnTo>
                  <a:lnTo>
                    <a:pt x="2644" y="870"/>
                  </a:lnTo>
                  <a:cubicBezTo>
                    <a:pt x="2644" y="775"/>
                    <a:pt x="2727" y="679"/>
                    <a:pt x="2835" y="679"/>
                  </a:cubicBezTo>
                  <a:lnTo>
                    <a:pt x="3454" y="679"/>
                  </a:lnTo>
                  <a:cubicBezTo>
                    <a:pt x="3513" y="679"/>
                    <a:pt x="3573" y="656"/>
                    <a:pt x="3608" y="608"/>
                  </a:cubicBezTo>
                  <a:cubicBezTo>
                    <a:pt x="3716" y="441"/>
                    <a:pt x="3870" y="334"/>
                    <a:pt x="4073" y="334"/>
                  </a:cubicBezTo>
                  <a:close/>
                  <a:moveTo>
                    <a:pt x="7395" y="1037"/>
                  </a:moveTo>
                  <a:cubicBezTo>
                    <a:pt x="7597" y="1037"/>
                    <a:pt x="7764" y="1203"/>
                    <a:pt x="7764" y="1394"/>
                  </a:cubicBezTo>
                  <a:lnTo>
                    <a:pt x="7764" y="10514"/>
                  </a:lnTo>
                  <a:cubicBezTo>
                    <a:pt x="7764" y="10716"/>
                    <a:pt x="7597" y="10871"/>
                    <a:pt x="7395" y="10871"/>
                  </a:cubicBezTo>
                  <a:lnTo>
                    <a:pt x="727" y="10871"/>
                  </a:lnTo>
                  <a:cubicBezTo>
                    <a:pt x="537" y="10871"/>
                    <a:pt x="370" y="10704"/>
                    <a:pt x="370" y="10514"/>
                  </a:cubicBezTo>
                  <a:lnTo>
                    <a:pt x="370" y="1394"/>
                  </a:lnTo>
                  <a:cubicBezTo>
                    <a:pt x="370" y="1203"/>
                    <a:pt x="537" y="1037"/>
                    <a:pt x="727" y="1037"/>
                  </a:cubicBezTo>
                  <a:lnTo>
                    <a:pt x="2323" y="1037"/>
                  </a:lnTo>
                  <a:lnTo>
                    <a:pt x="2323" y="1572"/>
                  </a:lnTo>
                  <a:cubicBezTo>
                    <a:pt x="2323" y="1668"/>
                    <a:pt x="2406" y="1739"/>
                    <a:pt x="2489" y="1739"/>
                  </a:cubicBezTo>
                  <a:lnTo>
                    <a:pt x="5644" y="1739"/>
                  </a:lnTo>
                  <a:cubicBezTo>
                    <a:pt x="5728" y="1739"/>
                    <a:pt x="5811" y="1668"/>
                    <a:pt x="5811" y="1572"/>
                  </a:cubicBezTo>
                  <a:lnTo>
                    <a:pt x="5811" y="1037"/>
                  </a:lnTo>
                  <a:close/>
                  <a:moveTo>
                    <a:pt x="4037" y="1"/>
                  </a:moveTo>
                  <a:cubicBezTo>
                    <a:pt x="3751" y="1"/>
                    <a:pt x="3501" y="132"/>
                    <a:pt x="3335" y="358"/>
                  </a:cubicBezTo>
                  <a:lnTo>
                    <a:pt x="2799" y="358"/>
                  </a:lnTo>
                  <a:cubicBezTo>
                    <a:pt x="2585" y="358"/>
                    <a:pt x="2382" y="501"/>
                    <a:pt x="2311" y="715"/>
                  </a:cubicBezTo>
                  <a:lnTo>
                    <a:pt x="691" y="715"/>
                  </a:lnTo>
                  <a:cubicBezTo>
                    <a:pt x="299" y="715"/>
                    <a:pt x="1" y="1025"/>
                    <a:pt x="1" y="1394"/>
                  </a:cubicBezTo>
                  <a:lnTo>
                    <a:pt x="1" y="10514"/>
                  </a:lnTo>
                  <a:cubicBezTo>
                    <a:pt x="1" y="10907"/>
                    <a:pt x="322" y="11204"/>
                    <a:pt x="691" y="11204"/>
                  </a:cubicBezTo>
                  <a:lnTo>
                    <a:pt x="7359" y="11204"/>
                  </a:lnTo>
                  <a:cubicBezTo>
                    <a:pt x="7740" y="11204"/>
                    <a:pt x="8038" y="10895"/>
                    <a:pt x="8038" y="10514"/>
                  </a:cubicBezTo>
                  <a:lnTo>
                    <a:pt x="8038" y="1394"/>
                  </a:lnTo>
                  <a:cubicBezTo>
                    <a:pt x="8085" y="1025"/>
                    <a:pt x="7776" y="715"/>
                    <a:pt x="7383" y="715"/>
                  </a:cubicBezTo>
                  <a:lnTo>
                    <a:pt x="5763" y="715"/>
                  </a:lnTo>
                  <a:cubicBezTo>
                    <a:pt x="5692" y="501"/>
                    <a:pt x="5490" y="358"/>
                    <a:pt x="5275" y="358"/>
                  </a:cubicBezTo>
                  <a:lnTo>
                    <a:pt x="4740" y="358"/>
                  </a:lnTo>
                  <a:cubicBezTo>
                    <a:pt x="4573" y="132"/>
                    <a:pt x="4323" y="1"/>
                    <a:pt x="4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6" name="Google Shape;10726;p60"/>
            <p:cNvSpPr/>
            <p:nvPr/>
          </p:nvSpPr>
          <p:spPr>
            <a:xfrm>
              <a:off x="5501681" y="1538925"/>
              <a:ext cx="10248" cy="10248"/>
            </a:xfrm>
            <a:custGeom>
              <a:avLst/>
              <a:gdLst/>
              <a:ahLst/>
              <a:cxnLst/>
              <a:rect l="l" t="t" r="r" b="b"/>
              <a:pathLst>
                <a:path w="322" h="322" extrusionOk="0">
                  <a:moveTo>
                    <a:pt x="167" y="0"/>
                  </a:moveTo>
                  <a:cubicBezTo>
                    <a:pt x="72" y="0"/>
                    <a:pt x="0" y="71"/>
                    <a:pt x="0" y="155"/>
                  </a:cubicBezTo>
                  <a:cubicBezTo>
                    <a:pt x="0" y="250"/>
                    <a:pt x="72" y="322"/>
                    <a:pt x="167" y="322"/>
                  </a:cubicBezTo>
                  <a:cubicBezTo>
                    <a:pt x="250" y="322"/>
                    <a:pt x="322" y="250"/>
                    <a:pt x="322" y="155"/>
                  </a:cubicBez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7" name="Google Shape;10727;p60"/>
            <p:cNvSpPr/>
            <p:nvPr/>
          </p:nvSpPr>
          <p:spPr>
            <a:xfrm>
              <a:off x="5401233" y="1560886"/>
              <a:ext cx="211112" cy="278554"/>
            </a:xfrm>
            <a:custGeom>
              <a:avLst/>
              <a:gdLst/>
              <a:ahLst/>
              <a:cxnLst/>
              <a:rect l="l" t="t" r="r" b="b"/>
              <a:pathLst>
                <a:path w="6633" h="8752" extrusionOk="0">
                  <a:moveTo>
                    <a:pt x="156" y="1"/>
                  </a:moveTo>
                  <a:cubicBezTo>
                    <a:pt x="72" y="1"/>
                    <a:pt x="1" y="84"/>
                    <a:pt x="1" y="167"/>
                  </a:cubicBezTo>
                  <a:lnTo>
                    <a:pt x="1" y="8597"/>
                  </a:lnTo>
                  <a:cubicBezTo>
                    <a:pt x="1" y="8680"/>
                    <a:pt x="72" y="8752"/>
                    <a:pt x="156" y="8752"/>
                  </a:cubicBezTo>
                  <a:lnTo>
                    <a:pt x="6466" y="8752"/>
                  </a:lnTo>
                  <a:cubicBezTo>
                    <a:pt x="6561" y="8752"/>
                    <a:pt x="6633" y="8680"/>
                    <a:pt x="6633" y="8597"/>
                  </a:cubicBezTo>
                  <a:lnTo>
                    <a:pt x="6633" y="167"/>
                  </a:lnTo>
                  <a:cubicBezTo>
                    <a:pt x="6633" y="84"/>
                    <a:pt x="6561" y="1"/>
                    <a:pt x="6478" y="1"/>
                  </a:cubicBezTo>
                  <a:lnTo>
                    <a:pt x="5597" y="1"/>
                  </a:lnTo>
                  <a:cubicBezTo>
                    <a:pt x="5502" y="1"/>
                    <a:pt x="5430" y="84"/>
                    <a:pt x="5430" y="167"/>
                  </a:cubicBezTo>
                  <a:cubicBezTo>
                    <a:pt x="5430" y="263"/>
                    <a:pt x="5502" y="334"/>
                    <a:pt x="5597" y="334"/>
                  </a:cubicBezTo>
                  <a:lnTo>
                    <a:pt x="6311" y="334"/>
                  </a:lnTo>
                  <a:lnTo>
                    <a:pt x="6311" y="8430"/>
                  </a:lnTo>
                  <a:lnTo>
                    <a:pt x="322" y="8430"/>
                  </a:lnTo>
                  <a:lnTo>
                    <a:pt x="322" y="334"/>
                  </a:lnTo>
                  <a:lnTo>
                    <a:pt x="1037" y="334"/>
                  </a:lnTo>
                  <a:cubicBezTo>
                    <a:pt x="1132" y="334"/>
                    <a:pt x="1203" y="263"/>
                    <a:pt x="1203" y="167"/>
                  </a:cubicBezTo>
                  <a:cubicBezTo>
                    <a:pt x="1203" y="84"/>
                    <a:pt x="1132"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8" name="Google Shape;10728;p60"/>
            <p:cNvSpPr/>
            <p:nvPr/>
          </p:nvSpPr>
          <p:spPr>
            <a:xfrm>
              <a:off x="5434207" y="1672664"/>
              <a:ext cx="33387" cy="33387"/>
            </a:xfrm>
            <a:custGeom>
              <a:avLst/>
              <a:gdLst/>
              <a:ahLst/>
              <a:cxnLst/>
              <a:rect l="l" t="t" r="r" b="b"/>
              <a:pathLst>
                <a:path w="1049" h="1049" extrusionOk="0">
                  <a:moveTo>
                    <a:pt x="525" y="311"/>
                  </a:moveTo>
                  <a:cubicBezTo>
                    <a:pt x="632" y="311"/>
                    <a:pt x="715" y="406"/>
                    <a:pt x="715" y="513"/>
                  </a:cubicBezTo>
                  <a:cubicBezTo>
                    <a:pt x="703" y="608"/>
                    <a:pt x="632" y="703"/>
                    <a:pt x="525" y="703"/>
                  </a:cubicBezTo>
                  <a:cubicBezTo>
                    <a:pt x="418" y="703"/>
                    <a:pt x="334" y="608"/>
                    <a:pt x="334" y="513"/>
                  </a:cubicBezTo>
                  <a:cubicBezTo>
                    <a:pt x="334" y="406"/>
                    <a:pt x="418" y="311"/>
                    <a:pt x="525" y="311"/>
                  </a:cubicBezTo>
                  <a:close/>
                  <a:moveTo>
                    <a:pt x="525" y="1"/>
                  </a:moveTo>
                  <a:cubicBezTo>
                    <a:pt x="239" y="1"/>
                    <a:pt x="1" y="239"/>
                    <a:pt x="1" y="525"/>
                  </a:cubicBezTo>
                  <a:cubicBezTo>
                    <a:pt x="1" y="811"/>
                    <a:pt x="239" y="1049"/>
                    <a:pt x="525" y="1049"/>
                  </a:cubicBezTo>
                  <a:cubicBezTo>
                    <a:pt x="810" y="1049"/>
                    <a:pt x="1049" y="811"/>
                    <a:pt x="1049" y="525"/>
                  </a:cubicBezTo>
                  <a:cubicBezTo>
                    <a:pt x="1049" y="239"/>
                    <a:pt x="81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9" name="Google Shape;10729;p60"/>
            <p:cNvSpPr/>
            <p:nvPr/>
          </p:nvSpPr>
          <p:spPr>
            <a:xfrm>
              <a:off x="5434207" y="1723079"/>
              <a:ext cx="33387" cy="33005"/>
            </a:xfrm>
            <a:custGeom>
              <a:avLst/>
              <a:gdLst/>
              <a:ahLst/>
              <a:cxnLst/>
              <a:rect l="l" t="t" r="r" b="b"/>
              <a:pathLst>
                <a:path w="1049" h="1037" extrusionOk="0">
                  <a:moveTo>
                    <a:pt x="525" y="310"/>
                  </a:moveTo>
                  <a:cubicBezTo>
                    <a:pt x="632" y="310"/>
                    <a:pt x="715" y="405"/>
                    <a:pt x="715" y="501"/>
                  </a:cubicBezTo>
                  <a:cubicBezTo>
                    <a:pt x="703" y="608"/>
                    <a:pt x="632" y="703"/>
                    <a:pt x="525" y="703"/>
                  </a:cubicBezTo>
                  <a:cubicBezTo>
                    <a:pt x="418" y="703"/>
                    <a:pt x="334" y="608"/>
                    <a:pt x="334" y="501"/>
                  </a:cubicBezTo>
                  <a:cubicBezTo>
                    <a:pt x="334" y="405"/>
                    <a:pt x="418" y="310"/>
                    <a:pt x="525" y="310"/>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0" name="Google Shape;10730;p60"/>
            <p:cNvSpPr/>
            <p:nvPr/>
          </p:nvSpPr>
          <p:spPr>
            <a:xfrm>
              <a:off x="5434207" y="1773112"/>
              <a:ext cx="33387" cy="33355"/>
            </a:xfrm>
            <a:custGeom>
              <a:avLst/>
              <a:gdLst/>
              <a:ahLst/>
              <a:cxnLst/>
              <a:rect l="l" t="t" r="r" b="b"/>
              <a:pathLst>
                <a:path w="1049" h="1048" extrusionOk="0">
                  <a:moveTo>
                    <a:pt x="525" y="310"/>
                  </a:moveTo>
                  <a:cubicBezTo>
                    <a:pt x="632" y="310"/>
                    <a:pt x="715" y="405"/>
                    <a:pt x="715" y="512"/>
                  </a:cubicBezTo>
                  <a:cubicBezTo>
                    <a:pt x="703" y="619"/>
                    <a:pt x="632" y="703"/>
                    <a:pt x="525" y="703"/>
                  </a:cubicBezTo>
                  <a:cubicBezTo>
                    <a:pt x="418" y="703"/>
                    <a:pt x="334" y="607"/>
                    <a:pt x="334" y="512"/>
                  </a:cubicBezTo>
                  <a:cubicBezTo>
                    <a:pt x="334" y="405"/>
                    <a:pt x="418" y="310"/>
                    <a:pt x="525" y="310"/>
                  </a:cubicBezTo>
                  <a:close/>
                  <a:moveTo>
                    <a:pt x="525" y="0"/>
                  </a:moveTo>
                  <a:cubicBezTo>
                    <a:pt x="239" y="0"/>
                    <a:pt x="1" y="238"/>
                    <a:pt x="1" y="524"/>
                  </a:cubicBezTo>
                  <a:cubicBezTo>
                    <a:pt x="1" y="810"/>
                    <a:pt x="239" y="1048"/>
                    <a:pt x="525" y="1048"/>
                  </a:cubicBezTo>
                  <a:cubicBezTo>
                    <a:pt x="810" y="1048"/>
                    <a:pt x="1049" y="810"/>
                    <a:pt x="1049" y="524"/>
                  </a:cubicBezTo>
                  <a:cubicBezTo>
                    <a:pt x="1025" y="226"/>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1" name="Google Shape;10731;p60"/>
            <p:cNvSpPr/>
            <p:nvPr/>
          </p:nvSpPr>
          <p:spPr>
            <a:xfrm>
              <a:off x="5478924" y="1672664"/>
              <a:ext cx="60663" cy="10662"/>
            </a:xfrm>
            <a:custGeom>
              <a:avLst/>
              <a:gdLst/>
              <a:ahLst/>
              <a:cxnLst/>
              <a:rect l="l" t="t" r="r" b="b"/>
              <a:pathLst>
                <a:path w="1906" h="335" extrusionOk="0">
                  <a:moveTo>
                    <a:pt x="167" y="1"/>
                  </a:moveTo>
                  <a:cubicBezTo>
                    <a:pt x="72" y="1"/>
                    <a:pt x="1" y="84"/>
                    <a:pt x="1" y="168"/>
                  </a:cubicBezTo>
                  <a:cubicBezTo>
                    <a:pt x="1" y="263"/>
                    <a:pt x="72" y="334"/>
                    <a:pt x="167" y="334"/>
                  </a:cubicBezTo>
                  <a:lnTo>
                    <a:pt x="1739" y="334"/>
                  </a:lnTo>
                  <a:cubicBezTo>
                    <a:pt x="1822" y="334"/>
                    <a:pt x="1906" y="263"/>
                    <a:pt x="1906" y="168"/>
                  </a:cubicBezTo>
                  <a:cubicBezTo>
                    <a:pt x="1906" y="84"/>
                    <a:pt x="1846"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2" name="Google Shape;10732;p60"/>
            <p:cNvSpPr/>
            <p:nvPr/>
          </p:nvSpPr>
          <p:spPr>
            <a:xfrm>
              <a:off x="5478924" y="1695039"/>
              <a:ext cx="99716" cy="10630"/>
            </a:xfrm>
            <a:custGeom>
              <a:avLst/>
              <a:gdLst/>
              <a:ahLst/>
              <a:cxnLst/>
              <a:rect l="l" t="t" r="r" b="b"/>
              <a:pathLst>
                <a:path w="3133" h="334" extrusionOk="0">
                  <a:moveTo>
                    <a:pt x="156" y="0"/>
                  </a:moveTo>
                  <a:cubicBezTo>
                    <a:pt x="72" y="0"/>
                    <a:pt x="1" y="72"/>
                    <a:pt x="1" y="167"/>
                  </a:cubicBezTo>
                  <a:cubicBezTo>
                    <a:pt x="1" y="250"/>
                    <a:pt x="72" y="334"/>
                    <a:pt x="156" y="334"/>
                  </a:cubicBezTo>
                  <a:lnTo>
                    <a:pt x="2977" y="334"/>
                  </a:lnTo>
                  <a:cubicBezTo>
                    <a:pt x="3061" y="334"/>
                    <a:pt x="3132" y="250"/>
                    <a:pt x="3132" y="167"/>
                  </a:cubicBezTo>
                  <a:cubicBezTo>
                    <a:pt x="3132" y="72"/>
                    <a:pt x="3061"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3" name="Google Shape;10733;p60"/>
            <p:cNvSpPr/>
            <p:nvPr/>
          </p:nvSpPr>
          <p:spPr>
            <a:xfrm>
              <a:off x="5478924" y="1723079"/>
              <a:ext cx="60663" cy="10248"/>
            </a:xfrm>
            <a:custGeom>
              <a:avLst/>
              <a:gdLst/>
              <a:ahLst/>
              <a:cxnLst/>
              <a:rect l="l" t="t" r="r" b="b"/>
              <a:pathLst>
                <a:path w="1906" h="322" extrusionOk="0">
                  <a:moveTo>
                    <a:pt x="167" y="0"/>
                  </a:moveTo>
                  <a:cubicBezTo>
                    <a:pt x="72" y="0"/>
                    <a:pt x="1" y="72"/>
                    <a:pt x="1" y="167"/>
                  </a:cubicBezTo>
                  <a:cubicBezTo>
                    <a:pt x="1" y="251"/>
                    <a:pt x="72" y="322"/>
                    <a:pt x="167" y="322"/>
                  </a:cubicBezTo>
                  <a:lnTo>
                    <a:pt x="1739" y="322"/>
                  </a:lnTo>
                  <a:cubicBezTo>
                    <a:pt x="1822" y="322"/>
                    <a:pt x="1906" y="251"/>
                    <a:pt x="1906" y="167"/>
                  </a:cubicBezTo>
                  <a:cubicBezTo>
                    <a:pt x="1906" y="72"/>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4" name="Google Shape;10734;p60"/>
            <p:cNvSpPr/>
            <p:nvPr/>
          </p:nvSpPr>
          <p:spPr>
            <a:xfrm>
              <a:off x="5478924" y="1745422"/>
              <a:ext cx="99716" cy="10280"/>
            </a:xfrm>
            <a:custGeom>
              <a:avLst/>
              <a:gdLst/>
              <a:ahLst/>
              <a:cxnLst/>
              <a:rect l="l" t="t" r="r" b="b"/>
              <a:pathLst>
                <a:path w="3133" h="323" extrusionOk="0">
                  <a:moveTo>
                    <a:pt x="156" y="1"/>
                  </a:moveTo>
                  <a:cubicBezTo>
                    <a:pt x="72" y="1"/>
                    <a:pt x="1" y="72"/>
                    <a:pt x="1" y="156"/>
                  </a:cubicBezTo>
                  <a:cubicBezTo>
                    <a:pt x="1" y="251"/>
                    <a:pt x="72" y="322"/>
                    <a:pt x="156" y="322"/>
                  </a:cubicBezTo>
                  <a:lnTo>
                    <a:pt x="2977" y="322"/>
                  </a:lnTo>
                  <a:cubicBezTo>
                    <a:pt x="3061" y="322"/>
                    <a:pt x="3132" y="251"/>
                    <a:pt x="3132" y="156"/>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5" name="Google Shape;10735;p60"/>
            <p:cNvSpPr/>
            <p:nvPr/>
          </p:nvSpPr>
          <p:spPr>
            <a:xfrm>
              <a:off x="5478924" y="1773112"/>
              <a:ext cx="60663" cy="10630"/>
            </a:xfrm>
            <a:custGeom>
              <a:avLst/>
              <a:gdLst/>
              <a:ahLst/>
              <a:cxnLst/>
              <a:rect l="l" t="t" r="r" b="b"/>
              <a:pathLst>
                <a:path w="1906" h="334" extrusionOk="0">
                  <a:moveTo>
                    <a:pt x="167" y="0"/>
                  </a:moveTo>
                  <a:cubicBezTo>
                    <a:pt x="72" y="0"/>
                    <a:pt x="1" y="83"/>
                    <a:pt x="1" y="167"/>
                  </a:cubicBezTo>
                  <a:cubicBezTo>
                    <a:pt x="1" y="262"/>
                    <a:pt x="72" y="333"/>
                    <a:pt x="167" y="333"/>
                  </a:cubicBezTo>
                  <a:lnTo>
                    <a:pt x="1739" y="333"/>
                  </a:lnTo>
                  <a:cubicBezTo>
                    <a:pt x="1822" y="333"/>
                    <a:pt x="1906" y="262"/>
                    <a:pt x="1906" y="167"/>
                  </a:cubicBezTo>
                  <a:cubicBezTo>
                    <a:pt x="1906" y="83"/>
                    <a:pt x="1846" y="0"/>
                    <a:pt x="1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6" name="Google Shape;10736;p60"/>
            <p:cNvSpPr/>
            <p:nvPr/>
          </p:nvSpPr>
          <p:spPr>
            <a:xfrm>
              <a:off x="5478924" y="1795455"/>
              <a:ext cx="99716" cy="10630"/>
            </a:xfrm>
            <a:custGeom>
              <a:avLst/>
              <a:gdLst/>
              <a:ahLst/>
              <a:cxnLst/>
              <a:rect l="l" t="t" r="r" b="b"/>
              <a:pathLst>
                <a:path w="3133" h="334"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7" name="Google Shape;10737;p60"/>
            <p:cNvSpPr/>
            <p:nvPr/>
          </p:nvSpPr>
          <p:spPr>
            <a:xfrm>
              <a:off x="5478924" y="1588926"/>
              <a:ext cx="99716" cy="10662"/>
            </a:xfrm>
            <a:custGeom>
              <a:avLst/>
              <a:gdLst/>
              <a:ahLst/>
              <a:cxnLst/>
              <a:rect l="l" t="t" r="r" b="b"/>
              <a:pathLst>
                <a:path w="3133" h="335" extrusionOk="0">
                  <a:moveTo>
                    <a:pt x="156" y="1"/>
                  </a:moveTo>
                  <a:cubicBezTo>
                    <a:pt x="72" y="1"/>
                    <a:pt x="1" y="72"/>
                    <a:pt x="1" y="167"/>
                  </a:cubicBezTo>
                  <a:cubicBezTo>
                    <a:pt x="1" y="251"/>
                    <a:pt x="72" y="334"/>
                    <a:pt x="156" y="334"/>
                  </a:cubicBezTo>
                  <a:lnTo>
                    <a:pt x="2977" y="334"/>
                  </a:lnTo>
                  <a:cubicBezTo>
                    <a:pt x="3061" y="334"/>
                    <a:pt x="3132" y="251"/>
                    <a:pt x="3132" y="167"/>
                  </a:cubicBezTo>
                  <a:cubicBezTo>
                    <a:pt x="3132" y="72"/>
                    <a:pt x="3061"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8" name="Google Shape;10738;p60"/>
            <p:cNvSpPr/>
            <p:nvPr/>
          </p:nvSpPr>
          <p:spPr>
            <a:xfrm>
              <a:off x="5434207" y="1639341"/>
              <a:ext cx="144783" cy="10248"/>
            </a:xfrm>
            <a:custGeom>
              <a:avLst/>
              <a:gdLst/>
              <a:ahLst/>
              <a:cxnLst/>
              <a:rect l="l" t="t" r="r" b="b"/>
              <a:pathLst>
                <a:path w="4549" h="322" extrusionOk="0">
                  <a:moveTo>
                    <a:pt x="167" y="0"/>
                  </a:moveTo>
                  <a:cubicBezTo>
                    <a:pt x="84" y="0"/>
                    <a:pt x="1" y="72"/>
                    <a:pt x="1" y="155"/>
                  </a:cubicBezTo>
                  <a:cubicBezTo>
                    <a:pt x="1" y="250"/>
                    <a:pt x="84" y="322"/>
                    <a:pt x="167" y="322"/>
                  </a:cubicBezTo>
                  <a:lnTo>
                    <a:pt x="4382" y="322"/>
                  </a:lnTo>
                  <a:cubicBezTo>
                    <a:pt x="4466" y="322"/>
                    <a:pt x="4537" y="250"/>
                    <a:pt x="4537" y="155"/>
                  </a:cubicBezTo>
                  <a:cubicBezTo>
                    <a:pt x="4549" y="72"/>
                    <a:pt x="4466"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9" name="Google Shape;10739;p60"/>
            <p:cNvSpPr/>
            <p:nvPr/>
          </p:nvSpPr>
          <p:spPr>
            <a:xfrm>
              <a:off x="5479306" y="1611301"/>
              <a:ext cx="26926" cy="10248"/>
            </a:xfrm>
            <a:custGeom>
              <a:avLst/>
              <a:gdLst/>
              <a:ahLst/>
              <a:cxnLst/>
              <a:rect l="l" t="t" r="r" b="b"/>
              <a:pathLst>
                <a:path w="846" h="322" extrusionOk="0">
                  <a:moveTo>
                    <a:pt x="167" y="0"/>
                  </a:moveTo>
                  <a:cubicBezTo>
                    <a:pt x="72" y="0"/>
                    <a:pt x="1" y="72"/>
                    <a:pt x="1" y="167"/>
                  </a:cubicBezTo>
                  <a:cubicBezTo>
                    <a:pt x="1" y="250"/>
                    <a:pt x="72" y="322"/>
                    <a:pt x="167" y="322"/>
                  </a:cubicBezTo>
                  <a:lnTo>
                    <a:pt x="691" y="322"/>
                  </a:lnTo>
                  <a:cubicBezTo>
                    <a:pt x="775" y="322"/>
                    <a:pt x="846" y="250"/>
                    <a:pt x="846" y="167"/>
                  </a:cubicBezTo>
                  <a:cubicBezTo>
                    <a:pt x="846" y="72"/>
                    <a:pt x="775"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0" name="Google Shape;10740;p60"/>
            <p:cNvSpPr/>
            <p:nvPr/>
          </p:nvSpPr>
          <p:spPr>
            <a:xfrm>
              <a:off x="5518327" y="1611301"/>
              <a:ext cx="26958" cy="10248"/>
            </a:xfrm>
            <a:custGeom>
              <a:avLst/>
              <a:gdLst/>
              <a:ahLst/>
              <a:cxnLst/>
              <a:rect l="l" t="t" r="r" b="b"/>
              <a:pathLst>
                <a:path w="847" h="322" extrusionOk="0">
                  <a:moveTo>
                    <a:pt x="156" y="0"/>
                  </a:moveTo>
                  <a:cubicBezTo>
                    <a:pt x="72" y="0"/>
                    <a:pt x="1" y="72"/>
                    <a:pt x="1" y="167"/>
                  </a:cubicBezTo>
                  <a:cubicBezTo>
                    <a:pt x="1" y="250"/>
                    <a:pt x="72" y="322"/>
                    <a:pt x="156" y="322"/>
                  </a:cubicBezTo>
                  <a:lnTo>
                    <a:pt x="680" y="322"/>
                  </a:lnTo>
                  <a:cubicBezTo>
                    <a:pt x="763" y="322"/>
                    <a:pt x="846" y="250"/>
                    <a:pt x="846" y="167"/>
                  </a:cubicBezTo>
                  <a:cubicBezTo>
                    <a:pt x="846" y="72"/>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1" name="Google Shape;10741;p60"/>
            <p:cNvSpPr/>
            <p:nvPr/>
          </p:nvSpPr>
          <p:spPr>
            <a:xfrm>
              <a:off x="5434207" y="1588926"/>
              <a:ext cx="32623" cy="32623"/>
            </a:xfrm>
            <a:custGeom>
              <a:avLst/>
              <a:gdLst/>
              <a:ahLst/>
              <a:cxnLst/>
              <a:rect l="l" t="t" r="r" b="b"/>
              <a:pathLst>
                <a:path w="1025" h="1025" extrusionOk="0">
                  <a:moveTo>
                    <a:pt x="703" y="334"/>
                  </a:moveTo>
                  <a:lnTo>
                    <a:pt x="703" y="703"/>
                  </a:lnTo>
                  <a:lnTo>
                    <a:pt x="334" y="703"/>
                  </a:lnTo>
                  <a:lnTo>
                    <a:pt x="334" y="334"/>
                  </a:lnTo>
                  <a:close/>
                  <a:moveTo>
                    <a:pt x="167" y="1"/>
                  </a:moveTo>
                  <a:cubicBezTo>
                    <a:pt x="84" y="1"/>
                    <a:pt x="1" y="72"/>
                    <a:pt x="1" y="167"/>
                  </a:cubicBezTo>
                  <a:lnTo>
                    <a:pt x="1" y="870"/>
                  </a:lnTo>
                  <a:cubicBezTo>
                    <a:pt x="1" y="953"/>
                    <a:pt x="84" y="1025"/>
                    <a:pt x="167" y="1025"/>
                  </a:cubicBezTo>
                  <a:lnTo>
                    <a:pt x="870" y="1025"/>
                  </a:lnTo>
                  <a:cubicBezTo>
                    <a:pt x="953" y="1025"/>
                    <a:pt x="1025" y="953"/>
                    <a:pt x="1025" y="870"/>
                  </a:cubicBezTo>
                  <a:lnTo>
                    <a:pt x="1025" y="167"/>
                  </a:lnTo>
                  <a:cubicBezTo>
                    <a:pt x="1025" y="72"/>
                    <a:pt x="953"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2" name="Google Shape;10742;p60"/>
          <p:cNvGrpSpPr/>
          <p:nvPr/>
        </p:nvGrpSpPr>
        <p:grpSpPr>
          <a:xfrm>
            <a:off x="4880567" y="1535870"/>
            <a:ext cx="356245" cy="317607"/>
            <a:chOff x="4880567" y="1535870"/>
            <a:chExt cx="356245" cy="317607"/>
          </a:xfrm>
        </p:grpSpPr>
        <p:sp>
          <p:nvSpPr>
            <p:cNvPr id="10743" name="Google Shape;10743;p60"/>
            <p:cNvSpPr/>
            <p:nvPr/>
          </p:nvSpPr>
          <p:spPr>
            <a:xfrm>
              <a:off x="5103774" y="1535870"/>
              <a:ext cx="100448" cy="128138"/>
            </a:xfrm>
            <a:custGeom>
              <a:avLst/>
              <a:gdLst/>
              <a:ahLst/>
              <a:cxnLst/>
              <a:rect l="l" t="t" r="r" b="b"/>
              <a:pathLst>
                <a:path w="3156" h="4026" extrusionOk="0">
                  <a:moveTo>
                    <a:pt x="1560" y="334"/>
                  </a:moveTo>
                  <a:cubicBezTo>
                    <a:pt x="2251" y="334"/>
                    <a:pt x="2799" y="882"/>
                    <a:pt x="2799" y="1561"/>
                  </a:cubicBezTo>
                  <a:cubicBezTo>
                    <a:pt x="2799" y="2120"/>
                    <a:pt x="2453" y="2573"/>
                    <a:pt x="1965" y="2739"/>
                  </a:cubicBezTo>
                  <a:lnTo>
                    <a:pt x="2251" y="1608"/>
                  </a:lnTo>
                  <a:cubicBezTo>
                    <a:pt x="2275" y="1513"/>
                    <a:pt x="2215" y="1430"/>
                    <a:pt x="2132" y="1418"/>
                  </a:cubicBezTo>
                  <a:cubicBezTo>
                    <a:pt x="2113" y="1410"/>
                    <a:pt x="2094" y="1407"/>
                    <a:pt x="2076" y="1407"/>
                  </a:cubicBezTo>
                  <a:cubicBezTo>
                    <a:pt x="2006" y="1407"/>
                    <a:pt x="1948" y="1461"/>
                    <a:pt x="1929" y="1537"/>
                  </a:cubicBezTo>
                  <a:lnTo>
                    <a:pt x="1917" y="1584"/>
                  </a:lnTo>
                  <a:lnTo>
                    <a:pt x="1215" y="1584"/>
                  </a:lnTo>
                  <a:lnTo>
                    <a:pt x="1203" y="1537"/>
                  </a:lnTo>
                  <a:cubicBezTo>
                    <a:pt x="1182" y="1453"/>
                    <a:pt x="1106" y="1415"/>
                    <a:pt x="1040" y="1415"/>
                  </a:cubicBezTo>
                  <a:cubicBezTo>
                    <a:pt x="1031" y="1415"/>
                    <a:pt x="1021" y="1416"/>
                    <a:pt x="1013" y="1418"/>
                  </a:cubicBezTo>
                  <a:cubicBezTo>
                    <a:pt x="917" y="1441"/>
                    <a:pt x="882" y="1537"/>
                    <a:pt x="894" y="1608"/>
                  </a:cubicBezTo>
                  <a:lnTo>
                    <a:pt x="1179" y="2739"/>
                  </a:lnTo>
                  <a:cubicBezTo>
                    <a:pt x="679" y="2573"/>
                    <a:pt x="322" y="2120"/>
                    <a:pt x="322" y="1561"/>
                  </a:cubicBezTo>
                  <a:cubicBezTo>
                    <a:pt x="322" y="882"/>
                    <a:pt x="882" y="334"/>
                    <a:pt x="1560" y="334"/>
                  </a:cubicBezTo>
                  <a:close/>
                  <a:moveTo>
                    <a:pt x="1822" y="1906"/>
                  </a:moveTo>
                  <a:lnTo>
                    <a:pt x="1608" y="2799"/>
                  </a:lnTo>
                  <a:lnTo>
                    <a:pt x="1513" y="2799"/>
                  </a:lnTo>
                  <a:lnTo>
                    <a:pt x="1286" y="1906"/>
                  </a:lnTo>
                  <a:close/>
                  <a:moveTo>
                    <a:pt x="1906" y="3096"/>
                  </a:moveTo>
                  <a:lnTo>
                    <a:pt x="1906" y="3501"/>
                  </a:lnTo>
                  <a:lnTo>
                    <a:pt x="1917" y="3501"/>
                  </a:lnTo>
                  <a:lnTo>
                    <a:pt x="1203" y="3513"/>
                  </a:lnTo>
                  <a:cubicBezTo>
                    <a:pt x="1203" y="3513"/>
                    <a:pt x="1191" y="3513"/>
                    <a:pt x="1191" y="3501"/>
                  </a:cubicBezTo>
                  <a:lnTo>
                    <a:pt x="1191" y="3096"/>
                  </a:lnTo>
                  <a:cubicBezTo>
                    <a:pt x="1310" y="3120"/>
                    <a:pt x="1429" y="3144"/>
                    <a:pt x="1548" y="3144"/>
                  </a:cubicBezTo>
                  <a:cubicBezTo>
                    <a:pt x="1667" y="3144"/>
                    <a:pt x="1798" y="3120"/>
                    <a:pt x="1906" y="3096"/>
                  </a:cubicBezTo>
                  <a:close/>
                  <a:moveTo>
                    <a:pt x="1560" y="1"/>
                  </a:moveTo>
                  <a:cubicBezTo>
                    <a:pt x="703" y="1"/>
                    <a:pt x="1" y="703"/>
                    <a:pt x="1" y="1561"/>
                  </a:cubicBezTo>
                  <a:cubicBezTo>
                    <a:pt x="1" y="2180"/>
                    <a:pt x="358" y="2704"/>
                    <a:pt x="882" y="2977"/>
                  </a:cubicBezTo>
                  <a:lnTo>
                    <a:pt x="882" y="3501"/>
                  </a:lnTo>
                  <a:cubicBezTo>
                    <a:pt x="882" y="3692"/>
                    <a:pt x="1024" y="3847"/>
                    <a:pt x="1215" y="3847"/>
                  </a:cubicBezTo>
                  <a:lnTo>
                    <a:pt x="1417" y="3847"/>
                  </a:lnTo>
                  <a:lnTo>
                    <a:pt x="1417" y="3858"/>
                  </a:lnTo>
                  <a:cubicBezTo>
                    <a:pt x="1417" y="3942"/>
                    <a:pt x="1489" y="4025"/>
                    <a:pt x="1572" y="4025"/>
                  </a:cubicBezTo>
                  <a:cubicBezTo>
                    <a:pt x="1667" y="4025"/>
                    <a:pt x="1739" y="3942"/>
                    <a:pt x="1739" y="3858"/>
                  </a:cubicBezTo>
                  <a:lnTo>
                    <a:pt x="1739" y="3847"/>
                  </a:lnTo>
                  <a:lnTo>
                    <a:pt x="1929" y="3847"/>
                  </a:lnTo>
                  <a:cubicBezTo>
                    <a:pt x="2120" y="3847"/>
                    <a:pt x="2275" y="3692"/>
                    <a:pt x="2275" y="3501"/>
                  </a:cubicBezTo>
                  <a:lnTo>
                    <a:pt x="2275" y="2977"/>
                  </a:lnTo>
                  <a:cubicBezTo>
                    <a:pt x="2799" y="2727"/>
                    <a:pt x="3156" y="2192"/>
                    <a:pt x="3156" y="1561"/>
                  </a:cubicBezTo>
                  <a:cubicBezTo>
                    <a:pt x="3120" y="703"/>
                    <a:pt x="2429"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4" name="Google Shape;10744;p60"/>
            <p:cNvSpPr/>
            <p:nvPr/>
          </p:nvSpPr>
          <p:spPr>
            <a:xfrm>
              <a:off x="4880567" y="1552929"/>
              <a:ext cx="200895" cy="300547"/>
            </a:xfrm>
            <a:custGeom>
              <a:avLst/>
              <a:gdLst/>
              <a:ahLst/>
              <a:cxnLst/>
              <a:rect l="l" t="t" r="r" b="b"/>
              <a:pathLst>
                <a:path w="6312" h="9443" extrusionOk="0">
                  <a:moveTo>
                    <a:pt x="3144" y="310"/>
                  </a:moveTo>
                  <a:cubicBezTo>
                    <a:pt x="3632" y="310"/>
                    <a:pt x="4037" y="632"/>
                    <a:pt x="4037" y="1025"/>
                  </a:cubicBezTo>
                  <a:cubicBezTo>
                    <a:pt x="3751" y="929"/>
                    <a:pt x="3454" y="870"/>
                    <a:pt x="3144" y="870"/>
                  </a:cubicBezTo>
                  <a:cubicBezTo>
                    <a:pt x="2834" y="870"/>
                    <a:pt x="2537" y="929"/>
                    <a:pt x="2251" y="1025"/>
                  </a:cubicBezTo>
                  <a:cubicBezTo>
                    <a:pt x="2251" y="644"/>
                    <a:pt x="2644" y="310"/>
                    <a:pt x="3144" y="310"/>
                  </a:cubicBezTo>
                  <a:close/>
                  <a:moveTo>
                    <a:pt x="3144" y="1191"/>
                  </a:moveTo>
                  <a:cubicBezTo>
                    <a:pt x="4299" y="1191"/>
                    <a:pt x="5251" y="2144"/>
                    <a:pt x="5251" y="3311"/>
                  </a:cubicBezTo>
                  <a:cubicBezTo>
                    <a:pt x="5251" y="3620"/>
                    <a:pt x="5180" y="3918"/>
                    <a:pt x="5061" y="4203"/>
                  </a:cubicBezTo>
                  <a:lnTo>
                    <a:pt x="5061" y="4049"/>
                  </a:lnTo>
                  <a:cubicBezTo>
                    <a:pt x="5061" y="3858"/>
                    <a:pt x="4978" y="3668"/>
                    <a:pt x="4823" y="3525"/>
                  </a:cubicBezTo>
                  <a:cubicBezTo>
                    <a:pt x="4501" y="3251"/>
                    <a:pt x="3751" y="2739"/>
                    <a:pt x="2453" y="2608"/>
                  </a:cubicBezTo>
                  <a:cubicBezTo>
                    <a:pt x="2447" y="2607"/>
                    <a:pt x="2441" y="2607"/>
                    <a:pt x="2435" y="2607"/>
                  </a:cubicBezTo>
                  <a:cubicBezTo>
                    <a:pt x="2360" y="2607"/>
                    <a:pt x="2297" y="2674"/>
                    <a:pt x="2275" y="2751"/>
                  </a:cubicBezTo>
                  <a:cubicBezTo>
                    <a:pt x="2263" y="2846"/>
                    <a:pt x="2334" y="2918"/>
                    <a:pt x="2430" y="2930"/>
                  </a:cubicBezTo>
                  <a:cubicBezTo>
                    <a:pt x="3632" y="3049"/>
                    <a:pt x="4323" y="3513"/>
                    <a:pt x="4620" y="3763"/>
                  </a:cubicBezTo>
                  <a:cubicBezTo>
                    <a:pt x="4692" y="3822"/>
                    <a:pt x="4728" y="3930"/>
                    <a:pt x="4728" y="4037"/>
                  </a:cubicBezTo>
                  <a:lnTo>
                    <a:pt x="4728" y="4346"/>
                  </a:lnTo>
                  <a:cubicBezTo>
                    <a:pt x="4728" y="5227"/>
                    <a:pt x="4025" y="5942"/>
                    <a:pt x="3144" y="5942"/>
                  </a:cubicBezTo>
                  <a:cubicBezTo>
                    <a:pt x="3137" y="5942"/>
                    <a:pt x="3130" y="5942"/>
                    <a:pt x="3122" y="5942"/>
                  </a:cubicBezTo>
                  <a:cubicBezTo>
                    <a:pt x="2251" y="5942"/>
                    <a:pt x="1549" y="5232"/>
                    <a:pt x="1549" y="4358"/>
                  </a:cubicBezTo>
                  <a:lnTo>
                    <a:pt x="1549" y="4227"/>
                  </a:lnTo>
                  <a:cubicBezTo>
                    <a:pt x="1549" y="4168"/>
                    <a:pt x="1584" y="4108"/>
                    <a:pt x="1644" y="4084"/>
                  </a:cubicBezTo>
                  <a:cubicBezTo>
                    <a:pt x="1846" y="3965"/>
                    <a:pt x="2120" y="3739"/>
                    <a:pt x="2239" y="3370"/>
                  </a:cubicBezTo>
                  <a:cubicBezTo>
                    <a:pt x="2263" y="3275"/>
                    <a:pt x="2215" y="3191"/>
                    <a:pt x="2132" y="3156"/>
                  </a:cubicBezTo>
                  <a:cubicBezTo>
                    <a:pt x="2113" y="3151"/>
                    <a:pt x="2094" y="3149"/>
                    <a:pt x="2077" y="3149"/>
                  </a:cubicBezTo>
                  <a:cubicBezTo>
                    <a:pt x="2005" y="3149"/>
                    <a:pt x="1946" y="3187"/>
                    <a:pt x="1918" y="3263"/>
                  </a:cubicBezTo>
                  <a:cubicBezTo>
                    <a:pt x="1834" y="3525"/>
                    <a:pt x="1620" y="3692"/>
                    <a:pt x="1477" y="3787"/>
                  </a:cubicBezTo>
                  <a:cubicBezTo>
                    <a:pt x="1322" y="3870"/>
                    <a:pt x="1215" y="4037"/>
                    <a:pt x="1215" y="4203"/>
                  </a:cubicBezTo>
                  <a:cubicBezTo>
                    <a:pt x="1084" y="3918"/>
                    <a:pt x="1025" y="3620"/>
                    <a:pt x="1025" y="3311"/>
                  </a:cubicBezTo>
                  <a:cubicBezTo>
                    <a:pt x="1025" y="2144"/>
                    <a:pt x="1977" y="1191"/>
                    <a:pt x="3144" y="1191"/>
                  </a:cubicBezTo>
                  <a:close/>
                  <a:moveTo>
                    <a:pt x="3858" y="6144"/>
                  </a:moveTo>
                  <a:lnTo>
                    <a:pt x="3858" y="6537"/>
                  </a:lnTo>
                  <a:cubicBezTo>
                    <a:pt x="3858" y="6740"/>
                    <a:pt x="3977" y="6918"/>
                    <a:pt x="4168" y="7013"/>
                  </a:cubicBezTo>
                  <a:lnTo>
                    <a:pt x="4406" y="7121"/>
                  </a:lnTo>
                  <a:cubicBezTo>
                    <a:pt x="4156" y="7597"/>
                    <a:pt x="3680" y="7894"/>
                    <a:pt x="3144" y="7894"/>
                  </a:cubicBezTo>
                  <a:cubicBezTo>
                    <a:pt x="2608" y="7894"/>
                    <a:pt x="2132" y="7597"/>
                    <a:pt x="1882" y="7121"/>
                  </a:cubicBezTo>
                  <a:lnTo>
                    <a:pt x="2120" y="7013"/>
                  </a:lnTo>
                  <a:cubicBezTo>
                    <a:pt x="2311" y="6918"/>
                    <a:pt x="2430" y="6740"/>
                    <a:pt x="2430" y="6537"/>
                  </a:cubicBezTo>
                  <a:lnTo>
                    <a:pt x="2430" y="6144"/>
                  </a:lnTo>
                  <a:cubicBezTo>
                    <a:pt x="2644" y="6239"/>
                    <a:pt x="2882" y="6287"/>
                    <a:pt x="3144" y="6287"/>
                  </a:cubicBezTo>
                  <a:cubicBezTo>
                    <a:pt x="3394" y="6287"/>
                    <a:pt x="3632" y="6239"/>
                    <a:pt x="3858" y="6144"/>
                  </a:cubicBezTo>
                  <a:close/>
                  <a:moveTo>
                    <a:pt x="3144" y="1"/>
                  </a:moveTo>
                  <a:cubicBezTo>
                    <a:pt x="2465" y="1"/>
                    <a:pt x="1918" y="465"/>
                    <a:pt x="1918" y="1048"/>
                  </a:cubicBezTo>
                  <a:cubicBezTo>
                    <a:pt x="1918" y="1084"/>
                    <a:pt x="1918" y="1144"/>
                    <a:pt x="1930" y="1191"/>
                  </a:cubicBezTo>
                  <a:cubicBezTo>
                    <a:pt x="1191" y="1608"/>
                    <a:pt x="703" y="2418"/>
                    <a:pt x="703" y="3322"/>
                  </a:cubicBezTo>
                  <a:cubicBezTo>
                    <a:pt x="703" y="3918"/>
                    <a:pt x="918" y="4501"/>
                    <a:pt x="1310" y="4942"/>
                  </a:cubicBezTo>
                  <a:cubicBezTo>
                    <a:pt x="1441" y="5370"/>
                    <a:pt x="1727" y="5739"/>
                    <a:pt x="2096" y="5989"/>
                  </a:cubicBezTo>
                  <a:lnTo>
                    <a:pt x="2096" y="6549"/>
                  </a:lnTo>
                  <a:cubicBezTo>
                    <a:pt x="2096" y="6620"/>
                    <a:pt x="2049" y="6680"/>
                    <a:pt x="1989" y="6716"/>
                  </a:cubicBezTo>
                  <a:lnTo>
                    <a:pt x="525" y="7371"/>
                  </a:lnTo>
                  <a:cubicBezTo>
                    <a:pt x="203" y="7501"/>
                    <a:pt x="1" y="7811"/>
                    <a:pt x="1" y="8156"/>
                  </a:cubicBezTo>
                  <a:lnTo>
                    <a:pt x="1" y="9276"/>
                  </a:lnTo>
                  <a:cubicBezTo>
                    <a:pt x="1" y="9359"/>
                    <a:pt x="72" y="9442"/>
                    <a:pt x="167" y="9442"/>
                  </a:cubicBezTo>
                  <a:cubicBezTo>
                    <a:pt x="251" y="9442"/>
                    <a:pt x="322" y="9359"/>
                    <a:pt x="322" y="9276"/>
                  </a:cubicBezTo>
                  <a:lnTo>
                    <a:pt x="322" y="8156"/>
                  </a:lnTo>
                  <a:cubicBezTo>
                    <a:pt x="322" y="7954"/>
                    <a:pt x="441" y="7752"/>
                    <a:pt x="656" y="7668"/>
                  </a:cubicBezTo>
                  <a:lnTo>
                    <a:pt x="1596" y="7251"/>
                  </a:lnTo>
                  <a:cubicBezTo>
                    <a:pt x="1894" y="7847"/>
                    <a:pt x="2489" y="8216"/>
                    <a:pt x="3156" y="8216"/>
                  </a:cubicBezTo>
                  <a:cubicBezTo>
                    <a:pt x="3823" y="8216"/>
                    <a:pt x="4418" y="7847"/>
                    <a:pt x="4716" y="7251"/>
                  </a:cubicBezTo>
                  <a:lnTo>
                    <a:pt x="5656" y="7668"/>
                  </a:lnTo>
                  <a:cubicBezTo>
                    <a:pt x="5847" y="7752"/>
                    <a:pt x="5978" y="7942"/>
                    <a:pt x="5978" y="8156"/>
                  </a:cubicBezTo>
                  <a:lnTo>
                    <a:pt x="5978" y="9276"/>
                  </a:lnTo>
                  <a:cubicBezTo>
                    <a:pt x="5978" y="9359"/>
                    <a:pt x="6061" y="9442"/>
                    <a:pt x="6144" y="9442"/>
                  </a:cubicBezTo>
                  <a:cubicBezTo>
                    <a:pt x="6240" y="9442"/>
                    <a:pt x="6311" y="9359"/>
                    <a:pt x="6311" y="9276"/>
                  </a:cubicBezTo>
                  <a:lnTo>
                    <a:pt x="6311" y="8156"/>
                  </a:lnTo>
                  <a:cubicBezTo>
                    <a:pt x="6287" y="7811"/>
                    <a:pt x="6073" y="7501"/>
                    <a:pt x="5763" y="7371"/>
                  </a:cubicBezTo>
                  <a:lnTo>
                    <a:pt x="4287" y="6716"/>
                  </a:lnTo>
                  <a:cubicBezTo>
                    <a:pt x="4216" y="6680"/>
                    <a:pt x="4180" y="6609"/>
                    <a:pt x="4180" y="6549"/>
                  </a:cubicBezTo>
                  <a:lnTo>
                    <a:pt x="4180" y="5989"/>
                  </a:lnTo>
                  <a:cubicBezTo>
                    <a:pt x="4549" y="5739"/>
                    <a:pt x="4835" y="5370"/>
                    <a:pt x="4966" y="4942"/>
                  </a:cubicBezTo>
                  <a:cubicBezTo>
                    <a:pt x="5359" y="4501"/>
                    <a:pt x="5585" y="3918"/>
                    <a:pt x="5585" y="3322"/>
                  </a:cubicBezTo>
                  <a:cubicBezTo>
                    <a:pt x="5585" y="2418"/>
                    <a:pt x="5073" y="1608"/>
                    <a:pt x="4347" y="1191"/>
                  </a:cubicBezTo>
                  <a:cubicBezTo>
                    <a:pt x="4358" y="1144"/>
                    <a:pt x="4358" y="1084"/>
                    <a:pt x="4358" y="1048"/>
                  </a:cubicBezTo>
                  <a:cubicBezTo>
                    <a:pt x="4358" y="465"/>
                    <a:pt x="3811" y="1"/>
                    <a:pt x="3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5" name="Google Shape;10745;p60"/>
            <p:cNvSpPr/>
            <p:nvPr/>
          </p:nvSpPr>
          <p:spPr>
            <a:xfrm>
              <a:off x="4919620"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6" name="Google Shape;10746;p60"/>
            <p:cNvSpPr/>
            <p:nvPr/>
          </p:nvSpPr>
          <p:spPr>
            <a:xfrm>
              <a:off x="5031398" y="1820471"/>
              <a:ext cx="10248" cy="33005"/>
            </a:xfrm>
            <a:custGeom>
              <a:avLst/>
              <a:gdLst/>
              <a:ahLst/>
              <a:cxnLst/>
              <a:rect l="l" t="t" r="r" b="b"/>
              <a:pathLst>
                <a:path w="322" h="1037" extrusionOk="0">
                  <a:moveTo>
                    <a:pt x="155" y="0"/>
                  </a:moveTo>
                  <a:cubicBezTo>
                    <a:pt x="72" y="0"/>
                    <a:pt x="0" y="84"/>
                    <a:pt x="0" y="167"/>
                  </a:cubicBezTo>
                  <a:lnTo>
                    <a:pt x="0" y="870"/>
                  </a:lnTo>
                  <a:cubicBezTo>
                    <a:pt x="0" y="953"/>
                    <a:pt x="72" y="1036"/>
                    <a:pt x="155" y="1036"/>
                  </a:cubicBezTo>
                  <a:cubicBezTo>
                    <a:pt x="250" y="1036"/>
                    <a:pt x="322" y="953"/>
                    <a:pt x="322" y="870"/>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7" name="Google Shape;10747;p60"/>
            <p:cNvSpPr/>
            <p:nvPr/>
          </p:nvSpPr>
          <p:spPr>
            <a:xfrm>
              <a:off x="5070418" y="1552547"/>
              <a:ext cx="166394" cy="173969"/>
            </a:xfrm>
            <a:custGeom>
              <a:avLst/>
              <a:gdLst/>
              <a:ahLst/>
              <a:cxnLst/>
              <a:rect l="l" t="t" r="r" b="b"/>
              <a:pathLst>
                <a:path w="5228" h="5466" extrusionOk="0">
                  <a:moveTo>
                    <a:pt x="691" y="1"/>
                  </a:moveTo>
                  <a:cubicBezTo>
                    <a:pt x="298" y="1"/>
                    <a:pt x="1" y="310"/>
                    <a:pt x="1" y="679"/>
                  </a:cubicBezTo>
                  <a:lnTo>
                    <a:pt x="1" y="3501"/>
                  </a:lnTo>
                  <a:cubicBezTo>
                    <a:pt x="1" y="3882"/>
                    <a:pt x="322" y="4180"/>
                    <a:pt x="691" y="4180"/>
                  </a:cubicBezTo>
                  <a:lnTo>
                    <a:pt x="1001" y="4180"/>
                  </a:lnTo>
                  <a:lnTo>
                    <a:pt x="763" y="5144"/>
                  </a:lnTo>
                  <a:cubicBezTo>
                    <a:pt x="739" y="5251"/>
                    <a:pt x="775" y="5358"/>
                    <a:pt x="870" y="5418"/>
                  </a:cubicBezTo>
                  <a:cubicBezTo>
                    <a:pt x="918" y="5442"/>
                    <a:pt x="953" y="5466"/>
                    <a:pt x="1001" y="5466"/>
                  </a:cubicBezTo>
                  <a:cubicBezTo>
                    <a:pt x="1049" y="5466"/>
                    <a:pt x="1108" y="5442"/>
                    <a:pt x="1156" y="5418"/>
                  </a:cubicBezTo>
                  <a:lnTo>
                    <a:pt x="2846" y="4180"/>
                  </a:lnTo>
                  <a:lnTo>
                    <a:pt x="4549" y="4180"/>
                  </a:lnTo>
                  <a:cubicBezTo>
                    <a:pt x="4930" y="4180"/>
                    <a:pt x="5228" y="3870"/>
                    <a:pt x="5228" y="3501"/>
                  </a:cubicBezTo>
                  <a:lnTo>
                    <a:pt x="5228" y="679"/>
                  </a:lnTo>
                  <a:cubicBezTo>
                    <a:pt x="5228" y="310"/>
                    <a:pt x="4918" y="1"/>
                    <a:pt x="4549" y="1"/>
                  </a:cubicBezTo>
                  <a:cubicBezTo>
                    <a:pt x="4454" y="1"/>
                    <a:pt x="4382" y="72"/>
                    <a:pt x="4382" y="167"/>
                  </a:cubicBezTo>
                  <a:cubicBezTo>
                    <a:pt x="4382" y="251"/>
                    <a:pt x="4454" y="322"/>
                    <a:pt x="4549" y="322"/>
                  </a:cubicBezTo>
                  <a:cubicBezTo>
                    <a:pt x="4739" y="322"/>
                    <a:pt x="4906" y="489"/>
                    <a:pt x="4906" y="679"/>
                  </a:cubicBezTo>
                  <a:lnTo>
                    <a:pt x="4906" y="3489"/>
                  </a:lnTo>
                  <a:cubicBezTo>
                    <a:pt x="4906" y="3692"/>
                    <a:pt x="4739" y="3846"/>
                    <a:pt x="4549" y="3846"/>
                  </a:cubicBezTo>
                  <a:lnTo>
                    <a:pt x="2787" y="3846"/>
                  </a:lnTo>
                  <a:cubicBezTo>
                    <a:pt x="2763" y="3846"/>
                    <a:pt x="2715" y="3870"/>
                    <a:pt x="2704" y="3882"/>
                  </a:cubicBezTo>
                  <a:lnTo>
                    <a:pt x="1132" y="5013"/>
                  </a:lnTo>
                  <a:lnTo>
                    <a:pt x="1370" y="4049"/>
                  </a:lnTo>
                  <a:cubicBezTo>
                    <a:pt x="1394" y="4001"/>
                    <a:pt x="1370" y="3942"/>
                    <a:pt x="1346" y="3918"/>
                  </a:cubicBezTo>
                  <a:cubicBezTo>
                    <a:pt x="1310" y="3870"/>
                    <a:pt x="1275" y="3858"/>
                    <a:pt x="1215" y="3858"/>
                  </a:cubicBezTo>
                  <a:lnTo>
                    <a:pt x="691" y="3858"/>
                  </a:lnTo>
                  <a:cubicBezTo>
                    <a:pt x="501" y="3858"/>
                    <a:pt x="334" y="3692"/>
                    <a:pt x="334" y="3501"/>
                  </a:cubicBezTo>
                  <a:lnTo>
                    <a:pt x="334" y="679"/>
                  </a:lnTo>
                  <a:cubicBezTo>
                    <a:pt x="334" y="489"/>
                    <a:pt x="489" y="322"/>
                    <a:pt x="691" y="322"/>
                  </a:cubicBezTo>
                  <a:cubicBezTo>
                    <a:pt x="775" y="322"/>
                    <a:pt x="846" y="251"/>
                    <a:pt x="846" y="167"/>
                  </a:cubicBezTo>
                  <a:cubicBezTo>
                    <a:pt x="846" y="72"/>
                    <a:pt x="775"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48" name="Google Shape;10748;p60"/>
          <p:cNvGrpSpPr/>
          <p:nvPr/>
        </p:nvGrpSpPr>
        <p:grpSpPr>
          <a:xfrm>
            <a:off x="5771483" y="1515787"/>
            <a:ext cx="357359" cy="357391"/>
            <a:chOff x="5771483" y="1515787"/>
            <a:chExt cx="357359" cy="357391"/>
          </a:xfrm>
        </p:grpSpPr>
        <p:sp>
          <p:nvSpPr>
            <p:cNvPr id="10749" name="Google Shape;10749;p60"/>
            <p:cNvSpPr/>
            <p:nvPr/>
          </p:nvSpPr>
          <p:spPr>
            <a:xfrm>
              <a:off x="5771483" y="1515787"/>
              <a:ext cx="357359" cy="357391"/>
            </a:xfrm>
            <a:custGeom>
              <a:avLst/>
              <a:gdLst/>
              <a:ahLst/>
              <a:cxnLst/>
              <a:rect l="l" t="t" r="r" b="b"/>
              <a:pathLst>
                <a:path w="11228" h="11229" extrusionOk="0">
                  <a:moveTo>
                    <a:pt x="6334" y="346"/>
                  </a:moveTo>
                  <a:cubicBezTo>
                    <a:pt x="6334" y="346"/>
                    <a:pt x="6346" y="346"/>
                    <a:pt x="6346" y="358"/>
                  </a:cubicBezTo>
                  <a:lnTo>
                    <a:pt x="6346" y="822"/>
                  </a:lnTo>
                  <a:cubicBezTo>
                    <a:pt x="6346" y="989"/>
                    <a:pt x="6454" y="1120"/>
                    <a:pt x="6608" y="1156"/>
                  </a:cubicBezTo>
                  <a:cubicBezTo>
                    <a:pt x="7132" y="1275"/>
                    <a:pt x="7644" y="1477"/>
                    <a:pt x="8097" y="1763"/>
                  </a:cubicBezTo>
                  <a:cubicBezTo>
                    <a:pt x="8157" y="1798"/>
                    <a:pt x="8225" y="1817"/>
                    <a:pt x="8290" y="1817"/>
                  </a:cubicBezTo>
                  <a:cubicBezTo>
                    <a:pt x="8377" y="1817"/>
                    <a:pt x="8459" y="1784"/>
                    <a:pt x="8513" y="1715"/>
                  </a:cubicBezTo>
                  <a:lnTo>
                    <a:pt x="8847" y="1394"/>
                  </a:lnTo>
                  <a:lnTo>
                    <a:pt x="8859" y="1394"/>
                  </a:lnTo>
                  <a:lnTo>
                    <a:pt x="9859" y="2382"/>
                  </a:lnTo>
                  <a:lnTo>
                    <a:pt x="9859" y="2406"/>
                  </a:lnTo>
                  <a:lnTo>
                    <a:pt x="9525" y="2727"/>
                  </a:lnTo>
                  <a:cubicBezTo>
                    <a:pt x="9406" y="2846"/>
                    <a:pt x="9394" y="3013"/>
                    <a:pt x="9490" y="3144"/>
                  </a:cubicBezTo>
                  <a:cubicBezTo>
                    <a:pt x="9787" y="3608"/>
                    <a:pt x="9978" y="4097"/>
                    <a:pt x="10097" y="4632"/>
                  </a:cubicBezTo>
                  <a:cubicBezTo>
                    <a:pt x="10121" y="4799"/>
                    <a:pt x="10264" y="4906"/>
                    <a:pt x="10418" y="4906"/>
                  </a:cubicBezTo>
                  <a:lnTo>
                    <a:pt x="10883" y="4906"/>
                  </a:lnTo>
                  <a:cubicBezTo>
                    <a:pt x="10883" y="4906"/>
                    <a:pt x="10895" y="4906"/>
                    <a:pt x="10895" y="4918"/>
                  </a:cubicBezTo>
                  <a:lnTo>
                    <a:pt x="10883" y="6335"/>
                  </a:lnTo>
                  <a:lnTo>
                    <a:pt x="10418" y="6335"/>
                  </a:lnTo>
                  <a:cubicBezTo>
                    <a:pt x="10264" y="6335"/>
                    <a:pt x="10121" y="6430"/>
                    <a:pt x="10097" y="6597"/>
                  </a:cubicBezTo>
                  <a:cubicBezTo>
                    <a:pt x="9978" y="7121"/>
                    <a:pt x="9763" y="7621"/>
                    <a:pt x="9490" y="8085"/>
                  </a:cubicBezTo>
                  <a:cubicBezTo>
                    <a:pt x="9394" y="8216"/>
                    <a:pt x="9406" y="8407"/>
                    <a:pt x="9525" y="8502"/>
                  </a:cubicBezTo>
                  <a:lnTo>
                    <a:pt x="9859" y="8835"/>
                  </a:lnTo>
                  <a:lnTo>
                    <a:pt x="9859" y="8847"/>
                  </a:lnTo>
                  <a:lnTo>
                    <a:pt x="8859" y="9847"/>
                  </a:lnTo>
                  <a:lnTo>
                    <a:pt x="8847" y="9847"/>
                  </a:lnTo>
                  <a:lnTo>
                    <a:pt x="8513" y="9514"/>
                  </a:lnTo>
                  <a:cubicBezTo>
                    <a:pt x="8447" y="9448"/>
                    <a:pt x="8370" y="9415"/>
                    <a:pt x="8290" y="9415"/>
                  </a:cubicBezTo>
                  <a:cubicBezTo>
                    <a:pt x="8226" y="9415"/>
                    <a:pt x="8160" y="9436"/>
                    <a:pt x="8097" y="9478"/>
                  </a:cubicBezTo>
                  <a:cubicBezTo>
                    <a:pt x="7644" y="9776"/>
                    <a:pt x="7144" y="9966"/>
                    <a:pt x="6608" y="10085"/>
                  </a:cubicBezTo>
                  <a:cubicBezTo>
                    <a:pt x="6454" y="10109"/>
                    <a:pt x="6346" y="10252"/>
                    <a:pt x="6346" y="10407"/>
                  </a:cubicBezTo>
                  <a:lnTo>
                    <a:pt x="6346" y="10871"/>
                  </a:lnTo>
                  <a:cubicBezTo>
                    <a:pt x="6346" y="10871"/>
                    <a:pt x="6346" y="10883"/>
                    <a:pt x="6334" y="10883"/>
                  </a:cubicBezTo>
                  <a:lnTo>
                    <a:pt x="4930" y="10883"/>
                  </a:lnTo>
                  <a:cubicBezTo>
                    <a:pt x="4930" y="10883"/>
                    <a:pt x="4918" y="10883"/>
                    <a:pt x="4918" y="10871"/>
                  </a:cubicBezTo>
                  <a:lnTo>
                    <a:pt x="4918" y="10407"/>
                  </a:lnTo>
                  <a:cubicBezTo>
                    <a:pt x="4918" y="10252"/>
                    <a:pt x="4810" y="10109"/>
                    <a:pt x="4644" y="10085"/>
                  </a:cubicBezTo>
                  <a:cubicBezTo>
                    <a:pt x="4132" y="9966"/>
                    <a:pt x="3620" y="9752"/>
                    <a:pt x="3156" y="9478"/>
                  </a:cubicBezTo>
                  <a:cubicBezTo>
                    <a:pt x="3096" y="9442"/>
                    <a:pt x="3036" y="9419"/>
                    <a:pt x="2977" y="9419"/>
                  </a:cubicBezTo>
                  <a:cubicBezTo>
                    <a:pt x="2894" y="9419"/>
                    <a:pt x="2798" y="9442"/>
                    <a:pt x="2739" y="9514"/>
                  </a:cubicBezTo>
                  <a:lnTo>
                    <a:pt x="2417" y="9847"/>
                  </a:lnTo>
                  <a:lnTo>
                    <a:pt x="2405" y="9847"/>
                  </a:lnTo>
                  <a:lnTo>
                    <a:pt x="1405" y="8847"/>
                  </a:lnTo>
                  <a:lnTo>
                    <a:pt x="1405" y="8835"/>
                  </a:lnTo>
                  <a:lnTo>
                    <a:pt x="1727" y="8502"/>
                  </a:lnTo>
                  <a:cubicBezTo>
                    <a:pt x="1846" y="8383"/>
                    <a:pt x="1870" y="8228"/>
                    <a:pt x="1774" y="8085"/>
                  </a:cubicBezTo>
                  <a:cubicBezTo>
                    <a:pt x="1477" y="7621"/>
                    <a:pt x="1286" y="7133"/>
                    <a:pt x="1167" y="6597"/>
                  </a:cubicBezTo>
                  <a:cubicBezTo>
                    <a:pt x="1131" y="6430"/>
                    <a:pt x="1000" y="6335"/>
                    <a:pt x="834" y="6335"/>
                  </a:cubicBezTo>
                  <a:lnTo>
                    <a:pt x="381" y="6335"/>
                  </a:lnTo>
                  <a:cubicBezTo>
                    <a:pt x="381" y="6335"/>
                    <a:pt x="358" y="6335"/>
                    <a:pt x="358" y="6311"/>
                  </a:cubicBezTo>
                  <a:lnTo>
                    <a:pt x="358" y="4918"/>
                  </a:lnTo>
                  <a:cubicBezTo>
                    <a:pt x="358" y="4918"/>
                    <a:pt x="358" y="4906"/>
                    <a:pt x="381" y="4906"/>
                  </a:cubicBezTo>
                  <a:lnTo>
                    <a:pt x="834" y="4906"/>
                  </a:lnTo>
                  <a:cubicBezTo>
                    <a:pt x="1000" y="4906"/>
                    <a:pt x="1131" y="4799"/>
                    <a:pt x="1167" y="4632"/>
                  </a:cubicBezTo>
                  <a:cubicBezTo>
                    <a:pt x="1286" y="4108"/>
                    <a:pt x="1489" y="3608"/>
                    <a:pt x="1774" y="3144"/>
                  </a:cubicBezTo>
                  <a:cubicBezTo>
                    <a:pt x="1870" y="3013"/>
                    <a:pt x="1846" y="2834"/>
                    <a:pt x="1727" y="2727"/>
                  </a:cubicBezTo>
                  <a:lnTo>
                    <a:pt x="1405" y="2406"/>
                  </a:lnTo>
                  <a:lnTo>
                    <a:pt x="1405" y="2382"/>
                  </a:lnTo>
                  <a:lnTo>
                    <a:pt x="2405" y="1394"/>
                  </a:lnTo>
                  <a:lnTo>
                    <a:pt x="2417" y="1394"/>
                  </a:lnTo>
                  <a:lnTo>
                    <a:pt x="2739" y="1715"/>
                  </a:lnTo>
                  <a:cubicBezTo>
                    <a:pt x="2807" y="1784"/>
                    <a:pt x="2891" y="1817"/>
                    <a:pt x="2975" y="1817"/>
                  </a:cubicBezTo>
                  <a:cubicBezTo>
                    <a:pt x="3037" y="1817"/>
                    <a:pt x="3100" y="1798"/>
                    <a:pt x="3156" y="1763"/>
                  </a:cubicBezTo>
                  <a:cubicBezTo>
                    <a:pt x="3620" y="1465"/>
                    <a:pt x="4108" y="1275"/>
                    <a:pt x="4644" y="1156"/>
                  </a:cubicBezTo>
                  <a:cubicBezTo>
                    <a:pt x="4810" y="1120"/>
                    <a:pt x="4918" y="989"/>
                    <a:pt x="4918" y="822"/>
                  </a:cubicBezTo>
                  <a:lnTo>
                    <a:pt x="4918" y="358"/>
                  </a:lnTo>
                  <a:cubicBezTo>
                    <a:pt x="4918" y="358"/>
                    <a:pt x="4918" y="346"/>
                    <a:pt x="4930" y="346"/>
                  </a:cubicBezTo>
                  <a:close/>
                  <a:moveTo>
                    <a:pt x="4918" y="1"/>
                  </a:moveTo>
                  <a:cubicBezTo>
                    <a:pt x="4727" y="1"/>
                    <a:pt x="4572" y="156"/>
                    <a:pt x="4572" y="346"/>
                  </a:cubicBezTo>
                  <a:lnTo>
                    <a:pt x="4572" y="810"/>
                  </a:lnTo>
                  <a:cubicBezTo>
                    <a:pt x="4572" y="810"/>
                    <a:pt x="4572" y="822"/>
                    <a:pt x="4560" y="822"/>
                  </a:cubicBezTo>
                  <a:cubicBezTo>
                    <a:pt x="3989" y="941"/>
                    <a:pt x="3453" y="1168"/>
                    <a:pt x="2965" y="1477"/>
                  </a:cubicBezTo>
                  <a:lnTo>
                    <a:pt x="2953" y="1477"/>
                  </a:lnTo>
                  <a:lnTo>
                    <a:pt x="2620" y="1156"/>
                  </a:lnTo>
                  <a:cubicBezTo>
                    <a:pt x="2554" y="1090"/>
                    <a:pt x="2471" y="1057"/>
                    <a:pt x="2386" y="1057"/>
                  </a:cubicBezTo>
                  <a:cubicBezTo>
                    <a:pt x="2301" y="1057"/>
                    <a:pt x="2215" y="1090"/>
                    <a:pt x="2143" y="1156"/>
                  </a:cubicBezTo>
                  <a:lnTo>
                    <a:pt x="1155" y="2144"/>
                  </a:lnTo>
                  <a:cubicBezTo>
                    <a:pt x="1012" y="2287"/>
                    <a:pt x="1012" y="2489"/>
                    <a:pt x="1155" y="2620"/>
                  </a:cubicBezTo>
                  <a:lnTo>
                    <a:pt x="1477" y="2954"/>
                  </a:lnTo>
                  <a:lnTo>
                    <a:pt x="1477" y="2965"/>
                  </a:lnTo>
                  <a:cubicBezTo>
                    <a:pt x="1167" y="3454"/>
                    <a:pt x="941" y="3989"/>
                    <a:pt x="822" y="4561"/>
                  </a:cubicBezTo>
                  <a:cubicBezTo>
                    <a:pt x="822" y="4561"/>
                    <a:pt x="822" y="4573"/>
                    <a:pt x="810" y="4573"/>
                  </a:cubicBezTo>
                  <a:lnTo>
                    <a:pt x="346" y="4573"/>
                  </a:lnTo>
                  <a:cubicBezTo>
                    <a:pt x="155" y="4573"/>
                    <a:pt x="0" y="4728"/>
                    <a:pt x="0" y="4918"/>
                  </a:cubicBezTo>
                  <a:lnTo>
                    <a:pt x="0" y="6311"/>
                  </a:lnTo>
                  <a:cubicBezTo>
                    <a:pt x="0" y="6513"/>
                    <a:pt x="155" y="6656"/>
                    <a:pt x="346" y="6656"/>
                  </a:cubicBezTo>
                  <a:lnTo>
                    <a:pt x="810" y="6656"/>
                  </a:lnTo>
                  <a:cubicBezTo>
                    <a:pt x="810" y="6656"/>
                    <a:pt x="822" y="6656"/>
                    <a:pt x="822" y="6680"/>
                  </a:cubicBezTo>
                  <a:cubicBezTo>
                    <a:pt x="941" y="7240"/>
                    <a:pt x="1167" y="7776"/>
                    <a:pt x="1477" y="8264"/>
                  </a:cubicBezTo>
                  <a:lnTo>
                    <a:pt x="1477" y="8288"/>
                  </a:lnTo>
                  <a:lnTo>
                    <a:pt x="1155" y="8609"/>
                  </a:lnTo>
                  <a:cubicBezTo>
                    <a:pt x="1012" y="8740"/>
                    <a:pt x="1012" y="8954"/>
                    <a:pt x="1155" y="9085"/>
                  </a:cubicBezTo>
                  <a:lnTo>
                    <a:pt x="2143" y="10085"/>
                  </a:lnTo>
                  <a:cubicBezTo>
                    <a:pt x="2215" y="10151"/>
                    <a:pt x="2301" y="10184"/>
                    <a:pt x="2386" y="10184"/>
                  </a:cubicBezTo>
                  <a:cubicBezTo>
                    <a:pt x="2471" y="10184"/>
                    <a:pt x="2554" y="10151"/>
                    <a:pt x="2620" y="10085"/>
                  </a:cubicBezTo>
                  <a:lnTo>
                    <a:pt x="2953" y="9752"/>
                  </a:lnTo>
                  <a:lnTo>
                    <a:pt x="2965" y="9752"/>
                  </a:lnTo>
                  <a:cubicBezTo>
                    <a:pt x="3453" y="10073"/>
                    <a:pt x="3989" y="10288"/>
                    <a:pt x="4560" y="10407"/>
                  </a:cubicBezTo>
                  <a:cubicBezTo>
                    <a:pt x="4560" y="10407"/>
                    <a:pt x="4572" y="10407"/>
                    <a:pt x="4572" y="10431"/>
                  </a:cubicBezTo>
                  <a:lnTo>
                    <a:pt x="4572" y="10883"/>
                  </a:lnTo>
                  <a:cubicBezTo>
                    <a:pt x="4572" y="11085"/>
                    <a:pt x="4727" y="11228"/>
                    <a:pt x="4918" y="11228"/>
                  </a:cubicBezTo>
                  <a:lnTo>
                    <a:pt x="6311" y="11228"/>
                  </a:lnTo>
                  <a:cubicBezTo>
                    <a:pt x="6513" y="11228"/>
                    <a:pt x="6656" y="11085"/>
                    <a:pt x="6656" y="10883"/>
                  </a:cubicBezTo>
                  <a:lnTo>
                    <a:pt x="6656" y="10431"/>
                  </a:lnTo>
                  <a:cubicBezTo>
                    <a:pt x="6656" y="10431"/>
                    <a:pt x="6656" y="10407"/>
                    <a:pt x="6668" y="10407"/>
                  </a:cubicBezTo>
                  <a:cubicBezTo>
                    <a:pt x="7239" y="10288"/>
                    <a:pt x="7775" y="10062"/>
                    <a:pt x="8263" y="9752"/>
                  </a:cubicBezTo>
                  <a:lnTo>
                    <a:pt x="8275" y="9752"/>
                  </a:lnTo>
                  <a:lnTo>
                    <a:pt x="8609" y="10085"/>
                  </a:lnTo>
                  <a:cubicBezTo>
                    <a:pt x="8674" y="10151"/>
                    <a:pt x="8760" y="10184"/>
                    <a:pt x="8847" y="10184"/>
                  </a:cubicBezTo>
                  <a:cubicBezTo>
                    <a:pt x="8933" y="10184"/>
                    <a:pt x="9019" y="10151"/>
                    <a:pt x="9085" y="10085"/>
                  </a:cubicBezTo>
                  <a:lnTo>
                    <a:pt x="10085" y="9085"/>
                  </a:lnTo>
                  <a:cubicBezTo>
                    <a:pt x="10216" y="8954"/>
                    <a:pt x="10216" y="8740"/>
                    <a:pt x="10085" y="8609"/>
                  </a:cubicBezTo>
                  <a:lnTo>
                    <a:pt x="9752" y="8288"/>
                  </a:lnTo>
                  <a:lnTo>
                    <a:pt x="9752" y="8264"/>
                  </a:lnTo>
                  <a:cubicBezTo>
                    <a:pt x="10061" y="7776"/>
                    <a:pt x="10287" y="7240"/>
                    <a:pt x="10406" y="6680"/>
                  </a:cubicBezTo>
                  <a:cubicBezTo>
                    <a:pt x="10406" y="6680"/>
                    <a:pt x="10406" y="6656"/>
                    <a:pt x="10418" y="6656"/>
                  </a:cubicBezTo>
                  <a:lnTo>
                    <a:pt x="10883" y="6656"/>
                  </a:lnTo>
                  <a:cubicBezTo>
                    <a:pt x="11073" y="6656"/>
                    <a:pt x="11228" y="6513"/>
                    <a:pt x="11228" y="6311"/>
                  </a:cubicBezTo>
                  <a:lnTo>
                    <a:pt x="11228" y="4918"/>
                  </a:lnTo>
                  <a:cubicBezTo>
                    <a:pt x="11228" y="4728"/>
                    <a:pt x="11073" y="4573"/>
                    <a:pt x="10883" y="4573"/>
                  </a:cubicBezTo>
                  <a:lnTo>
                    <a:pt x="10418" y="4573"/>
                  </a:lnTo>
                  <a:cubicBezTo>
                    <a:pt x="10418" y="4573"/>
                    <a:pt x="10406" y="4573"/>
                    <a:pt x="10406" y="4561"/>
                  </a:cubicBezTo>
                  <a:cubicBezTo>
                    <a:pt x="10287" y="3989"/>
                    <a:pt x="10061" y="3454"/>
                    <a:pt x="9752" y="2965"/>
                  </a:cubicBezTo>
                  <a:lnTo>
                    <a:pt x="9752" y="2954"/>
                  </a:lnTo>
                  <a:lnTo>
                    <a:pt x="10085" y="2620"/>
                  </a:lnTo>
                  <a:cubicBezTo>
                    <a:pt x="10216" y="2489"/>
                    <a:pt x="10216" y="2287"/>
                    <a:pt x="10085" y="2144"/>
                  </a:cubicBezTo>
                  <a:lnTo>
                    <a:pt x="9085" y="1156"/>
                  </a:lnTo>
                  <a:cubicBezTo>
                    <a:pt x="9019" y="1090"/>
                    <a:pt x="8933" y="1057"/>
                    <a:pt x="8847" y="1057"/>
                  </a:cubicBezTo>
                  <a:cubicBezTo>
                    <a:pt x="8760" y="1057"/>
                    <a:pt x="8674" y="1090"/>
                    <a:pt x="8609" y="1156"/>
                  </a:cubicBezTo>
                  <a:lnTo>
                    <a:pt x="8275" y="1477"/>
                  </a:lnTo>
                  <a:lnTo>
                    <a:pt x="8263" y="1477"/>
                  </a:lnTo>
                  <a:cubicBezTo>
                    <a:pt x="7775" y="1168"/>
                    <a:pt x="7239" y="941"/>
                    <a:pt x="6668" y="822"/>
                  </a:cubicBezTo>
                  <a:cubicBezTo>
                    <a:pt x="6668" y="822"/>
                    <a:pt x="6656" y="822"/>
                    <a:pt x="6656" y="810"/>
                  </a:cubicBezTo>
                  <a:lnTo>
                    <a:pt x="6656" y="346"/>
                  </a:lnTo>
                  <a:cubicBezTo>
                    <a:pt x="6656" y="156"/>
                    <a:pt x="6513"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0" name="Google Shape;10750;p60"/>
            <p:cNvSpPr/>
            <p:nvPr/>
          </p:nvSpPr>
          <p:spPr>
            <a:xfrm>
              <a:off x="5837429" y="1583070"/>
              <a:ext cx="185713" cy="183613"/>
            </a:xfrm>
            <a:custGeom>
              <a:avLst/>
              <a:gdLst/>
              <a:ahLst/>
              <a:cxnLst/>
              <a:rect l="l" t="t" r="r" b="b"/>
              <a:pathLst>
                <a:path w="5835" h="5769" extrusionOk="0">
                  <a:moveTo>
                    <a:pt x="3566" y="1"/>
                  </a:moveTo>
                  <a:cubicBezTo>
                    <a:pt x="3505" y="1"/>
                    <a:pt x="3443" y="3"/>
                    <a:pt x="3381" y="6"/>
                  </a:cubicBezTo>
                  <a:cubicBezTo>
                    <a:pt x="2512" y="54"/>
                    <a:pt x="1703" y="411"/>
                    <a:pt x="1072" y="1030"/>
                  </a:cubicBezTo>
                  <a:cubicBezTo>
                    <a:pt x="464" y="1649"/>
                    <a:pt x="95" y="2459"/>
                    <a:pt x="48" y="3340"/>
                  </a:cubicBezTo>
                  <a:cubicBezTo>
                    <a:pt x="0" y="4209"/>
                    <a:pt x="286" y="5054"/>
                    <a:pt x="822" y="5709"/>
                  </a:cubicBezTo>
                  <a:cubicBezTo>
                    <a:pt x="845" y="5757"/>
                    <a:pt x="893" y="5769"/>
                    <a:pt x="953" y="5769"/>
                  </a:cubicBezTo>
                  <a:cubicBezTo>
                    <a:pt x="988" y="5769"/>
                    <a:pt x="1024" y="5745"/>
                    <a:pt x="1060" y="5733"/>
                  </a:cubicBezTo>
                  <a:cubicBezTo>
                    <a:pt x="1131" y="5673"/>
                    <a:pt x="1131" y="5566"/>
                    <a:pt x="1084" y="5495"/>
                  </a:cubicBezTo>
                  <a:cubicBezTo>
                    <a:pt x="595" y="4888"/>
                    <a:pt x="345" y="4126"/>
                    <a:pt x="393" y="3352"/>
                  </a:cubicBezTo>
                  <a:cubicBezTo>
                    <a:pt x="429" y="2566"/>
                    <a:pt x="762" y="1816"/>
                    <a:pt x="1310" y="1268"/>
                  </a:cubicBezTo>
                  <a:cubicBezTo>
                    <a:pt x="1857" y="720"/>
                    <a:pt x="2608" y="399"/>
                    <a:pt x="3393" y="351"/>
                  </a:cubicBezTo>
                  <a:cubicBezTo>
                    <a:pt x="3456" y="348"/>
                    <a:pt x="3518" y="346"/>
                    <a:pt x="3580" y="346"/>
                  </a:cubicBezTo>
                  <a:cubicBezTo>
                    <a:pt x="4291" y="346"/>
                    <a:pt x="4989" y="593"/>
                    <a:pt x="5536" y="1042"/>
                  </a:cubicBezTo>
                  <a:cubicBezTo>
                    <a:pt x="5567" y="1068"/>
                    <a:pt x="5605" y="1080"/>
                    <a:pt x="5642" y="1080"/>
                  </a:cubicBezTo>
                  <a:cubicBezTo>
                    <a:pt x="5692" y="1080"/>
                    <a:pt x="5741" y="1059"/>
                    <a:pt x="5775" y="1018"/>
                  </a:cubicBezTo>
                  <a:cubicBezTo>
                    <a:pt x="5834" y="947"/>
                    <a:pt x="5822" y="840"/>
                    <a:pt x="5751" y="780"/>
                  </a:cubicBezTo>
                  <a:cubicBezTo>
                    <a:pt x="5121" y="283"/>
                    <a:pt x="4358" y="1"/>
                    <a:pt x="35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1" name="Google Shape;10751;p60"/>
            <p:cNvSpPr/>
            <p:nvPr/>
          </p:nvSpPr>
          <p:spPr>
            <a:xfrm>
              <a:off x="5876068" y="1616584"/>
              <a:ext cx="186859" cy="189501"/>
            </a:xfrm>
            <a:custGeom>
              <a:avLst/>
              <a:gdLst/>
              <a:ahLst/>
              <a:cxnLst/>
              <a:rect l="l" t="t" r="r" b="b"/>
              <a:pathLst>
                <a:path w="5871" h="5954" extrusionOk="0">
                  <a:moveTo>
                    <a:pt x="3406" y="322"/>
                  </a:moveTo>
                  <a:lnTo>
                    <a:pt x="3406" y="1013"/>
                  </a:lnTo>
                  <a:cubicBezTo>
                    <a:pt x="3406" y="1108"/>
                    <a:pt x="3370" y="1227"/>
                    <a:pt x="3322" y="1322"/>
                  </a:cubicBezTo>
                  <a:lnTo>
                    <a:pt x="3239" y="1489"/>
                  </a:lnTo>
                  <a:cubicBezTo>
                    <a:pt x="3227" y="1513"/>
                    <a:pt x="3227" y="1525"/>
                    <a:pt x="3227" y="1561"/>
                  </a:cubicBezTo>
                  <a:lnTo>
                    <a:pt x="3227" y="1918"/>
                  </a:lnTo>
                  <a:cubicBezTo>
                    <a:pt x="3227" y="2156"/>
                    <a:pt x="3132" y="2382"/>
                    <a:pt x="2953" y="2561"/>
                  </a:cubicBezTo>
                  <a:cubicBezTo>
                    <a:pt x="2775" y="2715"/>
                    <a:pt x="2548" y="2811"/>
                    <a:pt x="2310" y="2811"/>
                  </a:cubicBezTo>
                  <a:cubicBezTo>
                    <a:pt x="1834" y="2799"/>
                    <a:pt x="1453" y="2370"/>
                    <a:pt x="1453" y="1882"/>
                  </a:cubicBezTo>
                  <a:lnTo>
                    <a:pt x="1453" y="1572"/>
                  </a:lnTo>
                  <a:cubicBezTo>
                    <a:pt x="1453" y="1549"/>
                    <a:pt x="1453" y="1525"/>
                    <a:pt x="1441" y="1501"/>
                  </a:cubicBezTo>
                  <a:lnTo>
                    <a:pt x="1334" y="1287"/>
                  </a:lnTo>
                  <a:cubicBezTo>
                    <a:pt x="1298" y="1215"/>
                    <a:pt x="1274" y="1132"/>
                    <a:pt x="1274" y="1049"/>
                  </a:cubicBezTo>
                  <a:lnTo>
                    <a:pt x="1274" y="1037"/>
                  </a:lnTo>
                  <a:cubicBezTo>
                    <a:pt x="1274" y="644"/>
                    <a:pt x="1584" y="322"/>
                    <a:pt x="1989" y="322"/>
                  </a:cubicBezTo>
                  <a:close/>
                  <a:moveTo>
                    <a:pt x="1989" y="3073"/>
                  </a:moveTo>
                  <a:cubicBezTo>
                    <a:pt x="2084" y="3108"/>
                    <a:pt x="2191" y="3132"/>
                    <a:pt x="2310" y="3132"/>
                  </a:cubicBezTo>
                  <a:lnTo>
                    <a:pt x="2358" y="3132"/>
                  </a:lnTo>
                  <a:cubicBezTo>
                    <a:pt x="2477" y="3132"/>
                    <a:pt x="2608" y="3120"/>
                    <a:pt x="2715" y="3073"/>
                  </a:cubicBezTo>
                  <a:lnTo>
                    <a:pt x="2715" y="3073"/>
                  </a:lnTo>
                  <a:cubicBezTo>
                    <a:pt x="2703" y="3132"/>
                    <a:pt x="2715" y="3180"/>
                    <a:pt x="2727" y="3227"/>
                  </a:cubicBezTo>
                  <a:lnTo>
                    <a:pt x="2596" y="3358"/>
                  </a:lnTo>
                  <a:cubicBezTo>
                    <a:pt x="2525" y="3430"/>
                    <a:pt x="2429" y="3466"/>
                    <a:pt x="2346" y="3466"/>
                  </a:cubicBezTo>
                  <a:cubicBezTo>
                    <a:pt x="2251" y="3466"/>
                    <a:pt x="2144" y="3418"/>
                    <a:pt x="2084" y="3358"/>
                  </a:cubicBezTo>
                  <a:lnTo>
                    <a:pt x="1953" y="3227"/>
                  </a:lnTo>
                  <a:cubicBezTo>
                    <a:pt x="1965" y="3180"/>
                    <a:pt x="1989" y="3120"/>
                    <a:pt x="1989" y="3073"/>
                  </a:cubicBezTo>
                  <a:close/>
                  <a:moveTo>
                    <a:pt x="2953" y="3489"/>
                  </a:moveTo>
                  <a:cubicBezTo>
                    <a:pt x="3001" y="3525"/>
                    <a:pt x="3048" y="3537"/>
                    <a:pt x="3108" y="3549"/>
                  </a:cubicBezTo>
                  <a:lnTo>
                    <a:pt x="3703" y="3716"/>
                  </a:lnTo>
                  <a:cubicBezTo>
                    <a:pt x="3846" y="3763"/>
                    <a:pt x="3965" y="3906"/>
                    <a:pt x="3965" y="4061"/>
                  </a:cubicBezTo>
                  <a:lnTo>
                    <a:pt x="3965" y="5192"/>
                  </a:lnTo>
                  <a:lnTo>
                    <a:pt x="3941" y="5192"/>
                  </a:lnTo>
                  <a:cubicBezTo>
                    <a:pt x="3822" y="5263"/>
                    <a:pt x="3703" y="5323"/>
                    <a:pt x="3560" y="5371"/>
                  </a:cubicBezTo>
                  <a:lnTo>
                    <a:pt x="3560" y="4370"/>
                  </a:lnTo>
                  <a:cubicBezTo>
                    <a:pt x="3560" y="4287"/>
                    <a:pt x="3489" y="4204"/>
                    <a:pt x="3406" y="4204"/>
                  </a:cubicBezTo>
                  <a:cubicBezTo>
                    <a:pt x="3310" y="4204"/>
                    <a:pt x="3239" y="4287"/>
                    <a:pt x="3239" y="4370"/>
                  </a:cubicBezTo>
                  <a:lnTo>
                    <a:pt x="3239" y="5490"/>
                  </a:lnTo>
                  <a:cubicBezTo>
                    <a:pt x="3001" y="5561"/>
                    <a:pt x="2763" y="5597"/>
                    <a:pt x="2513" y="5609"/>
                  </a:cubicBezTo>
                  <a:lnTo>
                    <a:pt x="2346" y="5609"/>
                  </a:lnTo>
                  <a:cubicBezTo>
                    <a:pt x="2048" y="5609"/>
                    <a:pt x="1751" y="5561"/>
                    <a:pt x="1453" y="5478"/>
                  </a:cubicBezTo>
                  <a:lnTo>
                    <a:pt x="1453" y="4359"/>
                  </a:lnTo>
                  <a:cubicBezTo>
                    <a:pt x="1453" y="4263"/>
                    <a:pt x="1382" y="4192"/>
                    <a:pt x="1286" y="4192"/>
                  </a:cubicBezTo>
                  <a:cubicBezTo>
                    <a:pt x="1203" y="4192"/>
                    <a:pt x="1120" y="4263"/>
                    <a:pt x="1120" y="4359"/>
                  </a:cubicBezTo>
                  <a:lnTo>
                    <a:pt x="1120" y="5359"/>
                  </a:lnTo>
                  <a:cubicBezTo>
                    <a:pt x="989" y="5299"/>
                    <a:pt x="870" y="5240"/>
                    <a:pt x="751" y="5180"/>
                  </a:cubicBezTo>
                  <a:lnTo>
                    <a:pt x="751" y="4061"/>
                  </a:lnTo>
                  <a:cubicBezTo>
                    <a:pt x="751" y="3894"/>
                    <a:pt x="858" y="3763"/>
                    <a:pt x="1024" y="3716"/>
                  </a:cubicBezTo>
                  <a:lnTo>
                    <a:pt x="1620" y="3549"/>
                  </a:lnTo>
                  <a:cubicBezTo>
                    <a:pt x="1655" y="3537"/>
                    <a:pt x="1715" y="3513"/>
                    <a:pt x="1763" y="3489"/>
                  </a:cubicBezTo>
                  <a:lnTo>
                    <a:pt x="1870" y="3597"/>
                  </a:lnTo>
                  <a:cubicBezTo>
                    <a:pt x="2001" y="3727"/>
                    <a:pt x="2179" y="3811"/>
                    <a:pt x="2358" y="3811"/>
                  </a:cubicBezTo>
                  <a:cubicBezTo>
                    <a:pt x="2537" y="3811"/>
                    <a:pt x="2715" y="3727"/>
                    <a:pt x="2846" y="3597"/>
                  </a:cubicBezTo>
                  <a:lnTo>
                    <a:pt x="2953" y="3489"/>
                  </a:lnTo>
                  <a:close/>
                  <a:moveTo>
                    <a:pt x="1953" y="1"/>
                  </a:moveTo>
                  <a:cubicBezTo>
                    <a:pt x="1382" y="1"/>
                    <a:pt x="917" y="453"/>
                    <a:pt x="917" y="1037"/>
                  </a:cubicBezTo>
                  <a:lnTo>
                    <a:pt x="917" y="1049"/>
                  </a:lnTo>
                  <a:cubicBezTo>
                    <a:pt x="917" y="1191"/>
                    <a:pt x="941" y="1322"/>
                    <a:pt x="1001" y="1441"/>
                  </a:cubicBezTo>
                  <a:lnTo>
                    <a:pt x="1096" y="1608"/>
                  </a:lnTo>
                  <a:lnTo>
                    <a:pt x="1096" y="1870"/>
                  </a:lnTo>
                  <a:cubicBezTo>
                    <a:pt x="1096" y="2299"/>
                    <a:pt x="1298" y="2680"/>
                    <a:pt x="1620" y="2918"/>
                  </a:cubicBezTo>
                  <a:lnTo>
                    <a:pt x="1620" y="3061"/>
                  </a:lnTo>
                  <a:cubicBezTo>
                    <a:pt x="1620" y="3156"/>
                    <a:pt x="1548" y="3227"/>
                    <a:pt x="1477" y="3239"/>
                  </a:cubicBezTo>
                  <a:lnTo>
                    <a:pt x="882" y="3406"/>
                  </a:lnTo>
                  <a:cubicBezTo>
                    <a:pt x="584" y="3489"/>
                    <a:pt x="381" y="3763"/>
                    <a:pt x="381" y="4073"/>
                  </a:cubicBezTo>
                  <a:lnTo>
                    <a:pt x="381" y="4966"/>
                  </a:lnTo>
                  <a:cubicBezTo>
                    <a:pt x="346" y="4954"/>
                    <a:pt x="334" y="4918"/>
                    <a:pt x="298" y="4906"/>
                  </a:cubicBezTo>
                  <a:cubicBezTo>
                    <a:pt x="268" y="4881"/>
                    <a:pt x="232" y="4869"/>
                    <a:pt x="196" y="4869"/>
                  </a:cubicBezTo>
                  <a:cubicBezTo>
                    <a:pt x="146" y="4869"/>
                    <a:pt x="95" y="4893"/>
                    <a:pt x="60" y="4942"/>
                  </a:cubicBezTo>
                  <a:cubicBezTo>
                    <a:pt x="0" y="5013"/>
                    <a:pt x="24" y="5121"/>
                    <a:pt x="96" y="5180"/>
                  </a:cubicBezTo>
                  <a:cubicBezTo>
                    <a:pt x="727" y="5680"/>
                    <a:pt x="1501" y="5954"/>
                    <a:pt x="2298" y="5954"/>
                  </a:cubicBezTo>
                  <a:lnTo>
                    <a:pt x="2477" y="5954"/>
                  </a:lnTo>
                  <a:cubicBezTo>
                    <a:pt x="3334" y="5906"/>
                    <a:pt x="4156" y="5549"/>
                    <a:pt x="4787" y="4918"/>
                  </a:cubicBezTo>
                  <a:cubicBezTo>
                    <a:pt x="5394" y="4311"/>
                    <a:pt x="5763" y="3489"/>
                    <a:pt x="5811" y="2620"/>
                  </a:cubicBezTo>
                  <a:cubicBezTo>
                    <a:pt x="5870" y="1763"/>
                    <a:pt x="5596" y="918"/>
                    <a:pt x="5049" y="251"/>
                  </a:cubicBezTo>
                  <a:cubicBezTo>
                    <a:pt x="5014" y="209"/>
                    <a:pt x="4967" y="192"/>
                    <a:pt x="4917" y="192"/>
                  </a:cubicBezTo>
                  <a:cubicBezTo>
                    <a:pt x="4882" y="192"/>
                    <a:pt x="4845" y="200"/>
                    <a:pt x="4811" y="215"/>
                  </a:cubicBezTo>
                  <a:cubicBezTo>
                    <a:pt x="4739" y="275"/>
                    <a:pt x="4739" y="382"/>
                    <a:pt x="4787" y="453"/>
                  </a:cubicBezTo>
                  <a:cubicBezTo>
                    <a:pt x="5275" y="1072"/>
                    <a:pt x="5525" y="1822"/>
                    <a:pt x="5489" y="2596"/>
                  </a:cubicBezTo>
                  <a:cubicBezTo>
                    <a:pt x="5442" y="3394"/>
                    <a:pt x="5108" y="4132"/>
                    <a:pt x="4561" y="4680"/>
                  </a:cubicBezTo>
                  <a:cubicBezTo>
                    <a:pt x="4453" y="4787"/>
                    <a:pt x="4358" y="4882"/>
                    <a:pt x="4239" y="4966"/>
                  </a:cubicBezTo>
                  <a:lnTo>
                    <a:pt x="4239" y="4073"/>
                  </a:lnTo>
                  <a:cubicBezTo>
                    <a:pt x="4239" y="3763"/>
                    <a:pt x="4025" y="3489"/>
                    <a:pt x="3727" y="3406"/>
                  </a:cubicBezTo>
                  <a:lnTo>
                    <a:pt x="3132" y="3239"/>
                  </a:lnTo>
                  <a:cubicBezTo>
                    <a:pt x="3060" y="3216"/>
                    <a:pt x="3001" y="3144"/>
                    <a:pt x="3001" y="3061"/>
                  </a:cubicBezTo>
                  <a:lnTo>
                    <a:pt x="3001" y="2930"/>
                  </a:lnTo>
                  <a:cubicBezTo>
                    <a:pt x="3060" y="2882"/>
                    <a:pt x="3108" y="2858"/>
                    <a:pt x="3156" y="2799"/>
                  </a:cubicBezTo>
                  <a:cubicBezTo>
                    <a:pt x="3394" y="2561"/>
                    <a:pt x="3537" y="2263"/>
                    <a:pt x="3537" y="1918"/>
                  </a:cubicBezTo>
                  <a:lnTo>
                    <a:pt x="3537" y="1608"/>
                  </a:lnTo>
                  <a:lnTo>
                    <a:pt x="3596" y="1465"/>
                  </a:lnTo>
                  <a:cubicBezTo>
                    <a:pt x="3668" y="1322"/>
                    <a:pt x="3703" y="1168"/>
                    <a:pt x="3703" y="1013"/>
                  </a:cubicBezTo>
                  <a:lnTo>
                    <a:pt x="3703" y="156"/>
                  </a:lnTo>
                  <a:cubicBezTo>
                    <a:pt x="3703" y="72"/>
                    <a:pt x="3620" y="1"/>
                    <a:pt x="3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2" name="Google Shape;10752;p60"/>
            <p:cNvSpPr/>
            <p:nvPr/>
          </p:nvSpPr>
          <p:spPr>
            <a:xfrm>
              <a:off x="5928360" y="1644624"/>
              <a:ext cx="45131" cy="16328"/>
            </a:xfrm>
            <a:custGeom>
              <a:avLst/>
              <a:gdLst/>
              <a:ahLst/>
              <a:cxnLst/>
              <a:rect l="l" t="t" r="r" b="b"/>
              <a:pathLst>
                <a:path w="1418" h="513" extrusionOk="0">
                  <a:moveTo>
                    <a:pt x="167" y="1"/>
                  </a:moveTo>
                  <a:cubicBezTo>
                    <a:pt x="72" y="1"/>
                    <a:pt x="1" y="84"/>
                    <a:pt x="1" y="168"/>
                  </a:cubicBezTo>
                  <a:cubicBezTo>
                    <a:pt x="1" y="263"/>
                    <a:pt x="72" y="334"/>
                    <a:pt x="167" y="334"/>
                  </a:cubicBezTo>
                  <a:cubicBezTo>
                    <a:pt x="346" y="334"/>
                    <a:pt x="882" y="370"/>
                    <a:pt x="1144" y="501"/>
                  </a:cubicBezTo>
                  <a:cubicBezTo>
                    <a:pt x="1179" y="513"/>
                    <a:pt x="1191" y="513"/>
                    <a:pt x="1227" y="513"/>
                  </a:cubicBezTo>
                  <a:cubicBezTo>
                    <a:pt x="1286" y="513"/>
                    <a:pt x="1346" y="489"/>
                    <a:pt x="1370" y="430"/>
                  </a:cubicBezTo>
                  <a:cubicBezTo>
                    <a:pt x="1417" y="334"/>
                    <a:pt x="1370" y="227"/>
                    <a:pt x="1298" y="203"/>
                  </a:cubicBezTo>
                  <a:cubicBezTo>
                    <a:pt x="905" y="1"/>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3" name="Google Shape;10753;p60"/>
          <p:cNvGrpSpPr/>
          <p:nvPr/>
        </p:nvGrpSpPr>
        <p:grpSpPr>
          <a:xfrm>
            <a:off x="7121669" y="1533610"/>
            <a:ext cx="321362" cy="321362"/>
            <a:chOff x="7121669" y="1533610"/>
            <a:chExt cx="321362" cy="321362"/>
          </a:xfrm>
        </p:grpSpPr>
        <p:sp>
          <p:nvSpPr>
            <p:cNvPr id="10754" name="Google Shape;10754;p60"/>
            <p:cNvSpPr/>
            <p:nvPr/>
          </p:nvSpPr>
          <p:spPr>
            <a:xfrm>
              <a:off x="7121669" y="1600289"/>
              <a:ext cx="142142" cy="192556"/>
            </a:xfrm>
            <a:custGeom>
              <a:avLst/>
              <a:gdLst/>
              <a:ahLst/>
              <a:cxnLst/>
              <a:rect l="l" t="t" r="r" b="b"/>
              <a:pathLst>
                <a:path w="4466" h="6050" extrusionOk="0">
                  <a:moveTo>
                    <a:pt x="2346" y="275"/>
                  </a:moveTo>
                  <a:cubicBezTo>
                    <a:pt x="2929" y="275"/>
                    <a:pt x="3406" y="751"/>
                    <a:pt x="3406" y="1322"/>
                  </a:cubicBezTo>
                  <a:lnTo>
                    <a:pt x="3406" y="1608"/>
                  </a:lnTo>
                  <a:lnTo>
                    <a:pt x="3382" y="1608"/>
                  </a:lnTo>
                  <a:cubicBezTo>
                    <a:pt x="3048" y="1537"/>
                    <a:pt x="2941" y="1108"/>
                    <a:pt x="2941" y="1108"/>
                  </a:cubicBezTo>
                  <a:cubicBezTo>
                    <a:pt x="2929" y="1049"/>
                    <a:pt x="2882" y="1001"/>
                    <a:pt x="2822" y="989"/>
                  </a:cubicBezTo>
                  <a:cubicBezTo>
                    <a:pt x="2809" y="984"/>
                    <a:pt x="2796" y="981"/>
                    <a:pt x="2783" y="981"/>
                  </a:cubicBezTo>
                  <a:cubicBezTo>
                    <a:pt x="2738" y="981"/>
                    <a:pt x="2695" y="1011"/>
                    <a:pt x="2667" y="1049"/>
                  </a:cubicBezTo>
                  <a:cubicBezTo>
                    <a:pt x="2155" y="1608"/>
                    <a:pt x="1262" y="1608"/>
                    <a:pt x="1250" y="1608"/>
                  </a:cubicBezTo>
                  <a:lnTo>
                    <a:pt x="1191" y="1608"/>
                  </a:lnTo>
                  <a:lnTo>
                    <a:pt x="1191" y="1322"/>
                  </a:lnTo>
                  <a:cubicBezTo>
                    <a:pt x="1191" y="751"/>
                    <a:pt x="1667" y="275"/>
                    <a:pt x="2251" y="275"/>
                  </a:cubicBezTo>
                  <a:close/>
                  <a:moveTo>
                    <a:pt x="1096" y="2049"/>
                  </a:moveTo>
                  <a:lnTo>
                    <a:pt x="1096" y="2382"/>
                  </a:lnTo>
                  <a:cubicBezTo>
                    <a:pt x="1060" y="2358"/>
                    <a:pt x="1012" y="2287"/>
                    <a:pt x="1012" y="2215"/>
                  </a:cubicBezTo>
                  <a:cubicBezTo>
                    <a:pt x="1012" y="2144"/>
                    <a:pt x="1036" y="2084"/>
                    <a:pt x="1096" y="2049"/>
                  </a:cubicBezTo>
                  <a:close/>
                  <a:moveTo>
                    <a:pt x="3394" y="2061"/>
                  </a:moveTo>
                  <a:cubicBezTo>
                    <a:pt x="3441" y="2084"/>
                    <a:pt x="3477" y="2144"/>
                    <a:pt x="3477" y="2215"/>
                  </a:cubicBezTo>
                  <a:cubicBezTo>
                    <a:pt x="3477" y="2299"/>
                    <a:pt x="3453" y="2358"/>
                    <a:pt x="3394" y="2382"/>
                  </a:cubicBezTo>
                  <a:lnTo>
                    <a:pt x="3394" y="2061"/>
                  </a:lnTo>
                  <a:close/>
                  <a:moveTo>
                    <a:pt x="2632" y="1442"/>
                  </a:moveTo>
                  <a:cubicBezTo>
                    <a:pt x="2727" y="1608"/>
                    <a:pt x="2858" y="1787"/>
                    <a:pt x="3084" y="1894"/>
                  </a:cubicBezTo>
                  <a:lnTo>
                    <a:pt x="3084" y="2537"/>
                  </a:lnTo>
                  <a:cubicBezTo>
                    <a:pt x="3084" y="2930"/>
                    <a:pt x="2751" y="3263"/>
                    <a:pt x="2346" y="3263"/>
                  </a:cubicBezTo>
                  <a:lnTo>
                    <a:pt x="2155" y="3263"/>
                  </a:lnTo>
                  <a:cubicBezTo>
                    <a:pt x="1739" y="3263"/>
                    <a:pt x="1417" y="2930"/>
                    <a:pt x="1417" y="2537"/>
                  </a:cubicBezTo>
                  <a:lnTo>
                    <a:pt x="1417" y="1918"/>
                  </a:lnTo>
                  <a:cubicBezTo>
                    <a:pt x="1679" y="1894"/>
                    <a:pt x="2227" y="1799"/>
                    <a:pt x="2632" y="1442"/>
                  </a:cubicBezTo>
                  <a:close/>
                  <a:moveTo>
                    <a:pt x="2536" y="3573"/>
                  </a:moveTo>
                  <a:lnTo>
                    <a:pt x="2536" y="3775"/>
                  </a:lnTo>
                  <a:lnTo>
                    <a:pt x="2251" y="4073"/>
                  </a:lnTo>
                  <a:lnTo>
                    <a:pt x="1965" y="3811"/>
                  </a:lnTo>
                  <a:lnTo>
                    <a:pt x="1965" y="3632"/>
                  </a:lnTo>
                  <a:lnTo>
                    <a:pt x="1965" y="3573"/>
                  </a:lnTo>
                  <a:cubicBezTo>
                    <a:pt x="2024" y="3585"/>
                    <a:pt x="2084" y="3585"/>
                    <a:pt x="2155" y="3585"/>
                  </a:cubicBezTo>
                  <a:lnTo>
                    <a:pt x="2346" y="3585"/>
                  </a:lnTo>
                  <a:cubicBezTo>
                    <a:pt x="2405" y="3585"/>
                    <a:pt x="2465" y="3585"/>
                    <a:pt x="2536" y="3573"/>
                  </a:cubicBezTo>
                  <a:close/>
                  <a:moveTo>
                    <a:pt x="2846" y="3906"/>
                  </a:moveTo>
                  <a:lnTo>
                    <a:pt x="2941" y="3989"/>
                  </a:lnTo>
                  <a:lnTo>
                    <a:pt x="2727" y="4454"/>
                  </a:lnTo>
                  <a:lnTo>
                    <a:pt x="2667" y="4406"/>
                  </a:lnTo>
                  <a:lnTo>
                    <a:pt x="2489" y="4275"/>
                  </a:lnTo>
                  <a:lnTo>
                    <a:pt x="2810" y="3930"/>
                  </a:lnTo>
                  <a:lnTo>
                    <a:pt x="2846" y="3906"/>
                  </a:lnTo>
                  <a:close/>
                  <a:moveTo>
                    <a:pt x="1655" y="3918"/>
                  </a:moveTo>
                  <a:cubicBezTo>
                    <a:pt x="1655" y="3942"/>
                    <a:pt x="1667" y="3966"/>
                    <a:pt x="1691" y="3989"/>
                  </a:cubicBezTo>
                  <a:lnTo>
                    <a:pt x="2012" y="4287"/>
                  </a:lnTo>
                  <a:lnTo>
                    <a:pt x="1774" y="4466"/>
                  </a:lnTo>
                  <a:lnTo>
                    <a:pt x="1536" y="3989"/>
                  </a:lnTo>
                  <a:lnTo>
                    <a:pt x="1655" y="3918"/>
                  </a:lnTo>
                  <a:close/>
                  <a:moveTo>
                    <a:pt x="2227" y="4490"/>
                  </a:moveTo>
                  <a:lnTo>
                    <a:pt x="2370" y="4597"/>
                  </a:lnTo>
                  <a:lnTo>
                    <a:pt x="2322" y="4704"/>
                  </a:lnTo>
                  <a:lnTo>
                    <a:pt x="2155" y="4704"/>
                  </a:lnTo>
                  <a:lnTo>
                    <a:pt x="2108" y="4585"/>
                  </a:lnTo>
                  <a:lnTo>
                    <a:pt x="2227" y="4490"/>
                  </a:lnTo>
                  <a:close/>
                  <a:moveTo>
                    <a:pt x="1846" y="4799"/>
                  </a:moveTo>
                  <a:lnTo>
                    <a:pt x="1893" y="4894"/>
                  </a:lnTo>
                  <a:lnTo>
                    <a:pt x="1846" y="5156"/>
                  </a:lnTo>
                  <a:lnTo>
                    <a:pt x="1751" y="4835"/>
                  </a:lnTo>
                  <a:cubicBezTo>
                    <a:pt x="1774" y="4835"/>
                    <a:pt x="1786" y="4823"/>
                    <a:pt x="1798" y="4823"/>
                  </a:cubicBezTo>
                  <a:lnTo>
                    <a:pt x="1846" y="4799"/>
                  </a:lnTo>
                  <a:close/>
                  <a:moveTo>
                    <a:pt x="2632" y="4799"/>
                  </a:moveTo>
                  <a:lnTo>
                    <a:pt x="2679" y="4823"/>
                  </a:lnTo>
                  <a:cubicBezTo>
                    <a:pt x="2691" y="4835"/>
                    <a:pt x="2703" y="4835"/>
                    <a:pt x="2739" y="4847"/>
                  </a:cubicBezTo>
                  <a:lnTo>
                    <a:pt x="2644" y="5156"/>
                  </a:lnTo>
                  <a:lnTo>
                    <a:pt x="2608" y="4882"/>
                  </a:lnTo>
                  <a:lnTo>
                    <a:pt x="2632" y="4799"/>
                  </a:lnTo>
                  <a:close/>
                  <a:moveTo>
                    <a:pt x="2322" y="5037"/>
                  </a:moveTo>
                  <a:lnTo>
                    <a:pt x="2441" y="5728"/>
                  </a:lnTo>
                  <a:lnTo>
                    <a:pt x="2084" y="5728"/>
                  </a:lnTo>
                  <a:lnTo>
                    <a:pt x="2203" y="5037"/>
                  </a:lnTo>
                  <a:close/>
                  <a:moveTo>
                    <a:pt x="3263" y="4156"/>
                  </a:moveTo>
                  <a:lnTo>
                    <a:pt x="3620" y="4299"/>
                  </a:lnTo>
                  <a:lnTo>
                    <a:pt x="3632" y="4299"/>
                  </a:lnTo>
                  <a:cubicBezTo>
                    <a:pt x="3644" y="4323"/>
                    <a:pt x="4156" y="4501"/>
                    <a:pt x="4156" y="5121"/>
                  </a:cubicBezTo>
                  <a:lnTo>
                    <a:pt x="4156" y="5728"/>
                  </a:lnTo>
                  <a:lnTo>
                    <a:pt x="3739" y="5728"/>
                  </a:lnTo>
                  <a:lnTo>
                    <a:pt x="3739" y="5097"/>
                  </a:lnTo>
                  <a:cubicBezTo>
                    <a:pt x="3739" y="5001"/>
                    <a:pt x="3656" y="4930"/>
                    <a:pt x="3572" y="4930"/>
                  </a:cubicBezTo>
                  <a:cubicBezTo>
                    <a:pt x="3477" y="4930"/>
                    <a:pt x="3406" y="5001"/>
                    <a:pt x="3406" y="5097"/>
                  </a:cubicBezTo>
                  <a:lnTo>
                    <a:pt x="3406" y="5728"/>
                  </a:lnTo>
                  <a:lnTo>
                    <a:pt x="2810" y="5728"/>
                  </a:lnTo>
                  <a:lnTo>
                    <a:pt x="3263" y="4156"/>
                  </a:lnTo>
                  <a:close/>
                  <a:moveTo>
                    <a:pt x="2179" y="1"/>
                  </a:moveTo>
                  <a:cubicBezTo>
                    <a:pt x="1429" y="1"/>
                    <a:pt x="810" y="608"/>
                    <a:pt x="810" y="1370"/>
                  </a:cubicBezTo>
                  <a:lnTo>
                    <a:pt x="810" y="1870"/>
                  </a:lnTo>
                  <a:cubicBezTo>
                    <a:pt x="739" y="1965"/>
                    <a:pt x="679" y="2084"/>
                    <a:pt x="679" y="2215"/>
                  </a:cubicBezTo>
                  <a:cubicBezTo>
                    <a:pt x="679" y="2465"/>
                    <a:pt x="858" y="2680"/>
                    <a:pt x="1096" y="2727"/>
                  </a:cubicBezTo>
                  <a:cubicBezTo>
                    <a:pt x="1155" y="3037"/>
                    <a:pt x="1346" y="3299"/>
                    <a:pt x="1631" y="3454"/>
                  </a:cubicBezTo>
                  <a:lnTo>
                    <a:pt x="1631" y="3525"/>
                  </a:lnTo>
                  <a:lnTo>
                    <a:pt x="1274" y="3763"/>
                  </a:lnTo>
                  <a:lnTo>
                    <a:pt x="1262" y="3763"/>
                  </a:lnTo>
                  <a:lnTo>
                    <a:pt x="727" y="3989"/>
                  </a:lnTo>
                  <a:cubicBezTo>
                    <a:pt x="477" y="4073"/>
                    <a:pt x="0" y="4418"/>
                    <a:pt x="0" y="5109"/>
                  </a:cubicBezTo>
                  <a:lnTo>
                    <a:pt x="0" y="5859"/>
                  </a:lnTo>
                  <a:cubicBezTo>
                    <a:pt x="0" y="5954"/>
                    <a:pt x="72" y="6025"/>
                    <a:pt x="155" y="6025"/>
                  </a:cubicBezTo>
                  <a:lnTo>
                    <a:pt x="1203" y="6025"/>
                  </a:lnTo>
                  <a:cubicBezTo>
                    <a:pt x="1286" y="6025"/>
                    <a:pt x="1370" y="5954"/>
                    <a:pt x="1370" y="5859"/>
                  </a:cubicBezTo>
                  <a:cubicBezTo>
                    <a:pt x="1370" y="5775"/>
                    <a:pt x="1286" y="5704"/>
                    <a:pt x="1203" y="5704"/>
                  </a:cubicBezTo>
                  <a:lnTo>
                    <a:pt x="1048" y="5704"/>
                  </a:lnTo>
                  <a:lnTo>
                    <a:pt x="1048" y="5061"/>
                  </a:lnTo>
                  <a:cubicBezTo>
                    <a:pt x="1048" y="4966"/>
                    <a:pt x="977" y="4894"/>
                    <a:pt x="893" y="4894"/>
                  </a:cubicBezTo>
                  <a:cubicBezTo>
                    <a:pt x="798" y="4894"/>
                    <a:pt x="727" y="4966"/>
                    <a:pt x="727" y="5061"/>
                  </a:cubicBezTo>
                  <a:lnTo>
                    <a:pt x="727" y="5704"/>
                  </a:lnTo>
                  <a:lnTo>
                    <a:pt x="310" y="5704"/>
                  </a:lnTo>
                  <a:lnTo>
                    <a:pt x="310" y="5085"/>
                  </a:lnTo>
                  <a:cubicBezTo>
                    <a:pt x="310" y="4454"/>
                    <a:pt x="798" y="4275"/>
                    <a:pt x="834" y="4275"/>
                  </a:cubicBezTo>
                  <a:lnTo>
                    <a:pt x="846" y="4275"/>
                  </a:lnTo>
                  <a:lnTo>
                    <a:pt x="1227" y="4109"/>
                  </a:lnTo>
                  <a:lnTo>
                    <a:pt x="1679" y="5704"/>
                  </a:lnTo>
                  <a:cubicBezTo>
                    <a:pt x="1608" y="5716"/>
                    <a:pt x="1560" y="5775"/>
                    <a:pt x="1560" y="5847"/>
                  </a:cubicBezTo>
                  <a:cubicBezTo>
                    <a:pt x="1560" y="5942"/>
                    <a:pt x="1631" y="6013"/>
                    <a:pt x="1727" y="6013"/>
                  </a:cubicBezTo>
                  <a:lnTo>
                    <a:pt x="1893" y="6049"/>
                  </a:lnTo>
                  <a:lnTo>
                    <a:pt x="4298" y="6049"/>
                  </a:lnTo>
                  <a:cubicBezTo>
                    <a:pt x="4394" y="6049"/>
                    <a:pt x="4465" y="5966"/>
                    <a:pt x="4465" y="5883"/>
                  </a:cubicBezTo>
                  <a:lnTo>
                    <a:pt x="4465" y="5121"/>
                  </a:lnTo>
                  <a:cubicBezTo>
                    <a:pt x="4465" y="4430"/>
                    <a:pt x="3989" y="4097"/>
                    <a:pt x="3727" y="4001"/>
                  </a:cubicBezTo>
                  <a:lnTo>
                    <a:pt x="3203" y="3775"/>
                  </a:lnTo>
                  <a:lnTo>
                    <a:pt x="2834" y="3537"/>
                  </a:lnTo>
                  <a:lnTo>
                    <a:pt x="2834" y="3454"/>
                  </a:lnTo>
                  <a:cubicBezTo>
                    <a:pt x="3108" y="3299"/>
                    <a:pt x="3310" y="3037"/>
                    <a:pt x="3370" y="2727"/>
                  </a:cubicBezTo>
                  <a:cubicBezTo>
                    <a:pt x="3608" y="2680"/>
                    <a:pt x="3787" y="2465"/>
                    <a:pt x="3787" y="2215"/>
                  </a:cubicBezTo>
                  <a:cubicBezTo>
                    <a:pt x="3787" y="2084"/>
                    <a:pt x="3751" y="1965"/>
                    <a:pt x="3656" y="1870"/>
                  </a:cubicBezTo>
                  <a:lnTo>
                    <a:pt x="3656" y="1370"/>
                  </a:lnTo>
                  <a:cubicBezTo>
                    <a:pt x="3656" y="608"/>
                    <a:pt x="3048" y="1"/>
                    <a:pt x="2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5" name="Google Shape;10755;p60"/>
            <p:cNvSpPr/>
            <p:nvPr/>
          </p:nvSpPr>
          <p:spPr>
            <a:xfrm>
              <a:off x="7170938" y="1533610"/>
              <a:ext cx="223206" cy="53852"/>
            </a:xfrm>
            <a:custGeom>
              <a:avLst/>
              <a:gdLst/>
              <a:ahLst/>
              <a:cxnLst/>
              <a:rect l="l" t="t" r="r" b="b"/>
              <a:pathLst>
                <a:path w="7013" h="1692" extrusionOk="0">
                  <a:moveTo>
                    <a:pt x="3512" y="0"/>
                  </a:moveTo>
                  <a:cubicBezTo>
                    <a:pt x="2227" y="0"/>
                    <a:pt x="1000" y="477"/>
                    <a:pt x="72" y="1358"/>
                  </a:cubicBezTo>
                  <a:cubicBezTo>
                    <a:pt x="12" y="1405"/>
                    <a:pt x="0" y="1512"/>
                    <a:pt x="72" y="1572"/>
                  </a:cubicBezTo>
                  <a:cubicBezTo>
                    <a:pt x="92" y="1625"/>
                    <a:pt x="130" y="1649"/>
                    <a:pt x="171" y="1649"/>
                  </a:cubicBezTo>
                  <a:cubicBezTo>
                    <a:pt x="203" y="1649"/>
                    <a:pt x="236" y="1634"/>
                    <a:pt x="262" y="1608"/>
                  </a:cubicBezTo>
                  <a:cubicBezTo>
                    <a:pt x="1143" y="786"/>
                    <a:pt x="2286" y="322"/>
                    <a:pt x="3501" y="322"/>
                  </a:cubicBezTo>
                  <a:cubicBezTo>
                    <a:pt x="4584" y="322"/>
                    <a:pt x="5608" y="691"/>
                    <a:pt x="6453" y="1370"/>
                  </a:cubicBezTo>
                  <a:lnTo>
                    <a:pt x="6203" y="1370"/>
                  </a:lnTo>
                  <a:cubicBezTo>
                    <a:pt x="6120" y="1370"/>
                    <a:pt x="6037" y="1441"/>
                    <a:pt x="6037" y="1536"/>
                  </a:cubicBezTo>
                  <a:cubicBezTo>
                    <a:pt x="6037" y="1620"/>
                    <a:pt x="6120" y="1691"/>
                    <a:pt x="6203" y="1691"/>
                  </a:cubicBezTo>
                  <a:lnTo>
                    <a:pt x="6846" y="1691"/>
                  </a:lnTo>
                  <a:cubicBezTo>
                    <a:pt x="6930" y="1691"/>
                    <a:pt x="7013" y="1620"/>
                    <a:pt x="7013" y="1536"/>
                  </a:cubicBezTo>
                  <a:lnTo>
                    <a:pt x="7013" y="953"/>
                  </a:lnTo>
                  <a:cubicBezTo>
                    <a:pt x="7013" y="858"/>
                    <a:pt x="6930" y="786"/>
                    <a:pt x="6846" y="786"/>
                  </a:cubicBezTo>
                  <a:cubicBezTo>
                    <a:pt x="6751" y="786"/>
                    <a:pt x="6680" y="858"/>
                    <a:pt x="6680" y="953"/>
                  </a:cubicBezTo>
                  <a:lnTo>
                    <a:pt x="6680" y="1131"/>
                  </a:lnTo>
                  <a:cubicBezTo>
                    <a:pt x="5787" y="405"/>
                    <a:pt x="4667" y="0"/>
                    <a:pt x="3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6" name="Google Shape;10756;p60"/>
            <p:cNvSpPr/>
            <p:nvPr/>
          </p:nvSpPr>
          <p:spPr>
            <a:xfrm>
              <a:off x="7175107" y="1804558"/>
              <a:ext cx="215249" cy="50415"/>
            </a:xfrm>
            <a:custGeom>
              <a:avLst/>
              <a:gdLst/>
              <a:ahLst/>
              <a:cxnLst/>
              <a:rect l="l" t="t" r="r" b="b"/>
              <a:pathLst>
                <a:path w="6763" h="1584" extrusionOk="0">
                  <a:moveTo>
                    <a:pt x="167" y="0"/>
                  </a:moveTo>
                  <a:cubicBezTo>
                    <a:pt x="72" y="0"/>
                    <a:pt x="0" y="72"/>
                    <a:pt x="0" y="167"/>
                  </a:cubicBezTo>
                  <a:lnTo>
                    <a:pt x="0" y="738"/>
                  </a:lnTo>
                  <a:cubicBezTo>
                    <a:pt x="0" y="834"/>
                    <a:pt x="72" y="905"/>
                    <a:pt x="167" y="905"/>
                  </a:cubicBezTo>
                  <a:cubicBezTo>
                    <a:pt x="250" y="905"/>
                    <a:pt x="333" y="834"/>
                    <a:pt x="333" y="738"/>
                  </a:cubicBezTo>
                  <a:lnTo>
                    <a:pt x="333" y="560"/>
                  </a:lnTo>
                  <a:cubicBezTo>
                    <a:pt x="1203" y="1215"/>
                    <a:pt x="2262" y="1584"/>
                    <a:pt x="3381" y="1584"/>
                  </a:cubicBezTo>
                  <a:cubicBezTo>
                    <a:pt x="4596" y="1584"/>
                    <a:pt x="5775" y="1143"/>
                    <a:pt x="6680" y="357"/>
                  </a:cubicBezTo>
                  <a:cubicBezTo>
                    <a:pt x="6739" y="298"/>
                    <a:pt x="6763" y="191"/>
                    <a:pt x="6691" y="131"/>
                  </a:cubicBezTo>
                  <a:cubicBezTo>
                    <a:pt x="6652" y="92"/>
                    <a:pt x="6609" y="74"/>
                    <a:pt x="6567" y="74"/>
                  </a:cubicBezTo>
                  <a:cubicBezTo>
                    <a:pt x="6532" y="74"/>
                    <a:pt x="6497" y="86"/>
                    <a:pt x="6465" y="107"/>
                  </a:cubicBezTo>
                  <a:cubicBezTo>
                    <a:pt x="5596" y="846"/>
                    <a:pt x="4501" y="1262"/>
                    <a:pt x="3370" y="1262"/>
                  </a:cubicBezTo>
                  <a:cubicBezTo>
                    <a:pt x="2334" y="1262"/>
                    <a:pt x="1346" y="941"/>
                    <a:pt x="536" y="322"/>
                  </a:cubicBezTo>
                  <a:lnTo>
                    <a:pt x="810" y="322"/>
                  </a:lnTo>
                  <a:cubicBezTo>
                    <a:pt x="893" y="322"/>
                    <a:pt x="965" y="250"/>
                    <a:pt x="965" y="167"/>
                  </a:cubicBezTo>
                  <a:cubicBezTo>
                    <a:pt x="965"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7" name="Google Shape;10757;p60"/>
            <p:cNvSpPr/>
            <p:nvPr/>
          </p:nvSpPr>
          <p:spPr>
            <a:xfrm>
              <a:off x="7300539" y="1600289"/>
              <a:ext cx="142492" cy="191793"/>
            </a:xfrm>
            <a:custGeom>
              <a:avLst/>
              <a:gdLst/>
              <a:ahLst/>
              <a:cxnLst/>
              <a:rect l="l" t="t" r="r" b="b"/>
              <a:pathLst>
                <a:path w="4477" h="6026" extrusionOk="0">
                  <a:moveTo>
                    <a:pt x="2358" y="275"/>
                  </a:moveTo>
                  <a:cubicBezTo>
                    <a:pt x="2941" y="275"/>
                    <a:pt x="3417" y="751"/>
                    <a:pt x="3417" y="1322"/>
                  </a:cubicBezTo>
                  <a:lnTo>
                    <a:pt x="3417" y="1608"/>
                  </a:lnTo>
                  <a:lnTo>
                    <a:pt x="3381" y="1608"/>
                  </a:lnTo>
                  <a:cubicBezTo>
                    <a:pt x="3060" y="1537"/>
                    <a:pt x="2953" y="1108"/>
                    <a:pt x="2953" y="1108"/>
                  </a:cubicBezTo>
                  <a:cubicBezTo>
                    <a:pt x="2941" y="1049"/>
                    <a:pt x="2893" y="1001"/>
                    <a:pt x="2834" y="989"/>
                  </a:cubicBezTo>
                  <a:cubicBezTo>
                    <a:pt x="2821" y="984"/>
                    <a:pt x="2808" y="981"/>
                    <a:pt x="2795" y="981"/>
                  </a:cubicBezTo>
                  <a:cubicBezTo>
                    <a:pt x="2749" y="981"/>
                    <a:pt x="2704" y="1011"/>
                    <a:pt x="2667" y="1049"/>
                  </a:cubicBezTo>
                  <a:cubicBezTo>
                    <a:pt x="2167" y="1608"/>
                    <a:pt x="1274" y="1608"/>
                    <a:pt x="1250" y="1608"/>
                  </a:cubicBezTo>
                  <a:lnTo>
                    <a:pt x="1191" y="1608"/>
                  </a:lnTo>
                  <a:lnTo>
                    <a:pt x="1191" y="1322"/>
                  </a:lnTo>
                  <a:cubicBezTo>
                    <a:pt x="1191" y="751"/>
                    <a:pt x="1667" y="275"/>
                    <a:pt x="2250" y="275"/>
                  </a:cubicBezTo>
                  <a:close/>
                  <a:moveTo>
                    <a:pt x="1107" y="2049"/>
                  </a:moveTo>
                  <a:lnTo>
                    <a:pt x="1107" y="2382"/>
                  </a:lnTo>
                  <a:cubicBezTo>
                    <a:pt x="1060" y="2358"/>
                    <a:pt x="1012" y="2287"/>
                    <a:pt x="1012" y="2215"/>
                  </a:cubicBezTo>
                  <a:cubicBezTo>
                    <a:pt x="1012" y="2144"/>
                    <a:pt x="1048" y="2084"/>
                    <a:pt x="1107" y="2049"/>
                  </a:cubicBezTo>
                  <a:close/>
                  <a:moveTo>
                    <a:pt x="3393" y="2061"/>
                  </a:moveTo>
                  <a:cubicBezTo>
                    <a:pt x="3441" y="2084"/>
                    <a:pt x="3489" y="2144"/>
                    <a:pt x="3489" y="2215"/>
                  </a:cubicBezTo>
                  <a:cubicBezTo>
                    <a:pt x="3489" y="2299"/>
                    <a:pt x="3453" y="2358"/>
                    <a:pt x="3393" y="2382"/>
                  </a:cubicBezTo>
                  <a:lnTo>
                    <a:pt x="3393" y="2061"/>
                  </a:lnTo>
                  <a:close/>
                  <a:moveTo>
                    <a:pt x="2643" y="1442"/>
                  </a:moveTo>
                  <a:cubicBezTo>
                    <a:pt x="2727" y="1608"/>
                    <a:pt x="2858" y="1787"/>
                    <a:pt x="3084" y="1894"/>
                  </a:cubicBezTo>
                  <a:lnTo>
                    <a:pt x="3084" y="2537"/>
                  </a:lnTo>
                  <a:cubicBezTo>
                    <a:pt x="3084" y="2930"/>
                    <a:pt x="2762" y="3263"/>
                    <a:pt x="2358" y="3263"/>
                  </a:cubicBezTo>
                  <a:lnTo>
                    <a:pt x="2167" y="3263"/>
                  </a:lnTo>
                  <a:cubicBezTo>
                    <a:pt x="1750" y="3263"/>
                    <a:pt x="1417" y="2930"/>
                    <a:pt x="1417" y="2537"/>
                  </a:cubicBezTo>
                  <a:lnTo>
                    <a:pt x="1417" y="1918"/>
                  </a:lnTo>
                  <a:cubicBezTo>
                    <a:pt x="1691" y="1894"/>
                    <a:pt x="2238" y="1799"/>
                    <a:pt x="2643" y="1442"/>
                  </a:cubicBezTo>
                  <a:close/>
                  <a:moveTo>
                    <a:pt x="2548" y="3573"/>
                  </a:moveTo>
                  <a:lnTo>
                    <a:pt x="2548" y="3775"/>
                  </a:lnTo>
                  <a:lnTo>
                    <a:pt x="2250" y="4073"/>
                  </a:lnTo>
                  <a:lnTo>
                    <a:pt x="1965" y="3811"/>
                  </a:lnTo>
                  <a:lnTo>
                    <a:pt x="1965" y="3632"/>
                  </a:lnTo>
                  <a:lnTo>
                    <a:pt x="1965" y="3573"/>
                  </a:lnTo>
                  <a:cubicBezTo>
                    <a:pt x="2024" y="3585"/>
                    <a:pt x="2084" y="3585"/>
                    <a:pt x="2155" y="3585"/>
                  </a:cubicBezTo>
                  <a:lnTo>
                    <a:pt x="2358" y="3585"/>
                  </a:lnTo>
                  <a:cubicBezTo>
                    <a:pt x="2417" y="3585"/>
                    <a:pt x="2477" y="3585"/>
                    <a:pt x="2548" y="3573"/>
                  </a:cubicBezTo>
                  <a:close/>
                  <a:moveTo>
                    <a:pt x="1667" y="3918"/>
                  </a:moveTo>
                  <a:cubicBezTo>
                    <a:pt x="1667" y="3942"/>
                    <a:pt x="1679" y="3954"/>
                    <a:pt x="1715" y="3989"/>
                  </a:cubicBezTo>
                  <a:lnTo>
                    <a:pt x="2024" y="4287"/>
                  </a:lnTo>
                  <a:lnTo>
                    <a:pt x="1774" y="4454"/>
                  </a:lnTo>
                  <a:lnTo>
                    <a:pt x="1548" y="3989"/>
                  </a:lnTo>
                  <a:lnTo>
                    <a:pt x="1667" y="3918"/>
                  </a:lnTo>
                  <a:close/>
                  <a:moveTo>
                    <a:pt x="2834" y="3918"/>
                  </a:moveTo>
                  <a:lnTo>
                    <a:pt x="2941" y="3989"/>
                  </a:lnTo>
                  <a:lnTo>
                    <a:pt x="2715" y="4454"/>
                  </a:lnTo>
                  <a:lnTo>
                    <a:pt x="2655" y="4406"/>
                  </a:lnTo>
                  <a:lnTo>
                    <a:pt x="2477" y="4275"/>
                  </a:lnTo>
                  <a:lnTo>
                    <a:pt x="2798" y="3942"/>
                  </a:lnTo>
                  <a:lnTo>
                    <a:pt x="2834" y="3918"/>
                  </a:lnTo>
                  <a:close/>
                  <a:moveTo>
                    <a:pt x="2238" y="4501"/>
                  </a:moveTo>
                  <a:lnTo>
                    <a:pt x="2369" y="4585"/>
                  </a:lnTo>
                  <a:lnTo>
                    <a:pt x="2322" y="4692"/>
                  </a:lnTo>
                  <a:lnTo>
                    <a:pt x="2167" y="4692"/>
                  </a:lnTo>
                  <a:lnTo>
                    <a:pt x="2119" y="4585"/>
                  </a:lnTo>
                  <a:lnTo>
                    <a:pt x="2238" y="4501"/>
                  </a:lnTo>
                  <a:close/>
                  <a:moveTo>
                    <a:pt x="1846" y="4799"/>
                  </a:moveTo>
                  <a:lnTo>
                    <a:pt x="1893" y="4894"/>
                  </a:lnTo>
                  <a:lnTo>
                    <a:pt x="1846" y="5156"/>
                  </a:lnTo>
                  <a:lnTo>
                    <a:pt x="1762" y="4835"/>
                  </a:lnTo>
                  <a:cubicBezTo>
                    <a:pt x="1774" y="4835"/>
                    <a:pt x="1786" y="4823"/>
                    <a:pt x="1810" y="4823"/>
                  </a:cubicBezTo>
                  <a:lnTo>
                    <a:pt x="1846" y="4799"/>
                  </a:lnTo>
                  <a:close/>
                  <a:moveTo>
                    <a:pt x="2643" y="4799"/>
                  </a:moveTo>
                  <a:lnTo>
                    <a:pt x="2679" y="4823"/>
                  </a:lnTo>
                  <a:cubicBezTo>
                    <a:pt x="2703" y="4835"/>
                    <a:pt x="2715" y="4835"/>
                    <a:pt x="2739" y="4847"/>
                  </a:cubicBezTo>
                  <a:lnTo>
                    <a:pt x="2655" y="5156"/>
                  </a:lnTo>
                  <a:lnTo>
                    <a:pt x="2608" y="4882"/>
                  </a:lnTo>
                  <a:lnTo>
                    <a:pt x="2643" y="4799"/>
                  </a:lnTo>
                  <a:close/>
                  <a:moveTo>
                    <a:pt x="2322" y="5037"/>
                  </a:moveTo>
                  <a:lnTo>
                    <a:pt x="2441" y="5728"/>
                  </a:lnTo>
                  <a:lnTo>
                    <a:pt x="2084" y="5728"/>
                  </a:lnTo>
                  <a:lnTo>
                    <a:pt x="2203" y="5037"/>
                  </a:lnTo>
                  <a:close/>
                  <a:moveTo>
                    <a:pt x="3262" y="4156"/>
                  </a:moveTo>
                  <a:lnTo>
                    <a:pt x="3620" y="4299"/>
                  </a:lnTo>
                  <a:lnTo>
                    <a:pt x="3631" y="4299"/>
                  </a:lnTo>
                  <a:cubicBezTo>
                    <a:pt x="3655" y="4323"/>
                    <a:pt x="4155" y="4501"/>
                    <a:pt x="4155" y="5121"/>
                  </a:cubicBezTo>
                  <a:lnTo>
                    <a:pt x="4155" y="5728"/>
                  </a:lnTo>
                  <a:lnTo>
                    <a:pt x="3739" y="5728"/>
                  </a:lnTo>
                  <a:lnTo>
                    <a:pt x="3739" y="5097"/>
                  </a:lnTo>
                  <a:cubicBezTo>
                    <a:pt x="3739" y="5001"/>
                    <a:pt x="3667" y="4930"/>
                    <a:pt x="3572" y="4930"/>
                  </a:cubicBezTo>
                  <a:cubicBezTo>
                    <a:pt x="3489" y="4930"/>
                    <a:pt x="3417" y="5001"/>
                    <a:pt x="3417" y="5097"/>
                  </a:cubicBezTo>
                  <a:lnTo>
                    <a:pt x="3417" y="5728"/>
                  </a:lnTo>
                  <a:lnTo>
                    <a:pt x="2822" y="5728"/>
                  </a:lnTo>
                  <a:lnTo>
                    <a:pt x="3262" y="4156"/>
                  </a:lnTo>
                  <a:close/>
                  <a:moveTo>
                    <a:pt x="2191" y="1"/>
                  </a:moveTo>
                  <a:cubicBezTo>
                    <a:pt x="1429" y="1"/>
                    <a:pt x="822" y="608"/>
                    <a:pt x="822" y="1370"/>
                  </a:cubicBezTo>
                  <a:lnTo>
                    <a:pt x="822" y="1870"/>
                  </a:lnTo>
                  <a:cubicBezTo>
                    <a:pt x="750" y="1965"/>
                    <a:pt x="691" y="2084"/>
                    <a:pt x="691" y="2215"/>
                  </a:cubicBezTo>
                  <a:cubicBezTo>
                    <a:pt x="691" y="2465"/>
                    <a:pt x="869" y="2680"/>
                    <a:pt x="1107" y="2727"/>
                  </a:cubicBezTo>
                  <a:cubicBezTo>
                    <a:pt x="1167" y="3037"/>
                    <a:pt x="1357" y="3299"/>
                    <a:pt x="1643" y="3454"/>
                  </a:cubicBezTo>
                  <a:lnTo>
                    <a:pt x="1643" y="3525"/>
                  </a:lnTo>
                  <a:lnTo>
                    <a:pt x="1286" y="3763"/>
                  </a:lnTo>
                  <a:lnTo>
                    <a:pt x="1262" y="3763"/>
                  </a:lnTo>
                  <a:lnTo>
                    <a:pt x="726" y="3989"/>
                  </a:lnTo>
                  <a:cubicBezTo>
                    <a:pt x="476" y="4073"/>
                    <a:pt x="0" y="4418"/>
                    <a:pt x="0" y="5109"/>
                  </a:cubicBezTo>
                  <a:lnTo>
                    <a:pt x="0" y="5859"/>
                  </a:lnTo>
                  <a:cubicBezTo>
                    <a:pt x="0" y="5954"/>
                    <a:pt x="72" y="6025"/>
                    <a:pt x="167" y="6025"/>
                  </a:cubicBezTo>
                  <a:lnTo>
                    <a:pt x="1203" y="6025"/>
                  </a:lnTo>
                  <a:cubicBezTo>
                    <a:pt x="1298" y="6025"/>
                    <a:pt x="1369" y="5954"/>
                    <a:pt x="1369" y="5859"/>
                  </a:cubicBezTo>
                  <a:cubicBezTo>
                    <a:pt x="1369" y="5775"/>
                    <a:pt x="1298" y="5704"/>
                    <a:pt x="1203" y="5704"/>
                  </a:cubicBezTo>
                  <a:lnTo>
                    <a:pt x="1060" y="5704"/>
                  </a:lnTo>
                  <a:lnTo>
                    <a:pt x="1060" y="5061"/>
                  </a:lnTo>
                  <a:cubicBezTo>
                    <a:pt x="1060" y="4966"/>
                    <a:pt x="988" y="4894"/>
                    <a:pt x="893" y="4894"/>
                  </a:cubicBezTo>
                  <a:cubicBezTo>
                    <a:pt x="810" y="4894"/>
                    <a:pt x="726" y="4966"/>
                    <a:pt x="726" y="5061"/>
                  </a:cubicBezTo>
                  <a:lnTo>
                    <a:pt x="726" y="5704"/>
                  </a:lnTo>
                  <a:lnTo>
                    <a:pt x="310" y="5704"/>
                  </a:lnTo>
                  <a:lnTo>
                    <a:pt x="310" y="5085"/>
                  </a:lnTo>
                  <a:cubicBezTo>
                    <a:pt x="310" y="4454"/>
                    <a:pt x="810" y="4275"/>
                    <a:pt x="834" y="4275"/>
                  </a:cubicBezTo>
                  <a:lnTo>
                    <a:pt x="845" y="4275"/>
                  </a:lnTo>
                  <a:lnTo>
                    <a:pt x="1238" y="4109"/>
                  </a:lnTo>
                  <a:lnTo>
                    <a:pt x="1679" y="5704"/>
                  </a:lnTo>
                  <a:cubicBezTo>
                    <a:pt x="1607" y="5716"/>
                    <a:pt x="1560" y="5775"/>
                    <a:pt x="1560" y="5847"/>
                  </a:cubicBezTo>
                  <a:cubicBezTo>
                    <a:pt x="1560" y="5942"/>
                    <a:pt x="1643" y="6013"/>
                    <a:pt x="1726" y="6013"/>
                  </a:cubicBezTo>
                  <a:lnTo>
                    <a:pt x="4322" y="6013"/>
                  </a:lnTo>
                  <a:cubicBezTo>
                    <a:pt x="4405" y="6013"/>
                    <a:pt x="4477" y="5942"/>
                    <a:pt x="4477" y="5847"/>
                  </a:cubicBezTo>
                  <a:lnTo>
                    <a:pt x="4477" y="5085"/>
                  </a:lnTo>
                  <a:cubicBezTo>
                    <a:pt x="4465" y="4442"/>
                    <a:pt x="3989" y="4097"/>
                    <a:pt x="3739" y="4001"/>
                  </a:cubicBezTo>
                  <a:lnTo>
                    <a:pt x="3203" y="3775"/>
                  </a:lnTo>
                  <a:lnTo>
                    <a:pt x="2846" y="3537"/>
                  </a:lnTo>
                  <a:lnTo>
                    <a:pt x="2846" y="3454"/>
                  </a:lnTo>
                  <a:cubicBezTo>
                    <a:pt x="3120" y="3299"/>
                    <a:pt x="3322" y="3037"/>
                    <a:pt x="3381" y="2727"/>
                  </a:cubicBezTo>
                  <a:cubicBezTo>
                    <a:pt x="3620" y="2680"/>
                    <a:pt x="3798" y="2465"/>
                    <a:pt x="3798" y="2215"/>
                  </a:cubicBezTo>
                  <a:cubicBezTo>
                    <a:pt x="3798" y="2084"/>
                    <a:pt x="3751" y="1965"/>
                    <a:pt x="3667" y="1870"/>
                  </a:cubicBezTo>
                  <a:lnTo>
                    <a:pt x="3667" y="1370"/>
                  </a:lnTo>
                  <a:cubicBezTo>
                    <a:pt x="3667" y="608"/>
                    <a:pt x="3048" y="1"/>
                    <a:pt x="2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58" name="Google Shape;10758;p60"/>
          <p:cNvGrpSpPr/>
          <p:nvPr/>
        </p:nvGrpSpPr>
        <p:grpSpPr>
          <a:xfrm>
            <a:off x="7562766" y="1514864"/>
            <a:ext cx="327059" cy="360192"/>
            <a:chOff x="7562766" y="1514864"/>
            <a:chExt cx="327059" cy="360192"/>
          </a:xfrm>
        </p:grpSpPr>
        <p:sp>
          <p:nvSpPr>
            <p:cNvPr id="10759" name="Google Shape;10759;p60"/>
            <p:cNvSpPr/>
            <p:nvPr/>
          </p:nvSpPr>
          <p:spPr>
            <a:xfrm>
              <a:off x="7662418" y="1600289"/>
              <a:ext cx="127724" cy="165248"/>
            </a:xfrm>
            <a:custGeom>
              <a:avLst/>
              <a:gdLst/>
              <a:ahLst/>
              <a:cxnLst/>
              <a:rect l="l" t="t" r="r" b="b"/>
              <a:pathLst>
                <a:path w="4013" h="5192" extrusionOk="0">
                  <a:moveTo>
                    <a:pt x="2001" y="334"/>
                  </a:moveTo>
                  <a:cubicBezTo>
                    <a:pt x="2298" y="334"/>
                    <a:pt x="2548" y="513"/>
                    <a:pt x="2656" y="763"/>
                  </a:cubicBezTo>
                  <a:cubicBezTo>
                    <a:pt x="2679" y="846"/>
                    <a:pt x="2715" y="941"/>
                    <a:pt x="2715" y="1049"/>
                  </a:cubicBezTo>
                  <a:lnTo>
                    <a:pt x="2715" y="1227"/>
                  </a:lnTo>
                  <a:cubicBezTo>
                    <a:pt x="2441" y="1132"/>
                    <a:pt x="2322" y="846"/>
                    <a:pt x="2322" y="834"/>
                  </a:cubicBezTo>
                  <a:cubicBezTo>
                    <a:pt x="2298" y="775"/>
                    <a:pt x="2251" y="727"/>
                    <a:pt x="2179" y="727"/>
                  </a:cubicBezTo>
                  <a:cubicBezTo>
                    <a:pt x="2120" y="727"/>
                    <a:pt x="2060" y="763"/>
                    <a:pt x="2013" y="822"/>
                  </a:cubicBezTo>
                  <a:cubicBezTo>
                    <a:pt x="2013" y="822"/>
                    <a:pt x="1822" y="1180"/>
                    <a:pt x="1286" y="1239"/>
                  </a:cubicBezTo>
                  <a:lnTo>
                    <a:pt x="1286" y="1025"/>
                  </a:lnTo>
                  <a:cubicBezTo>
                    <a:pt x="1298" y="941"/>
                    <a:pt x="1310" y="846"/>
                    <a:pt x="1346" y="763"/>
                  </a:cubicBezTo>
                  <a:cubicBezTo>
                    <a:pt x="1453" y="513"/>
                    <a:pt x="1703" y="334"/>
                    <a:pt x="2001" y="334"/>
                  </a:cubicBezTo>
                  <a:close/>
                  <a:moveTo>
                    <a:pt x="2167" y="1180"/>
                  </a:moveTo>
                  <a:cubicBezTo>
                    <a:pt x="2263" y="1322"/>
                    <a:pt x="2465" y="1501"/>
                    <a:pt x="2727" y="1549"/>
                  </a:cubicBezTo>
                  <a:lnTo>
                    <a:pt x="2727" y="1775"/>
                  </a:lnTo>
                  <a:cubicBezTo>
                    <a:pt x="2727" y="2156"/>
                    <a:pt x="2429" y="2465"/>
                    <a:pt x="2048" y="2489"/>
                  </a:cubicBezTo>
                  <a:lnTo>
                    <a:pt x="1989" y="2489"/>
                  </a:lnTo>
                  <a:cubicBezTo>
                    <a:pt x="1596" y="2489"/>
                    <a:pt x="1298" y="2180"/>
                    <a:pt x="1298" y="1787"/>
                  </a:cubicBezTo>
                  <a:lnTo>
                    <a:pt x="1298" y="1561"/>
                  </a:lnTo>
                  <a:cubicBezTo>
                    <a:pt x="1727" y="1525"/>
                    <a:pt x="2001" y="1346"/>
                    <a:pt x="2167" y="1180"/>
                  </a:cubicBezTo>
                  <a:close/>
                  <a:moveTo>
                    <a:pt x="2215" y="2846"/>
                  </a:moveTo>
                  <a:lnTo>
                    <a:pt x="2132" y="3025"/>
                  </a:lnTo>
                  <a:lnTo>
                    <a:pt x="1906" y="3025"/>
                  </a:lnTo>
                  <a:lnTo>
                    <a:pt x="1810" y="2846"/>
                  </a:lnTo>
                  <a:close/>
                  <a:moveTo>
                    <a:pt x="2084" y="3347"/>
                  </a:moveTo>
                  <a:lnTo>
                    <a:pt x="2287" y="4180"/>
                  </a:lnTo>
                  <a:lnTo>
                    <a:pt x="2013" y="4442"/>
                  </a:lnTo>
                  <a:lnTo>
                    <a:pt x="1751" y="4180"/>
                  </a:lnTo>
                  <a:lnTo>
                    <a:pt x="1929" y="3347"/>
                  </a:lnTo>
                  <a:close/>
                  <a:moveTo>
                    <a:pt x="2572" y="2918"/>
                  </a:moveTo>
                  <a:cubicBezTo>
                    <a:pt x="2810" y="2989"/>
                    <a:pt x="3025" y="3120"/>
                    <a:pt x="3215" y="3311"/>
                  </a:cubicBezTo>
                  <a:cubicBezTo>
                    <a:pt x="3549" y="3620"/>
                    <a:pt x="3727" y="4025"/>
                    <a:pt x="3727" y="4442"/>
                  </a:cubicBezTo>
                  <a:lnTo>
                    <a:pt x="3668" y="4859"/>
                  </a:lnTo>
                  <a:lnTo>
                    <a:pt x="334" y="4859"/>
                  </a:lnTo>
                  <a:lnTo>
                    <a:pt x="334" y="4442"/>
                  </a:lnTo>
                  <a:cubicBezTo>
                    <a:pt x="334" y="4025"/>
                    <a:pt x="513" y="3620"/>
                    <a:pt x="834" y="3311"/>
                  </a:cubicBezTo>
                  <a:cubicBezTo>
                    <a:pt x="1013" y="3132"/>
                    <a:pt x="1239" y="2989"/>
                    <a:pt x="1477" y="2918"/>
                  </a:cubicBezTo>
                  <a:lnTo>
                    <a:pt x="1632" y="3204"/>
                  </a:lnTo>
                  <a:lnTo>
                    <a:pt x="1405" y="4192"/>
                  </a:lnTo>
                  <a:cubicBezTo>
                    <a:pt x="1394" y="4251"/>
                    <a:pt x="1405" y="4311"/>
                    <a:pt x="1453" y="4359"/>
                  </a:cubicBezTo>
                  <a:lnTo>
                    <a:pt x="1906" y="4775"/>
                  </a:lnTo>
                  <a:cubicBezTo>
                    <a:pt x="1941" y="4811"/>
                    <a:pt x="1989" y="4823"/>
                    <a:pt x="2025" y="4823"/>
                  </a:cubicBezTo>
                  <a:cubicBezTo>
                    <a:pt x="2072" y="4823"/>
                    <a:pt x="2096" y="4811"/>
                    <a:pt x="2144" y="4775"/>
                  </a:cubicBezTo>
                  <a:lnTo>
                    <a:pt x="2608" y="4359"/>
                  </a:lnTo>
                  <a:cubicBezTo>
                    <a:pt x="2656" y="4311"/>
                    <a:pt x="2668" y="4251"/>
                    <a:pt x="2656" y="4192"/>
                  </a:cubicBezTo>
                  <a:lnTo>
                    <a:pt x="2429" y="3204"/>
                  </a:lnTo>
                  <a:lnTo>
                    <a:pt x="2572" y="2918"/>
                  </a:lnTo>
                  <a:close/>
                  <a:moveTo>
                    <a:pt x="2001" y="1"/>
                  </a:moveTo>
                  <a:cubicBezTo>
                    <a:pt x="1417" y="1"/>
                    <a:pt x="953" y="465"/>
                    <a:pt x="953" y="1049"/>
                  </a:cubicBezTo>
                  <a:lnTo>
                    <a:pt x="953" y="1418"/>
                  </a:lnTo>
                  <a:lnTo>
                    <a:pt x="953" y="1787"/>
                  </a:lnTo>
                  <a:cubicBezTo>
                    <a:pt x="953" y="2120"/>
                    <a:pt x="1120" y="2418"/>
                    <a:pt x="1358" y="2608"/>
                  </a:cubicBezTo>
                  <a:cubicBezTo>
                    <a:pt x="572" y="2870"/>
                    <a:pt x="1" y="3608"/>
                    <a:pt x="1" y="4442"/>
                  </a:cubicBezTo>
                  <a:lnTo>
                    <a:pt x="1" y="5037"/>
                  </a:lnTo>
                  <a:cubicBezTo>
                    <a:pt x="1" y="5121"/>
                    <a:pt x="84" y="5192"/>
                    <a:pt x="167" y="5192"/>
                  </a:cubicBezTo>
                  <a:lnTo>
                    <a:pt x="3834" y="5192"/>
                  </a:lnTo>
                  <a:cubicBezTo>
                    <a:pt x="3918" y="5192"/>
                    <a:pt x="3989" y="5121"/>
                    <a:pt x="3989" y="5037"/>
                  </a:cubicBezTo>
                  <a:lnTo>
                    <a:pt x="3989" y="4442"/>
                  </a:lnTo>
                  <a:cubicBezTo>
                    <a:pt x="4013" y="3620"/>
                    <a:pt x="3430" y="2882"/>
                    <a:pt x="2644" y="2608"/>
                  </a:cubicBezTo>
                  <a:cubicBezTo>
                    <a:pt x="2882" y="2418"/>
                    <a:pt x="3037" y="2120"/>
                    <a:pt x="3037" y="1787"/>
                  </a:cubicBezTo>
                  <a:lnTo>
                    <a:pt x="3037" y="1418"/>
                  </a:lnTo>
                  <a:lnTo>
                    <a:pt x="3037" y="1049"/>
                  </a:lnTo>
                  <a:cubicBezTo>
                    <a:pt x="3037" y="465"/>
                    <a:pt x="2584"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0" name="Google Shape;10760;p60"/>
            <p:cNvSpPr/>
            <p:nvPr/>
          </p:nvSpPr>
          <p:spPr>
            <a:xfrm>
              <a:off x="7599527" y="1548951"/>
              <a:ext cx="258853" cy="154841"/>
            </a:xfrm>
            <a:custGeom>
              <a:avLst/>
              <a:gdLst/>
              <a:ahLst/>
              <a:cxnLst/>
              <a:rect l="l" t="t" r="r" b="b"/>
              <a:pathLst>
                <a:path w="8133" h="4865" extrusionOk="0">
                  <a:moveTo>
                    <a:pt x="3974" y="1"/>
                  </a:moveTo>
                  <a:cubicBezTo>
                    <a:pt x="3947" y="1"/>
                    <a:pt x="3923" y="7"/>
                    <a:pt x="3905" y="18"/>
                  </a:cubicBezTo>
                  <a:cubicBezTo>
                    <a:pt x="3882" y="42"/>
                    <a:pt x="1798" y="1269"/>
                    <a:pt x="238" y="1269"/>
                  </a:cubicBezTo>
                  <a:cubicBezTo>
                    <a:pt x="167" y="1269"/>
                    <a:pt x="95" y="1328"/>
                    <a:pt x="72" y="1411"/>
                  </a:cubicBezTo>
                  <a:cubicBezTo>
                    <a:pt x="72" y="1423"/>
                    <a:pt x="0" y="1912"/>
                    <a:pt x="0" y="2662"/>
                  </a:cubicBezTo>
                  <a:cubicBezTo>
                    <a:pt x="0" y="2745"/>
                    <a:pt x="72" y="2816"/>
                    <a:pt x="167" y="2816"/>
                  </a:cubicBezTo>
                  <a:cubicBezTo>
                    <a:pt x="250" y="2816"/>
                    <a:pt x="333" y="2745"/>
                    <a:pt x="333" y="2662"/>
                  </a:cubicBezTo>
                  <a:cubicBezTo>
                    <a:pt x="333" y="2162"/>
                    <a:pt x="357" y="1781"/>
                    <a:pt x="393" y="1590"/>
                  </a:cubicBezTo>
                  <a:cubicBezTo>
                    <a:pt x="1060" y="1554"/>
                    <a:pt x="1857" y="1352"/>
                    <a:pt x="2786" y="947"/>
                  </a:cubicBezTo>
                  <a:cubicBezTo>
                    <a:pt x="3346" y="697"/>
                    <a:pt x="3798" y="459"/>
                    <a:pt x="3977" y="352"/>
                  </a:cubicBezTo>
                  <a:cubicBezTo>
                    <a:pt x="4155" y="459"/>
                    <a:pt x="4596" y="697"/>
                    <a:pt x="5167" y="947"/>
                  </a:cubicBezTo>
                  <a:cubicBezTo>
                    <a:pt x="6084" y="1352"/>
                    <a:pt x="6894" y="1566"/>
                    <a:pt x="7561" y="1590"/>
                  </a:cubicBezTo>
                  <a:cubicBezTo>
                    <a:pt x="7608" y="2007"/>
                    <a:pt x="7715" y="3281"/>
                    <a:pt x="7394" y="4662"/>
                  </a:cubicBezTo>
                  <a:cubicBezTo>
                    <a:pt x="7382" y="4757"/>
                    <a:pt x="7430" y="4840"/>
                    <a:pt x="7513" y="4864"/>
                  </a:cubicBezTo>
                  <a:lnTo>
                    <a:pt x="7549" y="4864"/>
                  </a:lnTo>
                  <a:cubicBezTo>
                    <a:pt x="7620" y="4864"/>
                    <a:pt x="7692" y="4805"/>
                    <a:pt x="7715" y="4721"/>
                  </a:cubicBezTo>
                  <a:cubicBezTo>
                    <a:pt x="8132" y="3007"/>
                    <a:pt x="7894" y="1483"/>
                    <a:pt x="7894" y="1411"/>
                  </a:cubicBezTo>
                  <a:cubicBezTo>
                    <a:pt x="7870" y="1328"/>
                    <a:pt x="7799" y="1269"/>
                    <a:pt x="7727" y="1269"/>
                  </a:cubicBezTo>
                  <a:cubicBezTo>
                    <a:pt x="6168" y="1269"/>
                    <a:pt x="4096" y="42"/>
                    <a:pt x="4060" y="18"/>
                  </a:cubicBezTo>
                  <a:cubicBezTo>
                    <a:pt x="4030" y="7"/>
                    <a:pt x="4001" y="1"/>
                    <a:pt x="39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1" name="Google Shape;10761;p60"/>
            <p:cNvSpPr/>
            <p:nvPr/>
          </p:nvSpPr>
          <p:spPr>
            <a:xfrm>
              <a:off x="7599909" y="1648380"/>
              <a:ext cx="242175" cy="190679"/>
            </a:xfrm>
            <a:custGeom>
              <a:avLst/>
              <a:gdLst/>
              <a:ahLst/>
              <a:cxnLst/>
              <a:rect l="l" t="t" r="r" b="b"/>
              <a:pathLst>
                <a:path w="7609" h="5991" extrusionOk="0">
                  <a:moveTo>
                    <a:pt x="185" y="1"/>
                  </a:moveTo>
                  <a:cubicBezTo>
                    <a:pt x="179" y="1"/>
                    <a:pt x="173" y="1"/>
                    <a:pt x="167" y="2"/>
                  </a:cubicBezTo>
                  <a:cubicBezTo>
                    <a:pt x="71" y="2"/>
                    <a:pt x="0" y="97"/>
                    <a:pt x="12" y="181"/>
                  </a:cubicBezTo>
                  <a:cubicBezTo>
                    <a:pt x="95" y="1419"/>
                    <a:pt x="369" y="2502"/>
                    <a:pt x="869" y="3419"/>
                  </a:cubicBezTo>
                  <a:cubicBezTo>
                    <a:pt x="1536" y="4669"/>
                    <a:pt x="2560" y="5526"/>
                    <a:pt x="3929" y="5979"/>
                  </a:cubicBezTo>
                  <a:cubicBezTo>
                    <a:pt x="3941" y="5979"/>
                    <a:pt x="3965" y="5991"/>
                    <a:pt x="3989" y="5991"/>
                  </a:cubicBezTo>
                  <a:cubicBezTo>
                    <a:pt x="4001" y="5991"/>
                    <a:pt x="4024" y="5991"/>
                    <a:pt x="4048" y="5979"/>
                  </a:cubicBezTo>
                  <a:cubicBezTo>
                    <a:pt x="4941" y="5681"/>
                    <a:pt x="5691" y="5217"/>
                    <a:pt x="6287" y="4574"/>
                  </a:cubicBezTo>
                  <a:cubicBezTo>
                    <a:pt x="6882" y="3931"/>
                    <a:pt x="7322" y="3133"/>
                    <a:pt x="7608" y="2181"/>
                  </a:cubicBezTo>
                  <a:cubicBezTo>
                    <a:pt x="7608" y="2097"/>
                    <a:pt x="7560" y="2002"/>
                    <a:pt x="7477" y="1966"/>
                  </a:cubicBezTo>
                  <a:cubicBezTo>
                    <a:pt x="7463" y="1963"/>
                    <a:pt x="7448" y="1961"/>
                    <a:pt x="7434" y="1961"/>
                  </a:cubicBezTo>
                  <a:cubicBezTo>
                    <a:pt x="7358" y="1961"/>
                    <a:pt x="7293" y="2013"/>
                    <a:pt x="7263" y="2074"/>
                  </a:cubicBezTo>
                  <a:cubicBezTo>
                    <a:pt x="7001" y="2990"/>
                    <a:pt x="6560" y="3741"/>
                    <a:pt x="6013" y="4336"/>
                  </a:cubicBezTo>
                  <a:cubicBezTo>
                    <a:pt x="5465" y="4919"/>
                    <a:pt x="4774" y="5348"/>
                    <a:pt x="3977" y="5634"/>
                  </a:cubicBezTo>
                  <a:cubicBezTo>
                    <a:pt x="2727" y="5205"/>
                    <a:pt x="1774" y="4395"/>
                    <a:pt x="1143" y="3252"/>
                  </a:cubicBezTo>
                  <a:cubicBezTo>
                    <a:pt x="691" y="2383"/>
                    <a:pt x="417" y="1347"/>
                    <a:pt x="345" y="157"/>
                  </a:cubicBezTo>
                  <a:cubicBezTo>
                    <a:pt x="345" y="68"/>
                    <a:pt x="263"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2" name="Google Shape;10762;p60"/>
            <p:cNvSpPr/>
            <p:nvPr/>
          </p:nvSpPr>
          <p:spPr>
            <a:xfrm>
              <a:off x="7562766" y="1514864"/>
              <a:ext cx="327059" cy="360192"/>
            </a:xfrm>
            <a:custGeom>
              <a:avLst/>
              <a:gdLst/>
              <a:ahLst/>
              <a:cxnLst/>
              <a:rect l="l" t="t" r="r" b="b"/>
              <a:pathLst>
                <a:path w="10276" h="11317" extrusionOk="0">
                  <a:moveTo>
                    <a:pt x="5132" y="363"/>
                  </a:moveTo>
                  <a:cubicBezTo>
                    <a:pt x="5334" y="482"/>
                    <a:pt x="5906" y="792"/>
                    <a:pt x="6644" y="1125"/>
                  </a:cubicBezTo>
                  <a:cubicBezTo>
                    <a:pt x="7823" y="1625"/>
                    <a:pt x="8835" y="1899"/>
                    <a:pt x="9668" y="1923"/>
                  </a:cubicBezTo>
                  <a:cubicBezTo>
                    <a:pt x="9728" y="2375"/>
                    <a:pt x="9882" y="3947"/>
                    <a:pt x="9501" y="5673"/>
                  </a:cubicBezTo>
                  <a:cubicBezTo>
                    <a:pt x="9251" y="6888"/>
                    <a:pt x="8823" y="7912"/>
                    <a:pt x="8192" y="8757"/>
                  </a:cubicBezTo>
                  <a:cubicBezTo>
                    <a:pt x="7442" y="9781"/>
                    <a:pt x="6406" y="10531"/>
                    <a:pt x="5132" y="10972"/>
                  </a:cubicBezTo>
                  <a:cubicBezTo>
                    <a:pt x="3846" y="10543"/>
                    <a:pt x="2822" y="9805"/>
                    <a:pt x="2060" y="8769"/>
                  </a:cubicBezTo>
                  <a:cubicBezTo>
                    <a:pt x="1453" y="7936"/>
                    <a:pt x="1012" y="6900"/>
                    <a:pt x="750" y="5709"/>
                  </a:cubicBezTo>
                  <a:cubicBezTo>
                    <a:pt x="393" y="3983"/>
                    <a:pt x="536" y="2387"/>
                    <a:pt x="596" y="1923"/>
                  </a:cubicBezTo>
                  <a:cubicBezTo>
                    <a:pt x="1429" y="1899"/>
                    <a:pt x="2453" y="1625"/>
                    <a:pt x="3608" y="1125"/>
                  </a:cubicBezTo>
                  <a:cubicBezTo>
                    <a:pt x="4346" y="816"/>
                    <a:pt x="4917" y="482"/>
                    <a:pt x="5132" y="363"/>
                  </a:cubicBezTo>
                  <a:close/>
                  <a:moveTo>
                    <a:pt x="5129" y="0"/>
                  </a:moveTo>
                  <a:cubicBezTo>
                    <a:pt x="5102" y="0"/>
                    <a:pt x="5078" y="6"/>
                    <a:pt x="5060" y="18"/>
                  </a:cubicBezTo>
                  <a:cubicBezTo>
                    <a:pt x="5025" y="42"/>
                    <a:pt x="2417" y="1589"/>
                    <a:pt x="453" y="1589"/>
                  </a:cubicBezTo>
                  <a:cubicBezTo>
                    <a:pt x="381" y="1589"/>
                    <a:pt x="310" y="1649"/>
                    <a:pt x="298" y="1720"/>
                  </a:cubicBezTo>
                  <a:cubicBezTo>
                    <a:pt x="274" y="1792"/>
                    <a:pt x="0" y="3637"/>
                    <a:pt x="441" y="5757"/>
                  </a:cubicBezTo>
                  <a:cubicBezTo>
                    <a:pt x="691" y="7007"/>
                    <a:pt x="1155" y="8078"/>
                    <a:pt x="1810" y="8948"/>
                  </a:cubicBezTo>
                  <a:cubicBezTo>
                    <a:pt x="2620" y="10055"/>
                    <a:pt x="3727" y="10841"/>
                    <a:pt x="5096" y="11305"/>
                  </a:cubicBezTo>
                  <a:cubicBezTo>
                    <a:pt x="5120" y="11305"/>
                    <a:pt x="5132" y="11317"/>
                    <a:pt x="5156" y="11317"/>
                  </a:cubicBezTo>
                  <a:cubicBezTo>
                    <a:pt x="5179" y="11317"/>
                    <a:pt x="5191" y="11317"/>
                    <a:pt x="5215" y="11305"/>
                  </a:cubicBezTo>
                  <a:cubicBezTo>
                    <a:pt x="6584" y="10841"/>
                    <a:pt x="7692" y="10055"/>
                    <a:pt x="8513" y="8948"/>
                  </a:cubicBezTo>
                  <a:cubicBezTo>
                    <a:pt x="9144" y="8078"/>
                    <a:pt x="9609" y="6983"/>
                    <a:pt x="9882" y="5757"/>
                  </a:cubicBezTo>
                  <a:cubicBezTo>
                    <a:pt x="10275" y="3637"/>
                    <a:pt x="10001" y="1792"/>
                    <a:pt x="9978" y="1720"/>
                  </a:cubicBezTo>
                  <a:cubicBezTo>
                    <a:pt x="9966" y="1649"/>
                    <a:pt x="9894" y="1589"/>
                    <a:pt x="9823" y="1589"/>
                  </a:cubicBezTo>
                  <a:cubicBezTo>
                    <a:pt x="7858" y="1589"/>
                    <a:pt x="5251" y="42"/>
                    <a:pt x="5215" y="18"/>
                  </a:cubicBezTo>
                  <a:cubicBezTo>
                    <a:pt x="5185" y="6"/>
                    <a:pt x="5156" y="0"/>
                    <a:pt x="5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63" name="Google Shape;10763;p60"/>
          <p:cNvGrpSpPr/>
          <p:nvPr/>
        </p:nvGrpSpPr>
        <p:grpSpPr>
          <a:xfrm>
            <a:off x="6221229" y="1498673"/>
            <a:ext cx="361636" cy="362183"/>
            <a:chOff x="6259175" y="1559008"/>
            <a:chExt cx="271743" cy="272093"/>
          </a:xfrm>
        </p:grpSpPr>
        <p:sp>
          <p:nvSpPr>
            <p:cNvPr id="10764" name="Google Shape;10764;p60"/>
            <p:cNvSpPr/>
            <p:nvPr/>
          </p:nvSpPr>
          <p:spPr>
            <a:xfrm>
              <a:off x="6259175" y="1559008"/>
              <a:ext cx="271743" cy="272093"/>
            </a:xfrm>
            <a:custGeom>
              <a:avLst/>
              <a:gdLst/>
              <a:ahLst/>
              <a:cxnLst/>
              <a:rect l="l" t="t" r="r" b="b"/>
              <a:pathLst>
                <a:path w="8538" h="8549" extrusionOk="0">
                  <a:moveTo>
                    <a:pt x="4263" y="0"/>
                  </a:moveTo>
                  <a:cubicBezTo>
                    <a:pt x="3120" y="0"/>
                    <a:pt x="2049" y="453"/>
                    <a:pt x="1251" y="1250"/>
                  </a:cubicBezTo>
                  <a:cubicBezTo>
                    <a:pt x="441" y="2060"/>
                    <a:pt x="1" y="3131"/>
                    <a:pt x="1" y="4274"/>
                  </a:cubicBezTo>
                  <a:cubicBezTo>
                    <a:pt x="1" y="5417"/>
                    <a:pt x="441" y="6489"/>
                    <a:pt x="1251" y="7299"/>
                  </a:cubicBezTo>
                  <a:cubicBezTo>
                    <a:pt x="2049" y="8096"/>
                    <a:pt x="3120" y="8549"/>
                    <a:pt x="4263" y="8549"/>
                  </a:cubicBezTo>
                  <a:cubicBezTo>
                    <a:pt x="5418" y="8549"/>
                    <a:pt x="6490" y="8096"/>
                    <a:pt x="7287" y="7299"/>
                  </a:cubicBezTo>
                  <a:cubicBezTo>
                    <a:pt x="8097" y="6489"/>
                    <a:pt x="8537" y="5417"/>
                    <a:pt x="8537" y="4274"/>
                  </a:cubicBezTo>
                  <a:cubicBezTo>
                    <a:pt x="8526" y="4179"/>
                    <a:pt x="8526" y="4108"/>
                    <a:pt x="8526" y="4036"/>
                  </a:cubicBezTo>
                  <a:cubicBezTo>
                    <a:pt x="8526" y="3965"/>
                    <a:pt x="8466" y="3917"/>
                    <a:pt x="8383" y="3917"/>
                  </a:cubicBezTo>
                  <a:cubicBezTo>
                    <a:pt x="8311" y="3917"/>
                    <a:pt x="8276" y="3977"/>
                    <a:pt x="8276" y="4048"/>
                  </a:cubicBezTo>
                  <a:lnTo>
                    <a:pt x="8276" y="4274"/>
                  </a:lnTo>
                  <a:cubicBezTo>
                    <a:pt x="8276" y="5346"/>
                    <a:pt x="7859" y="6358"/>
                    <a:pt x="7097" y="7120"/>
                  </a:cubicBezTo>
                  <a:cubicBezTo>
                    <a:pt x="6335" y="7882"/>
                    <a:pt x="5323" y="8287"/>
                    <a:pt x="4251" y="8287"/>
                  </a:cubicBezTo>
                  <a:cubicBezTo>
                    <a:pt x="3180" y="8287"/>
                    <a:pt x="2168" y="7870"/>
                    <a:pt x="1406" y="7120"/>
                  </a:cubicBezTo>
                  <a:cubicBezTo>
                    <a:pt x="656" y="6358"/>
                    <a:pt x="239" y="5346"/>
                    <a:pt x="239" y="4274"/>
                  </a:cubicBezTo>
                  <a:cubicBezTo>
                    <a:pt x="239" y="3203"/>
                    <a:pt x="644" y="2191"/>
                    <a:pt x="1406" y="1429"/>
                  </a:cubicBezTo>
                  <a:cubicBezTo>
                    <a:pt x="2168" y="667"/>
                    <a:pt x="3180" y="250"/>
                    <a:pt x="4251" y="250"/>
                  </a:cubicBezTo>
                  <a:cubicBezTo>
                    <a:pt x="5204" y="250"/>
                    <a:pt x="6121" y="595"/>
                    <a:pt x="6847" y="1203"/>
                  </a:cubicBezTo>
                  <a:cubicBezTo>
                    <a:pt x="7561" y="1822"/>
                    <a:pt x="8049" y="2655"/>
                    <a:pt x="8216" y="3560"/>
                  </a:cubicBezTo>
                  <a:cubicBezTo>
                    <a:pt x="8227" y="3624"/>
                    <a:pt x="8276" y="3669"/>
                    <a:pt x="8337" y="3669"/>
                  </a:cubicBezTo>
                  <a:cubicBezTo>
                    <a:pt x="8344" y="3669"/>
                    <a:pt x="8352" y="3668"/>
                    <a:pt x="8359" y="3667"/>
                  </a:cubicBezTo>
                  <a:cubicBezTo>
                    <a:pt x="8430" y="3643"/>
                    <a:pt x="8478" y="3584"/>
                    <a:pt x="8466" y="3512"/>
                  </a:cubicBezTo>
                  <a:cubicBezTo>
                    <a:pt x="8287" y="2548"/>
                    <a:pt x="7775" y="1655"/>
                    <a:pt x="7025" y="1012"/>
                  </a:cubicBezTo>
                  <a:cubicBezTo>
                    <a:pt x="6251" y="357"/>
                    <a:pt x="5275" y="0"/>
                    <a:pt x="4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5" name="Google Shape;10765;p60"/>
            <p:cNvSpPr/>
            <p:nvPr/>
          </p:nvSpPr>
          <p:spPr>
            <a:xfrm>
              <a:off x="6278145" y="1577946"/>
              <a:ext cx="231927" cy="232309"/>
            </a:xfrm>
            <a:custGeom>
              <a:avLst/>
              <a:gdLst/>
              <a:ahLst/>
              <a:cxnLst/>
              <a:rect l="l" t="t" r="r" b="b"/>
              <a:pathLst>
                <a:path w="7287" h="7299" extrusionOk="0">
                  <a:moveTo>
                    <a:pt x="3643" y="0"/>
                  </a:moveTo>
                  <a:cubicBezTo>
                    <a:pt x="3119" y="0"/>
                    <a:pt x="2631" y="108"/>
                    <a:pt x="2155" y="322"/>
                  </a:cubicBezTo>
                  <a:cubicBezTo>
                    <a:pt x="1703" y="524"/>
                    <a:pt x="1310" y="810"/>
                    <a:pt x="964" y="1179"/>
                  </a:cubicBezTo>
                  <a:cubicBezTo>
                    <a:pt x="917" y="1227"/>
                    <a:pt x="917" y="1310"/>
                    <a:pt x="964" y="1358"/>
                  </a:cubicBezTo>
                  <a:cubicBezTo>
                    <a:pt x="988" y="1382"/>
                    <a:pt x="1021" y="1393"/>
                    <a:pt x="1054" y="1393"/>
                  </a:cubicBezTo>
                  <a:cubicBezTo>
                    <a:pt x="1086" y="1393"/>
                    <a:pt x="1119" y="1382"/>
                    <a:pt x="1143" y="1358"/>
                  </a:cubicBezTo>
                  <a:cubicBezTo>
                    <a:pt x="1453" y="1012"/>
                    <a:pt x="1822" y="750"/>
                    <a:pt x="2262" y="560"/>
                  </a:cubicBezTo>
                  <a:cubicBezTo>
                    <a:pt x="2691" y="358"/>
                    <a:pt x="3167" y="262"/>
                    <a:pt x="3643" y="262"/>
                  </a:cubicBezTo>
                  <a:cubicBezTo>
                    <a:pt x="5513" y="262"/>
                    <a:pt x="7037" y="1774"/>
                    <a:pt x="7037" y="3656"/>
                  </a:cubicBezTo>
                  <a:cubicBezTo>
                    <a:pt x="7037" y="5525"/>
                    <a:pt x="5513" y="7049"/>
                    <a:pt x="3643" y="7049"/>
                  </a:cubicBezTo>
                  <a:cubicBezTo>
                    <a:pt x="1762" y="7049"/>
                    <a:pt x="250" y="5525"/>
                    <a:pt x="250" y="3656"/>
                  </a:cubicBezTo>
                  <a:cubicBezTo>
                    <a:pt x="250" y="2977"/>
                    <a:pt x="441" y="2322"/>
                    <a:pt x="810" y="1774"/>
                  </a:cubicBezTo>
                  <a:cubicBezTo>
                    <a:pt x="857" y="1727"/>
                    <a:pt x="845" y="1655"/>
                    <a:pt x="786" y="1608"/>
                  </a:cubicBezTo>
                  <a:cubicBezTo>
                    <a:pt x="766" y="1596"/>
                    <a:pt x="743" y="1591"/>
                    <a:pt x="721" y="1591"/>
                  </a:cubicBezTo>
                  <a:cubicBezTo>
                    <a:pt x="676" y="1591"/>
                    <a:pt x="631" y="1612"/>
                    <a:pt x="607" y="1643"/>
                  </a:cubicBezTo>
                  <a:cubicBezTo>
                    <a:pt x="202" y="2239"/>
                    <a:pt x="0" y="2941"/>
                    <a:pt x="0" y="3656"/>
                  </a:cubicBezTo>
                  <a:cubicBezTo>
                    <a:pt x="0" y="4632"/>
                    <a:pt x="381" y="5537"/>
                    <a:pt x="1072" y="6227"/>
                  </a:cubicBezTo>
                  <a:cubicBezTo>
                    <a:pt x="1750" y="6906"/>
                    <a:pt x="2679" y="7299"/>
                    <a:pt x="3643" y="7299"/>
                  </a:cubicBezTo>
                  <a:cubicBezTo>
                    <a:pt x="4620" y="7299"/>
                    <a:pt x="5536" y="6906"/>
                    <a:pt x="6215" y="6227"/>
                  </a:cubicBezTo>
                  <a:cubicBezTo>
                    <a:pt x="6894" y="5537"/>
                    <a:pt x="7287" y="4620"/>
                    <a:pt x="7287" y="3656"/>
                  </a:cubicBezTo>
                  <a:cubicBezTo>
                    <a:pt x="7287" y="2679"/>
                    <a:pt x="6906" y="1763"/>
                    <a:pt x="6215" y="1072"/>
                  </a:cubicBezTo>
                  <a:cubicBezTo>
                    <a:pt x="5536" y="393"/>
                    <a:pt x="4608" y="0"/>
                    <a:pt x="3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6" name="Google Shape;10766;p60"/>
            <p:cNvSpPr/>
            <p:nvPr/>
          </p:nvSpPr>
          <p:spPr>
            <a:xfrm>
              <a:off x="6297846" y="1690870"/>
              <a:ext cx="13272" cy="7607"/>
            </a:xfrm>
            <a:custGeom>
              <a:avLst/>
              <a:gdLst/>
              <a:ahLst/>
              <a:cxnLst/>
              <a:rect l="l" t="t" r="r" b="b"/>
              <a:pathLst>
                <a:path w="417" h="239" extrusionOk="0">
                  <a:moveTo>
                    <a:pt x="119" y="0"/>
                  </a:moveTo>
                  <a:cubicBezTo>
                    <a:pt x="48" y="0"/>
                    <a:pt x="0" y="36"/>
                    <a:pt x="0" y="120"/>
                  </a:cubicBezTo>
                  <a:cubicBezTo>
                    <a:pt x="0" y="191"/>
                    <a:pt x="60" y="239"/>
                    <a:pt x="119" y="239"/>
                  </a:cubicBezTo>
                  <a:lnTo>
                    <a:pt x="298" y="239"/>
                  </a:lnTo>
                  <a:cubicBezTo>
                    <a:pt x="369" y="239"/>
                    <a:pt x="417" y="179"/>
                    <a:pt x="417" y="120"/>
                  </a:cubicBezTo>
                  <a:cubicBezTo>
                    <a:pt x="417" y="60"/>
                    <a:pt x="357" y="0"/>
                    <a:pt x="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7" name="Google Shape;10767;p60"/>
            <p:cNvSpPr/>
            <p:nvPr/>
          </p:nvSpPr>
          <p:spPr>
            <a:xfrm>
              <a:off x="6390687" y="1598029"/>
              <a:ext cx="100448" cy="100448"/>
            </a:xfrm>
            <a:custGeom>
              <a:avLst/>
              <a:gdLst/>
              <a:ahLst/>
              <a:cxnLst/>
              <a:rect l="l" t="t" r="r" b="b"/>
              <a:pathLst>
                <a:path w="3156" h="3156" extrusionOk="0">
                  <a:moveTo>
                    <a:pt x="119" y="0"/>
                  </a:moveTo>
                  <a:cubicBezTo>
                    <a:pt x="60" y="0"/>
                    <a:pt x="0" y="60"/>
                    <a:pt x="0" y="119"/>
                  </a:cubicBezTo>
                  <a:lnTo>
                    <a:pt x="0" y="3037"/>
                  </a:lnTo>
                  <a:cubicBezTo>
                    <a:pt x="0" y="3108"/>
                    <a:pt x="60" y="3156"/>
                    <a:pt x="119" y="3156"/>
                  </a:cubicBezTo>
                  <a:lnTo>
                    <a:pt x="3036" y="3156"/>
                  </a:lnTo>
                  <a:cubicBezTo>
                    <a:pt x="3108" y="3156"/>
                    <a:pt x="3155" y="3096"/>
                    <a:pt x="3155" y="3037"/>
                  </a:cubicBezTo>
                  <a:cubicBezTo>
                    <a:pt x="3155" y="2977"/>
                    <a:pt x="3096" y="2917"/>
                    <a:pt x="3036" y="2917"/>
                  </a:cubicBezTo>
                  <a:lnTo>
                    <a:pt x="250" y="2917"/>
                  </a:lnTo>
                  <a:lnTo>
                    <a:pt x="250" y="119"/>
                  </a:lnTo>
                  <a:lnTo>
                    <a:pt x="238" y="119"/>
                  </a:lnTo>
                  <a:cubicBezTo>
                    <a:pt x="238" y="48"/>
                    <a:pt x="179" y="0"/>
                    <a:pt x="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8" name="Google Shape;10768;p60"/>
            <p:cNvSpPr/>
            <p:nvPr/>
          </p:nvSpPr>
          <p:spPr>
            <a:xfrm>
              <a:off x="6390305" y="1778013"/>
              <a:ext cx="7607" cy="13304"/>
            </a:xfrm>
            <a:custGeom>
              <a:avLst/>
              <a:gdLst/>
              <a:ahLst/>
              <a:cxnLst/>
              <a:rect l="l" t="t" r="r" b="b"/>
              <a:pathLst>
                <a:path w="239" h="418" extrusionOk="0">
                  <a:moveTo>
                    <a:pt x="119" y="1"/>
                  </a:moveTo>
                  <a:cubicBezTo>
                    <a:pt x="60" y="1"/>
                    <a:pt x="0" y="60"/>
                    <a:pt x="0" y="120"/>
                  </a:cubicBezTo>
                  <a:lnTo>
                    <a:pt x="0" y="299"/>
                  </a:lnTo>
                  <a:cubicBezTo>
                    <a:pt x="0" y="370"/>
                    <a:pt x="60" y="418"/>
                    <a:pt x="119" y="418"/>
                  </a:cubicBezTo>
                  <a:cubicBezTo>
                    <a:pt x="179" y="418"/>
                    <a:pt x="238" y="358"/>
                    <a:pt x="238" y="299"/>
                  </a:cubicBezTo>
                  <a:lnTo>
                    <a:pt x="238" y="120"/>
                  </a:lnTo>
                  <a:cubicBezTo>
                    <a:pt x="238" y="49"/>
                    <a:pt x="179" y="1"/>
                    <a:pt x="1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9" name="Google Shape;10769;p60"/>
            <p:cNvSpPr/>
            <p:nvPr/>
          </p:nvSpPr>
          <p:spPr>
            <a:xfrm>
              <a:off x="6324358" y="1624923"/>
              <a:ext cx="12922" cy="11776"/>
            </a:xfrm>
            <a:custGeom>
              <a:avLst/>
              <a:gdLst/>
              <a:ahLst/>
              <a:cxnLst/>
              <a:rect l="l" t="t" r="r" b="b"/>
              <a:pathLst>
                <a:path w="406" h="370" extrusionOk="0">
                  <a:moveTo>
                    <a:pt x="133" y="1"/>
                  </a:moveTo>
                  <a:cubicBezTo>
                    <a:pt x="99" y="1"/>
                    <a:pt x="66" y="13"/>
                    <a:pt x="48" y="36"/>
                  </a:cubicBezTo>
                  <a:cubicBezTo>
                    <a:pt x="1" y="72"/>
                    <a:pt x="1" y="167"/>
                    <a:pt x="48" y="215"/>
                  </a:cubicBezTo>
                  <a:lnTo>
                    <a:pt x="179" y="346"/>
                  </a:lnTo>
                  <a:cubicBezTo>
                    <a:pt x="215" y="370"/>
                    <a:pt x="239" y="370"/>
                    <a:pt x="274" y="370"/>
                  </a:cubicBezTo>
                  <a:cubicBezTo>
                    <a:pt x="298" y="370"/>
                    <a:pt x="334" y="358"/>
                    <a:pt x="358" y="346"/>
                  </a:cubicBezTo>
                  <a:cubicBezTo>
                    <a:pt x="405" y="298"/>
                    <a:pt x="405" y="215"/>
                    <a:pt x="358" y="167"/>
                  </a:cubicBezTo>
                  <a:lnTo>
                    <a:pt x="227" y="36"/>
                  </a:lnTo>
                  <a:cubicBezTo>
                    <a:pt x="203" y="13"/>
                    <a:pt x="167" y="1"/>
                    <a:pt x="1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0" name="Google Shape;10770;p60"/>
            <p:cNvSpPr/>
            <p:nvPr/>
          </p:nvSpPr>
          <p:spPr>
            <a:xfrm>
              <a:off x="6451700" y="1752265"/>
              <a:ext cx="12890" cy="11776"/>
            </a:xfrm>
            <a:custGeom>
              <a:avLst/>
              <a:gdLst/>
              <a:ahLst/>
              <a:cxnLst/>
              <a:rect l="l" t="t" r="r" b="b"/>
              <a:pathLst>
                <a:path w="405" h="370" extrusionOk="0">
                  <a:moveTo>
                    <a:pt x="133" y="0"/>
                  </a:moveTo>
                  <a:cubicBezTo>
                    <a:pt x="101" y="0"/>
                    <a:pt x="72" y="12"/>
                    <a:pt x="48" y="36"/>
                  </a:cubicBezTo>
                  <a:cubicBezTo>
                    <a:pt x="0" y="84"/>
                    <a:pt x="0" y="167"/>
                    <a:pt x="48" y="215"/>
                  </a:cubicBezTo>
                  <a:lnTo>
                    <a:pt x="179" y="346"/>
                  </a:lnTo>
                  <a:cubicBezTo>
                    <a:pt x="214" y="369"/>
                    <a:pt x="238" y="369"/>
                    <a:pt x="274" y="369"/>
                  </a:cubicBezTo>
                  <a:cubicBezTo>
                    <a:pt x="298" y="369"/>
                    <a:pt x="333" y="357"/>
                    <a:pt x="357" y="346"/>
                  </a:cubicBezTo>
                  <a:cubicBezTo>
                    <a:pt x="405" y="298"/>
                    <a:pt x="405" y="215"/>
                    <a:pt x="357" y="167"/>
                  </a:cubicBezTo>
                  <a:lnTo>
                    <a:pt x="226" y="36"/>
                  </a:lnTo>
                  <a:cubicBezTo>
                    <a:pt x="197" y="12"/>
                    <a:pt x="164" y="0"/>
                    <a:pt x="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1" name="Google Shape;10771;p60"/>
            <p:cNvSpPr/>
            <p:nvPr/>
          </p:nvSpPr>
          <p:spPr>
            <a:xfrm>
              <a:off x="6451700" y="1624923"/>
              <a:ext cx="12890" cy="11776"/>
            </a:xfrm>
            <a:custGeom>
              <a:avLst/>
              <a:gdLst/>
              <a:ahLst/>
              <a:cxnLst/>
              <a:rect l="l" t="t" r="r" b="b"/>
              <a:pathLst>
                <a:path w="405" h="370" extrusionOk="0">
                  <a:moveTo>
                    <a:pt x="272" y="1"/>
                  </a:moveTo>
                  <a:cubicBezTo>
                    <a:pt x="238" y="1"/>
                    <a:pt x="202" y="13"/>
                    <a:pt x="179" y="36"/>
                  </a:cubicBezTo>
                  <a:lnTo>
                    <a:pt x="48" y="167"/>
                  </a:lnTo>
                  <a:cubicBezTo>
                    <a:pt x="0" y="215"/>
                    <a:pt x="0" y="298"/>
                    <a:pt x="48" y="346"/>
                  </a:cubicBezTo>
                  <a:cubicBezTo>
                    <a:pt x="83" y="370"/>
                    <a:pt x="107" y="370"/>
                    <a:pt x="143" y="370"/>
                  </a:cubicBezTo>
                  <a:cubicBezTo>
                    <a:pt x="167" y="370"/>
                    <a:pt x="202" y="370"/>
                    <a:pt x="226" y="346"/>
                  </a:cubicBezTo>
                  <a:lnTo>
                    <a:pt x="357" y="215"/>
                  </a:lnTo>
                  <a:cubicBezTo>
                    <a:pt x="405" y="167"/>
                    <a:pt x="405" y="72"/>
                    <a:pt x="357" y="36"/>
                  </a:cubicBezTo>
                  <a:cubicBezTo>
                    <a:pt x="339" y="13"/>
                    <a:pt x="307" y="1"/>
                    <a:pt x="2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2" name="Google Shape;10772;p60"/>
            <p:cNvSpPr/>
            <p:nvPr/>
          </p:nvSpPr>
          <p:spPr>
            <a:xfrm>
              <a:off x="6324358" y="1751883"/>
              <a:ext cx="12922" cy="11776"/>
            </a:xfrm>
            <a:custGeom>
              <a:avLst/>
              <a:gdLst/>
              <a:ahLst/>
              <a:cxnLst/>
              <a:rect l="l" t="t" r="r" b="b"/>
              <a:pathLst>
                <a:path w="406" h="370" extrusionOk="0">
                  <a:moveTo>
                    <a:pt x="268" y="0"/>
                  </a:moveTo>
                  <a:cubicBezTo>
                    <a:pt x="236" y="0"/>
                    <a:pt x="203" y="12"/>
                    <a:pt x="179" y="36"/>
                  </a:cubicBezTo>
                  <a:lnTo>
                    <a:pt x="48" y="167"/>
                  </a:lnTo>
                  <a:cubicBezTo>
                    <a:pt x="1" y="227"/>
                    <a:pt x="1" y="298"/>
                    <a:pt x="48" y="346"/>
                  </a:cubicBezTo>
                  <a:cubicBezTo>
                    <a:pt x="72" y="369"/>
                    <a:pt x="108" y="369"/>
                    <a:pt x="132" y="369"/>
                  </a:cubicBezTo>
                  <a:cubicBezTo>
                    <a:pt x="167" y="369"/>
                    <a:pt x="191" y="358"/>
                    <a:pt x="227" y="346"/>
                  </a:cubicBezTo>
                  <a:lnTo>
                    <a:pt x="358" y="215"/>
                  </a:lnTo>
                  <a:cubicBezTo>
                    <a:pt x="405" y="167"/>
                    <a:pt x="405" y="72"/>
                    <a:pt x="358" y="36"/>
                  </a:cubicBezTo>
                  <a:cubicBezTo>
                    <a:pt x="334" y="12"/>
                    <a:pt x="301" y="0"/>
                    <a:pt x="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3" name="Google Shape;10773;p60"/>
            <p:cNvSpPr/>
            <p:nvPr/>
          </p:nvSpPr>
          <p:spPr>
            <a:xfrm>
              <a:off x="6304657" y="1653823"/>
              <a:ext cx="14036" cy="10567"/>
            </a:xfrm>
            <a:custGeom>
              <a:avLst/>
              <a:gdLst/>
              <a:ahLst/>
              <a:cxnLst/>
              <a:rect l="l" t="t" r="r" b="b"/>
              <a:pathLst>
                <a:path w="441" h="332" extrusionOk="0">
                  <a:moveTo>
                    <a:pt x="143" y="0"/>
                  </a:moveTo>
                  <a:cubicBezTo>
                    <a:pt x="97" y="0"/>
                    <a:pt x="51" y="25"/>
                    <a:pt x="24" y="69"/>
                  </a:cubicBezTo>
                  <a:cubicBezTo>
                    <a:pt x="0" y="129"/>
                    <a:pt x="24" y="212"/>
                    <a:pt x="84" y="236"/>
                  </a:cubicBezTo>
                  <a:lnTo>
                    <a:pt x="250" y="307"/>
                  </a:lnTo>
                  <a:cubicBezTo>
                    <a:pt x="262" y="307"/>
                    <a:pt x="274" y="331"/>
                    <a:pt x="298" y="331"/>
                  </a:cubicBezTo>
                  <a:cubicBezTo>
                    <a:pt x="334" y="331"/>
                    <a:pt x="381" y="295"/>
                    <a:pt x="417" y="260"/>
                  </a:cubicBezTo>
                  <a:cubicBezTo>
                    <a:pt x="441" y="200"/>
                    <a:pt x="417" y="117"/>
                    <a:pt x="358" y="93"/>
                  </a:cubicBezTo>
                  <a:lnTo>
                    <a:pt x="191" y="10"/>
                  </a:lnTo>
                  <a:cubicBezTo>
                    <a:pt x="176" y="3"/>
                    <a:pt x="159"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4" name="Google Shape;10774;p60"/>
            <p:cNvSpPr/>
            <p:nvPr/>
          </p:nvSpPr>
          <p:spPr>
            <a:xfrm>
              <a:off x="6469874" y="1724511"/>
              <a:ext cx="14068" cy="10344"/>
            </a:xfrm>
            <a:custGeom>
              <a:avLst/>
              <a:gdLst/>
              <a:ahLst/>
              <a:cxnLst/>
              <a:rect l="l" t="t" r="r" b="b"/>
              <a:pathLst>
                <a:path w="442" h="325" extrusionOk="0">
                  <a:moveTo>
                    <a:pt x="140" y="1"/>
                  </a:moveTo>
                  <a:cubicBezTo>
                    <a:pt x="95" y="1"/>
                    <a:pt x="50" y="31"/>
                    <a:pt x="24" y="75"/>
                  </a:cubicBezTo>
                  <a:cubicBezTo>
                    <a:pt x="1" y="134"/>
                    <a:pt x="24" y="206"/>
                    <a:pt x="84" y="241"/>
                  </a:cubicBezTo>
                  <a:lnTo>
                    <a:pt x="251" y="313"/>
                  </a:lnTo>
                  <a:cubicBezTo>
                    <a:pt x="263" y="313"/>
                    <a:pt x="286" y="325"/>
                    <a:pt x="298" y="325"/>
                  </a:cubicBezTo>
                  <a:cubicBezTo>
                    <a:pt x="346" y="325"/>
                    <a:pt x="382" y="301"/>
                    <a:pt x="417" y="253"/>
                  </a:cubicBezTo>
                  <a:cubicBezTo>
                    <a:pt x="441" y="194"/>
                    <a:pt x="417" y="122"/>
                    <a:pt x="358" y="86"/>
                  </a:cubicBezTo>
                  <a:lnTo>
                    <a:pt x="191" y="15"/>
                  </a:lnTo>
                  <a:cubicBezTo>
                    <a:pt x="175" y="5"/>
                    <a:pt x="157" y="1"/>
                    <a:pt x="1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5" name="Google Shape;10775;p60"/>
            <p:cNvSpPr/>
            <p:nvPr/>
          </p:nvSpPr>
          <p:spPr>
            <a:xfrm>
              <a:off x="6424392" y="1605158"/>
              <a:ext cx="11394" cy="13368"/>
            </a:xfrm>
            <a:custGeom>
              <a:avLst/>
              <a:gdLst/>
              <a:ahLst/>
              <a:cxnLst/>
              <a:rect l="l" t="t" r="r" b="b"/>
              <a:pathLst>
                <a:path w="358" h="420" extrusionOk="0">
                  <a:moveTo>
                    <a:pt x="212" y="0"/>
                  </a:moveTo>
                  <a:cubicBezTo>
                    <a:pt x="168" y="0"/>
                    <a:pt x="125" y="31"/>
                    <a:pt x="108" y="74"/>
                  </a:cubicBezTo>
                  <a:lnTo>
                    <a:pt x="25" y="229"/>
                  </a:lnTo>
                  <a:cubicBezTo>
                    <a:pt x="1" y="288"/>
                    <a:pt x="25" y="372"/>
                    <a:pt x="84" y="396"/>
                  </a:cubicBezTo>
                  <a:cubicBezTo>
                    <a:pt x="108" y="419"/>
                    <a:pt x="120" y="419"/>
                    <a:pt x="132" y="419"/>
                  </a:cubicBezTo>
                  <a:cubicBezTo>
                    <a:pt x="179" y="419"/>
                    <a:pt x="215" y="384"/>
                    <a:pt x="251" y="336"/>
                  </a:cubicBezTo>
                  <a:lnTo>
                    <a:pt x="322" y="181"/>
                  </a:lnTo>
                  <a:cubicBezTo>
                    <a:pt x="358" y="122"/>
                    <a:pt x="322" y="38"/>
                    <a:pt x="263" y="15"/>
                  </a:cubicBezTo>
                  <a:cubicBezTo>
                    <a:pt x="246" y="5"/>
                    <a:pt x="229"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6" name="Google Shape;10776;p60"/>
            <p:cNvSpPr/>
            <p:nvPr/>
          </p:nvSpPr>
          <p:spPr>
            <a:xfrm>
              <a:off x="6353926" y="1770916"/>
              <a:ext cx="11394" cy="13208"/>
            </a:xfrm>
            <a:custGeom>
              <a:avLst/>
              <a:gdLst/>
              <a:ahLst/>
              <a:cxnLst/>
              <a:rect l="l" t="t" r="r" b="b"/>
              <a:pathLst>
                <a:path w="358" h="415" extrusionOk="0">
                  <a:moveTo>
                    <a:pt x="214" y="0"/>
                  </a:moveTo>
                  <a:cubicBezTo>
                    <a:pt x="168" y="0"/>
                    <a:pt x="122" y="25"/>
                    <a:pt x="96" y="69"/>
                  </a:cubicBezTo>
                  <a:lnTo>
                    <a:pt x="24" y="236"/>
                  </a:lnTo>
                  <a:cubicBezTo>
                    <a:pt x="0" y="295"/>
                    <a:pt x="24" y="367"/>
                    <a:pt x="84" y="402"/>
                  </a:cubicBezTo>
                  <a:cubicBezTo>
                    <a:pt x="96" y="402"/>
                    <a:pt x="119" y="414"/>
                    <a:pt x="131" y="414"/>
                  </a:cubicBezTo>
                  <a:cubicBezTo>
                    <a:pt x="179" y="414"/>
                    <a:pt x="215" y="391"/>
                    <a:pt x="250" y="343"/>
                  </a:cubicBezTo>
                  <a:lnTo>
                    <a:pt x="322" y="176"/>
                  </a:lnTo>
                  <a:cubicBezTo>
                    <a:pt x="357" y="117"/>
                    <a:pt x="322" y="45"/>
                    <a:pt x="262" y="10"/>
                  </a:cubicBezTo>
                  <a:cubicBezTo>
                    <a:pt x="247" y="3"/>
                    <a:pt x="231" y="0"/>
                    <a:pt x="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7" name="Google Shape;10777;p60"/>
            <p:cNvSpPr/>
            <p:nvPr/>
          </p:nvSpPr>
          <p:spPr>
            <a:xfrm>
              <a:off x="6355040" y="1604363"/>
              <a:ext cx="11044" cy="13399"/>
            </a:xfrm>
            <a:custGeom>
              <a:avLst/>
              <a:gdLst/>
              <a:ahLst/>
              <a:cxnLst/>
              <a:rect l="l" t="t" r="r" b="b"/>
              <a:pathLst>
                <a:path w="347" h="421" extrusionOk="0">
                  <a:moveTo>
                    <a:pt x="127" y="1"/>
                  </a:moveTo>
                  <a:cubicBezTo>
                    <a:pt x="116" y="1"/>
                    <a:pt x="106" y="2"/>
                    <a:pt x="96" y="4"/>
                  </a:cubicBezTo>
                  <a:cubicBezTo>
                    <a:pt x="37" y="40"/>
                    <a:pt x="1" y="111"/>
                    <a:pt x="25" y="171"/>
                  </a:cubicBezTo>
                  <a:lnTo>
                    <a:pt x="96" y="337"/>
                  </a:lnTo>
                  <a:cubicBezTo>
                    <a:pt x="120" y="397"/>
                    <a:pt x="168" y="421"/>
                    <a:pt x="215" y="421"/>
                  </a:cubicBezTo>
                  <a:cubicBezTo>
                    <a:pt x="227" y="421"/>
                    <a:pt x="239" y="421"/>
                    <a:pt x="263" y="409"/>
                  </a:cubicBezTo>
                  <a:cubicBezTo>
                    <a:pt x="322" y="373"/>
                    <a:pt x="346" y="301"/>
                    <a:pt x="334" y="242"/>
                  </a:cubicBezTo>
                  <a:lnTo>
                    <a:pt x="263" y="75"/>
                  </a:lnTo>
                  <a:cubicBezTo>
                    <a:pt x="233" y="26"/>
                    <a:pt x="179" y="1"/>
                    <a:pt x="1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8" name="Google Shape;10778;p60"/>
            <p:cNvSpPr/>
            <p:nvPr/>
          </p:nvSpPr>
          <p:spPr>
            <a:xfrm>
              <a:off x="6422514" y="1771489"/>
              <a:ext cx="11012" cy="13017"/>
            </a:xfrm>
            <a:custGeom>
              <a:avLst/>
              <a:gdLst/>
              <a:ahLst/>
              <a:cxnLst/>
              <a:rect l="l" t="t" r="r" b="b"/>
              <a:pathLst>
                <a:path w="346" h="409" extrusionOk="0">
                  <a:moveTo>
                    <a:pt x="151" y="1"/>
                  </a:moveTo>
                  <a:cubicBezTo>
                    <a:pt x="130" y="1"/>
                    <a:pt x="107" y="5"/>
                    <a:pt x="84" y="15"/>
                  </a:cubicBezTo>
                  <a:cubicBezTo>
                    <a:pt x="24" y="39"/>
                    <a:pt x="0" y="111"/>
                    <a:pt x="12" y="170"/>
                  </a:cubicBezTo>
                  <a:lnTo>
                    <a:pt x="84" y="337"/>
                  </a:lnTo>
                  <a:cubicBezTo>
                    <a:pt x="107" y="384"/>
                    <a:pt x="143" y="408"/>
                    <a:pt x="203" y="408"/>
                  </a:cubicBezTo>
                  <a:cubicBezTo>
                    <a:pt x="227" y="408"/>
                    <a:pt x="238" y="408"/>
                    <a:pt x="250" y="396"/>
                  </a:cubicBezTo>
                  <a:cubicBezTo>
                    <a:pt x="310" y="373"/>
                    <a:pt x="346" y="289"/>
                    <a:pt x="322" y="230"/>
                  </a:cubicBezTo>
                  <a:lnTo>
                    <a:pt x="250" y="63"/>
                  </a:lnTo>
                  <a:cubicBezTo>
                    <a:pt x="242" y="29"/>
                    <a:pt x="203" y="1"/>
                    <a:pt x="1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9" name="Google Shape;10779;p60"/>
            <p:cNvSpPr/>
            <p:nvPr/>
          </p:nvSpPr>
          <p:spPr>
            <a:xfrm>
              <a:off x="6470637" y="1655541"/>
              <a:ext cx="14036" cy="10726"/>
            </a:xfrm>
            <a:custGeom>
              <a:avLst/>
              <a:gdLst/>
              <a:ahLst/>
              <a:cxnLst/>
              <a:rect l="l" t="t" r="r" b="b"/>
              <a:pathLst>
                <a:path w="441" h="337" extrusionOk="0">
                  <a:moveTo>
                    <a:pt x="293" y="0"/>
                  </a:moveTo>
                  <a:cubicBezTo>
                    <a:pt x="282" y="0"/>
                    <a:pt x="272" y="1"/>
                    <a:pt x="262" y="3"/>
                  </a:cubicBezTo>
                  <a:lnTo>
                    <a:pt x="96" y="75"/>
                  </a:lnTo>
                  <a:cubicBezTo>
                    <a:pt x="36" y="110"/>
                    <a:pt x="0" y="182"/>
                    <a:pt x="24" y="241"/>
                  </a:cubicBezTo>
                  <a:cubicBezTo>
                    <a:pt x="48" y="301"/>
                    <a:pt x="96" y="337"/>
                    <a:pt x="143" y="337"/>
                  </a:cubicBezTo>
                  <a:cubicBezTo>
                    <a:pt x="155" y="337"/>
                    <a:pt x="167" y="337"/>
                    <a:pt x="179" y="313"/>
                  </a:cubicBezTo>
                  <a:lnTo>
                    <a:pt x="346" y="241"/>
                  </a:lnTo>
                  <a:cubicBezTo>
                    <a:pt x="405" y="217"/>
                    <a:pt x="441" y="134"/>
                    <a:pt x="417" y="75"/>
                  </a:cubicBezTo>
                  <a:cubicBezTo>
                    <a:pt x="397" y="25"/>
                    <a:pt x="344" y="0"/>
                    <a:pt x="2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0" name="Google Shape;10780;p60"/>
            <p:cNvSpPr/>
            <p:nvPr/>
          </p:nvSpPr>
          <p:spPr>
            <a:xfrm>
              <a:off x="6303893" y="1723175"/>
              <a:ext cx="13686" cy="10153"/>
            </a:xfrm>
            <a:custGeom>
              <a:avLst/>
              <a:gdLst/>
              <a:ahLst/>
              <a:cxnLst/>
              <a:rect l="l" t="t" r="r" b="b"/>
              <a:pathLst>
                <a:path w="430" h="319" extrusionOk="0">
                  <a:moveTo>
                    <a:pt x="317" y="0"/>
                  </a:moveTo>
                  <a:cubicBezTo>
                    <a:pt x="299" y="0"/>
                    <a:pt x="281" y="3"/>
                    <a:pt x="263" y="9"/>
                  </a:cubicBezTo>
                  <a:lnTo>
                    <a:pt x="96" y="81"/>
                  </a:lnTo>
                  <a:cubicBezTo>
                    <a:pt x="36" y="117"/>
                    <a:pt x="1" y="188"/>
                    <a:pt x="24" y="248"/>
                  </a:cubicBezTo>
                  <a:cubicBezTo>
                    <a:pt x="36" y="295"/>
                    <a:pt x="84" y="319"/>
                    <a:pt x="144" y="319"/>
                  </a:cubicBezTo>
                  <a:cubicBezTo>
                    <a:pt x="155" y="319"/>
                    <a:pt x="167" y="319"/>
                    <a:pt x="179" y="307"/>
                  </a:cubicBezTo>
                  <a:lnTo>
                    <a:pt x="346" y="236"/>
                  </a:lnTo>
                  <a:cubicBezTo>
                    <a:pt x="405" y="200"/>
                    <a:pt x="429" y="128"/>
                    <a:pt x="417" y="69"/>
                  </a:cubicBezTo>
                  <a:cubicBezTo>
                    <a:pt x="409" y="25"/>
                    <a:pt x="367" y="0"/>
                    <a:pt x="3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1" name="Google Shape;10781;p60"/>
          <p:cNvGrpSpPr/>
          <p:nvPr/>
        </p:nvGrpSpPr>
        <p:grpSpPr>
          <a:xfrm>
            <a:off x="2661459" y="2015001"/>
            <a:ext cx="322508" cy="273494"/>
            <a:chOff x="2661459" y="2015001"/>
            <a:chExt cx="322508" cy="273494"/>
          </a:xfrm>
        </p:grpSpPr>
        <p:sp>
          <p:nvSpPr>
            <p:cNvPr id="10782" name="Google Shape;10782;p60"/>
            <p:cNvSpPr/>
            <p:nvPr/>
          </p:nvSpPr>
          <p:spPr>
            <a:xfrm>
              <a:off x="2661459" y="2028878"/>
              <a:ext cx="322508" cy="259617"/>
            </a:xfrm>
            <a:custGeom>
              <a:avLst/>
              <a:gdLst/>
              <a:ahLst/>
              <a:cxnLst/>
              <a:rect l="l" t="t" r="r" b="b"/>
              <a:pathLst>
                <a:path w="10133" h="8157" extrusionOk="0">
                  <a:moveTo>
                    <a:pt x="6156" y="2227"/>
                  </a:moveTo>
                  <a:lnTo>
                    <a:pt x="6966" y="2489"/>
                  </a:lnTo>
                  <a:cubicBezTo>
                    <a:pt x="6975" y="2492"/>
                    <a:pt x="6987" y="2494"/>
                    <a:pt x="6999" y="2494"/>
                  </a:cubicBezTo>
                  <a:cubicBezTo>
                    <a:pt x="7032" y="2494"/>
                    <a:pt x="7071" y="2483"/>
                    <a:pt x="7097" y="2465"/>
                  </a:cubicBezTo>
                  <a:lnTo>
                    <a:pt x="7347" y="2263"/>
                  </a:lnTo>
                  <a:lnTo>
                    <a:pt x="9121" y="4585"/>
                  </a:lnTo>
                  <a:lnTo>
                    <a:pt x="8847" y="4799"/>
                  </a:lnTo>
                  <a:cubicBezTo>
                    <a:pt x="8835" y="4787"/>
                    <a:pt x="8811" y="4763"/>
                    <a:pt x="8799" y="4763"/>
                  </a:cubicBezTo>
                  <a:lnTo>
                    <a:pt x="5728" y="3096"/>
                  </a:lnTo>
                  <a:lnTo>
                    <a:pt x="5847" y="2918"/>
                  </a:lnTo>
                  <a:cubicBezTo>
                    <a:pt x="5894" y="2846"/>
                    <a:pt x="5859" y="2763"/>
                    <a:pt x="5799" y="2715"/>
                  </a:cubicBezTo>
                  <a:cubicBezTo>
                    <a:pt x="5776" y="2700"/>
                    <a:pt x="5750" y="2693"/>
                    <a:pt x="5725" y="2693"/>
                  </a:cubicBezTo>
                  <a:cubicBezTo>
                    <a:pt x="5672" y="2693"/>
                    <a:pt x="5621" y="2723"/>
                    <a:pt x="5597" y="2763"/>
                  </a:cubicBezTo>
                  <a:lnTo>
                    <a:pt x="5263" y="3263"/>
                  </a:lnTo>
                  <a:cubicBezTo>
                    <a:pt x="5251" y="3299"/>
                    <a:pt x="5240" y="3311"/>
                    <a:pt x="5240" y="3335"/>
                  </a:cubicBezTo>
                  <a:lnTo>
                    <a:pt x="5240" y="4609"/>
                  </a:lnTo>
                  <a:cubicBezTo>
                    <a:pt x="5240" y="4870"/>
                    <a:pt x="5013" y="5085"/>
                    <a:pt x="4763" y="5085"/>
                  </a:cubicBezTo>
                  <a:cubicBezTo>
                    <a:pt x="4489" y="5085"/>
                    <a:pt x="4287" y="4859"/>
                    <a:pt x="4287" y="4609"/>
                  </a:cubicBezTo>
                  <a:lnTo>
                    <a:pt x="4287" y="3358"/>
                  </a:lnTo>
                  <a:lnTo>
                    <a:pt x="4561" y="2227"/>
                  </a:lnTo>
                  <a:close/>
                  <a:moveTo>
                    <a:pt x="2620" y="1727"/>
                  </a:moveTo>
                  <a:lnTo>
                    <a:pt x="2858" y="1870"/>
                  </a:lnTo>
                  <a:lnTo>
                    <a:pt x="906" y="5228"/>
                  </a:lnTo>
                  <a:lnTo>
                    <a:pt x="668" y="5097"/>
                  </a:lnTo>
                  <a:lnTo>
                    <a:pt x="2620" y="1727"/>
                  </a:lnTo>
                  <a:close/>
                  <a:moveTo>
                    <a:pt x="3108" y="4656"/>
                  </a:moveTo>
                  <a:cubicBezTo>
                    <a:pt x="3215" y="4656"/>
                    <a:pt x="3299" y="4704"/>
                    <a:pt x="3358" y="4799"/>
                  </a:cubicBezTo>
                  <a:cubicBezTo>
                    <a:pt x="3465" y="4942"/>
                    <a:pt x="3442" y="5156"/>
                    <a:pt x="3287" y="5251"/>
                  </a:cubicBezTo>
                  <a:lnTo>
                    <a:pt x="2263" y="6013"/>
                  </a:lnTo>
                  <a:cubicBezTo>
                    <a:pt x="2200" y="6057"/>
                    <a:pt x="2130" y="6079"/>
                    <a:pt x="2062" y="6079"/>
                  </a:cubicBezTo>
                  <a:cubicBezTo>
                    <a:pt x="1964" y="6079"/>
                    <a:pt x="1869" y="6033"/>
                    <a:pt x="1799" y="5942"/>
                  </a:cubicBezTo>
                  <a:cubicBezTo>
                    <a:pt x="1691" y="5799"/>
                    <a:pt x="1727" y="5597"/>
                    <a:pt x="1870" y="5478"/>
                  </a:cubicBezTo>
                  <a:lnTo>
                    <a:pt x="2918" y="4716"/>
                  </a:lnTo>
                  <a:cubicBezTo>
                    <a:pt x="2977" y="4680"/>
                    <a:pt x="3037" y="4656"/>
                    <a:pt x="3108" y="4656"/>
                  </a:cubicBezTo>
                  <a:close/>
                  <a:moveTo>
                    <a:pt x="3739" y="5418"/>
                  </a:moveTo>
                  <a:cubicBezTo>
                    <a:pt x="3823" y="5418"/>
                    <a:pt x="3918" y="5478"/>
                    <a:pt x="3977" y="5549"/>
                  </a:cubicBezTo>
                  <a:cubicBezTo>
                    <a:pt x="4073" y="5704"/>
                    <a:pt x="4049" y="5906"/>
                    <a:pt x="3894" y="6013"/>
                  </a:cubicBezTo>
                  <a:lnTo>
                    <a:pt x="3084" y="6609"/>
                  </a:lnTo>
                  <a:cubicBezTo>
                    <a:pt x="3021" y="6653"/>
                    <a:pt x="2952" y="6675"/>
                    <a:pt x="2885" y="6675"/>
                  </a:cubicBezTo>
                  <a:cubicBezTo>
                    <a:pt x="2788" y="6675"/>
                    <a:pt x="2695" y="6629"/>
                    <a:pt x="2632" y="6537"/>
                  </a:cubicBezTo>
                  <a:cubicBezTo>
                    <a:pt x="2525" y="6394"/>
                    <a:pt x="2561" y="6180"/>
                    <a:pt x="2703" y="6073"/>
                  </a:cubicBezTo>
                  <a:lnTo>
                    <a:pt x="3489" y="5513"/>
                  </a:lnTo>
                  <a:cubicBezTo>
                    <a:pt x="3525" y="5490"/>
                    <a:pt x="3549" y="5466"/>
                    <a:pt x="3585" y="5454"/>
                  </a:cubicBezTo>
                  <a:cubicBezTo>
                    <a:pt x="3632" y="5430"/>
                    <a:pt x="3680" y="5418"/>
                    <a:pt x="3739" y="5418"/>
                  </a:cubicBezTo>
                  <a:close/>
                  <a:moveTo>
                    <a:pt x="4269" y="6177"/>
                  </a:moveTo>
                  <a:cubicBezTo>
                    <a:pt x="4367" y="6177"/>
                    <a:pt x="4461" y="6221"/>
                    <a:pt x="4525" y="6299"/>
                  </a:cubicBezTo>
                  <a:cubicBezTo>
                    <a:pt x="4632" y="6442"/>
                    <a:pt x="4597" y="6656"/>
                    <a:pt x="4454" y="6764"/>
                  </a:cubicBezTo>
                  <a:lnTo>
                    <a:pt x="3882" y="7192"/>
                  </a:lnTo>
                  <a:cubicBezTo>
                    <a:pt x="3823" y="7232"/>
                    <a:pt x="3747" y="7255"/>
                    <a:pt x="3683" y="7255"/>
                  </a:cubicBezTo>
                  <a:cubicBezTo>
                    <a:pt x="3669" y="7255"/>
                    <a:pt x="3656" y="7254"/>
                    <a:pt x="3644" y="7252"/>
                  </a:cubicBezTo>
                  <a:cubicBezTo>
                    <a:pt x="3549" y="7240"/>
                    <a:pt x="3477" y="7192"/>
                    <a:pt x="3442" y="7121"/>
                  </a:cubicBezTo>
                  <a:cubicBezTo>
                    <a:pt x="3335" y="6966"/>
                    <a:pt x="3358" y="6775"/>
                    <a:pt x="3513" y="6656"/>
                  </a:cubicBezTo>
                  <a:lnTo>
                    <a:pt x="4061" y="6252"/>
                  </a:lnTo>
                  <a:lnTo>
                    <a:pt x="4073" y="6240"/>
                  </a:lnTo>
                  <a:cubicBezTo>
                    <a:pt x="4135" y="6197"/>
                    <a:pt x="4203" y="6177"/>
                    <a:pt x="4269" y="6177"/>
                  </a:cubicBezTo>
                  <a:close/>
                  <a:moveTo>
                    <a:pt x="2799" y="2549"/>
                  </a:moveTo>
                  <a:lnTo>
                    <a:pt x="3061" y="2715"/>
                  </a:lnTo>
                  <a:cubicBezTo>
                    <a:pt x="3086" y="2724"/>
                    <a:pt x="3105" y="2732"/>
                    <a:pt x="3127" y="2732"/>
                  </a:cubicBezTo>
                  <a:cubicBezTo>
                    <a:pt x="3136" y="2732"/>
                    <a:pt x="3145" y="2731"/>
                    <a:pt x="3156" y="2727"/>
                  </a:cubicBezTo>
                  <a:lnTo>
                    <a:pt x="3858" y="2656"/>
                  </a:lnTo>
                  <a:lnTo>
                    <a:pt x="4108" y="2751"/>
                  </a:lnTo>
                  <a:lnTo>
                    <a:pt x="3954" y="3335"/>
                  </a:lnTo>
                  <a:lnTo>
                    <a:pt x="3954" y="3370"/>
                  </a:lnTo>
                  <a:lnTo>
                    <a:pt x="3954" y="4632"/>
                  </a:lnTo>
                  <a:cubicBezTo>
                    <a:pt x="3954" y="5061"/>
                    <a:pt x="4299" y="5406"/>
                    <a:pt x="4728" y="5406"/>
                  </a:cubicBezTo>
                  <a:cubicBezTo>
                    <a:pt x="5168" y="5406"/>
                    <a:pt x="5501" y="5061"/>
                    <a:pt x="5501" y="4632"/>
                  </a:cubicBezTo>
                  <a:lnTo>
                    <a:pt x="5501" y="3406"/>
                  </a:lnTo>
                  <a:lnTo>
                    <a:pt x="5537" y="3370"/>
                  </a:lnTo>
                  <a:lnTo>
                    <a:pt x="8621" y="5049"/>
                  </a:lnTo>
                  <a:cubicBezTo>
                    <a:pt x="8811" y="5109"/>
                    <a:pt x="8871" y="5299"/>
                    <a:pt x="8776" y="5466"/>
                  </a:cubicBezTo>
                  <a:cubicBezTo>
                    <a:pt x="8718" y="5573"/>
                    <a:pt x="8609" y="5634"/>
                    <a:pt x="8492" y="5634"/>
                  </a:cubicBezTo>
                  <a:cubicBezTo>
                    <a:pt x="8440" y="5634"/>
                    <a:pt x="8386" y="5622"/>
                    <a:pt x="8335" y="5597"/>
                  </a:cubicBezTo>
                  <a:lnTo>
                    <a:pt x="6621" y="4656"/>
                  </a:lnTo>
                  <a:cubicBezTo>
                    <a:pt x="6599" y="4645"/>
                    <a:pt x="6574" y="4640"/>
                    <a:pt x="6550" y="4640"/>
                  </a:cubicBezTo>
                  <a:cubicBezTo>
                    <a:pt x="6497" y="4640"/>
                    <a:pt x="6447" y="4666"/>
                    <a:pt x="6430" y="4716"/>
                  </a:cubicBezTo>
                  <a:cubicBezTo>
                    <a:pt x="6383" y="4799"/>
                    <a:pt x="6418" y="4882"/>
                    <a:pt x="6490" y="4918"/>
                  </a:cubicBezTo>
                  <a:lnTo>
                    <a:pt x="7918" y="5692"/>
                  </a:lnTo>
                  <a:cubicBezTo>
                    <a:pt x="8085" y="5775"/>
                    <a:pt x="8145" y="5966"/>
                    <a:pt x="8049" y="6133"/>
                  </a:cubicBezTo>
                  <a:cubicBezTo>
                    <a:pt x="7985" y="6245"/>
                    <a:pt x="7877" y="6309"/>
                    <a:pt x="7766" y="6309"/>
                  </a:cubicBezTo>
                  <a:cubicBezTo>
                    <a:pt x="7713" y="6309"/>
                    <a:pt x="7659" y="6294"/>
                    <a:pt x="7609" y="6263"/>
                  </a:cubicBezTo>
                  <a:lnTo>
                    <a:pt x="6144" y="5478"/>
                  </a:lnTo>
                  <a:cubicBezTo>
                    <a:pt x="6122" y="5463"/>
                    <a:pt x="6097" y="5456"/>
                    <a:pt x="6073" y="5456"/>
                  </a:cubicBezTo>
                  <a:cubicBezTo>
                    <a:pt x="6020" y="5456"/>
                    <a:pt x="5970" y="5488"/>
                    <a:pt x="5954" y="5537"/>
                  </a:cubicBezTo>
                  <a:cubicBezTo>
                    <a:pt x="5906" y="5609"/>
                    <a:pt x="5942" y="5704"/>
                    <a:pt x="6013" y="5728"/>
                  </a:cubicBezTo>
                  <a:lnTo>
                    <a:pt x="7192" y="6371"/>
                  </a:lnTo>
                  <a:cubicBezTo>
                    <a:pt x="7347" y="6466"/>
                    <a:pt x="7395" y="6656"/>
                    <a:pt x="7323" y="6823"/>
                  </a:cubicBezTo>
                  <a:cubicBezTo>
                    <a:pt x="7255" y="6925"/>
                    <a:pt x="7139" y="6984"/>
                    <a:pt x="7018" y="6984"/>
                  </a:cubicBezTo>
                  <a:cubicBezTo>
                    <a:pt x="6969" y="6984"/>
                    <a:pt x="6919" y="6975"/>
                    <a:pt x="6871" y="6954"/>
                  </a:cubicBezTo>
                  <a:lnTo>
                    <a:pt x="5644" y="6287"/>
                  </a:lnTo>
                  <a:cubicBezTo>
                    <a:pt x="5616" y="6271"/>
                    <a:pt x="5587" y="6263"/>
                    <a:pt x="5560" y="6263"/>
                  </a:cubicBezTo>
                  <a:cubicBezTo>
                    <a:pt x="5509" y="6263"/>
                    <a:pt x="5465" y="6292"/>
                    <a:pt x="5442" y="6347"/>
                  </a:cubicBezTo>
                  <a:cubicBezTo>
                    <a:pt x="5406" y="6418"/>
                    <a:pt x="5430" y="6502"/>
                    <a:pt x="5501" y="6537"/>
                  </a:cubicBezTo>
                  <a:lnTo>
                    <a:pt x="6454" y="7061"/>
                  </a:lnTo>
                  <a:cubicBezTo>
                    <a:pt x="6609" y="7145"/>
                    <a:pt x="6668" y="7335"/>
                    <a:pt x="6597" y="7502"/>
                  </a:cubicBezTo>
                  <a:cubicBezTo>
                    <a:pt x="6531" y="7609"/>
                    <a:pt x="6419" y="7670"/>
                    <a:pt x="6301" y="7670"/>
                  </a:cubicBezTo>
                  <a:cubicBezTo>
                    <a:pt x="6249" y="7670"/>
                    <a:pt x="6196" y="7658"/>
                    <a:pt x="6144" y="7633"/>
                  </a:cubicBezTo>
                  <a:lnTo>
                    <a:pt x="5478" y="7264"/>
                  </a:lnTo>
                  <a:cubicBezTo>
                    <a:pt x="5478" y="7133"/>
                    <a:pt x="5430" y="7002"/>
                    <a:pt x="5347" y="6883"/>
                  </a:cubicBezTo>
                  <a:cubicBezTo>
                    <a:pt x="5228" y="6728"/>
                    <a:pt x="5061" y="6644"/>
                    <a:pt x="4882" y="6644"/>
                  </a:cubicBezTo>
                  <a:lnTo>
                    <a:pt x="4882" y="6597"/>
                  </a:lnTo>
                  <a:cubicBezTo>
                    <a:pt x="4906" y="6430"/>
                    <a:pt x="4870" y="6263"/>
                    <a:pt x="4763" y="6133"/>
                  </a:cubicBezTo>
                  <a:cubicBezTo>
                    <a:pt x="4644" y="5990"/>
                    <a:pt x="4478" y="5894"/>
                    <a:pt x="4299" y="5894"/>
                  </a:cubicBezTo>
                  <a:lnTo>
                    <a:pt x="4299" y="5847"/>
                  </a:lnTo>
                  <a:cubicBezTo>
                    <a:pt x="4335" y="5692"/>
                    <a:pt x="4287" y="5525"/>
                    <a:pt x="4180" y="5394"/>
                  </a:cubicBezTo>
                  <a:cubicBezTo>
                    <a:pt x="4061" y="5240"/>
                    <a:pt x="3894" y="5156"/>
                    <a:pt x="3716" y="5156"/>
                  </a:cubicBezTo>
                  <a:lnTo>
                    <a:pt x="3716" y="5109"/>
                  </a:lnTo>
                  <a:cubicBezTo>
                    <a:pt x="3751" y="4942"/>
                    <a:pt x="3704" y="4775"/>
                    <a:pt x="3596" y="4644"/>
                  </a:cubicBezTo>
                  <a:cubicBezTo>
                    <a:pt x="3476" y="4488"/>
                    <a:pt x="3297" y="4404"/>
                    <a:pt x="3111" y="4404"/>
                  </a:cubicBezTo>
                  <a:cubicBezTo>
                    <a:pt x="2984" y="4404"/>
                    <a:pt x="2855" y="4443"/>
                    <a:pt x="2739" y="4525"/>
                  </a:cubicBezTo>
                  <a:lnTo>
                    <a:pt x="1715" y="5275"/>
                  </a:lnTo>
                  <a:lnTo>
                    <a:pt x="1334" y="5073"/>
                  </a:lnTo>
                  <a:lnTo>
                    <a:pt x="2799" y="2549"/>
                  </a:lnTo>
                  <a:close/>
                  <a:moveTo>
                    <a:pt x="4855" y="6920"/>
                  </a:moveTo>
                  <a:cubicBezTo>
                    <a:pt x="4953" y="6920"/>
                    <a:pt x="5045" y="6960"/>
                    <a:pt x="5109" y="7037"/>
                  </a:cubicBezTo>
                  <a:cubicBezTo>
                    <a:pt x="5168" y="7133"/>
                    <a:pt x="5192" y="7228"/>
                    <a:pt x="5180" y="7299"/>
                  </a:cubicBezTo>
                  <a:cubicBezTo>
                    <a:pt x="5168" y="7383"/>
                    <a:pt x="5120" y="7466"/>
                    <a:pt x="5049" y="7526"/>
                  </a:cubicBezTo>
                  <a:lnTo>
                    <a:pt x="4704" y="7776"/>
                  </a:lnTo>
                  <a:cubicBezTo>
                    <a:pt x="4643" y="7818"/>
                    <a:pt x="4574" y="7838"/>
                    <a:pt x="4507" y="7838"/>
                  </a:cubicBezTo>
                  <a:cubicBezTo>
                    <a:pt x="4404" y="7838"/>
                    <a:pt x="4304" y="7791"/>
                    <a:pt x="4239" y="7704"/>
                  </a:cubicBezTo>
                  <a:cubicBezTo>
                    <a:pt x="4132" y="7549"/>
                    <a:pt x="4168" y="7347"/>
                    <a:pt x="4311" y="7240"/>
                  </a:cubicBezTo>
                  <a:lnTo>
                    <a:pt x="4644" y="7002"/>
                  </a:lnTo>
                  <a:lnTo>
                    <a:pt x="4656" y="6978"/>
                  </a:lnTo>
                  <a:cubicBezTo>
                    <a:pt x="4719" y="6939"/>
                    <a:pt x="4788" y="6920"/>
                    <a:pt x="4855" y="6920"/>
                  </a:cubicBezTo>
                  <a:close/>
                  <a:moveTo>
                    <a:pt x="172" y="0"/>
                  </a:moveTo>
                  <a:cubicBezTo>
                    <a:pt x="121" y="0"/>
                    <a:pt x="72" y="29"/>
                    <a:pt x="48" y="84"/>
                  </a:cubicBezTo>
                  <a:cubicBezTo>
                    <a:pt x="1" y="156"/>
                    <a:pt x="25" y="239"/>
                    <a:pt x="108" y="287"/>
                  </a:cubicBezTo>
                  <a:lnTo>
                    <a:pt x="2346" y="1584"/>
                  </a:lnTo>
                  <a:lnTo>
                    <a:pt x="406" y="4942"/>
                  </a:lnTo>
                  <a:lnTo>
                    <a:pt x="251" y="4847"/>
                  </a:lnTo>
                  <a:cubicBezTo>
                    <a:pt x="226" y="4830"/>
                    <a:pt x="199" y="4822"/>
                    <a:pt x="172" y="4822"/>
                  </a:cubicBezTo>
                  <a:cubicBezTo>
                    <a:pt x="121" y="4822"/>
                    <a:pt x="72" y="4851"/>
                    <a:pt x="48" y="4906"/>
                  </a:cubicBezTo>
                  <a:cubicBezTo>
                    <a:pt x="1" y="4978"/>
                    <a:pt x="25" y="5061"/>
                    <a:pt x="108" y="5109"/>
                  </a:cubicBezTo>
                  <a:lnTo>
                    <a:pt x="894" y="5549"/>
                  </a:lnTo>
                  <a:cubicBezTo>
                    <a:pt x="919" y="5566"/>
                    <a:pt x="947" y="5574"/>
                    <a:pt x="975" y="5574"/>
                  </a:cubicBezTo>
                  <a:cubicBezTo>
                    <a:pt x="1025" y="5574"/>
                    <a:pt x="1073" y="5548"/>
                    <a:pt x="1096" y="5501"/>
                  </a:cubicBezTo>
                  <a:lnTo>
                    <a:pt x="1215" y="5299"/>
                  </a:lnTo>
                  <a:lnTo>
                    <a:pt x="1525" y="5466"/>
                  </a:lnTo>
                  <a:cubicBezTo>
                    <a:pt x="1430" y="5680"/>
                    <a:pt x="1441" y="5918"/>
                    <a:pt x="1572" y="6121"/>
                  </a:cubicBezTo>
                  <a:cubicBezTo>
                    <a:pt x="1691" y="6287"/>
                    <a:pt x="1882" y="6371"/>
                    <a:pt x="2084" y="6371"/>
                  </a:cubicBezTo>
                  <a:cubicBezTo>
                    <a:pt x="2144" y="6371"/>
                    <a:pt x="2215" y="6359"/>
                    <a:pt x="2275" y="6347"/>
                  </a:cubicBezTo>
                  <a:cubicBezTo>
                    <a:pt x="2275" y="6478"/>
                    <a:pt x="2322" y="6597"/>
                    <a:pt x="2394" y="6716"/>
                  </a:cubicBezTo>
                  <a:cubicBezTo>
                    <a:pt x="2513" y="6883"/>
                    <a:pt x="2703" y="6966"/>
                    <a:pt x="2882" y="6966"/>
                  </a:cubicBezTo>
                  <a:cubicBezTo>
                    <a:pt x="2942" y="6966"/>
                    <a:pt x="3013" y="6954"/>
                    <a:pt x="3073" y="6942"/>
                  </a:cubicBezTo>
                  <a:cubicBezTo>
                    <a:pt x="3073" y="7061"/>
                    <a:pt x="3120" y="7192"/>
                    <a:pt x="3192" y="7299"/>
                  </a:cubicBezTo>
                  <a:cubicBezTo>
                    <a:pt x="3299" y="7430"/>
                    <a:pt x="3430" y="7514"/>
                    <a:pt x="3596" y="7549"/>
                  </a:cubicBezTo>
                  <a:cubicBezTo>
                    <a:pt x="3632" y="7549"/>
                    <a:pt x="3656" y="7561"/>
                    <a:pt x="3704" y="7561"/>
                  </a:cubicBezTo>
                  <a:cubicBezTo>
                    <a:pt x="3763" y="7561"/>
                    <a:pt x="3835" y="7549"/>
                    <a:pt x="3894" y="7537"/>
                  </a:cubicBezTo>
                  <a:cubicBezTo>
                    <a:pt x="3894" y="7668"/>
                    <a:pt x="3942" y="7787"/>
                    <a:pt x="4013" y="7895"/>
                  </a:cubicBezTo>
                  <a:cubicBezTo>
                    <a:pt x="4120" y="8026"/>
                    <a:pt x="4251" y="8109"/>
                    <a:pt x="4418" y="8145"/>
                  </a:cubicBezTo>
                  <a:cubicBezTo>
                    <a:pt x="4442" y="8145"/>
                    <a:pt x="4478" y="8157"/>
                    <a:pt x="4525" y="8157"/>
                  </a:cubicBezTo>
                  <a:cubicBezTo>
                    <a:pt x="4656" y="8157"/>
                    <a:pt x="4775" y="8109"/>
                    <a:pt x="4882" y="8037"/>
                  </a:cubicBezTo>
                  <a:lnTo>
                    <a:pt x="5216" y="7787"/>
                  </a:lnTo>
                  <a:cubicBezTo>
                    <a:pt x="5299" y="7728"/>
                    <a:pt x="5359" y="7668"/>
                    <a:pt x="5394" y="7597"/>
                  </a:cubicBezTo>
                  <a:lnTo>
                    <a:pt x="6013" y="7918"/>
                  </a:lnTo>
                  <a:cubicBezTo>
                    <a:pt x="6097" y="7966"/>
                    <a:pt x="6204" y="7990"/>
                    <a:pt x="6311" y="7990"/>
                  </a:cubicBezTo>
                  <a:cubicBezTo>
                    <a:pt x="6371" y="7990"/>
                    <a:pt x="6430" y="7978"/>
                    <a:pt x="6490" y="7966"/>
                  </a:cubicBezTo>
                  <a:cubicBezTo>
                    <a:pt x="6644" y="7918"/>
                    <a:pt x="6787" y="7811"/>
                    <a:pt x="6859" y="7668"/>
                  </a:cubicBezTo>
                  <a:cubicBezTo>
                    <a:pt x="6918" y="7549"/>
                    <a:pt x="6942" y="7430"/>
                    <a:pt x="6930" y="7299"/>
                  </a:cubicBezTo>
                  <a:cubicBezTo>
                    <a:pt x="6966" y="7299"/>
                    <a:pt x="7002" y="7311"/>
                    <a:pt x="7049" y="7311"/>
                  </a:cubicBezTo>
                  <a:cubicBezTo>
                    <a:pt x="7275" y="7311"/>
                    <a:pt x="7478" y="7192"/>
                    <a:pt x="7597" y="6990"/>
                  </a:cubicBezTo>
                  <a:cubicBezTo>
                    <a:pt x="7656" y="6871"/>
                    <a:pt x="7692" y="6740"/>
                    <a:pt x="7680" y="6609"/>
                  </a:cubicBezTo>
                  <a:cubicBezTo>
                    <a:pt x="7716" y="6609"/>
                    <a:pt x="7752" y="6633"/>
                    <a:pt x="7799" y="6633"/>
                  </a:cubicBezTo>
                  <a:cubicBezTo>
                    <a:pt x="8014" y="6633"/>
                    <a:pt x="8228" y="6514"/>
                    <a:pt x="8347" y="6299"/>
                  </a:cubicBezTo>
                  <a:cubicBezTo>
                    <a:pt x="8407" y="6180"/>
                    <a:pt x="8430" y="6061"/>
                    <a:pt x="8418" y="5930"/>
                  </a:cubicBezTo>
                  <a:cubicBezTo>
                    <a:pt x="8454" y="5930"/>
                    <a:pt x="8490" y="5942"/>
                    <a:pt x="8538" y="5942"/>
                  </a:cubicBezTo>
                  <a:cubicBezTo>
                    <a:pt x="8597" y="5942"/>
                    <a:pt x="8657" y="5930"/>
                    <a:pt x="8716" y="5918"/>
                  </a:cubicBezTo>
                  <a:cubicBezTo>
                    <a:pt x="8883" y="5871"/>
                    <a:pt x="9014" y="5763"/>
                    <a:pt x="9085" y="5621"/>
                  </a:cubicBezTo>
                  <a:cubicBezTo>
                    <a:pt x="9169" y="5466"/>
                    <a:pt x="9192" y="5299"/>
                    <a:pt x="9133" y="5144"/>
                  </a:cubicBezTo>
                  <a:cubicBezTo>
                    <a:pt x="9121" y="5097"/>
                    <a:pt x="9109" y="5061"/>
                    <a:pt x="9085" y="5037"/>
                  </a:cubicBezTo>
                  <a:lnTo>
                    <a:pt x="9347" y="4859"/>
                  </a:lnTo>
                  <a:lnTo>
                    <a:pt x="9478" y="5037"/>
                  </a:lnTo>
                  <a:cubicBezTo>
                    <a:pt x="9506" y="5072"/>
                    <a:pt x="9550" y="5090"/>
                    <a:pt x="9593" y="5090"/>
                  </a:cubicBezTo>
                  <a:cubicBezTo>
                    <a:pt x="9625" y="5090"/>
                    <a:pt x="9656" y="5081"/>
                    <a:pt x="9681" y="5061"/>
                  </a:cubicBezTo>
                  <a:lnTo>
                    <a:pt x="10085" y="4739"/>
                  </a:lnTo>
                  <a:cubicBezTo>
                    <a:pt x="10121" y="4668"/>
                    <a:pt x="10133" y="4573"/>
                    <a:pt x="10085" y="4513"/>
                  </a:cubicBezTo>
                  <a:cubicBezTo>
                    <a:pt x="10065" y="4479"/>
                    <a:pt x="10019" y="4460"/>
                    <a:pt x="9974" y="4460"/>
                  </a:cubicBezTo>
                  <a:cubicBezTo>
                    <a:pt x="9941" y="4460"/>
                    <a:pt x="9908" y="4470"/>
                    <a:pt x="9883" y="4489"/>
                  </a:cubicBezTo>
                  <a:lnTo>
                    <a:pt x="9585" y="4704"/>
                  </a:lnTo>
                  <a:lnTo>
                    <a:pt x="7252" y="1644"/>
                  </a:lnTo>
                  <a:lnTo>
                    <a:pt x="8585" y="775"/>
                  </a:lnTo>
                  <a:cubicBezTo>
                    <a:pt x="8657" y="739"/>
                    <a:pt x="8680" y="644"/>
                    <a:pt x="8633" y="572"/>
                  </a:cubicBezTo>
                  <a:cubicBezTo>
                    <a:pt x="8602" y="526"/>
                    <a:pt x="8556" y="500"/>
                    <a:pt x="8505" y="500"/>
                  </a:cubicBezTo>
                  <a:cubicBezTo>
                    <a:pt x="8478" y="500"/>
                    <a:pt x="8448" y="508"/>
                    <a:pt x="8418" y="525"/>
                  </a:cubicBezTo>
                  <a:lnTo>
                    <a:pt x="6954" y="1477"/>
                  </a:lnTo>
                  <a:cubicBezTo>
                    <a:pt x="6871" y="1525"/>
                    <a:pt x="6859" y="1632"/>
                    <a:pt x="6906" y="1680"/>
                  </a:cubicBezTo>
                  <a:lnTo>
                    <a:pt x="7168" y="2037"/>
                  </a:lnTo>
                  <a:lnTo>
                    <a:pt x="6978" y="2192"/>
                  </a:lnTo>
                  <a:lnTo>
                    <a:pt x="6216" y="1942"/>
                  </a:lnTo>
                  <a:cubicBezTo>
                    <a:pt x="6204" y="1942"/>
                    <a:pt x="6192" y="1918"/>
                    <a:pt x="6180" y="1918"/>
                  </a:cubicBezTo>
                  <a:lnTo>
                    <a:pt x="4430" y="1918"/>
                  </a:lnTo>
                  <a:cubicBezTo>
                    <a:pt x="4358" y="1918"/>
                    <a:pt x="4299" y="1965"/>
                    <a:pt x="4287" y="2037"/>
                  </a:cubicBezTo>
                  <a:lnTo>
                    <a:pt x="4180" y="2430"/>
                  </a:lnTo>
                  <a:lnTo>
                    <a:pt x="3930" y="2323"/>
                  </a:lnTo>
                  <a:cubicBezTo>
                    <a:pt x="3894" y="2311"/>
                    <a:pt x="3882" y="2311"/>
                    <a:pt x="3846" y="2311"/>
                  </a:cubicBezTo>
                  <a:lnTo>
                    <a:pt x="3168" y="2382"/>
                  </a:lnTo>
                  <a:lnTo>
                    <a:pt x="2930" y="2251"/>
                  </a:lnTo>
                  <a:lnTo>
                    <a:pt x="3156" y="1858"/>
                  </a:lnTo>
                  <a:cubicBezTo>
                    <a:pt x="3192" y="1787"/>
                    <a:pt x="3168" y="1703"/>
                    <a:pt x="3096" y="1656"/>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3" name="Google Shape;10783;p60"/>
            <p:cNvSpPr/>
            <p:nvPr/>
          </p:nvSpPr>
          <p:spPr>
            <a:xfrm>
              <a:off x="2946442" y="2015001"/>
              <a:ext cx="37525" cy="26799"/>
            </a:xfrm>
            <a:custGeom>
              <a:avLst/>
              <a:gdLst/>
              <a:ahLst/>
              <a:cxnLst/>
              <a:rect l="l" t="t" r="r" b="b"/>
              <a:pathLst>
                <a:path w="1179" h="842" extrusionOk="0">
                  <a:moveTo>
                    <a:pt x="1011" y="1"/>
                  </a:moveTo>
                  <a:cubicBezTo>
                    <a:pt x="983" y="1"/>
                    <a:pt x="955" y="7"/>
                    <a:pt x="929" y="20"/>
                  </a:cubicBezTo>
                  <a:lnTo>
                    <a:pt x="96" y="556"/>
                  </a:lnTo>
                  <a:cubicBezTo>
                    <a:pt x="24" y="603"/>
                    <a:pt x="0" y="699"/>
                    <a:pt x="48" y="770"/>
                  </a:cubicBezTo>
                  <a:cubicBezTo>
                    <a:pt x="84" y="818"/>
                    <a:pt x="119" y="842"/>
                    <a:pt x="167" y="842"/>
                  </a:cubicBezTo>
                  <a:cubicBezTo>
                    <a:pt x="203" y="842"/>
                    <a:pt x="226" y="830"/>
                    <a:pt x="238" y="818"/>
                  </a:cubicBezTo>
                  <a:lnTo>
                    <a:pt x="1072" y="282"/>
                  </a:lnTo>
                  <a:cubicBezTo>
                    <a:pt x="1167" y="234"/>
                    <a:pt x="1179" y="127"/>
                    <a:pt x="1131" y="68"/>
                  </a:cubicBezTo>
                  <a:cubicBezTo>
                    <a:pt x="1108" y="22"/>
                    <a:pt x="1061" y="1"/>
                    <a:pt x="10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84" name="Google Shape;10784;p60"/>
          <p:cNvGrpSpPr/>
          <p:nvPr/>
        </p:nvGrpSpPr>
        <p:grpSpPr>
          <a:xfrm>
            <a:off x="6671087" y="2009304"/>
            <a:ext cx="332757" cy="281833"/>
            <a:chOff x="6671087" y="2009304"/>
            <a:chExt cx="332757" cy="281833"/>
          </a:xfrm>
        </p:grpSpPr>
        <p:sp>
          <p:nvSpPr>
            <p:cNvPr id="10785" name="Google Shape;10785;p60"/>
            <p:cNvSpPr/>
            <p:nvPr/>
          </p:nvSpPr>
          <p:spPr>
            <a:xfrm>
              <a:off x="6671087" y="2023658"/>
              <a:ext cx="331993" cy="267478"/>
            </a:xfrm>
            <a:custGeom>
              <a:avLst/>
              <a:gdLst/>
              <a:ahLst/>
              <a:cxnLst/>
              <a:rect l="l" t="t" r="r" b="b"/>
              <a:pathLst>
                <a:path w="10431" h="8404" extrusionOk="0">
                  <a:moveTo>
                    <a:pt x="6359" y="2272"/>
                  </a:moveTo>
                  <a:lnTo>
                    <a:pt x="7192" y="2546"/>
                  </a:lnTo>
                  <a:cubicBezTo>
                    <a:pt x="7203" y="2553"/>
                    <a:pt x="7215" y="2556"/>
                    <a:pt x="7228" y="2556"/>
                  </a:cubicBezTo>
                  <a:cubicBezTo>
                    <a:pt x="7261" y="2556"/>
                    <a:pt x="7298" y="2539"/>
                    <a:pt x="7323" y="2522"/>
                  </a:cubicBezTo>
                  <a:lnTo>
                    <a:pt x="7585" y="2332"/>
                  </a:lnTo>
                  <a:lnTo>
                    <a:pt x="9419" y="4725"/>
                  </a:lnTo>
                  <a:lnTo>
                    <a:pt x="9109" y="4951"/>
                  </a:lnTo>
                  <a:cubicBezTo>
                    <a:pt x="9097" y="4927"/>
                    <a:pt x="9061" y="4915"/>
                    <a:pt x="9050" y="4903"/>
                  </a:cubicBezTo>
                  <a:lnTo>
                    <a:pt x="5882" y="3177"/>
                  </a:lnTo>
                  <a:lnTo>
                    <a:pt x="6002" y="2987"/>
                  </a:lnTo>
                  <a:cubicBezTo>
                    <a:pt x="6049" y="2903"/>
                    <a:pt x="6025" y="2820"/>
                    <a:pt x="5954" y="2772"/>
                  </a:cubicBezTo>
                  <a:cubicBezTo>
                    <a:pt x="5929" y="2755"/>
                    <a:pt x="5900" y="2747"/>
                    <a:pt x="5873" y="2747"/>
                  </a:cubicBezTo>
                  <a:cubicBezTo>
                    <a:pt x="5822" y="2747"/>
                    <a:pt x="5775" y="2774"/>
                    <a:pt x="5752" y="2820"/>
                  </a:cubicBezTo>
                  <a:lnTo>
                    <a:pt x="5418" y="3356"/>
                  </a:lnTo>
                  <a:cubicBezTo>
                    <a:pt x="5406" y="3379"/>
                    <a:pt x="5382" y="3415"/>
                    <a:pt x="5382" y="3427"/>
                  </a:cubicBezTo>
                  <a:lnTo>
                    <a:pt x="5382" y="4725"/>
                  </a:lnTo>
                  <a:cubicBezTo>
                    <a:pt x="5382" y="4987"/>
                    <a:pt x="5168" y="5213"/>
                    <a:pt x="4894" y="5213"/>
                  </a:cubicBezTo>
                  <a:cubicBezTo>
                    <a:pt x="4632" y="5213"/>
                    <a:pt x="4406" y="4987"/>
                    <a:pt x="4406" y="4725"/>
                  </a:cubicBezTo>
                  <a:lnTo>
                    <a:pt x="4406" y="3439"/>
                  </a:lnTo>
                  <a:lnTo>
                    <a:pt x="4704" y="2272"/>
                  </a:lnTo>
                  <a:close/>
                  <a:moveTo>
                    <a:pt x="2692" y="1796"/>
                  </a:moveTo>
                  <a:lnTo>
                    <a:pt x="2930" y="1927"/>
                  </a:lnTo>
                  <a:lnTo>
                    <a:pt x="929" y="5392"/>
                  </a:lnTo>
                  <a:lnTo>
                    <a:pt x="691" y="5261"/>
                  </a:lnTo>
                  <a:lnTo>
                    <a:pt x="2692" y="1796"/>
                  </a:lnTo>
                  <a:close/>
                  <a:moveTo>
                    <a:pt x="3215" y="4844"/>
                  </a:moveTo>
                  <a:cubicBezTo>
                    <a:pt x="3323" y="4844"/>
                    <a:pt x="3406" y="4892"/>
                    <a:pt x="3489" y="4975"/>
                  </a:cubicBezTo>
                  <a:cubicBezTo>
                    <a:pt x="3608" y="5130"/>
                    <a:pt x="3561" y="5344"/>
                    <a:pt x="3406" y="5451"/>
                  </a:cubicBezTo>
                  <a:lnTo>
                    <a:pt x="2323" y="6213"/>
                  </a:lnTo>
                  <a:cubicBezTo>
                    <a:pt x="2266" y="6255"/>
                    <a:pt x="2199" y="6275"/>
                    <a:pt x="2131" y="6275"/>
                  </a:cubicBezTo>
                  <a:cubicBezTo>
                    <a:pt x="2027" y="6275"/>
                    <a:pt x="1923" y="6228"/>
                    <a:pt x="1858" y="6142"/>
                  </a:cubicBezTo>
                  <a:cubicBezTo>
                    <a:pt x="1763" y="5987"/>
                    <a:pt x="1787" y="5785"/>
                    <a:pt x="1942" y="5677"/>
                  </a:cubicBezTo>
                  <a:lnTo>
                    <a:pt x="3025" y="4903"/>
                  </a:lnTo>
                  <a:cubicBezTo>
                    <a:pt x="3085" y="4856"/>
                    <a:pt x="3156" y="4844"/>
                    <a:pt x="3215" y="4844"/>
                  </a:cubicBezTo>
                  <a:close/>
                  <a:moveTo>
                    <a:pt x="3811" y="5606"/>
                  </a:moveTo>
                  <a:cubicBezTo>
                    <a:pt x="3918" y="5606"/>
                    <a:pt x="4001" y="5665"/>
                    <a:pt x="4061" y="5737"/>
                  </a:cubicBezTo>
                  <a:cubicBezTo>
                    <a:pt x="4180" y="5880"/>
                    <a:pt x="4144" y="6106"/>
                    <a:pt x="3989" y="6213"/>
                  </a:cubicBezTo>
                  <a:lnTo>
                    <a:pt x="3156" y="6820"/>
                  </a:lnTo>
                  <a:cubicBezTo>
                    <a:pt x="3100" y="6863"/>
                    <a:pt x="3032" y="6883"/>
                    <a:pt x="2964" y="6883"/>
                  </a:cubicBezTo>
                  <a:cubicBezTo>
                    <a:pt x="2861" y="6883"/>
                    <a:pt x="2756" y="6835"/>
                    <a:pt x="2692" y="6749"/>
                  </a:cubicBezTo>
                  <a:cubicBezTo>
                    <a:pt x="2573" y="6594"/>
                    <a:pt x="2620" y="6380"/>
                    <a:pt x="2775" y="6273"/>
                  </a:cubicBezTo>
                  <a:lnTo>
                    <a:pt x="3573" y="5689"/>
                  </a:lnTo>
                  <a:cubicBezTo>
                    <a:pt x="3608" y="5677"/>
                    <a:pt x="3632" y="5642"/>
                    <a:pt x="3668" y="5630"/>
                  </a:cubicBezTo>
                  <a:cubicBezTo>
                    <a:pt x="3704" y="5618"/>
                    <a:pt x="3763" y="5606"/>
                    <a:pt x="3811" y="5606"/>
                  </a:cubicBezTo>
                  <a:close/>
                  <a:moveTo>
                    <a:pt x="4415" y="6386"/>
                  </a:moveTo>
                  <a:cubicBezTo>
                    <a:pt x="4516" y="6386"/>
                    <a:pt x="4617" y="6431"/>
                    <a:pt x="4680" y="6523"/>
                  </a:cubicBezTo>
                  <a:cubicBezTo>
                    <a:pt x="4799" y="6666"/>
                    <a:pt x="4751" y="6892"/>
                    <a:pt x="4597" y="6999"/>
                  </a:cubicBezTo>
                  <a:lnTo>
                    <a:pt x="4001" y="7416"/>
                  </a:lnTo>
                  <a:cubicBezTo>
                    <a:pt x="3946" y="7462"/>
                    <a:pt x="3883" y="7479"/>
                    <a:pt x="3814" y="7479"/>
                  </a:cubicBezTo>
                  <a:cubicBezTo>
                    <a:pt x="3793" y="7479"/>
                    <a:pt x="3773" y="7478"/>
                    <a:pt x="3751" y="7475"/>
                  </a:cubicBezTo>
                  <a:cubicBezTo>
                    <a:pt x="3668" y="7463"/>
                    <a:pt x="3585" y="7416"/>
                    <a:pt x="3525" y="7344"/>
                  </a:cubicBezTo>
                  <a:cubicBezTo>
                    <a:pt x="3430" y="7189"/>
                    <a:pt x="3454" y="6987"/>
                    <a:pt x="3608" y="6880"/>
                  </a:cubicBezTo>
                  <a:lnTo>
                    <a:pt x="4180" y="6463"/>
                  </a:lnTo>
                  <a:lnTo>
                    <a:pt x="4216" y="6451"/>
                  </a:lnTo>
                  <a:cubicBezTo>
                    <a:pt x="4274" y="6407"/>
                    <a:pt x="4344" y="6386"/>
                    <a:pt x="4415" y="6386"/>
                  </a:cubicBezTo>
                  <a:close/>
                  <a:moveTo>
                    <a:pt x="2894" y="2594"/>
                  </a:moveTo>
                  <a:lnTo>
                    <a:pt x="3168" y="2760"/>
                  </a:lnTo>
                  <a:cubicBezTo>
                    <a:pt x="3193" y="2769"/>
                    <a:pt x="3212" y="2777"/>
                    <a:pt x="3234" y="2777"/>
                  </a:cubicBezTo>
                  <a:cubicBezTo>
                    <a:pt x="3243" y="2777"/>
                    <a:pt x="3253" y="2776"/>
                    <a:pt x="3263" y="2772"/>
                  </a:cubicBezTo>
                  <a:lnTo>
                    <a:pt x="3977" y="2677"/>
                  </a:lnTo>
                  <a:lnTo>
                    <a:pt x="4239" y="2784"/>
                  </a:lnTo>
                  <a:lnTo>
                    <a:pt x="4097" y="3379"/>
                  </a:lnTo>
                  <a:lnTo>
                    <a:pt x="4097" y="3415"/>
                  </a:lnTo>
                  <a:lnTo>
                    <a:pt x="4097" y="4701"/>
                  </a:lnTo>
                  <a:cubicBezTo>
                    <a:pt x="4097" y="5154"/>
                    <a:pt x="4454" y="5511"/>
                    <a:pt x="4894" y="5511"/>
                  </a:cubicBezTo>
                  <a:cubicBezTo>
                    <a:pt x="5347" y="5511"/>
                    <a:pt x="5704" y="5154"/>
                    <a:pt x="5704" y="4701"/>
                  </a:cubicBezTo>
                  <a:lnTo>
                    <a:pt x="5704" y="3439"/>
                  </a:lnTo>
                  <a:lnTo>
                    <a:pt x="5728" y="3391"/>
                  </a:lnTo>
                  <a:lnTo>
                    <a:pt x="8919" y="5118"/>
                  </a:lnTo>
                  <a:cubicBezTo>
                    <a:pt x="9061" y="5261"/>
                    <a:pt x="9121" y="5463"/>
                    <a:pt x="9038" y="5630"/>
                  </a:cubicBezTo>
                  <a:cubicBezTo>
                    <a:pt x="8973" y="5742"/>
                    <a:pt x="8860" y="5806"/>
                    <a:pt x="8742" y="5806"/>
                  </a:cubicBezTo>
                  <a:cubicBezTo>
                    <a:pt x="8685" y="5806"/>
                    <a:pt x="8627" y="5792"/>
                    <a:pt x="8573" y="5761"/>
                  </a:cubicBezTo>
                  <a:lnTo>
                    <a:pt x="6799" y="4796"/>
                  </a:lnTo>
                  <a:cubicBezTo>
                    <a:pt x="6777" y="4781"/>
                    <a:pt x="6753" y="4775"/>
                    <a:pt x="6730" y="4775"/>
                  </a:cubicBezTo>
                  <a:cubicBezTo>
                    <a:pt x="6679" y="4775"/>
                    <a:pt x="6630" y="4807"/>
                    <a:pt x="6597" y="4856"/>
                  </a:cubicBezTo>
                  <a:cubicBezTo>
                    <a:pt x="6549" y="4927"/>
                    <a:pt x="6585" y="5023"/>
                    <a:pt x="6656" y="5058"/>
                  </a:cubicBezTo>
                  <a:lnTo>
                    <a:pt x="8133" y="5868"/>
                  </a:lnTo>
                  <a:cubicBezTo>
                    <a:pt x="8288" y="5951"/>
                    <a:pt x="8347" y="6166"/>
                    <a:pt x="8264" y="6332"/>
                  </a:cubicBezTo>
                  <a:cubicBezTo>
                    <a:pt x="8198" y="6439"/>
                    <a:pt x="8080" y="6501"/>
                    <a:pt x="7959" y="6501"/>
                  </a:cubicBezTo>
                  <a:cubicBezTo>
                    <a:pt x="7905" y="6501"/>
                    <a:pt x="7851" y="6489"/>
                    <a:pt x="7799" y="6463"/>
                  </a:cubicBezTo>
                  <a:lnTo>
                    <a:pt x="6299" y="5642"/>
                  </a:lnTo>
                  <a:cubicBezTo>
                    <a:pt x="6277" y="5627"/>
                    <a:pt x="6252" y="5620"/>
                    <a:pt x="6227" y="5620"/>
                  </a:cubicBezTo>
                  <a:cubicBezTo>
                    <a:pt x="6173" y="5620"/>
                    <a:pt x="6118" y="5652"/>
                    <a:pt x="6085" y="5701"/>
                  </a:cubicBezTo>
                  <a:cubicBezTo>
                    <a:pt x="6049" y="5773"/>
                    <a:pt x="6073" y="5868"/>
                    <a:pt x="6144" y="5916"/>
                  </a:cubicBezTo>
                  <a:lnTo>
                    <a:pt x="7371" y="6570"/>
                  </a:lnTo>
                  <a:cubicBezTo>
                    <a:pt x="7537" y="6654"/>
                    <a:pt x="7597" y="6868"/>
                    <a:pt x="7502" y="7023"/>
                  </a:cubicBezTo>
                  <a:cubicBezTo>
                    <a:pt x="7444" y="7139"/>
                    <a:pt x="7322" y="7203"/>
                    <a:pt x="7197" y="7203"/>
                  </a:cubicBezTo>
                  <a:cubicBezTo>
                    <a:pt x="7143" y="7203"/>
                    <a:pt x="7088" y="7191"/>
                    <a:pt x="7037" y="7166"/>
                  </a:cubicBezTo>
                  <a:lnTo>
                    <a:pt x="5775" y="6463"/>
                  </a:lnTo>
                  <a:cubicBezTo>
                    <a:pt x="5753" y="6448"/>
                    <a:pt x="5728" y="6442"/>
                    <a:pt x="5704" y="6442"/>
                  </a:cubicBezTo>
                  <a:cubicBezTo>
                    <a:pt x="5650" y="6442"/>
                    <a:pt x="5597" y="6474"/>
                    <a:pt x="5573" y="6523"/>
                  </a:cubicBezTo>
                  <a:cubicBezTo>
                    <a:pt x="5525" y="6594"/>
                    <a:pt x="5549" y="6689"/>
                    <a:pt x="5632" y="6725"/>
                  </a:cubicBezTo>
                  <a:lnTo>
                    <a:pt x="6609" y="7261"/>
                  </a:lnTo>
                  <a:cubicBezTo>
                    <a:pt x="6775" y="7356"/>
                    <a:pt x="6835" y="7559"/>
                    <a:pt x="6740" y="7725"/>
                  </a:cubicBezTo>
                  <a:cubicBezTo>
                    <a:pt x="6683" y="7838"/>
                    <a:pt x="6567" y="7902"/>
                    <a:pt x="6450" y="7902"/>
                  </a:cubicBezTo>
                  <a:cubicBezTo>
                    <a:pt x="6394" y="7902"/>
                    <a:pt x="6337" y="7887"/>
                    <a:pt x="6287" y="7856"/>
                  </a:cubicBezTo>
                  <a:lnTo>
                    <a:pt x="5597" y="7487"/>
                  </a:lnTo>
                  <a:cubicBezTo>
                    <a:pt x="5597" y="7344"/>
                    <a:pt x="5549" y="7201"/>
                    <a:pt x="5466" y="7082"/>
                  </a:cubicBezTo>
                  <a:cubicBezTo>
                    <a:pt x="5347" y="6939"/>
                    <a:pt x="5168" y="6844"/>
                    <a:pt x="4990" y="6832"/>
                  </a:cubicBezTo>
                  <a:cubicBezTo>
                    <a:pt x="4990" y="6820"/>
                    <a:pt x="4990" y="6808"/>
                    <a:pt x="5001" y="6785"/>
                  </a:cubicBezTo>
                  <a:cubicBezTo>
                    <a:pt x="5037" y="6606"/>
                    <a:pt x="4990" y="6451"/>
                    <a:pt x="4882" y="6308"/>
                  </a:cubicBezTo>
                  <a:cubicBezTo>
                    <a:pt x="4763" y="6166"/>
                    <a:pt x="4585" y="6070"/>
                    <a:pt x="4406" y="6058"/>
                  </a:cubicBezTo>
                  <a:cubicBezTo>
                    <a:pt x="4406" y="6046"/>
                    <a:pt x="4406" y="6035"/>
                    <a:pt x="4418" y="6011"/>
                  </a:cubicBezTo>
                  <a:cubicBezTo>
                    <a:pt x="4454" y="5832"/>
                    <a:pt x="4406" y="5677"/>
                    <a:pt x="4299" y="5535"/>
                  </a:cubicBezTo>
                  <a:cubicBezTo>
                    <a:pt x="4180" y="5392"/>
                    <a:pt x="4001" y="5296"/>
                    <a:pt x="3823" y="5284"/>
                  </a:cubicBezTo>
                  <a:cubicBezTo>
                    <a:pt x="3823" y="5273"/>
                    <a:pt x="3823" y="5261"/>
                    <a:pt x="3847" y="5237"/>
                  </a:cubicBezTo>
                  <a:cubicBezTo>
                    <a:pt x="3870" y="5058"/>
                    <a:pt x="3823" y="4903"/>
                    <a:pt x="3727" y="4761"/>
                  </a:cubicBezTo>
                  <a:cubicBezTo>
                    <a:pt x="3600" y="4597"/>
                    <a:pt x="3413" y="4515"/>
                    <a:pt x="3222" y="4515"/>
                  </a:cubicBezTo>
                  <a:cubicBezTo>
                    <a:pt x="3093" y="4515"/>
                    <a:pt x="2962" y="4553"/>
                    <a:pt x="2846" y="4630"/>
                  </a:cubicBezTo>
                  <a:lnTo>
                    <a:pt x="1775" y="5404"/>
                  </a:lnTo>
                  <a:lnTo>
                    <a:pt x="1382" y="5201"/>
                  </a:lnTo>
                  <a:lnTo>
                    <a:pt x="2894" y="2594"/>
                  </a:lnTo>
                  <a:close/>
                  <a:moveTo>
                    <a:pt x="5009" y="7159"/>
                  </a:moveTo>
                  <a:cubicBezTo>
                    <a:pt x="5109" y="7159"/>
                    <a:pt x="5207" y="7205"/>
                    <a:pt x="5263" y="7297"/>
                  </a:cubicBezTo>
                  <a:cubicBezTo>
                    <a:pt x="5311" y="7356"/>
                    <a:pt x="5347" y="7451"/>
                    <a:pt x="5335" y="7535"/>
                  </a:cubicBezTo>
                  <a:cubicBezTo>
                    <a:pt x="5311" y="7630"/>
                    <a:pt x="5263" y="7701"/>
                    <a:pt x="5192" y="7761"/>
                  </a:cubicBezTo>
                  <a:lnTo>
                    <a:pt x="4835" y="8011"/>
                  </a:lnTo>
                  <a:cubicBezTo>
                    <a:pt x="4778" y="8053"/>
                    <a:pt x="4711" y="8073"/>
                    <a:pt x="4643" y="8073"/>
                  </a:cubicBezTo>
                  <a:cubicBezTo>
                    <a:pt x="4539" y="8073"/>
                    <a:pt x="4435" y="8026"/>
                    <a:pt x="4370" y="7940"/>
                  </a:cubicBezTo>
                  <a:cubicBezTo>
                    <a:pt x="4275" y="7785"/>
                    <a:pt x="4299" y="7582"/>
                    <a:pt x="4454" y="7475"/>
                  </a:cubicBezTo>
                  <a:lnTo>
                    <a:pt x="4775" y="7237"/>
                  </a:lnTo>
                  <a:lnTo>
                    <a:pt x="4811" y="7225"/>
                  </a:lnTo>
                  <a:cubicBezTo>
                    <a:pt x="4869" y="7181"/>
                    <a:pt x="4940" y="7159"/>
                    <a:pt x="5009" y="7159"/>
                  </a:cubicBezTo>
                  <a:close/>
                  <a:moveTo>
                    <a:pt x="182" y="0"/>
                  </a:moveTo>
                  <a:cubicBezTo>
                    <a:pt x="131" y="0"/>
                    <a:pt x="81" y="32"/>
                    <a:pt x="48" y="81"/>
                  </a:cubicBezTo>
                  <a:cubicBezTo>
                    <a:pt x="1" y="153"/>
                    <a:pt x="25" y="248"/>
                    <a:pt x="108" y="284"/>
                  </a:cubicBezTo>
                  <a:lnTo>
                    <a:pt x="2430" y="1629"/>
                  </a:lnTo>
                  <a:lnTo>
                    <a:pt x="418" y="5094"/>
                  </a:lnTo>
                  <a:lnTo>
                    <a:pt x="251" y="5011"/>
                  </a:lnTo>
                  <a:cubicBezTo>
                    <a:pt x="226" y="4994"/>
                    <a:pt x="200" y="4986"/>
                    <a:pt x="175" y="4986"/>
                  </a:cubicBezTo>
                  <a:cubicBezTo>
                    <a:pt x="126" y="4986"/>
                    <a:pt x="80" y="5015"/>
                    <a:pt x="48" y="5070"/>
                  </a:cubicBezTo>
                  <a:cubicBezTo>
                    <a:pt x="1" y="5142"/>
                    <a:pt x="25" y="5225"/>
                    <a:pt x="108" y="5273"/>
                  </a:cubicBezTo>
                  <a:lnTo>
                    <a:pt x="906" y="5737"/>
                  </a:lnTo>
                  <a:cubicBezTo>
                    <a:pt x="932" y="5752"/>
                    <a:pt x="958" y="5759"/>
                    <a:pt x="983" y="5759"/>
                  </a:cubicBezTo>
                  <a:cubicBezTo>
                    <a:pt x="1038" y="5759"/>
                    <a:pt x="1087" y="5726"/>
                    <a:pt x="1120" y="5677"/>
                  </a:cubicBezTo>
                  <a:lnTo>
                    <a:pt x="1239" y="5463"/>
                  </a:lnTo>
                  <a:lnTo>
                    <a:pt x="1561" y="5642"/>
                  </a:lnTo>
                  <a:cubicBezTo>
                    <a:pt x="1465" y="5856"/>
                    <a:pt x="1465" y="6106"/>
                    <a:pt x="1608" y="6320"/>
                  </a:cubicBezTo>
                  <a:cubicBezTo>
                    <a:pt x="1727" y="6499"/>
                    <a:pt x="1942" y="6582"/>
                    <a:pt x="2132" y="6582"/>
                  </a:cubicBezTo>
                  <a:cubicBezTo>
                    <a:pt x="2192" y="6582"/>
                    <a:pt x="2263" y="6570"/>
                    <a:pt x="2323" y="6558"/>
                  </a:cubicBezTo>
                  <a:cubicBezTo>
                    <a:pt x="2323" y="6689"/>
                    <a:pt x="2370" y="6820"/>
                    <a:pt x="2442" y="6928"/>
                  </a:cubicBezTo>
                  <a:cubicBezTo>
                    <a:pt x="2561" y="7094"/>
                    <a:pt x="2751" y="7178"/>
                    <a:pt x="2965" y="7178"/>
                  </a:cubicBezTo>
                  <a:cubicBezTo>
                    <a:pt x="3025" y="7178"/>
                    <a:pt x="3096" y="7166"/>
                    <a:pt x="3156" y="7154"/>
                  </a:cubicBezTo>
                  <a:cubicBezTo>
                    <a:pt x="3156" y="7285"/>
                    <a:pt x="3204" y="7404"/>
                    <a:pt x="3275" y="7523"/>
                  </a:cubicBezTo>
                  <a:cubicBezTo>
                    <a:pt x="3382" y="7654"/>
                    <a:pt x="3525" y="7749"/>
                    <a:pt x="3692" y="7773"/>
                  </a:cubicBezTo>
                  <a:cubicBezTo>
                    <a:pt x="3716" y="7773"/>
                    <a:pt x="3763" y="7785"/>
                    <a:pt x="3799" y="7785"/>
                  </a:cubicBezTo>
                  <a:cubicBezTo>
                    <a:pt x="3858" y="7785"/>
                    <a:pt x="3930" y="7773"/>
                    <a:pt x="3989" y="7761"/>
                  </a:cubicBezTo>
                  <a:cubicBezTo>
                    <a:pt x="3989" y="7892"/>
                    <a:pt x="4037" y="8011"/>
                    <a:pt x="4108" y="8130"/>
                  </a:cubicBezTo>
                  <a:cubicBezTo>
                    <a:pt x="4216" y="8261"/>
                    <a:pt x="4358" y="8356"/>
                    <a:pt x="4525" y="8380"/>
                  </a:cubicBezTo>
                  <a:cubicBezTo>
                    <a:pt x="4549" y="8380"/>
                    <a:pt x="4597" y="8404"/>
                    <a:pt x="4632" y="8404"/>
                  </a:cubicBezTo>
                  <a:cubicBezTo>
                    <a:pt x="4763" y="8404"/>
                    <a:pt x="4894" y="8356"/>
                    <a:pt x="5001" y="8285"/>
                  </a:cubicBezTo>
                  <a:lnTo>
                    <a:pt x="5359" y="8023"/>
                  </a:lnTo>
                  <a:cubicBezTo>
                    <a:pt x="5430" y="7963"/>
                    <a:pt x="5490" y="7904"/>
                    <a:pt x="5537" y="7820"/>
                  </a:cubicBezTo>
                  <a:lnTo>
                    <a:pt x="6156" y="8166"/>
                  </a:lnTo>
                  <a:cubicBezTo>
                    <a:pt x="6252" y="8201"/>
                    <a:pt x="6359" y="8237"/>
                    <a:pt x="6478" y="8237"/>
                  </a:cubicBezTo>
                  <a:cubicBezTo>
                    <a:pt x="6537" y="8237"/>
                    <a:pt x="6597" y="8225"/>
                    <a:pt x="6656" y="8201"/>
                  </a:cubicBezTo>
                  <a:cubicBezTo>
                    <a:pt x="6811" y="8166"/>
                    <a:pt x="6954" y="8047"/>
                    <a:pt x="7037" y="7892"/>
                  </a:cubicBezTo>
                  <a:cubicBezTo>
                    <a:pt x="7097" y="7773"/>
                    <a:pt x="7133" y="7642"/>
                    <a:pt x="7109" y="7523"/>
                  </a:cubicBezTo>
                  <a:cubicBezTo>
                    <a:pt x="7156" y="7523"/>
                    <a:pt x="7192" y="7535"/>
                    <a:pt x="7228" y="7535"/>
                  </a:cubicBezTo>
                  <a:cubicBezTo>
                    <a:pt x="7454" y="7535"/>
                    <a:pt x="7680" y="7416"/>
                    <a:pt x="7799" y="7213"/>
                  </a:cubicBezTo>
                  <a:cubicBezTo>
                    <a:pt x="7859" y="7094"/>
                    <a:pt x="7883" y="6951"/>
                    <a:pt x="7871" y="6832"/>
                  </a:cubicBezTo>
                  <a:cubicBezTo>
                    <a:pt x="7918" y="6832"/>
                    <a:pt x="7942" y="6856"/>
                    <a:pt x="7990" y="6856"/>
                  </a:cubicBezTo>
                  <a:cubicBezTo>
                    <a:pt x="8216" y="6856"/>
                    <a:pt x="8442" y="6737"/>
                    <a:pt x="8561" y="6523"/>
                  </a:cubicBezTo>
                  <a:cubicBezTo>
                    <a:pt x="8621" y="6404"/>
                    <a:pt x="8645" y="6273"/>
                    <a:pt x="8633" y="6154"/>
                  </a:cubicBezTo>
                  <a:cubicBezTo>
                    <a:pt x="8680" y="6154"/>
                    <a:pt x="8704" y="6166"/>
                    <a:pt x="8752" y="6166"/>
                  </a:cubicBezTo>
                  <a:cubicBezTo>
                    <a:pt x="8811" y="6166"/>
                    <a:pt x="8871" y="6154"/>
                    <a:pt x="8930" y="6142"/>
                  </a:cubicBezTo>
                  <a:cubicBezTo>
                    <a:pt x="9097" y="6094"/>
                    <a:pt x="9228" y="5975"/>
                    <a:pt x="9311" y="5820"/>
                  </a:cubicBezTo>
                  <a:cubicBezTo>
                    <a:pt x="9407" y="5677"/>
                    <a:pt x="9419" y="5499"/>
                    <a:pt x="9359" y="5332"/>
                  </a:cubicBezTo>
                  <a:cubicBezTo>
                    <a:pt x="9347" y="5284"/>
                    <a:pt x="9335" y="5261"/>
                    <a:pt x="9311" y="5213"/>
                  </a:cubicBezTo>
                  <a:lnTo>
                    <a:pt x="9585" y="5023"/>
                  </a:lnTo>
                  <a:lnTo>
                    <a:pt x="9728" y="5201"/>
                  </a:lnTo>
                  <a:cubicBezTo>
                    <a:pt x="9756" y="5236"/>
                    <a:pt x="9804" y="5254"/>
                    <a:pt x="9853" y="5254"/>
                  </a:cubicBezTo>
                  <a:cubicBezTo>
                    <a:pt x="9889" y="5254"/>
                    <a:pt x="9925" y="5245"/>
                    <a:pt x="9954" y="5225"/>
                  </a:cubicBezTo>
                  <a:lnTo>
                    <a:pt x="10371" y="4903"/>
                  </a:lnTo>
                  <a:cubicBezTo>
                    <a:pt x="10431" y="4808"/>
                    <a:pt x="10431" y="4725"/>
                    <a:pt x="10395" y="4653"/>
                  </a:cubicBezTo>
                  <a:cubicBezTo>
                    <a:pt x="10350" y="4616"/>
                    <a:pt x="10300" y="4592"/>
                    <a:pt x="10254" y="4592"/>
                  </a:cubicBezTo>
                  <a:cubicBezTo>
                    <a:pt x="10228" y="4592"/>
                    <a:pt x="10202" y="4600"/>
                    <a:pt x="10181" y="4618"/>
                  </a:cubicBezTo>
                  <a:lnTo>
                    <a:pt x="9883" y="4856"/>
                  </a:lnTo>
                  <a:lnTo>
                    <a:pt x="7454" y="1689"/>
                  </a:lnTo>
                  <a:lnTo>
                    <a:pt x="8835" y="796"/>
                  </a:lnTo>
                  <a:cubicBezTo>
                    <a:pt x="8919" y="748"/>
                    <a:pt x="8930" y="665"/>
                    <a:pt x="8883" y="582"/>
                  </a:cubicBezTo>
                  <a:cubicBezTo>
                    <a:pt x="8854" y="539"/>
                    <a:pt x="8813" y="517"/>
                    <a:pt x="8769" y="517"/>
                  </a:cubicBezTo>
                  <a:cubicBezTo>
                    <a:pt x="8740" y="517"/>
                    <a:pt x="8709" y="527"/>
                    <a:pt x="8680" y="546"/>
                  </a:cubicBezTo>
                  <a:lnTo>
                    <a:pt x="7156" y="1522"/>
                  </a:lnTo>
                  <a:cubicBezTo>
                    <a:pt x="7085" y="1570"/>
                    <a:pt x="7073" y="1677"/>
                    <a:pt x="7109" y="1748"/>
                  </a:cubicBezTo>
                  <a:lnTo>
                    <a:pt x="7395" y="2106"/>
                  </a:lnTo>
                  <a:lnTo>
                    <a:pt x="7204" y="2248"/>
                  </a:lnTo>
                  <a:lnTo>
                    <a:pt x="6418" y="1998"/>
                  </a:lnTo>
                  <a:cubicBezTo>
                    <a:pt x="6406" y="1998"/>
                    <a:pt x="6383" y="1986"/>
                    <a:pt x="6371" y="1986"/>
                  </a:cubicBezTo>
                  <a:lnTo>
                    <a:pt x="4585" y="1986"/>
                  </a:lnTo>
                  <a:cubicBezTo>
                    <a:pt x="4513" y="1986"/>
                    <a:pt x="4454" y="2034"/>
                    <a:pt x="4442" y="2106"/>
                  </a:cubicBezTo>
                  <a:lnTo>
                    <a:pt x="4335" y="2510"/>
                  </a:lnTo>
                  <a:lnTo>
                    <a:pt x="4073" y="2403"/>
                  </a:lnTo>
                  <a:cubicBezTo>
                    <a:pt x="4049" y="2391"/>
                    <a:pt x="4037" y="2391"/>
                    <a:pt x="4001" y="2391"/>
                  </a:cubicBezTo>
                  <a:lnTo>
                    <a:pt x="3287" y="2475"/>
                  </a:lnTo>
                  <a:lnTo>
                    <a:pt x="3049" y="2344"/>
                  </a:lnTo>
                  <a:lnTo>
                    <a:pt x="3275" y="1939"/>
                  </a:lnTo>
                  <a:cubicBezTo>
                    <a:pt x="3323" y="1867"/>
                    <a:pt x="3287" y="1772"/>
                    <a:pt x="3215" y="1736"/>
                  </a:cubicBezTo>
                  <a:lnTo>
                    <a:pt x="251" y="22"/>
                  </a:lnTo>
                  <a:cubicBezTo>
                    <a:pt x="228" y="7"/>
                    <a:pt x="205"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6" name="Google Shape;10786;p60"/>
            <p:cNvSpPr/>
            <p:nvPr/>
          </p:nvSpPr>
          <p:spPr>
            <a:xfrm>
              <a:off x="6965173" y="2009304"/>
              <a:ext cx="38670" cy="27181"/>
            </a:xfrm>
            <a:custGeom>
              <a:avLst/>
              <a:gdLst/>
              <a:ahLst/>
              <a:cxnLst/>
              <a:rect l="l" t="t" r="r" b="b"/>
              <a:pathLst>
                <a:path w="1215" h="854" extrusionOk="0">
                  <a:moveTo>
                    <a:pt x="1023" y="1"/>
                  </a:moveTo>
                  <a:cubicBezTo>
                    <a:pt x="995" y="1"/>
                    <a:pt x="966" y="8"/>
                    <a:pt x="941" y="20"/>
                  </a:cubicBezTo>
                  <a:lnTo>
                    <a:pt x="95" y="580"/>
                  </a:lnTo>
                  <a:cubicBezTo>
                    <a:pt x="12" y="616"/>
                    <a:pt x="0" y="711"/>
                    <a:pt x="48" y="782"/>
                  </a:cubicBezTo>
                  <a:cubicBezTo>
                    <a:pt x="83" y="830"/>
                    <a:pt x="119" y="854"/>
                    <a:pt x="179" y="854"/>
                  </a:cubicBezTo>
                  <a:cubicBezTo>
                    <a:pt x="214" y="854"/>
                    <a:pt x="238" y="842"/>
                    <a:pt x="274" y="830"/>
                  </a:cubicBezTo>
                  <a:lnTo>
                    <a:pt x="1119" y="282"/>
                  </a:lnTo>
                  <a:cubicBezTo>
                    <a:pt x="1179" y="235"/>
                    <a:pt x="1214" y="140"/>
                    <a:pt x="1155" y="68"/>
                  </a:cubicBezTo>
                  <a:cubicBezTo>
                    <a:pt x="1124" y="22"/>
                    <a:pt x="1074" y="1"/>
                    <a:pt x="10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787" name="Google Shape;10787;p60"/>
          <p:cNvSpPr/>
          <p:nvPr/>
        </p:nvSpPr>
        <p:spPr>
          <a:xfrm>
            <a:off x="1745940" y="1967132"/>
            <a:ext cx="368371" cy="368340"/>
          </a:xfrm>
          <a:custGeom>
            <a:avLst/>
            <a:gdLst/>
            <a:ahLst/>
            <a:cxnLst/>
            <a:rect l="l" t="t" r="r" b="b"/>
            <a:pathLst>
              <a:path w="11574" h="11573" extrusionOk="0">
                <a:moveTo>
                  <a:pt x="10680" y="333"/>
                </a:moveTo>
                <a:cubicBezTo>
                  <a:pt x="10990" y="333"/>
                  <a:pt x="11228" y="583"/>
                  <a:pt x="11228" y="881"/>
                </a:cubicBezTo>
                <a:lnTo>
                  <a:pt x="11228" y="5620"/>
                </a:lnTo>
                <a:lnTo>
                  <a:pt x="11037" y="5620"/>
                </a:lnTo>
                <a:cubicBezTo>
                  <a:pt x="10954" y="5620"/>
                  <a:pt x="10871" y="5691"/>
                  <a:pt x="10871" y="5787"/>
                </a:cubicBezTo>
                <a:cubicBezTo>
                  <a:pt x="10871" y="5870"/>
                  <a:pt x="10954" y="5953"/>
                  <a:pt x="11037" y="5953"/>
                </a:cubicBezTo>
                <a:lnTo>
                  <a:pt x="11228" y="5953"/>
                </a:lnTo>
                <a:lnTo>
                  <a:pt x="11228" y="10680"/>
                </a:lnTo>
                <a:cubicBezTo>
                  <a:pt x="11228" y="10990"/>
                  <a:pt x="10978" y="11228"/>
                  <a:pt x="10680" y="11228"/>
                </a:cubicBezTo>
                <a:lnTo>
                  <a:pt x="5953" y="11228"/>
                </a:lnTo>
                <a:lnTo>
                  <a:pt x="5953" y="9406"/>
                </a:lnTo>
                <a:cubicBezTo>
                  <a:pt x="5953" y="9108"/>
                  <a:pt x="5715" y="8870"/>
                  <a:pt x="5418" y="8870"/>
                </a:cubicBezTo>
                <a:lnTo>
                  <a:pt x="5060" y="8870"/>
                </a:lnTo>
                <a:cubicBezTo>
                  <a:pt x="4834" y="8870"/>
                  <a:pt x="4644" y="8954"/>
                  <a:pt x="4525" y="9108"/>
                </a:cubicBezTo>
                <a:cubicBezTo>
                  <a:pt x="4358" y="9299"/>
                  <a:pt x="4132" y="9406"/>
                  <a:pt x="3882" y="9406"/>
                </a:cubicBezTo>
                <a:cubicBezTo>
                  <a:pt x="3632" y="9406"/>
                  <a:pt x="3382" y="9287"/>
                  <a:pt x="3239" y="9085"/>
                </a:cubicBezTo>
                <a:cubicBezTo>
                  <a:pt x="3072" y="8894"/>
                  <a:pt x="3013" y="8644"/>
                  <a:pt x="3072" y="8394"/>
                </a:cubicBezTo>
                <a:cubicBezTo>
                  <a:pt x="3132" y="8073"/>
                  <a:pt x="3405" y="7822"/>
                  <a:pt x="3727" y="7751"/>
                </a:cubicBezTo>
                <a:cubicBezTo>
                  <a:pt x="3781" y="7740"/>
                  <a:pt x="3835" y="7735"/>
                  <a:pt x="3889" y="7735"/>
                </a:cubicBezTo>
                <a:cubicBezTo>
                  <a:pt x="4129" y="7735"/>
                  <a:pt x="4357" y="7842"/>
                  <a:pt x="4513" y="8037"/>
                </a:cubicBezTo>
                <a:cubicBezTo>
                  <a:pt x="4656" y="8192"/>
                  <a:pt x="4846" y="8287"/>
                  <a:pt x="5049" y="8287"/>
                </a:cubicBezTo>
                <a:lnTo>
                  <a:pt x="5430" y="8287"/>
                </a:lnTo>
                <a:cubicBezTo>
                  <a:pt x="5727" y="8287"/>
                  <a:pt x="5965" y="8049"/>
                  <a:pt x="5965" y="7751"/>
                </a:cubicBezTo>
                <a:lnTo>
                  <a:pt x="5965" y="5917"/>
                </a:lnTo>
                <a:lnTo>
                  <a:pt x="7799" y="5917"/>
                </a:lnTo>
                <a:cubicBezTo>
                  <a:pt x="7894" y="5917"/>
                  <a:pt x="7989" y="6001"/>
                  <a:pt x="7989" y="6108"/>
                </a:cubicBezTo>
                <a:lnTo>
                  <a:pt x="7989" y="6477"/>
                </a:lnTo>
                <a:cubicBezTo>
                  <a:pt x="7989" y="6584"/>
                  <a:pt x="7942" y="6691"/>
                  <a:pt x="7858" y="6763"/>
                </a:cubicBezTo>
                <a:cubicBezTo>
                  <a:pt x="7525" y="7037"/>
                  <a:pt x="7382" y="7453"/>
                  <a:pt x="7454" y="7882"/>
                </a:cubicBezTo>
                <a:cubicBezTo>
                  <a:pt x="7537" y="8346"/>
                  <a:pt x="7894" y="8704"/>
                  <a:pt x="8347" y="8799"/>
                </a:cubicBezTo>
                <a:cubicBezTo>
                  <a:pt x="8430" y="8823"/>
                  <a:pt x="8513" y="8835"/>
                  <a:pt x="8597" y="8835"/>
                </a:cubicBezTo>
                <a:cubicBezTo>
                  <a:pt x="8870" y="8835"/>
                  <a:pt x="9120" y="8739"/>
                  <a:pt x="9347" y="8561"/>
                </a:cubicBezTo>
                <a:cubicBezTo>
                  <a:pt x="9609" y="8346"/>
                  <a:pt x="9775" y="8013"/>
                  <a:pt x="9775" y="7656"/>
                </a:cubicBezTo>
                <a:cubicBezTo>
                  <a:pt x="9775" y="7311"/>
                  <a:pt x="9621" y="6977"/>
                  <a:pt x="9347" y="6751"/>
                </a:cubicBezTo>
                <a:cubicBezTo>
                  <a:pt x="9263" y="6691"/>
                  <a:pt x="9228" y="6584"/>
                  <a:pt x="9228" y="6465"/>
                </a:cubicBezTo>
                <a:lnTo>
                  <a:pt x="9228" y="6108"/>
                </a:lnTo>
                <a:cubicBezTo>
                  <a:pt x="9228" y="6001"/>
                  <a:pt x="9311" y="5917"/>
                  <a:pt x="9418" y="5917"/>
                </a:cubicBezTo>
                <a:lnTo>
                  <a:pt x="10323" y="5917"/>
                </a:lnTo>
                <a:cubicBezTo>
                  <a:pt x="10418" y="5917"/>
                  <a:pt x="10490" y="5846"/>
                  <a:pt x="10490" y="5751"/>
                </a:cubicBezTo>
                <a:cubicBezTo>
                  <a:pt x="10490" y="5667"/>
                  <a:pt x="10418" y="5584"/>
                  <a:pt x="10323" y="5584"/>
                </a:cubicBezTo>
                <a:lnTo>
                  <a:pt x="9418" y="5584"/>
                </a:lnTo>
                <a:cubicBezTo>
                  <a:pt x="9120" y="5584"/>
                  <a:pt x="8882" y="5822"/>
                  <a:pt x="8882" y="6120"/>
                </a:cubicBezTo>
                <a:lnTo>
                  <a:pt x="8882" y="6477"/>
                </a:lnTo>
                <a:cubicBezTo>
                  <a:pt x="8882" y="6703"/>
                  <a:pt x="8966" y="6894"/>
                  <a:pt x="9120" y="7013"/>
                </a:cubicBezTo>
                <a:cubicBezTo>
                  <a:pt x="9311" y="7180"/>
                  <a:pt x="9418" y="7406"/>
                  <a:pt x="9418" y="7656"/>
                </a:cubicBezTo>
                <a:cubicBezTo>
                  <a:pt x="9418" y="7906"/>
                  <a:pt x="9299" y="8144"/>
                  <a:pt x="9109" y="8299"/>
                </a:cubicBezTo>
                <a:cubicBezTo>
                  <a:pt x="8957" y="8423"/>
                  <a:pt x="8780" y="8488"/>
                  <a:pt x="8595" y="8488"/>
                </a:cubicBezTo>
                <a:cubicBezTo>
                  <a:pt x="8533" y="8488"/>
                  <a:pt x="8469" y="8480"/>
                  <a:pt x="8406" y="8465"/>
                </a:cubicBezTo>
                <a:cubicBezTo>
                  <a:pt x="8097" y="8406"/>
                  <a:pt x="7835" y="8132"/>
                  <a:pt x="7763" y="7811"/>
                </a:cubicBezTo>
                <a:cubicBezTo>
                  <a:pt x="7704" y="7513"/>
                  <a:pt x="7811" y="7215"/>
                  <a:pt x="8049" y="7013"/>
                </a:cubicBezTo>
                <a:cubicBezTo>
                  <a:pt x="8216" y="6882"/>
                  <a:pt x="8299" y="6691"/>
                  <a:pt x="8299" y="6477"/>
                </a:cubicBezTo>
                <a:lnTo>
                  <a:pt x="8299" y="6108"/>
                </a:lnTo>
                <a:cubicBezTo>
                  <a:pt x="8299" y="5810"/>
                  <a:pt x="8061" y="5572"/>
                  <a:pt x="7763" y="5572"/>
                </a:cubicBezTo>
                <a:lnTo>
                  <a:pt x="5953" y="5572"/>
                </a:lnTo>
                <a:lnTo>
                  <a:pt x="5953" y="3739"/>
                </a:lnTo>
                <a:cubicBezTo>
                  <a:pt x="5953" y="3643"/>
                  <a:pt x="6037" y="3548"/>
                  <a:pt x="6144" y="3548"/>
                </a:cubicBezTo>
                <a:lnTo>
                  <a:pt x="6513" y="3548"/>
                </a:lnTo>
                <a:cubicBezTo>
                  <a:pt x="6620" y="3548"/>
                  <a:pt x="6727" y="3596"/>
                  <a:pt x="6799" y="3679"/>
                </a:cubicBezTo>
                <a:cubicBezTo>
                  <a:pt x="7017" y="3956"/>
                  <a:pt x="7342" y="4102"/>
                  <a:pt x="7698" y="4102"/>
                </a:cubicBezTo>
                <a:cubicBezTo>
                  <a:pt x="7770" y="4102"/>
                  <a:pt x="7844" y="4096"/>
                  <a:pt x="7918" y="4084"/>
                </a:cubicBezTo>
                <a:cubicBezTo>
                  <a:pt x="8370" y="4001"/>
                  <a:pt x="8728" y="3643"/>
                  <a:pt x="8835" y="3191"/>
                </a:cubicBezTo>
                <a:cubicBezTo>
                  <a:pt x="8906" y="2834"/>
                  <a:pt x="8823" y="2477"/>
                  <a:pt x="8597" y="2215"/>
                </a:cubicBezTo>
                <a:cubicBezTo>
                  <a:pt x="8370" y="1941"/>
                  <a:pt x="8049" y="1774"/>
                  <a:pt x="7692" y="1774"/>
                </a:cubicBezTo>
                <a:cubicBezTo>
                  <a:pt x="7346" y="1774"/>
                  <a:pt x="7001" y="1929"/>
                  <a:pt x="6775" y="2215"/>
                </a:cubicBezTo>
                <a:cubicBezTo>
                  <a:pt x="6715" y="2286"/>
                  <a:pt x="6620" y="2334"/>
                  <a:pt x="6501" y="2334"/>
                </a:cubicBezTo>
                <a:lnTo>
                  <a:pt x="6144" y="2334"/>
                </a:lnTo>
                <a:cubicBezTo>
                  <a:pt x="6037" y="2334"/>
                  <a:pt x="5941" y="2238"/>
                  <a:pt x="5941" y="2131"/>
                </a:cubicBezTo>
                <a:lnTo>
                  <a:pt x="5941" y="1226"/>
                </a:lnTo>
                <a:cubicBezTo>
                  <a:pt x="5941" y="1143"/>
                  <a:pt x="5870" y="1060"/>
                  <a:pt x="5787" y="1060"/>
                </a:cubicBezTo>
                <a:cubicBezTo>
                  <a:pt x="5691" y="1060"/>
                  <a:pt x="5620" y="1143"/>
                  <a:pt x="5620" y="1226"/>
                </a:cubicBezTo>
                <a:lnTo>
                  <a:pt x="5620" y="2131"/>
                </a:lnTo>
                <a:cubicBezTo>
                  <a:pt x="5620" y="2429"/>
                  <a:pt x="5858" y="2667"/>
                  <a:pt x="6156" y="2667"/>
                </a:cubicBezTo>
                <a:lnTo>
                  <a:pt x="6513" y="2667"/>
                </a:lnTo>
                <a:cubicBezTo>
                  <a:pt x="6739" y="2667"/>
                  <a:pt x="6930" y="2584"/>
                  <a:pt x="7049" y="2429"/>
                </a:cubicBezTo>
                <a:cubicBezTo>
                  <a:pt x="7215" y="2238"/>
                  <a:pt x="7430" y="2131"/>
                  <a:pt x="7692" y="2131"/>
                </a:cubicBezTo>
                <a:cubicBezTo>
                  <a:pt x="7942" y="2131"/>
                  <a:pt x="8180" y="2250"/>
                  <a:pt x="8323" y="2453"/>
                </a:cubicBezTo>
                <a:cubicBezTo>
                  <a:pt x="8489" y="2643"/>
                  <a:pt x="8549" y="2893"/>
                  <a:pt x="8489" y="3143"/>
                </a:cubicBezTo>
                <a:cubicBezTo>
                  <a:pt x="8430" y="3465"/>
                  <a:pt x="8168" y="3715"/>
                  <a:pt x="7835" y="3786"/>
                </a:cubicBezTo>
                <a:cubicBezTo>
                  <a:pt x="7780" y="3797"/>
                  <a:pt x="7726" y="3802"/>
                  <a:pt x="7673" y="3802"/>
                </a:cubicBezTo>
                <a:cubicBezTo>
                  <a:pt x="7432" y="3802"/>
                  <a:pt x="7205" y="3695"/>
                  <a:pt x="7049" y="3501"/>
                </a:cubicBezTo>
                <a:cubicBezTo>
                  <a:pt x="6918" y="3346"/>
                  <a:pt x="6727" y="3250"/>
                  <a:pt x="6513" y="3250"/>
                </a:cubicBezTo>
                <a:lnTo>
                  <a:pt x="6144" y="3250"/>
                </a:lnTo>
                <a:cubicBezTo>
                  <a:pt x="5846" y="3250"/>
                  <a:pt x="5608" y="3489"/>
                  <a:pt x="5608" y="3786"/>
                </a:cubicBezTo>
                <a:lnTo>
                  <a:pt x="5608" y="5620"/>
                </a:lnTo>
                <a:lnTo>
                  <a:pt x="3775" y="5620"/>
                </a:lnTo>
                <a:cubicBezTo>
                  <a:pt x="3667" y="5620"/>
                  <a:pt x="3584" y="5525"/>
                  <a:pt x="3584" y="5429"/>
                </a:cubicBezTo>
                <a:lnTo>
                  <a:pt x="3584" y="5048"/>
                </a:lnTo>
                <a:cubicBezTo>
                  <a:pt x="3584" y="4953"/>
                  <a:pt x="3620" y="4846"/>
                  <a:pt x="3715" y="4774"/>
                </a:cubicBezTo>
                <a:cubicBezTo>
                  <a:pt x="4036" y="4501"/>
                  <a:pt x="4191" y="4084"/>
                  <a:pt x="4120" y="3655"/>
                </a:cubicBezTo>
                <a:cubicBezTo>
                  <a:pt x="4025" y="3191"/>
                  <a:pt x="3667" y="2834"/>
                  <a:pt x="3227" y="2727"/>
                </a:cubicBezTo>
                <a:cubicBezTo>
                  <a:pt x="3148" y="2711"/>
                  <a:pt x="3069" y="2703"/>
                  <a:pt x="2991" y="2703"/>
                </a:cubicBezTo>
                <a:cubicBezTo>
                  <a:pt x="2716" y="2703"/>
                  <a:pt x="2452" y="2798"/>
                  <a:pt x="2239" y="2965"/>
                </a:cubicBezTo>
                <a:cubicBezTo>
                  <a:pt x="1977" y="3191"/>
                  <a:pt x="1810" y="3524"/>
                  <a:pt x="1810" y="3882"/>
                </a:cubicBezTo>
                <a:cubicBezTo>
                  <a:pt x="1810" y="4215"/>
                  <a:pt x="1953" y="4560"/>
                  <a:pt x="2239" y="4786"/>
                </a:cubicBezTo>
                <a:cubicBezTo>
                  <a:pt x="2310" y="4846"/>
                  <a:pt x="2358" y="4953"/>
                  <a:pt x="2358" y="5072"/>
                </a:cubicBezTo>
                <a:lnTo>
                  <a:pt x="2358" y="5429"/>
                </a:lnTo>
                <a:cubicBezTo>
                  <a:pt x="2358" y="5525"/>
                  <a:pt x="2274" y="5620"/>
                  <a:pt x="2167" y="5620"/>
                </a:cubicBezTo>
                <a:lnTo>
                  <a:pt x="334" y="5620"/>
                </a:lnTo>
                <a:lnTo>
                  <a:pt x="334" y="881"/>
                </a:lnTo>
                <a:cubicBezTo>
                  <a:pt x="334" y="572"/>
                  <a:pt x="584" y="333"/>
                  <a:pt x="881" y="333"/>
                </a:cubicBezTo>
                <a:lnTo>
                  <a:pt x="5620" y="333"/>
                </a:lnTo>
                <a:lnTo>
                  <a:pt x="5620" y="524"/>
                </a:lnTo>
                <a:cubicBezTo>
                  <a:pt x="5620" y="619"/>
                  <a:pt x="5691" y="691"/>
                  <a:pt x="5787" y="691"/>
                </a:cubicBezTo>
                <a:cubicBezTo>
                  <a:pt x="5870" y="691"/>
                  <a:pt x="5941" y="619"/>
                  <a:pt x="5941" y="524"/>
                </a:cubicBezTo>
                <a:lnTo>
                  <a:pt x="5941" y="333"/>
                </a:lnTo>
                <a:close/>
                <a:moveTo>
                  <a:pt x="2976" y="3061"/>
                </a:moveTo>
                <a:cubicBezTo>
                  <a:pt x="3040" y="3061"/>
                  <a:pt x="3104" y="3069"/>
                  <a:pt x="3167" y="3084"/>
                </a:cubicBezTo>
                <a:cubicBezTo>
                  <a:pt x="3477" y="3143"/>
                  <a:pt x="3727" y="3417"/>
                  <a:pt x="3810" y="3739"/>
                </a:cubicBezTo>
                <a:cubicBezTo>
                  <a:pt x="3870" y="4036"/>
                  <a:pt x="3763" y="4334"/>
                  <a:pt x="3525" y="4536"/>
                </a:cubicBezTo>
                <a:cubicBezTo>
                  <a:pt x="3358" y="4667"/>
                  <a:pt x="3274" y="4858"/>
                  <a:pt x="3274" y="5072"/>
                </a:cubicBezTo>
                <a:lnTo>
                  <a:pt x="3274" y="5441"/>
                </a:lnTo>
                <a:cubicBezTo>
                  <a:pt x="3274" y="5739"/>
                  <a:pt x="3513" y="5977"/>
                  <a:pt x="3810" y="5977"/>
                </a:cubicBezTo>
                <a:lnTo>
                  <a:pt x="5632" y="5977"/>
                </a:lnTo>
                <a:lnTo>
                  <a:pt x="5632" y="7811"/>
                </a:lnTo>
                <a:cubicBezTo>
                  <a:pt x="5632" y="7918"/>
                  <a:pt x="5549" y="8001"/>
                  <a:pt x="5441" y="8001"/>
                </a:cubicBezTo>
                <a:lnTo>
                  <a:pt x="5072" y="8001"/>
                </a:lnTo>
                <a:cubicBezTo>
                  <a:pt x="4965" y="8001"/>
                  <a:pt x="4858" y="7953"/>
                  <a:pt x="4787" y="7870"/>
                </a:cubicBezTo>
                <a:cubicBezTo>
                  <a:pt x="4569" y="7593"/>
                  <a:pt x="4244" y="7447"/>
                  <a:pt x="3887" y="7447"/>
                </a:cubicBezTo>
                <a:cubicBezTo>
                  <a:pt x="3815" y="7447"/>
                  <a:pt x="3741" y="7453"/>
                  <a:pt x="3667" y="7465"/>
                </a:cubicBezTo>
                <a:cubicBezTo>
                  <a:pt x="3215" y="7561"/>
                  <a:pt x="2858" y="7918"/>
                  <a:pt x="2751" y="8358"/>
                </a:cubicBezTo>
                <a:cubicBezTo>
                  <a:pt x="2679" y="8715"/>
                  <a:pt x="2763" y="9073"/>
                  <a:pt x="2989" y="9346"/>
                </a:cubicBezTo>
                <a:cubicBezTo>
                  <a:pt x="3215" y="9608"/>
                  <a:pt x="3536" y="9775"/>
                  <a:pt x="3894" y="9775"/>
                </a:cubicBezTo>
                <a:cubicBezTo>
                  <a:pt x="4239" y="9775"/>
                  <a:pt x="4584" y="9620"/>
                  <a:pt x="4798" y="9346"/>
                </a:cubicBezTo>
                <a:cubicBezTo>
                  <a:pt x="4858" y="9263"/>
                  <a:pt x="4965" y="9227"/>
                  <a:pt x="5084" y="9227"/>
                </a:cubicBezTo>
                <a:lnTo>
                  <a:pt x="5441" y="9227"/>
                </a:lnTo>
                <a:cubicBezTo>
                  <a:pt x="5549" y="9227"/>
                  <a:pt x="5632" y="9311"/>
                  <a:pt x="5632" y="9418"/>
                </a:cubicBezTo>
                <a:lnTo>
                  <a:pt x="5632" y="11251"/>
                </a:lnTo>
                <a:lnTo>
                  <a:pt x="869" y="11251"/>
                </a:lnTo>
                <a:cubicBezTo>
                  <a:pt x="560" y="11251"/>
                  <a:pt x="322" y="10990"/>
                  <a:pt x="322" y="10692"/>
                </a:cubicBezTo>
                <a:lnTo>
                  <a:pt x="322" y="5965"/>
                </a:lnTo>
                <a:lnTo>
                  <a:pt x="2155" y="5965"/>
                </a:lnTo>
                <a:cubicBezTo>
                  <a:pt x="2453" y="5965"/>
                  <a:pt x="2691" y="5727"/>
                  <a:pt x="2691" y="5429"/>
                </a:cubicBezTo>
                <a:lnTo>
                  <a:pt x="2691" y="5072"/>
                </a:lnTo>
                <a:cubicBezTo>
                  <a:pt x="2691" y="4846"/>
                  <a:pt x="2596" y="4655"/>
                  <a:pt x="2453" y="4536"/>
                </a:cubicBezTo>
                <a:cubicBezTo>
                  <a:pt x="2262" y="4370"/>
                  <a:pt x="2155" y="4143"/>
                  <a:pt x="2155" y="3893"/>
                </a:cubicBezTo>
                <a:cubicBezTo>
                  <a:pt x="2155" y="3643"/>
                  <a:pt x="2274" y="3405"/>
                  <a:pt x="2465" y="3250"/>
                </a:cubicBezTo>
                <a:cubicBezTo>
                  <a:pt x="2607" y="3126"/>
                  <a:pt x="2789" y="3061"/>
                  <a:pt x="2976" y="3061"/>
                </a:cubicBezTo>
                <a:close/>
                <a:moveTo>
                  <a:pt x="893" y="0"/>
                </a:moveTo>
                <a:cubicBezTo>
                  <a:pt x="393" y="0"/>
                  <a:pt x="0" y="393"/>
                  <a:pt x="0" y="893"/>
                </a:cubicBezTo>
                <a:lnTo>
                  <a:pt x="0" y="10680"/>
                </a:lnTo>
                <a:cubicBezTo>
                  <a:pt x="0" y="11168"/>
                  <a:pt x="393" y="11573"/>
                  <a:pt x="893" y="11573"/>
                </a:cubicBezTo>
                <a:lnTo>
                  <a:pt x="10680" y="11573"/>
                </a:lnTo>
                <a:cubicBezTo>
                  <a:pt x="11168" y="11573"/>
                  <a:pt x="11573" y="11168"/>
                  <a:pt x="11573" y="10680"/>
                </a:cubicBezTo>
                <a:lnTo>
                  <a:pt x="11573" y="893"/>
                </a:lnTo>
                <a:cubicBezTo>
                  <a:pt x="11573" y="393"/>
                  <a:pt x="11168" y="0"/>
                  <a:pt x="10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788" name="Google Shape;10788;p60"/>
          <p:cNvGrpSpPr/>
          <p:nvPr/>
        </p:nvGrpSpPr>
        <p:grpSpPr>
          <a:xfrm>
            <a:off x="2201806" y="1976585"/>
            <a:ext cx="349784" cy="349434"/>
            <a:chOff x="2201806" y="1976585"/>
            <a:chExt cx="349784" cy="349434"/>
          </a:xfrm>
        </p:grpSpPr>
        <p:sp>
          <p:nvSpPr>
            <p:cNvPr id="10789" name="Google Shape;10789;p60"/>
            <p:cNvSpPr/>
            <p:nvPr/>
          </p:nvSpPr>
          <p:spPr>
            <a:xfrm>
              <a:off x="2231755" y="2073373"/>
              <a:ext cx="319835" cy="252647"/>
            </a:xfrm>
            <a:custGeom>
              <a:avLst/>
              <a:gdLst/>
              <a:ahLst/>
              <a:cxnLst/>
              <a:rect l="l" t="t" r="r" b="b"/>
              <a:pathLst>
                <a:path w="10049" h="7938" extrusionOk="0">
                  <a:moveTo>
                    <a:pt x="9368" y="0"/>
                  </a:moveTo>
                  <a:cubicBezTo>
                    <a:pt x="9345" y="0"/>
                    <a:pt x="9322" y="6"/>
                    <a:pt x="9299" y="20"/>
                  </a:cubicBezTo>
                  <a:cubicBezTo>
                    <a:pt x="9227" y="67"/>
                    <a:pt x="9180" y="151"/>
                    <a:pt x="9227" y="234"/>
                  </a:cubicBezTo>
                  <a:cubicBezTo>
                    <a:pt x="9561" y="925"/>
                    <a:pt x="9716" y="1675"/>
                    <a:pt x="9716" y="2449"/>
                  </a:cubicBezTo>
                  <a:cubicBezTo>
                    <a:pt x="9716" y="3830"/>
                    <a:pt x="9180" y="5127"/>
                    <a:pt x="8203" y="6104"/>
                  </a:cubicBezTo>
                  <a:cubicBezTo>
                    <a:pt x="7215" y="7092"/>
                    <a:pt x="5917" y="7628"/>
                    <a:pt x="4536" y="7628"/>
                  </a:cubicBezTo>
                  <a:cubicBezTo>
                    <a:pt x="3715" y="7628"/>
                    <a:pt x="2929" y="7449"/>
                    <a:pt x="2203" y="7080"/>
                  </a:cubicBezTo>
                  <a:cubicBezTo>
                    <a:pt x="1596" y="6759"/>
                    <a:pt x="1060" y="6342"/>
                    <a:pt x="607" y="5830"/>
                  </a:cubicBezTo>
                  <a:lnTo>
                    <a:pt x="607" y="5830"/>
                  </a:lnTo>
                  <a:lnTo>
                    <a:pt x="1250" y="6032"/>
                  </a:lnTo>
                  <a:cubicBezTo>
                    <a:pt x="1272" y="6040"/>
                    <a:pt x="1293" y="6044"/>
                    <a:pt x="1312" y="6044"/>
                  </a:cubicBezTo>
                  <a:cubicBezTo>
                    <a:pt x="1380" y="6044"/>
                    <a:pt x="1434" y="5999"/>
                    <a:pt x="1453" y="5925"/>
                  </a:cubicBezTo>
                  <a:cubicBezTo>
                    <a:pt x="1488" y="5842"/>
                    <a:pt x="1441" y="5747"/>
                    <a:pt x="1357" y="5723"/>
                  </a:cubicBezTo>
                  <a:lnTo>
                    <a:pt x="202" y="5330"/>
                  </a:lnTo>
                  <a:cubicBezTo>
                    <a:pt x="191" y="5327"/>
                    <a:pt x="179" y="5325"/>
                    <a:pt x="167" y="5325"/>
                  </a:cubicBezTo>
                  <a:cubicBezTo>
                    <a:pt x="131" y="5325"/>
                    <a:pt x="95" y="5339"/>
                    <a:pt x="60" y="5366"/>
                  </a:cubicBezTo>
                  <a:cubicBezTo>
                    <a:pt x="12" y="5389"/>
                    <a:pt x="0" y="5449"/>
                    <a:pt x="0" y="5508"/>
                  </a:cubicBezTo>
                  <a:lnTo>
                    <a:pt x="191" y="6854"/>
                  </a:lnTo>
                  <a:cubicBezTo>
                    <a:pt x="214" y="6925"/>
                    <a:pt x="274" y="6985"/>
                    <a:pt x="357" y="6985"/>
                  </a:cubicBezTo>
                  <a:lnTo>
                    <a:pt x="393" y="6985"/>
                  </a:lnTo>
                  <a:cubicBezTo>
                    <a:pt x="476" y="6973"/>
                    <a:pt x="536" y="6890"/>
                    <a:pt x="524" y="6806"/>
                  </a:cubicBezTo>
                  <a:lnTo>
                    <a:pt x="417" y="6068"/>
                  </a:lnTo>
                  <a:lnTo>
                    <a:pt x="417" y="6068"/>
                  </a:lnTo>
                  <a:cubicBezTo>
                    <a:pt x="881" y="6604"/>
                    <a:pt x="1465" y="7044"/>
                    <a:pt x="2084" y="7354"/>
                  </a:cubicBezTo>
                  <a:cubicBezTo>
                    <a:pt x="2858" y="7747"/>
                    <a:pt x="3691" y="7937"/>
                    <a:pt x="4560" y="7937"/>
                  </a:cubicBezTo>
                  <a:cubicBezTo>
                    <a:pt x="6025" y="7937"/>
                    <a:pt x="7394" y="7366"/>
                    <a:pt x="8442" y="6330"/>
                  </a:cubicBezTo>
                  <a:cubicBezTo>
                    <a:pt x="9477" y="5282"/>
                    <a:pt x="10049" y="3913"/>
                    <a:pt x="10049" y="2449"/>
                  </a:cubicBezTo>
                  <a:cubicBezTo>
                    <a:pt x="10049" y="1627"/>
                    <a:pt x="9870" y="829"/>
                    <a:pt x="9513" y="91"/>
                  </a:cubicBezTo>
                  <a:cubicBezTo>
                    <a:pt x="9479" y="40"/>
                    <a:pt x="9426" y="0"/>
                    <a:pt x="93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0" name="Google Shape;10790;p60"/>
            <p:cNvSpPr/>
            <p:nvPr/>
          </p:nvSpPr>
          <p:spPr>
            <a:xfrm>
              <a:off x="2201806" y="1976585"/>
              <a:ext cx="319484" cy="252424"/>
            </a:xfrm>
            <a:custGeom>
              <a:avLst/>
              <a:gdLst/>
              <a:ahLst/>
              <a:cxnLst/>
              <a:rect l="l" t="t" r="r" b="b"/>
              <a:pathLst>
                <a:path w="10038" h="7931" extrusionOk="0">
                  <a:moveTo>
                    <a:pt x="5501" y="1"/>
                  </a:moveTo>
                  <a:cubicBezTo>
                    <a:pt x="4025" y="1"/>
                    <a:pt x="2656" y="560"/>
                    <a:pt x="1608" y="1608"/>
                  </a:cubicBezTo>
                  <a:cubicBezTo>
                    <a:pt x="572" y="2644"/>
                    <a:pt x="0" y="4013"/>
                    <a:pt x="0" y="5490"/>
                  </a:cubicBezTo>
                  <a:cubicBezTo>
                    <a:pt x="0" y="6311"/>
                    <a:pt x="179" y="7109"/>
                    <a:pt x="536" y="7835"/>
                  </a:cubicBezTo>
                  <a:cubicBezTo>
                    <a:pt x="572" y="7895"/>
                    <a:pt x="632" y="7930"/>
                    <a:pt x="691" y="7930"/>
                  </a:cubicBezTo>
                  <a:cubicBezTo>
                    <a:pt x="715" y="7930"/>
                    <a:pt x="739" y="7930"/>
                    <a:pt x="762" y="7918"/>
                  </a:cubicBezTo>
                  <a:cubicBezTo>
                    <a:pt x="834" y="7871"/>
                    <a:pt x="882" y="7776"/>
                    <a:pt x="834" y="7704"/>
                  </a:cubicBezTo>
                  <a:cubicBezTo>
                    <a:pt x="512" y="7002"/>
                    <a:pt x="346" y="6263"/>
                    <a:pt x="346" y="5490"/>
                  </a:cubicBezTo>
                  <a:cubicBezTo>
                    <a:pt x="346" y="4108"/>
                    <a:pt x="882" y="2811"/>
                    <a:pt x="1870" y="1822"/>
                  </a:cubicBezTo>
                  <a:cubicBezTo>
                    <a:pt x="2846" y="846"/>
                    <a:pt x="4144" y="310"/>
                    <a:pt x="5525" y="310"/>
                  </a:cubicBezTo>
                  <a:cubicBezTo>
                    <a:pt x="7049" y="310"/>
                    <a:pt x="8454" y="965"/>
                    <a:pt x="9454" y="2108"/>
                  </a:cubicBezTo>
                  <a:lnTo>
                    <a:pt x="8811" y="1906"/>
                  </a:lnTo>
                  <a:cubicBezTo>
                    <a:pt x="8792" y="1898"/>
                    <a:pt x="8772" y="1894"/>
                    <a:pt x="8753" y="1894"/>
                  </a:cubicBezTo>
                  <a:cubicBezTo>
                    <a:pt x="8688" y="1894"/>
                    <a:pt x="8627" y="1937"/>
                    <a:pt x="8609" y="2001"/>
                  </a:cubicBezTo>
                  <a:cubicBezTo>
                    <a:pt x="8573" y="2096"/>
                    <a:pt x="8621" y="2180"/>
                    <a:pt x="8716" y="2215"/>
                  </a:cubicBezTo>
                  <a:lnTo>
                    <a:pt x="9859" y="2596"/>
                  </a:lnTo>
                  <a:cubicBezTo>
                    <a:pt x="9871" y="2596"/>
                    <a:pt x="9883" y="2620"/>
                    <a:pt x="9906" y="2620"/>
                  </a:cubicBezTo>
                  <a:cubicBezTo>
                    <a:pt x="9930" y="2620"/>
                    <a:pt x="9978" y="2596"/>
                    <a:pt x="10002" y="2572"/>
                  </a:cubicBezTo>
                  <a:cubicBezTo>
                    <a:pt x="10026" y="2525"/>
                    <a:pt x="10037" y="2465"/>
                    <a:pt x="10037" y="2418"/>
                  </a:cubicBezTo>
                  <a:lnTo>
                    <a:pt x="9847" y="1084"/>
                  </a:lnTo>
                  <a:cubicBezTo>
                    <a:pt x="9827" y="1003"/>
                    <a:pt x="9772" y="948"/>
                    <a:pt x="9705" y="948"/>
                  </a:cubicBezTo>
                  <a:cubicBezTo>
                    <a:pt x="9693" y="948"/>
                    <a:pt x="9681" y="950"/>
                    <a:pt x="9668" y="953"/>
                  </a:cubicBezTo>
                  <a:cubicBezTo>
                    <a:pt x="9573" y="965"/>
                    <a:pt x="9514" y="1037"/>
                    <a:pt x="9525" y="1132"/>
                  </a:cubicBezTo>
                  <a:lnTo>
                    <a:pt x="9633" y="1870"/>
                  </a:lnTo>
                  <a:cubicBezTo>
                    <a:pt x="8597" y="667"/>
                    <a:pt x="7085"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1" name="Google Shape;10791;p60"/>
            <p:cNvSpPr/>
            <p:nvPr/>
          </p:nvSpPr>
          <p:spPr>
            <a:xfrm>
              <a:off x="2331789" y="2068662"/>
              <a:ext cx="16709" cy="27340"/>
            </a:xfrm>
            <a:custGeom>
              <a:avLst/>
              <a:gdLst/>
              <a:ahLst/>
              <a:cxnLst/>
              <a:rect l="l" t="t" r="r" b="b"/>
              <a:pathLst>
                <a:path w="525" h="859" extrusionOk="0">
                  <a:moveTo>
                    <a:pt x="358" y="1"/>
                  </a:moveTo>
                  <a:cubicBezTo>
                    <a:pt x="262" y="1"/>
                    <a:pt x="191" y="84"/>
                    <a:pt x="191" y="168"/>
                  </a:cubicBezTo>
                  <a:lnTo>
                    <a:pt x="191" y="465"/>
                  </a:lnTo>
                  <a:lnTo>
                    <a:pt x="72" y="584"/>
                  </a:lnTo>
                  <a:cubicBezTo>
                    <a:pt x="12" y="644"/>
                    <a:pt x="0" y="751"/>
                    <a:pt x="72" y="811"/>
                  </a:cubicBezTo>
                  <a:cubicBezTo>
                    <a:pt x="96" y="834"/>
                    <a:pt x="143" y="858"/>
                    <a:pt x="191" y="858"/>
                  </a:cubicBezTo>
                  <a:cubicBezTo>
                    <a:pt x="238" y="858"/>
                    <a:pt x="262" y="834"/>
                    <a:pt x="298" y="811"/>
                  </a:cubicBezTo>
                  <a:lnTo>
                    <a:pt x="453" y="644"/>
                  </a:lnTo>
                  <a:cubicBezTo>
                    <a:pt x="488" y="620"/>
                    <a:pt x="500" y="572"/>
                    <a:pt x="500" y="525"/>
                  </a:cubicBezTo>
                  <a:lnTo>
                    <a:pt x="524" y="168"/>
                  </a:lnTo>
                  <a:cubicBezTo>
                    <a:pt x="524" y="84"/>
                    <a:pt x="441"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2" name="Google Shape;10792;p60"/>
            <p:cNvSpPr/>
            <p:nvPr/>
          </p:nvSpPr>
          <p:spPr>
            <a:xfrm>
              <a:off x="2243118" y="2021653"/>
              <a:ext cx="265664" cy="261908"/>
            </a:xfrm>
            <a:custGeom>
              <a:avLst/>
              <a:gdLst/>
              <a:ahLst/>
              <a:cxnLst/>
              <a:rect l="l" t="t" r="r" b="b"/>
              <a:pathLst>
                <a:path w="8347" h="8229" extrusionOk="0">
                  <a:moveTo>
                    <a:pt x="2751" y="3109"/>
                  </a:moveTo>
                  <a:lnTo>
                    <a:pt x="2977" y="3133"/>
                  </a:lnTo>
                  <a:lnTo>
                    <a:pt x="3084" y="3133"/>
                  </a:lnTo>
                  <a:lnTo>
                    <a:pt x="2917" y="3502"/>
                  </a:lnTo>
                  <a:lnTo>
                    <a:pt x="2643" y="3431"/>
                  </a:lnTo>
                  <a:lnTo>
                    <a:pt x="2751" y="3109"/>
                  </a:lnTo>
                  <a:close/>
                  <a:moveTo>
                    <a:pt x="3834" y="3026"/>
                  </a:moveTo>
                  <a:lnTo>
                    <a:pt x="4156" y="3419"/>
                  </a:lnTo>
                  <a:lnTo>
                    <a:pt x="4120" y="3526"/>
                  </a:lnTo>
                  <a:cubicBezTo>
                    <a:pt x="4096" y="3609"/>
                    <a:pt x="4144" y="3704"/>
                    <a:pt x="4227" y="3728"/>
                  </a:cubicBezTo>
                  <a:cubicBezTo>
                    <a:pt x="4239" y="3728"/>
                    <a:pt x="4263" y="3740"/>
                    <a:pt x="4275" y="3740"/>
                  </a:cubicBezTo>
                  <a:cubicBezTo>
                    <a:pt x="4346" y="3740"/>
                    <a:pt x="4406" y="3704"/>
                    <a:pt x="4417" y="3645"/>
                  </a:cubicBezTo>
                  <a:lnTo>
                    <a:pt x="4465" y="3526"/>
                  </a:lnTo>
                  <a:cubicBezTo>
                    <a:pt x="4501" y="3419"/>
                    <a:pt x="4477" y="3312"/>
                    <a:pt x="4417" y="3240"/>
                  </a:cubicBezTo>
                  <a:lnTo>
                    <a:pt x="4334" y="3133"/>
                  </a:lnTo>
                  <a:lnTo>
                    <a:pt x="4608" y="3359"/>
                  </a:lnTo>
                  <a:cubicBezTo>
                    <a:pt x="4638" y="3374"/>
                    <a:pt x="4673" y="3389"/>
                    <a:pt x="4710" y="3389"/>
                  </a:cubicBezTo>
                  <a:cubicBezTo>
                    <a:pt x="4731" y="3389"/>
                    <a:pt x="4753" y="3384"/>
                    <a:pt x="4775" y="3371"/>
                  </a:cubicBezTo>
                  <a:lnTo>
                    <a:pt x="4989" y="3288"/>
                  </a:lnTo>
                  <a:lnTo>
                    <a:pt x="5108" y="3419"/>
                  </a:lnTo>
                  <a:cubicBezTo>
                    <a:pt x="5132" y="3466"/>
                    <a:pt x="5191" y="3478"/>
                    <a:pt x="5239" y="3478"/>
                  </a:cubicBezTo>
                  <a:lnTo>
                    <a:pt x="5644" y="3442"/>
                  </a:lnTo>
                  <a:lnTo>
                    <a:pt x="5656" y="3526"/>
                  </a:lnTo>
                  <a:cubicBezTo>
                    <a:pt x="5668" y="3562"/>
                    <a:pt x="5644" y="3597"/>
                    <a:pt x="5644" y="3609"/>
                  </a:cubicBezTo>
                  <a:cubicBezTo>
                    <a:pt x="5620" y="3621"/>
                    <a:pt x="5608" y="3657"/>
                    <a:pt x="5560" y="3657"/>
                  </a:cubicBezTo>
                  <a:lnTo>
                    <a:pt x="4882" y="3716"/>
                  </a:lnTo>
                  <a:cubicBezTo>
                    <a:pt x="4787" y="3716"/>
                    <a:pt x="4715" y="3764"/>
                    <a:pt x="4668" y="3835"/>
                  </a:cubicBezTo>
                  <a:cubicBezTo>
                    <a:pt x="4644" y="3895"/>
                    <a:pt x="4608" y="3954"/>
                    <a:pt x="4632" y="4014"/>
                  </a:cubicBezTo>
                  <a:lnTo>
                    <a:pt x="4167" y="3859"/>
                  </a:lnTo>
                  <a:cubicBezTo>
                    <a:pt x="4156" y="3859"/>
                    <a:pt x="4156" y="3847"/>
                    <a:pt x="4156" y="3835"/>
                  </a:cubicBezTo>
                  <a:cubicBezTo>
                    <a:pt x="4120" y="3657"/>
                    <a:pt x="3977" y="3538"/>
                    <a:pt x="3798" y="3538"/>
                  </a:cubicBezTo>
                  <a:lnTo>
                    <a:pt x="3775" y="3538"/>
                  </a:lnTo>
                  <a:lnTo>
                    <a:pt x="3286" y="3550"/>
                  </a:lnTo>
                  <a:lnTo>
                    <a:pt x="3405" y="3204"/>
                  </a:lnTo>
                  <a:cubicBezTo>
                    <a:pt x="3429" y="3181"/>
                    <a:pt x="3453" y="3169"/>
                    <a:pt x="3489" y="3145"/>
                  </a:cubicBezTo>
                  <a:lnTo>
                    <a:pt x="3834" y="3026"/>
                  </a:lnTo>
                  <a:close/>
                  <a:moveTo>
                    <a:pt x="7561" y="3562"/>
                  </a:moveTo>
                  <a:cubicBezTo>
                    <a:pt x="7573" y="3562"/>
                    <a:pt x="7620" y="3562"/>
                    <a:pt x="7656" y="3597"/>
                  </a:cubicBezTo>
                  <a:lnTo>
                    <a:pt x="7977" y="3907"/>
                  </a:lnTo>
                  <a:cubicBezTo>
                    <a:pt x="7989" y="4026"/>
                    <a:pt x="7989" y="4133"/>
                    <a:pt x="7977" y="4216"/>
                  </a:cubicBezTo>
                  <a:cubicBezTo>
                    <a:pt x="7930" y="5169"/>
                    <a:pt x="7549" y="6086"/>
                    <a:pt x="6858" y="6752"/>
                  </a:cubicBezTo>
                  <a:cubicBezTo>
                    <a:pt x="6763" y="6860"/>
                    <a:pt x="6656" y="6943"/>
                    <a:pt x="6537" y="7050"/>
                  </a:cubicBezTo>
                  <a:cubicBezTo>
                    <a:pt x="6596" y="6955"/>
                    <a:pt x="6644" y="6871"/>
                    <a:pt x="6680" y="6776"/>
                  </a:cubicBezTo>
                  <a:lnTo>
                    <a:pt x="7430" y="5074"/>
                  </a:lnTo>
                  <a:cubicBezTo>
                    <a:pt x="7454" y="5026"/>
                    <a:pt x="7442" y="4966"/>
                    <a:pt x="7418" y="4907"/>
                  </a:cubicBezTo>
                  <a:cubicBezTo>
                    <a:pt x="7382" y="4859"/>
                    <a:pt x="7323" y="4836"/>
                    <a:pt x="7263" y="4836"/>
                  </a:cubicBezTo>
                  <a:lnTo>
                    <a:pt x="7192" y="4836"/>
                  </a:lnTo>
                  <a:lnTo>
                    <a:pt x="7596" y="4026"/>
                  </a:lnTo>
                  <a:cubicBezTo>
                    <a:pt x="7656" y="3895"/>
                    <a:pt x="7620" y="3728"/>
                    <a:pt x="7501" y="3657"/>
                  </a:cubicBezTo>
                  <a:lnTo>
                    <a:pt x="7477" y="3621"/>
                  </a:lnTo>
                  <a:lnTo>
                    <a:pt x="7489" y="3609"/>
                  </a:lnTo>
                  <a:cubicBezTo>
                    <a:pt x="7513" y="3562"/>
                    <a:pt x="7549" y="3562"/>
                    <a:pt x="7561" y="3562"/>
                  </a:cubicBezTo>
                  <a:close/>
                  <a:moveTo>
                    <a:pt x="4088" y="0"/>
                  </a:moveTo>
                  <a:cubicBezTo>
                    <a:pt x="4055" y="0"/>
                    <a:pt x="4022" y="1"/>
                    <a:pt x="3989" y="2"/>
                  </a:cubicBezTo>
                  <a:cubicBezTo>
                    <a:pt x="2953" y="49"/>
                    <a:pt x="1977" y="478"/>
                    <a:pt x="1250" y="1216"/>
                  </a:cubicBezTo>
                  <a:cubicBezTo>
                    <a:pt x="524" y="1942"/>
                    <a:pt x="96" y="2919"/>
                    <a:pt x="48" y="3954"/>
                  </a:cubicBezTo>
                  <a:cubicBezTo>
                    <a:pt x="0" y="4978"/>
                    <a:pt x="346" y="5979"/>
                    <a:pt x="1012" y="6764"/>
                  </a:cubicBezTo>
                  <a:cubicBezTo>
                    <a:pt x="1048" y="6812"/>
                    <a:pt x="1084" y="6824"/>
                    <a:pt x="1131" y="6824"/>
                  </a:cubicBezTo>
                  <a:cubicBezTo>
                    <a:pt x="1167" y="6824"/>
                    <a:pt x="1203" y="6812"/>
                    <a:pt x="1239" y="6776"/>
                  </a:cubicBezTo>
                  <a:cubicBezTo>
                    <a:pt x="1310" y="6717"/>
                    <a:pt x="1310" y="6610"/>
                    <a:pt x="1250" y="6550"/>
                  </a:cubicBezTo>
                  <a:cubicBezTo>
                    <a:pt x="643" y="5824"/>
                    <a:pt x="334" y="4907"/>
                    <a:pt x="369" y="3966"/>
                  </a:cubicBezTo>
                  <a:cubicBezTo>
                    <a:pt x="417" y="3014"/>
                    <a:pt x="810" y="2109"/>
                    <a:pt x="1489" y="1430"/>
                  </a:cubicBezTo>
                  <a:cubicBezTo>
                    <a:pt x="2155" y="764"/>
                    <a:pt x="3072" y="359"/>
                    <a:pt x="4025" y="323"/>
                  </a:cubicBezTo>
                  <a:cubicBezTo>
                    <a:pt x="4087" y="316"/>
                    <a:pt x="4150" y="313"/>
                    <a:pt x="4213" y="313"/>
                  </a:cubicBezTo>
                  <a:cubicBezTo>
                    <a:pt x="4363" y="313"/>
                    <a:pt x="4512" y="330"/>
                    <a:pt x="4656" y="347"/>
                  </a:cubicBezTo>
                  <a:lnTo>
                    <a:pt x="4882" y="621"/>
                  </a:lnTo>
                  <a:lnTo>
                    <a:pt x="4798" y="823"/>
                  </a:lnTo>
                  <a:lnTo>
                    <a:pt x="4656" y="585"/>
                  </a:lnTo>
                  <a:cubicBezTo>
                    <a:pt x="4632" y="537"/>
                    <a:pt x="4572" y="502"/>
                    <a:pt x="4525" y="502"/>
                  </a:cubicBezTo>
                  <a:lnTo>
                    <a:pt x="4025" y="502"/>
                  </a:lnTo>
                  <a:cubicBezTo>
                    <a:pt x="3965" y="502"/>
                    <a:pt x="3906" y="525"/>
                    <a:pt x="3870" y="585"/>
                  </a:cubicBezTo>
                  <a:lnTo>
                    <a:pt x="3513" y="1276"/>
                  </a:lnTo>
                  <a:cubicBezTo>
                    <a:pt x="3465" y="1359"/>
                    <a:pt x="3465" y="1478"/>
                    <a:pt x="3513" y="1573"/>
                  </a:cubicBezTo>
                  <a:cubicBezTo>
                    <a:pt x="3560" y="1657"/>
                    <a:pt x="3667" y="1716"/>
                    <a:pt x="3763" y="1728"/>
                  </a:cubicBezTo>
                  <a:lnTo>
                    <a:pt x="4048" y="1764"/>
                  </a:lnTo>
                  <a:cubicBezTo>
                    <a:pt x="4108" y="1764"/>
                    <a:pt x="4167" y="1752"/>
                    <a:pt x="4203" y="1692"/>
                  </a:cubicBezTo>
                  <a:lnTo>
                    <a:pt x="4298" y="1537"/>
                  </a:lnTo>
                  <a:lnTo>
                    <a:pt x="4358" y="1609"/>
                  </a:lnTo>
                  <a:lnTo>
                    <a:pt x="4310" y="1895"/>
                  </a:lnTo>
                  <a:lnTo>
                    <a:pt x="3822" y="1966"/>
                  </a:lnTo>
                  <a:cubicBezTo>
                    <a:pt x="3798" y="1966"/>
                    <a:pt x="3775" y="1990"/>
                    <a:pt x="3751" y="2002"/>
                  </a:cubicBezTo>
                  <a:lnTo>
                    <a:pt x="3108" y="2466"/>
                  </a:lnTo>
                  <a:cubicBezTo>
                    <a:pt x="3084" y="2490"/>
                    <a:pt x="3048" y="2526"/>
                    <a:pt x="3048" y="2550"/>
                  </a:cubicBezTo>
                  <a:lnTo>
                    <a:pt x="2977" y="2847"/>
                  </a:lnTo>
                  <a:lnTo>
                    <a:pt x="2751" y="2823"/>
                  </a:lnTo>
                  <a:cubicBezTo>
                    <a:pt x="2736" y="2821"/>
                    <a:pt x="2721" y="2819"/>
                    <a:pt x="2706" y="2819"/>
                  </a:cubicBezTo>
                  <a:cubicBezTo>
                    <a:pt x="2591" y="2819"/>
                    <a:pt x="2483" y="2898"/>
                    <a:pt x="2441" y="3014"/>
                  </a:cubicBezTo>
                  <a:lnTo>
                    <a:pt x="2310" y="3371"/>
                  </a:lnTo>
                  <a:cubicBezTo>
                    <a:pt x="2274" y="3442"/>
                    <a:pt x="2274" y="3538"/>
                    <a:pt x="2322" y="3609"/>
                  </a:cubicBezTo>
                  <a:cubicBezTo>
                    <a:pt x="2370" y="3681"/>
                    <a:pt x="2429" y="3740"/>
                    <a:pt x="2501" y="3752"/>
                  </a:cubicBezTo>
                  <a:cubicBezTo>
                    <a:pt x="2346" y="3812"/>
                    <a:pt x="2251" y="3978"/>
                    <a:pt x="2251" y="4145"/>
                  </a:cubicBezTo>
                  <a:lnTo>
                    <a:pt x="2251" y="4216"/>
                  </a:lnTo>
                  <a:lnTo>
                    <a:pt x="1798" y="4740"/>
                  </a:lnTo>
                  <a:cubicBezTo>
                    <a:pt x="1727" y="4812"/>
                    <a:pt x="1703" y="4919"/>
                    <a:pt x="1703" y="5026"/>
                  </a:cubicBezTo>
                  <a:lnTo>
                    <a:pt x="1703" y="5621"/>
                  </a:lnTo>
                  <a:cubicBezTo>
                    <a:pt x="1703" y="5764"/>
                    <a:pt x="1750" y="5919"/>
                    <a:pt x="1881" y="6038"/>
                  </a:cubicBezTo>
                  <a:lnTo>
                    <a:pt x="2310" y="6455"/>
                  </a:lnTo>
                  <a:cubicBezTo>
                    <a:pt x="2393" y="6538"/>
                    <a:pt x="2524" y="6598"/>
                    <a:pt x="2643" y="6610"/>
                  </a:cubicBezTo>
                  <a:lnTo>
                    <a:pt x="3917" y="6717"/>
                  </a:lnTo>
                  <a:lnTo>
                    <a:pt x="3917" y="6764"/>
                  </a:lnTo>
                  <a:cubicBezTo>
                    <a:pt x="3894" y="6907"/>
                    <a:pt x="3965" y="7074"/>
                    <a:pt x="4096" y="7169"/>
                  </a:cubicBezTo>
                  <a:lnTo>
                    <a:pt x="4310" y="7324"/>
                  </a:lnTo>
                  <a:lnTo>
                    <a:pt x="4298" y="7372"/>
                  </a:lnTo>
                  <a:cubicBezTo>
                    <a:pt x="4251" y="7538"/>
                    <a:pt x="4298" y="7717"/>
                    <a:pt x="4429" y="7836"/>
                  </a:cubicBezTo>
                  <a:lnTo>
                    <a:pt x="4489" y="7895"/>
                  </a:lnTo>
                  <a:cubicBezTo>
                    <a:pt x="4429" y="7895"/>
                    <a:pt x="4394" y="7907"/>
                    <a:pt x="4334" y="7907"/>
                  </a:cubicBezTo>
                  <a:cubicBezTo>
                    <a:pt x="4272" y="7910"/>
                    <a:pt x="4211" y="7912"/>
                    <a:pt x="4149" y="7912"/>
                  </a:cubicBezTo>
                  <a:cubicBezTo>
                    <a:pt x="3262" y="7912"/>
                    <a:pt x="2407" y="7593"/>
                    <a:pt x="1739" y="7014"/>
                  </a:cubicBezTo>
                  <a:cubicBezTo>
                    <a:pt x="1708" y="6989"/>
                    <a:pt x="1672" y="6976"/>
                    <a:pt x="1637" y="6976"/>
                  </a:cubicBezTo>
                  <a:cubicBezTo>
                    <a:pt x="1591" y="6976"/>
                    <a:pt x="1546" y="6998"/>
                    <a:pt x="1512" y="7038"/>
                  </a:cubicBezTo>
                  <a:cubicBezTo>
                    <a:pt x="1453" y="7110"/>
                    <a:pt x="1477" y="7193"/>
                    <a:pt x="1536" y="7252"/>
                  </a:cubicBezTo>
                  <a:cubicBezTo>
                    <a:pt x="2274" y="7883"/>
                    <a:pt x="3215" y="8229"/>
                    <a:pt x="4179" y="8229"/>
                  </a:cubicBezTo>
                  <a:lnTo>
                    <a:pt x="4346" y="8229"/>
                  </a:lnTo>
                  <a:cubicBezTo>
                    <a:pt x="5382" y="8181"/>
                    <a:pt x="6358" y="7753"/>
                    <a:pt x="7084" y="7014"/>
                  </a:cubicBezTo>
                  <a:cubicBezTo>
                    <a:pt x="7811" y="6288"/>
                    <a:pt x="8239" y="5312"/>
                    <a:pt x="8287" y="4276"/>
                  </a:cubicBezTo>
                  <a:cubicBezTo>
                    <a:pt x="8347" y="3204"/>
                    <a:pt x="8001" y="2216"/>
                    <a:pt x="7335" y="1418"/>
                  </a:cubicBezTo>
                  <a:cubicBezTo>
                    <a:pt x="7303" y="1381"/>
                    <a:pt x="7259" y="1363"/>
                    <a:pt x="7216" y="1363"/>
                  </a:cubicBezTo>
                  <a:cubicBezTo>
                    <a:pt x="7176" y="1363"/>
                    <a:pt x="7137" y="1378"/>
                    <a:pt x="7108" y="1407"/>
                  </a:cubicBezTo>
                  <a:cubicBezTo>
                    <a:pt x="7037" y="1466"/>
                    <a:pt x="7037" y="1573"/>
                    <a:pt x="7096" y="1633"/>
                  </a:cubicBezTo>
                  <a:cubicBezTo>
                    <a:pt x="7525" y="2157"/>
                    <a:pt x="7823" y="2776"/>
                    <a:pt x="7930" y="3431"/>
                  </a:cubicBezTo>
                  <a:lnTo>
                    <a:pt x="7894" y="3383"/>
                  </a:lnTo>
                  <a:cubicBezTo>
                    <a:pt x="7809" y="3308"/>
                    <a:pt x="7694" y="3262"/>
                    <a:pt x="7577" y="3262"/>
                  </a:cubicBezTo>
                  <a:cubicBezTo>
                    <a:pt x="7564" y="3262"/>
                    <a:pt x="7550" y="3263"/>
                    <a:pt x="7537" y="3264"/>
                  </a:cubicBezTo>
                  <a:cubicBezTo>
                    <a:pt x="7394" y="3288"/>
                    <a:pt x="7275" y="3359"/>
                    <a:pt x="7215" y="3466"/>
                  </a:cubicBezTo>
                  <a:lnTo>
                    <a:pt x="7192" y="3502"/>
                  </a:lnTo>
                  <a:cubicBezTo>
                    <a:pt x="7108" y="3502"/>
                    <a:pt x="7037" y="3538"/>
                    <a:pt x="6977" y="3585"/>
                  </a:cubicBezTo>
                  <a:lnTo>
                    <a:pt x="6775" y="3323"/>
                  </a:lnTo>
                  <a:cubicBezTo>
                    <a:pt x="6744" y="3286"/>
                    <a:pt x="6700" y="3268"/>
                    <a:pt x="6656" y="3268"/>
                  </a:cubicBezTo>
                  <a:cubicBezTo>
                    <a:pt x="6616" y="3268"/>
                    <a:pt x="6577" y="3283"/>
                    <a:pt x="6549" y="3312"/>
                  </a:cubicBezTo>
                  <a:cubicBezTo>
                    <a:pt x="6477" y="3371"/>
                    <a:pt x="6477" y="3478"/>
                    <a:pt x="6537" y="3538"/>
                  </a:cubicBezTo>
                  <a:lnTo>
                    <a:pt x="6858" y="3919"/>
                  </a:lnTo>
                  <a:cubicBezTo>
                    <a:pt x="6894" y="3954"/>
                    <a:pt x="6942" y="3978"/>
                    <a:pt x="6977" y="3978"/>
                  </a:cubicBezTo>
                  <a:cubicBezTo>
                    <a:pt x="7025" y="3978"/>
                    <a:pt x="7073" y="3966"/>
                    <a:pt x="7096" y="3943"/>
                  </a:cubicBezTo>
                  <a:lnTo>
                    <a:pt x="7204" y="3835"/>
                  </a:lnTo>
                  <a:lnTo>
                    <a:pt x="7335" y="3919"/>
                  </a:lnTo>
                  <a:lnTo>
                    <a:pt x="6858" y="4871"/>
                  </a:lnTo>
                  <a:lnTo>
                    <a:pt x="6834" y="4871"/>
                  </a:lnTo>
                  <a:cubicBezTo>
                    <a:pt x="6799" y="4871"/>
                    <a:pt x="6763" y="4859"/>
                    <a:pt x="6739" y="4836"/>
                  </a:cubicBezTo>
                  <a:lnTo>
                    <a:pt x="6096" y="4062"/>
                  </a:lnTo>
                  <a:cubicBezTo>
                    <a:pt x="6069" y="4014"/>
                    <a:pt x="6023" y="3994"/>
                    <a:pt x="5977" y="3994"/>
                  </a:cubicBezTo>
                  <a:cubicBezTo>
                    <a:pt x="5942" y="3994"/>
                    <a:pt x="5908" y="4005"/>
                    <a:pt x="5882" y="4026"/>
                  </a:cubicBezTo>
                  <a:cubicBezTo>
                    <a:pt x="5799" y="4085"/>
                    <a:pt x="5799" y="4193"/>
                    <a:pt x="5846" y="4252"/>
                  </a:cubicBezTo>
                  <a:lnTo>
                    <a:pt x="6489" y="5026"/>
                  </a:lnTo>
                  <a:cubicBezTo>
                    <a:pt x="6584" y="5133"/>
                    <a:pt x="6715" y="5193"/>
                    <a:pt x="6858" y="5193"/>
                  </a:cubicBezTo>
                  <a:lnTo>
                    <a:pt x="7073" y="5169"/>
                  </a:lnTo>
                  <a:lnTo>
                    <a:pt x="6430" y="6645"/>
                  </a:lnTo>
                  <a:cubicBezTo>
                    <a:pt x="6382" y="6752"/>
                    <a:pt x="6322" y="6848"/>
                    <a:pt x="6251" y="6943"/>
                  </a:cubicBezTo>
                  <a:lnTo>
                    <a:pt x="5751" y="7550"/>
                  </a:lnTo>
                  <a:cubicBezTo>
                    <a:pt x="5489" y="7657"/>
                    <a:pt x="5227" y="7753"/>
                    <a:pt x="4953" y="7812"/>
                  </a:cubicBezTo>
                  <a:lnTo>
                    <a:pt x="4679" y="7562"/>
                  </a:lnTo>
                  <a:cubicBezTo>
                    <a:pt x="4644" y="7538"/>
                    <a:pt x="4632" y="7491"/>
                    <a:pt x="4644" y="7443"/>
                  </a:cubicBezTo>
                  <a:lnTo>
                    <a:pt x="4691" y="7288"/>
                  </a:lnTo>
                  <a:cubicBezTo>
                    <a:pt x="4703" y="7229"/>
                    <a:pt x="4691" y="7145"/>
                    <a:pt x="4632" y="7110"/>
                  </a:cubicBezTo>
                  <a:lnTo>
                    <a:pt x="4322" y="6871"/>
                  </a:lnTo>
                  <a:cubicBezTo>
                    <a:pt x="4287" y="6836"/>
                    <a:pt x="4275" y="6812"/>
                    <a:pt x="4275" y="6764"/>
                  </a:cubicBezTo>
                  <a:lnTo>
                    <a:pt x="4298" y="6550"/>
                  </a:lnTo>
                  <a:cubicBezTo>
                    <a:pt x="4298" y="6514"/>
                    <a:pt x="4298" y="6467"/>
                    <a:pt x="4275" y="6431"/>
                  </a:cubicBezTo>
                  <a:cubicBezTo>
                    <a:pt x="4239" y="6407"/>
                    <a:pt x="4203" y="6371"/>
                    <a:pt x="4167" y="6371"/>
                  </a:cubicBezTo>
                  <a:lnTo>
                    <a:pt x="2679" y="6264"/>
                  </a:lnTo>
                  <a:cubicBezTo>
                    <a:pt x="2620" y="6264"/>
                    <a:pt x="2572" y="6229"/>
                    <a:pt x="2536" y="6181"/>
                  </a:cubicBezTo>
                  <a:lnTo>
                    <a:pt x="2096" y="5764"/>
                  </a:lnTo>
                  <a:cubicBezTo>
                    <a:pt x="2060" y="5728"/>
                    <a:pt x="2024" y="5645"/>
                    <a:pt x="2024" y="5586"/>
                  </a:cubicBezTo>
                  <a:lnTo>
                    <a:pt x="2024" y="4990"/>
                  </a:lnTo>
                  <a:cubicBezTo>
                    <a:pt x="2024" y="4966"/>
                    <a:pt x="2036" y="4931"/>
                    <a:pt x="2060" y="4919"/>
                  </a:cubicBezTo>
                  <a:lnTo>
                    <a:pt x="2548" y="4359"/>
                  </a:lnTo>
                  <a:cubicBezTo>
                    <a:pt x="2572" y="4324"/>
                    <a:pt x="2596" y="4300"/>
                    <a:pt x="2596" y="4252"/>
                  </a:cubicBezTo>
                  <a:lnTo>
                    <a:pt x="2596" y="4121"/>
                  </a:lnTo>
                  <a:cubicBezTo>
                    <a:pt x="2596" y="4074"/>
                    <a:pt x="2620" y="4038"/>
                    <a:pt x="2655" y="4014"/>
                  </a:cubicBezTo>
                  <a:lnTo>
                    <a:pt x="3036" y="3847"/>
                  </a:lnTo>
                  <a:lnTo>
                    <a:pt x="3751" y="3835"/>
                  </a:lnTo>
                  <a:cubicBezTo>
                    <a:pt x="3763" y="3835"/>
                    <a:pt x="3786" y="3847"/>
                    <a:pt x="3786" y="3859"/>
                  </a:cubicBezTo>
                  <a:cubicBezTo>
                    <a:pt x="3798" y="3990"/>
                    <a:pt x="3906" y="4097"/>
                    <a:pt x="4025" y="4145"/>
                  </a:cubicBezTo>
                  <a:lnTo>
                    <a:pt x="4537" y="4324"/>
                  </a:lnTo>
                  <a:cubicBezTo>
                    <a:pt x="4569" y="4331"/>
                    <a:pt x="4601" y="4335"/>
                    <a:pt x="4633" y="4335"/>
                  </a:cubicBezTo>
                  <a:cubicBezTo>
                    <a:pt x="4705" y="4335"/>
                    <a:pt x="4772" y="4314"/>
                    <a:pt x="4822" y="4264"/>
                  </a:cubicBezTo>
                  <a:cubicBezTo>
                    <a:pt x="4882" y="4204"/>
                    <a:pt x="4918" y="4121"/>
                    <a:pt x="4918" y="4026"/>
                  </a:cubicBezTo>
                  <a:lnTo>
                    <a:pt x="5549" y="3978"/>
                  </a:lnTo>
                  <a:cubicBezTo>
                    <a:pt x="5668" y="3966"/>
                    <a:pt x="5787" y="3907"/>
                    <a:pt x="5870" y="3812"/>
                  </a:cubicBezTo>
                  <a:cubicBezTo>
                    <a:pt x="5941" y="3728"/>
                    <a:pt x="5965" y="3597"/>
                    <a:pt x="5941" y="3478"/>
                  </a:cubicBezTo>
                  <a:lnTo>
                    <a:pt x="5930" y="3383"/>
                  </a:lnTo>
                  <a:cubicBezTo>
                    <a:pt x="5896" y="3247"/>
                    <a:pt x="5776" y="3144"/>
                    <a:pt x="5632" y="3144"/>
                  </a:cubicBezTo>
                  <a:cubicBezTo>
                    <a:pt x="5624" y="3144"/>
                    <a:pt x="5616" y="3144"/>
                    <a:pt x="5608" y="3145"/>
                  </a:cubicBezTo>
                  <a:lnTo>
                    <a:pt x="5275" y="3181"/>
                  </a:lnTo>
                  <a:lnTo>
                    <a:pt x="5227" y="3121"/>
                  </a:lnTo>
                  <a:lnTo>
                    <a:pt x="5668" y="2669"/>
                  </a:lnTo>
                  <a:cubicBezTo>
                    <a:pt x="5727" y="2609"/>
                    <a:pt x="5727" y="2502"/>
                    <a:pt x="5668" y="2442"/>
                  </a:cubicBezTo>
                  <a:cubicBezTo>
                    <a:pt x="5638" y="2413"/>
                    <a:pt x="5599" y="2398"/>
                    <a:pt x="5560" y="2398"/>
                  </a:cubicBezTo>
                  <a:cubicBezTo>
                    <a:pt x="5522" y="2398"/>
                    <a:pt x="5483" y="2413"/>
                    <a:pt x="5453" y="2442"/>
                  </a:cubicBezTo>
                  <a:lnTo>
                    <a:pt x="4918" y="2978"/>
                  </a:lnTo>
                  <a:lnTo>
                    <a:pt x="4739" y="3061"/>
                  </a:lnTo>
                  <a:lnTo>
                    <a:pt x="4227" y="2669"/>
                  </a:lnTo>
                  <a:cubicBezTo>
                    <a:pt x="4193" y="2652"/>
                    <a:pt x="4166" y="2635"/>
                    <a:pt x="4131" y="2635"/>
                  </a:cubicBezTo>
                  <a:cubicBezTo>
                    <a:pt x="4117" y="2635"/>
                    <a:pt x="4102" y="2638"/>
                    <a:pt x="4084" y="2645"/>
                  </a:cubicBezTo>
                  <a:lnTo>
                    <a:pt x="3382" y="2859"/>
                  </a:lnTo>
                  <a:cubicBezTo>
                    <a:pt x="3370" y="2859"/>
                    <a:pt x="3334" y="2883"/>
                    <a:pt x="3322" y="2895"/>
                  </a:cubicBezTo>
                  <a:lnTo>
                    <a:pt x="3370" y="2680"/>
                  </a:lnTo>
                  <a:lnTo>
                    <a:pt x="3917" y="2288"/>
                  </a:lnTo>
                  <a:lnTo>
                    <a:pt x="4501" y="2192"/>
                  </a:lnTo>
                  <a:cubicBezTo>
                    <a:pt x="4572" y="2180"/>
                    <a:pt x="4620" y="2133"/>
                    <a:pt x="4632" y="2061"/>
                  </a:cubicBezTo>
                  <a:lnTo>
                    <a:pt x="4691" y="1597"/>
                  </a:lnTo>
                  <a:cubicBezTo>
                    <a:pt x="4691" y="1549"/>
                    <a:pt x="4691" y="1514"/>
                    <a:pt x="4656" y="1478"/>
                  </a:cubicBezTo>
                  <a:lnTo>
                    <a:pt x="4417" y="1180"/>
                  </a:lnTo>
                  <a:cubicBezTo>
                    <a:pt x="4394" y="1133"/>
                    <a:pt x="4346" y="1121"/>
                    <a:pt x="4287" y="1121"/>
                  </a:cubicBezTo>
                  <a:cubicBezTo>
                    <a:pt x="4239" y="1121"/>
                    <a:pt x="4179" y="1156"/>
                    <a:pt x="4156" y="1192"/>
                  </a:cubicBezTo>
                  <a:lnTo>
                    <a:pt x="3977" y="1454"/>
                  </a:lnTo>
                  <a:lnTo>
                    <a:pt x="3786" y="1430"/>
                  </a:lnTo>
                  <a:lnTo>
                    <a:pt x="4096" y="835"/>
                  </a:lnTo>
                  <a:lnTo>
                    <a:pt x="4417" y="835"/>
                  </a:lnTo>
                  <a:lnTo>
                    <a:pt x="4656" y="1287"/>
                  </a:lnTo>
                  <a:cubicBezTo>
                    <a:pt x="4691" y="1347"/>
                    <a:pt x="4751" y="1371"/>
                    <a:pt x="4810" y="1371"/>
                  </a:cubicBezTo>
                  <a:cubicBezTo>
                    <a:pt x="4870" y="1371"/>
                    <a:pt x="4929" y="1335"/>
                    <a:pt x="4941" y="1276"/>
                  </a:cubicBezTo>
                  <a:lnTo>
                    <a:pt x="5168" y="740"/>
                  </a:lnTo>
                  <a:cubicBezTo>
                    <a:pt x="5215" y="645"/>
                    <a:pt x="5191" y="525"/>
                    <a:pt x="5132" y="454"/>
                  </a:cubicBezTo>
                  <a:lnTo>
                    <a:pt x="5132" y="454"/>
                  </a:lnTo>
                  <a:cubicBezTo>
                    <a:pt x="5668" y="597"/>
                    <a:pt x="6168" y="859"/>
                    <a:pt x="6596" y="1216"/>
                  </a:cubicBezTo>
                  <a:cubicBezTo>
                    <a:pt x="6625" y="1240"/>
                    <a:pt x="6658" y="1250"/>
                    <a:pt x="6691" y="1250"/>
                  </a:cubicBezTo>
                  <a:cubicBezTo>
                    <a:pt x="6739" y="1250"/>
                    <a:pt x="6787" y="1228"/>
                    <a:pt x="6823" y="1192"/>
                  </a:cubicBezTo>
                  <a:cubicBezTo>
                    <a:pt x="6882" y="1121"/>
                    <a:pt x="6858" y="1037"/>
                    <a:pt x="6799" y="978"/>
                  </a:cubicBezTo>
                  <a:cubicBezTo>
                    <a:pt x="6038" y="344"/>
                    <a:pt x="5077" y="0"/>
                    <a:pt x="40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793" name="Google Shape;10793;p60"/>
          <p:cNvGrpSpPr/>
          <p:nvPr/>
        </p:nvGrpSpPr>
        <p:grpSpPr>
          <a:xfrm>
            <a:off x="3094217" y="1976585"/>
            <a:ext cx="350198" cy="350548"/>
            <a:chOff x="3094217" y="1976585"/>
            <a:chExt cx="350198" cy="350548"/>
          </a:xfrm>
        </p:grpSpPr>
        <p:sp>
          <p:nvSpPr>
            <p:cNvPr id="10794" name="Google Shape;10794;p60"/>
            <p:cNvSpPr/>
            <p:nvPr/>
          </p:nvSpPr>
          <p:spPr>
            <a:xfrm>
              <a:off x="3094217" y="2129039"/>
              <a:ext cx="131543" cy="197362"/>
            </a:xfrm>
            <a:custGeom>
              <a:avLst/>
              <a:gdLst/>
              <a:ahLst/>
              <a:cxnLst/>
              <a:rect l="l" t="t" r="r" b="b"/>
              <a:pathLst>
                <a:path w="4133" h="6201" extrusionOk="0">
                  <a:moveTo>
                    <a:pt x="2072" y="345"/>
                  </a:moveTo>
                  <a:cubicBezTo>
                    <a:pt x="2117" y="345"/>
                    <a:pt x="2162" y="348"/>
                    <a:pt x="2203" y="354"/>
                  </a:cubicBezTo>
                  <a:cubicBezTo>
                    <a:pt x="2906" y="414"/>
                    <a:pt x="3454" y="1045"/>
                    <a:pt x="3454" y="1759"/>
                  </a:cubicBezTo>
                  <a:cubicBezTo>
                    <a:pt x="3454" y="2438"/>
                    <a:pt x="3620" y="3069"/>
                    <a:pt x="3751" y="3402"/>
                  </a:cubicBezTo>
                  <a:lnTo>
                    <a:pt x="3751" y="3426"/>
                  </a:lnTo>
                  <a:cubicBezTo>
                    <a:pt x="3608" y="3509"/>
                    <a:pt x="3299" y="3688"/>
                    <a:pt x="2763" y="3807"/>
                  </a:cubicBezTo>
                  <a:lnTo>
                    <a:pt x="2763" y="3759"/>
                  </a:lnTo>
                  <a:lnTo>
                    <a:pt x="2763" y="3438"/>
                  </a:lnTo>
                  <a:cubicBezTo>
                    <a:pt x="2965" y="3319"/>
                    <a:pt x="3144" y="3140"/>
                    <a:pt x="3263" y="2926"/>
                  </a:cubicBezTo>
                  <a:cubicBezTo>
                    <a:pt x="3489" y="2533"/>
                    <a:pt x="3418" y="2021"/>
                    <a:pt x="3073" y="1712"/>
                  </a:cubicBezTo>
                  <a:cubicBezTo>
                    <a:pt x="2834" y="1485"/>
                    <a:pt x="2418" y="1235"/>
                    <a:pt x="1727" y="1235"/>
                  </a:cubicBezTo>
                  <a:cubicBezTo>
                    <a:pt x="1691" y="1235"/>
                    <a:pt x="1644" y="1247"/>
                    <a:pt x="1608" y="1283"/>
                  </a:cubicBezTo>
                  <a:lnTo>
                    <a:pt x="1275" y="1616"/>
                  </a:lnTo>
                  <a:cubicBezTo>
                    <a:pt x="1215" y="1676"/>
                    <a:pt x="1215" y="1783"/>
                    <a:pt x="1275" y="1843"/>
                  </a:cubicBezTo>
                  <a:cubicBezTo>
                    <a:pt x="1304" y="1872"/>
                    <a:pt x="1343" y="1887"/>
                    <a:pt x="1382" y="1887"/>
                  </a:cubicBezTo>
                  <a:cubicBezTo>
                    <a:pt x="1421" y="1887"/>
                    <a:pt x="1459" y="1872"/>
                    <a:pt x="1489" y="1843"/>
                  </a:cubicBezTo>
                  <a:lnTo>
                    <a:pt x="1787" y="1545"/>
                  </a:lnTo>
                  <a:cubicBezTo>
                    <a:pt x="2227" y="1557"/>
                    <a:pt x="2584" y="1700"/>
                    <a:pt x="2846" y="1938"/>
                  </a:cubicBezTo>
                  <a:cubicBezTo>
                    <a:pt x="3073" y="2140"/>
                    <a:pt x="3132" y="2485"/>
                    <a:pt x="2977" y="2747"/>
                  </a:cubicBezTo>
                  <a:cubicBezTo>
                    <a:pt x="2799" y="3081"/>
                    <a:pt x="2441" y="3283"/>
                    <a:pt x="2072" y="3283"/>
                  </a:cubicBezTo>
                  <a:cubicBezTo>
                    <a:pt x="1489" y="3283"/>
                    <a:pt x="1037" y="2831"/>
                    <a:pt x="1037" y="2247"/>
                  </a:cubicBezTo>
                  <a:cubicBezTo>
                    <a:pt x="1037" y="2152"/>
                    <a:pt x="953" y="2081"/>
                    <a:pt x="870" y="2081"/>
                  </a:cubicBezTo>
                  <a:cubicBezTo>
                    <a:pt x="775" y="2081"/>
                    <a:pt x="703" y="2152"/>
                    <a:pt x="703" y="2247"/>
                  </a:cubicBezTo>
                  <a:cubicBezTo>
                    <a:pt x="703" y="2747"/>
                    <a:pt x="989" y="3200"/>
                    <a:pt x="1394" y="3438"/>
                  </a:cubicBezTo>
                  <a:lnTo>
                    <a:pt x="1394" y="3759"/>
                  </a:lnTo>
                  <a:lnTo>
                    <a:pt x="1394" y="3807"/>
                  </a:lnTo>
                  <a:cubicBezTo>
                    <a:pt x="858" y="3688"/>
                    <a:pt x="525" y="3509"/>
                    <a:pt x="394" y="3426"/>
                  </a:cubicBezTo>
                  <a:cubicBezTo>
                    <a:pt x="394" y="3426"/>
                    <a:pt x="382" y="3426"/>
                    <a:pt x="394" y="3402"/>
                  </a:cubicBezTo>
                  <a:cubicBezTo>
                    <a:pt x="525" y="3081"/>
                    <a:pt x="691" y="2438"/>
                    <a:pt x="691" y="1759"/>
                  </a:cubicBezTo>
                  <a:cubicBezTo>
                    <a:pt x="691" y="1045"/>
                    <a:pt x="1239" y="414"/>
                    <a:pt x="1941" y="354"/>
                  </a:cubicBezTo>
                  <a:cubicBezTo>
                    <a:pt x="1983" y="348"/>
                    <a:pt x="2028" y="345"/>
                    <a:pt x="2072" y="345"/>
                  </a:cubicBezTo>
                  <a:close/>
                  <a:moveTo>
                    <a:pt x="2430" y="3581"/>
                  </a:moveTo>
                  <a:lnTo>
                    <a:pt x="2430" y="3783"/>
                  </a:lnTo>
                  <a:cubicBezTo>
                    <a:pt x="2430" y="3974"/>
                    <a:pt x="2537" y="4152"/>
                    <a:pt x="2715" y="4224"/>
                  </a:cubicBezTo>
                  <a:lnTo>
                    <a:pt x="2822" y="4271"/>
                  </a:lnTo>
                  <a:cubicBezTo>
                    <a:pt x="2656" y="4509"/>
                    <a:pt x="2370" y="4676"/>
                    <a:pt x="2072" y="4676"/>
                  </a:cubicBezTo>
                  <a:cubicBezTo>
                    <a:pt x="1775" y="4676"/>
                    <a:pt x="1489" y="4509"/>
                    <a:pt x="1334" y="4271"/>
                  </a:cubicBezTo>
                  <a:lnTo>
                    <a:pt x="1429" y="4224"/>
                  </a:lnTo>
                  <a:cubicBezTo>
                    <a:pt x="1608" y="4140"/>
                    <a:pt x="1715" y="3974"/>
                    <a:pt x="1715" y="3783"/>
                  </a:cubicBezTo>
                  <a:lnTo>
                    <a:pt x="1715" y="3581"/>
                  </a:lnTo>
                  <a:cubicBezTo>
                    <a:pt x="1834" y="3617"/>
                    <a:pt x="1953" y="3628"/>
                    <a:pt x="2072" y="3628"/>
                  </a:cubicBezTo>
                  <a:cubicBezTo>
                    <a:pt x="2191" y="3628"/>
                    <a:pt x="2311" y="3617"/>
                    <a:pt x="2430" y="3581"/>
                  </a:cubicBezTo>
                  <a:close/>
                  <a:moveTo>
                    <a:pt x="2065" y="0"/>
                  </a:moveTo>
                  <a:cubicBezTo>
                    <a:pt x="2010" y="0"/>
                    <a:pt x="1953" y="3"/>
                    <a:pt x="1894" y="9"/>
                  </a:cubicBezTo>
                  <a:cubicBezTo>
                    <a:pt x="1037" y="92"/>
                    <a:pt x="346" y="842"/>
                    <a:pt x="346" y="1735"/>
                  </a:cubicBezTo>
                  <a:cubicBezTo>
                    <a:pt x="346" y="2378"/>
                    <a:pt x="203" y="2962"/>
                    <a:pt x="60" y="3271"/>
                  </a:cubicBezTo>
                  <a:cubicBezTo>
                    <a:pt x="1" y="3426"/>
                    <a:pt x="48" y="3581"/>
                    <a:pt x="179" y="3676"/>
                  </a:cubicBezTo>
                  <a:cubicBezTo>
                    <a:pt x="310" y="3759"/>
                    <a:pt x="584" y="3926"/>
                    <a:pt x="1013" y="4045"/>
                  </a:cubicBezTo>
                  <a:lnTo>
                    <a:pt x="382" y="4379"/>
                  </a:lnTo>
                  <a:cubicBezTo>
                    <a:pt x="144" y="4498"/>
                    <a:pt x="1" y="4712"/>
                    <a:pt x="1" y="4986"/>
                  </a:cubicBezTo>
                  <a:lnTo>
                    <a:pt x="1" y="6045"/>
                  </a:lnTo>
                  <a:cubicBezTo>
                    <a:pt x="1" y="6129"/>
                    <a:pt x="84" y="6200"/>
                    <a:pt x="167" y="6200"/>
                  </a:cubicBezTo>
                  <a:cubicBezTo>
                    <a:pt x="263" y="6200"/>
                    <a:pt x="334" y="6129"/>
                    <a:pt x="334" y="6045"/>
                  </a:cubicBezTo>
                  <a:lnTo>
                    <a:pt x="334" y="4974"/>
                  </a:lnTo>
                  <a:cubicBezTo>
                    <a:pt x="334" y="4831"/>
                    <a:pt x="406" y="4712"/>
                    <a:pt x="525" y="4652"/>
                  </a:cubicBezTo>
                  <a:lnTo>
                    <a:pt x="1037" y="4402"/>
                  </a:lnTo>
                  <a:cubicBezTo>
                    <a:pt x="1239" y="4760"/>
                    <a:pt x="1644" y="4986"/>
                    <a:pt x="2060" y="4986"/>
                  </a:cubicBezTo>
                  <a:cubicBezTo>
                    <a:pt x="2489" y="4986"/>
                    <a:pt x="2882" y="4760"/>
                    <a:pt x="3084" y="4402"/>
                  </a:cubicBezTo>
                  <a:lnTo>
                    <a:pt x="3596" y="4652"/>
                  </a:lnTo>
                  <a:cubicBezTo>
                    <a:pt x="3704" y="4712"/>
                    <a:pt x="3787" y="4831"/>
                    <a:pt x="3787" y="4974"/>
                  </a:cubicBezTo>
                  <a:lnTo>
                    <a:pt x="3787" y="6022"/>
                  </a:lnTo>
                  <a:cubicBezTo>
                    <a:pt x="3787" y="6117"/>
                    <a:pt x="3858" y="6188"/>
                    <a:pt x="3954" y="6188"/>
                  </a:cubicBezTo>
                  <a:cubicBezTo>
                    <a:pt x="4037" y="6188"/>
                    <a:pt x="4108" y="6117"/>
                    <a:pt x="4108" y="6022"/>
                  </a:cubicBezTo>
                  <a:lnTo>
                    <a:pt x="4108" y="4974"/>
                  </a:lnTo>
                  <a:cubicBezTo>
                    <a:pt x="4132" y="4712"/>
                    <a:pt x="3977" y="4474"/>
                    <a:pt x="3739" y="4379"/>
                  </a:cubicBezTo>
                  <a:lnTo>
                    <a:pt x="3096" y="4045"/>
                  </a:lnTo>
                  <a:cubicBezTo>
                    <a:pt x="3537" y="3926"/>
                    <a:pt x="3799" y="3759"/>
                    <a:pt x="3930" y="3676"/>
                  </a:cubicBezTo>
                  <a:cubicBezTo>
                    <a:pt x="4073" y="3581"/>
                    <a:pt x="4108" y="3426"/>
                    <a:pt x="4049" y="3271"/>
                  </a:cubicBezTo>
                  <a:cubicBezTo>
                    <a:pt x="3918" y="2962"/>
                    <a:pt x="3775" y="2378"/>
                    <a:pt x="3775" y="1735"/>
                  </a:cubicBezTo>
                  <a:cubicBezTo>
                    <a:pt x="3775" y="866"/>
                    <a:pt x="3084" y="104"/>
                    <a:pt x="2227" y="9"/>
                  </a:cubicBezTo>
                  <a:cubicBezTo>
                    <a:pt x="2174" y="3"/>
                    <a:pt x="2120" y="0"/>
                    <a:pt x="20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5" name="Google Shape;10795;p60"/>
            <p:cNvSpPr/>
            <p:nvPr/>
          </p:nvSpPr>
          <p:spPr>
            <a:xfrm>
              <a:off x="3116592" y="2293778"/>
              <a:ext cx="10630" cy="32241"/>
            </a:xfrm>
            <a:custGeom>
              <a:avLst/>
              <a:gdLst/>
              <a:ahLst/>
              <a:cxnLst/>
              <a:rect l="l" t="t" r="r" b="b"/>
              <a:pathLst>
                <a:path w="334" h="1013" extrusionOk="0">
                  <a:moveTo>
                    <a:pt x="167" y="0"/>
                  </a:moveTo>
                  <a:cubicBezTo>
                    <a:pt x="72" y="0"/>
                    <a:pt x="0" y="72"/>
                    <a:pt x="0" y="167"/>
                  </a:cubicBezTo>
                  <a:lnTo>
                    <a:pt x="0" y="846"/>
                  </a:lnTo>
                  <a:cubicBezTo>
                    <a:pt x="0" y="941"/>
                    <a:pt x="72" y="1012"/>
                    <a:pt x="167" y="1012"/>
                  </a:cubicBezTo>
                  <a:cubicBezTo>
                    <a:pt x="250" y="1012"/>
                    <a:pt x="334" y="941"/>
                    <a:pt x="334" y="846"/>
                  </a:cubicBezTo>
                  <a:lnTo>
                    <a:pt x="334" y="167"/>
                  </a:lnTo>
                  <a:cubicBezTo>
                    <a:pt x="310"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6" name="Google Shape;10796;p60"/>
            <p:cNvSpPr/>
            <p:nvPr/>
          </p:nvSpPr>
          <p:spPr>
            <a:xfrm>
              <a:off x="3193519" y="2293778"/>
              <a:ext cx="10248" cy="32241"/>
            </a:xfrm>
            <a:custGeom>
              <a:avLst/>
              <a:gdLst/>
              <a:ahLst/>
              <a:cxnLst/>
              <a:rect l="l" t="t" r="r" b="b"/>
              <a:pathLst>
                <a:path w="322" h="1013" extrusionOk="0">
                  <a:moveTo>
                    <a:pt x="155" y="0"/>
                  </a:moveTo>
                  <a:cubicBezTo>
                    <a:pt x="72" y="0"/>
                    <a:pt x="0" y="72"/>
                    <a:pt x="0" y="167"/>
                  </a:cubicBezTo>
                  <a:lnTo>
                    <a:pt x="0" y="846"/>
                  </a:lnTo>
                  <a:cubicBezTo>
                    <a:pt x="0" y="941"/>
                    <a:pt x="72" y="1012"/>
                    <a:pt x="155" y="1012"/>
                  </a:cubicBezTo>
                  <a:cubicBezTo>
                    <a:pt x="250" y="1012"/>
                    <a:pt x="322" y="941"/>
                    <a:pt x="322" y="846"/>
                  </a:cubicBezTo>
                  <a:lnTo>
                    <a:pt x="322" y="167"/>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7" name="Google Shape;10797;p60"/>
            <p:cNvSpPr/>
            <p:nvPr/>
          </p:nvSpPr>
          <p:spPr>
            <a:xfrm>
              <a:off x="3346227" y="2166755"/>
              <a:ext cx="54966" cy="18301"/>
            </a:xfrm>
            <a:custGeom>
              <a:avLst/>
              <a:gdLst/>
              <a:ahLst/>
              <a:cxnLst/>
              <a:rect l="l" t="t" r="r" b="b"/>
              <a:pathLst>
                <a:path w="1727" h="575" extrusionOk="0">
                  <a:moveTo>
                    <a:pt x="646" y="0"/>
                  </a:moveTo>
                  <a:cubicBezTo>
                    <a:pt x="494" y="0"/>
                    <a:pt x="326" y="15"/>
                    <a:pt x="143" y="50"/>
                  </a:cubicBezTo>
                  <a:cubicBezTo>
                    <a:pt x="60" y="62"/>
                    <a:pt x="0" y="122"/>
                    <a:pt x="0" y="217"/>
                  </a:cubicBezTo>
                  <a:lnTo>
                    <a:pt x="0" y="396"/>
                  </a:lnTo>
                  <a:cubicBezTo>
                    <a:pt x="0" y="479"/>
                    <a:pt x="84" y="550"/>
                    <a:pt x="167" y="550"/>
                  </a:cubicBezTo>
                  <a:cubicBezTo>
                    <a:pt x="262" y="550"/>
                    <a:pt x="334" y="479"/>
                    <a:pt x="334" y="396"/>
                  </a:cubicBezTo>
                  <a:lnTo>
                    <a:pt x="334" y="360"/>
                  </a:lnTo>
                  <a:cubicBezTo>
                    <a:pt x="445" y="344"/>
                    <a:pt x="549" y="338"/>
                    <a:pt x="645" y="338"/>
                  </a:cubicBezTo>
                  <a:cubicBezTo>
                    <a:pt x="845" y="338"/>
                    <a:pt x="1007" y="367"/>
                    <a:pt x="1120" y="407"/>
                  </a:cubicBezTo>
                  <a:cubicBezTo>
                    <a:pt x="1334" y="467"/>
                    <a:pt x="1453" y="538"/>
                    <a:pt x="1453" y="538"/>
                  </a:cubicBezTo>
                  <a:cubicBezTo>
                    <a:pt x="1477" y="550"/>
                    <a:pt x="1512" y="574"/>
                    <a:pt x="1536" y="574"/>
                  </a:cubicBezTo>
                  <a:cubicBezTo>
                    <a:pt x="1584" y="574"/>
                    <a:pt x="1643" y="538"/>
                    <a:pt x="1667" y="491"/>
                  </a:cubicBezTo>
                  <a:cubicBezTo>
                    <a:pt x="1727" y="396"/>
                    <a:pt x="1715" y="288"/>
                    <a:pt x="1643" y="241"/>
                  </a:cubicBezTo>
                  <a:cubicBezTo>
                    <a:pt x="1615" y="231"/>
                    <a:pt x="1258"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8" name="Google Shape;10798;p60"/>
            <p:cNvSpPr/>
            <p:nvPr/>
          </p:nvSpPr>
          <p:spPr>
            <a:xfrm>
              <a:off x="3302655" y="2134991"/>
              <a:ext cx="141760" cy="192143"/>
            </a:xfrm>
            <a:custGeom>
              <a:avLst/>
              <a:gdLst/>
              <a:ahLst/>
              <a:cxnLst/>
              <a:rect l="l" t="t" r="r" b="b"/>
              <a:pathLst>
                <a:path w="4454" h="6037" extrusionOk="0">
                  <a:moveTo>
                    <a:pt x="3453" y="334"/>
                  </a:moveTo>
                  <a:lnTo>
                    <a:pt x="3453" y="1132"/>
                  </a:lnTo>
                  <a:cubicBezTo>
                    <a:pt x="3453" y="1263"/>
                    <a:pt x="3429" y="1405"/>
                    <a:pt x="3370" y="1525"/>
                  </a:cubicBezTo>
                  <a:lnTo>
                    <a:pt x="3310" y="1644"/>
                  </a:lnTo>
                  <a:cubicBezTo>
                    <a:pt x="3298" y="1667"/>
                    <a:pt x="3298" y="1691"/>
                    <a:pt x="3298" y="1715"/>
                  </a:cubicBezTo>
                  <a:lnTo>
                    <a:pt x="3298" y="2060"/>
                  </a:lnTo>
                  <a:cubicBezTo>
                    <a:pt x="3274" y="2346"/>
                    <a:pt x="3155" y="2608"/>
                    <a:pt x="2953" y="2799"/>
                  </a:cubicBezTo>
                  <a:cubicBezTo>
                    <a:pt x="2739" y="3001"/>
                    <a:pt x="2477" y="3096"/>
                    <a:pt x="2191" y="3096"/>
                  </a:cubicBezTo>
                  <a:cubicBezTo>
                    <a:pt x="1643" y="3084"/>
                    <a:pt x="1179" y="2596"/>
                    <a:pt x="1179" y="2013"/>
                  </a:cubicBezTo>
                  <a:lnTo>
                    <a:pt x="1179" y="1715"/>
                  </a:lnTo>
                  <a:cubicBezTo>
                    <a:pt x="1179" y="1691"/>
                    <a:pt x="1179" y="1667"/>
                    <a:pt x="1167" y="1644"/>
                  </a:cubicBezTo>
                  <a:lnTo>
                    <a:pt x="1107" y="1525"/>
                  </a:lnTo>
                  <a:cubicBezTo>
                    <a:pt x="1048" y="1405"/>
                    <a:pt x="1012" y="1275"/>
                    <a:pt x="1012" y="1132"/>
                  </a:cubicBezTo>
                  <a:cubicBezTo>
                    <a:pt x="1012" y="691"/>
                    <a:pt x="1369" y="334"/>
                    <a:pt x="1822" y="334"/>
                  </a:cubicBezTo>
                  <a:close/>
                  <a:moveTo>
                    <a:pt x="2762" y="3310"/>
                  </a:moveTo>
                  <a:lnTo>
                    <a:pt x="2762" y="3537"/>
                  </a:lnTo>
                  <a:cubicBezTo>
                    <a:pt x="2762" y="3572"/>
                    <a:pt x="2774" y="3620"/>
                    <a:pt x="2774" y="3680"/>
                  </a:cubicBezTo>
                  <a:lnTo>
                    <a:pt x="2239" y="4096"/>
                  </a:lnTo>
                  <a:lnTo>
                    <a:pt x="1691" y="3680"/>
                  </a:lnTo>
                  <a:cubicBezTo>
                    <a:pt x="1703" y="3632"/>
                    <a:pt x="1703" y="3584"/>
                    <a:pt x="1703" y="3537"/>
                  </a:cubicBezTo>
                  <a:lnTo>
                    <a:pt x="1703" y="3310"/>
                  </a:lnTo>
                  <a:cubicBezTo>
                    <a:pt x="1846" y="3370"/>
                    <a:pt x="2012" y="3406"/>
                    <a:pt x="2191" y="3406"/>
                  </a:cubicBezTo>
                  <a:lnTo>
                    <a:pt x="2239" y="3406"/>
                  </a:lnTo>
                  <a:cubicBezTo>
                    <a:pt x="2417" y="3406"/>
                    <a:pt x="2596" y="3382"/>
                    <a:pt x="2762" y="3310"/>
                  </a:cubicBezTo>
                  <a:close/>
                  <a:moveTo>
                    <a:pt x="1822" y="1"/>
                  </a:moveTo>
                  <a:cubicBezTo>
                    <a:pt x="1191" y="1"/>
                    <a:pt x="703" y="513"/>
                    <a:pt x="703" y="1120"/>
                  </a:cubicBezTo>
                  <a:cubicBezTo>
                    <a:pt x="703" y="1298"/>
                    <a:pt x="750" y="1489"/>
                    <a:pt x="822" y="1656"/>
                  </a:cubicBezTo>
                  <a:lnTo>
                    <a:pt x="869" y="1751"/>
                  </a:lnTo>
                  <a:lnTo>
                    <a:pt x="869" y="2001"/>
                  </a:lnTo>
                  <a:cubicBezTo>
                    <a:pt x="869" y="2441"/>
                    <a:pt x="1072" y="2846"/>
                    <a:pt x="1381" y="3096"/>
                  </a:cubicBezTo>
                  <a:lnTo>
                    <a:pt x="1381" y="3537"/>
                  </a:lnTo>
                  <a:cubicBezTo>
                    <a:pt x="1381" y="3608"/>
                    <a:pt x="1346" y="3680"/>
                    <a:pt x="1274" y="3703"/>
                  </a:cubicBezTo>
                  <a:lnTo>
                    <a:pt x="453" y="4025"/>
                  </a:lnTo>
                  <a:cubicBezTo>
                    <a:pt x="179" y="4132"/>
                    <a:pt x="0" y="4382"/>
                    <a:pt x="0" y="4668"/>
                  </a:cubicBezTo>
                  <a:lnTo>
                    <a:pt x="0" y="5858"/>
                  </a:lnTo>
                  <a:cubicBezTo>
                    <a:pt x="0" y="5942"/>
                    <a:pt x="83" y="6013"/>
                    <a:pt x="167" y="6013"/>
                  </a:cubicBezTo>
                  <a:cubicBezTo>
                    <a:pt x="262" y="6013"/>
                    <a:pt x="334" y="5942"/>
                    <a:pt x="334" y="5858"/>
                  </a:cubicBezTo>
                  <a:lnTo>
                    <a:pt x="334" y="4668"/>
                  </a:lnTo>
                  <a:cubicBezTo>
                    <a:pt x="334" y="4513"/>
                    <a:pt x="417" y="4382"/>
                    <a:pt x="560" y="4334"/>
                  </a:cubicBezTo>
                  <a:lnTo>
                    <a:pt x="1369" y="4025"/>
                  </a:lnTo>
                  <a:cubicBezTo>
                    <a:pt x="1417" y="4001"/>
                    <a:pt x="1465" y="3977"/>
                    <a:pt x="1488" y="3965"/>
                  </a:cubicBezTo>
                  <a:lnTo>
                    <a:pt x="2060" y="4394"/>
                  </a:lnTo>
                  <a:lnTo>
                    <a:pt x="2060" y="5870"/>
                  </a:lnTo>
                  <a:cubicBezTo>
                    <a:pt x="2060" y="5954"/>
                    <a:pt x="2131" y="6037"/>
                    <a:pt x="2215" y="6037"/>
                  </a:cubicBezTo>
                  <a:cubicBezTo>
                    <a:pt x="2310" y="6037"/>
                    <a:pt x="2381" y="5954"/>
                    <a:pt x="2381" y="5870"/>
                  </a:cubicBezTo>
                  <a:lnTo>
                    <a:pt x="2381" y="4394"/>
                  </a:lnTo>
                  <a:lnTo>
                    <a:pt x="2953" y="3965"/>
                  </a:lnTo>
                  <a:cubicBezTo>
                    <a:pt x="2977" y="3989"/>
                    <a:pt x="3024" y="4013"/>
                    <a:pt x="3072" y="4025"/>
                  </a:cubicBezTo>
                  <a:lnTo>
                    <a:pt x="3882" y="4334"/>
                  </a:lnTo>
                  <a:cubicBezTo>
                    <a:pt x="4024" y="4382"/>
                    <a:pt x="4108" y="4513"/>
                    <a:pt x="4108" y="4668"/>
                  </a:cubicBezTo>
                  <a:lnTo>
                    <a:pt x="4108" y="5858"/>
                  </a:lnTo>
                  <a:cubicBezTo>
                    <a:pt x="4108" y="5942"/>
                    <a:pt x="4179" y="6013"/>
                    <a:pt x="4274" y="6013"/>
                  </a:cubicBezTo>
                  <a:cubicBezTo>
                    <a:pt x="4358" y="6013"/>
                    <a:pt x="4441" y="5942"/>
                    <a:pt x="4441" y="5858"/>
                  </a:cubicBezTo>
                  <a:lnTo>
                    <a:pt x="4441" y="4668"/>
                  </a:lnTo>
                  <a:cubicBezTo>
                    <a:pt x="4453" y="4382"/>
                    <a:pt x="4274" y="4108"/>
                    <a:pt x="4024" y="4025"/>
                  </a:cubicBezTo>
                  <a:lnTo>
                    <a:pt x="3203" y="3703"/>
                  </a:lnTo>
                  <a:cubicBezTo>
                    <a:pt x="3131" y="3680"/>
                    <a:pt x="3084" y="3620"/>
                    <a:pt x="3084" y="3537"/>
                  </a:cubicBezTo>
                  <a:lnTo>
                    <a:pt x="3084" y="3108"/>
                  </a:lnTo>
                  <a:cubicBezTo>
                    <a:pt x="3120" y="3084"/>
                    <a:pt x="3155" y="3060"/>
                    <a:pt x="3191" y="3025"/>
                  </a:cubicBezTo>
                  <a:cubicBezTo>
                    <a:pt x="3453" y="2775"/>
                    <a:pt x="3608" y="2418"/>
                    <a:pt x="3608" y="2037"/>
                  </a:cubicBezTo>
                  <a:lnTo>
                    <a:pt x="3608" y="1727"/>
                  </a:lnTo>
                  <a:lnTo>
                    <a:pt x="3655" y="1644"/>
                  </a:lnTo>
                  <a:cubicBezTo>
                    <a:pt x="3739" y="1477"/>
                    <a:pt x="3774" y="1298"/>
                    <a:pt x="3774" y="1108"/>
                  </a:cubicBezTo>
                  <a:lnTo>
                    <a:pt x="3774" y="167"/>
                  </a:lnTo>
                  <a:cubicBezTo>
                    <a:pt x="3774" y="84"/>
                    <a:pt x="3691"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9" name="Google Shape;10799;p60"/>
            <p:cNvSpPr/>
            <p:nvPr/>
          </p:nvSpPr>
          <p:spPr>
            <a:xfrm>
              <a:off x="3330313" y="2288463"/>
              <a:ext cx="10248" cy="37938"/>
            </a:xfrm>
            <a:custGeom>
              <a:avLst/>
              <a:gdLst/>
              <a:ahLst/>
              <a:cxnLst/>
              <a:rect l="l" t="t" r="r" b="b"/>
              <a:pathLst>
                <a:path w="322" h="1192" extrusionOk="0">
                  <a:moveTo>
                    <a:pt x="167" y="1"/>
                  </a:moveTo>
                  <a:cubicBezTo>
                    <a:pt x="72" y="1"/>
                    <a:pt x="0" y="84"/>
                    <a:pt x="0" y="167"/>
                  </a:cubicBezTo>
                  <a:lnTo>
                    <a:pt x="0" y="1036"/>
                  </a:lnTo>
                  <a:cubicBezTo>
                    <a:pt x="0" y="1120"/>
                    <a:pt x="72" y="1191"/>
                    <a:pt x="167" y="1191"/>
                  </a:cubicBezTo>
                  <a:cubicBezTo>
                    <a:pt x="250" y="1191"/>
                    <a:pt x="322" y="1120"/>
                    <a:pt x="322" y="1036"/>
                  </a:cubicBezTo>
                  <a:lnTo>
                    <a:pt x="322" y="167"/>
                  </a:lnTo>
                  <a:cubicBezTo>
                    <a:pt x="310"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0" name="Google Shape;10800;p60"/>
            <p:cNvSpPr/>
            <p:nvPr/>
          </p:nvSpPr>
          <p:spPr>
            <a:xfrm>
              <a:off x="3406859" y="2288463"/>
              <a:ext cx="10630" cy="37938"/>
            </a:xfrm>
            <a:custGeom>
              <a:avLst/>
              <a:gdLst/>
              <a:ahLst/>
              <a:cxnLst/>
              <a:rect l="l" t="t" r="r" b="b"/>
              <a:pathLst>
                <a:path w="334" h="1192" extrusionOk="0">
                  <a:moveTo>
                    <a:pt x="167" y="1"/>
                  </a:moveTo>
                  <a:cubicBezTo>
                    <a:pt x="84" y="1"/>
                    <a:pt x="0" y="84"/>
                    <a:pt x="0" y="167"/>
                  </a:cubicBezTo>
                  <a:lnTo>
                    <a:pt x="0" y="1036"/>
                  </a:lnTo>
                  <a:cubicBezTo>
                    <a:pt x="0" y="1120"/>
                    <a:pt x="84" y="1191"/>
                    <a:pt x="167" y="1191"/>
                  </a:cubicBezTo>
                  <a:cubicBezTo>
                    <a:pt x="262" y="1191"/>
                    <a:pt x="334" y="1120"/>
                    <a:pt x="334" y="1036"/>
                  </a:cubicBezTo>
                  <a:lnTo>
                    <a:pt x="334" y="167"/>
                  </a:lnTo>
                  <a:cubicBezTo>
                    <a:pt x="322"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1" name="Google Shape;10801;p60"/>
            <p:cNvSpPr/>
            <p:nvPr/>
          </p:nvSpPr>
          <p:spPr>
            <a:xfrm>
              <a:off x="3149183" y="1976585"/>
              <a:ext cx="219419" cy="183072"/>
            </a:xfrm>
            <a:custGeom>
              <a:avLst/>
              <a:gdLst/>
              <a:ahLst/>
              <a:cxnLst/>
              <a:rect l="l" t="t" r="r" b="b"/>
              <a:pathLst>
                <a:path w="6894" h="5752" extrusionOk="0">
                  <a:moveTo>
                    <a:pt x="2369" y="4108"/>
                  </a:moveTo>
                  <a:lnTo>
                    <a:pt x="2286" y="4466"/>
                  </a:lnTo>
                  <a:lnTo>
                    <a:pt x="2060" y="4466"/>
                  </a:lnTo>
                  <a:cubicBezTo>
                    <a:pt x="1869" y="4466"/>
                    <a:pt x="1703" y="4299"/>
                    <a:pt x="1703" y="4108"/>
                  </a:cubicBezTo>
                  <a:close/>
                  <a:moveTo>
                    <a:pt x="5513" y="310"/>
                  </a:moveTo>
                  <a:cubicBezTo>
                    <a:pt x="5703" y="310"/>
                    <a:pt x="5870" y="477"/>
                    <a:pt x="5870" y="667"/>
                  </a:cubicBezTo>
                  <a:lnTo>
                    <a:pt x="5870" y="3418"/>
                  </a:lnTo>
                  <a:cubicBezTo>
                    <a:pt x="5870" y="3608"/>
                    <a:pt x="5703" y="3775"/>
                    <a:pt x="5513" y="3775"/>
                  </a:cubicBezTo>
                  <a:lnTo>
                    <a:pt x="4132" y="3775"/>
                  </a:lnTo>
                  <a:cubicBezTo>
                    <a:pt x="4096" y="3775"/>
                    <a:pt x="4048" y="3787"/>
                    <a:pt x="4036" y="3811"/>
                  </a:cubicBezTo>
                  <a:lnTo>
                    <a:pt x="2500" y="4918"/>
                  </a:lnTo>
                  <a:lnTo>
                    <a:pt x="2739" y="3966"/>
                  </a:lnTo>
                  <a:cubicBezTo>
                    <a:pt x="2762" y="3930"/>
                    <a:pt x="2739" y="3870"/>
                    <a:pt x="2715" y="3835"/>
                  </a:cubicBezTo>
                  <a:cubicBezTo>
                    <a:pt x="2679" y="3787"/>
                    <a:pt x="2643" y="3775"/>
                    <a:pt x="2584" y="3775"/>
                  </a:cubicBezTo>
                  <a:lnTo>
                    <a:pt x="691" y="3775"/>
                  </a:lnTo>
                  <a:cubicBezTo>
                    <a:pt x="500" y="3775"/>
                    <a:pt x="333" y="3608"/>
                    <a:pt x="333" y="3418"/>
                  </a:cubicBezTo>
                  <a:lnTo>
                    <a:pt x="333" y="667"/>
                  </a:lnTo>
                  <a:cubicBezTo>
                    <a:pt x="333" y="477"/>
                    <a:pt x="500" y="310"/>
                    <a:pt x="691" y="310"/>
                  </a:cubicBezTo>
                  <a:close/>
                  <a:moveTo>
                    <a:pt x="6215" y="989"/>
                  </a:moveTo>
                  <a:cubicBezTo>
                    <a:pt x="6406" y="989"/>
                    <a:pt x="6572" y="1156"/>
                    <a:pt x="6572" y="1346"/>
                  </a:cubicBezTo>
                  <a:lnTo>
                    <a:pt x="6572" y="4108"/>
                  </a:lnTo>
                  <a:lnTo>
                    <a:pt x="6549" y="4108"/>
                  </a:lnTo>
                  <a:cubicBezTo>
                    <a:pt x="6549" y="4299"/>
                    <a:pt x="6394" y="4466"/>
                    <a:pt x="6191" y="4466"/>
                  </a:cubicBezTo>
                  <a:lnTo>
                    <a:pt x="4810" y="4466"/>
                  </a:lnTo>
                  <a:cubicBezTo>
                    <a:pt x="4763" y="4466"/>
                    <a:pt x="4727" y="4477"/>
                    <a:pt x="4691" y="4513"/>
                  </a:cubicBezTo>
                  <a:cubicBezTo>
                    <a:pt x="4667" y="4549"/>
                    <a:pt x="4644" y="4608"/>
                    <a:pt x="4667" y="4656"/>
                  </a:cubicBezTo>
                  <a:lnTo>
                    <a:pt x="4763" y="5323"/>
                  </a:lnTo>
                  <a:lnTo>
                    <a:pt x="3596" y="4537"/>
                  </a:lnTo>
                  <a:lnTo>
                    <a:pt x="4191" y="4096"/>
                  </a:lnTo>
                  <a:lnTo>
                    <a:pt x="5513" y="4096"/>
                  </a:lnTo>
                  <a:cubicBezTo>
                    <a:pt x="5882" y="4096"/>
                    <a:pt x="6191" y="3799"/>
                    <a:pt x="6191" y="3418"/>
                  </a:cubicBezTo>
                  <a:lnTo>
                    <a:pt x="6191" y="989"/>
                  </a:lnTo>
                  <a:close/>
                  <a:moveTo>
                    <a:pt x="691" y="1"/>
                  </a:moveTo>
                  <a:cubicBezTo>
                    <a:pt x="322" y="1"/>
                    <a:pt x="0" y="298"/>
                    <a:pt x="0" y="679"/>
                  </a:cubicBezTo>
                  <a:lnTo>
                    <a:pt x="0" y="3430"/>
                  </a:lnTo>
                  <a:cubicBezTo>
                    <a:pt x="0" y="3811"/>
                    <a:pt x="298" y="4120"/>
                    <a:pt x="691" y="4120"/>
                  </a:cubicBezTo>
                  <a:lnTo>
                    <a:pt x="1393" y="4120"/>
                  </a:lnTo>
                  <a:lnTo>
                    <a:pt x="1393" y="4132"/>
                  </a:lnTo>
                  <a:cubicBezTo>
                    <a:pt x="1393" y="4501"/>
                    <a:pt x="1691" y="4823"/>
                    <a:pt x="2072" y="4823"/>
                  </a:cubicBezTo>
                  <a:lnTo>
                    <a:pt x="2203" y="4823"/>
                  </a:lnTo>
                  <a:lnTo>
                    <a:pt x="2143" y="5073"/>
                  </a:lnTo>
                  <a:cubicBezTo>
                    <a:pt x="2119" y="5180"/>
                    <a:pt x="2167" y="5275"/>
                    <a:pt x="2250" y="5335"/>
                  </a:cubicBezTo>
                  <a:cubicBezTo>
                    <a:pt x="2298" y="5370"/>
                    <a:pt x="2346" y="5382"/>
                    <a:pt x="2381" y="5382"/>
                  </a:cubicBezTo>
                  <a:cubicBezTo>
                    <a:pt x="2429" y="5382"/>
                    <a:pt x="2489" y="5370"/>
                    <a:pt x="2536" y="5335"/>
                  </a:cubicBezTo>
                  <a:lnTo>
                    <a:pt x="3251" y="4823"/>
                  </a:lnTo>
                  <a:lnTo>
                    <a:pt x="3417" y="4823"/>
                  </a:lnTo>
                  <a:lnTo>
                    <a:pt x="4751" y="5716"/>
                  </a:lnTo>
                  <a:cubicBezTo>
                    <a:pt x="4798" y="5740"/>
                    <a:pt x="4846" y="5751"/>
                    <a:pt x="4882" y="5751"/>
                  </a:cubicBezTo>
                  <a:cubicBezTo>
                    <a:pt x="4929" y="5751"/>
                    <a:pt x="4977" y="5740"/>
                    <a:pt x="5025" y="5716"/>
                  </a:cubicBezTo>
                  <a:cubicBezTo>
                    <a:pt x="5108" y="5656"/>
                    <a:pt x="5144" y="5561"/>
                    <a:pt x="5120" y="5454"/>
                  </a:cubicBezTo>
                  <a:lnTo>
                    <a:pt x="5025" y="4799"/>
                  </a:lnTo>
                  <a:lnTo>
                    <a:pt x="6215" y="4799"/>
                  </a:lnTo>
                  <a:cubicBezTo>
                    <a:pt x="6584" y="4799"/>
                    <a:pt x="6894" y="4501"/>
                    <a:pt x="6894" y="4120"/>
                  </a:cubicBezTo>
                  <a:lnTo>
                    <a:pt x="6894" y="1370"/>
                  </a:lnTo>
                  <a:cubicBezTo>
                    <a:pt x="6870" y="977"/>
                    <a:pt x="6572" y="679"/>
                    <a:pt x="6191" y="679"/>
                  </a:cubicBezTo>
                  <a:cubicBezTo>
                    <a:pt x="6179" y="298"/>
                    <a:pt x="5882" y="1"/>
                    <a:pt x="5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2" name="Google Shape;10802;p60"/>
            <p:cNvSpPr/>
            <p:nvPr/>
          </p:nvSpPr>
          <p:spPr>
            <a:xfrm>
              <a:off x="3187822" y="2009177"/>
              <a:ext cx="26926" cy="10280"/>
            </a:xfrm>
            <a:custGeom>
              <a:avLst/>
              <a:gdLst/>
              <a:ahLst/>
              <a:cxnLst/>
              <a:rect l="l" t="t" r="r" b="b"/>
              <a:pathLst>
                <a:path w="846" h="323" extrusionOk="0">
                  <a:moveTo>
                    <a:pt x="155" y="1"/>
                  </a:moveTo>
                  <a:cubicBezTo>
                    <a:pt x="72" y="1"/>
                    <a:pt x="1" y="72"/>
                    <a:pt x="1" y="167"/>
                  </a:cubicBezTo>
                  <a:cubicBezTo>
                    <a:pt x="1" y="251"/>
                    <a:pt x="72" y="322"/>
                    <a:pt x="155" y="322"/>
                  </a:cubicBezTo>
                  <a:lnTo>
                    <a:pt x="679" y="322"/>
                  </a:lnTo>
                  <a:cubicBezTo>
                    <a:pt x="774" y="322"/>
                    <a:pt x="846" y="251"/>
                    <a:pt x="846" y="167"/>
                  </a:cubicBezTo>
                  <a:cubicBezTo>
                    <a:pt x="846"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3" name="Google Shape;10803;p60"/>
            <p:cNvSpPr/>
            <p:nvPr/>
          </p:nvSpPr>
          <p:spPr>
            <a:xfrm>
              <a:off x="3226110" y="2009177"/>
              <a:ext cx="81478" cy="10280"/>
            </a:xfrm>
            <a:custGeom>
              <a:avLst/>
              <a:gdLst/>
              <a:ahLst/>
              <a:cxnLst/>
              <a:rect l="l" t="t" r="r" b="b"/>
              <a:pathLst>
                <a:path w="2560" h="323" extrusionOk="0">
                  <a:moveTo>
                    <a:pt x="167" y="1"/>
                  </a:moveTo>
                  <a:cubicBezTo>
                    <a:pt x="72" y="1"/>
                    <a:pt x="0" y="72"/>
                    <a:pt x="0" y="167"/>
                  </a:cubicBezTo>
                  <a:cubicBezTo>
                    <a:pt x="0" y="251"/>
                    <a:pt x="72" y="322"/>
                    <a:pt x="167" y="322"/>
                  </a:cubicBezTo>
                  <a:lnTo>
                    <a:pt x="2393" y="322"/>
                  </a:lnTo>
                  <a:cubicBezTo>
                    <a:pt x="2488" y="322"/>
                    <a:pt x="2560" y="251"/>
                    <a:pt x="2560" y="167"/>
                  </a:cubicBezTo>
                  <a:cubicBezTo>
                    <a:pt x="2560" y="72"/>
                    <a:pt x="2488" y="1"/>
                    <a:pt x="23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4" name="Google Shape;10804;p60"/>
            <p:cNvSpPr/>
            <p:nvPr/>
          </p:nvSpPr>
          <p:spPr>
            <a:xfrm>
              <a:off x="3187822" y="2036453"/>
              <a:ext cx="119767" cy="10662"/>
            </a:xfrm>
            <a:custGeom>
              <a:avLst/>
              <a:gdLst/>
              <a:ahLst/>
              <a:cxnLst/>
              <a:rect l="l" t="t" r="r" b="b"/>
              <a:pathLst>
                <a:path w="3763" h="335" extrusionOk="0">
                  <a:moveTo>
                    <a:pt x="155" y="1"/>
                  </a:moveTo>
                  <a:cubicBezTo>
                    <a:pt x="72" y="1"/>
                    <a:pt x="1" y="84"/>
                    <a:pt x="1" y="168"/>
                  </a:cubicBezTo>
                  <a:cubicBezTo>
                    <a:pt x="1" y="263"/>
                    <a:pt x="72" y="334"/>
                    <a:pt x="155" y="334"/>
                  </a:cubicBezTo>
                  <a:lnTo>
                    <a:pt x="3596" y="334"/>
                  </a:lnTo>
                  <a:cubicBezTo>
                    <a:pt x="3691" y="334"/>
                    <a:pt x="3763" y="263"/>
                    <a:pt x="3763" y="168"/>
                  </a:cubicBezTo>
                  <a:cubicBezTo>
                    <a:pt x="3763" y="84"/>
                    <a:pt x="3691"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5" name="Google Shape;10805;p60"/>
            <p:cNvSpPr/>
            <p:nvPr/>
          </p:nvSpPr>
          <p:spPr>
            <a:xfrm>
              <a:off x="3187822" y="2064143"/>
              <a:ext cx="81510" cy="10248"/>
            </a:xfrm>
            <a:custGeom>
              <a:avLst/>
              <a:gdLst/>
              <a:ahLst/>
              <a:cxnLst/>
              <a:rect l="l" t="t" r="r" b="b"/>
              <a:pathLst>
                <a:path w="2561" h="322" extrusionOk="0">
                  <a:moveTo>
                    <a:pt x="155" y="0"/>
                  </a:moveTo>
                  <a:cubicBezTo>
                    <a:pt x="72" y="0"/>
                    <a:pt x="1" y="72"/>
                    <a:pt x="1" y="167"/>
                  </a:cubicBezTo>
                  <a:cubicBezTo>
                    <a:pt x="1" y="250"/>
                    <a:pt x="72" y="322"/>
                    <a:pt x="155" y="322"/>
                  </a:cubicBezTo>
                  <a:lnTo>
                    <a:pt x="2394" y="322"/>
                  </a:lnTo>
                  <a:cubicBezTo>
                    <a:pt x="2477" y="322"/>
                    <a:pt x="2560" y="250"/>
                    <a:pt x="2560" y="167"/>
                  </a:cubicBezTo>
                  <a:cubicBezTo>
                    <a:pt x="2560" y="72"/>
                    <a:pt x="2477"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6" name="Google Shape;10806;p60"/>
            <p:cNvSpPr/>
            <p:nvPr/>
          </p:nvSpPr>
          <p:spPr>
            <a:xfrm>
              <a:off x="3280663" y="2064143"/>
              <a:ext cx="26926" cy="10248"/>
            </a:xfrm>
            <a:custGeom>
              <a:avLst/>
              <a:gdLst/>
              <a:ahLst/>
              <a:cxnLst/>
              <a:rect l="l" t="t" r="r" b="b"/>
              <a:pathLst>
                <a:path w="846" h="322" extrusionOk="0">
                  <a:moveTo>
                    <a:pt x="155" y="0"/>
                  </a:moveTo>
                  <a:cubicBezTo>
                    <a:pt x="72" y="0"/>
                    <a:pt x="1" y="72"/>
                    <a:pt x="1" y="167"/>
                  </a:cubicBezTo>
                  <a:cubicBezTo>
                    <a:pt x="1" y="250"/>
                    <a:pt x="72" y="322"/>
                    <a:pt x="155"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07" name="Google Shape;10807;p60"/>
          <p:cNvGrpSpPr/>
          <p:nvPr/>
        </p:nvGrpSpPr>
        <p:grpSpPr>
          <a:xfrm>
            <a:off x="870939" y="1975821"/>
            <a:ext cx="332375" cy="350071"/>
            <a:chOff x="870939" y="1975821"/>
            <a:chExt cx="332375" cy="350071"/>
          </a:xfrm>
        </p:grpSpPr>
        <p:sp>
          <p:nvSpPr>
            <p:cNvPr id="10808" name="Google Shape;10808;p60"/>
            <p:cNvSpPr/>
            <p:nvPr/>
          </p:nvSpPr>
          <p:spPr>
            <a:xfrm>
              <a:off x="870939" y="1975821"/>
              <a:ext cx="332375" cy="350071"/>
            </a:xfrm>
            <a:custGeom>
              <a:avLst/>
              <a:gdLst/>
              <a:ahLst/>
              <a:cxnLst/>
              <a:rect l="l" t="t" r="r" b="b"/>
              <a:pathLst>
                <a:path w="10443" h="10999" extrusionOk="0">
                  <a:moveTo>
                    <a:pt x="8049" y="334"/>
                  </a:moveTo>
                  <a:lnTo>
                    <a:pt x="5728" y="3573"/>
                  </a:lnTo>
                  <a:lnTo>
                    <a:pt x="5406" y="3120"/>
                  </a:lnTo>
                  <a:lnTo>
                    <a:pt x="7395" y="334"/>
                  </a:lnTo>
                  <a:close/>
                  <a:moveTo>
                    <a:pt x="9109" y="334"/>
                  </a:moveTo>
                  <a:lnTo>
                    <a:pt x="6263" y="4311"/>
                  </a:lnTo>
                  <a:lnTo>
                    <a:pt x="5942" y="3847"/>
                  </a:lnTo>
                  <a:lnTo>
                    <a:pt x="8454" y="334"/>
                  </a:lnTo>
                  <a:close/>
                  <a:moveTo>
                    <a:pt x="3025" y="334"/>
                  </a:moveTo>
                  <a:lnTo>
                    <a:pt x="6025" y="4525"/>
                  </a:lnTo>
                  <a:cubicBezTo>
                    <a:pt x="5998" y="4533"/>
                    <a:pt x="5970" y="4537"/>
                    <a:pt x="5942" y="4537"/>
                  </a:cubicBezTo>
                  <a:cubicBezTo>
                    <a:pt x="5849" y="4537"/>
                    <a:pt x="5759" y="4494"/>
                    <a:pt x="5704" y="4430"/>
                  </a:cubicBezTo>
                  <a:cubicBezTo>
                    <a:pt x="5561" y="4287"/>
                    <a:pt x="5382" y="4228"/>
                    <a:pt x="5228" y="4228"/>
                  </a:cubicBezTo>
                  <a:lnTo>
                    <a:pt x="2430" y="334"/>
                  </a:lnTo>
                  <a:close/>
                  <a:moveTo>
                    <a:pt x="2025" y="334"/>
                  </a:moveTo>
                  <a:lnTo>
                    <a:pt x="4882" y="4323"/>
                  </a:lnTo>
                  <a:cubicBezTo>
                    <a:pt x="4823" y="4347"/>
                    <a:pt x="4775" y="4394"/>
                    <a:pt x="4728" y="4442"/>
                  </a:cubicBezTo>
                  <a:cubicBezTo>
                    <a:pt x="4667" y="4503"/>
                    <a:pt x="4569" y="4544"/>
                    <a:pt x="4474" y="4544"/>
                  </a:cubicBezTo>
                  <a:cubicBezTo>
                    <a:pt x="4438" y="4544"/>
                    <a:pt x="4403" y="4538"/>
                    <a:pt x="4370" y="4525"/>
                  </a:cubicBezTo>
                  <a:lnTo>
                    <a:pt x="1370" y="334"/>
                  </a:lnTo>
                  <a:close/>
                  <a:moveTo>
                    <a:pt x="965" y="334"/>
                  </a:moveTo>
                  <a:lnTo>
                    <a:pt x="3942" y="4490"/>
                  </a:lnTo>
                  <a:cubicBezTo>
                    <a:pt x="3775" y="4525"/>
                    <a:pt x="3632" y="4621"/>
                    <a:pt x="3525" y="4763"/>
                  </a:cubicBezTo>
                  <a:lnTo>
                    <a:pt x="358" y="334"/>
                  </a:lnTo>
                  <a:close/>
                  <a:moveTo>
                    <a:pt x="10062" y="334"/>
                  </a:moveTo>
                  <a:lnTo>
                    <a:pt x="6894" y="4763"/>
                  </a:lnTo>
                  <a:cubicBezTo>
                    <a:pt x="6799" y="4632"/>
                    <a:pt x="6668" y="4549"/>
                    <a:pt x="6513" y="4501"/>
                  </a:cubicBezTo>
                  <a:lnTo>
                    <a:pt x="9514" y="334"/>
                  </a:lnTo>
                  <a:close/>
                  <a:moveTo>
                    <a:pt x="5192" y="4582"/>
                  </a:moveTo>
                  <a:cubicBezTo>
                    <a:pt x="5284" y="4582"/>
                    <a:pt x="5376" y="4615"/>
                    <a:pt x="5442" y="4680"/>
                  </a:cubicBezTo>
                  <a:cubicBezTo>
                    <a:pt x="5577" y="4807"/>
                    <a:pt x="5744" y="4876"/>
                    <a:pt x="5917" y="4876"/>
                  </a:cubicBezTo>
                  <a:cubicBezTo>
                    <a:pt x="6004" y="4876"/>
                    <a:pt x="6093" y="4859"/>
                    <a:pt x="6180" y="4823"/>
                  </a:cubicBezTo>
                  <a:cubicBezTo>
                    <a:pt x="6216" y="4808"/>
                    <a:pt x="6254" y="4801"/>
                    <a:pt x="6293" y="4801"/>
                  </a:cubicBezTo>
                  <a:cubicBezTo>
                    <a:pt x="6436" y="4801"/>
                    <a:pt x="6586" y="4897"/>
                    <a:pt x="6633" y="5037"/>
                  </a:cubicBezTo>
                  <a:cubicBezTo>
                    <a:pt x="6633" y="5049"/>
                    <a:pt x="6644" y="5061"/>
                    <a:pt x="6644" y="5061"/>
                  </a:cubicBezTo>
                  <a:cubicBezTo>
                    <a:pt x="6728" y="5263"/>
                    <a:pt x="6859" y="5335"/>
                    <a:pt x="6859" y="5335"/>
                  </a:cubicBezTo>
                  <a:cubicBezTo>
                    <a:pt x="6990" y="5406"/>
                    <a:pt x="7133" y="5454"/>
                    <a:pt x="7264" y="5466"/>
                  </a:cubicBezTo>
                  <a:cubicBezTo>
                    <a:pt x="7454" y="5478"/>
                    <a:pt x="7621" y="5644"/>
                    <a:pt x="7609" y="5859"/>
                  </a:cubicBezTo>
                  <a:cubicBezTo>
                    <a:pt x="7585" y="6121"/>
                    <a:pt x="7740" y="6371"/>
                    <a:pt x="7978" y="6490"/>
                  </a:cubicBezTo>
                  <a:cubicBezTo>
                    <a:pt x="8157" y="6585"/>
                    <a:pt x="8228" y="6811"/>
                    <a:pt x="8145" y="6990"/>
                  </a:cubicBezTo>
                  <a:cubicBezTo>
                    <a:pt x="8026" y="7228"/>
                    <a:pt x="8049" y="7526"/>
                    <a:pt x="8216" y="7728"/>
                  </a:cubicBezTo>
                  <a:cubicBezTo>
                    <a:pt x="8335" y="7883"/>
                    <a:pt x="8323" y="8121"/>
                    <a:pt x="8157" y="8240"/>
                  </a:cubicBezTo>
                  <a:cubicBezTo>
                    <a:pt x="7942" y="8395"/>
                    <a:pt x="7859" y="8681"/>
                    <a:pt x="7930" y="8931"/>
                  </a:cubicBezTo>
                  <a:cubicBezTo>
                    <a:pt x="7978" y="9133"/>
                    <a:pt x="7871" y="9323"/>
                    <a:pt x="7680" y="9383"/>
                  </a:cubicBezTo>
                  <a:cubicBezTo>
                    <a:pt x="7430" y="9454"/>
                    <a:pt x="7228" y="9669"/>
                    <a:pt x="7192" y="9931"/>
                  </a:cubicBezTo>
                  <a:cubicBezTo>
                    <a:pt x="7160" y="10101"/>
                    <a:pt x="7004" y="10234"/>
                    <a:pt x="6835" y="10234"/>
                  </a:cubicBezTo>
                  <a:cubicBezTo>
                    <a:pt x="6815" y="10234"/>
                    <a:pt x="6795" y="10232"/>
                    <a:pt x="6775" y="10228"/>
                  </a:cubicBezTo>
                  <a:cubicBezTo>
                    <a:pt x="6735" y="10221"/>
                    <a:pt x="6695" y="10218"/>
                    <a:pt x="6656" y="10218"/>
                  </a:cubicBezTo>
                  <a:cubicBezTo>
                    <a:pt x="6427" y="10218"/>
                    <a:pt x="6217" y="10333"/>
                    <a:pt x="6085" y="10526"/>
                  </a:cubicBezTo>
                  <a:cubicBezTo>
                    <a:pt x="6016" y="10633"/>
                    <a:pt x="5904" y="10690"/>
                    <a:pt x="5786" y="10690"/>
                  </a:cubicBezTo>
                  <a:cubicBezTo>
                    <a:pt x="5718" y="10690"/>
                    <a:pt x="5649" y="10672"/>
                    <a:pt x="5585" y="10633"/>
                  </a:cubicBezTo>
                  <a:cubicBezTo>
                    <a:pt x="5454" y="10562"/>
                    <a:pt x="5347" y="10526"/>
                    <a:pt x="5204" y="10526"/>
                  </a:cubicBezTo>
                  <a:cubicBezTo>
                    <a:pt x="5073" y="10526"/>
                    <a:pt x="4954" y="10562"/>
                    <a:pt x="4835" y="10633"/>
                  </a:cubicBezTo>
                  <a:cubicBezTo>
                    <a:pt x="4774" y="10672"/>
                    <a:pt x="4708" y="10690"/>
                    <a:pt x="4642" y="10690"/>
                  </a:cubicBezTo>
                  <a:cubicBezTo>
                    <a:pt x="4524" y="10690"/>
                    <a:pt x="4406" y="10633"/>
                    <a:pt x="4323" y="10526"/>
                  </a:cubicBezTo>
                  <a:cubicBezTo>
                    <a:pt x="4201" y="10333"/>
                    <a:pt x="3983" y="10218"/>
                    <a:pt x="3760" y="10218"/>
                  </a:cubicBezTo>
                  <a:cubicBezTo>
                    <a:pt x="3721" y="10218"/>
                    <a:pt x="3682" y="10221"/>
                    <a:pt x="3644" y="10228"/>
                  </a:cubicBezTo>
                  <a:cubicBezTo>
                    <a:pt x="3624" y="10232"/>
                    <a:pt x="3604" y="10234"/>
                    <a:pt x="3585" y="10234"/>
                  </a:cubicBezTo>
                  <a:cubicBezTo>
                    <a:pt x="3416" y="10234"/>
                    <a:pt x="3259" y="10101"/>
                    <a:pt x="3227" y="9931"/>
                  </a:cubicBezTo>
                  <a:cubicBezTo>
                    <a:pt x="3180" y="9669"/>
                    <a:pt x="2989" y="9454"/>
                    <a:pt x="2739" y="9383"/>
                  </a:cubicBezTo>
                  <a:cubicBezTo>
                    <a:pt x="2537" y="9323"/>
                    <a:pt x="2418" y="9133"/>
                    <a:pt x="2477" y="8931"/>
                  </a:cubicBezTo>
                  <a:cubicBezTo>
                    <a:pt x="2561" y="8681"/>
                    <a:pt x="2465" y="8395"/>
                    <a:pt x="2263" y="8240"/>
                  </a:cubicBezTo>
                  <a:cubicBezTo>
                    <a:pt x="2108" y="8121"/>
                    <a:pt x="2084" y="7883"/>
                    <a:pt x="2203" y="7728"/>
                  </a:cubicBezTo>
                  <a:cubicBezTo>
                    <a:pt x="2358" y="7526"/>
                    <a:pt x="2394" y="7228"/>
                    <a:pt x="2275" y="6990"/>
                  </a:cubicBezTo>
                  <a:cubicBezTo>
                    <a:pt x="2180" y="6811"/>
                    <a:pt x="2263" y="6585"/>
                    <a:pt x="2442" y="6490"/>
                  </a:cubicBezTo>
                  <a:cubicBezTo>
                    <a:pt x="2680" y="6371"/>
                    <a:pt x="2823" y="6121"/>
                    <a:pt x="2811" y="5859"/>
                  </a:cubicBezTo>
                  <a:cubicBezTo>
                    <a:pt x="2799" y="5656"/>
                    <a:pt x="2953" y="5478"/>
                    <a:pt x="3156" y="5466"/>
                  </a:cubicBezTo>
                  <a:cubicBezTo>
                    <a:pt x="3358" y="5454"/>
                    <a:pt x="3549" y="5347"/>
                    <a:pt x="3668" y="5180"/>
                  </a:cubicBezTo>
                  <a:lnTo>
                    <a:pt x="3668" y="5168"/>
                  </a:lnTo>
                  <a:cubicBezTo>
                    <a:pt x="3704" y="5121"/>
                    <a:pt x="3727" y="5085"/>
                    <a:pt x="3751" y="5037"/>
                  </a:cubicBezTo>
                  <a:cubicBezTo>
                    <a:pt x="3807" y="4897"/>
                    <a:pt x="3945" y="4801"/>
                    <a:pt x="4087" y="4801"/>
                  </a:cubicBezTo>
                  <a:cubicBezTo>
                    <a:pt x="4126" y="4801"/>
                    <a:pt x="4165" y="4808"/>
                    <a:pt x="4204" y="4823"/>
                  </a:cubicBezTo>
                  <a:cubicBezTo>
                    <a:pt x="4287" y="4853"/>
                    <a:pt x="4372" y="4868"/>
                    <a:pt x="4456" y="4868"/>
                  </a:cubicBezTo>
                  <a:cubicBezTo>
                    <a:pt x="4633" y="4868"/>
                    <a:pt x="4804" y="4802"/>
                    <a:pt x="4942" y="4680"/>
                  </a:cubicBezTo>
                  <a:cubicBezTo>
                    <a:pt x="5007" y="4615"/>
                    <a:pt x="5100" y="4582"/>
                    <a:pt x="5192" y="4582"/>
                  </a:cubicBezTo>
                  <a:close/>
                  <a:moveTo>
                    <a:pt x="286" y="1"/>
                  </a:moveTo>
                  <a:cubicBezTo>
                    <a:pt x="179" y="1"/>
                    <a:pt x="84" y="60"/>
                    <a:pt x="48" y="156"/>
                  </a:cubicBezTo>
                  <a:cubicBezTo>
                    <a:pt x="1" y="239"/>
                    <a:pt x="1" y="346"/>
                    <a:pt x="60" y="441"/>
                  </a:cubicBezTo>
                  <a:lnTo>
                    <a:pt x="3358" y="5049"/>
                  </a:lnTo>
                  <a:cubicBezTo>
                    <a:pt x="3299" y="5097"/>
                    <a:pt x="3227" y="5121"/>
                    <a:pt x="3156" y="5121"/>
                  </a:cubicBezTo>
                  <a:cubicBezTo>
                    <a:pt x="2787" y="5144"/>
                    <a:pt x="2489" y="5466"/>
                    <a:pt x="2513" y="5835"/>
                  </a:cubicBezTo>
                  <a:cubicBezTo>
                    <a:pt x="2513" y="5990"/>
                    <a:pt x="2442" y="6121"/>
                    <a:pt x="2322" y="6180"/>
                  </a:cubicBezTo>
                  <a:cubicBezTo>
                    <a:pt x="1989" y="6359"/>
                    <a:pt x="1858" y="6764"/>
                    <a:pt x="2025" y="7109"/>
                  </a:cubicBezTo>
                  <a:cubicBezTo>
                    <a:pt x="2084" y="7240"/>
                    <a:pt x="2072" y="7383"/>
                    <a:pt x="1977" y="7490"/>
                  </a:cubicBezTo>
                  <a:cubicBezTo>
                    <a:pt x="1739" y="7788"/>
                    <a:pt x="1787" y="8216"/>
                    <a:pt x="2084" y="8454"/>
                  </a:cubicBezTo>
                  <a:cubicBezTo>
                    <a:pt x="2180" y="8550"/>
                    <a:pt x="2239" y="8692"/>
                    <a:pt x="2203" y="8835"/>
                  </a:cubicBezTo>
                  <a:cubicBezTo>
                    <a:pt x="2108" y="9193"/>
                    <a:pt x="2322" y="9574"/>
                    <a:pt x="2680" y="9669"/>
                  </a:cubicBezTo>
                  <a:cubicBezTo>
                    <a:pt x="2811" y="9704"/>
                    <a:pt x="2918" y="9812"/>
                    <a:pt x="2942" y="9966"/>
                  </a:cubicBezTo>
                  <a:cubicBezTo>
                    <a:pt x="2995" y="10299"/>
                    <a:pt x="3290" y="10535"/>
                    <a:pt x="3609" y="10535"/>
                  </a:cubicBezTo>
                  <a:cubicBezTo>
                    <a:pt x="3645" y="10535"/>
                    <a:pt x="3680" y="10532"/>
                    <a:pt x="3715" y="10526"/>
                  </a:cubicBezTo>
                  <a:cubicBezTo>
                    <a:pt x="3726" y="10525"/>
                    <a:pt x="3738" y="10525"/>
                    <a:pt x="3749" y="10525"/>
                  </a:cubicBezTo>
                  <a:cubicBezTo>
                    <a:pt x="3872" y="10525"/>
                    <a:pt x="4007" y="10584"/>
                    <a:pt x="4073" y="10693"/>
                  </a:cubicBezTo>
                  <a:cubicBezTo>
                    <a:pt x="4208" y="10889"/>
                    <a:pt x="4425" y="10999"/>
                    <a:pt x="4645" y="10999"/>
                  </a:cubicBezTo>
                  <a:cubicBezTo>
                    <a:pt x="4772" y="10999"/>
                    <a:pt x="4900" y="10962"/>
                    <a:pt x="5013" y="10883"/>
                  </a:cubicBezTo>
                  <a:cubicBezTo>
                    <a:pt x="5073" y="10847"/>
                    <a:pt x="5141" y="10830"/>
                    <a:pt x="5208" y="10830"/>
                  </a:cubicBezTo>
                  <a:cubicBezTo>
                    <a:pt x="5275" y="10830"/>
                    <a:pt x="5341" y="10847"/>
                    <a:pt x="5394" y="10883"/>
                  </a:cubicBezTo>
                  <a:cubicBezTo>
                    <a:pt x="5513" y="10955"/>
                    <a:pt x="5632" y="10990"/>
                    <a:pt x="5775" y="10990"/>
                  </a:cubicBezTo>
                  <a:cubicBezTo>
                    <a:pt x="5990" y="10990"/>
                    <a:pt x="6216" y="10883"/>
                    <a:pt x="6347" y="10681"/>
                  </a:cubicBezTo>
                  <a:cubicBezTo>
                    <a:pt x="6423" y="10572"/>
                    <a:pt x="6549" y="10513"/>
                    <a:pt x="6671" y="10513"/>
                  </a:cubicBezTo>
                  <a:cubicBezTo>
                    <a:pt x="6682" y="10513"/>
                    <a:pt x="6693" y="10513"/>
                    <a:pt x="6704" y="10514"/>
                  </a:cubicBezTo>
                  <a:cubicBezTo>
                    <a:pt x="6742" y="10520"/>
                    <a:pt x="6779" y="10523"/>
                    <a:pt x="6816" y="10523"/>
                  </a:cubicBezTo>
                  <a:cubicBezTo>
                    <a:pt x="7150" y="10523"/>
                    <a:pt x="7435" y="10286"/>
                    <a:pt x="7478" y="9943"/>
                  </a:cubicBezTo>
                  <a:cubicBezTo>
                    <a:pt x="7514" y="9812"/>
                    <a:pt x="7597" y="9693"/>
                    <a:pt x="7752" y="9645"/>
                  </a:cubicBezTo>
                  <a:cubicBezTo>
                    <a:pt x="8109" y="9550"/>
                    <a:pt x="8335" y="9169"/>
                    <a:pt x="8228" y="8812"/>
                  </a:cubicBezTo>
                  <a:cubicBezTo>
                    <a:pt x="8192" y="8681"/>
                    <a:pt x="8240" y="8538"/>
                    <a:pt x="8347" y="8442"/>
                  </a:cubicBezTo>
                  <a:cubicBezTo>
                    <a:pt x="8645" y="8204"/>
                    <a:pt x="8692" y="7776"/>
                    <a:pt x="8454" y="7478"/>
                  </a:cubicBezTo>
                  <a:cubicBezTo>
                    <a:pt x="8359" y="7371"/>
                    <a:pt x="8347" y="7204"/>
                    <a:pt x="8407" y="7085"/>
                  </a:cubicBezTo>
                  <a:cubicBezTo>
                    <a:pt x="8573" y="6764"/>
                    <a:pt x="8430" y="6347"/>
                    <a:pt x="8109" y="6168"/>
                  </a:cubicBezTo>
                  <a:cubicBezTo>
                    <a:pt x="7990" y="6109"/>
                    <a:pt x="7895" y="5978"/>
                    <a:pt x="7918" y="5823"/>
                  </a:cubicBezTo>
                  <a:cubicBezTo>
                    <a:pt x="7930" y="5454"/>
                    <a:pt x="7645" y="5121"/>
                    <a:pt x="7275" y="5109"/>
                  </a:cubicBezTo>
                  <a:cubicBezTo>
                    <a:pt x="7204" y="5109"/>
                    <a:pt x="7121" y="5085"/>
                    <a:pt x="7061" y="5037"/>
                  </a:cubicBezTo>
                  <a:lnTo>
                    <a:pt x="10371" y="418"/>
                  </a:lnTo>
                  <a:cubicBezTo>
                    <a:pt x="10431" y="358"/>
                    <a:pt x="10443" y="263"/>
                    <a:pt x="10407" y="156"/>
                  </a:cubicBezTo>
                  <a:cubicBezTo>
                    <a:pt x="10359" y="60"/>
                    <a:pt x="10264" y="1"/>
                    <a:pt x="10169" y="1"/>
                  </a:cubicBezTo>
                  <a:lnTo>
                    <a:pt x="7383" y="1"/>
                  </a:lnTo>
                  <a:cubicBezTo>
                    <a:pt x="7287" y="1"/>
                    <a:pt x="7216" y="49"/>
                    <a:pt x="7156" y="120"/>
                  </a:cubicBezTo>
                  <a:lnTo>
                    <a:pt x="5228" y="2835"/>
                  </a:lnTo>
                  <a:lnTo>
                    <a:pt x="3287" y="120"/>
                  </a:lnTo>
                  <a:cubicBezTo>
                    <a:pt x="3239" y="49"/>
                    <a:pt x="3156" y="1"/>
                    <a:pt x="3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9" name="Google Shape;10809;p60"/>
            <p:cNvSpPr/>
            <p:nvPr/>
          </p:nvSpPr>
          <p:spPr>
            <a:xfrm>
              <a:off x="955059" y="2135755"/>
              <a:ext cx="164134" cy="75877"/>
            </a:xfrm>
            <a:custGeom>
              <a:avLst/>
              <a:gdLst/>
              <a:ahLst/>
              <a:cxnLst/>
              <a:rect l="l" t="t" r="r" b="b"/>
              <a:pathLst>
                <a:path w="5157" h="2384" extrusionOk="0">
                  <a:moveTo>
                    <a:pt x="2573" y="0"/>
                  </a:moveTo>
                  <a:cubicBezTo>
                    <a:pt x="1954" y="0"/>
                    <a:pt x="1346" y="215"/>
                    <a:pt x="882" y="631"/>
                  </a:cubicBezTo>
                  <a:cubicBezTo>
                    <a:pt x="418" y="1036"/>
                    <a:pt x="108" y="1608"/>
                    <a:pt x="13" y="2203"/>
                  </a:cubicBezTo>
                  <a:cubicBezTo>
                    <a:pt x="1" y="2286"/>
                    <a:pt x="60" y="2358"/>
                    <a:pt x="156" y="2382"/>
                  </a:cubicBezTo>
                  <a:lnTo>
                    <a:pt x="180" y="2382"/>
                  </a:lnTo>
                  <a:cubicBezTo>
                    <a:pt x="251" y="2382"/>
                    <a:pt x="334" y="2322"/>
                    <a:pt x="346" y="2239"/>
                  </a:cubicBezTo>
                  <a:cubicBezTo>
                    <a:pt x="418" y="1703"/>
                    <a:pt x="703" y="1215"/>
                    <a:pt x="1108" y="870"/>
                  </a:cubicBezTo>
                  <a:cubicBezTo>
                    <a:pt x="1525" y="512"/>
                    <a:pt x="2037" y="322"/>
                    <a:pt x="2596" y="322"/>
                  </a:cubicBezTo>
                  <a:cubicBezTo>
                    <a:pt x="3144" y="322"/>
                    <a:pt x="3668" y="512"/>
                    <a:pt x="4085" y="870"/>
                  </a:cubicBezTo>
                  <a:cubicBezTo>
                    <a:pt x="4478" y="1227"/>
                    <a:pt x="4763" y="1727"/>
                    <a:pt x="4835" y="2239"/>
                  </a:cubicBezTo>
                  <a:cubicBezTo>
                    <a:pt x="4857" y="2326"/>
                    <a:pt x="4918" y="2383"/>
                    <a:pt x="4992" y="2383"/>
                  </a:cubicBezTo>
                  <a:cubicBezTo>
                    <a:pt x="4999" y="2383"/>
                    <a:pt x="5006" y="2383"/>
                    <a:pt x="5013" y="2382"/>
                  </a:cubicBezTo>
                  <a:cubicBezTo>
                    <a:pt x="5085" y="2382"/>
                    <a:pt x="5156" y="2286"/>
                    <a:pt x="5144" y="2203"/>
                  </a:cubicBezTo>
                  <a:cubicBezTo>
                    <a:pt x="5049" y="1584"/>
                    <a:pt x="4740" y="1036"/>
                    <a:pt x="4275" y="631"/>
                  </a:cubicBezTo>
                  <a:cubicBezTo>
                    <a:pt x="3799" y="238"/>
                    <a:pt x="3204" y="0"/>
                    <a:pt x="2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0" name="Google Shape;10810;p60"/>
            <p:cNvSpPr/>
            <p:nvPr/>
          </p:nvSpPr>
          <p:spPr>
            <a:xfrm>
              <a:off x="955059" y="2224999"/>
              <a:ext cx="164134" cy="75240"/>
            </a:xfrm>
            <a:custGeom>
              <a:avLst/>
              <a:gdLst/>
              <a:ahLst/>
              <a:cxnLst/>
              <a:rect l="l" t="t" r="r" b="b"/>
              <a:pathLst>
                <a:path w="5157" h="2364" extrusionOk="0">
                  <a:moveTo>
                    <a:pt x="193" y="1"/>
                  </a:moveTo>
                  <a:cubicBezTo>
                    <a:pt x="181" y="1"/>
                    <a:pt x="168" y="3"/>
                    <a:pt x="156" y="6"/>
                  </a:cubicBezTo>
                  <a:cubicBezTo>
                    <a:pt x="60" y="18"/>
                    <a:pt x="1" y="90"/>
                    <a:pt x="25" y="185"/>
                  </a:cubicBezTo>
                  <a:cubicBezTo>
                    <a:pt x="108" y="792"/>
                    <a:pt x="418" y="1340"/>
                    <a:pt x="882" y="1745"/>
                  </a:cubicBezTo>
                  <a:cubicBezTo>
                    <a:pt x="1358" y="2149"/>
                    <a:pt x="1954" y="2364"/>
                    <a:pt x="2585" y="2364"/>
                  </a:cubicBezTo>
                  <a:cubicBezTo>
                    <a:pt x="3204" y="2364"/>
                    <a:pt x="3811" y="2149"/>
                    <a:pt x="4275" y="1733"/>
                  </a:cubicBezTo>
                  <a:cubicBezTo>
                    <a:pt x="4740" y="1328"/>
                    <a:pt x="5049" y="756"/>
                    <a:pt x="5144" y="161"/>
                  </a:cubicBezTo>
                  <a:cubicBezTo>
                    <a:pt x="5156" y="90"/>
                    <a:pt x="5085" y="18"/>
                    <a:pt x="5002" y="6"/>
                  </a:cubicBezTo>
                  <a:cubicBezTo>
                    <a:pt x="4990" y="3"/>
                    <a:pt x="4980" y="2"/>
                    <a:pt x="4969" y="2"/>
                  </a:cubicBezTo>
                  <a:cubicBezTo>
                    <a:pt x="4900" y="2"/>
                    <a:pt x="4844" y="65"/>
                    <a:pt x="4823" y="137"/>
                  </a:cubicBezTo>
                  <a:cubicBezTo>
                    <a:pt x="4752" y="673"/>
                    <a:pt x="4466" y="1161"/>
                    <a:pt x="4073" y="1506"/>
                  </a:cubicBezTo>
                  <a:cubicBezTo>
                    <a:pt x="3656" y="1864"/>
                    <a:pt x="3132" y="2054"/>
                    <a:pt x="2585" y="2054"/>
                  </a:cubicBezTo>
                  <a:cubicBezTo>
                    <a:pt x="2025" y="2054"/>
                    <a:pt x="1513" y="1864"/>
                    <a:pt x="1096" y="1506"/>
                  </a:cubicBezTo>
                  <a:cubicBezTo>
                    <a:pt x="691" y="1149"/>
                    <a:pt x="406" y="673"/>
                    <a:pt x="334" y="137"/>
                  </a:cubicBezTo>
                  <a:cubicBezTo>
                    <a:pt x="324" y="56"/>
                    <a:pt x="262"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1" name="Google Shape;10811;p60"/>
            <p:cNvSpPr/>
            <p:nvPr/>
          </p:nvSpPr>
          <p:spPr>
            <a:xfrm>
              <a:off x="1021387" y="2183496"/>
              <a:ext cx="18969" cy="69766"/>
            </a:xfrm>
            <a:custGeom>
              <a:avLst/>
              <a:gdLst/>
              <a:ahLst/>
              <a:cxnLst/>
              <a:rect l="l" t="t" r="r" b="b"/>
              <a:pathLst>
                <a:path w="596" h="2192" extrusionOk="0">
                  <a:moveTo>
                    <a:pt x="453" y="1"/>
                  </a:moveTo>
                  <a:cubicBezTo>
                    <a:pt x="417" y="1"/>
                    <a:pt x="393" y="12"/>
                    <a:pt x="382" y="24"/>
                  </a:cubicBezTo>
                  <a:lnTo>
                    <a:pt x="60" y="322"/>
                  </a:lnTo>
                  <a:cubicBezTo>
                    <a:pt x="24" y="358"/>
                    <a:pt x="1" y="405"/>
                    <a:pt x="1" y="441"/>
                  </a:cubicBezTo>
                  <a:cubicBezTo>
                    <a:pt x="1" y="501"/>
                    <a:pt x="48" y="584"/>
                    <a:pt x="108" y="584"/>
                  </a:cubicBezTo>
                  <a:cubicBezTo>
                    <a:pt x="120" y="584"/>
                    <a:pt x="155" y="560"/>
                    <a:pt x="167" y="548"/>
                  </a:cubicBezTo>
                  <a:lnTo>
                    <a:pt x="274" y="417"/>
                  </a:lnTo>
                  <a:lnTo>
                    <a:pt x="274" y="2084"/>
                  </a:lnTo>
                  <a:cubicBezTo>
                    <a:pt x="274" y="2156"/>
                    <a:pt x="346" y="2191"/>
                    <a:pt x="429" y="2191"/>
                  </a:cubicBezTo>
                  <a:cubicBezTo>
                    <a:pt x="512" y="2191"/>
                    <a:pt x="596" y="2156"/>
                    <a:pt x="596" y="2084"/>
                  </a:cubicBezTo>
                  <a:lnTo>
                    <a:pt x="596" y="108"/>
                  </a:lnTo>
                  <a:cubicBezTo>
                    <a:pt x="596" y="48"/>
                    <a:pt x="524"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2" name="Google Shape;10812;p60"/>
          <p:cNvSpPr/>
          <p:nvPr/>
        </p:nvSpPr>
        <p:spPr>
          <a:xfrm>
            <a:off x="1276039" y="1961817"/>
            <a:ext cx="414967" cy="378970"/>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13" name="Google Shape;10813;p60"/>
          <p:cNvGrpSpPr/>
          <p:nvPr/>
        </p:nvGrpSpPr>
        <p:grpSpPr>
          <a:xfrm>
            <a:off x="3979435" y="1976585"/>
            <a:ext cx="345265" cy="349848"/>
            <a:chOff x="3979435" y="1976585"/>
            <a:chExt cx="345265" cy="349848"/>
          </a:xfrm>
        </p:grpSpPr>
        <p:sp>
          <p:nvSpPr>
            <p:cNvPr id="10814" name="Google Shape;10814;p60"/>
            <p:cNvSpPr/>
            <p:nvPr/>
          </p:nvSpPr>
          <p:spPr>
            <a:xfrm>
              <a:off x="3979435" y="1976585"/>
              <a:ext cx="345265" cy="349848"/>
            </a:xfrm>
            <a:custGeom>
              <a:avLst/>
              <a:gdLst/>
              <a:ahLst/>
              <a:cxnLst/>
              <a:rect l="l" t="t" r="r" b="b"/>
              <a:pathLst>
                <a:path w="10848" h="10992" extrusionOk="0">
                  <a:moveTo>
                    <a:pt x="6632" y="322"/>
                  </a:moveTo>
                  <a:cubicBezTo>
                    <a:pt x="6859" y="322"/>
                    <a:pt x="7013" y="501"/>
                    <a:pt x="7013" y="715"/>
                  </a:cubicBezTo>
                  <a:cubicBezTo>
                    <a:pt x="7013" y="929"/>
                    <a:pt x="6835" y="1096"/>
                    <a:pt x="6632" y="1096"/>
                  </a:cubicBezTo>
                  <a:lnTo>
                    <a:pt x="4906" y="1096"/>
                  </a:lnTo>
                  <a:cubicBezTo>
                    <a:pt x="4680" y="1096"/>
                    <a:pt x="4513" y="918"/>
                    <a:pt x="4513" y="715"/>
                  </a:cubicBezTo>
                  <a:cubicBezTo>
                    <a:pt x="4513" y="489"/>
                    <a:pt x="4692" y="322"/>
                    <a:pt x="4906" y="322"/>
                  </a:cubicBezTo>
                  <a:close/>
                  <a:moveTo>
                    <a:pt x="5966" y="1429"/>
                  </a:moveTo>
                  <a:lnTo>
                    <a:pt x="5966" y="1965"/>
                  </a:lnTo>
                  <a:lnTo>
                    <a:pt x="5561" y="1965"/>
                  </a:lnTo>
                  <a:lnTo>
                    <a:pt x="5561" y="1429"/>
                  </a:lnTo>
                  <a:close/>
                  <a:moveTo>
                    <a:pt x="5775" y="2289"/>
                  </a:moveTo>
                  <a:cubicBezTo>
                    <a:pt x="6988" y="2289"/>
                    <a:pt x="8193" y="2825"/>
                    <a:pt x="9026" y="3835"/>
                  </a:cubicBezTo>
                  <a:cubicBezTo>
                    <a:pt x="10466" y="5620"/>
                    <a:pt x="10204" y="8276"/>
                    <a:pt x="8407" y="9728"/>
                  </a:cubicBezTo>
                  <a:cubicBezTo>
                    <a:pt x="7623" y="10362"/>
                    <a:pt x="6686" y="10670"/>
                    <a:pt x="5757" y="10670"/>
                  </a:cubicBezTo>
                  <a:cubicBezTo>
                    <a:pt x="4540" y="10670"/>
                    <a:pt x="3337" y="10141"/>
                    <a:pt x="2513" y="9121"/>
                  </a:cubicBezTo>
                  <a:cubicBezTo>
                    <a:pt x="429" y="6561"/>
                    <a:pt x="2001" y="2715"/>
                    <a:pt x="5251" y="2322"/>
                  </a:cubicBezTo>
                  <a:cubicBezTo>
                    <a:pt x="5425" y="2300"/>
                    <a:pt x="5601" y="2289"/>
                    <a:pt x="5775" y="2289"/>
                  </a:cubicBezTo>
                  <a:close/>
                  <a:moveTo>
                    <a:pt x="4906" y="1"/>
                  </a:moveTo>
                  <a:cubicBezTo>
                    <a:pt x="4501" y="1"/>
                    <a:pt x="4192" y="322"/>
                    <a:pt x="4192" y="715"/>
                  </a:cubicBezTo>
                  <a:cubicBezTo>
                    <a:pt x="4192" y="1108"/>
                    <a:pt x="4513" y="1429"/>
                    <a:pt x="4906" y="1429"/>
                  </a:cubicBezTo>
                  <a:lnTo>
                    <a:pt x="5239" y="1429"/>
                  </a:lnTo>
                  <a:lnTo>
                    <a:pt x="5239" y="1989"/>
                  </a:lnTo>
                  <a:cubicBezTo>
                    <a:pt x="1727" y="2394"/>
                    <a:pt x="1" y="6561"/>
                    <a:pt x="2263" y="9323"/>
                  </a:cubicBezTo>
                  <a:cubicBezTo>
                    <a:pt x="3160" y="10423"/>
                    <a:pt x="4463" y="10991"/>
                    <a:pt x="5774" y="10991"/>
                  </a:cubicBezTo>
                  <a:cubicBezTo>
                    <a:pt x="6777" y="10991"/>
                    <a:pt x="7785" y="10659"/>
                    <a:pt x="8621" y="9978"/>
                  </a:cubicBezTo>
                  <a:cubicBezTo>
                    <a:pt x="10550" y="8407"/>
                    <a:pt x="10847" y="5549"/>
                    <a:pt x="9264" y="3632"/>
                  </a:cubicBezTo>
                  <a:cubicBezTo>
                    <a:pt x="8490" y="2680"/>
                    <a:pt x="7406" y="2120"/>
                    <a:pt x="6287" y="1989"/>
                  </a:cubicBezTo>
                  <a:lnTo>
                    <a:pt x="6287" y="1429"/>
                  </a:lnTo>
                  <a:lnTo>
                    <a:pt x="6632" y="1429"/>
                  </a:lnTo>
                  <a:cubicBezTo>
                    <a:pt x="7037" y="1429"/>
                    <a:pt x="7347" y="1096"/>
                    <a:pt x="7347" y="715"/>
                  </a:cubicBezTo>
                  <a:cubicBezTo>
                    <a:pt x="7347" y="310"/>
                    <a:pt x="7013" y="1"/>
                    <a:pt x="6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5" name="Google Shape;10815;p60"/>
            <p:cNvSpPr/>
            <p:nvPr/>
          </p:nvSpPr>
          <p:spPr>
            <a:xfrm>
              <a:off x="4044236" y="2176685"/>
              <a:ext cx="144783" cy="123077"/>
            </a:xfrm>
            <a:custGeom>
              <a:avLst/>
              <a:gdLst/>
              <a:ahLst/>
              <a:cxnLst/>
              <a:rect l="l" t="t" r="r" b="b"/>
              <a:pathLst>
                <a:path w="4549" h="3867" extrusionOk="0">
                  <a:moveTo>
                    <a:pt x="203" y="0"/>
                  </a:moveTo>
                  <a:cubicBezTo>
                    <a:pt x="108" y="0"/>
                    <a:pt x="36" y="84"/>
                    <a:pt x="36" y="167"/>
                  </a:cubicBezTo>
                  <a:cubicBezTo>
                    <a:pt x="36" y="215"/>
                    <a:pt x="1" y="977"/>
                    <a:pt x="405" y="1822"/>
                  </a:cubicBezTo>
                  <a:cubicBezTo>
                    <a:pt x="667" y="2346"/>
                    <a:pt x="1048" y="2798"/>
                    <a:pt x="1525" y="3143"/>
                  </a:cubicBezTo>
                  <a:cubicBezTo>
                    <a:pt x="2186" y="3633"/>
                    <a:pt x="2944" y="3867"/>
                    <a:pt x="3694" y="3867"/>
                  </a:cubicBezTo>
                  <a:cubicBezTo>
                    <a:pt x="3929" y="3867"/>
                    <a:pt x="4164" y="3844"/>
                    <a:pt x="4394" y="3798"/>
                  </a:cubicBezTo>
                  <a:cubicBezTo>
                    <a:pt x="4489" y="3786"/>
                    <a:pt x="4549" y="3691"/>
                    <a:pt x="4537" y="3608"/>
                  </a:cubicBezTo>
                  <a:cubicBezTo>
                    <a:pt x="4526" y="3543"/>
                    <a:pt x="4446" y="3487"/>
                    <a:pt x="4368" y="3487"/>
                  </a:cubicBezTo>
                  <a:cubicBezTo>
                    <a:pt x="4361" y="3487"/>
                    <a:pt x="4354" y="3488"/>
                    <a:pt x="4346" y="3489"/>
                  </a:cubicBezTo>
                  <a:cubicBezTo>
                    <a:pt x="4139" y="3526"/>
                    <a:pt x="3932" y="3545"/>
                    <a:pt x="3725" y="3545"/>
                  </a:cubicBezTo>
                  <a:cubicBezTo>
                    <a:pt x="3018" y="3545"/>
                    <a:pt x="2326" y="3324"/>
                    <a:pt x="1727" y="2882"/>
                  </a:cubicBezTo>
                  <a:cubicBezTo>
                    <a:pt x="275" y="1810"/>
                    <a:pt x="370" y="167"/>
                    <a:pt x="370" y="167"/>
                  </a:cubicBezTo>
                  <a:cubicBezTo>
                    <a:pt x="370" y="84"/>
                    <a:pt x="298"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6" name="Google Shape;10816;p60"/>
            <p:cNvSpPr/>
            <p:nvPr/>
          </p:nvSpPr>
          <p:spPr>
            <a:xfrm>
              <a:off x="4046910" y="2065957"/>
              <a:ext cx="204269" cy="100893"/>
            </a:xfrm>
            <a:custGeom>
              <a:avLst/>
              <a:gdLst/>
              <a:ahLst/>
              <a:cxnLst/>
              <a:rect l="l" t="t" r="r" b="b"/>
              <a:pathLst>
                <a:path w="6418" h="3170" extrusionOk="0">
                  <a:moveTo>
                    <a:pt x="3655" y="1"/>
                  </a:moveTo>
                  <a:cubicBezTo>
                    <a:pt x="1971" y="1"/>
                    <a:pt x="367" y="1170"/>
                    <a:pt x="12" y="3003"/>
                  </a:cubicBezTo>
                  <a:cubicBezTo>
                    <a:pt x="0" y="3086"/>
                    <a:pt x="71" y="3170"/>
                    <a:pt x="179" y="3170"/>
                  </a:cubicBezTo>
                  <a:cubicBezTo>
                    <a:pt x="250" y="3170"/>
                    <a:pt x="333" y="3110"/>
                    <a:pt x="345" y="3039"/>
                  </a:cubicBezTo>
                  <a:cubicBezTo>
                    <a:pt x="667" y="1358"/>
                    <a:pt x="2122" y="299"/>
                    <a:pt x="3652" y="299"/>
                  </a:cubicBezTo>
                  <a:cubicBezTo>
                    <a:pt x="4332" y="299"/>
                    <a:pt x="5027" y="509"/>
                    <a:pt x="5644" y="967"/>
                  </a:cubicBezTo>
                  <a:cubicBezTo>
                    <a:pt x="5822" y="1098"/>
                    <a:pt x="5965" y="1241"/>
                    <a:pt x="6120" y="1396"/>
                  </a:cubicBezTo>
                  <a:cubicBezTo>
                    <a:pt x="6155" y="1431"/>
                    <a:pt x="6208" y="1454"/>
                    <a:pt x="6257" y="1454"/>
                  </a:cubicBezTo>
                  <a:cubicBezTo>
                    <a:pt x="6290" y="1454"/>
                    <a:pt x="6322" y="1443"/>
                    <a:pt x="6346" y="1419"/>
                  </a:cubicBezTo>
                  <a:cubicBezTo>
                    <a:pt x="6406" y="1360"/>
                    <a:pt x="6417" y="1253"/>
                    <a:pt x="6358" y="1193"/>
                  </a:cubicBezTo>
                  <a:cubicBezTo>
                    <a:pt x="6191" y="1027"/>
                    <a:pt x="6025" y="860"/>
                    <a:pt x="5834" y="729"/>
                  </a:cubicBezTo>
                  <a:cubicBezTo>
                    <a:pt x="5159" y="229"/>
                    <a:pt x="4399" y="1"/>
                    <a:pt x="3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7" name="Google Shape;10817;p60"/>
            <p:cNvSpPr/>
            <p:nvPr/>
          </p:nvSpPr>
          <p:spPr>
            <a:xfrm>
              <a:off x="4195735" y="2118027"/>
              <a:ext cx="84247" cy="174224"/>
            </a:xfrm>
            <a:custGeom>
              <a:avLst/>
              <a:gdLst/>
              <a:ahLst/>
              <a:cxnLst/>
              <a:rect l="l" t="t" r="r" b="b"/>
              <a:pathLst>
                <a:path w="2647" h="5474" extrusionOk="0">
                  <a:moveTo>
                    <a:pt x="1952" y="0"/>
                  </a:moveTo>
                  <a:cubicBezTo>
                    <a:pt x="1920" y="0"/>
                    <a:pt x="1888" y="11"/>
                    <a:pt x="1861" y="33"/>
                  </a:cubicBezTo>
                  <a:cubicBezTo>
                    <a:pt x="1789" y="81"/>
                    <a:pt x="1753" y="176"/>
                    <a:pt x="1813" y="260"/>
                  </a:cubicBezTo>
                  <a:cubicBezTo>
                    <a:pt x="2158" y="795"/>
                    <a:pt x="2325" y="1403"/>
                    <a:pt x="2325" y="2046"/>
                  </a:cubicBezTo>
                  <a:cubicBezTo>
                    <a:pt x="2325" y="3451"/>
                    <a:pt x="1432" y="4689"/>
                    <a:pt x="182" y="5165"/>
                  </a:cubicBezTo>
                  <a:cubicBezTo>
                    <a:pt x="1" y="5229"/>
                    <a:pt x="67" y="5474"/>
                    <a:pt x="237" y="5474"/>
                  </a:cubicBezTo>
                  <a:cubicBezTo>
                    <a:pt x="257" y="5474"/>
                    <a:pt x="278" y="5470"/>
                    <a:pt x="301" y="5463"/>
                  </a:cubicBezTo>
                  <a:cubicBezTo>
                    <a:pt x="1682" y="4927"/>
                    <a:pt x="2646" y="3593"/>
                    <a:pt x="2646" y="2022"/>
                  </a:cubicBezTo>
                  <a:cubicBezTo>
                    <a:pt x="2646" y="1343"/>
                    <a:pt x="2456" y="653"/>
                    <a:pt x="2087" y="81"/>
                  </a:cubicBezTo>
                  <a:cubicBezTo>
                    <a:pt x="2057" y="29"/>
                    <a:pt x="2004" y="0"/>
                    <a:pt x="19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8" name="Google Shape;10818;p60"/>
            <p:cNvSpPr/>
            <p:nvPr/>
          </p:nvSpPr>
          <p:spPr>
            <a:xfrm>
              <a:off x="4109037" y="2161153"/>
              <a:ext cx="81510" cy="55348"/>
            </a:xfrm>
            <a:custGeom>
              <a:avLst/>
              <a:gdLst/>
              <a:ahLst/>
              <a:cxnLst/>
              <a:rect l="l" t="t" r="r" b="b"/>
              <a:pathLst>
                <a:path w="2561" h="1739" extrusionOk="0">
                  <a:moveTo>
                    <a:pt x="1691" y="333"/>
                  </a:moveTo>
                  <a:cubicBezTo>
                    <a:pt x="1965" y="333"/>
                    <a:pt x="2144" y="655"/>
                    <a:pt x="1965" y="881"/>
                  </a:cubicBezTo>
                  <a:cubicBezTo>
                    <a:pt x="1900" y="968"/>
                    <a:pt x="1790" y="1020"/>
                    <a:pt x="1682" y="1020"/>
                  </a:cubicBezTo>
                  <a:cubicBezTo>
                    <a:pt x="1613" y="1020"/>
                    <a:pt x="1545" y="999"/>
                    <a:pt x="1489" y="953"/>
                  </a:cubicBezTo>
                  <a:cubicBezTo>
                    <a:pt x="1215" y="762"/>
                    <a:pt x="1370" y="333"/>
                    <a:pt x="1691" y="333"/>
                  </a:cubicBezTo>
                  <a:close/>
                  <a:moveTo>
                    <a:pt x="1691" y="0"/>
                  </a:moveTo>
                  <a:cubicBezTo>
                    <a:pt x="1584" y="0"/>
                    <a:pt x="1334" y="36"/>
                    <a:pt x="1156" y="274"/>
                  </a:cubicBezTo>
                  <a:cubicBezTo>
                    <a:pt x="1025" y="453"/>
                    <a:pt x="989" y="655"/>
                    <a:pt x="1048" y="845"/>
                  </a:cubicBezTo>
                  <a:lnTo>
                    <a:pt x="132" y="1441"/>
                  </a:lnTo>
                  <a:cubicBezTo>
                    <a:pt x="1" y="1536"/>
                    <a:pt x="60" y="1738"/>
                    <a:pt x="215" y="1738"/>
                  </a:cubicBezTo>
                  <a:cubicBezTo>
                    <a:pt x="310" y="1738"/>
                    <a:pt x="263" y="1726"/>
                    <a:pt x="1215" y="1131"/>
                  </a:cubicBezTo>
                  <a:cubicBezTo>
                    <a:pt x="1347" y="1275"/>
                    <a:pt x="1521" y="1344"/>
                    <a:pt x="1693" y="1344"/>
                  </a:cubicBezTo>
                  <a:cubicBezTo>
                    <a:pt x="1893" y="1344"/>
                    <a:pt x="2093" y="1251"/>
                    <a:pt x="2227" y="1072"/>
                  </a:cubicBezTo>
                  <a:cubicBezTo>
                    <a:pt x="2560" y="631"/>
                    <a:pt x="2251"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19" name="Google Shape;10819;p60"/>
            <p:cNvSpPr/>
            <p:nvPr/>
          </p:nvSpPr>
          <p:spPr>
            <a:xfrm>
              <a:off x="4157160" y="2083080"/>
              <a:ext cx="10662" cy="29218"/>
            </a:xfrm>
            <a:custGeom>
              <a:avLst/>
              <a:gdLst/>
              <a:ahLst/>
              <a:cxnLst/>
              <a:rect l="l" t="t" r="r" b="b"/>
              <a:pathLst>
                <a:path w="335" h="918" extrusionOk="0">
                  <a:moveTo>
                    <a:pt x="167" y="0"/>
                  </a:moveTo>
                  <a:cubicBezTo>
                    <a:pt x="72" y="0"/>
                    <a:pt x="1" y="72"/>
                    <a:pt x="1" y="167"/>
                  </a:cubicBezTo>
                  <a:lnTo>
                    <a:pt x="1" y="762"/>
                  </a:lnTo>
                  <a:cubicBezTo>
                    <a:pt x="1" y="846"/>
                    <a:pt x="72" y="917"/>
                    <a:pt x="167" y="917"/>
                  </a:cubicBezTo>
                  <a:cubicBezTo>
                    <a:pt x="275" y="917"/>
                    <a:pt x="334" y="846"/>
                    <a:pt x="334" y="762"/>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0" name="Google Shape;10820;p60"/>
            <p:cNvSpPr/>
            <p:nvPr/>
          </p:nvSpPr>
          <p:spPr>
            <a:xfrm>
              <a:off x="4109419" y="2096034"/>
              <a:ext cx="21261" cy="26862"/>
            </a:xfrm>
            <a:custGeom>
              <a:avLst/>
              <a:gdLst/>
              <a:ahLst/>
              <a:cxnLst/>
              <a:rect l="l" t="t" r="r" b="b"/>
              <a:pathLst>
                <a:path w="668" h="844" extrusionOk="0">
                  <a:moveTo>
                    <a:pt x="183" y="0"/>
                  </a:moveTo>
                  <a:cubicBezTo>
                    <a:pt x="156" y="0"/>
                    <a:pt x="130" y="7"/>
                    <a:pt x="108" y="22"/>
                  </a:cubicBezTo>
                  <a:cubicBezTo>
                    <a:pt x="36" y="70"/>
                    <a:pt x="1" y="177"/>
                    <a:pt x="48" y="248"/>
                  </a:cubicBezTo>
                  <a:lnTo>
                    <a:pt x="346" y="772"/>
                  </a:lnTo>
                  <a:cubicBezTo>
                    <a:pt x="393" y="808"/>
                    <a:pt x="429" y="844"/>
                    <a:pt x="489" y="844"/>
                  </a:cubicBezTo>
                  <a:cubicBezTo>
                    <a:pt x="524" y="844"/>
                    <a:pt x="548" y="844"/>
                    <a:pt x="572" y="832"/>
                  </a:cubicBezTo>
                  <a:cubicBezTo>
                    <a:pt x="643" y="784"/>
                    <a:pt x="667" y="677"/>
                    <a:pt x="632" y="605"/>
                  </a:cubicBezTo>
                  <a:lnTo>
                    <a:pt x="334" y="82"/>
                  </a:lnTo>
                  <a:cubicBezTo>
                    <a:pt x="301" y="33"/>
                    <a:pt x="241"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1" name="Google Shape;10821;p60"/>
            <p:cNvSpPr/>
            <p:nvPr/>
          </p:nvSpPr>
          <p:spPr>
            <a:xfrm>
              <a:off x="4074950" y="2130121"/>
              <a:ext cx="28454" cy="19669"/>
            </a:xfrm>
            <a:custGeom>
              <a:avLst/>
              <a:gdLst/>
              <a:ahLst/>
              <a:cxnLst/>
              <a:rect l="l" t="t" r="r" b="b"/>
              <a:pathLst>
                <a:path w="894" h="618" extrusionOk="0">
                  <a:moveTo>
                    <a:pt x="188" y="1"/>
                  </a:moveTo>
                  <a:cubicBezTo>
                    <a:pt x="130" y="1"/>
                    <a:pt x="72" y="33"/>
                    <a:pt x="48" y="82"/>
                  </a:cubicBezTo>
                  <a:cubicBezTo>
                    <a:pt x="0" y="154"/>
                    <a:pt x="24" y="261"/>
                    <a:pt x="107" y="308"/>
                  </a:cubicBezTo>
                  <a:lnTo>
                    <a:pt x="619" y="606"/>
                  </a:lnTo>
                  <a:cubicBezTo>
                    <a:pt x="655" y="618"/>
                    <a:pt x="679" y="618"/>
                    <a:pt x="703" y="618"/>
                  </a:cubicBezTo>
                  <a:cubicBezTo>
                    <a:pt x="762" y="618"/>
                    <a:pt x="798" y="594"/>
                    <a:pt x="834" y="546"/>
                  </a:cubicBezTo>
                  <a:cubicBezTo>
                    <a:pt x="893" y="475"/>
                    <a:pt x="881" y="368"/>
                    <a:pt x="786" y="320"/>
                  </a:cubicBezTo>
                  <a:lnTo>
                    <a:pt x="262" y="23"/>
                  </a:ln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2" name="Google Shape;10822;p60"/>
            <p:cNvSpPr/>
            <p:nvPr/>
          </p:nvSpPr>
          <p:spPr>
            <a:xfrm>
              <a:off x="4063555" y="2177067"/>
              <a:ext cx="29218" cy="10630"/>
            </a:xfrm>
            <a:custGeom>
              <a:avLst/>
              <a:gdLst/>
              <a:ahLst/>
              <a:cxnLst/>
              <a:rect l="l" t="t" r="r" b="b"/>
              <a:pathLst>
                <a:path w="918" h="334" extrusionOk="0">
                  <a:moveTo>
                    <a:pt x="168" y="0"/>
                  </a:moveTo>
                  <a:cubicBezTo>
                    <a:pt x="72" y="0"/>
                    <a:pt x="1" y="83"/>
                    <a:pt x="1" y="167"/>
                  </a:cubicBezTo>
                  <a:cubicBezTo>
                    <a:pt x="1" y="262"/>
                    <a:pt x="72" y="334"/>
                    <a:pt x="168" y="334"/>
                  </a:cubicBezTo>
                  <a:lnTo>
                    <a:pt x="763" y="334"/>
                  </a:lnTo>
                  <a:cubicBezTo>
                    <a:pt x="846" y="334"/>
                    <a:pt x="918" y="262"/>
                    <a:pt x="918" y="167"/>
                  </a:cubicBezTo>
                  <a:cubicBezTo>
                    <a:pt x="918"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3" name="Google Shape;10823;p60"/>
            <p:cNvSpPr/>
            <p:nvPr/>
          </p:nvSpPr>
          <p:spPr>
            <a:xfrm>
              <a:off x="4073804" y="2215005"/>
              <a:ext cx="29600" cy="20051"/>
            </a:xfrm>
            <a:custGeom>
              <a:avLst/>
              <a:gdLst/>
              <a:ahLst/>
              <a:cxnLst/>
              <a:rect l="l" t="t" r="r" b="b"/>
              <a:pathLst>
                <a:path w="930" h="630" extrusionOk="0">
                  <a:moveTo>
                    <a:pt x="735" y="1"/>
                  </a:moveTo>
                  <a:cubicBezTo>
                    <a:pt x="709" y="1"/>
                    <a:pt x="681" y="8"/>
                    <a:pt x="655" y="23"/>
                  </a:cubicBezTo>
                  <a:lnTo>
                    <a:pt x="143" y="320"/>
                  </a:lnTo>
                  <a:cubicBezTo>
                    <a:pt x="0" y="404"/>
                    <a:pt x="60" y="630"/>
                    <a:pt x="227" y="630"/>
                  </a:cubicBezTo>
                  <a:cubicBezTo>
                    <a:pt x="298" y="630"/>
                    <a:pt x="298" y="606"/>
                    <a:pt x="822" y="308"/>
                  </a:cubicBezTo>
                  <a:cubicBezTo>
                    <a:pt x="893" y="261"/>
                    <a:pt x="929" y="154"/>
                    <a:pt x="881" y="82"/>
                  </a:cubicBezTo>
                  <a:cubicBezTo>
                    <a:pt x="849" y="33"/>
                    <a:pt x="794" y="1"/>
                    <a:pt x="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4" name="Google Shape;10824;p60"/>
            <p:cNvSpPr/>
            <p:nvPr/>
          </p:nvSpPr>
          <p:spPr>
            <a:xfrm>
              <a:off x="4109419" y="2242472"/>
              <a:ext cx="21261" cy="26703"/>
            </a:xfrm>
            <a:custGeom>
              <a:avLst/>
              <a:gdLst/>
              <a:ahLst/>
              <a:cxnLst/>
              <a:rect l="l" t="t" r="r" b="b"/>
              <a:pathLst>
                <a:path w="668" h="839" extrusionOk="0">
                  <a:moveTo>
                    <a:pt x="496" y="0"/>
                  </a:moveTo>
                  <a:cubicBezTo>
                    <a:pt x="441" y="0"/>
                    <a:pt x="391" y="27"/>
                    <a:pt x="358" y="76"/>
                  </a:cubicBezTo>
                  <a:lnTo>
                    <a:pt x="60" y="600"/>
                  </a:lnTo>
                  <a:cubicBezTo>
                    <a:pt x="1" y="707"/>
                    <a:pt x="72" y="838"/>
                    <a:pt x="191" y="838"/>
                  </a:cubicBezTo>
                  <a:cubicBezTo>
                    <a:pt x="251" y="838"/>
                    <a:pt x="298" y="815"/>
                    <a:pt x="334" y="767"/>
                  </a:cubicBezTo>
                  <a:lnTo>
                    <a:pt x="632" y="243"/>
                  </a:lnTo>
                  <a:cubicBezTo>
                    <a:pt x="667" y="172"/>
                    <a:pt x="643" y="64"/>
                    <a:pt x="572" y="17"/>
                  </a:cubicBezTo>
                  <a:cubicBezTo>
                    <a:pt x="546" y="6"/>
                    <a:pt x="520" y="0"/>
                    <a:pt x="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5" name="Google Shape;10825;p60"/>
            <p:cNvSpPr/>
            <p:nvPr/>
          </p:nvSpPr>
          <p:spPr>
            <a:xfrm>
              <a:off x="4157924" y="2252466"/>
              <a:ext cx="10248" cy="29600"/>
            </a:xfrm>
            <a:custGeom>
              <a:avLst/>
              <a:gdLst/>
              <a:ahLst/>
              <a:cxnLst/>
              <a:rect l="l" t="t" r="r" b="b"/>
              <a:pathLst>
                <a:path w="322" h="930" extrusionOk="0">
                  <a:moveTo>
                    <a:pt x="155" y="0"/>
                  </a:moveTo>
                  <a:cubicBezTo>
                    <a:pt x="72" y="0"/>
                    <a:pt x="1" y="84"/>
                    <a:pt x="1" y="167"/>
                  </a:cubicBezTo>
                  <a:lnTo>
                    <a:pt x="1" y="762"/>
                  </a:lnTo>
                  <a:cubicBezTo>
                    <a:pt x="1" y="858"/>
                    <a:pt x="72" y="929"/>
                    <a:pt x="155" y="929"/>
                  </a:cubicBezTo>
                  <a:cubicBezTo>
                    <a:pt x="251" y="929"/>
                    <a:pt x="322" y="858"/>
                    <a:pt x="322" y="762"/>
                  </a:cubicBezTo>
                  <a:lnTo>
                    <a:pt x="322" y="167"/>
                  </a:lnTo>
                  <a:cubicBezTo>
                    <a:pt x="322" y="84"/>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6" name="Google Shape;10826;p60"/>
            <p:cNvSpPr/>
            <p:nvPr/>
          </p:nvSpPr>
          <p:spPr>
            <a:xfrm>
              <a:off x="4194685" y="2242472"/>
              <a:ext cx="21261" cy="27022"/>
            </a:xfrm>
            <a:custGeom>
              <a:avLst/>
              <a:gdLst/>
              <a:ahLst/>
              <a:cxnLst/>
              <a:rect l="l" t="t" r="r" b="b"/>
              <a:pathLst>
                <a:path w="668" h="849" extrusionOk="0">
                  <a:moveTo>
                    <a:pt x="181" y="0"/>
                  </a:moveTo>
                  <a:cubicBezTo>
                    <a:pt x="155" y="0"/>
                    <a:pt x="130" y="6"/>
                    <a:pt x="108" y="17"/>
                  </a:cubicBezTo>
                  <a:cubicBezTo>
                    <a:pt x="36" y="64"/>
                    <a:pt x="0" y="172"/>
                    <a:pt x="48" y="243"/>
                  </a:cubicBezTo>
                  <a:lnTo>
                    <a:pt x="346" y="767"/>
                  </a:lnTo>
                  <a:cubicBezTo>
                    <a:pt x="378" y="816"/>
                    <a:pt x="428" y="848"/>
                    <a:pt x="487" y="848"/>
                  </a:cubicBezTo>
                  <a:cubicBezTo>
                    <a:pt x="513" y="848"/>
                    <a:pt x="542" y="841"/>
                    <a:pt x="572" y="826"/>
                  </a:cubicBezTo>
                  <a:cubicBezTo>
                    <a:pt x="643" y="779"/>
                    <a:pt x="667" y="672"/>
                    <a:pt x="631" y="600"/>
                  </a:cubicBezTo>
                  <a:lnTo>
                    <a:pt x="334" y="76"/>
                  </a:lnTo>
                  <a:cubicBezTo>
                    <a:pt x="301" y="27"/>
                    <a:pt x="24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7" name="Google Shape;10827;p60"/>
            <p:cNvSpPr/>
            <p:nvPr/>
          </p:nvSpPr>
          <p:spPr>
            <a:xfrm>
              <a:off x="4222343" y="2215387"/>
              <a:ext cx="27690" cy="19669"/>
            </a:xfrm>
            <a:custGeom>
              <a:avLst/>
              <a:gdLst/>
              <a:ahLst/>
              <a:cxnLst/>
              <a:rect l="l" t="t" r="r" b="b"/>
              <a:pathLst>
                <a:path w="870" h="618" extrusionOk="0">
                  <a:moveTo>
                    <a:pt x="176" y="1"/>
                  </a:moveTo>
                  <a:cubicBezTo>
                    <a:pt x="118" y="1"/>
                    <a:pt x="57" y="33"/>
                    <a:pt x="24" y="82"/>
                  </a:cubicBezTo>
                  <a:cubicBezTo>
                    <a:pt x="1" y="142"/>
                    <a:pt x="13" y="249"/>
                    <a:pt x="96" y="296"/>
                  </a:cubicBezTo>
                  <a:cubicBezTo>
                    <a:pt x="632" y="594"/>
                    <a:pt x="620" y="618"/>
                    <a:pt x="691" y="618"/>
                  </a:cubicBezTo>
                  <a:cubicBezTo>
                    <a:pt x="751" y="618"/>
                    <a:pt x="798" y="594"/>
                    <a:pt x="834" y="546"/>
                  </a:cubicBezTo>
                  <a:cubicBezTo>
                    <a:pt x="870" y="475"/>
                    <a:pt x="846" y="368"/>
                    <a:pt x="775" y="320"/>
                  </a:cubicBezTo>
                  <a:lnTo>
                    <a:pt x="251" y="22"/>
                  </a:lnTo>
                  <a:cubicBezTo>
                    <a:pt x="228" y="8"/>
                    <a:pt x="202"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8" name="Google Shape;10828;p60"/>
            <p:cNvSpPr/>
            <p:nvPr/>
          </p:nvSpPr>
          <p:spPr>
            <a:xfrm>
              <a:off x="4232941" y="2177067"/>
              <a:ext cx="29600" cy="10630"/>
            </a:xfrm>
            <a:custGeom>
              <a:avLst/>
              <a:gdLst/>
              <a:ahLst/>
              <a:cxnLst/>
              <a:rect l="l" t="t" r="r" b="b"/>
              <a:pathLst>
                <a:path w="930" h="334" extrusionOk="0">
                  <a:moveTo>
                    <a:pt x="168" y="0"/>
                  </a:moveTo>
                  <a:cubicBezTo>
                    <a:pt x="72" y="0"/>
                    <a:pt x="1" y="83"/>
                    <a:pt x="1" y="167"/>
                  </a:cubicBezTo>
                  <a:cubicBezTo>
                    <a:pt x="1" y="262"/>
                    <a:pt x="72" y="334"/>
                    <a:pt x="168" y="334"/>
                  </a:cubicBezTo>
                  <a:lnTo>
                    <a:pt x="763" y="334"/>
                  </a:lnTo>
                  <a:cubicBezTo>
                    <a:pt x="858" y="334"/>
                    <a:pt x="930" y="262"/>
                    <a:pt x="930" y="167"/>
                  </a:cubicBezTo>
                  <a:cubicBezTo>
                    <a:pt x="930" y="83"/>
                    <a:pt x="85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29" name="Google Shape;10829;p60"/>
            <p:cNvSpPr/>
            <p:nvPr/>
          </p:nvSpPr>
          <p:spPr>
            <a:xfrm>
              <a:off x="4221579" y="2130694"/>
              <a:ext cx="28454" cy="19478"/>
            </a:xfrm>
            <a:custGeom>
              <a:avLst/>
              <a:gdLst/>
              <a:ahLst/>
              <a:cxnLst/>
              <a:rect l="l" t="t" r="r" b="b"/>
              <a:pathLst>
                <a:path w="894" h="612" extrusionOk="0">
                  <a:moveTo>
                    <a:pt x="706" y="0"/>
                  </a:moveTo>
                  <a:cubicBezTo>
                    <a:pt x="679" y="0"/>
                    <a:pt x="654" y="5"/>
                    <a:pt x="632" y="16"/>
                  </a:cubicBezTo>
                  <a:lnTo>
                    <a:pt x="108" y="314"/>
                  </a:lnTo>
                  <a:cubicBezTo>
                    <a:pt x="37" y="362"/>
                    <a:pt x="1" y="469"/>
                    <a:pt x="48" y="540"/>
                  </a:cubicBezTo>
                  <a:cubicBezTo>
                    <a:pt x="96" y="588"/>
                    <a:pt x="144" y="612"/>
                    <a:pt x="203" y="612"/>
                  </a:cubicBezTo>
                  <a:cubicBezTo>
                    <a:pt x="227" y="612"/>
                    <a:pt x="263" y="612"/>
                    <a:pt x="275" y="600"/>
                  </a:cubicBezTo>
                  <a:lnTo>
                    <a:pt x="799" y="302"/>
                  </a:lnTo>
                  <a:cubicBezTo>
                    <a:pt x="870" y="255"/>
                    <a:pt x="894" y="159"/>
                    <a:pt x="858" y="76"/>
                  </a:cubicBezTo>
                  <a:cubicBezTo>
                    <a:pt x="825" y="27"/>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0" name="Google Shape;10830;p60"/>
            <p:cNvSpPr/>
            <p:nvPr/>
          </p:nvSpPr>
          <p:spPr>
            <a:xfrm>
              <a:off x="4194685" y="2095652"/>
              <a:ext cx="20879" cy="26862"/>
            </a:xfrm>
            <a:custGeom>
              <a:avLst/>
              <a:gdLst/>
              <a:ahLst/>
              <a:cxnLst/>
              <a:rect l="l" t="t" r="r" b="b"/>
              <a:pathLst>
                <a:path w="656" h="844" extrusionOk="0">
                  <a:moveTo>
                    <a:pt x="479" y="0"/>
                  </a:moveTo>
                  <a:cubicBezTo>
                    <a:pt x="428" y="0"/>
                    <a:pt x="378" y="33"/>
                    <a:pt x="346" y="82"/>
                  </a:cubicBezTo>
                  <a:lnTo>
                    <a:pt x="48" y="606"/>
                  </a:lnTo>
                  <a:cubicBezTo>
                    <a:pt x="0" y="677"/>
                    <a:pt x="36" y="784"/>
                    <a:pt x="108" y="820"/>
                  </a:cubicBezTo>
                  <a:cubicBezTo>
                    <a:pt x="131" y="844"/>
                    <a:pt x="167" y="844"/>
                    <a:pt x="179" y="844"/>
                  </a:cubicBezTo>
                  <a:cubicBezTo>
                    <a:pt x="239" y="844"/>
                    <a:pt x="286" y="808"/>
                    <a:pt x="310" y="760"/>
                  </a:cubicBezTo>
                  <a:lnTo>
                    <a:pt x="608" y="248"/>
                  </a:lnTo>
                  <a:cubicBezTo>
                    <a:pt x="655" y="165"/>
                    <a:pt x="631" y="70"/>
                    <a:pt x="548" y="22"/>
                  </a:cubicBezTo>
                  <a:cubicBezTo>
                    <a:pt x="526" y="7"/>
                    <a:pt x="502" y="0"/>
                    <a:pt x="4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1" name="Google Shape;10831;p60"/>
          <p:cNvGrpSpPr/>
          <p:nvPr/>
        </p:nvGrpSpPr>
        <p:grpSpPr>
          <a:xfrm>
            <a:off x="3576626" y="1975821"/>
            <a:ext cx="284251" cy="351694"/>
            <a:chOff x="3576626" y="1975821"/>
            <a:chExt cx="284251" cy="351694"/>
          </a:xfrm>
        </p:grpSpPr>
        <p:sp>
          <p:nvSpPr>
            <p:cNvPr id="10832" name="Google Shape;10832;p60"/>
            <p:cNvSpPr/>
            <p:nvPr/>
          </p:nvSpPr>
          <p:spPr>
            <a:xfrm>
              <a:off x="3576626" y="2145971"/>
              <a:ext cx="284251" cy="181544"/>
            </a:xfrm>
            <a:custGeom>
              <a:avLst/>
              <a:gdLst/>
              <a:ahLst/>
              <a:cxnLst/>
              <a:rect l="l" t="t" r="r" b="b"/>
              <a:pathLst>
                <a:path w="8931" h="5704" extrusionOk="0">
                  <a:moveTo>
                    <a:pt x="3001" y="346"/>
                  </a:moveTo>
                  <a:cubicBezTo>
                    <a:pt x="3096" y="346"/>
                    <a:pt x="3179" y="370"/>
                    <a:pt x="3263" y="453"/>
                  </a:cubicBezTo>
                  <a:cubicBezTo>
                    <a:pt x="3334" y="525"/>
                    <a:pt x="3358" y="608"/>
                    <a:pt x="3358" y="703"/>
                  </a:cubicBezTo>
                  <a:lnTo>
                    <a:pt x="3358" y="1132"/>
                  </a:lnTo>
                  <a:cubicBezTo>
                    <a:pt x="3358" y="1311"/>
                    <a:pt x="3263" y="1477"/>
                    <a:pt x="3096" y="1584"/>
                  </a:cubicBezTo>
                  <a:cubicBezTo>
                    <a:pt x="3048" y="1608"/>
                    <a:pt x="3025" y="1656"/>
                    <a:pt x="3025" y="1715"/>
                  </a:cubicBezTo>
                  <a:lnTo>
                    <a:pt x="3025" y="1894"/>
                  </a:lnTo>
                  <a:lnTo>
                    <a:pt x="2644" y="1894"/>
                  </a:lnTo>
                  <a:lnTo>
                    <a:pt x="2644" y="1715"/>
                  </a:lnTo>
                  <a:cubicBezTo>
                    <a:pt x="2644" y="1656"/>
                    <a:pt x="2620" y="1608"/>
                    <a:pt x="2572" y="1584"/>
                  </a:cubicBezTo>
                  <a:cubicBezTo>
                    <a:pt x="2405" y="1489"/>
                    <a:pt x="2310" y="1311"/>
                    <a:pt x="2310" y="1132"/>
                  </a:cubicBezTo>
                  <a:lnTo>
                    <a:pt x="2310" y="703"/>
                  </a:lnTo>
                  <a:cubicBezTo>
                    <a:pt x="2310" y="513"/>
                    <a:pt x="2465" y="346"/>
                    <a:pt x="2667" y="346"/>
                  </a:cubicBezTo>
                  <a:close/>
                  <a:moveTo>
                    <a:pt x="6096" y="346"/>
                  </a:moveTo>
                  <a:cubicBezTo>
                    <a:pt x="6192" y="346"/>
                    <a:pt x="6275" y="370"/>
                    <a:pt x="6358" y="453"/>
                  </a:cubicBezTo>
                  <a:cubicBezTo>
                    <a:pt x="6430" y="525"/>
                    <a:pt x="6454" y="608"/>
                    <a:pt x="6454" y="703"/>
                  </a:cubicBezTo>
                  <a:lnTo>
                    <a:pt x="6454" y="1132"/>
                  </a:lnTo>
                  <a:cubicBezTo>
                    <a:pt x="6454" y="1311"/>
                    <a:pt x="6370" y="1477"/>
                    <a:pt x="6192" y="1584"/>
                  </a:cubicBezTo>
                  <a:cubicBezTo>
                    <a:pt x="6144" y="1608"/>
                    <a:pt x="6120" y="1656"/>
                    <a:pt x="6120" y="1715"/>
                  </a:cubicBezTo>
                  <a:lnTo>
                    <a:pt x="6120" y="1894"/>
                  </a:lnTo>
                  <a:lnTo>
                    <a:pt x="5739" y="1894"/>
                  </a:lnTo>
                  <a:lnTo>
                    <a:pt x="5739" y="1715"/>
                  </a:lnTo>
                  <a:cubicBezTo>
                    <a:pt x="5739" y="1656"/>
                    <a:pt x="5715" y="1608"/>
                    <a:pt x="5668" y="1584"/>
                  </a:cubicBezTo>
                  <a:cubicBezTo>
                    <a:pt x="5501" y="1489"/>
                    <a:pt x="5406" y="1311"/>
                    <a:pt x="5406" y="1132"/>
                  </a:cubicBezTo>
                  <a:lnTo>
                    <a:pt x="5406" y="703"/>
                  </a:lnTo>
                  <a:cubicBezTo>
                    <a:pt x="5406" y="513"/>
                    <a:pt x="5561" y="346"/>
                    <a:pt x="5763" y="346"/>
                  </a:cubicBezTo>
                  <a:close/>
                  <a:moveTo>
                    <a:pt x="1453" y="2061"/>
                  </a:moveTo>
                  <a:cubicBezTo>
                    <a:pt x="1548" y="2061"/>
                    <a:pt x="1632" y="2084"/>
                    <a:pt x="1715" y="2156"/>
                  </a:cubicBezTo>
                  <a:cubicBezTo>
                    <a:pt x="1786" y="2239"/>
                    <a:pt x="1810" y="2323"/>
                    <a:pt x="1810" y="2418"/>
                  </a:cubicBezTo>
                  <a:lnTo>
                    <a:pt x="1810" y="2846"/>
                  </a:lnTo>
                  <a:cubicBezTo>
                    <a:pt x="1810" y="3037"/>
                    <a:pt x="1715" y="3204"/>
                    <a:pt x="1548" y="3287"/>
                  </a:cubicBezTo>
                  <a:cubicBezTo>
                    <a:pt x="1501" y="3323"/>
                    <a:pt x="1477" y="3370"/>
                    <a:pt x="1477" y="3430"/>
                  </a:cubicBezTo>
                  <a:lnTo>
                    <a:pt x="1477" y="3608"/>
                  </a:lnTo>
                  <a:lnTo>
                    <a:pt x="1096" y="3608"/>
                  </a:lnTo>
                  <a:lnTo>
                    <a:pt x="1096" y="3430"/>
                  </a:lnTo>
                  <a:cubicBezTo>
                    <a:pt x="1096" y="3370"/>
                    <a:pt x="1072" y="3323"/>
                    <a:pt x="1024" y="3287"/>
                  </a:cubicBezTo>
                  <a:cubicBezTo>
                    <a:pt x="858" y="3204"/>
                    <a:pt x="762" y="3025"/>
                    <a:pt x="762" y="2846"/>
                  </a:cubicBezTo>
                  <a:lnTo>
                    <a:pt x="762" y="2418"/>
                  </a:lnTo>
                  <a:cubicBezTo>
                    <a:pt x="762" y="2215"/>
                    <a:pt x="917" y="2061"/>
                    <a:pt x="1120" y="2061"/>
                  </a:cubicBezTo>
                  <a:close/>
                  <a:moveTo>
                    <a:pt x="4549" y="2061"/>
                  </a:moveTo>
                  <a:cubicBezTo>
                    <a:pt x="4644" y="2061"/>
                    <a:pt x="4727" y="2084"/>
                    <a:pt x="4810" y="2156"/>
                  </a:cubicBezTo>
                  <a:cubicBezTo>
                    <a:pt x="4882" y="2239"/>
                    <a:pt x="4906" y="2323"/>
                    <a:pt x="4906" y="2418"/>
                  </a:cubicBezTo>
                  <a:lnTo>
                    <a:pt x="4906" y="2846"/>
                  </a:lnTo>
                  <a:cubicBezTo>
                    <a:pt x="4906" y="3025"/>
                    <a:pt x="4810" y="3204"/>
                    <a:pt x="4644" y="3287"/>
                  </a:cubicBezTo>
                  <a:cubicBezTo>
                    <a:pt x="4596" y="3323"/>
                    <a:pt x="4572" y="3370"/>
                    <a:pt x="4572" y="3430"/>
                  </a:cubicBezTo>
                  <a:lnTo>
                    <a:pt x="4572" y="3608"/>
                  </a:lnTo>
                  <a:lnTo>
                    <a:pt x="4191" y="3608"/>
                  </a:lnTo>
                  <a:lnTo>
                    <a:pt x="4191" y="3430"/>
                  </a:lnTo>
                  <a:cubicBezTo>
                    <a:pt x="4191" y="3370"/>
                    <a:pt x="4168" y="3323"/>
                    <a:pt x="4120" y="3287"/>
                  </a:cubicBezTo>
                  <a:cubicBezTo>
                    <a:pt x="3953" y="3204"/>
                    <a:pt x="3858" y="3025"/>
                    <a:pt x="3858" y="2846"/>
                  </a:cubicBezTo>
                  <a:lnTo>
                    <a:pt x="3858" y="2418"/>
                  </a:lnTo>
                  <a:cubicBezTo>
                    <a:pt x="3858" y="2215"/>
                    <a:pt x="4013" y="2061"/>
                    <a:pt x="4215" y="2061"/>
                  </a:cubicBezTo>
                  <a:close/>
                  <a:moveTo>
                    <a:pt x="7668" y="2061"/>
                  </a:moveTo>
                  <a:cubicBezTo>
                    <a:pt x="7751" y="2061"/>
                    <a:pt x="7847" y="2084"/>
                    <a:pt x="7918" y="2156"/>
                  </a:cubicBezTo>
                  <a:cubicBezTo>
                    <a:pt x="7989" y="2239"/>
                    <a:pt x="8025" y="2323"/>
                    <a:pt x="8025" y="2418"/>
                  </a:cubicBezTo>
                  <a:lnTo>
                    <a:pt x="8025" y="2846"/>
                  </a:lnTo>
                  <a:cubicBezTo>
                    <a:pt x="8001" y="3025"/>
                    <a:pt x="7918" y="3204"/>
                    <a:pt x="7751" y="3287"/>
                  </a:cubicBezTo>
                  <a:cubicBezTo>
                    <a:pt x="7704" y="3323"/>
                    <a:pt x="7680" y="3370"/>
                    <a:pt x="7680" y="3430"/>
                  </a:cubicBezTo>
                  <a:lnTo>
                    <a:pt x="7680" y="3608"/>
                  </a:lnTo>
                  <a:lnTo>
                    <a:pt x="7311" y="3608"/>
                  </a:lnTo>
                  <a:lnTo>
                    <a:pt x="7311" y="3430"/>
                  </a:lnTo>
                  <a:cubicBezTo>
                    <a:pt x="7311" y="3370"/>
                    <a:pt x="7275" y="3323"/>
                    <a:pt x="7227" y="3287"/>
                  </a:cubicBezTo>
                  <a:cubicBezTo>
                    <a:pt x="7073" y="3204"/>
                    <a:pt x="6966" y="3025"/>
                    <a:pt x="6966" y="2846"/>
                  </a:cubicBezTo>
                  <a:lnTo>
                    <a:pt x="6966" y="2418"/>
                  </a:lnTo>
                  <a:cubicBezTo>
                    <a:pt x="6966" y="2215"/>
                    <a:pt x="7132" y="2061"/>
                    <a:pt x="7323" y="2061"/>
                  </a:cubicBezTo>
                  <a:close/>
                  <a:moveTo>
                    <a:pt x="5787" y="1"/>
                  </a:moveTo>
                  <a:cubicBezTo>
                    <a:pt x="5418" y="1"/>
                    <a:pt x="5120" y="310"/>
                    <a:pt x="5120" y="691"/>
                  </a:cubicBezTo>
                  <a:lnTo>
                    <a:pt x="5120" y="1120"/>
                  </a:lnTo>
                  <a:cubicBezTo>
                    <a:pt x="5120" y="1382"/>
                    <a:pt x="5251" y="1644"/>
                    <a:pt x="5465" y="1799"/>
                  </a:cubicBezTo>
                  <a:lnTo>
                    <a:pt x="5465" y="1953"/>
                  </a:lnTo>
                  <a:lnTo>
                    <a:pt x="5180" y="2073"/>
                  </a:lnTo>
                  <a:cubicBezTo>
                    <a:pt x="5144" y="2025"/>
                    <a:pt x="5120" y="1977"/>
                    <a:pt x="5072" y="1942"/>
                  </a:cubicBezTo>
                  <a:cubicBezTo>
                    <a:pt x="4941" y="1799"/>
                    <a:pt x="4775" y="1739"/>
                    <a:pt x="4596" y="1739"/>
                  </a:cubicBezTo>
                  <a:lnTo>
                    <a:pt x="4251" y="1739"/>
                  </a:lnTo>
                  <a:cubicBezTo>
                    <a:pt x="4001" y="1739"/>
                    <a:pt x="3798" y="1882"/>
                    <a:pt x="3679" y="2073"/>
                  </a:cubicBezTo>
                  <a:lnTo>
                    <a:pt x="3394" y="1953"/>
                  </a:lnTo>
                  <a:lnTo>
                    <a:pt x="3394" y="1799"/>
                  </a:lnTo>
                  <a:cubicBezTo>
                    <a:pt x="3596" y="1644"/>
                    <a:pt x="3739" y="1382"/>
                    <a:pt x="3739" y="1120"/>
                  </a:cubicBezTo>
                  <a:lnTo>
                    <a:pt x="3739" y="691"/>
                  </a:lnTo>
                  <a:cubicBezTo>
                    <a:pt x="3739" y="513"/>
                    <a:pt x="3656" y="334"/>
                    <a:pt x="3537" y="215"/>
                  </a:cubicBezTo>
                  <a:cubicBezTo>
                    <a:pt x="3406" y="72"/>
                    <a:pt x="3239" y="13"/>
                    <a:pt x="3060" y="13"/>
                  </a:cubicBezTo>
                  <a:lnTo>
                    <a:pt x="2727" y="13"/>
                  </a:lnTo>
                  <a:cubicBezTo>
                    <a:pt x="2346" y="13"/>
                    <a:pt x="2048" y="334"/>
                    <a:pt x="2048" y="703"/>
                  </a:cubicBezTo>
                  <a:lnTo>
                    <a:pt x="2048" y="1132"/>
                  </a:lnTo>
                  <a:cubicBezTo>
                    <a:pt x="2048" y="1406"/>
                    <a:pt x="2191" y="1656"/>
                    <a:pt x="2394" y="1822"/>
                  </a:cubicBezTo>
                  <a:lnTo>
                    <a:pt x="2394" y="1965"/>
                  </a:lnTo>
                  <a:lnTo>
                    <a:pt x="2108" y="2084"/>
                  </a:lnTo>
                  <a:cubicBezTo>
                    <a:pt x="2084" y="2037"/>
                    <a:pt x="2048" y="2001"/>
                    <a:pt x="2013" y="1953"/>
                  </a:cubicBezTo>
                  <a:cubicBezTo>
                    <a:pt x="1870" y="1822"/>
                    <a:pt x="1715" y="1763"/>
                    <a:pt x="1536" y="1763"/>
                  </a:cubicBezTo>
                  <a:lnTo>
                    <a:pt x="1191" y="1763"/>
                  </a:lnTo>
                  <a:cubicBezTo>
                    <a:pt x="822" y="1763"/>
                    <a:pt x="524" y="2073"/>
                    <a:pt x="524" y="2442"/>
                  </a:cubicBezTo>
                  <a:lnTo>
                    <a:pt x="524" y="2870"/>
                  </a:lnTo>
                  <a:cubicBezTo>
                    <a:pt x="524" y="3144"/>
                    <a:pt x="655" y="3394"/>
                    <a:pt x="858" y="3561"/>
                  </a:cubicBezTo>
                  <a:lnTo>
                    <a:pt x="858" y="3704"/>
                  </a:lnTo>
                  <a:lnTo>
                    <a:pt x="429" y="3882"/>
                  </a:lnTo>
                  <a:cubicBezTo>
                    <a:pt x="179" y="3989"/>
                    <a:pt x="0" y="4239"/>
                    <a:pt x="0" y="4513"/>
                  </a:cubicBezTo>
                  <a:lnTo>
                    <a:pt x="0" y="5537"/>
                  </a:lnTo>
                  <a:cubicBezTo>
                    <a:pt x="0" y="5632"/>
                    <a:pt x="72" y="5704"/>
                    <a:pt x="167" y="5704"/>
                  </a:cubicBezTo>
                  <a:cubicBezTo>
                    <a:pt x="250" y="5704"/>
                    <a:pt x="322" y="5632"/>
                    <a:pt x="322" y="5537"/>
                  </a:cubicBezTo>
                  <a:lnTo>
                    <a:pt x="322" y="4513"/>
                  </a:lnTo>
                  <a:cubicBezTo>
                    <a:pt x="322" y="4358"/>
                    <a:pt x="417" y="4228"/>
                    <a:pt x="548" y="4180"/>
                  </a:cubicBezTo>
                  <a:lnTo>
                    <a:pt x="1060" y="3977"/>
                  </a:lnTo>
                  <a:lnTo>
                    <a:pt x="1679" y="3977"/>
                  </a:lnTo>
                  <a:lnTo>
                    <a:pt x="2191" y="4180"/>
                  </a:lnTo>
                  <a:cubicBezTo>
                    <a:pt x="2322" y="4239"/>
                    <a:pt x="2405" y="4358"/>
                    <a:pt x="2405" y="4513"/>
                  </a:cubicBezTo>
                  <a:lnTo>
                    <a:pt x="2405" y="5537"/>
                  </a:lnTo>
                  <a:cubicBezTo>
                    <a:pt x="2405" y="5632"/>
                    <a:pt x="2489" y="5704"/>
                    <a:pt x="2572" y="5704"/>
                  </a:cubicBezTo>
                  <a:cubicBezTo>
                    <a:pt x="2667" y="5704"/>
                    <a:pt x="2739" y="5632"/>
                    <a:pt x="2739" y="5537"/>
                  </a:cubicBezTo>
                  <a:lnTo>
                    <a:pt x="2739" y="4513"/>
                  </a:lnTo>
                  <a:cubicBezTo>
                    <a:pt x="2739" y="4228"/>
                    <a:pt x="2572" y="3989"/>
                    <a:pt x="2310" y="3882"/>
                  </a:cubicBezTo>
                  <a:lnTo>
                    <a:pt x="1870" y="3704"/>
                  </a:lnTo>
                  <a:lnTo>
                    <a:pt x="1870" y="3561"/>
                  </a:lnTo>
                  <a:cubicBezTo>
                    <a:pt x="2084" y="3394"/>
                    <a:pt x="2215" y="3144"/>
                    <a:pt x="2215" y="2870"/>
                  </a:cubicBezTo>
                  <a:lnTo>
                    <a:pt x="2215" y="2442"/>
                  </a:lnTo>
                  <a:lnTo>
                    <a:pt x="2215" y="2418"/>
                  </a:lnTo>
                  <a:lnTo>
                    <a:pt x="2608" y="2263"/>
                  </a:lnTo>
                  <a:lnTo>
                    <a:pt x="3227" y="2263"/>
                  </a:lnTo>
                  <a:lnTo>
                    <a:pt x="3620" y="2418"/>
                  </a:lnTo>
                  <a:lnTo>
                    <a:pt x="3620" y="2442"/>
                  </a:lnTo>
                  <a:lnTo>
                    <a:pt x="3620" y="2870"/>
                  </a:lnTo>
                  <a:cubicBezTo>
                    <a:pt x="3620" y="3144"/>
                    <a:pt x="3751" y="3394"/>
                    <a:pt x="3953" y="3561"/>
                  </a:cubicBezTo>
                  <a:lnTo>
                    <a:pt x="3953" y="3704"/>
                  </a:lnTo>
                  <a:lnTo>
                    <a:pt x="3525" y="3882"/>
                  </a:lnTo>
                  <a:cubicBezTo>
                    <a:pt x="3275" y="3989"/>
                    <a:pt x="3096" y="4239"/>
                    <a:pt x="3096" y="4513"/>
                  </a:cubicBezTo>
                  <a:lnTo>
                    <a:pt x="3096" y="5537"/>
                  </a:lnTo>
                  <a:cubicBezTo>
                    <a:pt x="3096" y="5632"/>
                    <a:pt x="3167" y="5704"/>
                    <a:pt x="3263" y="5704"/>
                  </a:cubicBezTo>
                  <a:cubicBezTo>
                    <a:pt x="3346" y="5704"/>
                    <a:pt x="3417" y="5632"/>
                    <a:pt x="3417" y="5537"/>
                  </a:cubicBezTo>
                  <a:lnTo>
                    <a:pt x="3417" y="4513"/>
                  </a:lnTo>
                  <a:cubicBezTo>
                    <a:pt x="3417" y="4358"/>
                    <a:pt x="3513" y="4228"/>
                    <a:pt x="3644" y="4180"/>
                  </a:cubicBezTo>
                  <a:lnTo>
                    <a:pt x="4156" y="3977"/>
                  </a:lnTo>
                  <a:lnTo>
                    <a:pt x="4775" y="3977"/>
                  </a:lnTo>
                  <a:lnTo>
                    <a:pt x="5287" y="4180"/>
                  </a:lnTo>
                  <a:cubicBezTo>
                    <a:pt x="5418" y="4239"/>
                    <a:pt x="5501" y="4358"/>
                    <a:pt x="5501" y="4513"/>
                  </a:cubicBezTo>
                  <a:lnTo>
                    <a:pt x="5501" y="5537"/>
                  </a:lnTo>
                  <a:cubicBezTo>
                    <a:pt x="5501" y="5632"/>
                    <a:pt x="5584" y="5704"/>
                    <a:pt x="5668" y="5704"/>
                  </a:cubicBezTo>
                  <a:cubicBezTo>
                    <a:pt x="5763" y="5704"/>
                    <a:pt x="5834" y="5632"/>
                    <a:pt x="5834" y="5537"/>
                  </a:cubicBezTo>
                  <a:lnTo>
                    <a:pt x="5834" y="4513"/>
                  </a:lnTo>
                  <a:cubicBezTo>
                    <a:pt x="5834" y="4228"/>
                    <a:pt x="5668" y="3989"/>
                    <a:pt x="5406" y="3882"/>
                  </a:cubicBezTo>
                  <a:lnTo>
                    <a:pt x="4965" y="3704"/>
                  </a:lnTo>
                  <a:lnTo>
                    <a:pt x="4965" y="3561"/>
                  </a:lnTo>
                  <a:cubicBezTo>
                    <a:pt x="5180" y="3394"/>
                    <a:pt x="5311" y="3144"/>
                    <a:pt x="5311" y="2870"/>
                  </a:cubicBezTo>
                  <a:lnTo>
                    <a:pt x="5311" y="2442"/>
                  </a:lnTo>
                  <a:lnTo>
                    <a:pt x="5311" y="2418"/>
                  </a:lnTo>
                  <a:lnTo>
                    <a:pt x="5703" y="2263"/>
                  </a:lnTo>
                  <a:lnTo>
                    <a:pt x="6323" y="2263"/>
                  </a:lnTo>
                  <a:lnTo>
                    <a:pt x="6715" y="2418"/>
                  </a:lnTo>
                  <a:lnTo>
                    <a:pt x="6715" y="2442"/>
                  </a:lnTo>
                  <a:lnTo>
                    <a:pt x="6715" y="2870"/>
                  </a:lnTo>
                  <a:cubicBezTo>
                    <a:pt x="6715" y="3144"/>
                    <a:pt x="6846" y="3394"/>
                    <a:pt x="7049" y="3561"/>
                  </a:cubicBezTo>
                  <a:lnTo>
                    <a:pt x="7049" y="3704"/>
                  </a:lnTo>
                  <a:lnTo>
                    <a:pt x="6620" y="3882"/>
                  </a:lnTo>
                  <a:cubicBezTo>
                    <a:pt x="6370" y="3989"/>
                    <a:pt x="6192" y="4239"/>
                    <a:pt x="6192" y="4513"/>
                  </a:cubicBezTo>
                  <a:lnTo>
                    <a:pt x="6192" y="5537"/>
                  </a:lnTo>
                  <a:cubicBezTo>
                    <a:pt x="6192" y="5632"/>
                    <a:pt x="6263" y="5704"/>
                    <a:pt x="6358" y="5704"/>
                  </a:cubicBezTo>
                  <a:cubicBezTo>
                    <a:pt x="6442" y="5704"/>
                    <a:pt x="6513" y="5632"/>
                    <a:pt x="6513" y="5537"/>
                  </a:cubicBezTo>
                  <a:lnTo>
                    <a:pt x="6513" y="4513"/>
                  </a:lnTo>
                  <a:cubicBezTo>
                    <a:pt x="6513" y="4358"/>
                    <a:pt x="6608" y="4228"/>
                    <a:pt x="6739" y="4180"/>
                  </a:cubicBezTo>
                  <a:lnTo>
                    <a:pt x="7251" y="3977"/>
                  </a:lnTo>
                  <a:lnTo>
                    <a:pt x="7870" y="3977"/>
                  </a:lnTo>
                  <a:lnTo>
                    <a:pt x="8382" y="4180"/>
                  </a:lnTo>
                  <a:cubicBezTo>
                    <a:pt x="8513" y="4239"/>
                    <a:pt x="8597" y="4358"/>
                    <a:pt x="8597" y="4513"/>
                  </a:cubicBezTo>
                  <a:lnTo>
                    <a:pt x="8597" y="5537"/>
                  </a:lnTo>
                  <a:cubicBezTo>
                    <a:pt x="8597" y="5632"/>
                    <a:pt x="8680" y="5704"/>
                    <a:pt x="8763" y="5704"/>
                  </a:cubicBezTo>
                  <a:cubicBezTo>
                    <a:pt x="8859" y="5704"/>
                    <a:pt x="8930" y="5632"/>
                    <a:pt x="8930" y="5537"/>
                  </a:cubicBezTo>
                  <a:lnTo>
                    <a:pt x="8930" y="4513"/>
                  </a:lnTo>
                  <a:cubicBezTo>
                    <a:pt x="8859" y="4204"/>
                    <a:pt x="8680" y="3942"/>
                    <a:pt x="8418" y="3847"/>
                  </a:cubicBezTo>
                  <a:lnTo>
                    <a:pt x="7989" y="3668"/>
                  </a:lnTo>
                  <a:lnTo>
                    <a:pt x="7989" y="3513"/>
                  </a:lnTo>
                  <a:cubicBezTo>
                    <a:pt x="8204" y="3346"/>
                    <a:pt x="8335" y="3096"/>
                    <a:pt x="8335" y="2835"/>
                  </a:cubicBezTo>
                  <a:lnTo>
                    <a:pt x="8335" y="2394"/>
                  </a:lnTo>
                  <a:cubicBezTo>
                    <a:pt x="8335" y="2215"/>
                    <a:pt x="8263" y="2037"/>
                    <a:pt x="8144" y="1918"/>
                  </a:cubicBezTo>
                  <a:cubicBezTo>
                    <a:pt x="8001" y="1787"/>
                    <a:pt x="7847" y="1727"/>
                    <a:pt x="7668" y="1727"/>
                  </a:cubicBezTo>
                  <a:lnTo>
                    <a:pt x="7323" y="1727"/>
                  </a:lnTo>
                  <a:cubicBezTo>
                    <a:pt x="7073" y="1727"/>
                    <a:pt x="6858" y="1858"/>
                    <a:pt x="6739" y="2061"/>
                  </a:cubicBezTo>
                  <a:lnTo>
                    <a:pt x="6454" y="1942"/>
                  </a:lnTo>
                  <a:lnTo>
                    <a:pt x="6454" y="1787"/>
                  </a:lnTo>
                  <a:cubicBezTo>
                    <a:pt x="6668" y="1620"/>
                    <a:pt x="6799" y="1370"/>
                    <a:pt x="6799" y="1108"/>
                  </a:cubicBezTo>
                  <a:lnTo>
                    <a:pt x="6799" y="668"/>
                  </a:lnTo>
                  <a:cubicBezTo>
                    <a:pt x="6799" y="489"/>
                    <a:pt x="6727" y="310"/>
                    <a:pt x="6608" y="191"/>
                  </a:cubicBezTo>
                  <a:cubicBezTo>
                    <a:pt x="6477" y="60"/>
                    <a:pt x="6311" y="1"/>
                    <a:pt x="6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3" name="Google Shape;10833;p60"/>
            <p:cNvSpPr/>
            <p:nvPr/>
          </p:nvSpPr>
          <p:spPr>
            <a:xfrm>
              <a:off x="3656195" y="1975821"/>
              <a:ext cx="120149" cy="164134"/>
            </a:xfrm>
            <a:custGeom>
              <a:avLst/>
              <a:gdLst/>
              <a:ahLst/>
              <a:cxnLst/>
              <a:rect l="l" t="t" r="r" b="b"/>
              <a:pathLst>
                <a:path w="3775" h="5157" extrusionOk="0">
                  <a:moveTo>
                    <a:pt x="2049" y="334"/>
                  </a:moveTo>
                  <a:cubicBezTo>
                    <a:pt x="2239" y="334"/>
                    <a:pt x="2406" y="501"/>
                    <a:pt x="2406" y="691"/>
                  </a:cubicBezTo>
                  <a:lnTo>
                    <a:pt x="2406" y="1037"/>
                  </a:lnTo>
                  <a:cubicBezTo>
                    <a:pt x="2406" y="1334"/>
                    <a:pt x="2168" y="1549"/>
                    <a:pt x="1882" y="1549"/>
                  </a:cubicBezTo>
                  <a:cubicBezTo>
                    <a:pt x="1869" y="1550"/>
                    <a:pt x="1855" y="1550"/>
                    <a:pt x="1842" y="1550"/>
                  </a:cubicBezTo>
                  <a:cubicBezTo>
                    <a:pt x="1575" y="1550"/>
                    <a:pt x="1358" y="1321"/>
                    <a:pt x="1358" y="1037"/>
                  </a:cubicBezTo>
                  <a:lnTo>
                    <a:pt x="1358" y="691"/>
                  </a:lnTo>
                  <a:cubicBezTo>
                    <a:pt x="1358" y="501"/>
                    <a:pt x="1513" y="334"/>
                    <a:pt x="1715" y="334"/>
                  </a:cubicBezTo>
                  <a:close/>
                  <a:moveTo>
                    <a:pt x="2049" y="1870"/>
                  </a:moveTo>
                  <a:lnTo>
                    <a:pt x="2049" y="1965"/>
                  </a:lnTo>
                  <a:cubicBezTo>
                    <a:pt x="2072" y="2025"/>
                    <a:pt x="2084" y="2073"/>
                    <a:pt x="2108" y="2132"/>
                  </a:cubicBezTo>
                  <a:lnTo>
                    <a:pt x="1894" y="2358"/>
                  </a:lnTo>
                  <a:lnTo>
                    <a:pt x="1870" y="2358"/>
                  </a:lnTo>
                  <a:lnTo>
                    <a:pt x="1656" y="2132"/>
                  </a:lnTo>
                  <a:cubicBezTo>
                    <a:pt x="1679" y="2085"/>
                    <a:pt x="1691" y="2025"/>
                    <a:pt x="1691" y="1965"/>
                  </a:cubicBezTo>
                  <a:lnTo>
                    <a:pt x="1691" y="1870"/>
                  </a:lnTo>
                  <a:cubicBezTo>
                    <a:pt x="1751" y="1882"/>
                    <a:pt x="1810" y="1882"/>
                    <a:pt x="1870" y="1882"/>
                  </a:cubicBezTo>
                  <a:cubicBezTo>
                    <a:pt x="1929" y="1882"/>
                    <a:pt x="1989" y="1882"/>
                    <a:pt x="2049" y="1870"/>
                  </a:cubicBezTo>
                  <a:close/>
                  <a:moveTo>
                    <a:pt x="2382" y="2323"/>
                  </a:moveTo>
                  <a:lnTo>
                    <a:pt x="2668" y="2454"/>
                  </a:lnTo>
                  <a:cubicBezTo>
                    <a:pt x="2727" y="2489"/>
                    <a:pt x="2763" y="2549"/>
                    <a:pt x="2763" y="2620"/>
                  </a:cubicBezTo>
                  <a:lnTo>
                    <a:pt x="2763" y="2942"/>
                  </a:lnTo>
                  <a:lnTo>
                    <a:pt x="1025" y="2942"/>
                  </a:lnTo>
                  <a:lnTo>
                    <a:pt x="1025" y="2620"/>
                  </a:lnTo>
                  <a:lnTo>
                    <a:pt x="1013" y="2620"/>
                  </a:lnTo>
                  <a:cubicBezTo>
                    <a:pt x="1013" y="2549"/>
                    <a:pt x="1060" y="2489"/>
                    <a:pt x="1120" y="2454"/>
                  </a:cubicBezTo>
                  <a:lnTo>
                    <a:pt x="1394" y="2323"/>
                  </a:lnTo>
                  <a:lnTo>
                    <a:pt x="1656" y="2585"/>
                  </a:lnTo>
                  <a:cubicBezTo>
                    <a:pt x="1715" y="2632"/>
                    <a:pt x="1799" y="2680"/>
                    <a:pt x="1894" y="2680"/>
                  </a:cubicBezTo>
                  <a:cubicBezTo>
                    <a:pt x="1977" y="2680"/>
                    <a:pt x="2049" y="2656"/>
                    <a:pt x="2132" y="2585"/>
                  </a:cubicBezTo>
                  <a:lnTo>
                    <a:pt x="2382" y="2323"/>
                  </a:lnTo>
                  <a:close/>
                  <a:moveTo>
                    <a:pt x="3334" y="3263"/>
                  </a:moveTo>
                  <a:lnTo>
                    <a:pt x="3156" y="3632"/>
                  </a:lnTo>
                  <a:lnTo>
                    <a:pt x="596" y="3632"/>
                  </a:lnTo>
                  <a:lnTo>
                    <a:pt x="417" y="3263"/>
                  </a:lnTo>
                  <a:close/>
                  <a:moveTo>
                    <a:pt x="1715" y="1"/>
                  </a:moveTo>
                  <a:cubicBezTo>
                    <a:pt x="1334" y="1"/>
                    <a:pt x="1025" y="299"/>
                    <a:pt x="1025" y="691"/>
                  </a:cubicBezTo>
                  <a:lnTo>
                    <a:pt x="1025" y="1025"/>
                  </a:lnTo>
                  <a:cubicBezTo>
                    <a:pt x="1025" y="1311"/>
                    <a:pt x="1156" y="1549"/>
                    <a:pt x="1370" y="1715"/>
                  </a:cubicBezTo>
                  <a:lnTo>
                    <a:pt x="1370" y="1954"/>
                  </a:lnTo>
                  <a:lnTo>
                    <a:pt x="1370" y="1965"/>
                  </a:lnTo>
                  <a:lnTo>
                    <a:pt x="965" y="2180"/>
                  </a:lnTo>
                  <a:cubicBezTo>
                    <a:pt x="786" y="2263"/>
                    <a:pt x="679" y="2430"/>
                    <a:pt x="679" y="2620"/>
                  </a:cubicBezTo>
                  <a:lnTo>
                    <a:pt x="679" y="2942"/>
                  </a:lnTo>
                  <a:lnTo>
                    <a:pt x="155" y="2942"/>
                  </a:lnTo>
                  <a:cubicBezTo>
                    <a:pt x="96" y="2942"/>
                    <a:pt x="60" y="2966"/>
                    <a:pt x="24" y="3013"/>
                  </a:cubicBezTo>
                  <a:cubicBezTo>
                    <a:pt x="1" y="3061"/>
                    <a:pt x="1" y="3120"/>
                    <a:pt x="24" y="3180"/>
                  </a:cubicBezTo>
                  <a:lnTo>
                    <a:pt x="370" y="3859"/>
                  </a:lnTo>
                  <a:cubicBezTo>
                    <a:pt x="394" y="3918"/>
                    <a:pt x="453" y="3954"/>
                    <a:pt x="513" y="3954"/>
                  </a:cubicBezTo>
                  <a:lnTo>
                    <a:pt x="691" y="3954"/>
                  </a:lnTo>
                  <a:lnTo>
                    <a:pt x="691" y="4990"/>
                  </a:lnTo>
                  <a:cubicBezTo>
                    <a:pt x="691" y="5085"/>
                    <a:pt x="775" y="5156"/>
                    <a:pt x="858" y="5156"/>
                  </a:cubicBezTo>
                  <a:cubicBezTo>
                    <a:pt x="953" y="5156"/>
                    <a:pt x="1025" y="5085"/>
                    <a:pt x="1025" y="4990"/>
                  </a:cubicBezTo>
                  <a:lnTo>
                    <a:pt x="1025" y="3954"/>
                  </a:lnTo>
                  <a:lnTo>
                    <a:pt x="2763" y="3954"/>
                  </a:lnTo>
                  <a:lnTo>
                    <a:pt x="2763" y="4990"/>
                  </a:lnTo>
                  <a:cubicBezTo>
                    <a:pt x="2763" y="5085"/>
                    <a:pt x="2846" y="5156"/>
                    <a:pt x="2930" y="5156"/>
                  </a:cubicBezTo>
                  <a:cubicBezTo>
                    <a:pt x="3025" y="5156"/>
                    <a:pt x="3096" y="5085"/>
                    <a:pt x="3096" y="4990"/>
                  </a:cubicBezTo>
                  <a:lnTo>
                    <a:pt x="3096" y="3954"/>
                  </a:lnTo>
                  <a:lnTo>
                    <a:pt x="3275" y="3954"/>
                  </a:lnTo>
                  <a:cubicBezTo>
                    <a:pt x="3334" y="3954"/>
                    <a:pt x="3394" y="3918"/>
                    <a:pt x="3418" y="3859"/>
                  </a:cubicBezTo>
                  <a:lnTo>
                    <a:pt x="3763" y="3180"/>
                  </a:lnTo>
                  <a:cubicBezTo>
                    <a:pt x="3775" y="3132"/>
                    <a:pt x="3763" y="3073"/>
                    <a:pt x="3751" y="3013"/>
                  </a:cubicBezTo>
                  <a:cubicBezTo>
                    <a:pt x="3715" y="2966"/>
                    <a:pt x="3680" y="2942"/>
                    <a:pt x="3620" y="2942"/>
                  </a:cubicBezTo>
                  <a:lnTo>
                    <a:pt x="3084" y="2942"/>
                  </a:lnTo>
                  <a:lnTo>
                    <a:pt x="3084" y="2620"/>
                  </a:lnTo>
                  <a:cubicBezTo>
                    <a:pt x="3084" y="2430"/>
                    <a:pt x="2977" y="2251"/>
                    <a:pt x="2799" y="2180"/>
                  </a:cubicBezTo>
                  <a:lnTo>
                    <a:pt x="2394" y="1965"/>
                  </a:lnTo>
                  <a:lnTo>
                    <a:pt x="2394" y="1954"/>
                  </a:lnTo>
                  <a:lnTo>
                    <a:pt x="2394" y="1715"/>
                  </a:lnTo>
                  <a:cubicBezTo>
                    <a:pt x="2608" y="1561"/>
                    <a:pt x="2739" y="1311"/>
                    <a:pt x="2739" y="1025"/>
                  </a:cubicBezTo>
                  <a:lnTo>
                    <a:pt x="2739" y="691"/>
                  </a:lnTo>
                  <a:cubicBezTo>
                    <a:pt x="2739" y="310"/>
                    <a:pt x="2441" y="1"/>
                    <a:pt x="2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4" name="Google Shape;10834;p60"/>
            <p:cNvSpPr/>
            <p:nvPr/>
          </p:nvSpPr>
          <p:spPr>
            <a:xfrm>
              <a:off x="3700149" y="2113380"/>
              <a:ext cx="32241" cy="10280"/>
            </a:xfrm>
            <a:custGeom>
              <a:avLst/>
              <a:gdLst/>
              <a:ahLst/>
              <a:cxnLst/>
              <a:rect l="l" t="t" r="r" b="b"/>
              <a:pathLst>
                <a:path w="1013" h="323" extrusionOk="0">
                  <a:moveTo>
                    <a:pt x="167" y="1"/>
                  </a:moveTo>
                  <a:cubicBezTo>
                    <a:pt x="72" y="1"/>
                    <a:pt x="1" y="72"/>
                    <a:pt x="1" y="168"/>
                  </a:cubicBezTo>
                  <a:cubicBezTo>
                    <a:pt x="1" y="251"/>
                    <a:pt x="72" y="322"/>
                    <a:pt x="167" y="322"/>
                  </a:cubicBezTo>
                  <a:lnTo>
                    <a:pt x="846" y="322"/>
                  </a:lnTo>
                  <a:cubicBezTo>
                    <a:pt x="941" y="322"/>
                    <a:pt x="1013" y="251"/>
                    <a:pt x="1013" y="168"/>
                  </a:cubicBezTo>
                  <a:cubicBezTo>
                    <a:pt x="1013" y="72"/>
                    <a:pt x="941"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35" name="Google Shape;10835;p60"/>
          <p:cNvGrpSpPr/>
          <p:nvPr/>
        </p:nvGrpSpPr>
        <p:grpSpPr>
          <a:xfrm>
            <a:off x="2722090" y="2890162"/>
            <a:ext cx="238770" cy="371841"/>
            <a:chOff x="2722090" y="2890162"/>
            <a:chExt cx="238770" cy="371841"/>
          </a:xfrm>
        </p:grpSpPr>
        <p:sp>
          <p:nvSpPr>
            <p:cNvPr id="10836" name="Google Shape;10836;p60"/>
            <p:cNvSpPr/>
            <p:nvPr/>
          </p:nvSpPr>
          <p:spPr>
            <a:xfrm>
              <a:off x="2722090" y="2890162"/>
              <a:ext cx="238770" cy="371841"/>
            </a:xfrm>
            <a:custGeom>
              <a:avLst/>
              <a:gdLst/>
              <a:ahLst/>
              <a:cxnLst/>
              <a:rect l="l" t="t" r="r" b="b"/>
              <a:pathLst>
                <a:path w="7502" h="11683" extrusionOk="0">
                  <a:moveTo>
                    <a:pt x="3835" y="372"/>
                  </a:moveTo>
                  <a:lnTo>
                    <a:pt x="3966" y="419"/>
                  </a:lnTo>
                  <a:cubicBezTo>
                    <a:pt x="4132" y="491"/>
                    <a:pt x="4251" y="634"/>
                    <a:pt x="4347" y="848"/>
                  </a:cubicBezTo>
                  <a:cubicBezTo>
                    <a:pt x="4168" y="812"/>
                    <a:pt x="4001" y="788"/>
                    <a:pt x="3835" y="777"/>
                  </a:cubicBezTo>
                  <a:lnTo>
                    <a:pt x="3835" y="372"/>
                  </a:lnTo>
                  <a:close/>
                  <a:moveTo>
                    <a:pt x="6609" y="9135"/>
                  </a:moveTo>
                  <a:cubicBezTo>
                    <a:pt x="6716" y="9135"/>
                    <a:pt x="6799" y="9230"/>
                    <a:pt x="6799" y="9337"/>
                  </a:cubicBezTo>
                  <a:lnTo>
                    <a:pt x="6799" y="9528"/>
                  </a:lnTo>
                  <a:lnTo>
                    <a:pt x="6609" y="9528"/>
                  </a:lnTo>
                  <a:cubicBezTo>
                    <a:pt x="6513" y="9528"/>
                    <a:pt x="6442" y="9599"/>
                    <a:pt x="6442" y="9694"/>
                  </a:cubicBezTo>
                  <a:cubicBezTo>
                    <a:pt x="6442" y="9778"/>
                    <a:pt x="6513" y="9849"/>
                    <a:pt x="6609" y="9849"/>
                  </a:cubicBezTo>
                  <a:lnTo>
                    <a:pt x="6978" y="9849"/>
                  </a:lnTo>
                  <a:cubicBezTo>
                    <a:pt x="7085" y="9849"/>
                    <a:pt x="7168" y="9944"/>
                    <a:pt x="7168" y="10040"/>
                  </a:cubicBezTo>
                  <a:lnTo>
                    <a:pt x="7168" y="11147"/>
                  </a:lnTo>
                  <a:cubicBezTo>
                    <a:pt x="7156" y="11266"/>
                    <a:pt x="7073" y="11361"/>
                    <a:pt x="6966" y="11361"/>
                  </a:cubicBezTo>
                  <a:lnTo>
                    <a:pt x="1477" y="11361"/>
                  </a:lnTo>
                  <a:cubicBezTo>
                    <a:pt x="1370" y="11361"/>
                    <a:pt x="1275" y="11266"/>
                    <a:pt x="1275" y="11159"/>
                  </a:cubicBezTo>
                  <a:lnTo>
                    <a:pt x="1275" y="10063"/>
                  </a:lnTo>
                  <a:cubicBezTo>
                    <a:pt x="1275" y="9956"/>
                    <a:pt x="1370" y="9873"/>
                    <a:pt x="1477" y="9873"/>
                  </a:cubicBezTo>
                  <a:lnTo>
                    <a:pt x="5859" y="9873"/>
                  </a:lnTo>
                  <a:cubicBezTo>
                    <a:pt x="5954" y="9873"/>
                    <a:pt x="6025" y="9790"/>
                    <a:pt x="6025" y="9706"/>
                  </a:cubicBezTo>
                  <a:cubicBezTo>
                    <a:pt x="6025" y="9611"/>
                    <a:pt x="5954" y="9540"/>
                    <a:pt x="5859" y="9540"/>
                  </a:cubicBezTo>
                  <a:lnTo>
                    <a:pt x="1656" y="9540"/>
                  </a:lnTo>
                  <a:lnTo>
                    <a:pt x="1656" y="9337"/>
                  </a:lnTo>
                  <a:cubicBezTo>
                    <a:pt x="1656" y="9230"/>
                    <a:pt x="1739" y="9135"/>
                    <a:pt x="1846" y="9135"/>
                  </a:cubicBezTo>
                  <a:close/>
                  <a:moveTo>
                    <a:pt x="3739" y="1"/>
                  </a:moveTo>
                  <a:cubicBezTo>
                    <a:pt x="3703" y="1"/>
                    <a:pt x="3678" y="3"/>
                    <a:pt x="3668" y="3"/>
                  </a:cubicBezTo>
                  <a:cubicBezTo>
                    <a:pt x="3585" y="15"/>
                    <a:pt x="3513" y="74"/>
                    <a:pt x="3513" y="157"/>
                  </a:cubicBezTo>
                  <a:lnTo>
                    <a:pt x="3513" y="729"/>
                  </a:lnTo>
                  <a:cubicBezTo>
                    <a:pt x="3438" y="725"/>
                    <a:pt x="3373" y="724"/>
                    <a:pt x="3319" y="724"/>
                  </a:cubicBezTo>
                  <a:cubicBezTo>
                    <a:pt x="3210" y="724"/>
                    <a:pt x="3144" y="729"/>
                    <a:pt x="3120" y="729"/>
                  </a:cubicBezTo>
                  <a:cubicBezTo>
                    <a:pt x="3037" y="729"/>
                    <a:pt x="2954" y="812"/>
                    <a:pt x="2954" y="908"/>
                  </a:cubicBezTo>
                  <a:cubicBezTo>
                    <a:pt x="2954" y="991"/>
                    <a:pt x="3049" y="1074"/>
                    <a:pt x="3132" y="1074"/>
                  </a:cubicBezTo>
                  <a:cubicBezTo>
                    <a:pt x="3135" y="1074"/>
                    <a:pt x="3172" y="1073"/>
                    <a:pt x="3236" y="1073"/>
                  </a:cubicBezTo>
                  <a:cubicBezTo>
                    <a:pt x="3649" y="1073"/>
                    <a:pt x="5188" y="1135"/>
                    <a:pt x="6156" y="2062"/>
                  </a:cubicBezTo>
                  <a:cubicBezTo>
                    <a:pt x="6704" y="2586"/>
                    <a:pt x="6978" y="3301"/>
                    <a:pt x="6978" y="4194"/>
                  </a:cubicBezTo>
                  <a:cubicBezTo>
                    <a:pt x="6978" y="5158"/>
                    <a:pt x="6764" y="5753"/>
                    <a:pt x="6549" y="6408"/>
                  </a:cubicBezTo>
                  <a:cubicBezTo>
                    <a:pt x="6323" y="7063"/>
                    <a:pt x="6085" y="7742"/>
                    <a:pt x="6073" y="8778"/>
                  </a:cubicBezTo>
                  <a:lnTo>
                    <a:pt x="2120" y="8778"/>
                  </a:lnTo>
                  <a:cubicBezTo>
                    <a:pt x="2084" y="8694"/>
                    <a:pt x="2025" y="8492"/>
                    <a:pt x="2025" y="8218"/>
                  </a:cubicBezTo>
                  <a:cubicBezTo>
                    <a:pt x="2025" y="7766"/>
                    <a:pt x="2299" y="6730"/>
                    <a:pt x="4168" y="4860"/>
                  </a:cubicBezTo>
                  <a:cubicBezTo>
                    <a:pt x="4227" y="4801"/>
                    <a:pt x="4227" y="4729"/>
                    <a:pt x="4192" y="4658"/>
                  </a:cubicBezTo>
                  <a:cubicBezTo>
                    <a:pt x="4157" y="4606"/>
                    <a:pt x="4109" y="4573"/>
                    <a:pt x="4058" y="4573"/>
                  </a:cubicBezTo>
                  <a:cubicBezTo>
                    <a:pt x="4040" y="4573"/>
                    <a:pt x="4020" y="4577"/>
                    <a:pt x="4001" y="4587"/>
                  </a:cubicBezTo>
                  <a:cubicBezTo>
                    <a:pt x="4001" y="4587"/>
                    <a:pt x="3902" y="4611"/>
                    <a:pt x="3741" y="4611"/>
                  </a:cubicBezTo>
                  <a:cubicBezTo>
                    <a:pt x="3530" y="4611"/>
                    <a:pt x="3214" y="4569"/>
                    <a:pt x="2882" y="4372"/>
                  </a:cubicBezTo>
                  <a:cubicBezTo>
                    <a:pt x="2803" y="4328"/>
                    <a:pt x="2715" y="4306"/>
                    <a:pt x="2627" y="4306"/>
                  </a:cubicBezTo>
                  <a:cubicBezTo>
                    <a:pt x="2503" y="4306"/>
                    <a:pt x="2379" y="4348"/>
                    <a:pt x="2275" y="4432"/>
                  </a:cubicBezTo>
                  <a:cubicBezTo>
                    <a:pt x="2058" y="4611"/>
                    <a:pt x="1655" y="4842"/>
                    <a:pt x="1053" y="4842"/>
                  </a:cubicBezTo>
                  <a:cubicBezTo>
                    <a:pt x="895" y="4842"/>
                    <a:pt x="723" y="4826"/>
                    <a:pt x="537" y="4789"/>
                  </a:cubicBezTo>
                  <a:lnTo>
                    <a:pt x="382" y="4075"/>
                  </a:lnTo>
                  <a:lnTo>
                    <a:pt x="2156" y="2301"/>
                  </a:lnTo>
                  <a:cubicBezTo>
                    <a:pt x="2180" y="2277"/>
                    <a:pt x="2203" y="2229"/>
                    <a:pt x="2203" y="2193"/>
                  </a:cubicBezTo>
                  <a:lnTo>
                    <a:pt x="2203" y="1967"/>
                  </a:lnTo>
                  <a:cubicBezTo>
                    <a:pt x="2203" y="1860"/>
                    <a:pt x="2275" y="1789"/>
                    <a:pt x="2382" y="1777"/>
                  </a:cubicBezTo>
                  <a:cubicBezTo>
                    <a:pt x="2501" y="1764"/>
                    <a:pt x="2692" y="1750"/>
                    <a:pt x="2929" y="1750"/>
                  </a:cubicBezTo>
                  <a:cubicBezTo>
                    <a:pt x="3355" y="1750"/>
                    <a:pt x="3928" y="1796"/>
                    <a:pt x="4501" y="1979"/>
                  </a:cubicBezTo>
                  <a:cubicBezTo>
                    <a:pt x="4522" y="1987"/>
                    <a:pt x="4544" y="1991"/>
                    <a:pt x="4565" y="1991"/>
                  </a:cubicBezTo>
                  <a:cubicBezTo>
                    <a:pt x="4639" y="1991"/>
                    <a:pt x="4706" y="1943"/>
                    <a:pt x="4716" y="1860"/>
                  </a:cubicBezTo>
                  <a:cubicBezTo>
                    <a:pt x="4739" y="1777"/>
                    <a:pt x="4704" y="1670"/>
                    <a:pt x="4597" y="1658"/>
                  </a:cubicBezTo>
                  <a:cubicBezTo>
                    <a:pt x="3956" y="1457"/>
                    <a:pt x="3315" y="1408"/>
                    <a:pt x="2856" y="1408"/>
                  </a:cubicBezTo>
                  <a:cubicBezTo>
                    <a:pt x="2632" y="1408"/>
                    <a:pt x="2451" y="1420"/>
                    <a:pt x="2334" y="1431"/>
                  </a:cubicBezTo>
                  <a:cubicBezTo>
                    <a:pt x="2049" y="1455"/>
                    <a:pt x="1846" y="1681"/>
                    <a:pt x="1846" y="1967"/>
                  </a:cubicBezTo>
                  <a:lnTo>
                    <a:pt x="1846" y="2110"/>
                  </a:lnTo>
                  <a:lnTo>
                    <a:pt x="60" y="3896"/>
                  </a:lnTo>
                  <a:cubicBezTo>
                    <a:pt x="13" y="3944"/>
                    <a:pt x="1" y="4003"/>
                    <a:pt x="13" y="4051"/>
                  </a:cubicBezTo>
                  <a:lnTo>
                    <a:pt x="191" y="4956"/>
                  </a:lnTo>
                  <a:cubicBezTo>
                    <a:pt x="203" y="5015"/>
                    <a:pt x="251" y="5075"/>
                    <a:pt x="310" y="5087"/>
                  </a:cubicBezTo>
                  <a:cubicBezTo>
                    <a:pt x="569" y="5151"/>
                    <a:pt x="806" y="5178"/>
                    <a:pt x="1022" y="5178"/>
                  </a:cubicBezTo>
                  <a:cubicBezTo>
                    <a:pt x="1722" y="5178"/>
                    <a:pt x="2199" y="4897"/>
                    <a:pt x="2453" y="4706"/>
                  </a:cubicBezTo>
                  <a:cubicBezTo>
                    <a:pt x="2497" y="4669"/>
                    <a:pt x="2550" y="4655"/>
                    <a:pt x="2598" y="4655"/>
                  </a:cubicBezTo>
                  <a:cubicBezTo>
                    <a:pt x="2628" y="4655"/>
                    <a:pt x="2657" y="4661"/>
                    <a:pt x="2680" y="4670"/>
                  </a:cubicBezTo>
                  <a:cubicBezTo>
                    <a:pt x="3001" y="4872"/>
                    <a:pt x="3335" y="4932"/>
                    <a:pt x="3573" y="4944"/>
                  </a:cubicBezTo>
                  <a:cubicBezTo>
                    <a:pt x="1977" y="6611"/>
                    <a:pt x="1632" y="7635"/>
                    <a:pt x="1632" y="8218"/>
                  </a:cubicBezTo>
                  <a:cubicBezTo>
                    <a:pt x="1632" y="8456"/>
                    <a:pt x="1680" y="8647"/>
                    <a:pt x="1727" y="8778"/>
                  </a:cubicBezTo>
                  <a:cubicBezTo>
                    <a:pt x="1465" y="8825"/>
                    <a:pt x="1275" y="9051"/>
                    <a:pt x="1275" y="9313"/>
                  </a:cubicBezTo>
                  <a:lnTo>
                    <a:pt x="1275" y="9540"/>
                  </a:lnTo>
                  <a:cubicBezTo>
                    <a:pt x="1072" y="9611"/>
                    <a:pt x="906" y="9801"/>
                    <a:pt x="906" y="10040"/>
                  </a:cubicBezTo>
                  <a:lnTo>
                    <a:pt x="906" y="11147"/>
                  </a:lnTo>
                  <a:cubicBezTo>
                    <a:pt x="906" y="11445"/>
                    <a:pt x="1144" y="11683"/>
                    <a:pt x="1441" y="11683"/>
                  </a:cubicBezTo>
                  <a:lnTo>
                    <a:pt x="6930" y="11683"/>
                  </a:lnTo>
                  <a:cubicBezTo>
                    <a:pt x="7228" y="11683"/>
                    <a:pt x="7466" y="11445"/>
                    <a:pt x="7466" y="11147"/>
                  </a:cubicBezTo>
                  <a:lnTo>
                    <a:pt x="7466" y="10040"/>
                  </a:lnTo>
                  <a:cubicBezTo>
                    <a:pt x="7502" y="9825"/>
                    <a:pt x="7347" y="9611"/>
                    <a:pt x="7145" y="9551"/>
                  </a:cubicBezTo>
                  <a:lnTo>
                    <a:pt x="7145" y="9337"/>
                  </a:lnTo>
                  <a:cubicBezTo>
                    <a:pt x="7145" y="9039"/>
                    <a:pt x="6906" y="8801"/>
                    <a:pt x="6609" y="8801"/>
                  </a:cubicBezTo>
                  <a:lnTo>
                    <a:pt x="6418" y="8801"/>
                  </a:lnTo>
                  <a:cubicBezTo>
                    <a:pt x="6442" y="7801"/>
                    <a:pt x="6656" y="7158"/>
                    <a:pt x="6871" y="6527"/>
                  </a:cubicBezTo>
                  <a:cubicBezTo>
                    <a:pt x="7097" y="5896"/>
                    <a:pt x="7323" y="5229"/>
                    <a:pt x="7323" y="4206"/>
                  </a:cubicBezTo>
                  <a:cubicBezTo>
                    <a:pt x="7323" y="3229"/>
                    <a:pt x="7014" y="2420"/>
                    <a:pt x="6394" y="1824"/>
                  </a:cubicBezTo>
                  <a:cubicBezTo>
                    <a:pt x="5906" y="1372"/>
                    <a:pt x="5299" y="1098"/>
                    <a:pt x="4751" y="931"/>
                  </a:cubicBezTo>
                  <a:cubicBezTo>
                    <a:pt x="4632" y="431"/>
                    <a:pt x="4358" y="205"/>
                    <a:pt x="4156" y="98"/>
                  </a:cubicBezTo>
                  <a:cubicBezTo>
                    <a:pt x="3986" y="13"/>
                    <a:pt x="3828" y="1"/>
                    <a:pt x="3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7" name="Google Shape;10837;p60"/>
            <p:cNvSpPr/>
            <p:nvPr/>
          </p:nvSpPr>
          <p:spPr>
            <a:xfrm>
              <a:off x="2882023" y="2951111"/>
              <a:ext cx="21993" cy="16837"/>
            </a:xfrm>
            <a:custGeom>
              <a:avLst/>
              <a:gdLst/>
              <a:ahLst/>
              <a:cxnLst/>
              <a:rect l="l" t="t" r="r" b="b"/>
              <a:pathLst>
                <a:path w="691" h="529" extrusionOk="0">
                  <a:moveTo>
                    <a:pt x="202" y="0"/>
                  </a:moveTo>
                  <a:cubicBezTo>
                    <a:pt x="138" y="0"/>
                    <a:pt x="81" y="30"/>
                    <a:pt x="48" y="88"/>
                  </a:cubicBezTo>
                  <a:cubicBezTo>
                    <a:pt x="0" y="183"/>
                    <a:pt x="36" y="290"/>
                    <a:pt x="119" y="338"/>
                  </a:cubicBezTo>
                  <a:cubicBezTo>
                    <a:pt x="215" y="374"/>
                    <a:pt x="298" y="433"/>
                    <a:pt x="393" y="493"/>
                  </a:cubicBezTo>
                  <a:cubicBezTo>
                    <a:pt x="417" y="517"/>
                    <a:pt x="453" y="528"/>
                    <a:pt x="476" y="528"/>
                  </a:cubicBezTo>
                  <a:cubicBezTo>
                    <a:pt x="536" y="528"/>
                    <a:pt x="584" y="493"/>
                    <a:pt x="631" y="457"/>
                  </a:cubicBezTo>
                  <a:cubicBezTo>
                    <a:pt x="691" y="362"/>
                    <a:pt x="655" y="255"/>
                    <a:pt x="584" y="195"/>
                  </a:cubicBezTo>
                  <a:cubicBezTo>
                    <a:pt x="488" y="136"/>
                    <a:pt x="393" y="76"/>
                    <a:pt x="286" y="16"/>
                  </a:cubicBezTo>
                  <a:cubicBezTo>
                    <a:pt x="257" y="6"/>
                    <a:pt x="229"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38" name="Google Shape;10838;p60"/>
            <p:cNvSpPr/>
            <p:nvPr/>
          </p:nvSpPr>
          <p:spPr>
            <a:xfrm>
              <a:off x="2804332" y="2960341"/>
              <a:ext cx="11012" cy="15946"/>
            </a:xfrm>
            <a:custGeom>
              <a:avLst/>
              <a:gdLst/>
              <a:ahLst/>
              <a:cxnLst/>
              <a:rect l="l" t="t" r="r" b="b"/>
              <a:pathLst>
                <a:path w="346" h="501" extrusionOk="0">
                  <a:moveTo>
                    <a:pt x="167" y="0"/>
                  </a:moveTo>
                  <a:cubicBezTo>
                    <a:pt x="84" y="0"/>
                    <a:pt x="0" y="72"/>
                    <a:pt x="0" y="167"/>
                  </a:cubicBezTo>
                  <a:lnTo>
                    <a:pt x="0" y="346"/>
                  </a:lnTo>
                  <a:cubicBezTo>
                    <a:pt x="0" y="429"/>
                    <a:pt x="84" y="500"/>
                    <a:pt x="167" y="500"/>
                  </a:cubicBezTo>
                  <a:cubicBezTo>
                    <a:pt x="262" y="500"/>
                    <a:pt x="334" y="429"/>
                    <a:pt x="334" y="346"/>
                  </a:cubicBezTo>
                  <a:lnTo>
                    <a:pt x="334" y="167"/>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39" name="Google Shape;10839;p60"/>
          <p:cNvSpPr/>
          <p:nvPr/>
        </p:nvSpPr>
        <p:spPr>
          <a:xfrm>
            <a:off x="5775652" y="1969392"/>
            <a:ext cx="361147" cy="360797"/>
          </a:xfrm>
          <a:custGeom>
            <a:avLst/>
            <a:gdLst/>
            <a:ahLst/>
            <a:cxnLst/>
            <a:rect l="l" t="t" r="r" b="b"/>
            <a:pathLst>
              <a:path w="11347" h="11336" extrusionOk="0">
                <a:moveTo>
                  <a:pt x="2948" y="2991"/>
                </a:moveTo>
                <a:cubicBezTo>
                  <a:pt x="2993" y="2991"/>
                  <a:pt x="3039" y="2994"/>
                  <a:pt x="3084" y="3001"/>
                </a:cubicBezTo>
                <a:cubicBezTo>
                  <a:pt x="3394" y="3060"/>
                  <a:pt x="3656" y="3334"/>
                  <a:pt x="3715" y="3644"/>
                </a:cubicBezTo>
                <a:cubicBezTo>
                  <a:pt x="3775" y="3941"/>
                  <a:pt x="3667" y="4227"/>
                  <a:pt x="3441" y="4418"/>
                </a:cubicBezTo>
                <a:cubicBezTo>
                  <a:pt x="3298" y="4549"/>
                  <a:pt x="3203" y="4739"/>
                  <a:pt x="3203" y="4954"/>
                </a:cubicBezTo>
                <a:lnTo>
                  <a:pt x="3203" y="5311"/>
                </a:lnTo>
                <a:cubicBezTo>
                  <a:pt x="3203" y="5596"/>
                  <a:pt x="3441" y="5835"/>
                  <a:pt x="3727" y="5835"/>
                </a:cubicBezTo>
                <a:lnTo>
                  <a:pt x="5513" y="5835"/>
                </a:lnTo>
                <a:lnTo>
                  <a:pt x="5513" y="7621"/>
                </a:lnTo>
                <a:cubicBezTo>
                  <a:pt x="5513" y="7716"/>
                  <a:pt x="5430" y="7811"/>
                  <a:pt x="5322" y="7811"/>
                </a:cubicBezTo>
                <a:lnTo>
                  <a:pt x="4965" y="7811"/>
                </a:lnTo>
                <a:cubicBezTo>
                  <a:pt x="4858" y="7811"/>
                  <a:pt x="4751" y="7763"/>
                  <a:pt x="4691" y="7692"/>
                </a:cubicBezTo>
                <a:cubicBezTo>
                  <a:pt x="4472" y="7433"/>
                  <a:pt x="4152" y="7282"/>
                  <a:pt x="3809" y="7282"/>
                </a:cubicBezTo>
                <a:cubicBezTo>
                  <a:pt x="3743" y="7282"/>
                  <a:pt x="3675" y="7287"/>
                  <a:pt x="3608" y="7299"/>
                </a:cubicBezTo>
                <a:cubicBezTo>
                  <a:pt x="3167" y="7394"/>
                  <a:pt x="2810" y="7740"/>
                  <a:pt x="2715" y="8180"/>
                </a:cubicBezTo>
                <a:cubicBezTo>
                  <a:pt x="2644" y="8525"/>
                  <a:pt x="2727" y="8883"/>
                  <a:pt x="2941" y="9144"/>
                </a:cubicBezTo>
                <a:cubicBezTo>
                  <a:pt x="3167" y="9418"/>
                  <a:pt x="3477" y="9561"/>
                  <a:pt x="3834" y="9561"/>
                </a:cubicBezTo>
                <a:cubicBezTo>
                  <a:pt x="4179" y="9561"/>
                  <a:pt x="4501" y="9418"/>
                  <a:pt x="4715" y="9144"/>
                </a:cubicBezTo>
                <a:cubicBezTo>
                  <a:pt x="4775" y="9073"/>
                  <a:pt x="4870" y="9025"/>
                  <a:pt x="4977" y="9025"/>
                </a:cubicBezTo>
                <a:lnTo>
                  <a:pt x="5334" y="9025"/>
                </a:lnTo>
                <a:cubicBezTo>
                  <a:pt x="5441" y="9025"/>
                  <a:pt x="5525" y="9121"/>
                  <a:pt x="5525" y="9228"/>
                </a:cubicBezTo>
                <a:lnTo>
                  <a:pt x="5525" y="11014"/>
                </a:lnTo>
                <a:lnTo>
                  <a:pt x="881" y="11014"/>
                </a:lnTo>
                <a:cubicBezTo>
                  <a:pt x="584" y="11014"/>
                  <a:pt x="334" y="10776"/>
                  <a:pt x="334" y="10466"/>
                </a:cubicBezTo>
                <a:lnTo>
                  <a:pt x="334" y="5835"/>
                </a:lnTo>
                <a:lnTo>
                  <a:pt x="2120" y="5835"/>
                </a:lnTo>
                <a:cubicBezTo>
                  <a:pt x="2405" y="5835"/>
                  <a:pt x="2644" y="5596"/>
                  <a:pt x="2644" y="5311"/>
                </a:cubicBezTo>
                <a:lnTo>
                  <a:pt x="2644" y="4954"/>
                </a:lnTo>
                <a:cubicBezTo>
                  <a:pt x="2644" y="4751"/>
                  <a:pt x="2548" y="4549"/>
                  <a:pt x="2405" y="4418"/>
                </a:cubicBezTo>
                <a:cubicBezTo>
                  <a:pt x="2215" y="4275"/>
                  <a:pt x="2108" y="4025"/>
                  <a:pt x="2108" y="3799"/>
                </a:cubicBezTo>
                <a:cubicBezTo>
                  <a:pt x="2108" y="3549"/>
                  <a:pt x="2215" y="3322"/>
                  <a:pt x="2405" y="3168"/>
                </a:cubicBezTo>
                <a:cubicBezTo>
                  <a:pt x="2560" y="3052"/>
                  <a:pt x="2753" y="2991"/>
                  <a:pt x="2948" y="2991"/>
                </a:cubicBezTo>
                <a:close/>
                <a:moveTo>
                  <a:pt x="10418" y="322"/>
                </a:moveTo>
                <a:cubicBezTo>
                  <a:pt x="10716" y="322"/>
                  <a:pt x="10978" y="560"/>
                  <a:pt x="10978" y="882"/>
                </a:cubicBezTo>
                <a:lnTo>
                  <a:pt x="10978" y="5501"/>
                </a:lnTo>
                <a:lnTo>
                  <a:pt x="10811" y="5501"/>
                </a:lnTo>
                <a:cubicBezTo>
                  <a:pt x="10728" y="5501"/>
                  <a:pt x="10645" y="5585"/>
                  <a:pt x="10645" y="5668"/>
                </a:cubicBezTo>
                <a:cubicBezTo>
                  <a:pt x="10645" y="5763"/>
                  <a:pt x="10728" y="5835"/>
                  <a:pt x="10811" y="5835"/>
                </a:cubicBezTo>
                <a:lnTo>
                  <a:pt x="11002" y="5835"/>
                </a:lnTo>
                <a:lnTo>
                  <a:pt x="11002" y="10466"/>
                </a:lnTo>
                <a:cubicBezTo>
                  <a:pt x="11002" y="10764"/>
                  <a:pt x="10764" y="11014"/>
                  <a:pt x="10454" y="11014"/>
                </a:cubicBezTo>
                <a:lnTo>
                  <a:pt x="5846" y="11014"/>
                </a:lnTo>
                <a:lnTo>
                  <a:pt x="5846" y="9228"/>
                </a:lnTo>
                <a:cubicBezTo>
                  <a:pt x="5846" y="8942"/>
                  <a:pt x="5608" y="8704"/>
                  <a:pt x="5322" y="8704"/>
                </a:cubicBezTo>
                <a:lnTo>
                  <a:pt x="4965" y="8704"/>
                </a:lnTo>
                <a:cubicBezTo>
                  <a:pt x="4751" y="8704"/>
                  <a:pt x="4560" y="8799"/>
                  <a:pt x="4429" y="8942"/>
                </a:cubicBezTo>
                <a:cubicBezTo>
                  <a:pt x="4275" y="9133"/>
                  <a:pt x="4037" y="9240"/>
                  <a:pt x="3798" y="9240"/>
                </a:cubicBezTo>
                <a:cubicBezTo>
                  <a:pt x="3560" y="9240"/>
                  <a:pt x="3322" y="9133"/>
                  <a:pt x="3179" y="8942"/>
                </a:cubicBezTo>
                <a:cubicBezTo>
                  <a:pt x="3025" y="8752"/>
                  <a:pt x="2965" y="8502"/>
                  <a:pt x="3013" y="8263"/>
                </a:cubicBezTo>
                <a:cubicBezTo>
                  <a:pt x="3072" y="7942"/>
                  <a:pt x="3346" y="7692"/>
                  <a:pt x="3656" y="7632"/>
                </a:cubicBezTo>
                <a:cubicBezTo>
                  <a:pt x="3710" y="7621"/>
                  <a:pt x="3764" y="7616"/>
                  <a:pt x="3818" y="7616"/>
                </a:cubicBezTo>
                <a:cubicBezTo>
                  <a:pt x="4055" y="7616"/>
                  <a:pt x="4274" y="7722"/>
                  <a:pt x="4429" y="7906"/>
                </a:cubicBezTo>
                <a:cubicBezTo>
                  <a:pt x="4560" y="8049"/>
                  <a:pt x="4751" y="8144"/>
                  <a:pt x="4953" y="8144"/>
                </a:cubicBezTo>
                <a:lnTo>
                  <a:pt x="5311" y="8144"/>
                </a:lnTo>
                <a:cubicBezTo>
                  <a:pt x="5584" y="8144"/>
                  <a:pt x="5822" y="7906"/>
                  <a:pt x="5822" y="7621"/>
                </a:cubicBezTo>
                <a:lnTo>
                  <a:pt x="5822" y="5835"/>
                </a:lnTo>
                <a:lnTo>
                  <a:pt x="7608" y="5835"/>
                </a:lnTo>
                <a:cubicBezTo>
                  <a:pt x="7716" y="5835"/>
                  <a:pt x="7811" y="5918"/>
                  <a:pt x="7811" y="6025"/>
                </a:cubicBezTo>
                <a:lnTo>
                  <a:pt x="7811" y="6382"/>
                </a:lnTo>
                <a:cubicBezTo>
                  <a:pt x="7811" y="6489"/>
                  <a:pt x="7763" y="6597"/>
                  <a:pt x="7692" y="6656"/>
                </a:cubicBezTo>
                <a:cubicBezTo>
                  <a:pt x="7370" y="6918"/>
                  <a:pt x="7227" y="7323"/>
                  <a:pt x="7299" y="7740"/>
                </a:cubicBezTo>
                <a:cubicBezTo>
                  <a:pt x="7394" y="8180"/>
                  <a:pt x="7727" y="8537"/>
                  <a:pt x="8180" y="8633"/>
                </a:cubicBezTo>
                <a:cubicBezTo>
                  <a:pt x="8251" y="8644"/>
                  <a:pt x="8347" y="8656"/>
                  <a:pt x="8418" y="8656"/>
                </a:cubicBezTo>
                <a:cubicBezTo>
                  <a:pt x="8680" y="8656"/>
                  <a:pt x="8942" y="8573"/>
                  <a:pt x="9132" y="8406"/>
                </a:cubicBezTo>
                <a:cubicBezTo>
                  <a:pt x="9394" y="8180"/>
                  <a:pt x="9549" y="7871"/>
                  <a:pt x="9549" y="7513"/>
                </a:cubicBezTo>
                <a:cubicBezTo>
                  <a:pt x="9549" y="7168"/>
                  <a:pt x="9394" y="6847"/>
                  <a:pt x="9132" y="6632"/>
                </a:cubicBezTo>
                <a:cubicBezTo>
                  <a:pt x="9061" y="6573"/>
                  <a:pt x="9013" y="6478"/>
                  <a:pt x="9013" y="6370"/>
                </a:cubicBezTo>
                <a:lnTo>
                  <a:pt x="9013" y="6013"/>
                </a:lnTo>
                <a:cubicBezTo>
                  <a:pt x="9013" y="5906"/>
                  <a:pt x="9097" y="5823"/>
                  <a:pt x="9204" y="5823"/>
                </a:cubicBezTo>
                <a:lnTo>
                  <a:pt x="10097" y="5823"/>
                </a:lnTo>
                <a:cubicBezTo>
                  <a:pt x="10192" y="5823"/>
                  <a:pt x="10264" y="5739"/>
                  <a:pt x="10264" y="5656"/>
                </a:cubicBezTo>
                <a:cubicBezTo>
                  <a:pt x="10264" y="5561"/>
                  <a:pt x="10192" y="5489"/>
                  <a:pt x="10097" y="5489"/>
                </a:cubicBezTo>
                <a:lnTo>
                  <a:pt x="9204" y="5489"/>
                </a:lnTo>
                <a:cubicBezTo>
                  <a:pt x="8918" y="5489"/>
                  <a:pt x="8680" y="5727"/>
                  <a:pt x="8680" y="6013"/>
                </a:cubicBezTo>
                <a:lnTo>
                  <a:pt x="8680" y="6370"/>
                </a:lnTo>
                <a:cubicBezTo>
                  <a:pt x="8680" y="6573"/>
                  <a:pt x="8775" y="6775"/>
                  <a:pt x="8918" y="6906"/>
                </a:cubicBezTo>
                <a:cubicBezTo>
                  <a:pt x="9121" y="7049"/>
                  <a:pt x="9216" y="7287"/>
                  <a:pt x="9216" y="7525"/>
                </a:cubicBezTo>
                <a:cubicBezTo>
                  <a:pt x="9216" y="7763"/>
                  <a:pt x="9121" y="8002"/>
                  <a:pt x="8918" y="8156"/>
                </a:cubicBezTo>
                <a:cubicBezTo>
                  <a:pt x="8764" y="8272"/>
                  <a:pt x="8570" y="8333"/>
                  <a:pt x="8376" y="8333"/>
                </a:cubicBezTo>
                <a:cubicBezTo>
                  <a:pt x="8330" y="8333"/>
                  <a:pt x="8285" y="8330"/>
                  <a:pt x="8239" y="8323"/>
                </a:cubicBezTo>
                <a:cubicBezTo>
                  <a:pt x="7930" y="8263"/>
                  <a:pt x="7668" y="7990"/>
                  <a:pt x="7608" y="7680"/>
                </a:cubicBezTo>
                <a:cubicBezTo>
                  <a:pt x="7549" y="7382"/>
                  <a:pt x="7656" y="7097"/>
                  <a:pt x="7882" y="6906"/>
                </a:cubicBezTo>
                <a:cubicBezTo>
                  <a:pt x="8025" y="6775"/>
                  <a:pt x="8120" y="6573"/>
                  <a:pt x="8120" y="6370"/>
                </a:cubicBezTo>
                <a:lnTo>
                  <a:pt x="8120" y="6013"/>
                </a:lnTo>
                <a:cubicBezTo>
                  <a:pt x="8120" y="5727"/>
                  <a:pt x="7882" y="5489"/>
                  <a:pt x="7597" y="5489"/>
                </a:cubicBezTo>
                <a:lnTo>
                  <a:pt x="5811" y="5489"/>
                </a:lnTo>
                <a:lnTo>
                  <a:pt x="5811" y="3703"/>
                </a:lnTo>
                <a:cubicBezTo>
                  <a:pt x="5811" y="3596"/>
                  <a:pt x="5894" y="3513"/>
                  <a:pt x="6001" y="3513"/>
                </a:cubicBezTo>
                <a:lnTo>
                  <a:pt x="6358" y="3513"/>
                </a:lnTo>
                <a:cubicBezTo>
                  <a:pt x="6465" y="3513"/>
                  <a:pt x="6573" y="3560"/>
                  <a:pt x="6632" y="3632"/>
                </a:cubicBezTo>
                <a:cubicBezTo>
                  <a:pt x="6847" y="3886"/>
                  <a:pt x="7157" y="4035"/>
                  <a:pt x="7492" y="4035"/>
                </a:cubicBezTo>
                <a:cubicBezTo>
                  <a:pt x="7565" y="4035"/>
                  <a:pt x="7640" y="4028"/>
                  <a:pt x="7716" y="4013"/>
                </a:cubicBezTo>
                <a:cubicBezTo>
                  <a:pt x="8156" y="3930"/>
                  <a:pt x="8525" y="3584"/>
                  <a:pt x="8609" y="3144"/>
                </a:cubicBezTo>
                <a:cubicBezTo>
                  <a:pt x="8680" y="2798"/>
                  <a:pt x="8597" y="2441"/>
                  <a:pt x="8382" y="2167"/>
                </a:cubicBezTo>
                <a:cubicBezTo>
                  <a:pt x="8156" y="1906"/>
                  <a:pt x="7847" y="1751"/>
                  <a:pt x="7489" y="1751"/>
                </a:cubicBezTo>
                <a:cubicBezTo>
                  <a:pt x="7156" y="1751"/>
                  <a:pt x="6823" y="1906"/>
                  <a:pt x="6608" y="2167"/>
                </a:cubicBezTo>
                <a:cubicBezTo>
                  <a:pt x="6549" y="2251"/>
                  <a:pt x="6454" y="2287"/>
                  <a:pt x="6346" y="2287"/>
                </a:cubicBezTo>
                <a:lnTo>
                  <a:pt x="5989" y="2287"/>
                </a:lnTo>
                <a:cubicBezTo>
                  <a:pt x="5882" y="2287"/>
                  <a:pt x="5799" y="2203"/>
                  <a:pt x="5799" y="2096"/>
                </a:cubicBezTo>
                <a:lnTo>
                  <a:pt x="5799" y="1203"/>
                </a:lnTo>
                <a:cubicBezTo>
                  <a:pt x="5799" y="1120"/>
                  <a:pt x="5715" y="1036"/>
                  <a:pt x="5632" y="1036"/>
                </a:cubicBezTo>
                <a:cubicBezTo>
                  <a:pt x="5549" y="1036"/>
                  <a:pt x="5465" y="1120"/>
                  <a:pt x="5465" y="1203"/>
                </a:cubicBezTo>
                <a:lnTo>
                  <a:pt x="5465" y="2096"/>
                </a:lnTo>
                <a:cubicBezTo>
                  <a:pt x="5465" y="2382"/>
                  <a:pt x="5703" y="2620"/>
                  <a:pt x="5989" y="2620"/>
                </a:cubicBezTo>
                <a:lnTo>
                  <a:pt x="6346" y="2620"/>
                </a:lnTo>
                <a:cubicBezTo>
                  <a:pt x="6561" y="2620"/>
                  <a:pt x="6751" y="2525"/>
                  <a:pt x="6882" y="2382"/>
                </a:cubicBezTo>
                <a:cubicBezTo>
                  <a:pt x="7037" y="2191"/>
                  <a:pt x="7263" y="2084"/>
                  <a:pt x="7513" y="2084"/>
                </a:cubicBezTo>
                <a:cubicBezTo>
                  <a:pt x="7751" y="2084"/>
                  <a:pt x="7989" y="2191"/>
                  <a:pt x="8132" y="2382"/>
                </a:cubicBezTo>
                <a:cubicBezTo>
                  <a:pt x="8287" y="2572"/>
                  <a:pt x="8347" y="2822"/>
                  <a:pt x="8299" y="3060"/>
                </a:cubicBezTo>
                <a:cubicBezTo>
                  <a:pt x="8239" y="3382"/>
                  <a:pt x="7966" y="3632"/>
                  <a:pt x="7656" y="3691"/>
                </a:cubicBezTo>
                <a:cubicBezTo>
                  <a:pt x="7601" y="3702"/>
                  <a:pt x="7547" y="3708"/>
                  <a:pt x="7494" y="3708"/>
                </a:cubicBezTo>
                <a:cubicBezTo>
                  <a:pt x="7257" y="3708"/>
                  <a:pt x="7038" y="3602"/>
                  <a:pt x="6882" y="3418"/>
                </a:cubicBezTo>
                <a:cubicBezTo>
                  <a:pt x="6751" y="3275"/>
                  <a:pt x="6561" y="3179"/>
                  <a:pt x="6346" y="3179"/>
                </a:cubicBezTo>
                <a:lnTo>
                  <a:pt x="5989" y="3179"/>
                </a:lnTo>
                <a:cubicBezTo>
                  <a:pt x="5703" y="3179"/>
                  <a:pt x="5465" y="3418"/>
                  <a:pt x="5465" y="3703"/>
                </a:cubicBezTo>
                <a:lnTo>
                  <a:pt x="5465" y="5489"/>
                </a:lnTo>
                <a:lnTo>
                  <a:pt x="3679" y="5489"/>
                </a:lnTo>
                <a:cubicBezTo>
                  <a:pt x="3584" y="5489"/>
                  <a:pt x="3489" y="5406"/>
                  <a:pt x="3489" y="5299"/>
                </a:cubicBezTo>
                <a:lnTo>
                  <a:pt x="3489" y="4942"/>
                </a:lnTo>
                <a:cubicBezTo>
                  <a:pt x="3489" y="4834"/>
                  <a:pt x="3536" y="4727"/>
                  <a:pt x="3608" y="4668"/>
                </a:cubicBezTo>
                <a:cubicBezTo>
                  <a:pt x="3917" y="4406"/>
                  <a:pt x="4072" y="4001"/>
                  <a:pt x="3989" y="3584"/>
                </a:cubicBezTo>
                <a:cubicBezTo>
                  <a:pt x="3906" y="3144"/>
                  <a:pt x="3560" y="2787"/>
                  <a:pt x="3120" y="2691"/>
                </a:cubicBezTo>
                <a:cubicBezTo>
                  <a:pt x="3039" y="2675"/>
                  <a:pt x="2957" y="2666"/>
                  <a:pt x="2876" y="2666"/>
                </a:cubicBezTo>
                <a:cubicBezTo>
                  <a:pt x="2611" y="2666"/>
                  <a:pt x="2353" y="2754"/>
                  <a:pt x="2143" y="2918"/>
                </a:cubicBezTo>
                <a:cubicBezTo>
                  <a:pt x="1882" y="3144"/>
                  <a:pt x="1727" y="3453"/>
                  <a:pt x="1727" y="3811"/>
                </a:cubicBezTo>
                <a:cubicBezTo>
                  <a:pt x="1727" y="4156"/>
                  <a:pt x="1882" y="4477"/>
                  <a:pt x="2143" y="4692"/>
                </a:cubicBezTo>
                <a:cubicBezTo>
                  <a:pt x="2227" y="4751"/>
                  <a:pt x="2263" y="4846"/>
                  <a:pt x="2263" y="4954"/>
                </a:cubicBezTo>
                <a:lnTo>
                  <a:pt x="2263" y="5311"/>
                </a:lnTo>
                <a:cubicBezTo>
                  <a:pt x="2263" y="5418"/>
                  <a:pt x="2179" y="5501"/>
                  <a:pt x="2072" y="5501"/>
                </a:cubicBezTo>
                <a:lnTo>
                  <a:pt x="286" y="5501"/>
                </a:lnTo>
                <a:lnTo>
                  <a:pt x="286" y="882"/>
                </a:lnTo>
                <a:cubicBezTo>
                  <a:pt x="286" y="584"/>
                  <a:pt x="524" y="322"/>
                  <a:pt x="834" y="322"/>
                </a:cubicBezTo>
                <a:lnTo>
                  <a:pt x="5465" y="322"/>
                </a:lnTo>
                <a:lnTo>
                  <a:pt x="5465" y="524"/>
                </a:lnTo>
                <a:cubicBezTo>
                  <a:pt x="5465" y="608"/>
                  <a:pt x="5537" y="679"/>
                  <a:pt x="5632" y="679"/>
                </a:cubicBezTo>
                <a:cubicBezTo>
                  <a:pt x="5715" y="679"/>
                  <a:pt x="5799" y="608"/>
                  <a:pt x="5799" y="524"/>
                </a:cubicBezTo>
                <a:lnTo>
                  <a:pt x="5799" y="322"/>
                </a:lnTo>
                <a:close/>
                <a:moveTo>
                  <a:pt x="881" y="1"/>
                </a:moveTo>
                <a:cubicBezTo>
                  <a:pt x="405" y="1"/>
                  <a:pt x="0" y="382"/>
                  <a:pt x="0" y="870"/>
                </a:cubicBezTo>
                <a:lnTo>
                  <a:pt x="0" y="10454"/>
                </a:lnTo>
                <a:cubicBezTo>
                  <a:pt x="0" y="10930"/>
                  <a:pt x="393" y="11335"/>
                  <a:pt x="881" y="11335"/>
                </a:cubicBezTo>
                <a:lnTo>
                  <a:pt x="10466" y="11335"/>
                </a:lnTo>
                <a:cubicBezTo>
                  <a:pt x="10942" y="11335"/>
                  <a:pt x="11347" y="10954"/>
                  <a:pt x="11347" y="10454"/>
                </a:cubicBezTo>
                <a:lnTo>
                  <a:pt x="11347" y="870"/>
                </a:lnTo>
                <a:cubicBezTo>
                  <a:pt x="11347" y="405"/>
                  <a:pt x="10942" y="1"/>
                  <a:pt x="10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40" name="Google Shape;10840;p60"/>
          <p:cNvGrpSpPr/>
          <p:nvPr/>
        </p:nvGrpSpPr>
        <p:grpSpPr>
          <a:xfrm>
            <a:off x="6216367" y="1970156"/>
            <a:ext cx="361147" cy="361147"/>
            <a:chOff x="6216367" y="1970156"/>
            <a:chExt cx="361147" cy="361147"/>
          </a:xfrm>
        </p:grpSpPr>
        <p:sp>
          <p:nvSpPr>
            <p:cNvPr id="10841" name="Google Shape;10841;p60"/>
            <p:cNvSpPr/>
            <p:nvPr/>
          </p:nvSpPr>
          <p:spPr>
            <a:xfrm>
              <a:off x="6247813" y="2069522"/>
              <a:ext cx="329701" cy="261781"/>
            </a:xfrm>
            <a:custGeom>
              <a:avLst/>
              <a:gdLst/>
              <a:ahLst/>
              <a:cxnLst/>
              <a:rect l="l" t="t" r="r" b="b"/>
              <a:pathLst>
                <a:path w="10359" h="8225" extrusionOk="0">
                  <a:moveTo>
                    <a:pt x="9663" y="0"/>
                  </a:moveTo>
                  <a:cubicBezTo>
                    <a:pt x="9637" y="0"/>
                    <a:pt x="9611" y="7"/>
                    <a:pt x="9585" y="22"/>
                  </a:cubicBezTo>
                  <a:cubicBezTo>
                    <a:pt x="9490" y="69"/>
                    <a:pt x="9466" y="153"/>
                    <a:pt x="9502" y="248"/>
                  </a:cubicBezTo>
                  <a:cubicBezTo>
                    <a:pt x="9847" y="962"/>
                    <a:pt x="10026" y="1736"/>
                    <a:pt x="10026" y="2534"/>
                  </a:cubicBezTo>
                  <a:cubicBezTo>
                    <a:pt x="10026" y="3963"/>
                    <a:pt x="9478" y="5308"/>
                    <a:pt x="8466" y="6320"/>
                  </a:cubicBezTo>
                  <a:cubicBezTo>
                    <a:pt x="7454" y="7332"/>
                    <a:pt x="6108" y="7880"/>
                    <a:pt x="4680" y="7880"/>
                  </a:cubicBezTo>
                  <a:cubicBezTo>
                    <a:pt x="3834" y="7880"/>
                    <a:pt x="3037" y="7689"/>
                    <a:pt x="2287" y="7308"/>
                  </a:cubicBezTo>
                  <a:cubicBezTo>
                    <a:pt x="1667" y="6999"/>
                    <a:pt x="1096" y="6558"/>
                    <a:pt x="632" y="6022"/>
                  </a:cubicBezTo>
                  <a:lnTo>
                    <a:pt x="632" y="6022"/>
                  </a:lnTo>
                  <a:lnTo>
                    <a:pt x="1286" y="6237"/>
                  </a:lnTo>
                  <a:cubicBezTo>
                    <a:pt x="1308" y="6245"/>
                    <a:pt x="1329" y="6249"/>
                    <a:pt x="1350" y="6249"/>
                  </a:cubicBezTo>
                  <a:cubicBezTo>
                    <a:pt x="1417" y="6249"/>
                    <a:pt x="1473" y="6206"/>
                    <a:pt x="1501" y="6141"/>
                  </a:cubicBezTo>
                  <a:cubicBezTo>
                    <a:pt x="1525" y="6046"/>
                    <a:pt x="1489" y="5963"/>
                    <a:pt x="1394" y="5927"/>
                  </a:cubicBezTo>
                  <a:lnTo>
                    <a:pt x="215" y="5546"/>
                  </a:lnTo>
                  <a:cubicBezTo>
                    <a:pt x="197" y="5539"/>
                    <a:pt x="180" y="5536"/>
                    <a:pt x="163" y="5536"/>
                  </a:cubicBezTo>
                  <a:cubicBezTo>
                    <a:pt x="122" y="5536"/>
                    <a:pt x="85" y="5553"/>
                    <a:pt x="60" y="5570"/>
                  </a:cubicBezTo>
                  <a:cubicBezTo>
                    <a:pt x="12" y="5606"/>
                    <a:pt x="1" y="5665"/>
                    <a:pt x="1" y="5725"/>
                  </a:cubicBezTo>
                  <a:lnTo>
                    <a:pt x="191" y="7094"/>
                  </a:lnTo>
                  <a:cubicBezTo>
                    <a:pt x="203" y="7177"/>
                    <a:pt x="274" y="7237"/>
                    <a:pt x="358" y="7237"/>
                  </a:cubicBezTo>
                  <a:lnTo>
                    <a:pt x="382" y="7237"/>
                  </a:lnTo>
                  <a:cubicBezTo>
                    <a:pt x="477" y="7225"/>
                    <a:pt x="536" y="7130"/>
                    <a:pt x="512" y="7046"/>
                  </a:cubicBezTo>
                  <a:lnTo>
                    <a:pt x="417" y="6272"/>
                  </a:lnTo>
                  <a:lnTo>
                    <a:pt x="417" y="6272"/>
                  </a:lnTo>
                  <a:cubicBezTo>
                    <a:pt x="893" y="6820"/>
                    <a:pt x="1489" y="7284"/>
                    <a:pt x="2120" y="7606"/>
                  </a:cubicBezTo>
                  <a:cubicBezTo>
                    <a:pt x="2918" y="8011"/>
                    <a:pt x="3775" y="8225"/>
                    <a:pt x="4680" y="8225"/>
                  </a:cubicBezTo>
                  <a:cubicBezTo>
                    <a:pt x="6204" y="8225"/>
                    <a:pt x="7621" y="7630"/>
                    <a:pt x="8692" y="6558"/>
                  </a:cubicBezTo>
                  <a:cubicBezTo>
                    <a:pt x="9764" y="5487"/>
                    <a:pt x="10359" y="4058"/>
                    <a:pt x="10359" y="2558"/>
                  </a:cubicBezTo>
                  <a:cubicBezTo>
                    <a:pt x="10359" y="1677"/>
                    <a:pt x="10157" y="855"/>
                    <a:pt x="9799" y="93"/>
                  </a:cubicBezTo>
                  <a:cubicBezTo>
                    <a:pt x="9775" y="35"/>
                    <a:pt x="9721" y="0"/>
                    <a:pt x="96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2" name="Google Shape;10842;p60"/>
            <p:cNvSpPr/>
            <p:nvPr/>
          </p:nvSpPr>
          <p:spPr>
            <a:xfrm>
              <a:off x="6216367" y="1970156"/>
              <a:ext cx="329701" cy="260731"/>
            </a:xfrm>
            <a:custGeom>
              <a:avLst/>
              <a:gdLst/>
              <a:ahLst/>
              <a:cxnLst/>
              <a:rect l="l" t="t" r="r" b="b"/>
              <a:pathLst>
                <a:path w="10359" h="8192" extrusionOk="0">
                  <a:moveTo>
                    <a:pt x="5668" y="0"/>
                  </a:moveTo>
                  <a:cubicBezTo>
                    <a:pt x="4156" y="0"/>
                    <a:pt x="2739" y="596"/>
                    <a:pt x="1667" y="1667"/>
                  </a:cubicBezTo>
                  <a:cubicBezTo>
                    <a:pt x="596" y="2739"/>
                    <a:pt x="0" y="4168"/>
                    <a:pt x="0" y="5680"/>
                  </a:cubicBezTo>
                  <a:cubicBezTo>
                    <a:pt x="0" y="6525"/>
                    <a:pt x="179" y="7346"/>
                    <a:pt x="548" y="8097"/>
                  </a:cubicBezTo>
                  <a:cubicBezTo>
                    <a:pt x="584" y="8156"/>
                    <a:pt x="643" y="8192"/>
                    <a:pt x="703" y="8192"/>
                  </a:cubicBezTo>
                  <a:cubicBezTo>
                    <a:pt x="727" y="8192"/>
                    <a:pt x="750" y="8192"/>
                    <a:pt x="774" y="8180"/>
                  </a:cubicBezTo>
                  <a:cubicBezTo>
                    <a:pt x="858" y="8132"/>
                    <a:pt x="893" y="8037"/>
                    <a:pt x="846" y="7954"/>
                  </a:cubicBezTo>
                  <a:cubicBezTo>
                    <a:pt x="512" y="7239"/>
                    <a:pt x="334" y="6465"/>
                    <a:pt x="334" y="5656"/>
                  </a:cubicBezTo>
                  <a:cubicBezTo>
                    <a:pt x="334" y="4227"/>
                    <a:pt x="881" y="2894"/>
                    <a:pt x="1893" y="1882"/>
                  </a:cubicBezTo>
                  <a:cubicBezTo>
                    <a:pt x="2905" y="869"/>
                    <a:pt x="4239" y="322"/>
                    <a:pt x="5668" y="322"/>
                  </a:cubicBezTo>
                  <a:cubicBezTo>
                    <a:pt x="7239" y="322"/>
                    <a:pt x="8704" y="989"/>
                    <a:pt x="9716" y="2179"/>
                  </a:cubicBezTo>
                  <a:lnTo>
                    <a:pt x="9061" y="1953"/>
                  </a:lnTo>
                  <a:cubicBezTo>
                    <a:pt x="9044" y="1948"/>
                    <a:pt x="9027" y="1946"/>
                    <a:pt x="9010" y="1946"/>
                  </a:cubicBezTo>
                  <a:cubicBezTo>
                    <a:pt x="8942" y="1946"/>
                    <a:pt x="8878" y="1984"/>
                    <a:pt x="8859" y="2060"/>
                  </a:cubicBezTo>
                  <a:cubicBezTo>
                    <a:pt x="8823" y="2143"/>
                    <a:pt x="8870" y="2239"/>
                    <a:pt x="8966" y="2263"/>
                  </a:cubicBezTo>
                  <a:lnTo>
                    <a:pt x="10133" y="2655"/>
                  </a:lnTo>
                  <a:cubicBezTo>
                    <a:pt x="10156" y="2655"/>
                    <a:pt x="10168" y="2667"/>
                    <a:pt x="10192" y="2667"/>
                  </a:cubicBezTo>
                  <a:cubicBezTo>
                    <a:pt x="10240" y="2667"/>
                    <a:pt x="10275" y="2655"/>
                    <a:pt x="10299" y="2620"/>
                  </a:cubicBezTo>
                  <a:cubicBezTo>
                    <a:pt x="10347" y="2596"/>
                    <a:pt x="10359" y="2536"/>
                    <a:pt x="10359" y="2477"/>
                  </a:cubicBezTo>
                  <a:lnTo>
                    <a:pt x="10168" y="1108"/>
                  </a:lnTo>
                  <a:cubicBezTo>
                    <a:pt x="10158" y="1027"/>
                    <a:pt x="10088" y="971"/>
                    <a:pt x="10016" y="971"/>
                  </a:cubicBezTo>
                  <a:cubicBezTo>
                    <a:pt x="10003" y="971"/>
                    <a:pt x="9990" y="973"/>
                    <a:pt x="9978" y="977"/>
                  </a:cubicBezTo>
                  <a:cubicBezTo>
                    <a:pt x="9882" y="989"/>
                    <a:pt x="9823" y="1072"/>
                    <a:pt x="9835" y="1167"/>
                  </a:cubicBezTo>
                  <a:lnTo>
                    <a:pt x="9942" y="1941"/>
                  </a:lnTo>
                  <a:cubicBezTo>
                    <a:pt x="8870" y="703"/>
                    <a:pt x="7323" y="0"/>
                    <a:pt x="5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3" name="Google Shape;10843;p60"/>
            <p:cNvSpPr/>
            <p:nvPr/>
          </p:nvSpPr>
          <p:spPr>
            <a:xfrm>
              <a:off x="6351252" y="2064875"/>
              <a:ext cx="17855" cy="28072"/>
            </a:xfrm>
            <a:custGeom>
              <a:avLst/>
              <a:gdLst/>
              <a:ahLst/>
              <a:cxnLst/>
              <a:rect l="l" t="t" r="r" b="b"/>
              <a:pathLst>
                <a:path w="561" h="882" extrusionOk="0">
                  <a:moveTo>
                    <a:pt x="358" y="1"/>
                  </a:moveTo>
                  <a:cubicBezTo>
                    <a:pt x="275" y="1"/>
                    <a:pt x="203" y="84"/>
                    <a:pt x="203" y="168"/>
                  </a:cubicBezTo>
                  <a:lnTo>
                    <a:pt x="203" y="477"/>
                  </a:lnTo>
                  <a:lnTo>
                    <a:pt x="84" y="596"/>
                  </a:lnTo>
                  <a:cubicBezTo>
                    <a:pt x="25" y="656"/>
                    <a:pt x="1" y="763"/>
                    <a:pt x="84" y="834"/>
                  </a:cubicBezTo>
                  <a:cubicBezTo>
                    <a:pt x="108" y="870"/>
                    <a:pt x="156" y="882"/>
                    <a:pt x="203" y="882"/>
                  </a:cubicBezTo>
                  <a:cubicBezTo>
                    <a:pt x="239" y="882"/>
                    <a:pt x="287" y="870"/>
                    <a:pt x="322" y="834"/>
                  </a:cubicBezTo>
                  <a:lnTo>
                    <a:pt x="501" y="680"/>
                  </a:lnTo>
                  <a:cubicBezTo>
                    <a:pt x="525" y="644"/>
                    <a:pt x="561" y="596"/>
                    <a:pt x="537" y="560"/>
                  </a:cubicBezTo>
                  <a:lnTo>
                    <a:pt x="525" y="168"/>
                  </a:lnTo>
                  <a:cubicBezTo>
                    <a:pt x="525" y="84"/>
                    <a:pt x="453" y="1"/>
                    <a:pt x="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4" name="Google Shape;10844;p60"/>
            <p:cNvSpPr/>
            <p:nvPr/>
          </p:nvSpPr>
          <p:spPr>
            <a:xfrm>
              <a:off x="6260321" y="2016688"/>
              <a:ext cx="272857" cy="269929"/>
            </a:xfrm>
            <a:custGeom>
              <a:avLst/>
              <a:gdLst/>
              <a:ahLst/>
              <a:cxnLst/>
              <a:rect l="l" t="t" r="r" b="b"/>
              <a:pathLst>
                <a:path w="8573" h="8481" extrusionOk="0">
                  <a:moveTo>
                    <a:pt x="2822" y="3182"/>
                  </a:moveTo>
                  <a:lnTo>
                    <a:pt x="3037" y="3217"/>
                  </a:lnTo>
                  <a:lnTo>
                    <a:pt x="3144" y="3217"/>
                  </a:lnTo>
                  <a:lnTo>
                    <a:pt x="2965" y="3598"/>
                  </a:lnTo>
                  <a:lnTo>
                    <a:pt x="2679" y="3527"/>
                  </a:lnTo>
                  <a:lnTo>
                    <a:pt x="2822" y="3182"/>
                  </a:lnTo>
                  <a:close/>
                  <a:moveTo>
                    <a:pt x="3918" y="3110"/>
                  </a:moveTo>
                  <a:lnTo>
                    <a:pt x="4251" y="3515"/>
                  </a:lnTo>
                  <a:lnTo>
                    <a:pt x="4203" y="3634"/>
                  </a:lnTo>
                  <a:cubicBezTo>
                    <a:pt x="4168" y="3718"/>
                    <a:pt x="4215" y="3813"/>
                    <a:pt x="4310" y="3837"/>
                  </a:cubicBezTo>
                  <a:cubicBezTo>
                    <a:pt x="4322" y="3837"/>
                    <a:pt x="4334" y="3860"/>
                    <a:pt x="4370" y="3860"/>
                  </a:cubicBezTo>
                  <a:cubicBezTo>
                    <a:pt x="4441" y="3860"/>
                    <a:pt x="4501" y="3813"/>
                    <a:pt x="4525" y="3741"/>
                  </a:cubicBezTo>
                  <a:lnTo>
                    <a:pt x="4572" y="3622"/>
                  </a:lnTo>
                  <a:cubicBezTo>
                    <a:pt x="4608" y="3515"/>
                    <a:pt x="4584" y="3408"/>
                    <a:pt x="4513" y="3325"/>
                  </a:cubicBezTo>
                  <a:lnTo>
                    <a:pt x="4430" y="3217"/>
                  </a:lnTo>
                  <a:lnTo>
                    <a:pt x="4727" y="3444"/>
                  </a:lnTo>
                  <a:cubicBezTo>
                    <a:pt x="4749" y="3458"/>
                    <a:pt x="4780" y="3469"/>
                    <a:pt x="4815" y="3469"/>
                  </a:cubicBezTo>
                  <a:cubicBezTo>
                    <a:pt x="4836" y="3469"/>
                    <a:pt x="4859" y="3465"/>
                    <a:pt x="4882" y="3456"/>
                  </a:cubicBezTo>
                  <a:lnTo>
                    <a:pt x="5096" y="3360"/>
                  </a:lnTo>
                  <a:lnTo>
                    <a:pt x="5227" y="3515"/>
                  </a:lnTo>
                  <a:cubicBezTo>
                    <a:pt x="5263" y="3563"/>
                    <a:pt x="5323" y="3575"/>
                    <a:pt x="5358" y="3575"/>
                  </a:cubicBezTo>
                  <a:lnTo>
                    <a:pt x="5775" y="3539"/>
                  </a:lnTo>
                  <a:lnTo>
                    <a:pt x="5799" y="3622"/>
                  </a:lnTo>
                  <a:cubicBezTo>
                    <a:pt x="5811" y="3658"/>
                    <a:pt x="5775" y="3694"/>
                    <a:pt x="5775" y="3706"/>
                  </a:cubicBezTo>
                  <a:cubicBezTo>
                    <a:pt x="5763" y="3718"/>
                    <a:pt x="5739" y="3753"/>
                    <a:pt x="5692" y="3753"/>
                  </a:cubicBezTo>
                  <a:lnTo>
                    <a:pt x="4977" y="3813"/>
                  </a:lnTo>
                  <a:cubicBezTo>
                    <a:pt x="4882" y="3813"/>
                    <a:pt x="4811" y="3872"/>
                    <a:pt x="4751" y="3944"/>
                  </a:cubicBezTo>
                  <a:cubicBezTo>
                    <a:pt x="4727" y="4003"/>
                    <a:pt x="4691" y="4063"/>
                    <a:pt x="4703" y="4122"/>
                  </a:cubicBezTo>
                  <a:lnTo>
                    <a:pt x="4227" y="3956"/>
                  </a:lnTo>
                  <a:cubicBezTo>
                    <a:pt x="4215" y="3956"/>
                    <a:pt x="4215" y="3944"/>
                    <a:pt x="4203" y="3932"/>
                  </a:cubicBezTo>
                  <a:cubicBezTo>
                    <a:pt x="4168" y="3753"/>
                    <a:pt x="4025" y="3610"/>
                    <a:pt x="3846" y="3610"/>
                  </a:cubicBezTo>
                  <a:lnTo>
                    <a:pt x="3834" y="3610"/>
                  </a:lnTo>
                  <a:lnTo>
                    <a:pt x="3322" y="3634"/>
                  </a:lnTo>
                  <a:lnTo>
                    <a:pt x="3477" y="3289"/>
                  </a:lnTo>
                  <a:cubicBezTo>
                    <a:pt x="3489" y="3265"/>
                    <a:pt x="3513" y="3229"/>
                    <a:pt x="3548" y="3229"/>
                  </a:cubicBezTo>
                  <a:lnTo>
                    <a:pt x="3918" y="3110"/>
                  </a:lnTo>
                  <a:close/>
                  <a:moveTo>
                    <a:pt x="7775" y="3646"/>
                  </a:moveTo>
                  <a:cubicBezTo>
                    <a:pt x="7787" y="3646"/>
                    <a:pt x="7835" y="3646"/>
                    <a:pt x="7859" y="3682"/>
                  </a:cubicBezTo>
                  <a:lnTo>
                    <a:pt x="8204" y="4003"/>
                  </a:lnTo>
                  <a:lnTo>
                    <a:pt x="8204" y="4349"/>
                  </a:lnTo>
                  <a:cubicBezTo>
                    <a:pt x="8156" y="5325"/>
                    <a:pt x="7763" y="6254"/>
                    <a:pt x="7061" y="6956"/>
                  </a:cubicBezTo>
                  <a:cubicBezTo>
                    <a:pt x="6954" y="7051"/>
                    <a:pt x="6835" y="7158"/>
                    <a:pt x="6716" y="7254"/>
                  </a:cubicBezTo>
                  <a:cubicBezTo>
                    <a:pt x="6775" y="7158"/>
                    <a:pt x="6835" y="7075"/>
                    <a:pt x="6870" y="6968"/>
                  </a:cubicBezTo>
                  <a:lnTo>
                    <a:pt x="7620" y="5194"/>
                  </a:lnTo>
                  <a:cubicBezTo>
                    <a:pt x="7656" y="5134"/>
                    <a:pt x="7644" y="5075"/>
                    <a:pt x="7609" y="5027"/>
                  </a:cubicBezTo>
                  <a:cubicBezTo>
                    <a:pt x="7585" y="4992"/>
                    <a:pt x="7525" y="4956"/>
                    <a:pt x="7466" y="4956"/>
                  </a:cubicBezTo>
                  <a:lnTo>
                    <a:pt x="7382" y="4956"/>
                  </a:lnTo>
                  <a:lnTo>
                    <a:pt x="7799" y="4134"/>
                  </a:lnTo>
                  <a:cubicBezTo>
                    <a:pt x="7882" y="4003"/>
                    <a:pt x="7835" y="3837"/>
                    <a:pt x="7704" y="3753"/>
                  </a:cubicBezTo>
                  <a:lnTo>
                    <a:pt x="7668" y="3718"/>
                  </a:lnTo>
                  <a:lnTo>
                    <a:pt x="7680" y="3706"/>
                  </a:lnTo>
                  <a:cubicBezTo>
                    <a:pt x="7716" y="3658"/>
                    <a:pt x="7739" y="3658"/>
                    <a:pt x="7775" y="3646"/>
                  </a:cubicBezTo>
                  <a:close/>
                  <a:moveTo>
                    <a:pt x="4257" y="0"/>
                  </a:moveTo>
                  <a:cubicBezTo>
                    <a:pt x="4208" y="0"/>
                    <a:pt x="4158" y="1"/>
                    <a:pt x="4108" y="3"/>
                  </a:cubicBezTo>
                  <a:cubicBezTo>
                    <a:pt x="3037" y="50"/>
                    <a:pt x="2048" y="491"/>
                    <a:pt x="1286" y="1241"/>
                  </a:cubicBezTo>
                  <a:cubicBezTo>
                    <a:pt x="524" y="1991"/>
                    <a:pt x="96" y="2991"/>
                    <a:pt x="48" y="4063"/>
                  </a:cubicBezTo>
                  <a:cubicBezTo>
                    <a:pt x="0" y="5122"/>
                    <a:pt x="358" y="6158"/>
                    <a:pt x="1048" y="6968"/>
                  </a:cubicBezTo>
                  <a:cubicBezTo>
                    <a:pt x="1072" y="7016"/>
                    <a:pt x="1120" y="7027"/>
                    <a:pt x="1179" y="7027"/>
                  </a:cubicBezTo>
                  <a:cubicBezTo>
                    <a:pt x="1227" y="7027"/>
                    <a:pt x="1251" y="7016"/>
                    <a:pt x="1286" y="6980"/>
                  </a:cubicBezTo>
                  <a:cubicBezTo>
                    <a:pt x="1358" y="6920"/>
                    <a:pt x="1358" y="6813"/>
                    <a:pt x="1298" y="6742"/>
                  </a:cubicBezTo>
                  <a:cubicBezTo>
                    <a:pt x="679" y="6004"/>
                    <a:pt x="346" y="5051"/>
                    <a:pt x="393" y="4063"/>
                  </a:cubicBezTo>
                  <a:cubicBezTo>
                    <a:pt x="441" y="3087"/>
                    <a:pt x="834" y="2158"/>
                    <a:pt x="1536" y="1455"/>
                  </a:cubicBezTo>
                  <a:cubicBezTo>
                    <a:pt x="2239" y="765"/>
                    <a:pt x="3156" y="360"/>
                    <a:pt x="4144" y="312"/>
                  </a:cubicBezTo>
                  <a:cubicBezTo>
                    <a:pt x="4200" y="309"/>
                    <a:pt x="4256" y="308"/>
                    <a:pt x="4312" y="308"/>
                  </a:cubicBezTo>
                  <a:cubicBezTo>
                    <a:pt x="4478" y="308"/>
                    <a:pt x="4641" y="321"/>
                    <a:pt x="4811" y="348"/>
                  </a:cubicBezTo>
                  <a:lnTo>
                    <a:pt x="5037" y="622"/>
                  </a:lnTo>
                  <a:lnTo>
                    <a:pt x="4942" y="848"/>
                  </a:lnTo>
                  <a:lnTo>
                    <a:pt x="4811" y="610"/>
                  </a:lnTo>
                  <a:cubicBezTo>
                    <a:pt x="4787" y="550"/>
                    <a:pt x="4727" y="527"/>
                    <a:pt x="4668" y="527"/>
                  </a:cubicBezTo>
                  <a:lnTo>
                    <a:pt x="4132" y="527"/>
                  </a:lnTo>
                  <a:cubicBezTo>
                    <a:pt x="4072" y="527"/>
                    <a:pt x="4013" y="550"/>
                    <a:pt x="3977" y="610"/>
                  </a:cubicBezTo>
                  <a:lnTo>
                    <a:pt x="3608" y="1324"/>
                  </a:lnTo>
                  <a:cubicBezTo>
                    <a:pt x="3560" y="1432"/>
                    <a:pt x="3560" y="1539"/>
                    <a:pt x="3608" y="1634"/>
                  </a:cubicBezTo>
                  <a:cubicBezTo>
                    <a:pt x="3668" y="1729"/>
                    <a:pt x="3751" y="1801"/>
                    <a:pt x="3858" y="1801"/>
                  </a:cubicBezTo>
                  <a:lnTo>
                    <a:pt x="4156" y="1836"/>
                  </a:lnTo>
                  <a:cubicBezTo>
                    <a:pt x="4215" y="1836"/>
                    <a:pt x="4275" y="1813"/>
                    <a:pt x="4310" y="1753"/>
                  </a:cubicBezTo>
                  <a:lnTo>
                    <a:pt x="4430" y="1598"/>
                  </a:lnTo>
                  <a:lnTo>
                    <a:pt x="4489" y="1670"/>
                  </a:lnTo>
                  <a:lnTo>
                    <a:pt x="4441" y="1955"/>
                  </a:lnTo>
                  <a:lnTo>
                    <a:pt x="3929" y="2027"/>
                  </a:lnTo>
                  <a:cubicBezTo>
                    <a:pt x="3906" y="2027"/>
                    <a:pt x="3894" y="2039"/>
                    <a:pt x="3858" y="2051"/>
                  </a:cubicBezTo>
                  <a:lnTo>
                    <a:pt x="3203" y="2527"/>
                  </a:lnTo>
                  <a:cubicBezTo>
                    <a:pt x="3179" y="2563"/>
                    <a:pt x="3144" y="2586"/>
                    <a:pt x="3144" y="2622"/>
                  </a:cubicBezTo>
                  <a:lnTo>
                    <a:pt x="3072" y="2920"/>
                  </a:lnTo>
                  <a:lnTo>
                    <a:pt x="2846" y="2884"/>
                  </a:lnTo>
                  <a:cubicBezTo>
                    <a:pt x="2836" y="2883"/>
                    <a:pt x="2826" y="2883"/>
                    <a:pt x="2816" y="2883"/>
                  </a:cubicBezTo>
                  <a:cubicBezTo>
                    <a:pt x="2686" y="2883"/>
                    <a:pt x="2580" y="2954"/>
                    <a:pt x="2525" y="3087"/>
                  </a:cubicBezTo>
                  <a:lnTo>
                    <a:pt x="2382" y="3456"/>
                  </a:lnTo>
                  <a:cubicBezTo>
                    <a:pt x="2358" y="3527"/>
                    <a:pt x="2358" y="3622"/>
                    <a:pt x="2405" y="3694"/>
                  </a:cubicBezTo>
                  <a:cubicBezTo>
                    <a:pt x="2441" y="3765"/>
                    <a:pt x="2501" y="3825"/>
                    <a:pt x="2596" y="3860"/>
                  </a:cubicBezTo>
                  <a:cubicBezTo>
                    <a:pt x="2441" y="3932"/>
                    <a:pt x="2322" y="4075"/>
                    <a:pt x="2322" y="4241"/>
                  </a:cubicBezTo>
                  <a:lnTo>
                    <a:pt x="2322" y="4313"/>
                  </a:lnTo>
                  <a:lnTo>
                    <a:pt x="1870" y="4849"/>
                  </a:lnTo>
                  <a:cubicBezTo>
                    <a:pt x="1786" y="4932"/>
                    <a:pt x="1763" y="5051"/>
                    <a:pt x="1763" y="5146"/>
                  </a:cubicBezTo>
                  <a:lnTo>
                    <a:pt x="1763" y="5777"/>
                  </a:lnTo>
                  <a:cubicBezTo>
                    <a:pt x="1763" y="5944"/>
                    <a:pt x="1822" y="6087"/>
                    <a:pt x="1941" y="6194"/>
                  </a:cubicBezTo>
                  <a:lnTo>
                    <a:pt x="2382" y="6623"/>
                  </a:lnTo>
                  <a:cubicBezTo>
                    <a:pt x="2489" y="6718"/>
                    <a:pt x="2608" y="6777"/>
                    <a:pt x="2739" y="6789"/>
                  </a:cubicBezTo>
                  <a:lnTo>
                    <a:pt x="4049" y="6908"/>
                  </a:lnTo>
                  <a:lnTo>
                    <a:pt x="4049" y="6956"/>
                  </a:lnTo>
                  <a:cubicBezTo>
                    <a:pt x="4037" y="7111"/>
                    <a:pt x="4096" y="7266"/>
                    <a:pt x="4227" y="7373"/>
                  </a:cubicBezTo>
                  <a:lnTo>
                    <a:pt x="4465" y="7551"/>
                  </a:lnTo>
                  <a:lnTo>
                    <a:pt x="4453" y="7587"/>
                  </a:lnTo>
                  <a:cubicBezTo>
                    <a:pt x="4394" y="7766"/>
                    <a:pt x="4453" y="7944"/>
                    <a:pt x="4584" y="8063"/>
                  </a:cubicBezTo>
                  <a:lnTo>
                    <a:pt x="4668" y="8123"/>
                  </a:lnTo>
                  <a:cubicBezTo>
                    <a:pt x="4608" y="8123"/>
                    <a:pt x="4561" y="8147"/>
                    <a:pt x="4501" y="8147"/>
                  </a:cubicBezTo>
                  <a:cubicBezTo>
                    <a:pt x="4451" y="8148"/>
                    <a:pt x="4402" y="8149"/>
                    <a:pt x="4353" y="8149"/>
                  </a:cubicBezTo>
                  <a:cubicBezTo>
                    <a:pt x="3418" y="8149"/>
                    <a:pt x="2523" y="7829"/>
                    <a:pt x="1822" y="7230"/>
                  </a:cubicBezTo>
                  <a:cubicBezTo>
                    <a:pt x="1793" y="7206"/>
                    <a:pt x="1759" y="7195"/>
                    <a:pt x="1724" y="7195"/>
                  </a:cubicBezTo>
                  <a:cubicBezTo>
                    <a:pt x="1672" y="7195"/>
                    <a:pt x="1619" y="7218"/>
                    <a:pt x="1584" y="7254"/>
                  </a:cubicBezTo>
                  <a:cubicBezTo>
                    <a:pt x="1524" y="7325"/>
                    <a:pt x="1536" y="7432"/>
                    <a:pt x="1596" y="7492"/>
                  </a:cubicBezTo>
                  <a:cubicBezTo>
                    <a:pt x="2358" y="8123"/>
                    <a:pt x="3322" y="8480"/>
                    <a:pt x="4322" y="8480"/>
                  </a:cubicBezTo>
                  <a:lnTo>
                    <a:pt x="4501" y="8480"/>
                  </a:lnTo>
                  <a:cubicBezTo>
                    <a:pt x="5573" y="8444"/>
                    <a:pt x="6573" y="7992"/>
                    <a:pt x="7323" y="7254"/>
                  </a:cubicBezTo>
                  <a:cubicBezTo>
                    <a:pt x="8085" y="6492"/>
                    <a:pt x="8513" y="5492"/>
                    <a:pt x="8561" y="4420"/>
                  </a:cubicBezTo>
                  <a:cubicBezTo>
                    <a:pt x="8573" y="3289"/>
                    <a:pt x="8216" y="2265"/>
                    <a:pt x="7537" y="1455"/>
                  </a:cubicBezTo>
                  <a:cubicBezTo>
                    <a:pt x="7506" y="1418"/>
                    <a:pt x="7462" y="1400"/>
                    <a:pt x="7417" y="1400"/>
                  </a:cubicBezTo>
                  <a:cubicBezTo>
                    <a:pt x="7375" y="1400"/>
                    <a:pt x="7333" y="1415"/>
                    <a:pt x="7299" y="1443"/>
                  </a:cubicBezTo>
                  <a:cubicBezTo>
                    <a:pt x="7228" y="1503"/>
                    <a:pt x="7228" y="1610"/>
                    <a:pt x="7287" y="1682"/>
                  </a:cubicBezTo>
                  <a:cubicBezTo>
                    <a:pt x="7728" y="2217"/>
                    <a:pt x="8025" y="2860"/>
                    <a:pt x="8144" y="3539"/>
                  </a:cubicBezTo>
                  <a:lnTo>
                    <a:pt x="8097" y="3503"/>
                  </a:lnTo>
                  <a:cubicBezTo>
                    <a:pt x="8018" y="3424"/>
                    <a:pt x="7923" y="3378"/>
                    <a:pt x="7804" y="3378"/>
                  </a:cubicBezTo>
                  <a:cubicBezTo>
                    <a:pt x="7780" y="3378"/>
                    <a:pt x="7754" y="3380"/>
                    <a:pt x="7728" y="3384"/>
                  </a:cubicBezTo>
                  <a:cubicBezTo>
                    <a:pt x="7597" y="3396"/>
                    <a:pt x="7478" y="3468"/>
                    <a:pt x="7406" y="3587"/>
                  </a:cubicBezTo>
                  <a:lnTo>
                    <a:pt x="7370" y="3634"/>
                  </a:lnTo>
                  <a:cubicBezTo>
                    <a:pt x="7299" y="3634"/>
                    <a:pt x="7228" y="3658"/>
                    <a:pt x="7168" y="3718"/>
                  </a:cubicBezTo>
                  <a:lnTo>
                    <a:pt x="6942" y="3468"/>
                  </a:lnTo>
                  <a:cubicBezTo>
                    <a:pt x="6911" y="3430"/>
                    <a:pt x="6866" y="3412"/>
                    <a:pt x="6821" y="3412"/>
                  </a:cubicBezTo>
                  <a:cubicBezTo>
                    <a:pt x="6780" y="3412"/>
                    <a:pt x="6738" y="3427"/>
                    <a:pt x="6704" y="3456"/>
                  </a:cubicBezTo>
                  <a:cubicBezTo>
                    <a:pt x="6632" y="3515"/>
                    <a:pt x="6632" y="3622"/>
                    <a:pt x="6692" y="3694"/>
                  </a:cubicBezTo>
                  <a:lnTo>
                    <a:pt x="7013" y="4099"/>
                  </a:lnTo>
                  <a:cubicBezTo>
                    <a:pt x="7049" y="4122"/>
                    <a:pt x="7085" y="4146"/>
                    <a:pt x="7132" y="4146"/>
                  </a:cubicBezTo>
                  <a:cubicBezTo>
                    <a:pt x="7180" y="4146"/>
                    <a:pt x="7228" y="4134"/>
                    <a:pt x="7251" y="4110"/>
                  </a:cubicBezTo>
                  <a:lnTo>
                    <a:pt x="7358" y="4003"/>
                  </a:lnTo>
                  <a:lnTo>
                    <a:pt x="7489" y="4099"/>
                  </a:lnTo>
                  <a:lnTo>
                    <a:pt x="7001" y="5075"/>
                  </a:lnTo>
                  <a:lnTo>
                    <a:pt x="6966" y="5075"/>
                  </a:lnTo>
                  <a:cubicBezTo>
                    <a:pt x="6930" y="5075"/>
                    <a:pt x="6894" y="5063"/>
                    <a:pt x="6870" y="5027"/>
                  </a:cubicBezTo>
                  <a:lnTo>
                    <a:pt x="6215" y="4230"/>
                  </a:lnTo>
                  <a:cubicBezTo>
                    <a:pt x="6181" y="4188"/>
                    <a:pt x="6129" y="4170"/>
                    <a:pt x="6079" y="4170"/>
                  </a:cubicBezTo>
                  <a:cubicBezTo>
                    <a:pt x="6043" y="4170"/>
                    <a:pt x="6007" y="4179"/>
                    <a:pt x="5977" y="4194"/>
                  </a:cubicBezTo>
                  <a:cubicBezTo>
                    <a:pt x="5894" y="4253"/>
                    <a:pt x="5894" y="4360"/>
                    <a:pt x="5942" y="4432"/>
                  </a:cubicBezTo>
                  <a:lnTo>
                    <a:pt x="6596" y="5242"/>
                  </a:lnTo>
                  <a:cubicBezTo>
                    <a:pt x="6684" y="5351"/>
                    <a:pt x="6811" y="5410"/>
                    <a:pt x="6932" y="5410"/>
                  </a:cubicBezTo>
                  <a:cubicBezTo>
                    <a:pt x="6944" y="5410"/>
                    <a:pt x="6955" y="5409"/>
                    <a:pt x="6966" y="5408"/>
                  </a:cubicBezTo>
                  <a:lnTo>
                    <a:pt x="7180" y="5384"/>
                  </a:lnTo>
                  <a:lnTo>
                    <a:pt x="6525" y="6908"/>
                  </a:lnTo>
                  <a:cubicBezTo>
                    <a:pt x="6477" y="7016"/>
                    <a:pt x="6418" y="7111"/>
                    <a:pt x="6335" y="7206"/>
                  </a:cubicBezTo>
                  <a:lnTo>
                    <a:pt x="5811" y="7825"/>
                  </a:lnTo>
                  <a:cubicBezTo>
                    <a:pt x="5537" y="7944"/>
                    <a:pt x="5275" y="8028"/>
                    <a:pt x="4989" y="8087"/>
                  </a:cubicBezTo>
                  <a:lnTo>
                    <a:pt x="4703" y="7825"/>
                  </a:lnTo>
                  <a:cubicBezTo>
                    <a:pt x="4680" y="7801"/>
                    <a:pt x="4668" y="7754"/>
                    <a:pt x="4680" y="7706"/>
                  </a:cubicBezTo>
                  <a:lnTo>
                    <a:pt x="4727" y="7551"/>
                  </a:lnTo>
                  <a:cubicBezTo>
                    <a:pt x="4739" y="7468"/>
                    <a:pt x="4727" y="7408"/>
                    <a:pt x="4668" y="7373"/>
                  </a:cubicBezTo>
                  <a:lnTo>
                    <a:pt x="4334" y="7123"/>
                  </a:lnTo>
                  <a:cubicBezTo>
                    <a:pt x="4310" y="7099"/>
                    <a:pt x="4287" y="7075"/>
                    <a:pt x="4287" y="7027"/>
                  </a:cubicBezTo>
                  <a:lnTo>
                    <a:pt x="4322" y="6813"/>
                  </a:lnTo>
                  <a:cubicBezTo>
                    <a:pt x="4322" y="6777"/>
                    <a:pt x="4322" y="6730"/>
                    <a:pt x="4287" y="6694"/>
                  </a:cubicBezTo>
                  <a:cubicBezTo>
                    <a:pt x="4263" y="6670"/>
                    <a:pt x="4215" y="6635"/>
                    <a:pt x="4168" y="6635"/>
                  </a:cubicBezTo>
                  <a:lnTo>
                    <a:pt x="2679" y="6504"/>
                  </a:lnTo>
                  <a:cubicBezTo>
                    <a:pt x="2620" y="6504"/>
                    <a:pt x="2560" y="6480"/>
                    <a:pt x="2536" y="6432"/>
                  </a:cubicBezTo>
                  <a:lnTo>
                    <a:pt x="2084" y="6004"/>
                  </a:lnTo>
                  <a:cubicBezTo>
                    <a:pt x="2048" y="5956"/>
                    <a:pt x="2013" y="5884"/>
                    <a:pt x="2013" y="5825"/>
                  </a:cubicBezTo>
                  <a:lnTo>
                    <a:pt x="2013" y="5194"/>
                  </a:lnTo>
                  <a:cubicBezTo>
                    <a:pt x="2013" y="5170"/>
                    <a:pt x="2024" y="5134"/>
                    <a:pt x="2048" y="5122"/>
                  </a:cubicBezTo>
                  <a:lnTo>
                    <a:pt x="2548" y="4539"/>
                  </a:lnTo>
                  <a:cubicBezTo>
                    <a:pt x="2584" y="4515"/>
                    <a:pt x="2596" y="4480"/>
                    <a:pt x="2596" y="4432"/>
                  </a:cubicBezTo>
                  <a:lnTo>
                    <a:pt x="2596" y="4301"/>
                  </a:lnTo>
                  <a:cubicBezTo>
                    <a:pt x="2596" y="4253"/>
                    <a:pt x="2620" y="4218"/>
                    <a:pt x="2667" y="4194"/>
                  </a:cubicBezTo>
                  <a:lnTo>
                    <a:pt x="3072" y="4015"/>
                  </a:lnTo>
                  <a:lnTo>
                    <a:pt x="3810" y="4003"/>
                  </a:lnTo>
                  <a:cubicBezTo>
                    <a:pt x="3834" y="4003"/>
                    <a:pt x="3846" y="4015"/>
                    <a:pt x="3846" y="4039"/>
                  </a:cubicBezTo>
                  <a:cubicBezTo>
                    <a:pt x="3858" y="4170"/>
                    <a:pt x="3965" y="4289"/>
                    <a:pt x="4096" y="4313"/>
                  </a:cubicBezTo>
                  <a:lnTo>
                    <a:pt x="4632" y="4491"/>
                  </a:lnTo>
                  <a:cubicBezTo>
                    <a:pt x="4668" y="4503"/>
                    <a:pt x="4705" y="4510"/>
                    <a:pt x="4741" y="4510"/>
                  </a:cubicBezTo>
                  <a:cubicBezTo>
                    <a:pt x="4813" y="4510"/>
                    <a:pt x="4882" y="4484"/>
                    <a:pt x="4930" y="4420"/>
                  </a:cubicBezTo>
                  <a:cubicBezTo>
                    <a:pt x="5001" y="4360"/>
                    <a:pt x="5037" y="4253"/>
                    <a:pt x="5025" y="4170"/>
                  </a:cubicBezTo>
                  <a:lnTo>
                    <a:pt x="5692" y="4110"/>
                  </a:lnTo>
                  <a:cubicBezTo>
                    <a:pt x="5823" y="4099"/>
                    <a:pt x="5930" y="4039"/>
                    <a:pt x="6013" y="3932"/>
                  </a:cubicBezTo>
                  <a:cubicBezTo>
                    <a:pt x="6096" y="3825"/>
                    <a:pt x="6120" y="3694"/>
                    <a:pt x="6096" y="3575"/>
                  </a:cubicBezTo>
                  <a:lnTo>
                    <a:pt x="6073" y="3479"/>
                  </a:lnTo>
                  <a:cubicBezTo>
                    <a:pt x="6050" y="3344"/>
                    <a:pt x="5931" y="3240"/>
                    <a:pt x="5776" y="3240"/>
                  </a:cubicBezTo>
                  <a:cubicBezTo>
                    <a:pt x="5768" y="3240"/>
                    <a:pt x="5760" y="3241"/>
                    <a:pt x="5751" y="3241"/>
                  </a:cubicBezTo>
                  <a:lnTo>
                    <a:pt x="5406" y="3277"/>
                  </a:lnTo>
                  <a:lnTo>
                    <a:pt x="5346" y="3217"/>
                  </a:lnTo>
                  <a:lnTo>
                    <a:pt x="5811" y="2753"/>
                  </a:lnTo>
                  <a:cubicBezTo>
                    <a:pt x="5870" y="2694"/>
                    <a:pt x="5870" y="2586"/>
                    <a:pt x="5811" y="2515"/>
                  </a:cubicBezTo>
                  <a:cubicBezTo>
                    <a:pt x="5781" y="2485"/>
                    <a:pt x="5739" y="2470"/>
                    <a:pt x="5696" y="2470"/>
                  </a:cubicBezTo>
                  <a:cubicBezTo>
                    <a:pt x="5653" y="2470"/>
                    <a:pt x="5608" y="2485"/>
                    <a:pt x="5573" y="2515"/>
                  </a:cubicBezTo>
                  <a:lnTo>
                    <a:pt x="5001" y="3063"/>
                  </a:lnTo>
                  <a:lnTo>
                    <a:pt x="4811" y="3146"/>
                  </a:lnTo>
                  <a:lnTo>
                    <a:pt x="4287" y="2741"/>
                  </a:lnTo>
                  <a:cubicBezTo>
                    <a:pt x="4260" y="2714"/>
                    <a:pt x="4220" y="2701"/>
                    <a:pt x="4181" y="2701"/>
                  </a:cubicBezTo>
                  <a:cubicBezTo>
                    <a:pt x="4168" y="2701"/>
                    <a:pt x="4156" y="2703"/>
                    <a:pt x="4144" y="2706"/>
                  </a:cubicBezTo>
                  <a:lnTo>
                    <a:pt x="3418" y="2944"/>
                  </a:lnTo>
                  <a:cubicBezTo>
                    <a:pt x="3394" y="2944"/>
                    <a:pt x="3370" y="2967"/>
                    <a:pt x="3358" y="2979"/>
                  </a:cubicBezTo>
                  <a:lnTo>
                    <a:pt x="3394" y="2753"/>
                  </a:lnTo>
                  <a:lnTo>
                    <a:pt x="3977" y="2336"/>
                  </a:lnTo>
                  <a:lnTo>
                    <a:pt x="4572" y="2253"/>
                  </a:lnTo>
                  <a:cubicBezTo>
                    <a:pt x="4644" y="2229"/>
                    <a:pt x="4703" y="2170"/>
                    <a:pt x="4703" y="2110"/>
                  </a:cubicBezTo>
                  <a:lnTo>
                    <a:pt x="4787" y="1634"/>
                  </a:lnTo>
                  <a:cubicBezTo>
                    <a:pt x="4787" y="1598"/>
                    <a:pt x="4787" y="1551"/>
                    <a:pt x="4751" y="1515"/>
                  </a:cubicBezTo>
                  <a:lnTo>
                    <a:pt x="4513" y="1205"/>
                  </a:lnTo>
                  <a:cubicBezTo>
                    <a:pt x="4489" y="1158"/>
                    <a:pt x="4430" y="1146"/>
                    <a:pt x="4382" y="1146"/>
                  </a:cubicBezTo>
                  <a:cubicBezTo>
                    <a:pt x="4322" y="1146"/>
                    <a:pt x="4275" y="1182"/>
                    <a:pt x="4251" y="1217"/>
                  </a:cubicBezTo>
                  <a:lnTo>
                    <a:pt x="4072" y="1491"/>
                  </a:lnTo>
                  <a:lnTo>
                    <a:pt x="3870" y="1479"/>
                  </a:lnTo>
                  <a:lnTo>
                    <a:pt x="4203" y="860"/>
                  </a:lnTo>
                  <a:lnTo>
                    <a:pt x="4525" y="860"/>
                  </a:lnTo>
                  <a:lnTo>
                    <a:pt x="4787" y="1324"/>
                  </a:lnTo>
                  <a:cubicBezTo>
                    <a:pt x="4811" y="1384"/>
                    <a:pt x="4870" y="1420"/>
                    <a:pt x="4930" y="1420"/>
                  </a:cubicBezTo>
                  <a:cubicBezTo>
                    <a:pt x="4989" y="1420"/>
                    <a:pt x="5049" y="1372"/>
                    <a:pt x="5084" y="1312"/>
                  </a:cubicBezTo>
                  <a:lnTo>
                    <a:pt x="5323" y="765"/>
                  </a:lnTo>
                  <a:cubicBezTo>
                    <a:pt x="5358" y="658"/>
                    <a:pt x="5346" y="550"/>
                    <a:pt x="5287" y="467"/>
                  </a:cubicBezTo>
                  <a:lnTo>
                    <a:pt x="5287" y="467"/>
                  </a:lnTo>
                  <a:cubicBezTo>
                    <a:pt x="5834" y="610"/>
                    <a:pt x="6346" y="884"/>
                    <a:pt x="6787" y="1253"/>
                  </a:cubicBezTo>
                  <a:cubicBezTo>
                    <a:pt x="6825" y="1280"/>
                    <a:pt x="6864" y="1292"/>
                    <a:pt x="6903" y="1292"/>
                  </a:cubicBezTo>
                  <a:cubicBezTo>
                    <a:pt x="6949" y="1292"/>
                    <a:pt x="6992" y="1274"/>
                    <a:pt x="7025" y="1241"/>
                  </a:cubicBezTo>
                  <a:cubicBezTo>
                    <a:pt x="7085" y="1158"/>
                    <a:pt x="7073" y="1062"/>
                    <a:pt x="7013" y="1003"/>
                  </a:cubicBezTo>
                  <a:cubicBezTo>
                    <a:pt x="6253" y="345"/>
                    <a:pt x="5266" y="0"/>
                    <a:pt x="42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5" name="Google Shape;10845;p60"/>
          <p:cNvGrpSpPr/>
          <p:nvPr/>
        </p:nvGrpSpPr>
        <p:grpSpPr>
          <a:xfrm>
            <a:off x="1289311" y="2926222"/>
            <a:ext cx="408156" cy="299783"/>
            <a:chOff x="1289311" y="2926222"/>
            <a:chExt cx="408156" cy="299783"/>
          </a:xfrm>
        </p:grpSpPr>
        <p:sp>
          <p:nvSpPr>
            <p:cNvPr id="10846" name="Google Shape;10846;p60"/>
            <p:cNvSpPr/>
            <p:nvPr/>
          </p:nvSpPr>
          <p:spPr>
            <a:xfrm>
              <a:off x="1334029" y="2952385"/>
              <a:ext cx="318339" cy="216395"/>
            </a:xfrm>
            <a:custGeom>
              <a:avLst/>
              <a:gdLst/>
              <a:ahLst/>
              <a:cxnLst/>
              <a:rect l="l" t="t" r="r" b="b"/>
              <a:pathLst>
                <a:path w="10002" h="6799" extrusionOk="0">
                  <a:moveTo>
                    <a:pt x="3203" y="1369"/>
                  </a:moveTo>
                  <a:cubicBezTo>
                    <a:pt x="3429" y="1369"/>
                    <a:pt x="3620" y="1548"/>
                    <a:pt x="3620" y="1786"/>
                  </a:cubicBezTo>
                  <a:lnTo>
                    <a:pt x="3620" y="2179"/>
                  </a:lnTo>
                  <a:cubicBezTo>
                    <a:pt x="3620" y="2524"/>
                    <a:pt x="3334" y="2798"/>
                    <a:pt x="3012" y="2798"/>
                  </a:cubicBezTo>
                  <a:cubicBezTo>
                    <a:pt x="2679" y="2798"/>
                    <a:pt x="2381" y="2524"/>
                    <a:pt x="2381" y="2179"/>
                  </a:cubicBezTo>
                  <a:lnTo>
                    <a:pt x="2381" y="1786"/>
                  </a:lnTo>
                  <a:cubicBezTo>
                    <a:pt x="2381" y="1560"/>
                    <a:pt x="2560" y="1369"/>
                    <a:pt x="2798" y="1369"/>
                  </a:cubicBezTo>
                  <a:close/>
                  <a:moveTo>
                    <a:pt x="8013" y="1191"/>
                  </a:moveTo>
                  <a:cubicBezTo>
                    <a:pt x="8132" y="1191"/>
                    <a:pt x="8215" y="1274"/>
                    <a:pt x="8215" y="1393"/>
                  </a:cubicBezTo>
                  <a:lnTo>
                    <a:pt x="8215" y="1989"/>
                  </a:lnTo>
                  <a:cubicBezTo>
                    <a:pt x="8215" y="2060"/>
                    <a:pt x="8168" y="2131"/>
                    <a:pt x="8108" y="2167"/>
                  </a:cubicBezTo>
                  <a:cubicBezTo>
                    <a:pt x="8061" y="2203"/>
                    <a:pt x="8025" y="2262"/>
                    <a:pt x="8025" y="2334"/>
                  </a:cubicBezTo>
                  <a:lnTo>
                    <a:pt x="8025" y="2632"/>
                  </a:lnTo>
                  <a:cubicBezTo>
                    <a:pt x="8025" y="2715"/>
                    <a:pt x="8085" y="2798"/>
                    <a:pt x="8168" y="2810"/>
                  </a:cubicBezTo>
                  <a:lnTo>
                    <a:pt x="8680" y="2929"/>
                  </a:lnTo>
                  <a:cubicBezTo>
                    <a:pt x="8763" y="2953"/>
                    <a:pt x="8847" y="3036"/>
                    <a:pt x="8847" y="3132"/>
                  </a:cubicBezTo>
                  <a:lnTo>
                    <a:pt x="8847" y="3191"/>
                  </a:lnTo>
                  <a:lnTo>
                    <a:pt x="6799" y="3191"/>
                  </a:lnTo>
                  <a:lnTo>
                    <a:pt x="6799" y="3132"/>
                  </a:lnTo>
                  <a:cubicBezTo>
                    <a:pt x="6799" y="3024"/>
                    <a:pt x="6858" y="2953"/>
                    <a:pt x="6965" y="2929"/>
                  </a:cubicBezTo>
                  <a:lnTo>
                    <a:pt x="7477" y="2810"/>
                  </a:lnTo>
                  <a:cubicBezTo>
                    <a:pt x="7561" y="2798"/>
                    <a:pt x="7620" y="2715"/>
                    <a:pt x="7620" y="2632"/>
                  </a:cubicBezTo>
                  <a:lnTo>
                    <a:pt x="7620" y="2334"/>
                  </a:lnTo>
                  <a:cubicBezTo>
                    <a:pt x="7596" y="2274"/>
                    <a:pt x="7561" y="2215"/>
                    <a:pt x="7501" y="2167"/>
                  </a:cubicBezTo>
                  <a:cubicBezTo>
                    <a:pt x="7430" y="2120"/>
                    <a:pt x="7406" y="2060"/>
                    <a:pt x="7406" y="1989"/>
                  </a:cubicBezTo>
                  <a:lnTo>
                    <a:pt x="7406" y="1393"/>
                  </a:lnTo>
                  <a:cubicBezTo>
                    <a:pt x="7406" y="1274"/>
                    <a:pt x="7489" y="1191"/>
                    <a:pt x="7608" y="1191"/>
                  </a:cubicBezTo>
                  <a:close/>
                  <a:moveTo>
                    <a:pt x="9620" y="369"/>
                  </a:moveTo>
                  <a:lnTo>
                    <a:pt x="9620" y="3191"/>
                  </a:lnTo>
                  <a:lnTo>
                    <a:pt x="9192" y="3191"/>
                  </a:lnTo>
                  <a:lnTo>
                    <a:pt x="9192" y="3132"/>
                  </a:lnTo>
                  <a:cubicBezTo>
                    <a:pt x="9192" y="2870"/>
                    <a:pt x="9013" y="2632"/>
                    <a:pt x="8739" y="2572"/>
                  </a:cubicBezTo>
                  <a:lnTo>
                    <a:pt x="8382" y="2477"/>
                  </a:lnTo>
                  <a:lnTo>
                    <a:pt x="8382" y="2417"/>
                  </a:lnTo>
                  <a:cubicBezTo>
                    <a:pt x="8501" y="2322"/>
                    <a:pt x="8573" y="2155"/>
                    <a:pt x="8573" y="1977"/>
                  </a:cubicBezTo>
                  <a:lnTo>
                    <a:pt x="8573" y="1381"/>
                  </a:lnTo>
                  <a:cubicBezTo>
                    <a:pt x="8573" y="1048"/>
                    <a:pt x="8311" y="786"/>
                    <a:pt x="7977" y="786"/>
                  </a:cubicBezTo>
                  <a:lnTo>
                    <a:pt x="7584" y="786"/>
                  </a:lnTo>
                  <a:cubicBezTo>
                    <a:pt x="7251" y="786"/>
                    <a:pt x="6989" y="1048"/>
                    <a:pt x="6989" y="1381"/>
                  </a:cubicBezTo>
                  <a:lnTo>
                    <a:pt x="6989" y="1977"/>
                  </a:lnTo>
                  <a:cubicBezTo>
                    <a:pt x="6989" y="2143"/>
                    <a:pt x="7061" y="2298"/>
                    <a:pt x="7180" y="2417"/>
                  </a:cubicBezTo>
                  <a:lnTo>
                    <a:pt x="7180" y="2477"/>
                  </a:lnTo>
                  <a:lnTo>
                    <a:pt x="6822" y="2572"/>
                  </a:lnTo>
                  <a:cubicBezTo>
                    <a:pt x="6549" y="2632"/>
                    <a:pt x="6370" y="2870"/>
                    <a:pt x="6370" y="3132"/>
                  </a:cubicBezTo>
                  <a:lnTo>
                    <a:pt x="6370" y="3191"/>
                  </a:lnTo>
                  <a:lnTo>
                    <a:pt x="5941" y="3191"/>
                  </a:lnTo>
                  <a:lnTo>
                    <a:pt x="5941" y="369"/>
                  </a:lnTo>
                  <a:close/>
                  <a:moveTo>
                    <a:pt x="3227" y="3179"/>
                  </a:moveTo>
                  <a:lnTo>
                    <a:pt x="3227" y="3274"/>
                  </a:lnTo>
                  <a:cubicBezTo>
                    <a:pt x="3203" y="3346"/>
                    <a:pt x="3239" y="3405"/>
                    <a:pt x="3262" y="3465"/>
                  </a:cubicBezTo>
                  <a:lnTo>
                    <a:pt x="3012" y="3715"/>
                  </a:lnTo>
                  <a:lnTo>
                    <a:pt x="3001" y="3715"/>
                  </a:lnTo>
                  <a:lnTo>
                    <a:pt x="2739" y="3465"/>
                  </a:lnTo>
                  <a:cubicBezTo>
                    <a:pt x="2774" y="3405"/>
                    <a:pt x="2798" y="3346"/>
                    <a:pt x="2798" y="3274"/>
                  </a:cubicBezTo>
                  <a:lnTo>
                    <a:pt x="2798" y="3179"/>
                  </a:lnTo>
                  <a:close/>
                  <a:moveTo>
                    <a:pt x="3572" y="3667"/>
                  </a:moveTo>
                  <a:lnTo>
                    <a:pt x="3953" y="3822"/>
                  </a:lnTo>
                  <a:cubicBezTo>
                    <a:pt x="4108" y="3882"/>
                    <a:pt x="4215" y="4048"/>
                    <a:pt x="4215" y="4203"/>
                  </a:cubicBezTo>
                  <a:lnTo>
                    <a:pt x="4215" y="5394"/>
                  </a:lnTo>
                  <a:cubicBezTo>
                    <a:pt x="4215" y="5513"/>
                    <a:pt x="4132" y="5608"/>
                    <a:pt x="4013" y="5608"/>
                  </a:cubicBezTo>
                  <a:lnTo>
                    <a:pt x="3191" y="5608"/>
                  </a:lnTo>
                  <a:lnTo>
                    <a:pt x="3191" y="5382"/>
                  </a:lnTo>
                  <a:lnTo>
                    <a:pt x="3608" y="5382"/>
                  </a:lnTo>
                  <a:cubicBezTo>
                    <a:pt x="3715" y="5382"/>
                    <a:pt x="3798" y="5299"/>
                    <a:pt x="3798" y="5191"/>
                  </a:cubicBezTo>
                  <a:lnTo>
                    <a:pt x="3798" y="4596"/>
                  </a:lnTo>
                  <a:cubicBezTo>
                    <a:pt x="3798" y="4489"/>
                    <a:pt x="3715" y="4406"/>
                    <a:pt x="3608" y="4406"/>
                  </a:cubicBezTo>
                  <a:cubicBezTo>
                    <a:pt x="3501" y="4406"/>
                    <a:pt x="3417" y="4489"/>
                    <a:pt x="3417" y="4596"/>
                  </a:cubicBezTo>
                  <a:lnTo>
                    <a:pt x="3417" y="5013"/>
                  </a:lnTo>
                  <a:lnTo>
                    <a:pt x="2584" y="5013"/>
                  </a:lnTo>
                  <a:lnTo>
                    <a:pt x="2584" y="4596"/>
                  </a:lnTo>
                  <a:cubicBezTo>
                    <a:pt x="2584" y="4489"/>
                    <a:pt x="2489" y="4406"/>
                    <a:pt x="2381" y="4406"/>
                  </a:cubicBezTo>
                  <a:cubicBezTo>
                    <a:pt x="2286" y="4406"/>
                    <a:pt x="2191" y="4489"/>
                    <a:pt x="2191" y="4596"/>
                  </a:cubicBezTo>
                  <a:lnTo>
                    <a:pt x="2191" y="5191"/>
                  </a:lnTo>
                  <a:cubicBezTo>
                    <a:pt x="2191" y="5299"/>
                    <a:pt x="2286" y="5382"/>
                    <a:pt x="2381" y="5382"/>
                  </a:cubicBezTo>
                  <a:lnTo>
                    <a:pt x="2798" y="5382"/>
                  </a:lnTo>
                  <a:lnTo>
                    <a:pt x="2798" y="5608"/>
                  </a:lnTo>
                  <a:lnTo>
                    <a:pt x="1989" y="5608"/>
                  </a:lnTo>
                  <a:cubicBezTo>
                    <a:pt x="1869" y="5608"/>
                    <a:pt x="1774" y="5513"/>
                    <a:pt x="1774" y="5394"/>
                  </a:cubicBezTo>
                  <a:lnTo>
                    <a:pt x="1774" y="4203"/>
                  </a:lnTo>
                  <a:cubicBezTo>
                    <a:pt x="1774" y="4048"/>
                    <a:pt x="1881" y="3882"/>
                    <a:pt x="2048" y="3822"/>
                  </a:cubicBezTo>
                  <a:lnTo>
                    <a:pt x="2417" y="3667"/>
                  </a:lnTo>
                  <a:lnTo>
                    <a:pt x="2727" y="3989"/>
                  </a:lnTo>
                  <a:cubicBezTo>
                    <a:pt x="2798" y="4060"/>
                    <a:pt x="2905" y="4108"/>
                    <a:pt x="3001" y="4108"/>
                  </a:cubicBezTo>
                  <a:cubicBezTo>
                    <a:pt x="3096" y="4108"/>
                    <a:pt x="3191" y="4060"/>
                    <a:pt x="3262" y="3989"/>
                  </a:cubicBezTo>
                  <a:lnTo>
                    <a:pt x="3572" y="3667"/>
                  </a:lnTo>
                  <a:close/>
                  <a:moveTo>
                    <a:pt x="5632" y="5596"/>
                  </a:moveTo>
                  <a:lnTo>
                    <a:pt x="5632" y="6406"/>
                  </a:lnTo>
                  <a:lnTo>
                    <a:pt x="381" y="6406"/>
                  </a:lnTo>
                  <a:lnTo>
                    <a:pt x="381" y="5596"/>
                  </a:lnTo>
                  <a:lnTo>
                    <a:pt x="1429" y="5596"/>
                  </a:lnTo>
                  <a:cubicBezTo>
                    <a:pt x="1512" y="5834"/>
                    <a:pt x="1727" y="5989"/>
                    <a:pt x="2000" y="5989"/>
                  </a:cubicBezTo>
                  <a:lnTo>
                    <a:pt x="4013" y="5989"/>
                  </a:lnTo>
                  <a:cubicBezTo>
                    <a:pt x="4263" y="5989"/>
                    <a:pt x="4489" y="5834"/>
                    <a:pt x="4572" y="5596"/>
                  </a:cubicBezTo>
                  <a:close/>
                  <a:moveTo>
                    <a:pt x="8025" y="4406"/>
                  </a:moveTo>
                  <a:cubicBezTo>
                    <a:pt x="8144" y="4406"/>
                    <a:pt x="8227" y="4489"/>
                    <a:pt x="8227" y="4608"/>
                  </a:cubicBezTo>
                  <a:lnTo>
                    <a:pt x="8227" y="5203"/>
                  </a:lnTo>
                  <a:cubicBezTo>
                    <a:pt x="8227" y="5275"/>
                    <a:pt x="8192" y="5358"/>
                    <a:pt x="8132" y="5382"/>
                  </a:cubicBezTo>
                  <a:cubicBezTo>
                    <a:pt x="8073" y="5418"/>
                    <a:pt x="8037" y="5477"/>
                    <a:pt x="8037" y="5549"/>
                  </a:cubicBezTo>
                  <a:lnTo>
                    <a:pt x="8037" y="5846"/>
                  </a:lnTo>
                  <a:cubicBezTo>
                    <a:pt x="8037" y="5930"/>
                    <a:pt x="8096" y="6013"/>
                    <a:pt x="8192" y="6025"/>
                  </a:cubicBezTo>
                  <a:lnTo>
                    <a:pt x="8692" y="6144"/>
                  </a:lnTo>
                  <a:cubicBezTo>
                    <a:pt x="8787" y="6168"/>
                    <a:pt x="8858" y="6251"/>
                    <a:pt x="8858" y="6346"/>
                  </a:cubicBezTo>
                  <a:lnTo>
                    <a:pt x="8858" y="6406"/>
                  </a:lnTo>
                  <a:lnTo>
                    <a:pt x="6787" y="6406"/>
                  </a:lnTo>
                  <a:lnTo>
                    <a:pt x="6787" y="6346"/>
                  </a:lnTo>
                  <a:cubicBezTo>
                    <a:pt x="6787" y="6251"/>
                    <a:pt x="6846" y="6168"/>
                    <a:pt x="6953" y="6144"/>
                  </a:cubicBezTo>
                  <a:lnTo>
                    <a:pt x="7465" y="6025"/>
                  </a:lnTo>
                  <a:cubicBezTo>
                    <a:pt x="7549" y="6013"/>
                    <a:pt x="7608" y="5930"/>
                    <a:pt x="7608" y="5846"/>
                  </a:cubicBezTo>
                  <a:lnTo>
                    <a:pt x="7608" y="5549"/>
                  </a:lnTo>
                  <a:cubicBezTo>
                    <a:pt x="7608" y="5489"/>
                    <a:pt x="7584" y="5418"/>
                    <a:pt x="7513" y="5382"/>
                  </a:cubicBezTo>
                  <a:cubicBezTo>
                    <a:pt x="7442" y="5334"/>
                    <a:pt x="7418" y="5275"/>
                    <a:pt x="7418" y="5203"/>
                  </a:cubicBezTo>
                  <a:lnTo>
                    <a:pt x="7418" y="4608"/>
                  </a:lnTo>
                  <a:cubicBezTo>
                    <a:pt x="7418" y="4489"/>
                    <a:pt x="7501" y="4406"/>
                    <a:pt x="7620" y="4406"/>
                  </a:cubicBezTo>
                  <a:close/>
                  <a:moveTo>
                    <a:pt x="9585" y="3584"/>
                  </a:moveTo>
                  <a:lnTo>
                    <a:pt x="9585" y="6406"/>
                  </a:lnTo>
                  <a:lnTo>
                    <a:pt x="9204" y="6406"/>
                  </a:lnTo>
                  <a:lnTo>
                    <a:pt x="9204" y="6346"/>
                  </a:lnTo>
                  <a:cubicBezTo>
                    <a:pt x="9204" y="6084"/>
                    <a:pt x="9025" y="5846"/>
                    <a:pt x="8751" y="5787"/>
                  </a:cubicBezTo>
                  <a:lnTo>
                    <a:pt x="8394" y="5691"/>
                  </a:lnTo>
                  <a:lnTo>
                    <a:pt x="8394" y="5632"/>
                  </a:lnTo>
                  <a:cubicBezTo>
                    <a:pt x="8513" y="5537"/>
                    <a:pt x="8596" y="5370"/>
                    <a:pt x="8596" y="5191"/>
                  </a:cubicBezTo>
                  <a:lnTo>
                    <a:pt x="8596" y="4596"/>
                  </a:lnTo>
                  <a:cubicBezTo>
                    <a:pt x="8596" y="4263"/>
                    <a:pt x="8323" y="4001"/>
                    <a:pt x="8001" y="4001"/>
                  </a:cubicBezTo>
                  <a:lnTo>
                    <a:pt x="7596" y="4001"/>
                  </a:lnTo>
                  <a:cubicBezTo>
                    <a:pt x="7263" y="4001"/>
                    <a:pt x="7001" y="4263"/>
                    <a:pt x="7001" y="4596"/>
                  </a:cubicBezTo>
                  <a:lnTo>
                    <a:pt x="7001" y="5191"/>
                  </a:lnTo>
                  <a:cubicBezTo>
                    <a:pt x="7001" y="5358"/>
                    <a:pt x="7072" y="5513"/>
                    <a:pt x="7192" y="5632"/>
                  </a:cubicBezTo>
                  <a:lnTo>
                    <a:pt x="7192" y="5691"/>
                  </a:lnTo>
                  <a:lnTo>
                    <a:pt x="6834" y="5787"/>
                  </a:lnTo>
                  <a:cubicBezTo>
                    <a:pt x="6572" y="5846"/>
                    <a:pt x="6394" y="6084"/>
                    <a:pt x="6394" y="6346"/>
                  </a:cubicBezTo>
                  <a:lnTo>
                    <a:pt x="6394" y="6406"/>
                  </a:lnTo>
                  <a:lnTo>
                    <a:pt x="5953" y="6406"/>
                  </a:lnTo>
                  <a:lnTo>
                    <a:pt x="5953" y="3584"/>
                  </a:lnTo>
                  <a:close/>
                  <a:moveTo>
                    <a:pt x="203" y="0"/>
                  </a:moveTo>
                  <a:cubicBezTo>
                    <a:pt x="95" y="0"/>
                    <a:pt x="0" y="84"/>
                    <a:pt x="0" y="191"/>
                  </a:cubicBezTo>
                  <a:lnTo>
                    <a:pt x="0" y="6596"/>
                  </a:lnTo>
                  <a:cubicBezTo>
                    <a:pt x="0" y="6703"/>
                    <a:pt x="95" y="6799"/>
                    <a:pt x="203" y="6799"/>
                  </a:cubicBezTo>
                  <a:lnTo>
                    <a:pt x="9811" y="6799"/>
                  </a:lnTo>
                  <a:cubicBezTo>
                    <a:pt x="9918" y="6799"/>
                    <a:pt x="10001" y="6703"/>
                    <a:pt x="10001" y="6596"/>
                  </a:cubicBezTo>
                  <a:lnTo>
                    <a:pt x="10001" y="191"/>
                  </a:lnTo>
                  <a:cubicBezTo>
                    <a:pt x="10001" y="84"/>
                    <a:pt x="9918" y="0"/>
                    <a:pt x="9811" y="0"/>
                  </a:cubicBezTo>
                  <a:lnTo>
                    <a:pt x="1584" y="0"/>
                  </a:lnTo>
                  <a:cubicBezTo>
                    <a:pt x="1477" y="0"/>
                    <a:pt x="1381" y="84"/>
                    <a:pt x="1381" y="191"/>
                  </a:cubicBezTo>
                  <a:cubicBezTo>
                    <a:pt x="1381" y="286"/>
                    <a:pt x="1477" y="381"/>
                    <a:pt x="1584" y="381"/>
                  </a:cubicBezTo>
                  <a:lnTo>
                    <a:pt x="5596" y="381"/>
                  </a:lnTo>
                  <a:lnTo>
                    <a:pt x="5596" y="5215"/>
                  </a:lnTo>
                  <a:lnTo>
                    <a:pt x="4572" y="5215"/>
                  </a:lnTo>
                  <a:lnTo>
                    <a:pt x="4572" y="4203"/>
                  </a:lnTo>
                  <a:cubicBezTo>
                    <a:pt x="4572" y="3882"/>
                    <a:pt x="4370" y="3584"/>
                    <a:pt x="4072" y="3477"/>
                  </a:cubicBezTo>
                  <a:lnTo>
                    <a:pt x="3572" y="3286"/>
                  </a:lnTo>
                  <a:lnTo>
                    <a:pt x="3572" y="3274"/>
                  </a:lnTo>
                  <a:lnTo>
                    <a:pt x="3572" y="2989"/>
                  </a:lnTo>
                  <a:cubicBezTo>
                    <a:pt x="3810" y="2810"/>
                    <a:pt x="3977" y="2512"/>
                    <a:pt x="3977" y="2203"/>
                  </a:cubicBezTo>
                  <a:lnTo>
                    <a:pt x="3977" y="1798"/>
                  </a:lnTo>
                  <a:cubicBezTo>
                    <a:pt x="3977" y="1369"/>
                    <a:pt x="3620" y="1012"/>
                    <a:pt x="3191" y="1012"/>
                  </a:cubicBezTo>
                  <a:lnTo>
                    <a:pt x="2786" y="1012"/>
                  </a:lnTo>
                  <a:cubicBezTo>
                    <a:pt x="2358" y="1012"/>
                    <a:pt x="2000" y="1369"/>
                    <a:pt x="2000" y="1798"/>
                  </a:cubicBezTo>
                  <a:lnTo>
                    <a:pt x="2000" y="2203"/>
                  </a:lnTo>
                  <a:cubicBezTo>
                    <a:pt x="2000" y="2524"/>
                    <a:pt x="2167" y="2810"/>
                    <a:pt x="2405" y="2989"/>
                  </a:cubicBezTo>
                  <a:lnTo>
                    <a:pt x="2405" y="3274"/>
                  </a:lnTo>
                  <a:lnTo>
                    <a:pt x="2405" y="3286"/>
                  </a:lnTo>
                  <a:lnTo>
                    <a:pt x="1905" y="3477"/>
                  </a:lnTo>
                  <a:cubicBezTo>
                    <a:pt x="1608" y="3596"/>
                    <a:pt x="1405" y="3894"/>
                    <a:pt x="1405" y="4203"/>
                  </a:cubicBezTo>
                  <a:lnTo>
                    <a:pt x="1405" y="5215"/>
                  </a:lnTo>
                  <a:lnTo>
                    <a:pt x="381" y="5215"/>
                  </a:lnTo>
                  <a:lnTo>
                    <a:pt x="381" y="381"/>
                  </a:lnTo>
                  <a:lnTo>
                    <a:pt x="798" y="381"/>
                  </a:lnTo>
                  <a:cubicBezTo>
                    <a:pt x="893" y="381"/>
                    <a:pt x="988" y="286"/>
                    <a:pt x="988" y="191"/>
                  </a:cubicBezTo>
                  <a:cubicBezTo>
                    <a:pt x="988" y="84"/>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7" name="Google Shape;10847;p60"/>
            <p:cNvSpPr/>
            <p:nvPr/>
          </p:nvSpPr>
          <p:spPr>
            <a:xfrm>
              <a:off x="1289311" y="2926222"/>
              <a:ext cx="408156" cy="299783"/>
            </a:xfrm>
            <a:custGeom>
              <a:avLst/>
              <a:gdLst/>
              <a:ahLst/>
              <a:cxnLst/>
              <a:rect l="l" t="t" r="r" b="b"/>
              <a:pathLst>
                <a:path w="12824" h="9419" extrusionOk="0">
                  <a:moveTo>
                    <a:pt x="11621" y="382"/>
                  </a:moveTo>
                  <a:cubicBezTo>
                    <a:pt x="11740" y="382"/>
                    <a:pt x="11823" y="477"/>
                    <a:pt x="11823" y="596"/>
                  </a:cubicBezTo>
                  <a:lnTo>
                    <a:pt x="11823" y="8037"/>
                  </a:lnTo>
                  <a:lnTo>
                    <a:pt x="11406" y="8037"/>
                  </a:lnTo>
                  <a:cubicBezTo>
                    <a:pt x="11299" y="8037"/>
                    <a:pt x="11216" y="8121"/>
                    <a:pt x="11216" y="8228"/>
                  </a:cubicBezTo>
                  <a:cubicBezTo>
                    <a:pt x="11216" y="8335"/>
                    <a:pt x="11299" y="8418"/>
                    <a:pt x="11406" y="8418"/>
                  </a:cubicBezTo>
                  <a:lnTo>
                    <a:pt x="12407" y="8418"/>
                  </a:lnTo>
                  <a:cubicBezTo>
                    <a:pt x="12407" y="8418"/>
                    <a:pt x="12418" y="8418"/>
                    <a:pt x="12418" y="8442"/>
                  </a:cubicBezTo>
                  <a:lnTo>
                    <a:pt x="12418" y="8835"/>
                  </a:lnTo>
                  <a:cubicBezTo>
                    <a:pt x="12442" y="8942"/>
                    <a:pt x="12347" y="9049"/>
                    <a:pt x="12228" y="9049"/>
                  </a:cubicBezTo>
                  <a:lnTo>
                    <a:pt x="596" y="9049"/>
                  </a:lnTo>
                  <a:cubicBezTo>
                    <a:pt x="476" y="9049"/>
                    <a:pt x="381" y="8954"/>
                    <a:pt x="381" y="8835"/>
                  </a:cubicBezTo>
                  <a:lnTo>
                    <a:pt x="381" y="8442"/>
                  </a:lnTo>
                  <a:cubicBezTo>
                    <a:pt x="381" y="8442"/>
                    <a:pt x="381" y="8418"/>
                    <a:pt x="393" y="8418"/>
                  </a:cubicBezTo>
                  <a:lnTo>
                    <a:pt x="10621" y="8418"/>
                  </a:lnTo>
                  <a:cubicBezTo>
                    <a:pt x="10728" y="8418"/>
                    <a:pt x="10811" y="8335"/>
                    <a:pt x="10811" y="8228"/>
                  </a:cubicBezTo>
                  <a:cubicBezTo>
                    <a:pt x="10811" y="8121"/>
                    <a:pt x="10728" y="8037"/>
                    <a:pt x="10621" y="8037"/>
                  </a:cubicBezTo>
                  <a:lnTo>
                    <a:pt x="977" y="8037"/>
                  </a:lnTo>
                  <a:lnTo>
                    <a:pt x="977" y="596"/>
                  </a:lnTo>
                  <a:cubicBezTo>
                    <a:pt x="977" y="477"/>
                    <a:pt x="1072" y="382"/>
                    <a:pt x="1179" y="382"/>
                  </a:cubicBezTo>
                  <a:close/>
                  <a:moveTo>
                    <a:pt x="1191" y="1"/>
                  </a:moveTo>
                  <a:cubicBezTo>
                    <a:pt x="857" y="1"/>
                    <a:pt x="596" y="263"/>
                    <a:pt x="596" y="596"/>
                  </a:cubicBezTo>
                  <a:lnTo>
                    <a:pt x="596" y="8037"/>
                  </a:lnTo>
                  <a:lnTo>
                    <a:pt x="381" y="8037"/>
                  </a:lnTo>
                  <a:cubicBezTo>
                    <a:pt x="179" y="8037"/>
                    <a:pt x="0" y="8216"/>
                    <a:pt x="0" y="8418"/>
                  </a:cubicBezTo>
                  <a:lnTo>
                    <a:pt x="0" y="8823"/>
                  </a:lnTo>
                  <a:cubicBezTo>
                    <a:pt x="0" y="9157"/>
                    <a:pt x="262" y="9419"/>
                    <a:pt x="596" y="9419"/>
                  </a:cubicBezTo>
                  <a:lnTo>
                    <a:pt x="12228" y="9419"/>
                  </a:lnTo>
                  <a:cubicBezTo>
                    <a:pt x="12561" y="9419"/>
                    <a:pt x="12823" y="9157"/>
                    <a:pt x="12823" y="8823"/>
                  </a:cubicBezTo>
                  <a:lnTo>
                    <a:pt x="12823" y="8418"/>
                  </a:lnTo>
                  <a:cubicBezTo>
                    <a:pt x="12811" y="8216"/>
                    <a:pt x="12645" y="8037"/>
                    <a:pt x="12418" y="8037"/>
                  </a:cubicBezTo>
                  <a:lnTo>
                    <a:pt x="12216" y="8037"/>
                  </a:lnTo>
                  <a:lnTo>
                    <a:pt x="12216" y="596"/>
                  </a:lnTo>
                  <a:cubicBezTo>
                    <a:pt x="12216" y="263"/>
                    <a:pt x="11942" y="1"/>
                    <a:pt x="1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48" name="Google Shape;10848;p60"/>
          <p:cNvGrpSpPr/>
          <p:nvPr/>
        </p:nvGrpSpPr>
        <p:grpSpPr>
          <a:xfrm>
            <a:off x="7978465" y="1969392"/>
            <a:ext cx="361147" cy="360797"/>
            <a:chOff x="7978465" y="1969392"/>
            <a:chExt cx="361147" cy="360797"/>
          </a:xfrm>
        </p:grpSpPr>
        <p:sp>
          <p:nvSpPr>
            <p:cNvPr id="10849" name="Google Shape;10849;p60"/>
            <p:cNvSpPr/>
            <p:nvPr/>
          </p:nvSpPr>
          <p:spPr>
            <a:xfrm>
              <a:off x="8136871" y="2285821"/>
              <a:ext cx="44368" cy="44368"/>
            </a:xfrm>
            <a:custGeom>
              <a:avLst/>
              <a:gdLst/>
              <a:ahLst/>
              <a:cxnLst/>
              <a:rect l="l" t="t" r="r" b="b"/>
              <a:pathLst>
                <a:path w="1394" h="1394" extrusionOk="0">
                  <a:moveTo>
                    <a:pt x="691" y="322"/>
                  </a:moveTo>
                  <a:cubicBezTo>
                    <a:pt x="905" y="322"/>
                    <a:pt x="1072" y="488"/>
                    <a:pt x="1072" y="703"/>
                  </a:cubicBezTo>
                  <a:cubicBezTo>
                    <a:pt x="1072" y="905"/>
                    <a:pt x="893" y="1072"/>
                    <a:pt x="691" y="1072"/>
                  </a:cubicBezTo>
                  <a:cubicBezTo>
                    <a:pt x="488" y="1072"/>
                    <a:pt x="322" y="905"/>
                    <a:pt x="322" y="703"/>
                  </a:cubicBezTo>
                  <a:cubicBezTo>
                    <a:pt x="322" y="488"/>
                    <a:pt x="488" y="322"/>
                    <a:pt x="691" y="322"/>
                  </a:cubicBezTo>
                  <a:close/>
                  <a:moveTo>
                    <a:pt x="691" y="0"/>
                  </a:moveTo>
                  <a:cubicBezTo>
                    <a:pt x="310" y="0"/>
                    <a:pt x="0" y="310"/>
                    <a:pt x="0" y="703"/>
                  </a:cubicBezTo>
                  <a:cubicBezTo>
                    <a:pt x="0" y="1084"/>
                    <a:pt x="310" y="1393"/>
                    <a:pt x="691" y="1393"/>
                  </a:cubicBezTo>
                  <a:cubicBezTo>
                    <a:pt x="1084" y="1393"/>
                    <a:pt x="1393" y="1084"/>
                    <a:pt x="1393" y="703"/>
                  </a:cubicBezTo>
                  <a:cubicBezTo>
                    <a:pt x="1393" y="310"/>
                    <a:pt x="108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0" name="Google Shape;10850;p60"/>
            <p:cNvSpPr/>
            <p:nvPr/>
          </p:nvSpPr>
          <p:spPr>
            <a:xfrm>
              <a:off x="8210010" y="2121719"/>
              <a:ext cx="56112" cy="56112"/>
            </a:xfrm>
            <a:custGeom>
              <a:avLst/>
              <a:gdLst/>
              <a:ahLst/>
              <a:cxnLst/>
              <a:rect l="l" t="t" r="r" b="b"/>
              <a:pathLst>
                <a:path w="1763" h="1763" extrusionOk="0">
                  <a:moveTo>
                    <a:pt x="881" y="334"/>
                  </a:moveTo>
                  <a:cubicBezTo>
                    <a:pt x="1191" y="334"/>
                    <a:pt x="1429" y="572"/>
                    <a:pt x="1429" y="882"/>
                  </a:cubicBezTo>
                  <a:cubicBezTo>
                    <a:pt x="1417" y="1180"/>
                    <a:pt x="1179" y="1430"/>
                    <a:pt x="881" y="1430"/>
                  </a:cubicBezTo>
                  <a:cubicBezTo>
                    <a:pt x="583" y="1430"/>
                    <a:pt x="333" y="1191"/>
                    <a:pt x="333" y="882"/>
                  </a:cubicBezTo>
                  <a:cubicBezTo>
                    <a:pt x="333" y="584"/>
                    <a:pt x="572" y="334"/>
                    <a:pt x="881" y="334"/>
                  </a:cubicBezTo>
                  <a:close/>
                  <a:moveTo>
                    <a:pt x="881" y="1"/>
                  </a:moveTo>
                  <a:cubicBezTo>
                    <a:pt x="405" y="1"/>
                    <a:pt x="0" y="394"/>
                    <a:pt x="0" y="882"/>
                  </a:cubicBezTo>
                  <a:cubicBezTo>
                    <a:pt x="0" y="1358"/>
                    <a:pt x="393" y="1763"/>
                    <a:pt x="881" y="1763"/>
                  </a:cubicBezTo>
                  <a:cubicBezTo>
                    <a:pt x="1357" y="1763"/>
                    <a:pt x="1762" y="1370"/>
                    <a:pt x="1762" y="882"/>
                  </a:cubicBezTo>
                  <a:cubicBezTo>
                    <a:pt x="1762"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1" name="Google Shape;10851;p60"/>
            <p:cNvSpPr/>
            <p:nvPr/>
          </p:nvSpPr>
          <p:spPr>
            <a:xfrm>
              <a:off x="8051987" y="2121719"/>
              <a:ext cx="55730" cy="56112"/>
            </a:xfrm>
            <a:custGeom>
              <a:avLst/>
              <a:gdLst/>
              <a:ahLst/>
              <a:cxnLst/>
              <a:rect l="l" t="t" r="r" b="b"/>
              <a:pathLst>
                <a:path w="1751" h="1763" extrusionOk="0">
                  <a:moveTo>
                    <a:pt x="881" y="334"/>
                  </a:moveTo>
                  <a:cubicBezTo>
                    <a:pt x="1179" y="334"/>
                    <a:pt x="1429" y="572"/>
                    <a:pt x="1429" y="882"/>
                  </a:cubicBezTo>
                  <a:cubicBezTo>
                    <a:pt x="1417" y="1180"/>
                    <a:pt x="1179" y="1430"/>
                    <a:pt x="881" y="1430"/>
                  </a:cubicBezTo>
                  <a:cubicBezTo>
                    <a:pt x="584" y="1430"/>
                    <a:pt x="322" y="1191"/>
                    <a:pt x="322" y="882"/>
                  </a:cubicBezTo>
                  <a:cubicBezTo>
                    <a:pt x="322" y="572"/>
                    <a:pt x="560" y="334"/>
                    <a:pt x="881" y="334"/>
                  </a:cubicBezTo>
                  <a:close/>
                  <a:moveTo>
                    <a:pt x="881" y="1"/>
                  </a:moveTo>
                  <a:cubicBezTo>
                    <a:pt x="405" y="1"/>
                    <a:pt x="0" y="394"/>
                    <a:pt x="0" y="882"/>
                  </a:cubicBezTo>
                  <a:cubicBezTo>
                    <a:pt x="0" y="1358"/>
                    <a:pt x="381" y="1763"/>
                    <a:pt x="881" y="1763"/>
                  </a:cubicBezTo>
                  <a:cubicBezTo>
                    <a:pt x="1357" y="1763"/>
                    <a:pt x="1750" y="1370"/>
                    <a:pt x="1750" y="882"/>
                  </a:cubicBezTo>
                  <a:cubicBezTo>
                    <a:pt x="1750" y="406"/>
                    <a:pt x="135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2" name="Google Shape;10852;p60"/>
            <p:cNvSpPr/>
            <p:nvPr/>
          </p:nvSpPr>
          <p:spPr>
            <a:xfrm>
              <a:off x="7978465" y="2285821"/>
              <a:ext cx="44749" cy="44368"/>
            </a:xfrm>
            <a:custGeom>
              <a:avLst/>
              <a:gdLst/>
              <a:ahLst/>
              <a:cxnLst/>
              <a:rect l="l" t="t" r="r" b="b"/>
              <a:pathLst>
                <a:path w="1406" h="1394" extrusionOk="0">
                  <a:moveTo>
                    <a:pt x="703" y="322"/>
                  </a:moveTo>
                  <a:cubicBezTo>
                    <a:pt x="905" y="322"/>
                    <a:pt x="1072" y="488"/>
                    <a:pt x="1072" y="703"/>
                  </a:cubicBezTo>
                  <a:cubicBezTo>
                    <a:pt x="1072" y="905"/>
                    <a:pt x="893" y="1072"/>
                    <a:pt x="703" y="1072"/>
                  </a:cubicBezTo>
                  <a:cubicBezTo>
                    <a:pt x="489" y="1072"/>
                    <a:pt x="334" y="905"/>
                    <a:pt x="334" y="703"/>
                  </a:cubicBezTo>
                  <a:cubicBezTo>
                    <a:pt x="334" y="488"/>
                    <a:pt x="489"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3" name="Google Shape;10853;p60"/>
            <p:cNvSpPr/>
            <p:nvPr/>
          </p:nvSpPr>
          <p:spPr>
            <a:xfrm>
              <a:off x="8294894" y="2285821"/>
              <a:ext cx="44718" cy="44368"/>
            </a:xfrm>
            <a:custGeom>
              <a:avLst/>
              <a:gdLst/>
              <a:ahLst/>
              <a:cxnLst/>
              <a:rect l="l" t="t" r="r" b="b"/>
              <a:pathLst>
                <a:path w="1405" h="1394" extrusionOk="0">
                  <a:moveTo>
                    <a:pt x="703" y="322"/>
                  </a:moveTo>
                  <a:cubicBezTo>
                    <a:pt x="905" y="322"/>
                    <a:pt x="1072" y="488"/>
                    <a:pt x="1072" y="703"/>
                  </a:cubicBezTo>
                  <a:cubicBezTo>
                    <a:pt x="1072" y="905"/>
                    <a:pt x="893" y="1072"/>
                    <a:pt x="703" y="1072"/>
                  </a:cubicBezTo>
                  <a:cubicBezTo>
                    <a:pt x="488" y="1072"/>
                    <a:pt x="333" y="905"/>
                    <a:pt x="333" y="703"/>
                  </a:cubicBezTo>
                  <a:cubicBezTo>
                    <a:pt x="333" y="488"/>
                    <a:pt x="488" y="322"/>
                    <a:pt x="703" y="322"/>
                  </a:cubicBezTo>
                  <a:close/>
                  <a:moveTo>
                    <a:pt x="703" y="0"/>
                  </a:moveTo>
                  <a:cubicBezTo>
                    <a:pt x="310" y="0"/>
                    <a:pt x="0" y="310"/>
                    <a:pt x="0" y="703"/>
                  </a:cubicBezTo>
                  <a:cubicBezTo>
                    <a:pt x="0" y="1084"/>
                    <a:pt x="310" y="1393"/>
                    <a:pt x="703" y="1393"/>
                  </a:cubicBezTo>
                  <a:cubicBezTo>
                    <a:pt x="1084" y="1393"/>
                    <a:pt x="1405" y="1084"/>
                    <a:pt x="1405" y="703"/>
                  </a:cubicBezTo>
                  <a:cubicBezTo>
                    <a:pt x="1405" y="310"/>
                    <a:pt x="1084"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4" name="Google Shape;10854;p60"/>
            <p:cNvSpPr/>
            <p:nvPr/>
          </p:nvSpPr>
          <p:spPr>
            <a:xfrm>
              <a:off x="8119811" y="1969392"/>
              <a:ext cx="78455" cy="78487"/>
            </a:xfrm>
            <a:custGeom>
              <a:avLst/>
              <a:gdLst/>
              <a:ahLst/>
              <a:cxnLst/>
              <a:rect l="l" t="t" r="r" b="b"/>
              <a:pathLst>
                <a:path w="2465" h="2466" extrusionOk="0">
                  <a:moveTo>
                    <a:pt x="1227" y="346"/>
                  </a:moveTo>
                  <a:cubicBezTo>
                    <a:pt x="1727" y="346"/>
                    <a:pt x="2120" y="739"/>
                    <a:pt x="2120" y="1239"/>
                  </a:cubicBezTo>
                  <a:cubicBezTo>
                    <a:pt x="2120" y="1727"/>
                    <a:pt x="1727" y="2132"/>
                    <a:pt x="1227" y="2132"/>
                  </a:cubicBezTo>
                  <a:cubicBezTo>
                    <a:pt x="739" y="2132"/>
                    <a:pt x="334" y="1727"/>
                    <a:pt x="334" y="1239"/>
                  </a:cubicBezTo>
                  <a:cubicBezTo>
                    <a:pt x="334" y="739"/>
                    <a:pt x="739" y="346"/>
                    <a:pt x="1227" y="346"/>
                  </a:cubicBezTo>
                  <a:close/>
                  <a:moveTo>
                    <a:pt x="1227" y="1"/>
                  </a:moveTo>
                  <a:cubicBezTo>
                    <a:pt x="548" y="1"/>
                    <a:pt x="0" y="548"/>
                    <a:pt x="0" y="1239"/>
                  </a:cubicBezTo>
                  <a:cubicBezTo>
                    <a:pt x="0" y="1917"/>
                    <a:pt x="548" y="2465"/>
                    <a:pt x="1227" y="2465"/>
                  </a:cubicBezTo>
                  <a:cubicBezTo>
                    <a:pt x="1917" y="2465"/>
                    <a:pt x="2465" y="1917"/>
                    <a:pt x="2465" y="1239"/>
                  </a:cubicBezTo>
                  <a:cubicBezTo>
                    <a:pt x="2465" y="548"/>
                    <a:pt x="1905"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5" name="Google Shape;10855;p60"/>
            <p:cNvSpPr/>
            <p:nvPr/>
          </p:nvSpPr>
          <p:spPr>
            <a:xfrm>
              <a:off x="8012202" y="2189575"/>
              <a:ext cx="134917" cy="89690"/>
            </a:xfrm>
            <a:custGeom>
              <a:avLst/>
              <a:gdLst/>
              <a:ahLst/>
              <a:cxnLst/>
              <a:rect l="l" t="t" r="r" b="b"/>
              <a:pathLst>
                <a:path w="4239" h="2818" extrusionOk="0">
                  <a:moveTo>
                    <a:pt x="2107" y="0"/>
                  </a:moveTo>
                  <a:cubicBezTo>
                    <a:pt x="2024" y="0"/>
                    <a:pt x="1953" y="71"/>
                    <a:pt x="1953" y="167"/>
                  </a:cubicBezTo>
                  <a:lnTo>
                    <a:pt x="1953" y="1417"/>
                  </a:lnTo>
                  <a:lnTo>
                    <a:pt x="1072" y="1417"/>
                  </a:lnTo>
                  <a:cubicBezTo>
                    <a:pt x="822" y="1417"/>
                    <a:pt x="583" y="1560"/>
                    <a:pt x="464" y="1786"/>
                  </a:cubicBezTo>
                  <a:lnTo>
                    <a:pt x="48" y="2560"/>
                  </a:lnTo>
                  <a:cubicBezTo>
                    <a:pt x="0" y="2631"/>
                    <a:pt x="24" y="2738"/>
                    <a:pt x="119" y="2786"/>
                  </a:cubicBezTo>
                  <a:cubicBezTo>
                    <a:pt x="143" y="2798"/>
                    <a:pt x="167" y="2798"/>
                    <a:pt x="191" y="2798"/>
                  </a:cubicBezTo>
                  <a:cubicBezTo>
                    <a:pt x="250" y="2798"/>
                    <a:pt x="310" y="2774"/>
                    <a:pt x="345" y="2715"/>
                  </a:cubicBezTo>
                  <a:lnTo>
                    <a:pt x="762" y="1941"/>
                  </a:lnTo>
                  <a:cubicBezTo>
                    <a:pt x="822" y="1822"/>
                    <a:pt x="953" y="1738"/>
                    <a:pt x="1083" y="1738"/>
                  </a:cubicBezTo>
                  <a:lnTo>
                    <a:pt x="3167" y="1738"/>
                  </a:lnTo>
                  <a:cubicBezTo>
                    <a:pt x="3298" y="1738"/>
                    <a:pt x="3417" y="1822"/>
                    <a:pt x="3500" y="1941"/>
                  </a:cubicBezTo>
                  <a:lnTo>
                    <a:pt x="3917" y="2727"/>
                  </a:lnTo>
                  <a:cubicBezTo>
                    <a:pt x="3943" y="2778"/>
                    <a:pt x="4006" y="2817"/>
                    <a:pt x="4066" y="2817"/>
                  </a:cubicBezTo>
                  <a:cubicBezTo>
                    <a:pt x="4089" y="2817"/>
                    <a:pt x="4112" y="2811"/>
                    <a:pt x="4131" y="2798"/>
                  </a:cubicBezTo>
                  <a:cubicBezTo>
                    <a:pt x="4215" y="2774"/>
                    <a:pt x="4239" y="2667"/>
                    <a:pt x="4191" y="2572"/>
                  </a:cubicBezTo>
                  <a:lnTo>
                    <a:pt x="3774" y="1786"/>
                  </a:lnTo>
                  <a:cubicBezTo>
                    <a:pt x="3655" y="1560"/>
                    <a:pt x="3417" y="1417"/>
                    <a:pt x="3155" y="1417"/>
                  </a:cubicBezTo>
                  <a:lnTo>
                    <a:pt x="2274" y="1417"/>
                  </a:lnTo>
                  <a:lnTo>
                    <a:pt x="2274" y="167"/>
                  </a:lnTo>
                  <a:cubicBezTo>
                    <a:pt x="2274" y="71"/>
                    <a:pt x="2203" y="0"/>
                    <a:pt x="2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6" name="Google Shape;10856;p60"/>
            <p:cNvSpPr/>
            <p:nvPr/>
          </p:nvSpPr>
          <p:spPr>
            <a:xfrm>
              <a:off x="8099346" y="2059973"/>
              <a:ext cx="119385" cy="56016"/>
            </a:xfrm>
            <a:custGeom>
              <a:avLst/>
              <a:gdLst/>
              <a:ahLst/>
              <a:cxnLst/>
              <a:rect l="l" t="t" r="r" b="b"/>
              <a:pathLst>
                <a:path w="3751" h="1760" extrusionOk="0">
                  <a:moveTo>
                    <a:pt x="1870" y="0"/>
                  </a:moveTo>
                  <a:cubicBezTo>
                    <a:pt x="1786" y="0"/>
                    <a:pt x="1715" y="72"/>
                    <a:pt x="1715" y="155"/>
                  </a:cubicBezTo>
                  <a:lnTo>
                    <a:pt x="1715" y="714"/>
                  </a:lnTo>
                  <a:lnTo>
                    <a:pt x="774" y="714"/>
                  </a:lnTo>
                  <a:cubicBezTo>
                    <a:pt x="584" y="714"/>
                    <a:pt x="405" y="810"/>
                    <a:pt x="310" y="988"/>
                  </a:cubicBezTo>
                  <a:lnTo>
                    <a:pt x="48" y="1512"/>
                  </a:lnTo>
                  <a:cubicBezTo>
                    <a:pt x="0" y="1584"/>
                    <a:pt x="24" y="1691"/>
                    <a:pt x="120" y="1738"/>
                  </a:cubicBezTo>
                  <a:cubicBezTo>
                    <a:pt x="141" y="1753"/>
                    <a:pt x="167" y="1760"/>
                    <a:pt x="192" y="1760"/>
                  </a:cubicBezTo>
                  <a:cubicBezTo>
                    <a:pt x="251" y="1760"/>
                    <a:pt x="313" y="1725"/>
                    <a:pt x="346" y="1667"/>
                  </a:cubicBezTo>
                  <a:lnTo>
                    <a:pt x="608" y="1143"/>
                  </a:lnTo>
                  <a:cubicBezTo>
                    <a:pt x="643" y="1084"/>
                    <a:pt x="715" y="1036"/>
                    <a:pt x="774" y="1036"/>
                  </a:cubicBezTo>
                  <a:lnTo>
                    <a:pt x="2977" y="1036"/>
                  </a:lnTo>
                  <a:cubicBezTo>
                    <a:pt x="3048" y="1036"/>
                    <a:pt x="3108" y="1084"/>
                    <a:pt x="3144" y="1143"/>
                  </a:cubicBezTo>
                  <a:lnTo>
                    <a:pt x="3406" y="1667"/>
                  </a:lnTo>
                  <a:cubicBezTo>
                    <a:pt x="3441" y="1727"/>
                    <a:pt x="3501" y="1750"/>
                    <a:pt x="3560" y="1750"/>
                  </a:cubicBezTo>
                  <a:cubicBezTo>
                    <a:pt x="3584" y="1750"/>
                    <a:pt x="3620" y="1750"/>
                    <a:pt x="3632" y="1738"/>
                  </a:cubicBezTo>
                  <a:cubicBezTo>
                    <a:pt x="3715" y="1691"/>
                    <a:pt x="3751" y="1584"/>
                    <a:pt x="3703" y="1512"/>
                  </a:cubicBezTo>
                  <a:lnTo>
                    <a:pt x="3441" y="988"/>
                  </a:lnTo>
                  <a:cubicBezTo>
                    <a:pt x="3346" y="810"/>
                    <a:pt x="3168" y="714"/>
                    <a:pt x="2977" y="714"/>
                  </a:cubicBezTo>
                  <a:lnTo>
                    <a:pt x="2036" y="714"/>
                  </a:lnTo>
                  <a:lnTo>
                    <a:pt x="2036" y="155"/>
                  </a:lnTo>
                  <a:cubicBezTo>
                    <a:pt x="2036" y="72"/>
                    <a:pt x="1965"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7" name="Google Shape;10857;p60"/>
            <p:cNvSpPr/>
            <p:nvPr/>
          </p:nvSpPr>
          <p:spPr>
            <a:xfrm>
              <a:off x="8170194" y="2189925"/>
              <a:ext cx="135331" cy="89849"/>
            </a:xfrm>
            <a:custGeom>
              <a:avLst/>
              <a:gdLst/>
              <a:ahLst/>
              <a:cxnLst/>
              <a:rect l="l" t="t" r="r" b="b"/>
              <a:pathLst>
                <a:path w="4252" h="2823" extrusionOk="0">
                  <a:moveTo>
                    <a:pt x="2132" y="1"/>
                  </a:moveTo>
                  <a:cubicBezTo>
                    <a:pt x="2049" y="1"/>
                    <a:pt x="1965" y="84"/>
                    <a:pt x="1965" y="168"/>
                  </a:cubicBezTo>
                  <a:lnTo>
                    <a:pt x="1965" y="1418"/>
                  </a:lnTo>
                  <a:lnTo>
                    <a:pt x="1096" y="1418"/>
                  </a:lnTo>
                  <a:cubicBezTo>
                    <a:pt x="834" y="1418"/>
                    <a:pt x="596" y="1573"/>
                    <a:pt x="465" y="1787"/>
                  </a:cubicBezTo>
                  <a:lnTo>
                    <a:pt x="49" y="2585"/>
                  </a:lnTo>
                  <a:cubicBezTo>
                    <a:pt x="1" y="2656"/>
                    <a:pt x="37" y="2763"/>
                    <a:pt x="120" y="2799"/>
                  </a:cubicBezTo>
                  <a:cubicBezTo>
                    <a:pt x="148" y="2815"/>
                    <a:pt x="177" y="2823"/>
                    <a:pt x="205" y="2823"/>
                  </a:cubicBezTo>
                  <a:cubicBezTo>
                    <a:pt x="262" y="2823"/>
                    <a:pt x="314" y="2791"/>
                    <a:pt x="346" y="2727"/>
                  </a:cubicBezTo>
                  <a:lnTo>
                    <a:pt x="763" y="1942"/>
                  </a:lnTo>
                  <a:cubicBezTo>
                    <a:pt x="822" y="1823"/>
                    <a:pt x="953" y="1751"/>
                    <a:pt x="1096" y="1751"/>
                  </a:cubicBezTo>
                  <a:lnTo>
                    <a:pt x="3180" y="1751"/>
                  </a:lnTo>
                  <a:cubicBezTo>
                    <a:pt x="3311" y="1751"/>
                    <a:pt x="3430" y="1823"/>
                    <a:pt x="3501" y="1942"/>
                  </a:cubicBezTo>
                  <a:lnTo>
                    <a:pt x="3918" y="2716"/>
                  </a:lnTo>
                  <a:cubicBezTo>
                    <a:pt x="3954" y="2775"/>
                    <a:pt x="4013" y="2799"/>
                    <a:pt x="4073" y="2799"/>
                  </a:cubicBezTo>
                  <a:cubicBezTo>
                    <a:pt x="4097" y="2799"/>
                    <a:pt x="4132" y="2799"/>
                    <a:pt x="4144" y="2787"/>
                  </a:cubicBezTo>
                  <a:cubicBezTo>
                    <a:pt x="4216" y="2763"/>
                    <a:pt x="4251" y="2656"/>
                    <a:pt x="4204" y="2561"/>
                  </a:cubicBezTo>
                  <a:lnTo>
                    <a:pt x="3787" y="1787"/>
                  </a:lnTo>
                  <a:cubicBezTo>
                    <a:pt x="3668" y="1573"/>
                    <a:pt x="3430" y="1418"/>
                    <a:pt x="3180" y="1418"/>
                  </a:cubicBezTo>
                  <a:lnTo>
                    <a:pt x="2299" y="1418"/>
                  </a:lnTo>
                  <a:lnTo>
                    <a:pt x="2299" y="168"/>
                  </a:lnTo>
                  <a:cubicBezTo>
                    <a:pt x="2299" y="84"/>
                    <a:pt x="2227" y="1"/>
                    <a:pt x="2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58" name="Google Shape;10858;p60"/>
          <p:cNvSpPr/>
          <p:nvPr/>
        </p:nvSpPr>
        <p:spPr>
          <a:xfrm>
            <a:off x="2206357" y="2890607"/>
            <a:ext cx="372159" cy="37215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59" name="Google Shape;10859;p60"/>
          <p:cNvGrpSpPr/>
          <p:nvPr/>
        </p:nvGrpSpPr>
        <p:grpSpPr>
          <a:xfrm>
            <a:off x="854261" y="2908813"/>
            <a:ext cx="377474" cy="335748"/>
            <a:chOff x="854261" y="2908813"/>
            <a:chExt cx="377474" cy="335748"/>
          </a:xfrm>
        </p:grpSpPr>
        <p:sp>
          <p:nvSpPr>
            <p:cNvPr id="10860" name="Google Shape;10860;p60"/>
            <p:cNvSpPr/>
            <p:nvPr/>
          </p:nvSpPr>
          <p:spPr>
            <a:xfrm>
              <a:off x="896337" y="3079695"/>
              <a:ext cx="47391" cy="17091"/>
            </a:xfrm>
            <a:custGeom>
              <a:avLst/>
              <a:gdLst/>
              <a:ahLst/>
              <a:cxnLst/>
              <a:rect l="l" t="t" r="r" b="b"/>
              <a:pathLst>
                <a:path w="1489" h="537" extrusionOk="0">
                  <a:moveTo>
                    <a:pt x="179" y="1"/>
                  </a:moveTo>
                  <a:cubicBezTo>
                    <a:pt x="96" y="1"/>
                    <a:pt x="0" y="72"/>
                    <a:pt x="0" y="179"/>
                  </a:cubicBezTo>
                  <a:cubicBezTo>
                    <a:pt x="0" y="263"/>
                    <a:pt x="84" y="358"/>
                    <a:pt x="179" y="358"/>
                  </a:cubicBezTo>
                  <a:cubicBezTo>
                    <a:pt x="381" y="358"/>
                    <a:pt x="941" y="382"/>
                    <a:pt x="1227" y="525"/>
                  </a:cubicBezTo>
                  <a:cubicBezTo>
                    <a:pt x="1251" y="537"/>
                    <a:pt x="1274" y="537"/>
                    <a:pt x="1298" y="537"/>
                  </a:cubicBezTo>
                  <a:cubicBezTo>
                    <a:pt x="1358" y="537"/>
                    <a:pt x="1417" y="501"/>
                    <a:pt x="1453" y="441"/>
                  </a:cubicBezTo>
                  <a:cubicBezTo>
                    <a:pt x="1489" y="358"/>
                    <a:pt x="1465" y="251"/>
                    <a:pt x="1370" y="203"/>
                  </a:cubicBezTo>
                  <a:cubicBezTo>
                    <a:pt x="977" y="1"/>
                    <a:pt x="21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1" name="Google Shape;10861;p60"/>
            <p:cNvSpPr/>
            <p:nvPr/>
          </p:nvSpPr>
          <p:spPr>
            <a:xfrm>
              <a:off x="878514" y="3191855"/>
              <a:ext cx="11426" cy="52706"/>
            </a:xfrm>
            <a:custGeom>
              <a:avLst/>
              <a:gdLst/>
              <a:ahLst/>
              <a:cxnLst/>
              <a:rect l="l" t="t" r="r" b="b"/>
              <a:pathLst>
                <a:path w="359" h="1656" extrusionOk="0">
                  <a:moveTo>
                    <a:pt x="179" y="1"/>
                  </a:moveTo>
                  <a:cubicBezTo>
                    <a:pt x="84" y="1"/>
                    <a:pt x="1" y="72"/>
                    <a:pt x="1" y="180"/>
                  </a:cubicBezTo>
                  <a:lnTo>
                    <a:pt x="1" y="1477"/>
                  </a:lnTo>
                  <a:cubicBezTo>
                    <a:pt x="1" y="1561"/>
                    <a:pt x="72" y="1656"/>
                    <a:pt x="179" y="1656"/>
                  </a:cubicBezTo>
                  <a:cubicBezTo>
                    <a:pt x="287" y="1656"/>
                    <a:pt x="358" y="1585"/>
                    <a:pt x="358" y="1477"/>
                  </a:cubicBezTo>
                  <a:lnTo>
                    <a:pt x="358" y="180"/>
                  </a:lnTo>
                  <a:cubicBezTo>
                    <a:pt x="358" y="72"/>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2" name="Google Shape;10862;p60"/>
            <p:cNvSpPr/>
            <p:nvPr/>
          </p:nvSpPr>
          <p:spPr>
            <a:xfrm>
              <a:off x="854261" y="3050159"/>
              <a:ext cx="219451" cy="194052"/>
            </a:xfrm>
            <a:custGeom>
              <a:avLst/>
              <a:gdLst/>
              <a:ahLst/>
              <a:cxnLst/>
              <a:rect l="l" t="t" r="r" b="b"/>
              <a:pathLst>
                <a:path w="6895" h="6097" extrusionOk="0">
                  <a:moveTo>
                    <a:pt x="6406" y="679"/>
                  </a:moveTo>
                  <a:lnTo>
                    <a:pt x="6466" y="929"/>
                  </a:lnTo>
                  <a:cubicBezTo>
                    <a:pt x="6490" y="1000"/>
                    <a:pt x="6478" y="1072"/>
                    <a:pt x="6418" y="1119"/>
                  </a:cubicBezTo>
                  <a:lnTo>
                    <a:pt x="6311" y="1226"/>
                  </a:lnTo>
                  <a:lnTo>
                    <a:pt x="6073" y="988"/>
                  </a:lnTo>
                  <a:lnTo>
                    <a:pt x="6406" y="679"/>
                  </a:lnTo>
                  <a:close/>
                  <a:moveTo>
                    <a:pt x="3192" y="345"/>
                  </a:moveTo>
                  <a:lnTo>
                    <a:pt x="3192" y="1060"/>
                  </a:lnTo>
                  <a:cubicBezTo>
                    <a:pt x="3192" y="1179"/>
                    <a:pt x="3156" y="1298"/>
                    <a:pt x="3108" y="1405"/>
                  </a:cubicBezTo>
                  <a:lnTo>
                    <a:pt x="3025" y="1584"/>
                  </a:lnTo>
                  <a:cubicBezTo>
                    <a:pt x="3013" y="1607"/>
                    <a:pt x="3013" y="1619"/>
                    <a:pt x="3013" y="1655"/>
                  </a:cubicBezTo>
                  <a:lnTo>
                    <a:pt x="3013" y="2024"/>
                  </a:lnTo>
                  <a:cubicBezTo>
                    <a:pt x="2989" y="2286"/>
                    <a:pt x="2894" y="2524"/>
                    <a:pt x="2715" y="2703"/>
                  </a:cubicBezTo>
                  <a:cubicBezTo>
                    <a:pt x="2537" y="2881"/>
                    <a:pt x="2275" y="2965"/>
                    <a:pt x="2025" y="2965"/>
                  </a:cubicBezTo>
                  <a:cubicBezTo>
                    <a:pt x="1525" y="2953"/>
                    <a:pt x="1120" y="2500"/>
                    <a:pt x="1120" y="1988"/>
                  </a:cubicBezTo>
                  <a:lnTo>
                    <a:pt x="1120" y="1655"/>
                  </a:lnTo>
                  <a:cubicBezTo>
                    <a:pt x="1120" y="1619"/>
                    <a:pt x="1120" y="1596"/>
                    <a:pt x="1108" y="1584"/>
                  </a:cubicBezTo>
                  <a:lnTo>
                    <a:pt x="1001" y="1369"/>
                  </a:lnTo>
                  <a:cubicBezTo>
                    <a:pt x="953" y="1298"/>
                    <a:pt x="941" y="1203"/>
                    <a:pt x="941" y="1119"/>
                  </a:cubicBezTo>
                  <a:lnTo>
                    <a:pt x="941" y="1107"/>
                  </a:lnTo>
                  <a:cubicBezTo>
                    <a:pt x="941" y="691"/>
                    <a:pt x="1287" y="345"/>
                    <a:pt x="1703" y="345"/>
                  </a:cubicBezTo>
                  <a:close/>
                  <a:moveTo>
                    <a:pt x="2442" y="3227"/>
                  </a:moveTo>
                  <a:cubicBezTo>
                    <a:pt x="2454" y="3298"/>
                    <a:pt x="2477" y="3334"/>
                    <a:pt x="2489" y="3381"/>
                  </a:cubicBezTo>
                  <a:lnTo>
                    <a:pt x="2323" y="3548"/>
                  </a:lnTo>
                  <a:cubicBezTo>
                    <a:pt x="2251" y="3620"/>
                    <a:pt x="2156" y="3655"/>
                    <a:pt x="2059" y="3655"/>
                  </a:cubicBezTo>
                  <a:cubicBezTo>
                    <a:pt x="1962" y="3655"/>
                    <a:pt x="1864" y="3620"/>
                    <a:pt x="1787" y="3548"/>
                  </a:cubicBezTo>
                  <a:lnTo>
                    <a:pt x="1644" y="3393"/>
                  </a:lnTo>
                  <a:cubicBezTo>
                    <a:pt x="1656" y="3358"/>
                    <a:pt x="1668" y="3286"/>
                    <a:pt x="1668" y="3227"/>
                  </a:cubicBezTo>
                  <a:cubicBezTo>
                    <a:pt x="1775" y="3262"/>
                    <a:pt x="1894" y="3286"/>
                    <a:pt x="2013" y="3286"/>
                  </a:cubicBezTo>
                  <a:lnTo>
                    <a:pt x="2061" y="3286"/>
                  </a:lnTo>
                  <a:cubicBezTo>
                    <a:pt x="2192" y="3286"/>
                    <a:pt x="2323" y="3274"/>
                    <a:pt x="2442" y="3227"/>
                  </a:cubicBezTo>
                  <a:close/>
                  <a:moveTo>
                    <a:pt x="1680" y="0"/>
                  </a:moveTo>
                  <a:cubicBezTo>
                    <a:pt x="1072" y="0"/>
                    <a:pt x="584" y="500"/>
                    <a:pt x="584" y="1107"/>
                  </a:cubicBezTo>
                  <a:lnTo>
                    <a:pt x="584" y="1119"/>
                  </a:lnTo>
                  <a:cubicBezTo>
                    <a:pt x="584" y="1250"/>
                    <a:pt x="608" y="1405"/>
                    <a:pt x="668" y="1524"/>
                  </a:cubicBezTo>
                  <a:lnTo>
                    <a:pt x="763" y="1703"/>
                  </a:lnTo>
                  <a:lnTo>
                    <a:pt x="763" y="1988"/>
                  </a:lnTo>
                  <a:cubicBezTo>
                    <a:pt x="763" y="2429"/>
                    <a:pt x="977" y="2834"/>
                    <a:pt x="1311" y="3072"/>
                  </a:cubicBezTo>
                  <a:lnTo>
                    <a:pt x="1311" y="3215"/>
                  </a:lnTo>
                  <a:cubicBezTo>
                    <a:pt x="1311" y="3310"/>
                    <a:pt x="1251" y="3381"/>
                    <a:pt x="1156" y="3417"/>
                  </a:cubicBezTo>
                  <a:lnTo>
                    <a:pt x="537" y="3596"/>
                  </a:lnTo>
                  <a:cubicBezTo>
                    <a:pt x="227" y="3679"/>
                    <a:pt x="1" y="3965"/>
                    <a:pt x="1" y="4286"/>
                  </a:cubicBezTo>
                  <a:lnTo>
                    <a:pt x="1" y="5917"/>
                  </a:lnTo>
                  <a:cubicBezTo>
                    <a:pt x="1" y="6001"/>
                    <a:pt x="72" y="6096"/>
                    <a:pt x="179" y="6096"/>
                  </a:cubicBezTo>
                  <a:cubicBezTo>
                    <a:pt x="287" y="6096"/>
                    <a:pt x="358" y="6013"/>
                    <a:pt x="358" y="5917"/>
                  </a:cubicBezTo>
                  <a:lnTo>
                    <a:pt x="358" y="4310"/>
                  </a:lnTo>
                  <a:cubicBezTo>
                    <a:pt x="358" y="4143"/>
                    <a:pt x="477" y="3977"/>
                    <a:pt x="644" y="3929"/>
                  </a:cubicBezTo>
                  <a:lnTo>
                    <a:pt x="1263" y="3751"/>
                  </a:lnTo>
                  <a:cubicBezTo>
                    <a:pt x="1322" y="3739"/>
                    <a:pt x="1370" y="3715"/>
                    <a:pt x="1418" y="3679"/>
                  </a:cubicBezTo>
                  <a:lnTo>
                    <a:pt x="1513" y="3786"/>
                  </a:lnTo>
                  <a:cubicBezTo>
                    <a:pt x="1668" y="3929"/>
                    <a:pt x="1846" y="3989"/>
                    <a:pt x="2037" y="3989"/>
                  </a:cubicBezTo>
                  <a:cubicBezTo>
                    <a:pt x="2227" y="3989"/>
                    <a:pt x="2406" y="3917"/>
                    <a:pt x="2561" y="3786"/>
                  </a:cubicBezTo>
                  <a:lnTo>
                    <a:pt x="2727" y="3620"/>
                  </a:lnTo>
                  <a:cubicBezTo>
                    <a:pt x="2799" y="3655"/>
                    <a:pt x="2870" y="3679"/>
                    <a:pt x="2966" y="3679"/>
                  </a:cubicBezTo>
                  <a:lnTo>
                    <a:pt x="3001" y="3679"/>
                  </a:lnTo>
                  <a:cubicBezTo>
                    <a:pt x="3144" y="3679"/>
                    <a:pt x="3275" y="3620"/>
                    <a:pt x="3382" y="3524"/>
                  </a:cubicBezTo>
                  <a:lnTo>
                    <a:pt x="5823" y="1226"/>
                  </a:lnTo>
                  <a:lnTo>
                    <a:pt x="6061" y="1465"/>
                  </a:lnTo>
                  <a:lnTo>
                    <a:pt x="3239" y="4274"/>
                  </a:lnTo>
                  <a:cubicBezTo>
                    <a:pt x="3061" y="4453"/>
                    <a:pt x="2977" y="4679"/>
                    <a:pt x="2977" y="4917"/>
                  </a:cubicBezTo>
                  <a:lnTo>
                    <a:pt x="2977" y="5906"/>
                  </a:lnTo>
                  <a:cubicBezTo>
                    <a:pt x="2977" y="6001"/>
                    <a:pt x="3049" y="6096"/>
                    <a:pt x="3156" y="6096"/>
                  </a:cubicBezTo>
                  <a:cubicBezTo>
                    <a:pt x="3239" y="6096"/>
                    <a:pt x="3335" y="6013"/>
                    <a:pt x="3335" y="5906"/>
                  </a:cubicBezTo>
                  <a:lnTo>
                    <a:pt x="3335" y="4917"/>
                  </a:lnTo>
                  <a:cubicBezTo>
                    <a:pt x="3335" y="4763"/>
                    <a:pt x="3394" y="4620"/>
                    <a:pt x="3501" y="4513"/>
                  </a:cubicBezTo>
                  <a:lnTo>
                    <a:pt x="6656" y="1357"/>
                  </a:lnTo>
                  <a:cubicBezTo>
                    <a:pt x="6787" y="1226"/>
                    <a:pt x="6847" y="1024"/>
                    <a:pt x="6799" y="834"/>
                  </a:cubicBezTo>
                  <a:lnTo>
                    <a:pt x="6704" y="405"/>
                  </a:lnTo>
                  <a:lnTo>
                    <a:pt x="6823" y="298"/>
                  </a:lnTo>
                  <a:cubicBezTo>
                    <a:pt x="6895" y="238"/>
                    <a:pt x="6895" y="119"/>
                    <a:pt x="6823" y="60"/>
                  </a:cubicBezTo>
                  <a:cubicBezTo>
                    <a:pt x="6793" y="24"/>
                    <a:pt x="6749" y="6"/>
                    <a:pt x="6704" y="6"/>
                  </a:cubicBezTo>
                  <a:cubicBezTo>
                    <a:pt x="6659" y="6"/>
                    <a:pt x="6615" y="24"/>
                    <a:pt x="6585" y="60"/>
                  </a:cubicBezTo>
                  <a:lnTo>
                    <a:pt x="3156" y="3274"/>
                  </a:lnTo>
                  <a:cubicBezTo>
                    <a:pt x="3132" y="3310"/>
                    <a:pt x="3073" y="3334"/>
                    <a:pt x="3025" y="3334"/>
                  </a:cubicBezTo>
                  <a:lnTo>
                    <a:pt x="2977" y="3334"/>
                  </a:lnTo>
                  <a:cubicBezTo>
                    <a:pt x="2870" y="3334"/>
                    <a:pt x="2787" y="3250"/>
                    <a:pt x="2787" y="3143"/>
                  </a:cubicBezTo>
                  <a:lnTo>
                    <a:pt x="2787" y="3084"/>
                  </a:lnTo>
                  <a:cubicBezTo>
                    <a:pt x="2846" y="3036"/>
                    <a:pt x="2906" y="3000"/>
                    <a:pt x="2942" y="2953"/>
                  </a:cubicBezTo>
                  <a:cubicBezTo>
                    <a:pt x="3204" y="2715"/>
                    <a:pt x="3335" y="2381"/>
                    <a:pt x="3335" y="2024"/>
                  </a:cubicBezTo>
                  <a:lnTo>
                    <a:pt x="3335" y="1703"/>
                  </a:lnTo>
                  <a:lnTo>
                    <a:pt x="3406" y="1572"/>
                  </a:lnTo>
                  <a:cubicBezTo>
                    <a:pt x="3477" y="1417"/>
                    <a:pt x="3525" y="1238"/>
                    <a:pt x="3525" y="1072"/>
                  </a:cubicBezTo>
                  <a:lnTo>
                    <a:pt x="3525" y="179"/>
                  </a:lnTo>
                  <a:cubicBezTo>
                    <a:pt x="3525" y="95"/>
                    <a:pt x="3454"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3" name="Google Shape;10863;p60"/>
            <p:cNvSpPr/>
            <p:nvPr/>
          </p:nvSpPr>
          <p:spPr>
            <a:xfrm>
              <a:off x="1008115" y="2908813"/>
              <a:ext cx="223620" cy="188355"/>
            </a:xfrm>
            <a:custGeom>
              <a:avLst/>
              <a:gdLst/>
              <a:ahLst/>
              <a:cxnLst/>
              <a:rect l="l" t="t" r="r" b="b"/>
              <a:pathLst>
                <a:path w="7026" h="5918" extrusionOk="0">
                  <a:moveTo>
                    <a:pt x="560" y="0"/>
                  </a:moveTo>
                  <a:cubicBezTo>
                    <a:pt x="263" y="0"/>
                    <a:pt x="1" y="238"/>
                    <a:pt x="1" y="548"/>
                  </a:cubicBezTo>
                  <a:lnTo>
                    <a:pt x="1" y="5251"/>
                  </a:lnTo>
                  <a:cubicBezTo>
                    <a:pt x="1" y="5334"/>
                    <a:pt x="84" y="5429"/>
                    <a:pt x="179" y="5429"/>
                  </a:cubicBezTo>
                  <a:cubicBezTo>
                    <a:pt x="287" y="5429"/>
                    <a:pt x="358" y="5358"/>
                    <a:pt x="358" y="5251"/>
                  </a:cubicBezTo>
                  <a:lnTo>
                    <a:pt x="358" y="548"/>
                  </a:lnTo>
                  <a:cubicBezTo>
                    <a:pt x="358" y="441"/>
                    <a:pt x="453" y="357"/>
                    <a:pt x="560" y="357"/>
                  </a:cubicBezTo>
                  <a:lnTo>
                    <a:pt x="6478" y="357"/>
                  </a:lnTo>
                  <a:cubicBezTo>
                    <a:pt x="6585" y="357"/>
                    <a:pt x="6668" y="441"/>
                    <a:pt x="6668" y="548"/>
                  </a:cubicBezTo>
                  <a:lnTo>
                    <a:pt x="6668" y="5370"/>
                  </a:lnTo>
                  <a:cubicBezTo>
                    <a:pt x="6668" y="5477"/>
                    <a:pt x="6585" y="5560"/>
                    <a:pt x="6478" y="5560"/>
                  </a:cubicBezTo>
                  <a:lnTo>
                    <a:pt x="2525" y="5560"/>
                  </a:lnTo>
                  <a:cubicBezTo>
                    <a:pt x="2430" y="5560"/>
                    <a:pt x="2346" y="5632"/>
                    <a:pt x="2346" y="5739"/>
                  </a:cubicBezTo>
                  <a:cubicBezTo>
                    <a:pt x="2346" y="5846"/>
                    <a:pt x="2418" y="5917"/>
                    <a:pt x="2525" y="5917"/>
                  </a:cubicBezTo>
                  <a:lnTo>
                    <a:pt x="6478" y="5917"/>
                  </a:lnTo>
                  <a:cubicBezTo>
                    <a:pt x="6775" y="5917"/>
                    <a:pt x="7025" y="5679"/>
                    <a:pt x="7025" y="5370"/>
                  </a:cubicBezTo>
                  <a:lnTo>
                    <a:pt x="7025" y="548"/>
                  </a:lnTo>
                  <a:cubicBezTo>
                    <a:pt x="7025" y="226"/>
                    <a:pt x="6787" y="0"/>
                    <a:pt x="6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4" name="Google Shape;10864;p60"/>
            <p:cNvSpPr/>
            <p:nvPr/>
          </p:nvSpPr>
          <p:spPr>
            <a:xfrm>
              <a:off x="1037301" y="2944046"/>
              <a:ext cx="165248" cy="105763"/>
            </a:xfrm>
            <a:custGeom>
              <a:avLst/>
              <a:gdLst/>
              <a:ahLst/>
              <a:cxnLst/>
              <a:rect l="l" t="t" r="r" b="b"/>
              <a:pathLst>
                <a:path w="5192" h="3323" extrusionOk="0">
                  <a:moveTo>
                    <a:pt x="4084" y="0"/>
                  </a:moveTo>
                  <a:cubicBezTo>
                    <a:pt x="4001" y="0"/>
                    <a:pt x="3906" y="84"/>
                    <a:pt x="3906" y="179"/>
                  </a:cubicBezTo>
                  <a:cubicBezTo>
                    <a:pt x="3906" y="286"/>
                    <a:pt x="3989" y="358"/>
                    <a:pt x="4084" y="358"/>
                  </a:cubicBezTo>
                  <a:lnTo>
                    <a:pt x="4596" y="358"/>
                  </a:lnTo>
                  <a:lnTo>
                    <a:pt x="2691" y="2263"/>
                  </a:lnTo>
                  <a:lnTo>
                    <a:pt x="1882" y="1465"/>
                  </a:lnTo>
                  <a:cubicBezTo>
                    <a:pt x="1846" y="1429"/>
                    <a:pt x="1801" y="1411"/>
                    <a:pt x="1758" y="1411"/>
                  </a:cubicBezTo>
                  <a:cubicBezTo>
                    <a:pt x="1715" y="1411"/>
                    <a:pt x="1673" y="1429"/>
                    <a:pt x="1644" y="1465"/>
                  </a:cubicBezTo>
                  <a:lnTo>
                    <a:pt x="72" y="3036"/>
                  </a:lnTo>
                  <a:cubicBezTo>
                    <a:pt x="1" y="3120"/>
                    <a:pt x="1" y="3215"/>
                    <a:pt x="72" y="3275"/>
                  </a:cubicBezTo>
                  <a:cubicBezTo>
                    <a:pt x="96" y="3310"/>
                    <a:pt x="143" y="3322"/>
                    <a:pt x="191" y="3322"/>
                  </a:cubicBezTo>
                  <a:cubicBezTo>
                    <a:pt x="239" y="3322"/>
                    <a:pt x="274" y="3310"/>
                    <a:pt x="310" y="3275"/>
                  </a:cubicBezTo>
                  <a:lnTo>
                    <a:pt x="1763" y="1822"/>
                  </a:lnTo>
                  <a:lnTo>
                    <a:pt x="2572" y="2620"/>
                  </a:lnTo>
                  <a:cubicBezTo>
                    <a:pt x="2608" y="2661"/>
                    <a:pt x="2653" y="2682"/>
                    <a:pt x="2696" y="2682"/>
                  </a:cubicBezTo>
                  <a:cubicBezTo>
                    <a:pt x="2739" y="2682"/>
                    <a:pt x="2781" y="2661"/>
                    <a:pt x="2810" y="2620"/>
                  </a:cubicBezTo>
                  <a:lnTo>
                    <a:pt x="4835" y="596"/>
                  </a:lnTo>
                  <a:lnTo>
                    <a:pt x="4835" y="1108"/>
                  </a:lnTo>
                  <a:cubicBezTo>
                    <a:pt x="4835" y="1191"/>
                    <a:pt x="4906" y="1286"/>
                    <a:pt x="5013" y="1286"/>
                  </a:cubicBezTo>
                  <a:cubicBezTo>
                    <a:pt x="5120" y="1286"/>
                    <a:pt x="5192" y="1215"/>
                    <a:pt x="5192" y="1108"/>
                  </a:cubicBezTo>
                  <a:lnTo>
                    <a:pt x="5192" y="179"/>
                  </a:lnTo>
                  <a:cubicBezTo>
                    <a:pt x="5192" y="84"/>
                    <a:pt x="5120" y="0"/>
                    <a:pt x="5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65" name="Google Shape;10865;p60"/>
          <p:cNvGrpSpPr/>
          <p:nvPr/>
        </p:nvGrpSpPr>
        <p:grpSpPr>
          <a:xfrm>
            <a:off x="1749728" y="2894777"/>
            <a:ext cx="386927" cy="363438"/>
            <a:chOff x="1749728" y="2894777"/>
            <a:chExt cx="386927" cy="363438"/>
          </a:xfrm>
        </p:grpSpPr>
        <p:sp>
          <p:nvSpPr>
            <p:cNvPr id="10866" name="Google Shape;10866;p60"/>
            <p:cNvSpPr/>
            <p:nvPr/>
          </p:nvSpPr>
          <p:spPr>
            <a:xfrm>
              <a:off x="1809595" y="3025333"/>
              <a:ext cx="97424" cy="32432"/>
            </a:xfrm>
            <a:custGeom>
              <a:avLst/>
              <a:gdLst/>
              <a:ahLst/>
              <a:cxnLst/>
              <a:rect l="l" t="t" r="r" b="b"/>
              <a:pathLst>
                <a:path w="3061" h="1019" extrusionOk="0">
                  <a:moveTo>
                    <a:pt x="1208" y="0"/>
                  </a:moveTo>
                  <a:cubicBezTo>
                    <a:pt x="852" y="0"/>
                    <a:pt x="531" y="35"/>
                    <a:pt x="322" y="66"/>
                  </a:cubicBezTo>
                  <a:cubicBezTo>
                    <a:pt x="143" y="101"/>
                    <a:pt x="1" y="244"/>
                    <a:pt x="1" y="423"/>
                  </a:cubicBezTo>
                  <a:lnTo>
                    <a:pt x="1" y="840"/>
                  </a:lnTo>
                  <a:cubicBezTo>
                    <a:pt x="1" y="947"/>
                    <a:pt x="84" y="1018"/>
                    <a:pt x="179" y="1018"/>
                  </a:cubicBezTo>
                  <a:cubicBezTo>
                    <a:pt x="286" y="1018"/>
                    <a:pt x="358" y="947"/>
                    <a:pt x="358" y="840"/>
                  </a:cubicBezTo>
                  <a:lnTo>
                    <a:pt x="358" y="423"/>
                  </a:lnTo>
                  <a:cubicBezTo>
                    <a:pt x="358" y="423"/>
                    <a:pt x="358" y="411"/>
                    <a:pt x="382" y="411"/>
                  </a:cubicBezTo>
                  <a:cubicBezTo>
                    <a:pt x="549" y="383"/>
                    <a:pt x="870" y="340"/>
                    <a:pt x="1231" y="340"/>
                  </a:cubicBezTo>
                  <a:cubicBezTo>
                    <a:pt x="1330" y="340"/>
                    <a:pt x="1433" y="344"/>
                    <a:pt x="1536" y="351"/>
                  </a:cubicBezTo>
                  <a:cubicBezTo>
                    <a:pt x="2084" y="387"/>
                    <a:pt x="2489" y="530"/>
                    <a:pt x="2727" y="768"/>
                  </a:cubicBezTo>
                  <a:cubicBezTo>
                    <a:pt x="2763" y="804"/>
                    <a:pt x="2807" y="822"/>
                    <a:pt x="2852" y="822"/>
                  </a:cubicBezTo>
                  <a:cubicBezTo>
                    <a:pt x="2897" y="822"/>
                    <a:pt x="2941" y="804"/>
                    <a:pt x="2977" y="768"/>
                  </a:cubicBezTo>
                  <a:cubicBezTo>
                    <a:pt x="3060" y="709"/>
                    <a:pt x="3060" y="590"/>
                    <a:pt x="2977" y="530"/>
                  </a:cubicBezTo>
                  <a:cubicBezTo>
                    <a:pt x="2554" y="107"/>
                    <a:pt x="1828" y="0"/>
                    <a:pt x="1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7" name="Google Shape;10867;p60"/>
            <p:cNvSpPr/>
            <p:nvPr/>
          </p:nvSpPr>
          <p:spPr>
            <a:xfrm>
              <a:off x="1749728" y="2974346"/>
              <a:ext cx="216777" cy="283869"/>
            </a:xfrm>
            <a:custGeom>
              <a:avLst/>
              <a:gdLst/>
              <a:ahLst/>
              <a:cxnLst/>
              <a:rect l="l" t="t" r="r" b="b"/>
              <a:pathLst>
                <a:path w="6811" h="8919" extrusionOk="0">
                  <a:moveTo>
                    <a:pt x="5311" y="334"/>
                  </a:moveTo>
                  <a:lnTo>
                    <a:pt x="5311" y="2061"/>
                  </a:lnTo>
                  <a:cubicBezTo>
                    <a:pt x="5311" y="2311"/>
                    <a:pt x="5251" y="2561"/>
                    <a:pt x="5132" y="2799"/>
                  </a:cubicBezTo>
                  <a:cubicBezTo>
                    <a:pt x="5120" y="2835"/>
                    <a:pt x="5120" y="2846"/>
                    <a:pt x="5120" y="2882"/>
                  </a:cubicBezTo>
                  <a:lnTo>
                    <a:pt x="5120" y="3382"/>
                  </a:lnTo>
                  <a:cubicBezTo>
                    <a:pt x="5120" y="3858"/>
                    <a:pt x="4918" y="4311"/>
                    <a:pt x="4560" y="4644"/>
                  </a:cubicBezTo>
                  <a:cubicBezTo>
                    <a:pt x="4227" y="4955"/>
                    <a:pt x="3811" y="5111"/>
                    <a:pt x="3369" y="5111"/>
                  </a:cubicBezTo>
                  <a:cubicBezTo>
                    <a:pt x="3338" y="5111"/>
                    <a:pt x="3306" y="5110"/>
                    <a:pt x="3275" y="5109"/>
                  </a:cubicBezTo>
                  <a:cubicBezTo>
                    <a:pt x="2382" y="5061"/>
                    <a:pt x="1679" y="4275"/>
                    <a:pt x="1679" y="3323"/>
                  </a:cubicBezTo>
                  <a:lnTo>
                    <a:pt x="1679" y="2882"/>
                  </a:lnTo>
                  <a:cubicBezTo>
                    <a:pt x="1679" y="2846"/>
                    <a:pt x="1679" y="2823"/>
                    <a:pt x="1667" y="2799"/>
                  </a:cubicBezTo>
                  <a:cubicBezTo>
                    <a:pt x="1548" y="2561"/>
                    <a:pt x="1489" y="2311"/>
                    <a:pt x="1489" y="2061"/>
                  </a:cubicBezTo>
                  <a:lnTo>
                    <a:pt x="1489" y="1668"/>
                  </a:lnTo>
                  <a:cubicBezTo>
                    <a:pt x="1489" y="930"/>
                    <a:pt x="2096" y="334"/>
                    <a:pt x="2822" y="334"/>
                  </a:cubicBezTo>
                  <a:close/>
                  <a:moveTo>
                    <a:pt x="4358" y="5240"/>
                  </a:moveTo>
                  <a:lnTo>
                    <a:pt x="4358" y="5573"/>
                  </a:lnTo>
                  <a:lnTo>
                    <a:pt x="3406" y="6228"/>
                  </a:lnTo>
                  <a:lnTo>
                    <a:pt x="2441" y="5573"/>
                  </a:lnTo>
                  <a:lnTo>
                    <a:pt x="2441" y="5240"/>
                  </a:lnTo>
                  <a:cubicBezTo>
                    <a:pt x="2691" y="5371"/>
                    <a:pt x="2977" y="5466"/>
                    <a:pt x="3251" y="5478"/>
                  </a:cubicBezTo>
                  <a:lnTo>
                    <a:pt x="3394" y="5478"/>
                  </a:lnTo>
                  <a:cubicBezTo>
                    <a:pt x="3727" y="5478"/>
                    <a:pt x="4060" y="5406"/>
                    <a:pt x="4358" y="5240"/>
                  </a:cubicBezTo>
                  <a:close/>
                  <a:moveTo>
                    <a:pt x="2286" y="5883"/>
                  </a:moveTo>
                  <a:lnTo>
                    <a:pt x="3120" y="6466"/>
                  </a:lnTo>
                  <a:lnTo>
                    <a:pt x="2679" y="6906"/>
                  </a:lnTo>
                  <a:lnTo>
                    <a:pt x="2655" y="6906"/>
                  </a:lnTo>
                  <a:lnTo>
                    <a:pt x="2108" y="6073"/>
                  </a:lnTo>
                  <a:lnTo>
                    <a:pt x="2286" y="5883"/>
                  </a:lnTo>
                  <a:close/>
                  <a:moveTo>
                    <a:pt x="4525" y="5883"/>
                  </a:moveTo>
                  <a:lnTo>
                    <a:pt x="4703" y="6073"/>
                  </a:lnTo>
                  <a:lnTo>
                    <a:pt x="4144" y="6906"/>
                  </a:lnTo>
                  <a:lnTo>
                    <a:pt x="4132" y="6906"/>
                  </a:lnTo>
                  <a:lnTo>
                    <a:pt x="3691" y="6466"/>
                  </a:lnTo>
                  <a:lnTo>
                    <a:pt x="4525" y="5883"/>
                  </a:lnTo>
                  <a:close/>
                  <a:moveTo>
                    <a:pt x="2834" y="1"/>
                  </a:moveTo>
                  <a:cubicBezTo>
                    <a:pt x="1905" y="1"/>
                    <a:pt x="1143" y="763"/>
                    <a:pt x="1143" y="1703"/>
                  </a:cubicBezTo>
                  <a:lnTo>
                    <a:pt x="1143" y="2084"/>
                  </a:lnTo>
                  <a:cubicBezTo>
                    <a:pt x="1143" y="2382"/>
                    <a:pt x="1203" y="2680"/>
                    <a:pt x="1334" y="2954"/>
                  </a:cubicBezTo>
                  <a:lnTo>
                    <a:pt x="1334" y="3358"/>
                  </a:lnTo>
                  <a:cubicBezTo>
                    <a:pt x="1334" y="4025"/>
                    <a:pt x="1631" y="4620"/>
                    <a:pt x="2096" y="5025"/>
                  </a:cubicBezTo>
                  <a:lnTo>
                    <a:pt x="2096" y="5621"/>
                  </a:lnTo>
                  <a:lnTo>
                    <a:pt x="1762" y="5954"/>
                  </a:lnTo>
                  <a:cubicBezTo>
                    <a:pt x="1739" y="6002"/>
                    <a:pt x="1703" y="6049"/>
                    <a:pt x="1727" y="6097"/>
                  </a:cubicBezTo>
                  <a:lnTo>
                    <a:pt x="619" y="6490"/>
                  </a:lnTo>
                  <a:cubicBezTo>
                    <a:pt x="250" y="6633"/>
                    <a:pt x="0" y="6990"/>
                    <a:pt x="0" y="7371"/>
                  </a:cubicBezTo>
                  <a:lnTo>
                    <a:pt x="0" y="8740"/>
                  </a:lnTo>
                  <a:cubicBezTo>
                    <a:pt x="0" y="8847"/>
                    <a:pt x="72" y="8919"/>
                    <a:pt x="179" y="8919"/>
                  </a:cubicBezTo>
                  <a:cubicBezTo>
                    <a:pt x="274" y="8919"/>
                    <a:pt x="358" y="8847"/>
                    <a:pt x="358" y="8740"/>
                  </a:cubicBezTo>
                  <a:lnTo>
                    <a:pt x="358" y="7371"/>
                  </a:lnTo>
                  <a:cubicBezTo>
                    <a:pt x="358" y="7133"/>
                    <a:pt x="500" y="6906"/>
                    <a:pt x="739" y="6823"/>
                  </a:cubicBezTo>
                  <a:lnTo>
                    <a:pt x="1905" y="6406"/>
                  </a:lnTo>
                  <a:lnTo>
                    <a:pt x="2382" y="7121"/>
                  </a:lnTo>
                  <a:cubicBezTo>
                    <a:pt x="2441" y="7204"/>
                    <a:pt x="2536" y="7264"/>
                    <a:pt x="2644" y="7287"/>
                  </a:cubicBezTo>
                  <a:lnTo>
                    <a:pt x="2679" y="7287"/>
                  </a:lnTo>
                  <a:cubicBezTo>
                    <a:pt x="2774" y="7287"/>
                    <a:pt x="2870" y="7240"/>
                    <a:pt x="2929" y="7180"/>
                  </a:cubicBezTo>
                  <a:lnTo>
                    <a:pt x="3227" y="6883"/>
                  </a:lnTo>
                  <a:lnTo>
                    <a:pt x="3227" y="8740"/>
                  </a:lnTo>
                  <a:cubicBezTo>
                    <a:pt x="3227" y="8847"/>
                    <a:pt x="3298" y="8919"/>
                    <a:pt x="3406" y="8919"/>
                  </a:cubicBezTo>
                  <a:cubicBezTo>
                    <a:pt x="3513" y="8919"/>
                    <a:pt x="3584" y="8847"/>
                    <a:pt x="3584" y="8740"/>
                  </a:cubicBezTo>
                  <a:lnTo>
                    <a:pt x="3584" y="6883"/>
                  </a:lnTo>
                  <a:lnTo>
                    <a:pt x="3882" y="7180"/>
                  </a:lnTo>
                  <a:cubicBezTo>
                    <a:pt x="3953" y="7252"/>
                    <a:pt x="4048" y="7287"/>
                    <a:pt x="4132" y="7287"/>
                  </a:cubicBezTo>
                  <a:lnTo>
                    <a:pt x="4168" y="7287"/>
                  </a:lnTo>
                  <a:cubicBezTo>
                    <a:pt x="4263" y="7264"/>
                    <a:pt x="4370" y="7204"/>
                    <a:pt x="4429" y="7121"/>
                  </a:cubicBezTo>
                  <a:lnTo>
                    <a:pt x="4906" y="6406"/>
                  </a:lnTo>
                  <a:lnTo>
                    <a:pt x="6073" y="6823"/>
                  </a:lnTo>
                  <a:cubicBezTo>
                    <a:pt x="6287" y="6906"/>
                    <a:pt x="6454" y="7121"/>
                    <a:pt x="6454" y="7371"/>
                  </a:cubicBezTo>
                  <a:lnTo>
                    <a:pt x="6454" y="8740"/>
                  </a:lnTo>
                  <a:cubicBezTo>
                    <a:pt x="6454" y="8847"/>
                    <a:pt x="6525" y="8919"/>
                    <a:pt x="6632" y="8919"/>
                  </a:cubicBezTo>
                  <a:cubicBezTo>
                    <a:pt x="6739" y="8919"/>
                    <a:pt x="6811" y="8847"/>
                    <a:pt x="6811" y="8740"/>
                  </a:cubicBezTo>
                  <a:lnTo>
                    <a:pt x="6811" y="7371"/>
                  </a:lnTo>
                  <a:cubicBezTo>
                    <a:pt x="6811" y="6954"/>
                    <a:pt x="6573" y="6609"/>
                    <a:pt x="6203" y="6478"/>
                  </a:cubicBezTo>
                  <a:lnTo>
                    <a:pt x="5096" y="6073"/>
                  </a:lnTo>
                  <a:cubicBezTo>
                    <a:pt x="5096" y="6037"/>
                    <a:pt x="5084" y="5966"/>
                    <a:pt x="5060" y="5942"/>
                  </a:cubicBezTo>
                  <a:lnTo>
                    <a:pt x="4727" y="5597"/>
                  </a:lnTo>
                  <a:lnTo>
                    <a:pt x="4727" y="5025"/>
                  </a:lnTo>
                  <a:cubicBezTo>
                    <a:pt x="4763" y="4990"/>
                    <a:pt x="4799" y="4966"/>
                    <a:pt x="4834" y="4930"/>
                  </a:cubicBezTo>
                  <a:cubicBezTo>
                    <a:pt x="5251" y="4549"/>
                    <a:pt x="5489" y="3978"/>
                    <a:pt x="5489" y="3418"/>
                  </a:cubicBezTo>
                  <a:lnTo>
                    <a:pt x="5489" y="2954"/>
                  </a:lnTo>
                  <a:cubicBezTo>
                    <a:pt x="5608" y="2680"/>
                    <a:pt x="5680" y="2382"/>
                    <a:pt x="5680" y="2084"/>
                  </a:cubicBezTo>
                  <a:lnTo>
                    <a:pt x="5680" y="179"/>
                  </a:lnTo>
                  <a:cubicBezTo>
                    <a:pt x="5680" y="84"/>
                    <a:pt x="5608"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8" name="Google Shape;10868;p60"/>
            <p:cNvSpPr/>
            <p:nvPr/>
          </p:nvSpPr>
          <p:spPr>
            <a:xfrm>
              <a:off x="1785725"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74"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9" name="Google Shape;10869;p60"/>
            <p:cNvSpPr/>
            <p:nvPr/>
          </p:nvSpPr>
          <p:spPr>
            <a:xfrm>
              <a:off x="1919114" y="3222186"/>
              <a:ext cx="11394" cy="35647"/>
            </a:xfrm>
            <a:custGeom>
              <a:avLst/>
              <a:gdLst/>
              <a:ahLst/>
              <a:cxnLst/>
              <a:rect l="l" t="t" r="r" b="b"/>
              <a:pathLst>
                <a:path w="358" h="1120" extrusionOk="0">
                  <a:moveTo>
                    <a:pt x="179" y="0"/>
                  </a:moveTo>
                  <a:cubicBezTo>
                    <a:pt x="72" y="0"/>
                    <a:pt x="0" y="72"/>
                    <a:pt x="0" y="179"/>
                  </a:cubicBezTo>
                  <a:lnTo>
                    <a:pt x="0" y="941"/>
                  </a:lnTo>
                  <a:cubicBezTo>
                    <a:pt x="0" y="1048"/>
                    <a:pt x="72" y="1120"/>
                    <a:pt x="179" y="1120"/>
                  </a:cubicBezTo>
                  <a:cubicBezTo>
                    <a:pt x="286" y="1120"/>
                    <a:pt x="358" y="1048"/>
                    <a:pt x="358" y="941"/>
                  </a:cubicBezTo>
                  <a:lnTo>
                    <a:pt x="358" y="179"/>
                  </a:lnTo>
                  <a:cubicBezTo>
                    <a:pt x="358"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0" name="Google Shape;10870;p60"/>
            <p:cNvSpPr/>
            <p:nvPr/>
          </p:nvSpPr>
          <p:spPr>
            <a:xfrm>
              <a:off x="1956257" y="2931156"/>
              <a:ext cx="180398" cy="188737"/>
            </a:xfrm>
            <a:custGeom>
              <a:avLst/>
              <a:gdLst/>
              <a:ahLst/>
              <a:cxnLst/>
              <a:rect l="l" t="t" r="r" b="b"/>
              <a:pathLst>
                <a:path w="5668" h="5930" extrusionOk="0">
                  <a:moveTo>
                    <a:pt x="738" y="1"/>
                  </a:moveTo>
                  <a:cubicBezTo>
                    <a:pt x="322" y="1"/>
                    <a:pt x="0" y="346"/>
                    <a:pt x="0" y="751"/>
                  </a:cubicBezTo>
                  <a:lnTo>
                    <a:pt x="0" y="3799"/>
                  </a:lnTo>
                  <a:cubicBezTo>
                    <a:pt x="0" y="4215"/>
                    <a:pt x="334" y="4549"/>
                    <a:pt x="738" y="4549"/>
                  </a:cubicBezTo>
                  <a:lnTo>
                    <a:pt x="1084" y="4549"/>
                  </a:lnTo>
                  <a:lnTo>
                    <a:pt x="810" y="5585"/>
                  </a:lnTo>
                  <a:cubicBezTo>
                    <a:pt x="786" y="5704"/>
                    <a:pt x="834" y="5811"/>
                    <a:pt x="929" y="5882"/>
                  </a:cubicBezTo>
                  <a:cubicBezTo>
                    <a:pt x="977" y="5918"/>
                    <a:pt x="1036" y="5930"/>
                    <a:pt x="1084" y="5930"/>
                  </a:cubicBezTo>
                  <a:cubicBezTo>
                    <a:pt x="1143" y="5930"/>
                    <a:pt x="1203" y="5918"/>
                    <a:pt x="1250" y="5870"/>
                  </a:cubicBezTo>
                  <a:lnTo>
                    <a:pt x="3072" y="4525"/>
                  </a:lnTo>
                  <a:lnTo>
                    <a:pt x="4918" y="4525"/>
                  </a:lnTo>
                  <a:cubicBezTo>
                    <a:pt x="5334" y="4525"/>
                    <a:pt x="5668" y="4192"/>
                    <a:pt x="5668" y="3787"/>
                  </a:cubicBezTo>
                  <a:lnTo>
                    <a:pt x="5668" y="751"/>
                  </a:lnTo>
                  <a:cubicBezTo>
                    <a:pt x="5656" y="334"/>
                    <a:pt x="5322" y="12"/>
                    <a:pt x="4906" y="12"/>
                  </a:cubicBezTo>
                  <a:lnTo>
                    <a:pt x="3953" y="12"/>
                  </a:lnTo>
                  <a:cubicBezTo>
                    <a:pt x="3846" y="12"/>
                    <a:pt x="3775" y="84"/>
                    <a:pt x="3775" y="191"/>
                  </a:cubicBezTo>
                  <a:cubicBezTo>
                    <a:pt x="3775" y="286"/>
                    <a:pt x="3846" y="370"/>
                    <a:pt x="3953" y="370"/>
                  </a:cubicBezTo>
                  <a:lnTo>
                    <a:pt x="4906" y="370"/>
                  </a:lnTo>
                  <a:cubicBezTo>
                    <a:pt x="5132" y="370"/>
                    <a:pt x="5299" y="548"/>
                    <a:pt x="5299" y="751"/>
                  </a:cubicBezTo>
                  <a:lnTo>
                    <a:pt x="5299" y="3799"/>
                  </a:lnTo>
                  <a:cubicBezTo>
                    <a:pt x="5299" y="4025"/>
                    <a:pt x="5120" y="4192"/>
                    <a:pt x="4906" y="4192"/>
                  </a:cubicBezTo>
                  <a:lnTo>
                    <a:pt x="3001" y="4192"/>
                  </a:lnTo>
                  <a:cubicBezTo>
                    <a:pt x="2953" y="4192"/>
                    <a:pt x="2929" y="4203"/>
                    <a:pt x="2893" y="4215"/>
                  </a:cubicBezTo>
                  <a:lnTo>
                    <a:pt x="1203" y="5454"/>
                  </a:lnTo>
                  <a:lnTo>
                    <a:pt x="1203" y="5454"/>
                  </a:lnTo>
                  <a:lnTo>
                    <a:pt x="1465" y="4418"/>
                  </a:lnTo>
                  <a:cubicBezTo>
                    <a:pt x="1489" y="4358"/>
                    <a:pt x="1465" y="4311"/>
                    <a:pt x="1441" y="4263"/>
                  </a:cubicBezTo>
                  <a:cubicBezTo>
                    <a:pt x="1405" y="4215"/>
                    <a:pt x="1346" y="4192"/>
                    <a:pt x="1310" y="4192"/>
                  </a:cubicBezTo>
                  <a:lnTo>
                    <a:pt x="738" y="4192"/>
                  </a:lnTo>
                  <a:cubicBezTo>
                    <a:pt x="512" y="4192"/>
                    <a:pt x="357" y="4013"/>
                    <a:pt x="357" y="3799"/>
                  </a:cubicBezTo>
                  <a:lnTo>
                    <a:pt x="357" y="751"/>
                  </a:lnTo>
                  <a:cubicBezTo>
                    <a:pt x="357" y="524"/>
                    <a:pt x="536" y="370"/>
                    <a:pt x="738" y="370"/>
                  </a:cubicBezTo>
                  <a:lnTo>
                    <a:pt x="1691" y="370"/>
                  </a:lnTo>
                  <a:cubicBezTo>
                    <a:pt x="1798" y="370"/>
                    <a:pt x="1870" y="286"/>
                    <a:pt x="1870" y="179"/>
                  </a:cubicBezTo>
                  <a:cubicBezTo>
                    <a:pt x="1870" y="84"/>
                    <a:pt x="179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1" name="Google Shape;10871;p60"/>
            <p:cNvSpPr/>
            <p:nvPr/>
          </p:nvSpPr>
          <p:spPr>
            <a:xfrm>
              <a:off x="2027487" y="2894777"/>
              <a:ext cx="36029" cy="108786"/>
            </a:xfrm>
            <a:custGeom>
              <a:avLst/>
              <a:gdLst/>
              <a:ahLst/>
              <a:cxnLst/>
              <a:rect l="l" t="t" r="r" b="b"/>
              <a:pathLst>
                <a:path w="1132" h="3418" extrusionOk="0">
                  <a:moveTo>
                    <a:pt x="775" y="358"/>
                  </a:moveTo>
                  <a:lnTo>
                    <a:pt x="596" y="3049"/>
                  </a:lnTo>
                  <a:lnTo>
                    <a:pt x="560" y="3049"/>
                  </a:lnTo>
                  <a:lnTo>
                    <a:pt x="394" y="358"/>
                  </a:lnTo>
                  <a:close/>
                  <a:moveTo>
                    <a:pt x="179" y="1"/>
                  </a:moveTo>
                  <a:cubicBezTo>
                    <a:pt x="143" y="1"/>
                    <a:pt x="96" y="24"/>
                    <a:pt x="48" y="60"/>
                  </a:cubicBezTo>
                  <a:cubicBezTo>
                    <a:pt x="24" y="96"/>
                    <a:pt x="1" y="155"/>
                    <a:pt x="1" y="203"/>
                  </a:cubicBezTo>
                  <a:lnTo>
                    <a:pt x="203" y="3251"/>
                  </a:lnTo>
                  <a:cubicBezTo>
                    <a:pt x="203" y="3334"/>
                    <a:pt x="286" y="3418"/>
                    <a:pt x="382" y="3418"/>
                  </a:cubicBezTo>
                  <a:lnTo>
                    <a:pt x="763" y="3418"/>
                  </a:lnTo>
                  <a:cubicBezTo>
                    <a:pt x="858" y="3418"/>
                    <a:pt x="941" y="3334"/>
                    <a:pt x="941" y="3251"/>
                  </a:cubicBezTo>
                  <a:lnTo>
                    <a:pt x="1132" y="203"/>
                  </a:lnTo>
                  <a:cubicBezTo>
                    <a:pt x="1132" y="155"/>
                    <a:pt x="1120" y="96"/>
                    <a:pt x="1072" y="60"/>
                  </a:cubicBezTo>
                  <a:cubicBezTo>
                    <a:pt x="1048" y="36"/>
                    <a:pt x="1001" y="1"/>
                    <a:pt x="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2" name="Google Shape;10872;p60"/>
            <p:cNvSpPr/>
            <p:nvPr/>
          </p:nvSpPr>
          <p:spPr>
            <a:xfrm>
              <a:off x="2027487" y="3009992"/>
              <a:ext cx="36029" cy="36029"/>
            </a:xfrm>
            <a:custGeom>
              <a:avLst/>
              <a:gdLst/>
              <a:ahLst/>
              <a:cxnLst/>
              <a:rect l="l" t="t" r="r" b="b"/>
              <a:pathLst>
                <a:path w="1132" h="1132" extrusionOk="0">
                  <a:moveTo>
                    <a:pt x="572" y="345"/>
                  </a:moveTo>
                  <a:cubicBezTo>
                    <a:pt x="691" y="345"/>
                    <a:pt x="775" y="429"/>
                    <a:pt x="775" y="548"/>
                  </a:cubicBezTo>
                  <a:cubicBezTo>
                    <a:pt x="775" y="667"/>
                    <a:pt x="691" y="762"/>
                    <a:pt x="572" y="762"/>
                  </a:cubicBezTo>
                  <a:cubicBezTo>
                    <a:pt x="453" y="762"/>
                    <a:pt x="358" y="667"/>
                    <a:pt x="358" y="548"/>
                  </a:cubicBezTo>
                  <a:cubicBezTo>
                    <a:pt x="358" y="429"/>
                    <a:pt x="453" y="345"/>
                    <a:pt x="572" y="345"/>
                  </a:cubicBezTo>
                  <a:close/>
                  <a:moveTo>
                    <a:pt x="572" y="0"/>
                  </a:moveTo>
                  <a:cubicBezTo>
                    <a:pt x="263" y="0"/>
                    <a:pt x="1" y="250"/>
                    <a:pt x="1" y="572"/>
                  </a:cubicBezTo>
                  <a:cubicBezTo>
                    <a:pt x="1" y="881"/>
                    <a:pt x="263" y="1131"/>
                    <a:pt x="572" y="1131"/>
                  </a:cubicBezTo>
                  <a:cubicBezTo>
                    <a:pt x="882" y="1131"/>
                    <a:pt x="1132" y="881"/>
                    <a:pt x="1132" y="572"/>
                  </a:cubicBezTo>
                  <a:cubicBezTo>
                    <a:pt x="1132" y="250"/>
                    <a:pt x="882"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73" name="Google Shape;10873;p60"/>
          <p:cNvGrpSpPr/>
          <p:nvPr/>
        </p:nvGrpSpPr>
        <p:grpSpPr>
          <a:xfrm>
            <a:off x="7098912" y="1969392"/>
            <a:ext cx="359651" cy="361560"/>
            <a:chOff x="7098912" y="1969392"/>
            <a:chExt cx="359651" cy="361560"/>
          </a:xfrm>
        </p:grpSpPr>
        <p:sp>
          <p:nvSpPr>
            <p:cNvPr id="10874" name="Google Shape;10874;p60"/>
            <p:cNvSpPr/>
            <p:nvPr/>
          </p:nvSpPr>
          <p:spPr>
            <a:xfrm>
              <a:off x="7098912" y="2127607"/>
              <a:ext cx="134567" cy="202582"/>
            </a:xfrm>
            <a:custGeom>
              <a:avLst/>
              <a:gdLst/>
              <a:ahLst/>
              <a:cxnLst/>
              <a:rect l="l" t="t" r="r" b="b"/>
              <a:pathLst>
                <a:path w="4228" h="6365" extrusionOk="0">
                  <a:moveTo>
                    <a:pt x="2108" y="331"/>
                  </a:moveTo>
                  <a:cubicBezTo>
                    <a:pt x="2153" y="331"/>
                    <a:pt x="2198" y="334"/>
                    <a:pt x="2239" y="340"/>
                  </a:cubicBezTo>
                  <a:cubicBezTo>
                    <a:pt x="2978" y="399"/>
                    <a:pt x="3537" y="1042"/>
                    <a:pt x="3537" y="1780"/>
                  </a:cubicBezTo>
                  <a:cubicBezTo>
                    <a:pt x="3537" y="2483"/>
                    <a:pt x="3704" y="3138"/>
                    <a:pt x="3847" y="3483"/>
                  </a:cubicBezTo>
                  <a:lnTo>
                    <a:pt x="3847" y="3495"/>
                  </a:lnTo>
                  <a:cubicBezTo>
                    <a:pt x="3656" y="3602"/>
                    <a:pt x="3335" y="3793"/>
                    <a:pt x="2787" y="3912"/>
                  </a:cubicBezTo>
                  <a:lnTo>
                    <a:pt x="2787" y="3864"/>
                  </a:lnTo>
                  <a:lnTo>
                    <a:pt x="2787" y="3531"/>
                  </a:lnTo>
                  <a:cubicBezTo>
                    <a:pt x="3001" y="3412"/>
                    <a:pt x="3180" y="3233"/>
                    <a:pt x="3299" y="3007"/>
                  </a:cubicBezTo>
                  <a:cubicBezTo>
                    <a:pt x="3537" y="2590"/>
                    <a:pt x="3454" y="2066"/>
                    <a:pt x="3108" y="1745"/>
                  </a:cubicBezTo>
                  <a:cubicBezTo>
                    <a:pt x="2870" y="1518"/>
                    <a:pt x="2430" y="1245"/>
                    <a:pt x="1727" y="1245"/>
                  </a:cubicBezTo>
                  <a:cubicBezTo>
                    <a:pt x="1680" y="1245"/>
                    <a:pt x="1632" y="1268"/>
                    <a:pt x="1608" y="1292"/>
                  </a:cubicBezTo>
                  <a:lnTo>
                    <a:pt x="1251" y="1649"/>
                  </a:lnTo>
                  <a:cubicBezTo>
                    <a:pt x="1192" y="1709"/>
                    <a:pt x="1192" y="1816"/>
                    <a:pt x="1251" y="1888"/>
                  </a:cubicBezTo>
                  <a:cubicBezTo>
                    <a:pt x="1281" y="1917"/>
                    <a:pt x="1323" y="1932"/>
                    <a:pt x="1366" y="1932"/>
                  </a:cubicBezTo>
                  <a:cubicBezTo>
                    <a:pt x="1409" y="1932"/>
                    <a:pt x="1454" y="1917"/>
                    <a:pt x="1489" y="1888"/>
                  </a:cubicBezTo>
                  <a:lnTo>
                    <a:pt x="1799" y="1578"/>
                  </a:lnTo>
                  <a:cubicBezTo>
                    <a:pt x="2239" y="1590"/>
                    <a:pt x="2608" y="1721"/>
                    <a:pt x="2882" y="1983"/>
                  </a:cubicBezTo>
                  <a:cubicBezTo>
                    <a:pt x="3120" y="2185"/>
                    <a:pt x="3180" y="2542"/>
                    <a:pt x="3025" y="2828"/>
                  </a:cubicBezTo>
                  <a:cubicBezTo>
                    <a:pt x="2823" y="3173"/>
                    <a:pt x="2466" y="3376"/>
                    <a:pt x="2085" y="3376"/>
                  </a:cubicBezTo>
                  <a:cubicBezTo>
                    <a:pt x="1489" y="3376"/>
                    <a:pt x="1013" y="2900"/>
                    <a:pt x="1013" y="2304"/>
                  </a:cubicBezTo>
                  <a:cubicBezTo>
                    <a:pt x="1013" y="2209"/>
                    <a:pt x="942" y="2138"/>
                    <a:pt x="846" y="2138"/>
                  </a:cubicBezTo>
                  <a:cubicBezTo>
                    <a:pt x="763" y="2138"/>
                    <a:pt x="680" y="2209"/>
                    <a:pt x="680" y="2304"/>
                  </a:cubicBezTo>
                  <a:cubicBezTo>
                    <a:pt x="680" y="2828"/>
                    <a:pt x="965" y="3292"/>
                    <a:pt x="1394" y="3519"/>
                  </a:cubicBezTo>
                  <a:lnTo>
                    <a:pt x="1394" y="3852"/>
                  </a:lnTo>
                  <a:lnTo>
                    <a:pt x="1394" y="3900"/>
                  </a:lnTo>
                  <a:cubicBezTo>
                    <a:pt x="834" y="3781"/>
                    <a:pt x="501" y="3602"/>
                    <a:pt x="370" y="3495"/>
                  </a:cubicBezTo>
                  <a:cubicBezTo>
                    <a:pt x="370" y="3495"/>
                    <a:pt x="358" y="3495"/>
                    <a:pt x="370" y="3483"/>
                  </a:cubicBezTo>
                  <a:cubicBezTo>
                    <a:pt x="525" y="3138"/>
                    <a:pt x="680" y="2483"/>
                    <a:pt x="680" y="1780"/>
                  </a:cubicBezTo>
                  <a:cubicBezTo>
                    <a:pt x="680" y="1042"/>
                    <a:pt x="1251" y="399"/>
                    <a:pt x="1977" y="340"/>
                  </a:cubicBezTo>
                  <a:cubicBezTo>
                    <a:pt x="2019" y="334"/>
                    <a:pt x="2064" y="331"/>
                    <a:pt x="2108" y="331"/>
                  </a:cubicBezTo>
                  <a:close/>
                  <a:moveTo>
                    <a:pt x="2442" y="3662"/>
                  </a:moveTo>
                  <a:lnTo>
                    <a:pt x="2442" y="3852"/>
                  </a:lnTo>
                  <a:cubicBezTo>
                    <a:pt x="2442" y="4043"/>
                    <a:pt x="2549" y="4221"/>
                    <a:pt x="2727" y="4316"/>
                  </a:cubicBezTo>
                  <a:lnTo>
                    <a:pt x="2823" y="4376"/>
                  </a:lnTo>
                  <a:cubicBezTo>
                    <a:pt x="2680" y="4626"/>
                    <a:pt x="2382" y="4793"/>
                    <a:pt x="2073" y="4793"/>
                  </a:cubicBezTo>
                  <a:cubicBezTo>
                    <a:pt x="1751" y="4793"/>
                    <a:pt x="1477" y="4626"/>
                    <a:pt x="1311" y="4376"/>
                  </a:cubicBezTo>
                  <a:lnTo>
                    <a:pt x="1418" y="4316"/>
                  </a:lnTo>
                  <a:cubicBezTo>
                    <a:pt x="1596" y="4221"/>
                    <a:pt x="1692" y="4043"/>
                    <a:pt x="1692" y="3852"/>
                  </a:cubicBezTo>
                  <a:lnTo>
                    <a:pt x="1692" y="3662"/>
                  </a:lnTo>
                  <a:cubicBezTo>
                    <a:pt x="1811" y="3685"/>
                    <a:pt x="1930" y="3709"/>
                    <a:pt x="2073" y="3709"/>
                  </a:cubicBezTo>
                  <a:cubicBezTo>
                    <a:pt x="2192" y="3709"/>
                    <a:pt x="2323" y="3685"/>
                    <a:pt x="2442" y="3662"/>
                  </a:cubicBezTo>
                  <a:close/>
                  <a:moveTo>
                    <a:pt x="2096" y="0"/>
                  </a:moveTo>
                  <a:cubicBezTo>
                    <a:pt x="2040" y="0"/>
                    <a:pt x="1983" y="6"/>
                    <a:pt x="1930" y="18"/>
                  </a:cubicBezTo>
                  <a:cubicBezTo>
                    <a:pt x="1037" y="102"/>
                    <a:pt x="334" y="875"/>
                    <a:pt x="334" y="1780"/>
                  </a:cubicBezTo>
                  <a:cubicBezTo>
                    <a:pt x="334" y="2435"/>
                    <a:pt x="180" y="3042"/>
                    <a:pt x="60" y="3364"/>
                  </a:cubicBezTo>
                  <a:cubicBezTo>
                    <a:pt x="1" y="3507"/>
                    <a:pt x="37" y="3673"/>
                    <a:pt x="180" y="3781"/>
                  </a:cubicBezTo>
                  <a:cubicBezTo>
                    <a:pt x="311" y="3888"/>
                    <a:pt x="596" y="4043"/>
                    <a:pt x="1037" y="4162"/>
                  </a:cubicBezTo>
                  <a:lnTo>
                    <a:pt x="382" y="4495"/>
                  </a:lnTo>
                  <a:cubicBezTo>
                    <a:pt x="144" y="4614"/>
                    <a:pt x="1" y="4852"/>
                    <a:pt x="1" y="5114"/>
                  </a:cubicBezTo>
                  <a:lnTo>
                    <a:pt x="1" y="6209"/>
                  </a:lnTo>
                  <a:cubicBezTo>
                    <a:pt x="1" y="6293"/>
                    <a:pt x="72" y="6364"/>
                    <a:pt x="156" y="6364"/>
                  </a:cubicBezTo>
                  <a:cubicBezTo>
                    <a:pt x="251" y="6364"/>
                    <a:pt x="322" y="6293"/>
                    <a:pt x="322" y="6209"/>
                  </a:cubicBezTo>
                  <a:lnTo>
                    <a:pt x="322" y="5114"/>
                  </a:lnTo>
                  <a:cubicBezTo>
                    <a:pt x="322" y="4983"/>
                    <a:pt x="394" y="4852"/>
                    <a:pt x="537" y="4793"/>
                  </a:cubicBezTo>
                  <a:lnTo>
                    <a:pt x="1049" y="4519"/>
                  </a:lnTo>
                  <a:cubicBezTo>
                    <a:pt x="1275" y="4900"/>
                    <a:pt x="1680" y="5138"/>
                    <a:pt x="2108" y="5138"/>
                  </a:cubicBezTo>
                  <a:cubicBezTo>
                    <a:pt x="2561" y="5138"/>
                    <a:pt x="2942" y="4900"/>
                    <a:pt x="3168" y="4519"/>
                  </a:cubicBezTo>
                  <a:lnTo>
                    <a:pt x="3692" y="4793"/>
                  </a:lnTo>
                  <a:cubicBezTo>
                    <a:pt x="3811" y="4852"/>
                    <a:pt x="3894" y="4983"/>
                    <a:pt x="3894" y="5114"/>
                  </a:cubicBezTo>
                  <a:lnTo>
                    <a:pt x="3894" y="6209"/>
                  </a:lnTo>
                  <a:cubicBezTo>
                    <a:pt x="3894" y="6293"/>
                    <a:pt x="3966" y="6364"/>
                    <a:pt x="4061" y="6364"/>
                  </a:cubicBezTo>
                  <a:cubicBezTo>
                    <a:pt x="4144" y="6364"/>
                    <a:pt x="4228" y="6293"/>
                    <a:pt x="4228" y="6209"/>
                  </a:cubicBezTo>
                  <a:lnTo>
                    <a:pt x="4228" y="5114"/>
                  </a:lnTo>
                  <a:cubicBezTo>
                    <a:pt x="4192" y="4852"/>
                    <a:pt x="4049" y="4614"/>
                    <a:pt x="3811" y="4495"/>
                  </a:cubicBezTo>
                  <a:lnTo>
                    <a:pt x="3156" y="4162"/>
                  </a:lnTo>
                  <a:cubicBezTo>
                    <a:pt x="3597" y="4043"/>
                    <a:pt x="3870" y="3888"/>
                    <a:pt x="4013" y="3781"/>
                  </a:cubicBezTo>
                  <a:cubicBezTo>
                    <a:pt x="4156" y="3685"/>
                    <a:pt x="4192" y="3507"/>
                    <a:pt x="4132" y="3364"/>
                  </a:cubicBezTo>
                  <a:cubicBezTo>
                    <a:pt x="4001" y="3042"/>
                    <a:pt x="3847" y="2435"/>
                    <a:pt x="3847" y="1780"/>
                  </a:cubicBezTo>
                  <a:cubicBezTo>
                    <a:pt x="3847" y="875"/>
                    <a:pt x="3156" y="90"/>
                    <a:pt x="2263" y="18"/>
                  </a:cubicBezTo>
                  <a:cubicBezTo>
                    <a:pt x="2210" y="6"/>
                    <a:pt x="2153" y="0"/>
                    <a:pt x="2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5" name="Google Shape;10875;p60"/>
            <p:cNvSpPr/>
            <p:nvPr/>
          </p:nvSpPr>
          <p:spPr>
            <a:xfrm>
              <a:off x="7120141" y="2297184"/>
              <a:ext cx="10662" cy="33005"/>
            </a:xfrm>
            <a:custGeom>
              <a:avLst/>
              <a:gdLst/>
              <a:ahLst/>
              <a:cxnLst/>
              <a:rect l="l" t="t" r="r" b="b"/>
              <a:pathLst>
                <a:path w="335" h="1037" extrusionOk="0">
                  <a:moveTo>
                    <a:pt x="167" y="0"/>
                  </a:moveTo>
                  <a:cubicBezTo>
                    <a:pt x="72" y="0"/>
                    <a:pt x="1" y="72"/>
                    <a:pt x="1" y="167"/>
                  </a:cubicBezTo>
                  <a:lnTo>
                    <a:pt x="1" y="881"/>
                  </a:lnTo>
                  <a:cubicBezTo>
                    <a:pt x="1" y="965"/>
                    <a:pt x="72" y="1036"/>
                    <a:pt x="167" y="1036"/>
                  </a:cubicBezTo>
                  <a:cubicBezTo>
                    <a:pt x="251" y="1036"/>
                    <a:pt x="334" y="965"/>
                    <a:pt x="334" y="881"/>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6" name="Google Shape;10876;p60"/>
            <p:cNvSpPr/>
            <p:nvPr/>
          </p:nvSpPr>
          <p:spPr>
            <a:xfrm>
              <a:off x="7199360" y="2297184"/>
              <a:ext cx="10248" cy="33005"/>
            </a:xfrm>
            <a:custGeom>
              <a:avLst/>
              <a:gdLst/>
              <a:ahLst/>
              <a:cxnLst/>
              <a:rect l="l" t="t" r="r" b="b"/>
              <a:pathLst>
                <a:path w="322" h="1037" extrusionOk="0">
                  <a:moveTo>
                    <a:pt x="167" y="0"/>
                  </a:moveTo>
                  <a:cubicBezTo>
                    <a:pt x="72" y="0"/>
                    <a:pt x="0" y="72"/>
                    <a:pt x="0" y="167"/>
                  </a:cubicBezTo>
                  <a:lnTo>
                    <a:pt x="0" y="881"/>
                  </a:lnTo>
                  <a:cubicBezTo>
                    <a:pt x="0" y="965"/>
                    <a:pt x="72" y="1036"/>
                    <a:pt x="167" y="1036"/>
                  </a:cubicBezTo>
                  <a:cubicBezTo>
                    <a:pt x="250" y="1036"/>
                    <a:pt x="322" y="965"/>
                    <a:pt x="322" y="881"/>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7" name="Google Shape;10877;p60"/>
            <p:cNvSpPr/>
            <p:nvPr/>
          </p:nvSpPr>
          <p:spPr>
            <a:xfrm>
              <a:off x="7357001" y="2165704"/>
              <a:ext cx="56876" cy="17823"/>
            </a:xfrm>
            <a:custGeom>
              <a:avLst/>
              <a:gdLst/>
              <a:ahLst/>
              <a:cxnLst/>
              <a:rect l="l" t="t" r="r" b="b"/>
              <a:pathLst>
                <a:path w="1787" h="560" extrusionOk="0">
                  <a:moveTo>
                    <a:pt x="630" y="0"/>
                  </a:moveTo>
                  <a:cubicBezTo>
                    <a:pt x="478" y="0"/>
                    <a:pt x="311" y="14"/>
                    <a:pt x="131" y="48"/>
                  </a:cubicBezTo>
                  <a:cubicBezTo>
                    <a:pt x="60" y="71"/>
                    <a:pt x="0" y="143"/>
                    <a:pt x="0" y="214"/>
                  </a:cubicBezTo>
                  <a:lnTo>
                    <a:pt x="0" y="393"/>
                  </a:lnTo>
                  <a:cubicBezTo>
                    <a:pt x="0" y="488"/>
                    <a:pt x="72" y="560"/>
                    <a:pt x="167" y="560"/>
                  </a:cubicBezTo>
                  <a:cubicBezTo>
                    <a:pt x="250" y="560"/>
                    <a:pt x="322" y="488"/>
                    <a:pt x="322" y="393"/>
                  </a:cubicBezTo>
                  <a:lnTo>
                    <a:pt x="322" y="345"/>
                  </a:lnTo>
                  <a:cubicBezTo>
                    <a:pt x="436" y="334"/>
                    <a:pt x="543" y="328"/>
                    <a:pt x="642" y="328"/>
                  </a:cubicBezTo>
                  <a:cubicBezTo>
                    <a:pt x="851" y="328"/>
                    <a:pt x="1022" y="352"/>
                    <a:pt x="1143" y="393"/>
                  </a:cubicBezTo>
                  <a:cubicBezTo>
                    <a:pt x="1369" y="452"/>
                    <a:pt x="1488" y="524"/>
                    <a:pt x="1488" y="524"/>
                  </a:cubicBezTo>
                  <a:cubicBezTo>
                    <a:pt x="1512" y="548"/>
                    <a:pt x="1548" y="560"/>
                    <a:pt x="1572" y="560"/>
                  </a:cubicBezTo>
                  <a:cubicBezTo>
                    <a:pt x="1631" y="560"/>
                    <a:pt x="1679" y="524"/>
                    <a:pt x="1715" y="488"/>
                  </a:cubicBezTo>
                  <a:cubicBezTo>
                    <a:pt x="1786" y="405"/>
                    <a:pt x="1762" y="310"/>
                    <a:pt x="1679" y="262"/>
                  </a:cubicBezTo>
                  <a:cubicBezTo>
                    <a:pt x="1660" y="252"/>
                    <a:pt x="1280" y="0"/>
                    <a:pt x="6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8" name="Google Shape;10878;p60"/>
            <p:cNvSpPr/>
            <p:nvPr/>
          </p:nvSpPr>
          <p:spPr>
            <a:xfrm>
              <a:off x="7312666" y="2133113"/>
              <a:ext cx="145897" cy="197840"/>
            </a:xfrm>
            <a:custGeom>
              <a:avLst/>
              <a:gdLst/>
              <a:ahLst/>
              <a:cxnLst/>
              <a:rect l="l" t="t" r="r" b="b"/>
              <a:pathLst>
                <a:path w="4584" h="6216" extrusionOk="0">
                  <a:moveTo>
                    <a:pt x="3536" y="345"/>
                  </a:moveTo>
                  <a:lnTo>
                    <a:pt x="3536" y="1167"/>
                  </a:lnTo>
                  <a:cubicBezTo>
                    <a:pt x="3536" y="1298"/>
                    <a:pt x="3512" y="1453"/>
                    <a:pt x="3453" y="1572"/>
                  </a:cubicBezTo>
                  <a:lnTo>
                    <a:pt x="3393" y="1703"/>
                  </a:lnTo>
                  <a:cubicBezTo>
                    <a:pt x="3370" y="1726"/>
                    <a:pt x="3370" y="1750"/>
                    <a:pt x="3370" y="1774"/>
                  </a:cubicBezTo>
                  <a:lnTo>
                    <a:pt x="3370" y="2131"/>
                  </a:lnTo>
                  <a:cubicBezTo>
                    <a:pt x="3358" y="2417"/>
                    <a:pt x="3239" y="2703"/>
                    <a:pt x="3036" y="2905"/>
                  </a:cubicBezTo>
                  <a:cubicBezTo>
                    <a:pt x="2834" y="3108"/>
                    <a:pt x="2568" y="3204"/>
                    <a:pt x="2288" y="3204"/>
                  </a:cubicBezTo>
                  <a:cubicBezTo>
                    <a:pt x="2271" y="3204"/>
                    <a:pt x="2255" y="3203"/>
                    <a:pt x="2238" y="3203"/>
                  </a:cubicBezTo>
                  <a:cubicBezTo>
                    <a:pt x="1667" y="3191"/>
                    <a:pt x="1203" y="2679"/>
                    <a:pt x="1203" y="2072"/>
                  </a:cubicBezTo>
                  <a:lnTo>
                    <a:pt x="1203" y="1774"/>
                  </a:lnTo>
                  <a:cubicBezTo>
                    <a:pt x="1203" y="1750"/>
                    <a:pt x="1203" y="1726"/>
                    <a:pt x="1191" y="1703"/>
                  </a:cubicBezTo>
                  <a:lnTo>
                    <a:pt x="1131" y="1572"/>
                  </a:lnTo>
                  <a:cubicBezTo>
                    <a:pt x="1072" y="1453"/>
                    <a:pt x="1036" y="1298"/>
                    <a:pt x="1036" y="1167"/>
                  </a:cubicBezTo>
                  <a:cubicBezTo>
                    <a:pt x="1036" y="702"/>
                    <a:pt x="1405" y="345"/>
                    <a:pt x="1857" y="345"/>
                  </a:cubicBezTo>
                  <a:close/>
                  <a:moveTo>
                    <a:pt x="1726" y="3417"/>
                  </a:moveTo>
                  <a:cubicBezTo>
                    <a:pt x="1869" y="3489"/>
                    <a:pt x="2048" y="3512"/>
                    <a:pt x="2227" y="3536"/>
                  </a:cubicBezTo>
                  <a:lnTo>
                    <a:pt x="2274" y="3536"/>
                  </a:lnTo>
                  <a:cubicBezTo>
                    <a:pt x="2465" y="3536"/>
                    <a:pt x="2643" y="3489"/>
                    <a:pt x="2822" y="3429"/>
                  </a:cubicBezTo>
                  <a:lnTo>
                    <a:pt x="2822" y="3655"/>
                  </a:lnTo>
                  <a:cubicBezTo>
                    <a:pt x="2822" y="3691"/>
                    <a:pt x="2834" y="3750"/>
                    <a:pt x="2834" y="3798"/>
                  </a:cubicBezTo>
                  <a:lnTo>
                    <a:pt x="2274" y="4227"/>
                  </a:lnTo>
                  <a:lnTo>
                    <a:pt x="1703" y="3798"/>
                  </a:lnTo>
                  <a:cubicBezTo>
                    <a:pt x="1726" y="3750"/>
                    <a:pt x="1726" y="3715"/>
                    <a:pt x="1726" y="3655"/>
                  </a:cubicBezTo>
                  <a:lnTo>
                    <a:pt x="1726" y="3417"/>
                  </a:lnTo>
                  <a:close/>
                  <a:moveTo>
                    <a:pt x="1857" y="0"/>
                  </a:moveTo>
                  <a:cubicBezTo>
                    <a:pt x="1215" y="0"/>
                    <a:pt x="691" y="524"/>
                    <a:pt x="691" y="1167"/>
                  </a:cubicBezTo>
                  <a:cubicBezTo>
                    <a:pt x="691" y="1357"/>
                    <a:pt x="738" y="1548"/>
                    <a:pt x="834" y="1715"/>
                  </a:cubicBezTo>
                  <a:lnTo>
                    <a:pt x="869" y="1810"/>
                  </a:lnTo>
                  <a:lnTo>
                    <a:pt x="869" y="2072"/>
                  </a:lnTo>
                  <a:cubicBezTo>
                    <a:pt x="869" y="2536"/>
                    <a:pt x="1084" y="2941"/>
                    <a:pt x="1405" y="3215"/>
                  </a:cubicBezTo>
                  <a:lnTo>
                    <a:pt x="1405" y="3667"/>
                  </a:lnTo>
                  <a:cubicBezTo>
                    <a:pt x="1405" y="3739"/>
                    <a:pt x="1369" y="3810"/>
                    <a:pt x="1286" y="3846"/>
                  </a:cubicBezTo>
                  <a:lnTo>
                    <a:pt x="441" y="4155"/>
                  </a:lnTo>
                  <a:cubicBezTo>
                    <a:pt x="179" y="4262"/>
                    <a:pt x="0" y="4512"/>
                    <a:pt x="0" y="4810"/>
                  </a:cubicBezTo>
                  <a:lnTo>
                    <a:pt x="0" y="6048"/>
                  </a:lnTo>
                  <a:cubicBezTo>
                    <a:pt x="0" y="6132"/>
                    <a:pt x="72" y="6215"/>
                    <a:pt x="155" y="6215"/>
                  </a:cubicBezTo>
                  <a:cubicBezTo>
                    <a:pt x="250" y="6215"/>
                    <a:pt x="322" y="6132"/>
                    <a:pt x="322" y="6048"/>
                  </a:cubicBezTo>
                  <a:lnTo>
                    <a:pt x="322" y="4810"/>
                  </a:lnTo>
                  <a:cubicBezTo>
                    <a:pt x="322" y="4655"/>
                    <a:pt x="417" y="4524"/>
                    <a:pt x="560" y="4465"/>
                  </a:cubicBezTo>
                  <a:lnTo>
                    <a:pt x="1405" y="4155"/>
                  </a:lnTo>
                  <a:cubicBezTo>
                    <a:pt x="1453" y="4143"/>
                    <a:pt x="1500" y="4108"/>
                    <a:pt x="1524" y="4084"/>
                  </a:cubicBezTo>
                  <a:lnTo>
                    <a:pt x="2119" y="4524"/>
                  </a:lnTo>
                  <a:lnTo>
                    <a:pt x="2119" y="6036"/>
                  </a:lnTo>
                  <a:cubicBezTo>
                    <a:pt x="2119" y="6120"/>
                    <a:pt x="2203" y="6191"/>
                    <a:pt x="2286" y="6191"/>
                  </a:cubicBezTo>
                  <a:cubicBezTo>
                    <a:pt x="2369" y="6191"/>
                    <a:pt x="2453" y="6120"/>
                    <a:pt x="2453" y="6036"/>
                  </a:cubicBezTo>
                  <a:lnTo>
                    <a:pt x="2453" y="4512"/>
                  </a:lnTo>
                  <a:lnTo>
                    <a:pt x="3048" y="4072"/>
                  </a:lnTo>
                  <a:cubicBezTo>
                    <a:pt x="3084" y="4096"/>
                    <a:pt x="3120" y="4108"/>
                    <a:pt x="3167" y="4143"/>
                  </a:cubicBezTo>
                  <a:lnTo>
                    <a:pt x="4012" y="4453"/>
                  </a:lnTo>
                  <a:cubicBezTo>
                    <a:pt x="4155" y="4512"/>
                    <a:pt x="4251" y="4643"/>
                    <a:pt x="4251" y="4798"/>
                  </a:cubicBezTo>
                  <a:lnTo>
                    <a:pt x="4251" y="6036"/>
                  </a:lnTo>
                  <a:cubicBezTo>
                    <a:pt x="4251" y="6120"/>
                    <a:pt x="4322" y="6191"/>
                    <a:pt x="4417" y="6191"/>
                  </a:cubicBezTo>
                  <a:cubicBezTo>
                    <a:pt x="4501" y="6191"/>
                    <a:pt x="4572" y="6120"/>
                    <a:pt x="4572" y="6036"/>
                  </a:cubicBezTo>
                  <a:lnTo>
                    <a:pt x="4572" y="4798"/>
                  </a:lnTo>
                  <a:cubicBezTo>
                    <a:pt x="4584" y="4512"/>
                    <a:pt x="4382" y="4251"/>
                    <a:pt x="4120" y="4143"/>
                  </a:cubicBezTo>
                  <a:lnTo>
                    <a:pt x="3274" y="3834"/>
                  </a:lnTo>
                  <a:cubicBezTo>
                    <a:pt x="3191" y="3798"/>
                    <a:pt x="3155" y="3727"/>
                    <a:pt x="3155" y="3655"/>
                  </a:cubicBezTo>
                  <a:lnTo>
                    <a:pt x="3155" y="3215"/>
                  </a:lnTo>
                  <a:cubicBezTo>
                    <a:pt x="3179" y="3191"/>
                    <a:pt x="3227" y="3155"/>
                    <a:pt x="3250" y="3131"/>
                  </a:cubicBezTo>
                  <a:cubicBezTo>
                    <a:pt x="3536" y="2858"/>
                    <a:pt x="3691" y="2500"/>
                    <a:pt x="3691" y="2119"/>
                  </a:cubicBezTo>
                  <a:lnTo>
                    <a:pt x="3691" y="1810"/>
                  </a:lnTo>
                  <a:lnTo>
                    <a:pt x="3727" y="1715"/>
                  </a:lnTo>
                  <a:cubicBezTo>
                    <a:pt x="3822" y="1548"/>
                    <a:pt x="3870" y="1357"/>
                    <a:pt x="3870" y="1167"/>
                  </a:cubicBezTo>
                  <a:lnTo>
                    <a:pt x="3870" y="167"/>
                  </a:lnTo>
                  <a:cubicBezTo>
                    <a:pt x="3870" y="71"/>
                    <a:pt x="378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9" name="Google Shape;10879;p60"/>
            <p:cNvSpPr/>
            <p:nvPr/>
          </p:nvSpPr>
          <p:spPr>
            <a:xfrm>
              <a:off x="7340324" y="2291486"/>
              <a:ext cx="10630" cy="38702"/>
            </a:xfrm>
            <a:custGeom>
              <a:avLst/>
              <a:gdLst/>
              <a:ahLst/>
              <a:cxnLst/>
              <a:rect l="l" t="t" r="r" b="b"/>
              <a:pathLst>
                <a:path w="334" h="1216" extrusionOk="0">
                  <a:moveTo>
                    <a:pt x="167" y="1"/>
                  </a:moveTo>
                  <a:cubicBezTo>
                    <a:pt x="84" y="1"/>
                    <a:pt x="0" y="72"/>
                    <a:pt x="0" y="167"/>
                  </a:cubicBezTo>
                  <a:lnTo>
                    <a:pt x="0" y="1060"/>
                  </a:lnTo>
                  <a:cubicBezTo>
                    <a:pt x="0" y="1144"/>
                    <a:pt x="84" y="1215"/>
                    <a:pt x="167" y="1215"/>
                  </a:cubicBezTo>
                  <a:cubicBezTo>
                    <a:pt x="262" y="1215"/>
                    <a:pt x="334" y="1144"/>
                    <a:pt x="334" y="1060"/>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0" name="Google Shape;10880;p60"/>
            <p:cNvSpPr/>
            <p:nvPr/>
          </p:nvSpPr>
          <p:spPr>
            <a:xfrm>
              <a:off x="7419511" y="2291486"/>
              <a:ext cx="10630" cy="38702"/>
            </a:xfrm>
            <a:custGeom>
              <a:avLst/>
              <a:gdLst/>
              <a:ahLst/>
              <a:cxnLst/>
              <a:rect l="l" t="t" r="r" b="b"/>
              <a:pathLst>
                <a:path w="334" h="1216" extrusionOk="0">
                  <a:moveTo>
                    <a:pt x="167" y="1"/>
                  </a:moveTo>
                  <a:cubicBezTo>
                    <a:pt x="72" y="1"/>
                    <a:pt x="1" y="72"/>
                    <a:pt x="1" y="167"/>
                  </a:cubicBezTo>
                  <a:lnTo>
                    <a:pt x="1" y="1060"/>
                  </a:lnTo>
                  <a:cubicBezTo>
                    <a:pt x="1" y="1144"/>
                    <a:pt x="72" y="1215"/>
                    <a:pt x="167" y="1215"/>
                  </a:cubicBezTo>
                  <a:cubicBezTo>
                    <a:pt x="251" y="1215"/>
                    <a:pt x="334" y="1144"/>
                    <a:pt x="334" y="1060"/>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1" name="Google Shape;10881;p60"/>
            <p:cNvSpPr/>
            <p:nvPr/>
          </p:nvSpPr>
          <p:spPr>
            <a:xfrm>
              <a:off x="7153878" y="1969392"/>
              <a:ext cx="225498" cy="188355"/>
            </a:xfrm>
            <a:custGeom>
              <a:avLst/>
              <a:gdLst/>
              <a:ahLst/>
              <a:cxnLst/>
              <a:rect l="l" t="t" r="r" b="b"/>
              <a:pathLst>
                <a:path w="7085" h="5918" extrusionOk="0">
                  <a:moveTo>
                    <a:pt x="2441" y="4227"/>
                  </a:moveTo>
                  <a:lnTo>
                    <a:pt x="2346" y="4608"/>
                  </a:lnTo>
                  <a:lnTo>
                    <a:pt x="2132" y="4608"/>
                  </a:lnTo>
                  <a:cubicBezTo>
                    <a:pt x="1917" y="4608"/>
                    <a:pt x="1751" y="4442"/>
                    <a:pt x="1751" y="4239"/>
                  </a:cubicBezTo>
                  <a:lnTo>
                    <a:pt x="1751" y="4227"/>
                  </a:lnTo>
                  <a:close/>
                  <a:moveTo>
                    <a:pt x="5668" y="310"/>
                  </a:moveTo>
                  <a:cubicBezTo>
                    <a:pt x="5882" y="310"/>
                    <a:pt x="6037" y="477"/>
                    <a:pt x="6037" y="679"/>
                  </a:cubicBezTo>
                  <a:lnTo>
                    <a:pt x="6037" y="3525"/>
                  </a:lnTo>
                  <a:cubicBezTo>
                    <a:pt x="6037" y="3739"/>
                    <a:pt x="5882" y="3894"/>
                    <a:pt x="5668" y="3894"/>
                  </a:cubicBezTo>
                  <a:lnTo>
                    <a:pt x="4251" y="3894"/>
                  </a:lnTo>
                  <a:cubicBezTo>
                    <a:pt x="4227" y="3894"/>
                    <a:pt x="4179" y="3918"/>
                    <a:pt x="4156" y="3930"/>
                  </a:cubicBezTo>
                  <a:lnTo>
                    <a:pt x="2572" y="5084"/>
                  </a:lnTo>
                  <a:lnTo>
                    <a:pt x="2810" y="4108"/>
                  </a:lnTo>
                  <a:cubicBezTo>
                    <a:pt x="2822" y="4061"/>
                    <a:pt x="2810" y="4001"/>
                    <a:pt x="2786" y="3953"/>
                  </a:cubicBezTo>
                  <a:cubicBezTo>
                    <a:pt x="2751" y="3918"/>
                    <a:pt x="2703" y="3894"/>
                    <a:pt x="2644" y="3894"/>
                  </a:cubicBezTo>
                  <a:lnTo>
                    <a:pt x="703" y="3894"/>
                  </a:lnTo>
                  <a:cubicBezTo>
                    <a:pt x="489" y="3894"/>
                    <a:pt x="322" y="3739"/>
                    <a:pt x="322" y="3525"/>
                  </a:cubicBezTo>
                  <a:lnTo>
                    <a:pt x="322" y="679"/>
                  </a:lnTo>
                  <a:cubicBezTo>
                    <a:pt x="322" y="477"/>
                    <a:pt x="489" y="310"/>
                    <a:pt x="703" y="310"/>
                  </a:cubicBezTo>
                  <a:close/>
                  <a:moveTo>
                    <a:pt x="6382" y="1036"/>
                  </a:moveTo>
                  <a:cubicBezTo>
                    <a:pt x="6585" y="1036"/>
                    <a:pt x="6751" y="1203"/>
                    <a:pt x="6751" y="1417"/>
                  </a:cubicBezTo>
                  <a:lnTo>
                    <a:pt x="6751" y="4251"/>
                  </a:lnTo>
                  <a:lnTo>
                    <a:pt x="6739" y="4251"/>
                  </a:lnTo>
                  <a:cubicBezTo>
                    <a:pt x="6739" y="4465"/>
                    <a:pt x="6573" y="4632"/>
                    <a:pt x="6370" y="4632"/>
                  </a:cubicBezTo>
                  <a:lnTo>
                    <a:pt x="4953" y="4632"/>
                  </a:lnTo>
                  <a:cubicBezTo>
                    <a:pt x="4906" y="4632"/>
                    <a:pt x="4870" y="4644"/>
                    <a:pt x="4822" y="4692"/>
                  </a:cubicBezTo>
                  <a:cubicBezTo>
                    <a:pt x="4787" y="4727"/>
                    <a:pt x="4775" y="4775"/>
                    <a:pt x="4787" y="4823"/>
                  </a:cubicBezTo>
                  <a:lnTo>
                    <a:pt x="4906" y="5501"/>
                  </a:lnTo>
                  <a:lnTo>
                    <a:pt x="3691" y="4692"/>
                  </a:lnTo>
                  <a:lnTo>
                    <a:pt x="4299" y="4239"/>
                  </a:lnTo>
                  <a:lnTo>
                    <a:pt x="5668" y="4239"/>
                  </a:lnTo>
                  <a:cubicBezTo>
                    <a:pt x="6049" y="4239"/>
                    <a:pt x="6370" y="3930"/>
                    <a:pt x="6370" y="3537"/>
                  </a:cubicBezTo>
                  <a:lnTo>
                    <a:pt x="6370" y="1036"/>
                  </a:lnTo>
                  <a:close/>
                  <a:moveTo>
                    <a:pt x="703" y="1"/>
                  </a:moveTo>
                  <a:cubicBezTo>
                    <a:pt x="310" y="1"/>
                    <a:pt x="0" y="310"/>
                    <a:pt x="0" y="703"/>
                  </a:cubicBezTo>
                  <a:lnTo>
                    <a:pt x="0" y="3537"/>
                  </a:lnTo>
                  <a:cubicBezTo>
                    <a:pt x="0" y="3930"/>
                    <a:pt x="310" y="4239"/>
                    <a:pt x="703" y="4239"/>
                  </a:cubicBezTo>
                  <a:lnTo>
                    <a:pt x="1405" y="4239"/>
                  </a:lnTo>
                  <a:lnTo>
                    <a:pt x="1405" y="4251"/>
                  </a:lnTo>
                  <a:cubicBezTo>
                    <a:pt x="1405" y="4644"/>
                    <a:pt x="1727" y="4954"/>
                    <a:pt x="2108" y="4954"/>
                  </a:cubicBezTo>
                  <a:lnTo>
                    <a:pt x="2263" y="4954"/>
                  </a:lnTo>
                  <a:lnTo>
                    <a:pt x="2203" y="5227"/>
                  </a:lnTo>
                  <a:cubicBezTo>
                    <a:pt x="2167" y="5323"/>
                    <a:pt x="2215" y="5430"/>
                    <a:pt x="2298" y="5489"/>
                  </a:cubicBezTo>
                  <a:cubicBezTo>
                    <a:pt x="2346" y="5525"/>
                    <a:pt x="2394" y="5537"/>
                    <a:pt x="2453" y="5537"/>
                  </a:cubicBezTo>
                  <a:cubicBezTo>
                    <a:pt x="2513" y="5537"/>
                    <a:pt x="2560" y="5525"/>
                    <a:pt x="2596" y="5489"/>
                  </a:cubicBezTo>
                  <a:lnTo>
                    <a:pt x="3334" y="4954"/>
                  </a:lnTo>
                  <a:lnTo>
                    <a:pt x="3489" y="4954"/>
                  </a:lnTo>
                  <a:lnTo>
                    <a:pt x="4882" y="5882"/>
                  </a:lnTo>
                  <a:cubicBezTo>
                    <a:pt x="4918" y="5906"/>
                    <a:pt x="4965" y="5918"/>
                    <a:pt x="5013" y="5918"/>
                  </a:cubicBezTo>
                  <a:cubicBezTo>
                    <a:pt x="5061" y="5918"/>
                    <a:pt x="5096" y="5906"/>
                    <a:pt x="5144" y="5882"/>
                  </a:cubicBezTo>
                  <a:cubicBezTo>
                    <a:pt x="5239" y="5823"/>
                    <a:pt x="5287" y="5727"/>
                    <a:pt x="5263" y="5620"/>
                  </a:cubicBezTo>
                  <a:lnTo>
                    <a:pt x="5168" y="4954"/>
                  </a:lnTo>
                  <a:lnTo>
                    <a:pt x="6382" y="4954"/>
                  </a:lnTo>
                  <a:cubicBezTo>
                    <a:pt x="6763" y="4954"/>
                    <a:pt x="7085" y="4644"/>
                    <a:pt x="7085" y="4251"/>
                  </a:cubicBezTo>
                  <a:lnTo>
                    <a:pt x="7085" y="1417"/>
                  </a:lnTo>
                  <a:cubicBezTo>
                    <a:pt x="7085" y="1024"/>
                    <a:pt x="6775" y="715"/>
                    <a:pt x="6382" y="715"/>
                  </a:cubicBezTo>
                  <a:cubicBezTo>
                    <a:pt x="6370" y="310"/>
                    <a:pt x="6061"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2" name="Google Shape;10882;p60"/>
            <p:cNvSpPr/>
            <p:nvPr/>
          </p:nvSpPr>
          <p:spPr>
            <a:xfrm>
              <a:off x="7193663" y="2003511"/>
              <a:ext cx="27308" cy="10248"/>
            </a:xfrm>
            <a:custGeom>
              <a:avLst/>
              <a:gdLst/>
              <a:ahLst/>
              <a:cxnLst/>
              <a:rect l="l" t="t" r="r" b="b"/>
              <a:pathLst>
                <a:path w="858" h="322" extrusionOk="0">
                  <a:moveTo>
                    <a:pt x="167" y="0"/>
                  </a:moveTo>
                  <a:cubicBezTo>
                    <a:pt x="72" y="0"/>
                    <a:pt x="1" y="72"/>
                    <a:pt x="1" y="167"/>
                  </a:cubicBezTo>
                  <a:cubicBezTo>
                    <a:pt x="1" y="250"/>
                    <a:pt x="72" y="322"/>
                    <a:pt x="167" y="322"/>
                  </a:cubicBezTo>
                  <a:lnTo>
                    <a:pt x="703" y="322"/>
                  </a:lnTo>
                  <a:cubicBezTo>
                    <a:pt x="786" y="322"/>
                    <a:pt x="858" y="250"/>
                    <a:pt x="858" y="167"/>
                  </a:cubicBezTo>
                  <a:cubicBezTo>
                    <a:pt x="858" y="72"/>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3" name="Google Shape;10883;p60"/>
            <p:cNvSpPr/>
            <p:nvPr/>
          </p:nvSpPr>
          <p:spPr>
            <a:xfrm>
              <a:off x="7233065" y="2003511"/>
              <a:ext cx="83802" cy="10248"/>
            </a:xfrm>
            <a:custGeom>
              <a:avLst/>
              <a:gdLst/>
              <a:ahLst/>
              <a:cxnLst/>
              <a:rect l="l" t="t" r="r" b="b"/>
              <a:pathLst>
                <a:path w="2633" h="322" extrusionOk="0">
                  <a:moveTo>
                    <a:pt x="156" y="0"/>
                  </a:moveTo>
                  <a:cubicBezTo>
                    <a:pt x="72" y="0"/>
                    <a:pt x="1" y="72"/>
                    <a:pt x="1" y="167"/>
                  </a:cubicBezTo>
                  <a:cubicBezTo>
                    <a:pt x="1" y="250"/>
                    <a:pt x="72" y="322"/>
                    <a:pt x="156" y="322"/>
                  </a:cubicBezTo>
                  <a:lnTo>
                    <a:pt x="2465" y="322"/>
                  </a:lnTo>
                  <a:cubicBezTo>
                    <a:pt x="2561" y="322"/>
                    <a:pt x="2632" y="250"/>
                    <a:pt x="2632" y="167"/>
                  </a:cubicBezTo>
                  <a:cubicBezTo>
                    <a:pt x="2632" y="72"/>
                    <a:pt x="2573"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4" name="Google Shape;10884;p60"/>
            <p:cNvSpPr/>
            <p:nvPr/>
          </p:nvSpPr>
          <p:spPr>
            <a:xfrm>
              <a:off x="7193281" y="2031933"/>
              <a:ext cx="123936" cy="10248"/>
            </a:xfrm>
            <a:custGeom>
              <a:avLst/>
              <a:gdLst/>
              <a:ahLst/>
              <a:cxnLst/>
              <a:rect l="l" t="t" r="r" b="b"/>
              <a:pathLst>
                <a:path w="3894" h="322" extrusionOk="0">
                  <a:moveTo>
                    <a:pt x="155" y="0"/>
                  </a:moveTo>
                  <a:cubicBezTo>
                    <a:pt x="72" y="0"/>
                    <a:pt x="1" y="71"/>
                    <a:pt x="1" y="167"/>
                  </a:cubicBezTo>
                  <a:cubicBezTo>
                    <a:pt x="1" y="250"/>
                    <a:pt x="72" y="322"/>
                    <a:pt x="155" y="322"/>
                  </a:cubicBezTo>
                  <a:lnTo>
                    <a:pt x="3715" y="322"/>
                  </a:lnTo>
                  <a:cubicBezTo>
                    <a:pt x="3811" y="322"/>
                    <a:pt x="3882" y="250"/>
                    <a:pt x="3882" y="167"/>
                  </a:cubicBezTo>
                  <a:cubicBezTo>
                    <a:pt x="3894" y="71"/>
                    <a:pt x="3823" y="0"/>
                    <a:pt x="3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5" name="Google Shape;10885;p60"/>
            <p:cNvSpPr/>
            <p:nvPr/>
          </p:nvSpPr>
          <p:spPr>
            <a:xfrm>
              <a:off x="7193663" y="2059973"/>
              <a:ext cx="83770" cy="10248"/>
            </a:xfrm>
            <a:custGeom>
              <a:avLst/>
              <a:gdLst/>
              <a:ahLst/>
              <a:cxnLst/>
              <a:rect l="l" t="t" r="r" b="b"/>
              <a:pathLst>
                <a:path w="2632" h="322" extrusionOk="0">
                  <a:moveTo>
                    <a:pt x="167" y="0"/>
                  </a:moveTo>
                  <a:cubicBezTo>
                    <a:pt x="72" y="0"/>
                    <a:pt x="1" y="72"/>
                    <a:pt x="1" y="155"/>
                  </a:cubicBezTo>
                  <a:cubicBezTo>
                    <a:pt x="1" y="250"/>
                    <a:pt x="72" y="322"/>
                    <a:pt x="167" y="322"/>
                  </a:cubicBezTo>
                  <a:lnTo>
                    <a:pt x="2465" y="322"/>
                  </a:lnTo>
                  <a:cubicBezTo>
                    <a:pt x="2560" y="322"/>
                    <a:pt x="2632" y="250"/>
                    <a:pt x="2632" y="155"/>
                  </a:cubicBezTo>
                  <a:cubicBezTo>
                    <a:pt x="2632" y="72"/>
                    <a:pt x="2560" y="0"/>
                    <a:pt x="2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6" name="Google Shape;10886;p60"/>
            <p:cNvSpPr/>
            <p:nvPr/>
          </p:nvSpPr>
          <p:spPr>
            <a:xfrm>
              <a:off x="7289145" y="2059973"/>
              <a:ext cx="27722" cy="10248"/>
            </a:xfrm>
            <a:custGeom>
              <a:avLst/>
              <a:gdLst/>
              <a:ahLst/>
              <a:cxnLst/>
              <a:rect l="l" t="t" r="r" b="b"/>
              <a:pathLst>
                <a:path w="871" h="322" extrusionOk="0">
                  <a:moveTo>
                    <a:pt x="168" y="0"/>
                  </a:moveTo>
                  <a:cubicBezTo>
                    <a:pt x="84" y="0"/>
                    <a:pt x="1" y="72"/>
                    <a:pt x="1" y="155"/>
                  </a:cubicBezTo>
                  <a:cubicBezTo>
                    <a:pt x="1" y="250"/>
                    <a:pt x="84" y="322"/>
                    <a:pt x="168" y="322"/>
                  </a:cubicBezTo>
                  <a:lnTo>
                    <a:pt x="703" y="322"/>
                  </a:lnTo>
                  <a:cubicBezTo>
                    <a:pt x="799" y="322"/>
                    <a:pt x="870" y="250"/>
                    <a:pt x="870" y="155"/>
                  </a:cubicBezTo>
                  <a:cubicBezTo>
                    <a:pt x="870" y="72"/>
                    <a:pt x="811"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87" name="Google Shape;10887;p60"/>
          <p:cNvSpPr/>
          <p:nvPr/>
        </p:nvSpPr>
        <p:spPr>
          <a:xfrm>
            <a:off x="3094217" y="2895159"/>
            <a:ext cx="394152" cy="361529"/>
          </a:xfrm>
          <a:custGeom>
            <a:avLst/>
            <a:gdLst/>
            <a:ahLst/>
            <a:cxnLst/>
            <a:rect l="l" t="t" r="r" b="b"/>
            <a:pathLst>
              <a:path w="12384" h="11359" extrusionOk="0">
                <a:moveTo>
                  <a:pt x="2775" y="1024"/>
                </a:moveTo>
                <a:cubicBezTo>
                  <a:pt x="3346" y="1024"/>
                  <a:pt x="3811" y="1501"/>
                  <a:pt x="3811" y="2060"/>
                </a:cubicBezTo>
                <a:cubicBezTo>
                  <a:pt x="3811" y="2298"/>
                  <a:pt x="3727" y="2536"/>
                  <a:pt x="3573" y="2727"/>
                </a:cubicBezTo>
                <a:cubicBezTo>
                  <a:pt x="3525" y="2786"/>
                  <a:pt x="3513" y="2870"/>
                  <a:pt x="3549" y="2941"/>
                </a:cubicBezTo>
                <a:cubicBezTo>
                  <a:pt x="3573" y="3013"/>
                  <a:pt x="3644" y="3060"/>
                  <a:pt x="3727" y="3060"/>
                </a:cubicBezTo>
                <a:lnTo>
                  <a:pt x="4096" y="3060"/>
                </a:lnTo>
                <a:cubicBezTo>
                  <a:pt x="4120" y="3060"/>
                  <a:pt x="4156" y="3084"/>
                  <a:pt x="4156" y="3120"/>
                </a:cubicBezTo>
                <a:lnTo>
                  <a:pt x="4156" y="3370"/>
                </a:lnTo>
                <a:cubicBezTo>
                  <a:pt x="4156" y="3406"/>
                  <a:pt x="4120" y="3429"/>
                  <a:pt x="4096" y="3429"/>
                </a:cubicBezTo>
                <a:lnTo>
                  <a:pt x="1846" y="3429"/>
                </a:lnTo>
                <a:lnTo>
                  <a:pt x="1453" y="3418"/>
                </a:lnTo>
                <a:cubicBezTo>
                  <a:pt x="1418" y="3418"/>
                  <a:pt x="1394" y="3382"/>
                  <a:pt x="1394" y="3358"/>
                </a:cubicBezTo>
                <a:lnTo>
                  <a:pt x="1394" y="3096"/>
                </a:lnTo>
                <a:cubicBezTo>
                  <a:pt x="1394" y="3072"/>
                  <a:pt x="1418" y="3037"/>
                  <a:pt x="1453" y="3037"/>
                </a:cubicBezTo>
                <a:lnTo>
                  <a:pt x="3132" y="3037"/>
                </a:lnTo>
                <a:cubicBezTo>
                  <a:pt x="3239" y="3037"/>
                  <a:pt x="3323" y="2953"/>
                  <a:pt x="3323" y="2846"/>
                </a:cubicBezTo>
                <a:cubicBezTo>
                  <a:pt x="3323" y="2739"/>
                  <a:pt x="3227" y="2656"/>
                  <a:pt x="3132" y="2656"/>
                </a:cubicBezTo>
                <a:lnTo>
                  <a:pt x="1906" y="2656"/>
                </a:lnTo>
                <a:cubicBezTo>
                  <a:pt x="1787" y="2477"/>
                  <a:pt x="1727" y="2275"/>
                  <a:pt x="1727" y="2060"/>
                </a:cubicBezTo>
                <a:cubicBezTo>
                  <a:pt x="1727" y="1477"/>
                  <a:pt x="2203" y="1024"/>
                  <a:pt x="2775" y="1024"/>
                </a:cubicBezTo>
                <a:close/>
                <a:moveTo>
                  <a:pt x="9597" y="1024"/>
                </a:moveTo>
                <a:cubicBezTo>
                  <a:pt x="10169" y="1024"/>
                  <a:pt x="10645" y="1501"/>
                  <a:pt x="10645" y="2060"/>
                </a:cubicBezTo>
                <a:cubicBezTo>
                  <a:pt x="10645" y="2298"/>
                  <a:pt x="10550" y="2536"/>
                  <a:pt x="10407" y="2727"/>
                </a:cubicBezTo>
                <a:cubicBezTo>
                  <a:pt x="10359" y="2786"/>
                  <a:pt x="10347" y="2870"/>
                  <a:pt x="10371" y="2941"/>
                </a:cubicBezTo>
                <a:cubicBezTo>
                  <a:pt x="10407" y="3013"/>
                  <a:pt x="10478" y="3060"/>
                  <a:pt x="10550" y="3060"/>
                </a:cubicBezTo>
                <a:lnTo>
                  <a:pt x="10931" y="3060"/>
                </a:lnTo>
                <a:cubicBezTo>
                  <a:pt x="10954" y="3060"/>
                  <a:pt x="10990" y="3084"/>
                  <a:pt x="10990" y="3120"/>
                </a:cubicBezTo>
                <a:lnTo>
                  <a:pt x="10990" y="3370"/>
                </a:lnTo>
                <a:cubicBezTo>
                  <a:pt x="10990" y="3406"/>
                  <a:pt x="10954" y="3429"/>
                  <a:pt x="10931" y="3429"/>
                </a:cubicBezTo>
                <a:lnTo>
                  <a:pt x="8276" y="3429"/>
                </a:lnTo>
                <a:lnTo>
                  <a:pt x="8276" y="3418"/>
                </a:lnTo>
                <a:cubicBezTo>
                  <a:pt x="8252" y="3418"/>
                  <a:pt x="8216" y="3382"/>
                  <a:pt x="8216" y="3358"/>
                </a:cubicBezTo>
                <a:lnTo>
                  <a:pt x="8216" y="3096"/>
                </a:lnTo>
                <a:cubicBezTo>
                  <a:pt x="8216" y="3072"/>
                  <a:pt x="8252" y="3037"/>
                  <a:pt x="8276" y="3037"/>
                </a:cubicBezTo>
                <a:lnTo>
                  <a:pt x="9954" y="3037"/>
                </a:lnTo>
                <a:cubicBezTo>
                  <a:pt x="10061" y="3037"/>
                  <a:pt x="10157" y="2953"/>
                  <a:pt x="10157" y="2846"/>
                </a:cubicBezTo>
                <a:cubicBezTo>
                  <a:pt x="10157" y="2739"/>
                  <a:pt x="10061" y="2656"/>
                  <a:pt x="9954" y="2656"/>
                </a:cubicBezTo>
                <a:lnTo>
                  <a:pt x="8740" y="2656"/>
                </a:lnTo>
                <a:cubicBezTo>
                  <a:pt x="8621" y="2477"/>
                  <a:pt x="8561" y="2275"/>
                  <a:pt x="8561" y="2060"/>
                </a:cubicBezTo>
                <a:cubicBezTo>
                  <a:pt x="8561" y="1477"/>
                  <a:pt x="9038" y="1024"/>
                  <a:pt x="9597" y="1024"/>
                </a:cubicBezTo>
                <a:close/>
                <a:moveTo>
                  <a:pt x="6192" y="2691"/>
                </a:moveTo>
                <a:cubicBezTo>
                  <a:pt x="6763" y="2691"/>
                  <a:pt x="7240" y="3167"/>
                  <a:pt x="7240" y="3727"/>
                </a:cubicBezTo>
                <a:cubicBezTo>
                  <a:pt x="7240" y="3965"/>
                  <a:pt x="7144" y="4203"/>
                  <a:pt x="7002" y="4394"/>
                </a:cubicBezTo>
                <a:cubicBezTo>
                  <a:pt x="6954" y="4453"/>
                  <a:pt x="6942" y="4537"/>
                  <a:pt x="6966" y="4608"/>
                </a:cubicBezTo>
                <a:cubicBezTo>
                  <a:pt x="7002" y="4680"/>
                  <a:pt x="7073" y="4727"/>
                  <a:pt x="7144" y="4727"/>
                </a:cubicBezTo>
                <a:lnTo>
                  <a:pt x="7514" y="4727"/>
                </a:lnTo>
                <a:cubicBezTo>
                  <a:pt x="7549" y="4727"/>
                  <a:pt x="7573" y="4751"/>
                  <a:pt x="7573" y="4787"/>
                </a:cubicBezTo>
                <a:lnTo>
                  <a:pt x="7573" y="5037"/>
                </a:lnTo>
                <a:cubicBezTo>
                  <a:pt x="7573" y="5072"/>
                  <a:pt x="7549" y="5096"/>
                  <a:pt x="7514" y="5096"/>
                </a:cubicBezTo>
                <a:lnTo>
                  <a:pt x="4870" y="5096"/>
                </a:lnTo>
                <a:lnTo>
                  <a:pt x="4870" y="5084"/>
                </a:lnTo>
                <a:cubicBezTo>
                  <a:pt x="4847" y="5084"/>
                  <a:pt x="4811" y="5049"/>
                  <a:pt x="4811" y="5025"/>
                </a:cubicBezTo>
                <a:lnTo>
                  <a:pt x="4811" y="4775"/>
                </a:lnTo>
                <a:cubicBezTo>
                  <a:pt x="4811" y="4739"/>
                  <a:pt x="4847" y="4715"/>
                  <a:pt x="4870" y="4715"/>
                </a:cubicBezTo>
                <a:lnTo>
                  <a:pt x="6549" y="4715"/>
                </a:lnTo>
                <a:cubicBezTo>
                  <a:pt x="6656" y="4715"/>
                  <a:pt x="6740" y="4620"/>
                  <a:pt x="6740" y="4513"/>
                </a:cubicBezTo>
                <a:cubicBezTo>
                  <a:pt x="6740" y="4418"/>
                  <a:pt x="6656" y="4322"/>
                  <a:pt x="6549" y="4322"/>
                </a:cubicBezTo>
                <a:lnTo>
                  <a:pt x="5335" y="4322"/>
                </a:lnTo>
                <a:cubicBezTo>
                  <a:pt x="5216" y="4144"/>
                  <a:pt x="5156" y="3941"/>
                  <a:pt x="5156" y="3727"/>
                </a:cubicBezTo>
                <a:cubicBezTo>
                  <a:pt x="5156" y="3144"/>
                  <a:pt x="5632" y="2691"/>
                  <a:pt x="6192" y="2691"/>
                </a:cubicBezTo>
                <a:close/>
                <a:moveTo>
                  <a:pt x="3477" y="3799"/>
                </a:moveTo>
                <a:cubicBezTo>
                  <a:pt x="3442" y="4203"/>
                  <a:pt x="3442" y="5072"/>
                  <a:pt x="3870" y="6335"/>
                </a:cubicBezTo>
                <a:lnTo>
                  <a:pt x="1703" y="6335"/>
                </a:lnTo>
                <a:cubicBezTo>
                  <a:pt x="2132" y="5072"/>
                  <a:pt x="2132" y="4203"/>
                  <a:pt x="2108" y="3799"/>
                </a:cubicBezTo>
                <a:close/>
                <a:moveTo>
                  <a:pt x="10288" y="3799"/>
                </a:moveTo>
                <a:cubicBezTo>
                  <a:pt x="10264" y="4203"/>
                  <a:pt x="10264" y="5072"/>
                  <a:pt x="10693" y="6335"/>
                </a:cubicBezTo>
                <a:lnTo>
                  <a:pt x="8514" y="6335"/>
                </a:lnTo>
                <a:cubicBezTo>
                  <a:pt x="8954" y="5072"/>
                  <a:pt x="8966" y="4203"/>
                  <a:pt x="8918" y="3799"/>
                </a:cubicBezTo>
                <a:close/>
                <a:moveTo>
                  <a:pt x="4037" y="6739"/>
                </a:moveTo>
                <a:lnTo>
                  <a:pt x="4096" y="7097"/>
                </a:lnTo>
                <a:lnTo>
                  <a:pt x="1489" y="7097"/>
                </a:lnTo>
                <a:lnTo>
                  <a:pt x="1549" y="6739"/>
                </a:lnTo>
                <a:close/>
                <a:moveTo>
                  <a:pt x="10859" y="6739"/>
                </a:moveTo>
                <a:lnTo>
                  <a:pt x="10919" y="7097"/>
                </a:lnTo>
                <a:lnTo>
                  <a:pt x="8311" y="7097"/>
                </a:lnTo>
                <a:lnTo>
                  <a:pt x="8371" y="6739"/>
                </a:lnTo>
                <a:close/>
                <a:moveTo>
                  <a:pt x="6883" y="5465"/>
                </a:moveTo>
                <a:cubicBezTo>
                  <a:pt x="6847" y="5870"/>
                  <a:pt x="6847" y="6739"/>
                  <a:pt x="7287" y="8001"/>
                </a:cubicBezTo>
                <a:lnTo>
                  <a:pt x="5108" y="8001"/>
                </a:lnTo>
                <a:cubicBezTo>
                  <a:pt x="5537" y="6751"/>
                  <a:pt x="5537" y="5870"/>
                  <a:pt x="5513" y="5465"/>
                </a:cubicBezTo>
                <a:close/>
                <a:moveTo>
                  <a:pt x="4513" y="7478"/>
                </a:moveTo>
                <a:lnTo>
                  <a:pt x="4668" y="8049"/>
                </a:lnTo>
                <a:lnTo>
                  <a:pt x="4668" y="8061"/>
                </a:lnTo>
                <a:cubicBezTo>
                  <a:pt x="4632" y="8085"/>
                  <a:pt x="4608" y="8132"/>
                  <a:pt x="4608" y="8180"/>
                </a:cubicBezTo>
                <a:lnTo>
                  <a:pt x="4525" y="8561"/>
                </a:lnTo>
                <a:lnTo>
                  <a:pt x="775" y="8561"/>
                </a:lnTo>
                <a:lnTo>
                  <a:pt x="1072" y="7478"/>
                </a:lnTo>
                <a:close/>
                <a:moveTo>
                  <a:pt x="11335" y="7478"/>
                </a:moveTo>
                <a:lnTo>
                  <a:pt x="11633" y="8561"/>
                </a:lnTo>
                <a:lnTo>
                  <a:pt x="7883" y="8561"/>
                </a:lnTo>
                <a:lnTo>
                  <a:pt x="7799" y="8180"/>
                </a:lnTo>
                <a:cubicBezTo>
                  <a:pt x="7787" y="8120"/>
                  <a:pt x="7764" y="8085"/>
                  <a:pt x="7740" y="8049"/>
                </a:cubicBezTo>
                <a:lnTo>
                  <a:pt x="7895" y="7478"/>
                </a:lnTo>
                <a:close/>
                <a:moveTo>
                  <a:pt x="7442" y="8394"/>
                </a:moveTo>
                <a:lnTo>
                  <a:pt x="7502" y="8752"/>
                </a:lnTo>
                <a:lnTo>
                  <a:pt x="4906" y="8752"/>
                </a:lnTo>
                <a:lnTo>
                  <a:pt x="4966" y="8394"/>
                </a:lnTo>
                <a:close/>
                <a:moveTo>
                  <a:pt x="4132" y="8954"/>
                </a:moveTo>
                <a:lnTo>
                  <a:pt x="4037" y="9311"/>
                </a:lnTo>
                <a:lnTo>
                  <a:pt x="406" y="9311"/>
                </a:lnTo>
                <a:lnTo>
                  <a:pt x="406" y="8954"/>
                </a:lnTo>
                <a:close/>
                <a:moveTo>
                  <a:pt x="12002" y="8954"/>
                </a:moveTo>
                <a:lnTo>
                  <a:pt x="12002" y="9311"/>
                </a:lnTo>
                <a:lnTo>
                  <a:pt x="8371" y="9311"/>
                </a:lnTo>
                <a:lnTo>
                  <a:pt x="8276" y="8954"/>
                </a:lnTo>
                <a:close/>
                <a:moveTo>
                  <a:pt x="7906" y="9144"/>
                </a:moveTo>
                <a:lnTo>
                  <a:pt x="8204" y="10228"/>
                </a:lnTo>
                <a:lnTo>
                  <a:pt x="4192" y="10228"/>
                </a:lnTo>
                <a:lnTo>
                  <a:pt x="4489" y="9144"/>
                </a:lnTo>
                <a:close/>
                <a:moveTo>
                  <a:pt x="8573" y="10621"/>
                </a:moveTo>
                <a:lnTo>
                  <a:pt x="8573" y="10978"/>
                </a:lnTo>
                <a:lnTo>
                  <a:pt x="3799" y="10978"/>
                </a:lnTo>
                <a:lnTo>
                  <a:pt x="3799" y="10621"/>
                </a:lnTo>
                <a:close/>
                <a:moveTo>
                  <a:pt x="9621" y="0"/>
                </a:moveTo>
                <a:cubicBezTo>
                  <a:pt x="9514" y="0"/>
                  <a:pt x="9430" y="96"/>
                  <a:pt x="9430" y="203"/>
                </a:cubicBezTo>
                <a:lnTo>
                  <a:pt x="9430" y="596"/>
                </a:lnTo>
                <a:cubicBezTo>
                  <a:pt x="8728" y="691"/>
                  <a:pt x="8180" y="1298"/>
                  <a:pt x="8180" y="2024"/>
                </a:cubicBezTo>
                <a:cubicBezTo>
                  <a:pt x="8180" y="2239"/>
                  <a:pt x="8216" y="2441"/>
                  <a:pt x="8311" y="2620"/>
                </a:cubicBezTo>
                <a:lnTo>
                  <a:pt x="8299" y="2620"/>
                </a:lnTo>
                <a:cubicBezTo>
                  <a:pt x="8037" y="2620"/>
                  <a:pt x="7835" y="2834"/>
                  <a:pt x="7835" y="3084"/>
                </a:cubicBezTo>
                <a:lnTo>
                  <a:pt x="7835" y="3334"/>
                </a:lnTo>
                <a:cubicBezTo>
                  <a:pt x="7835" y="3596"/>
                  <a:pt x="8037" y="3799"/>
                  <a:pt x="8299" y="3799"/>
                </a:cubicBezTo>
                <a:lnTo>
                  <a:pt x="8549" y="3799"/>
                </a:lnTo>
                <a:cubicBezTo>
                  <a:pt x="8573" y="4144"/>
                  <a:pt x="8597" y="5037"/>
                  <a:pt x="8121" y="6358"/>
                </a:cubicBezTo>
                <a:cubicBezTo>
                  <a:pt x="8073" y="6394"/>
                  <a:pt x="8037" y="6442"/>
                  <a:pt x="8026" y="6501"/>
                </a:cubicBezTo>
                <a:lnTo>
                  <a:pt x="7918" y="7073"/>
                </a:lnTo>
                <a:lnTo>
                  <a:pt x="7764" y="7073"/>
                </a:lnTo>
                <a:cubicBezTo>
                  <a:pt x="7668" y="7073"/>
                  <a:pt x="7597" y="7132"/>
                  <a:pt x="7561" y="7228"/>
                </a:cubicBezTo>
                <a:lnTo>
                  <a:pt x="7525" y="7394"/>
                </a:lnTo>
                <a:cubicBezTo>
                  <a:pt x="7252" y="6418"/>
                  <a:pt x="7264" y="5751"/>
                  <a:pt x="7299" y="5465"/>
                </a:cubicBezTo>
                <a:lnTo>
                  <a:pt x="7549" y="5465"/>
                </a:lnTo>
                <a:cubicBezTo>
                  <a:pt x="7799" y="5465"/>
                  <a:pt x="8014" y="5263"/>
                  <a:pt x="8014" y="5013"/>
                </a:cubicBezTo>
                <a:lnTo>
                  <a:pt x="8014" y="4751"/>
                </a:lnTo>
                <a:cubicBezTo>
                  <a:pt x="8014" y="4501"/>
                  <a:pt x="7799" y="4287"/>
                  <a:pt x="7549" y="4287"/>
                </a:cubicBezTo>
                <a:lnTo>
                  <a:pt x="7537" y="4287"/>
                </a:lnTo>
                <a:cubicBezTo>
                  <a:pt x="7621" y="4108"/>
                  <a:pt x="7668" y="3906"/>
                  <a:pt x="7668" y="3691"/>
                </a:cubicBezTo>
                <a:cubicBezTo>
                  <a:pt x="7668" y="2965"/>
                  <a:pt x="7121" y="2358"/>
                  <a:pt x="6418" y="2263"/>
                </a:cubicBezTo>
                <a:lnTo>
                  <a:pt x="6418" y="1882"/>
                </a:lnTo>
                <a:cubicBezTo>
                  <a:pt x="6418" y="1774"/>
                  <a:pt x="6335" y="1691"/>
                  <a:pt x="6228" y="1691"/>
                </a:cubicBezTo>
                <a:cubicBezTo>
                  <a:pt x="6121" y="1691"/>
                  <a:pt x="6037" y="1774"/>
                  <a:pt x="6037" y="1882"/>
                </a:cubicBezTo>
                <a:lnTo>
                  <a:pt x="6037" y="2286"/>
                </a:lnTo>
                <a:cubicBezTo>
                  <a:pt x="5335" y="2370"/>
                  <a:pt x="4787" y="2989"/>
                  <a:pt x="4787" y="3715"/>
                </a:cubicBezTo>
                <a:cubicBezTo>
                  <a:pt x="4787" y="3918"/>
                  <a:pt x="4823" y="4132"/>
                  <a:pt x="4918" y="4310"/>
                </a:cubicBezTo>
                <a:lnTo>
                  <a:pt x="4906" y="4310"/>
                </a:lnTo>
                <a:cubicBezTo>
                  <a:pt x="4644" y="4310"/>
                  <a:pt x="4442" y="4513"/>
                  <a:pt x="4442" y="4775"/>
                </a:cubicBezTo>
                <a:lnTo>
                  <a:pt x="4442" y="5025"/>
                </a:lnTo>
                <a:cubicBezTo>
                  <a:pt x="4442" y="5275"/>
                  <a:pt x="4644" y="5489"/>
                  <a:pt x="4906" y="5489"/>
                </a:cubicBezTo>
                <a:lnTo>
                  <a:pt x="5156" y="5489"/>
                </a:lnTo>
                <a:cubicBezTo>
                  <a:pt x="5180" y="5763"/>
                  <a:pt x="5180" y="6442"/>
                  <a:pt x="4930" y="7406"/>
                </a:cubicBezTo>
                <a:lnTo>
                  <a:pt x="4882" y="7239"/>
                </a:lnTo>
                <a:cubicBezTo>
                  <a:pt x="4858" y="7156"/>
                  <a:pt x="4787" y="7097"/>
                  <a:pt x="4692" y="7097"/>
                </a:cubicBezTo>
                <a:lnTo>
                  <a:pt x="4525" y="7097"/>
                </a:lnTo>
                <a:lnTo>
                  <a:pt x="4430" y="6513"/>
                </a:lnTo>
                <a:cubicBezTo>
                  <a:pt x="4406" y="6454"/>
                  <a:pt x="4382" y="6406"/>
                  <a:pt x="4335" y="6382"/>
                </a:cubicBezTo>
                <a:cubicBezTo>
                  <a:pt x="3858" y="5049"/>
                  <a:pt x="3870" y="4156"/>
                  <a:pt x="3906" y="3822"/>
                </a:cubicBezTo>
                <a:lnTo>
                  <a:pt x="4156" y="3822"/>
                </a:lnTo>
                <a:cubicBezTo>
                  <a:pt x="4406" y="3822"/>
                  <a:pt x="4620" y="3608"/>
                  <a:pt x="4620" y="3358"/>
                </a:cubicBezTo>
                <a:lnTo>
                  <a:pt x="4620" y="3108"/>
                </a:lnTo>
                <a:cubicBezTo>
                  <a:pt x="4620" y="2846"/>
                  <a:pt x="4406" y="2644"/>
                  <a:pt x="4156" y="2644"/>
                </a:cubicBezTo>
                <a:lnTo>
                  <a:pt x="4144" y="2644"/>
                </a:lnTo>
                <a:cubicBezTo>
                  <a:pt x="4227" y="2465"/>
                  <a:pt x="4275" y="2251"/>
                  <a:pt x="4275" y="2048"/>
                </a:cubicBezTo>
                <a:cubicBezTo>
                  <a:pt x="4275" y="1322"/>
                  <a:pt x="3727" y="703"/>
                  <a:pt x="3025" y="620"/>
                </a:cubicBezTo>
                <a:lnTo>
                  <a:pt x="3025" y="215"/>
                </a:lnTo>
                <a:cubicBezTo>
                  <a:pt x="3025" y="108"/>
                  <a:pt x="2942" y="24"/>
                  <a:pt x="2834" y="24"/>
                </a:cubicBezTo>
                <a:cubicBezTo>
                  <a:pt x="2727" y="24"/>
                  <a:pt x="2644" y="108"/>
                  <a:pt x="2644" y="215"/>
                </a:cubicBezTo>
                <a:lnTo>
                  <a:pt x="2644" y="620"/>
                </a:lnTo>
                <a:cubicBezTo>
                  <a:pt x="1941" y="703"/>
                  <a:pt x="1394" y="1322"/>
                  <a:pt x="1394" y="2048"/>
                </a:cubicBezTo>
                <a:cubicBezTo>
                  <a:pt x="1394" y="2251"/>
                  <a:pt x="1429" y="2465"/>
                  <a:pt x="1525" y="2644"/>
                </a:cubicBezTo>
                <a:lnTo>
                  <a:pt x="1513" y="2644"/>
                </a:lnTo>
                <a:cubicBezTo>
                  <a:pt x="1251" y="2644"/>
                  <a:pt x="1048" y="2846"/>
                  <a:pt x="1048" y="3108"/>
                </a:cubicBezTo>
                <a:lnTo>
                  <a:pt x="1048" y="3358"/>
                </a:lnTo>
                <a:cubicBezTo>
                  <a:pt x="1048" y="3608"/>
                  <a:pt x="1251" y="3822"/>
                  <a:pt x="1513" y="3822"/>
                </a:cubicBezTo>
                <a:lnTo>
                  <a:pt x="1763" y="3822"/>
                </a:lnTo>
                <a:cubicBezTo>
                  <a:pt x="1787" y="4156"/>
                  <a:pt x="1810" y="5049"/>
                  <a:pt x="1334" y="6382"/>
                </a:cubicBezTo>
                <a:cubicBezTo>
                  <a:pt x="1287" y="6406"/>
                  <a:pt x="1251" y="6454"/>
                  <a:pt x="1239" y="6513"/>
                </a:cubicBezTo>
                <a:lnTo>
                  <a:pt x="1132" y="7097"/>
                </a:lnTo>
                <a:lnTo>
                  <a:pt x="977" y="7097"/>
                </a:lnTo>
                <a:cubicBezTo>
                  <a:pt x="882" y="7097"/>
                  <a:pt x="810" y="7156"/>
                  <a:pt x="775" y="7239"/>
                </a:cubicBezTo>
                <a:lnTo>
                  <a:pt x="417" y="8561"/>
                </a:lnTo>
                <a:lnTo>
                  <a:pt x="203" y="8561"/>
                </a:lnTo>
                <a:cubicBezTo>
                  <a:pt x="96" y="8561"/>
                  <a:pt x="1" y="8656"/>
                  <a:pt x="1" y="8763"/>
                </a:cubicBezTo>
                <a:lnTo>
                  <a:pt x="1" y="9502"/>
                </a:lnTo>
                <a:cubicBezTo>
                  <a:pt x="1" y="9609"/>
                  <a:pt x="96" y="9692"/>
                  <a:pt x="203" y="9692"/>
                </a:cubicBezTo>
                <a:lnTo>
                  <a:pt x="3918" y="9692"/>
                </a:lnTo>
                <a:lnTo>
                  <a:pt x="3775" y="10228"/>
                </a:lnTo>
                <a:lnTo>
                  <a:pt x="3620" y="10228"/>
                </a:lnTo>
                <a:cubicBezTo>
                  <a:pt x="3513" y="10228"/>
                  <a:pt x="3430" y="10323"/>
                  <a:pt x="3430" y="10430"/>
                </a:cubicBezTo>
                <a:lnTo>
                  <a:pt x="3430" y="11168"/>
                </a:lnTo>
                <a:cubicBezTo>
                  <a:pt x="3430" y="11276"/>
                  <a:pt x="3513" y="11359"/>
                  <a:pt x="3620" y="11359"/>
                </a:cubicBezTo>
                <a:lnTo>
                  <a:pt x="8788" y="11359"/>
                </a:lnTo>
                <a:cubicBezTo>
                  <a:pt x="8895" y="11359"/>
                  <a:pt x="8978" y="11276"/>
                  <a:pt x="8978" y="11168"/>
                </a:cubicBezTo>
                <a:lnTo>
                  <a:pt x="8978" y="10430"/>
                </a:lnTo>
                <a:cubicBezTo>
                  <a:pt x="8978" y="10323"/>
                  <a:pt x="8895" y="10228"/>
                  <a:pt x="8788" y="10228"/>
                </a:cubicBezTo>
                <a:lnTo>
                  <a:pt x="8621" y="10228"/>
                </a:lnTo>
                <a:lnTo>
                  <a:pt x="8478" y="9692"/>
                </a:lnTo>
                <a:lnTo>
                  <a:pt x="12193" y="9692"/>
                </a:lnTo>
                <a:cubicBezTo>
                  <a:pt x="12300" y="9692"/>
                  <a:pt x="12383" y="9609"/>
                  <a:pt x="12383" y="9502"/>
                </a:cubicBezTo>
                <a:lnTo>
                  <a:pt x="12383" y="8763"/>
                </a:lnTo>
                <a:cubicBezTo>
                  <a:pt x="12383" y="8656"/>
                  <a:pt x="12300" y="8561"/>
                  <a:pt x="12193" y="8561"/>
                </a:cubicBezTo>
                <a:lnTo>
                  <a:pt x="12026" y="8561"/>
                </a:lnTo>
                <a:lnTo>
                  <a:pt x="11669" y="7239"/>
                </a:lnTo>
                <a:cubicBezTo>
                  <a:pt x="11645" y="7156"/>
                  <a:pt x="11574" y="7097"/>
                  <a:pt x="11478" y="7097"/>
                </a:cubicBezTo>
                <a:lnTo>
                  <a:pt x="11312" y="7097"/>
                </a:lnTo>
                <a:lnTo>
                  <a:pt x="11216" y="6501"/>
                </a:lnTo>
                <a:cubicBezTo>
                  <a:pt x="11193" y="6442"/>
                  <a:pt x="11169" y="6394"/>
                  <a:pt x="11121" y="6358"/>
                </a:cubicBezTo>
                <a:cubicBezTo>
                  <a:pt x="10645" y="5037"/>
                  <a:pt x="10657" y="4144"/>
                  <a:pt x="10693" y="3799"/>
                </a:cubicBezTo>
                <a:lnTo>
                  <a:pt x="10943" y="3799"/>
                </a:lnTo>
                <a:cubicBezTo>
                  <a:pt x="11193" y="3799"/>
                  <a:pt x="11407" y="3596"/>
                  <a:pt x="11407" y="3334"/>
                </a:cubicBezTo>
                <a:lnTo>
                  <a:pt x="11407" y="3084"/>
                </a:lnTo>
                <a:cubicBezTo>
                  <a:pt x="11407" y="2834"/>
                  <a:pt x="11193" y="2620"/>
                  <a:pt x="10943" y="2620"/>
                </a:cubicBezTo>
                <a:lnTo>
                  <a:pt x="10931" y="2620"/>
                </a:lnTo>
                <a:cubicBezTo>
                  <a:pt x="11014" y="2441"/>
                  <a:pt x="11062" y="2239"/>
                  <a:pt x="11062" y="2024"/>
                </a:cubicBezTo>
                <a:cubicBezTo>
                  <a:pt x="11062" y="1298"/>
                  <a:pt x="10514" y="691"/>
                  <a:pt x="9811" y="596"/>
                </a:cubicBezTo>
                <a:lnTo>
                  <a:pt x="9811" y="203"/>
                </a:lnTo>
                <a:cubicBezTo>
                  <a:pt x="9811" y="96"/>
                  <a:pt x="9728" y="0"/>
                  <a:pt x="9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888" name="Google Shape;10888;p60"/>
          <p:cNvGrpSpPr/>
          <p:nvPr/>
        </p:nvGrpSpPr>
        <p:grpSpPr>
          <a:xfrm>
            <a:off x="5352728" y="1990239"/>
            <a:ext cx="327091" cy="322508"/>
            <a:chOff x="5352728" y="1990239"/>
            <a:chExt cx="327091" cy="322508"/>
          </a:xfrm>
        </p:grpSpPr>
        <p:sp>
          <p:nvSpPr>
            <p:cNvPr id="10889" name="Google Shape;10889;p60"/>
            <p:cNvSpPr/>
            <p:nvPr/>
          </p:nvSpPr>
          <p:spPr>
            <a:xfrm>
              <a:off x="5575935" y="2093297"/>
              <a:ext cx="103885" cy="217923"/>
            </a:xfrm>
            <a:custGeom>
              <a:avLst/>
              <a:gdLst/>
              <a:ahLst/>
              <a:cxnLst/>
              <a:rect l="l" t="t" r="r" b="b"/>
              <a:pathLst>
                <a:path w="3264" h="6847" extrusionOk="0">
                  <a:moveTo>
                    <a:pt x="1084" y="322"/>
                  </a:moveTo>
                  <a:cubicBezTo>
                    <a:pt x="1144" y="322"/>
                    <a:pt x="1203" y="358"/>
                    <a:pt x="1203" y="441"/>
                  </a:cubicBezTo>
                  <a:lnTo>
                    <a:pt x="1203" y="513"/>
                  </a:lnTo>
                  <a:lnTo>
                    <a:pt x="1203" y="1061"/>
                  </a:lnTo>
                  <a:cubicBezTo>
                    <a:pt x="1203" y="1156"/>
                    <a:pt x="1275" y="1227"/>
                    <a:pt x="1370" y="1227"/>
                  </a:cubicBezTo>
                  <a:cubicBezTo>
                    <a:pt x="1453" y="1227"/>
                    <a:pt x="1537" y="1156"/>
                    <a:pt x="1537" y="1061"/>
                  </a:cubicBezTo>
                  <a:lnTo>
                    <a:pt x="1537" y="537"/>
                  </a:lnTo>
                  <a:cubicBezTo>
                    <a:pt x="1549" y="513"/>
                    <a:pt x="1596" y="477"/>
                    <a:pt x="1632" y="477"/>
                  </a:cubicBezTo>
                  <a:lnTo>
                    <a:pt x="1656" y="477"/>
                  </a:lnTo>
                  <a:cubicBezTo>
                    <a:pt x="1715" y="477"/>
                    <a:pt x="1775" y="525"/>
                    <a:pt x="1775" y="596"/>
                  </a:cubicBezTo>
                  <a:lnTo>
                    <a:pt x="1775" y="632"/>
                  </a:lnTo>
                  <a:lnTo>
                    <a:pt x="1775" y="1061"/>
                  </a:lnTo>
                  <a:cubicBezTo>
                    <a:pt x="1775" y="1156"/>
                    <a:pt x="1846" y="1227"/>
                    <a:pt x="1930" y="1227"/>
                  </a:cubicBezTo>
                  <a:cubicBezTo>
                    <a:pt x="2025" y="1227"/>
                    <a:pt x="2096" y="1156"/>
                    <a:pt x="2096" y="1061"/>
                  </a:cubicBezTo>
                  <a:lnTo>
                    <a:pt x="2096" y="656"/>
                  </a:lnTo>
                  <a:cubicBezTo>
                    <a:pt x="2108" y="620"/>
                    <a:pt x="2156" y="596"/>
                    <a:pt x="2203" y="596"/>
                  </a:cubicBezTo>
                  <a:lnTo>
                    <a:pt x="2215" y="596"/>
                  </a:lnTo>
                  <a:cubicBezTo>
                    <a:pt x="2275" y="596"/>
                    <a:pt x="2334" y="644"/>
                    <a:pt x="2334" y="715"/>
                  </a:cubicBezTo>
                  <a:lnTo>
                    <a:pt x="2334" y="822"/>
                  </a:lnTo>
                  <a:lnTo>
                    <a:pt x="2334" y="1156"/>
                  </a:lnTo>
                  <a:cubicBezTo>
                    <a:pt x="2334" y="1239"/>
                    <a:pt x="2406" y="1311"/>
                    <a:pt x="2501" y="1311"/>
                  </a:cubicBezTo>
                  <a:cubicBezTo>
                    <a:pt x="2584" y="1311"/>
                    <a:pt x="2668" y="1239"/>
                    <a:pt x="2668" y="1156"/>
                  </a:cubicBezTo>
                  <a:lnTo>
                    <a:pt x="2668" y="822"/>
                  </a:lnTo>
                  <a:cubicBezTo>
                    <a:pt x="2668" y="763"/>
                    <a:pt x="2703" y="703"/>
                    <a:pt x="2787" y="703"/>
                  </a:cubicBezTo>
                  <a:lnTo>
                    <a:pt x="2799" y="703"/>
                  </a:lnTo>
                  <a:cubicBezTo>
                    <a:pt x="2858" y="703"/>
                    <a:pt x="2918" y="751"/>
                    <a:pt x="2918" y="822"/>
                  </a:cubicBezTo>
                  <a:lnTo>
                    <a:pt x="2918" y="1584"/>
                  </a:lnTo>
                  <a:lnTo>
                    <a:pt x="2918" y="1596"/>
                  </a:lnTo>
                  <a:cubicBezTo>
                    <a:pt x="2930" y="1787"/>
                    <a:pt x="2918" y="2346"/>
                    <a:pt x="2632" y="2596"/>
                  </a:cubicBezTo>
                  <a:cubicBezTo>
                    <a:pt x="2608" y="2620"/>
                    <a:pt x="2572" y="2668"/>
                    <a:pt x="2572" y="2715"/>
                  </a:cubicBezTo>
                  <a:lnTo>
                    <a:pt x="2572" y="3216"/>
                  </a:lnTo>
                  <a:lnTo>
                    <a:pt x="1025" y="3216"/>
                  </a:lnTo>
                  <a:lnTo>
                    <a:pt x="1025" y="2858"/>
                  </a:lnTo>
                  <a:cubicBezTo>
                    <a:pt x="1025" y="2823"/>
                    <a:pt x="1001" y="2763"/>
                    <a:pt x="965" y="2727"/>
                  </a:cubicBezTo>
                  <a:cubicBezTo>
                    <a:pt x="929" y="2727"/>
                    <a:pt x="394" y="2311"/>
                    <a:pt x="358" y="1870"/>
                  </a:cubicBezTo>
                  <a:cubicBezTo>
                    <a:pt x="346" y="1608"/>
                    <a:pt x="334" y="1287"/>
                    <a:pt x="417" y="1215"/>
                  </a:cubicBezTo>
                  <a:cubicBezTo>
                    <a:pt x="453" y="1189"/>
                    <a:pt x="496" y="1175"/>
                    <a:pt x="560" y="1175"/>
                  </a:cubicBezTo>
                  <a:cubicBezTo>
                    <a:pt x="581" y="1175"/>
                    <a:pt x="605" y="1177"/>
                    <a:pt x="632" y="1180"/>
                  </a:cubicBezTo>
                  <a:lnTo>
                    <a:pt x="632" y="1406"/>
                  </a:lnTo>
                  <a:cubicBezTo>
                    <a:pt x="632" y="1489"/>
                    <a:pt x="703" y="1572"/>
                    <a:pt x="787" y="1572"/>
                  </a:cubicBezTo>
                  <a:cubicBezTo>
                    <a:pt x="882" y="1572"/>
                    <a:pt x="953" y="1489"/>
                    <a:pt x="953" y="1406"/>
                  </a:cubicBezTo>
                  <a:lnTo>
                    <a:pt x="953" y="441"/>
                  </a:lnTo>
                  <a:cubicBezTo>
                    <a:pt x="953" y="382"/>
                    <a:pt x="1001" y="322"/>
                    <a:pt x="1072" y="322"/>
                  </a:cubicBezTo>
                  <a:close/>
                  <a:moveTo>
                    <a:pt x="2799" y="3537"/>
                  </a:moveTo>
                  <a:lnTo>
                    <a:pt x="2799" y="4037"/>
                  </a:lnTo>
                  <a:lnTo>
                    <a:pt x="751" y="4037"/>
                  </a:lnTo>
                  <a:lnTo>
                    <a:pt x="751" y="3537"/>
                  </a:lnTo>
                  <a:close/>
                  <a:moveTo>
                    <a:pt x="2799" y="4370"/>
                  </a:moveTo>
                  <a:lnTo>
                    <a:pt x="2799" y="6525"/>
                  </a:lnTo>
                  <a:lnTo>
                    <a:pt x="751" y="6525"/>
                  </a:lnTo>
                  <a:lnTo>
                    <a:pt x="751" y="4370"/>
                  </a:lnTo>
                  <a:close/>
                  <a:moveTo>
                    <a:pt x="1072" y="1"/>
                  </a:moveTo>
                  <a:cubicBezTo>
                    <a:pt x="834" y="1"/>
                    <a:pt x="644" y="203"/>
                    <a:pt x="644" y="429"/>
                  </a:cubicBezTo>
                  <a:lnTo>
                    <a:pt x="644" y="846"/>
                  </a:lnTo>
                  <a:cubicBezTo>
                    <a:pt x="621" y="845"/>
                    <a:pt x="600" y="844"/>
                    <a:pt x="579" y="844"/>
                  </a:cubicBezTo>
                  <a:cubicBezTo>
                    <a:pt x="433" y="844"/>
                    <a:pt x="321" y="880"/>
                    <a:pt x="227" y="953"/>
                  </a:cubicBezTo>
                  <a:cubicBezTo>
                    <a:pt x="1" y="1144"/>
                    <a:pt x="13" y="1525"/>
                    <a:pt x="48" y="1882"/>
                  </a:cubicBezTo>
                  <a:cubicBezTo>
                    <a:pt x="72" y="2370"/>
                    <a:pt x="525" y="2787"/>
                    <a:pt x="679" y="2930"/>
                  </a:cubicBezTo>
                  <a:lnTo>
                    <a:pt x="679" y="3216"/>
                  </a:lnTo>
                  <a:lnTo>
                    <a:pt x="596" y="3216"/>
                  </a:lnTo>
                  <a:cubicBezTo>
                    <a:pt x="513" y="3216"/>
                    <a:pt x="429" y="3287"/>
                    <a:pt x="429" y="3382"/>
                  </a:cubicBezTo>
                  <a:lnTo>
                    <a:pt x="429" y="4216"/>
                  </a:lnTo>
                  <a:lnTo>
                    <a:pt x="429" y="6692"/>
                  </a:lnTo>
                  <a:cubicBezTo>
                    <a:pt x="429" y="6775"/>
                    <a:pt x="513" y="6847"/>
                    <a:pt x="596" y="6847"/>
                  </a:cubicBezTo>
                  <a:lnTo>
                    <a:pt x="2977" y="6847"/>
                  </a:lnTo>
                  <a:cubicBezTo>
                    <a:pt x="3061" y="6847"/>
                    <a:pt x="3144" y="6775"/>
                    <a:pt x="3144" y="6692"/>
                  </a:cubicBezTo>
                  <a:lnTo>
                    <a:pt x="3144" y="4204"/>
                  </a:lnTo>
                  <a:lnTo>
                    <a:pt x="3144" y="3370"/>
                  </a:lnTo>
                  <a:cubicBezTo>
                    <a:pt x="3120" y="3275"/>
                    <a:pt x="3049" y="3204"/>
                    <a:pt x="2965" y="3204"/>
                  </a:cubicBezTo>
                  <a:lnTo>
                    <a:pt x="2858" y="3204"/>
                  </a:lnTo>
                  <a:lnTo>
                    <a:pt x="2858" y="2763"/>
                  </a:lnTo>
                  <a:cubicBezTo>
                    <a:pt x="3263" y="2358"/>
                    <a:pt x="3215" y="1644"/>
                    <a:pt x="3204" y="1549"/>
                  </a:cubicBezTo>
                  <a:lnTo>
                    <a:pt x="3204" y="810"/>
                  </a:lnTo>
                  <a:cubicBezTo>
                    <a:pt x="3204" y="572"/>
                    <a:pt x="3013" y="382"/>
                    <a:pt x="2763" y="382"/>
                  </a:cubicBezTo>
                  <a:lnTo>
                    <a:pt x="2751" y="382"/>
                  </a:lnTo>
                  <a:cubicBezTo>
                    <a:pt x="2680" y="382"/>
                    <a:pt x="2608" y="394"/>
                    <a:pt x="2549" y="441"/>
                  </a:cubicBezTo>
                  <a:cubicBezTo>
                    <a:pt x="2465" y="334"/>
                    <a:pt x="2334" y="275"/>
                    <a:pt x="2203" y="275"/>
                  </a:cubicBezTo>
                  <a:lnTo>
                    <a:pt x="2191" y="275"/>
                  </a:lnTo>
                  <a:cubicBezTo>
                    <a:pt x="2120" y="275"/>
                    <a:pt x="2037" y="287"/>
                    <a:pt x="1977" y="322"/>
                  </a:cubicBezTo>
                  <a:cubicBezTo>
                    <a:pt x="1906" y="227"/>
                    <a:pt x="1787" y="168"/>
                    <a:pt x="1656" y="168"/>
                  </a:cubicBezTo>
                  <a:lnTo>
                    <a:pt x="1632" y="168"/>
                  </a:lnTo>
                  <a:cubicBezTo>
                    <a:pt x="1572" y="168"/>
                    <a:pt x="1525" y="179"/>
                    <a:pt x="1453" y="203"/>
                  </a:cubicBezTo>
                  <a:cubicBezTo>
                    <a:pt x="1382" y="84"/>
                    <a:pt x="1251"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0" name="Google Shape;10890;p60"/>
            <p:cNvSpPr/>
            <p:nvPr/>
          </p:nvSpPr>
          <p:spPr>
            <a:xfrm>
              <a:off x="5426250" y="1990239"/>
              <a:ext cx="191029" cy="322508"/>
            </a:xfrm>
            <a:custGeom>
              <a:avLst/>
              <a:gdLst/>
              <a:ahLst/>
              <a:cxnLst/>
              <a:rect l="l" t="t" r="r" b="b"/>
              <a:pathLst>
                <a:path w="6002" h="10133" extrusionOk="0">
                  <a:moveTo>
                    <a:pt x="584" y="298"/>
                  </a:moveTo>
                  <a:lnTo>
                    <a:pt x="977" y="322"/>
                  </a:lnTo>
                  <a:lnTo>
                    <a:pt x="870" y="584"/>
                  </a:lnTo>
                  <a:lnTo>
                    <a:pt x="584" y="298"/>
                  </a:lnTo>
                  <a:close/>
                  <a:moveTo>
                    <a:pt x="1299" y="381"/>
                  </a:moveTo>
                  <a:lnTo>
                    <a:pt x="2322" y="810"/>
                  </a:lnTo>
                  <a:lnTo>
                    <a:pt x="2203" y="1239"/>
                  </a:lnTo>
                  <a:lnTo>
                    <a:pt x="1120" y="774"/>
                  </a:lnTo>
                  <a:lnTo>
                    <a:pt x="1299" y="381"/>
                  </a:lnTo>
                  <a:close/>
                  <a:moveTo>
                    <a:pt x="4739" y="1834"/>
                  </a:moveTo>
                  <a:lnTo>
                    <a:pt x="5097" y="1977"/>
                  </a:lnTo>
                  <a:lnTo>
                    <a:pt x="4918" y="2382"/>
                  </a:lnTo>
                  <a:lnTo>
                    <a:pt x="4620" y="2263"/>
                  </a:lnTo>
                  <a:cubicBezTo>
                    <a:pt x="4632" y="2251"/>
                    <a:pt x="4632" y="2227"/>
                    <a:pt x="4632" y="2227"/>
                  </a:cubicBezTo>
                  <a:lnTo>
                    <a:pt x="4739" y="1834"/>
                  </a:lnTo>
                  <a:close/>
                  <a:moveTo>
                    <a:pt x="5406" y="2108"/>
                  </a:moveTo>
                  <a:lnTo>
                    <a:pt x="5585" y="2191"/>
                  </a:lnTo>
                  <a:cubicBezTo>
                    <a:pt x="5609" y="2203"/>
                    <a:pt x="5632" y="2215"/>
                    <a:pt x="5644" y="2251"/>
                  </a:cubicBezTo>
                  <a:cubicBezTo>
                    <a:pt x="5656" y="2274"/>
                    <a:pt x="5656" y="2298"/>
                    <a:pt x="5644" y="2322"/>
                  </a:cubicBezTo>
                  <a:lnTo>
                    <a:pt x="5549" y="2524"/>
                  </a:lnTo>
                  <a:cubicBezTo>
                    <a:pt x="5537" y="2560"/>
                    <a:pt x="5525" y="2572"/>
                    <a:pt x="5490" y="2584"/>
                  </a:cubicBezTo>
                  <a:cubicBezTo>
                    <a:pt x="5478" y="2590"/>
                    <a:pt x="5463" y="2593"/>
                    <a:pt x="5449" y="2593"/>
                  </a:cubicBezTo>
                  <a:cubicBezTo>
                    <a:pt x="5436" y="2593"/>
                    <a:pt x="5424" y="2590"/>
                    <a:pt x="5418" y="2584"/>
                  </a:cubicBezTo>
                  <a:lnTo>
                    <a:pt x="5228" y="2513"/>
                  </a:lnTo>
                  <a:lnTo>
                    <a:pt x="5406" y="2108"/>
                  </a:lnTo>
                  <a:close/>
                  <a:moveTo>
                    <a:pt x="2906" y="405"/>
                  </a:moveTo>
                  <a:cubicBezTo>
                    <a:pt x="2930" y="405"/>
                    <a:pt x="2965" y="429"/>
                    <a:pt x="2977" y="441"/>
                  </a:cubicBezTo>
                  <a:cubicBezTo>
                    <a:pt x="2989" y="477"/>
                    <a:pt x="2989" y="500"/>
                    <a:pt x="2989" y="536"/>
                  </a:cubicBezTo>
                  <a:lnTo>
                    <a:pt x="2977" y="608"/>
                  </a:lnTo>
                  <a:lnTo>
                    <a:pt x="2787" y="1262"/>
                  </a:lnTo>
                  <a:cubicBezTo>
                    <a:pt x="2751" y="1358"/>
                    <a:pt x="2811" y="1441"/>
                    <a:pt x="2882" y="1453"/>
                  </a:cubicBezTo>
                  <a:lnTo>
                    <a:pt x="2930" y="1453"/>
                  </a:lnTo>
                  <a:cubicBezTo>
                    <a:pt x="3001" y="1453"/>
                    <a:pt x="3061" y="1417"/>
                    <a:pt x="3084" y="1334"/>
                  </a:cubicBezTo>
                  <a:lnTo>
                    <a:pt x="3263" y="703"/>
                  </a:lnTo>
                  <a:cubicBezTo>
                    <a:pt x="3287" y="667"/>
                    <a:pt x="3335" y="655"/>
                    <a:pt x="3382" y="655"/>
                  </a:cubicBezTo>
                  <a:lnTo>
                    <a:pt x="3394" y="655"/>
                  </a:lnTo>
                  <a:cubicBezTo>
                    <a:pt x="3418" y="655"/>
                    <a:pt x="3454" y="679"/>
                    <a:pt x="3465" y="703"/>
                  </a:cubicBezTo>
                  <a:cubicBezTo>
                    <a:pt x="3477" y="727"/>
                    <a:pt x="3477" y="762"/>
                    <a:pt x="3477" y="786"/>
                  </a:cubicBezTo>
                  <a:lnTo>
                    <a:pt x="3323" y="1358"/>
                  </a:lnTo>
                  <a:cubicBezTo>
                    <a:pt x="3287" y="1441"/>
                    <a:pt x="3346" y="1536"/>
                    <a:pt x="3418" y="1548"/>
                  </a:cubicBezTo>
                  <a:lnTo>
                    <a:pt x="3465" y="1548"/>
                  </a:lnTo>
                  <a:cubicBezTo>
                    <a:pt x="3537" y="1548"/>
                    <a:pt x="3596" y="1501"/>
                    <a:pt x="3620" y="1429"/>
                  </a:cubicBezTo>
                  <a:lnTo>
                    <a:pt x="3763" y="905"/>
                  </a:lnTo>
                  <a:cubicBezTo>
                    <a:pt x="3794" y="885"/>
                    <a:pt x="3825" y="855"/>
                    <a:pt x="3863" y="855"/>
                  </a:cubicBezTo>
                  <a:cubicBezTo>
                    <a:pt x="3869" y="855"/>
                    <a:pt x="3876" y="856"/>
                    <a:pt x="3882" y="858"/>
                  </a:cubicBezTo>
                  <a:lnTo>
                    <a:pt x="3894" y="858"/>
                  </a:lnTo>
                  <a:cubicBezTo>
                    <a:pt x="3954" y="881"/>
                    <a:pt x="4001" y="941"/>
                    <a:pt x="3989" y="1000"/>
                  </a:cubicBezTo>
                  <a:lnTo>
                    <a:pt x="3954" y="1096"/>
                  </a:lnTo>
                  <a:lnTo>
                    <a:pt x="3823" y="1536"/>
                  </a:lnTo>
                  <a:cubicBezTo>
                    <a:pt x="3799" y="1620"/>
                    <a:pt x="3835" y="1703"/>
                    <a:pt x="3930" y="1739"/>
                  </a:cubicBezTo>
                  <a:lnTo>
                    <a:pt x="3977" y="1739"/>
                  </a:lnTo>
                  <a:cubicBezTo>
                    <a:pt x="4049" y="1739"/>
                    <a:pt x="4108" y="1691"/>
                    <a:pt x="4120" y="1620"/>
                  </a:cubicBezTo>
                  <a:lnTo>
                    <a:pt x="4251" y="1167"/>
                  </a:lnTo>
                  <a:cubicBezTo>
                    <a:pt x="4272" y="1115"/>
                    <a:pt x="4320" y="1082"/>
                    <a:pt x="4371" y="1082"/>
                  </a:cubicBezTo>
                  <a:cubicBezTo>
                    <a:pt x="4379" y="1082"/>
                    <a:pt x="4386" y="1082"/>
                    <a:pt x="4394" y="1084"/>
                  </a:cubicBezTo>
                  <a:lnTo>
                    <a:pt x="4406" y="1084"/>
                  </a:lnTo>
                  <a:cubicBezTo>
                    <a:pt x="4466" y="1096"/>
                    <a:pt x="4513" y="1155"/>
                    <a:pt x="4489" y="1215"/>
                  </a:cubicBezTo>
                  <a:lnTo>
                    <a:pt x="4251" y="2084"/>
                  </a:lnTo>
                  <a:lnTo>
                    <a:pt x="4251" y="2096"/>
                  </a:lnTo>
                  <a:cubicBezTo>
                    <a:pt x="4323" y="2191"/>
                    <a:pt x="4216" y="2870"/>
                    <a:pt x="3811" y="3084"/>
                  </a:cubicBezTo>
                  <a:cubicBezTo>
                    <a:pt x="3751" y="3108"/>
                    <a:pt x="3727" y="3167"/>
                    <a:pt x="3727" y="3227"/>
                  </a:cubicBezTo>
                  <a:lnTo>
                    <a:pt x="3727" y="3715"/>
                  </a:lnTo>
                  <a:lnTo>
                    <a:pt x="2192" y="3715"/>
                  </a:lnTo>
                  <a:lnTo>
                    <a:pt x="2192" y="2941"/>
                  </a:lnTo>
                  <a:cubicBezTo>
                    <a:pt x="2192" y="2905"/>
                    <a:pt x="2180" y="2870"/>
                    <a:pt x="2144" y="2846"/>
                  </a:cubicBezTo>
                  <a:cubicBezTo>
                    <a:pt x="2144" y="2846"/>
                    <a:pt x="1715" y="2310"/>
                    <a:pt x="1787" y="1870"/>
                  </a:cubicBezTo>
                  <a:cubicBezTo>
                    <a:pt x="1822" y="1739"/>
                    <a:pt x="1834" y="1572"/>
                    <a:pt x="1870" y="1453"/>
                  </a:cubicBezTo>
                  <a:lnTo>
                    <a:pt x="2168" y="1572"/>
                  </a:lnTo>
                  <a:cubicBezTo>
                    <a:pt x="2192" y="1620"/>
                    <a:pt x="2239" y="1667"/>
                    <a:pt x="2275" y="1679"/>
                  </a:cubicBezTo>
                  <a:cubicBezTo>
                    <a:pt x="2294" y="1686"/>
                    <a:pt x="2312" y="1690"/>
                    <a:pt x="2330" y="1690"/>
                  </a:cubicBezTo>
                  <a:cubicBezTo>
                    <a:pt x="2401" y="1690"/>
                    <a:pt x="2456" y="1636"/>
                    <a:pt x="2465" y="1560"/>
                  </a:cubicBezTo>
                  <a:lnTo>
                    <a:pt x="2751" y="489"/>
                  </a:lnTo>
                  <a:cubicBezTo>
                    <a:pt x="2751" y="465"/>
                    <a:pt x="2787" y="429"/>
                    <a:pt x="2799" y="417"/>
                  </a:cubicBezTo>
                  <a:cubicBezTo>
                    <a:pt x="2834" y="405"/>
                    <a:pt x="2858" y="405"/>
                    <a:pt x="2882" y="405"/>
                  </a:cubicBezTo>
                  <a:close/>
                  <a:moveTo>
                    <a:pt x="3942" y="4048"/>
                  </a:moveTo>
                  <a:lnTo>
                    <a:pt x="3942" y="4549"/>
                  </a:lnTo>
                  <a:lnTo>
                    <a:pt x="1894" y="4549"/>
                  </a:lnTo>
                  <a:lnTo>
                    <a:pt x="1894" y="4048"/>
                  </a:lnTo>
                  <a:close/>
                  <a:moveTo>
                    <a:pt x="191" y="0"/>
                  </a:moveTo>
                  <a:cubicBezTo>
                    <a:pt x="120" y="0"/>
                    <a:pt x="60" y="24"/>
                    <a:pt x="36" y="84"/>
                  </a:cubicBezTo>
                  <a:cubicBezTo>
                    <a:pt x="1" y="143"/>
                    <a:pt x="13" y="227"/>
                    <a:pt x="60" y="262"/>
                  </a:cubicBezTo>
                  <a:lnTo>
                    <a:pt x="822" y="1012"/>
                  </a:lnTo>
                  <a:lnTo>
                    <a:pt x="834" y="1024"/>
                  </a:lnTo>
                  <a:lnTo>
                    <a:pt x="846" y="1024"/>
                  </a:lnTo>
                  <a:cubicBezTo>
                    <a:pt x="870" y="1036"/>
                    <a:pt x="894" y="1060"/>
                    <a:pt x="906" y="1060"/>
                  </a:cubicBezTo>
                  <a:lnTo>
                    <a:pt x="1596" y="1358"/>
                  </a:lnTo>
                  <a:cubicBezTo>
                    <a:pt x="1549" y="1501"/>
                    <a:pt x="1501" y="1679"/>
                    <a:pt x="1489" y="1846"/>
                  </a:cubicBezTo>
                  <a:cubicBezTo>
                    <a:pt x="1406" y="2346"/>
                    <a:pt x="1763" y="2870"/>
                    <a:pt x="1870" y="3036"/>
                  </a:cubicBezTo>
                  <a:lnTo>
                    <a:pt x="1870" y="3763"/>
                  </a:lnTo>
                  <a:lnTo>
                    <a:pt x="1739" y="3763"/>
                  </a:lnTo>
                  <a:cubicBezTo>
                    <a:pt x="1656" y="3763"/>
                    <a:pt x="1572" y="3834"/>
                    <a:pt x="1572" y="3929"/>
                  </a:cubicBezTo>
                  <a:lnTo>
                    <a:pt x="1572" y="4763"/>
                  </a:lnTo>
                  <a:lnTo>
                    <a:pt x="1572" y="9966"/>
                  </a:lnTo>
                  <a:cubicBezTo>
                    <a:pt x="1572" y="10061"/>
                    <a:pt x="1656" y="10133"/>
                    <a:pt x="1739" y="10133"/>
                  </a:cubicBezTo>
                  <a:lnTo>
                    <a:pt x="4120" y="10133"/>
                  </a:lnTo>
                  <a:cubicBezTo>
                    <a:pt x="4216" y="10133"/>
                    <a:pt x="4287" y="10061"/>
                    <a:pt x="4287" y="9966"/>
                  </a:cubicBezTo>
                  <a:lnTo>
                    <a:pt x="4287" y="5942"/>
                  </a:lnTo>
                  <a:cubicBezTo>
                    <a:pt x="4287" y="5846"/>
                    <a:pt x="4216" y="5775"/>
                    <a:pt x="4120" y="5775"/>
                  </a:cubicBezTo>
                  <a:cubicBezTo>
                    <a:pt x="4037" y="5775"/>
                    <a:pt x="3954" y="5846"/>
                    <a:pt x="3954" y="5942"/>
                  </a:cubicBezTo>
                  <a:lnTo>
                    <a:pt x="3954" y="9811"/>
                  </a:lnTo>
                  <a:lnTo>
                    <a:pt x="1906" y="9811"/>
                  </a:lnTo>
                  <a:lnTo>
                    <a:pt x="1906" y="4930"/>
                  </a:lnTo>
                  <a:lnTo>
                    <a:pt x="3954" y="4930"/>
                  </a:lnTo>
                  <a:lnTo>
                    <a:pt x="3954" y="5191"/>
                  </a:lnTo>
                  <a:lnTo>
                    <a:pt x="3954" y="5370"/>
                  </a:lnTo>
                  <a:cubicBezTo>
                    <a:pt x="3954" y="5465"/>
                    <a:pt x="4037" y="5537"/>
                    <a:pt x="4120" y="5537"/>
                  </a:cubicBezTo>
                  <a:cubicBezTo>
                    <a:pt x="4216" y="5537"/>
                    <a:pt x="4287" y="5465"/>
                    <a:pt x="4287" y="5370"/>
                  </a:cubicBezTo>
                  <a:lnTo>
                    <a:pt x="4287" y="5191"/>
                  </a:lnTo>
                  <a:lnTo>
                    <a:pt x="4287" y="4715"/>
                  </a:lnTo>
                  <a:lnTo>
                    <a:pt x="4287" y="3882"/>
                  </a:lnTo>
                  <a:cubicBezTo>
                    <a:pt x="4287" y="3787"/>
                    <a:pt x="4216" y="3715"/>
                    <a:pt x="4120" y="3715"/>
                  </a:cubicBezTo>
                  <a:lnTo>
                    <a:pt x="4049" y="3715"/>
                  </a:lnTo>
                  <a:lnTo>
                    <a:pt x="4049" y="3298"/>
                  </a:lnTo>
                  <a:cubicBezTo>
                    <a:pt x="4323" y="3120"/>
                    <a:pt x="4466" y="2810"/>
                    <a:pt x="4549" y="2572"/>
                  </a:cubicBezTo>
                  <a:lnTo>
                    <a:pt x="5299" y="2882"/>
                  </a:lnTo>
                  <a:cubicBezTo>
                    <a:pt x="5359" y="2917"/>
                    <a:pt x="5406" y="2917"/>
                    <a:pt x="5466" y="2917"/>
                  </a:cubicBezTo>
                  <a:cubicBezTo>
                    <a:pt x="5525" y="2917"/>
                    <a:pt x="5561" y="2905"/>
                    <a:pt x="5621" y="2882"/>
                  </a:cubicBezTo>
                  <a:cubicBezTo>
                    <a:pt x="5728" y="2846"/>
                    <a:pt x="5823" y="2763"/>
                    <a:pt x="5859" y="2667"/>
                  </a:cubicBezTo>
                  <a:lnTo>
                    <a:pt x="5954" y="2453"/>
                  </a:lnTo>
                  <a:cubicBezTo>
                    <a:pt x="6002" y="2346"/>
                    <a:pt x="6002" y="2227"/>
                    <a:pt x="5954" y="2132"/>
                  </a:cubicBezTo>
                  <a:cubicBezTo>
                    <a:pt x="5906" y="2024"/>
                    <a:pt x="5835" y="1929"/>
                    <a:pt x="5728" y="1893"/>
                  </a:cubicBezTo>
                  <a:lnTo>
                    <a:pt x="4847" y="1512"/>
                  </a:lnTo>
                  <a:lnTo>
                    <a:pt x="4894" y="1370"/>
                  </a:lnTo>
                  <a:cubicBezTo>
                    <a:pt x="4930" y="1251"/>
                    <a:pt x="4906" y="1131"/>
                    <a:pt x="4835" y="1036"/>
                  </a:cubicBezTo>
                  <a:cubicBezTo>
                    <a:pt x="4775" y="941"/>
                    <a:pt x="4668" y="881"/>
                    <a:pt x="4573" y="846"/>
                  </a:cubicBezTo>
                  <a:lnTo>
                    <a:pt x="4549" y="846"/>
                  </a:lnTo>
                  <a:cubicBezTo>
                    <a:pt x="4513" y="840"/>
                    <a:pt x="4478" y="837"/>
                    <a:pt x="4442" y="837"/>
                  </a:cubicBezTo>
                  <a:cubicBezTo>
                    <a:pt x="4406" y="837"/>
                    <a:pt x="4370" y="840"/>
                    <a:pt x="4335" y="846"/>
                  </a:cubicBezTo>
                  <a:cubicBezTo>
                    <a:pt x="4275" y="727"/>
                    <a:pt x="4168" y="643"/>
                    <a:pt x="4037" y="608"/>
                  </a:cubicBezTo>
                  <a:lnTo>
                    <a:pt x="4013" y="608"/>
                  </a:lnTo>
                  <a:cubicBezTo>
                    <a:pt x="3977" y="602"/>
                    <a:pt x="3942" y="599"/>
                    <a:pt x="3907" y="599"/>
                  </a:cubicBezTo>
                  <a:cubicBezTo>
                    <a:pt x="3873" y="599"/>
                    <a:pt x="3841" y="602"/>
                    <a:pt x="3811" y="608"/>
                  </a:cubicBezTo>
                  <a:cubicBezTo>
                    <a:pt x="3811" y="596"/>
                    <a:pt x="3799" y="596"/>
                    <a:pt x="3799" y="584"/>
                  </a:cubicBezTo>
                  <a:cubicBezTo>
                    <a:pt x="3739" y="477"/>
                    <a:pt x="3632" y="417"/>
                    <a:pt x="3525" y="381"/>
                  </a:cubicBezTo>
                  <a:lnTo>
                    <a:pt x="3513" y="381"/>
                  </a:lnTo>
                  <a:cubicBezTo>
                    <a:pt x="3483" y="375"/>
                    <a:pt x="3454" y="372"/>
                    <a:pt x="3424" y="372"/>
                  </a:cubicBezTo>
                  <a:cubicBezTo>
                    <a:pt x="3394" y="372"/>
                    <a:pt x="3364" y="375"/>
                    <a:pt x="3335" y="381"/>
                  </a:cubicBezTo>
                  <a:cubicBezTo>
                    <a:pt x="3323" y="358"/>
                    <a:pt x="3299" y="322"/>
                    <a:pt x="3287" y="310"/>
                  </a:cubicBezTo>
                  <a:cubicBezTo>
                    <a:pt x="3227" y="203"/>
                    <a:pt x="3120" y="143"/>
                    <a:pt x="3025" y="119"/>
                  </a:cubicBezTo>
                  <a:lnTo>
                    <a:pt x="3001" y="119"/>
                  </a:lnTo>
                  <a:cubicBezTo>
                    <a:pt x="2964" y="108"/>
                    <a:pt x="2927" y="103"/>
                    <a:pt x="2892" y="103"/>
                  </a:cubicBezTo>
                  <a:cubicBezTo>
                    <a:pt x="2812" y="103"/>
                    <a:pt x="2737" y="130"/>
                    <a:pt x="2680" y="179"/>
                  </a:cubicBezTo>
                  <a:cubicBezTo>
                    <a:pt x="2573" y="238"/>
                    <a:pt x="2513" y="346"/>
                    <a:pt x="2489" y="441"/>
                  </a:cubicBezTo>
                  <a:lnTo>
                    <a:pt x="2453" y="548"/>
                  </a:lnTo>
                  <a:lnTo>
                    <a:pt x="1322" y="72"/>
                  </a:lnTo>
                  <a:lnTo>
                    <a:pt x="1263" y="72"/>
                  </a:lnTo>
                  <a:lnTo>
                    <a:pt x="19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1" name="Google Shape;10891;p60"/>
            <p:cNvSpPr/>
            <p:nvPr/>
          </p:nvSpPr>
          <p:spPr>
            <a:xfrm>
              <a:off x="5352728" y="2121719"/>
              <a:ext cx="103503" cy="189501"/>
            </a:xfrm>
            <a:custGeom>
              <a:avLst/>
              <a:gdLst/>
              <a:ahLst/>
              <a:cxnLst/>
              <a:rect l="l" t="t" r="r" b="b"/>
              <a:pathLst>
                <a:path w="3252" h="5954" extrusionOk="0">
                  <a:moveTo>
                    <a:pt x="1073" y="322"/>
                  </a:moveTo>
                  <a:cubicBezTo>
                    <a:pt x="1132" y="322"/>
                    <a:pt x="1192" y="358"/>
                    <a:pt x="1192" y="441"/>
                  </a:cubicBezTo>
                  <a:lnTo>
                    <a:pt x="1192" y="513"/>
                  </a:lnTo>
                  <a:lnTo>
                    <a:pt x="1192" y="1060"/>
                  </a:lnTo>
                  <a:cubicBezTo>
                    <a:pt x="1192" y="1156"/>
                    <a:pt x="1263" y="1227"/>
                    <a:pt x="1358" y="1227"/>
                  </a:cubicBezTo>
                  <a:cubicBezTo>
                    <a:pt x="1442" y="1227"/>
                    <a:pt x="1525" y="1156"/>
                    <a:pt x="1525" y="1060"/>
                  </a:cubicBezTo>
                  <a:lnTo>
                    <a:pt x="1525" y="537"/>
                  </a:lnTo>
                  <a:cubicBezTo>
                    <a:pt x="1537" y="513"/>
                    <a:pt x="1584" y="477"/>
                    <a:pt x="1620" y="477"/>
                  </a:cubicBezTo>
                  <a:lnTo>
                    <a:pt x="1644" y="477"/>
                  </a:lnTo>
                  <a:cubicBezTo>
                    <a:pt x="1704" y="477"/>
                    <a:pt x="1763" y="525"/>
                    <a:pt x="1763" y="596"/>
                  </a:cubicBezTo>
                  <a:lnTo>
                    <a:pt x="1763" y="632"/>
                  </a:lnTo>
                  <a:lnTo>
                    <a:pt x="1763" y="1060"/>
                  </a:lnTo>
                  <a:cubicBezTo>
                    <a:pt x="1763" y="1156"/>
                    <a:pt x="1835" y="1227"/>
                    <a:pt x="1918" y="1227"/>
                  </a:cubicBezTo>
                  <a:cubicBezTo>
                    <a:pt x="2013" y="1227"/>
                    <a:pt x="2085" y="1156"/>
                    <a:pt x="2085" y="1060"/>
                  </a:cubicBezTo>
                  <a:lnTo>
                    <a:pt x="2085" y="656"/>
                  </a:lnTo>
                  <a:cubicBezTo>
                    <a:pt x="2096" y="620"/>
                    <a:pt x="2144" y="596"/>
                    <a:pt x="2192" y="596"/>
                  </a:cubicBezTo>
                  <a:lnTo>
                    <a:pt x="2204" y="596"/>
                  </a:lnTo>
                  <a:cubicBezTo>
                    <a:pt x="2263" y="596"/>
                    <a:pt x="2323" y="644"/>
                    <a:pt x="2323" y="715"/>
                  </a:cubicBezTo>
                  <a:lnTo>
                    <a:pt x="2323" y="822"/>
                  </a:lnTo>
                  <a:lnTo>
                    <a:pt x="2323" y="1156"/>
                  </a:lnTo>
                  <a:cubicBezTo>
                    <a:pt x="2323" y="1239"/>
                    <a:pt x="2394" y="1311"/>
                    <a:pt x="2489" y="1311"/>
                  </a:cubicBezTo>
                  <a:cubicBezTo>
                    <a:pt x="2573" y="1311"/>
                    <a:pt x="2656" y="1239"/>
                    <a:pt x="2656" y="1156"/>
                  </a:cubicBezTo>
                  <a:lnTo>
                    <a:pt x="2656" y="822"/>
                  </a:lnTo>
                  <a:cubicBezTo>
                    <a:pt x="2656" y="763"/>
                    <a:pt x="2692" y="703"/>
                    <a:pt x="2775" y="703"/>
                  </a:cubicBezTo>
                  <a:lnTo>
                    <a:pt x="2787" y="703"/>
                  </a:lnTo>
                  <a:cubicBezTo>
                    <a:pt x="2847" y="703"/>
                    <a:pt x="2906" y="751"/>
                    <a:pt x="2906" y="822"/>
                  </a:cubicBezTo>
                  <a:lnTo>
                    <a:pt x="2906" y="1584"/>
                  </a:lnTo>
                  <a:lnTo>
                    <a:pt x="2906" y="1596"/>
                  </a:lnTo>
                  <a:cubicBezTo>
                    <a:pt x="2894" y="1775"/>
                    <a:pt x="2882" y="2323"/>
                    <a:pt x="2597" y="2584"/>
                  </a:cubicBezTo>
                  <a:cubicBezTo>
                    <a:pt x="2561" y="2608"/>
                    <a:pt x="2537" y="2656"/>
                    <a:pt x="2537" y="2704"/>
                  </a:cubicBezTo>
                  <a:lnTo>
                    <a:pt x="2537" y="3204"/>
                  </a:lnTo>
                  <a:lnTo>
                    <a:pt x="989" y="3204"/>
                  </a:lnTo>
                  <a:lnTo>
                    <a:pt x="989" y="2846"/>
                  </a:lnTo>
                  <a:cubicBezTo>
                    <a:pt x="989" y="2799"/>
                    <a:pt x="953" y="2739"/>
                    <a:pt x="930" y="2715"/>
                  </a:cubicBezTo>
                  <a:cubicBezTo>
                    <a:pt x="775" y="2596"/>
                    <a:pt x="370" y="2227"/>
                    <a:pt x="346" y="1846"/>
                  </a:cubicBezTo>
                  <a:cubicBezTo>
                    <a:pt x="334" y="1596"/>
                    <a:pt x="311" y="1275"/>
                    <a:pt x="406" y="1191"/>
                  </a:cubicBezTo>
                  <a:cubicBezTo>
                    <a:pt x="441" y="1174"/>
                    <a:pt x="482" y="1163"/>
                    <a:pt x="539" y="1163"/>
                  </a:cubicBezTo>
                  <a:cubicBezTo>
                    <a:pt x="560" y="1163"/>
                    <a:pt x="583" y="1164"/>
                    <a:pt x="608" y="1168"/>
                  </a:cubicBezTo>
                  <a:lnTo>
                    <a:pt x="608" y="1394"/>
                  </a:lnTo>
                  <a:cubicBezTo>
                    <a:pt x="608" y="1477"/>
                    <a:pt x="692" y="1549"/>
                    <a:pt x="775" y="1549"/>
                  </a:cubicBezTo>
                  <a:cubicBezTo>
                    <a:pt x="870" y="1549"/>
                    <a:pt x="942" y="1477"/>
                    <a:pt x="942" y="1394"/>
                  </a:cubicBezTo>
                  <a:lnTo>
                    <a:pt x="942" y="441"/>
                  </a:lnTo>
                  <a:cubicBezTo>
                    <a:pt x="942" y="382"/>
                    <a:pt x="989" y="322"/>
                    <a:pt x="1061" y="322"/>
                  </a:cubicBezTo>
                  <a:close/>
                  <a:moveTo>
                    <a:pt x="2799" y="3537"/>
                  </a:moveTo>
                  <a:lnTo>
                    <a:pt x="2799" y="4037"/>
                  </a:lnTo>
                  <a:lnTo>
                    <a:pt x="751" y="4037"/>
                  </a:lnTo>
                  <a:lnTo>
                    <a:pt x="751" y="3537"/>
                  </a:lnTo>
                  <a:close/>
                  <a:moveTo>
                    <a:pt x="2799" y="4347"/>
                  </a:moveTo>
                  <a:lnTo>
                    <a:pt x="2799" y="5632"/>
                  </a:lnTo>
                  <a:lnTo>
                    <a:pt x="751" y="5632"/>
                  </a:lnTo>
                  <a:lnTo>
                    <a:pt x="751" y="4347"/>
                  </a:lnTo>
                  <a:close/>
                  <a:moveTo>
                    <a:pt x="1073" y="1"/>
                  </a:moveTo>
                  <a:cubicBezTo>
                    <a:pt x="834" y="1"/>
                    <a:pt x="644" y="203"/>
                    <a:pt x="644" y="429"/>
                  </a:cubicBezTo>
                  <a:lnTo>
                    <a:pt x="644" y="846"/>
                  </a:lnTo>
                  <a:cubicBezTo>
                    <a:pt x="622" y="845"/>
                    <a:pt x="600" y="844"/>
                    <a:pt x="579" y="844"/>
                  </a:cubicBezTo>
                  <a:cubicBezTo>
                    <a:pt x="433" y="844"/>
                    <a:pt x="321" y="880"/>
                    <a:pt x="227" y="953"/>
                  </a:cubicBezTo>
                  <a:cubicBezTo>
                    <a:pt x="1" y="1144"/>
                    <a:pt x="13" y="1525"/>
                    <a:pt x="49" y="1882"/>
                  </a:cubicBezTo>
                  <a:cubicBezTo>
                    <a:pt x="84" y="2370"/>
                    <a:pt x="525" y="2787"/>
                    <a:pt x="692" y="2930"/>
                  </a:cubicBezTo>
                  <a:lnTo>
                    <a:pt x="692" y="3216"/>
                  </a:lnTo>
                  <a:lnTo>
                    <a:pt x="596" y="3216"/>
                  </a:lnTo>
                  <a:cubicBezTo>
                    <a:pt x="513" y="3216"/>
                    <a:pt x="441" y="3287"/>
                    <a:pt x="441" y="3382"/>
                  </a:cubicBezTo>
                  <a:lnTo>
                    <a:pt x="441" y="4216"/>
                  </a:lnTo>
                  <a:lnTo>
                    <a:pt x="441" y="5799"/>
                  </a:lnTo>
                  <a:cubicBezTo>
                    <a:pt x="441" y="5882"/>
                    <a:pt x="513" y="5954"/>
                    <a:pt x="596" y="5954"/>
                  </a:cubicBezTo>
                  <a:lnTo>
                    <a:pt x="2978" y="5954"/>
                  </a:lnTo>
                  <a:cubicBezTo>
                    <a:pt x="3073" y="5954"/>
                    <a:pt x="3144" y="5882"/>
                    <a:pt x="3144" y="5799"/>
                  </a:cubicBezTo>
                  <a:lnTo>
                    <a:pt x="3144" y="4204"/>
                  </a:lnTo>
                  <a:lnTo>
                    <a:pt x="3144" y="3370"/>
                  </a:lnTo>
                  <a:cubicBezTo>
                    <a:pt x="3144" y="3275"/>
                    <a:pt x="3073" y="3204"/>
                    <a:pt x="2978" y="3204"/>
                  </a:cubicBezTo>
                  <a:lnTo>
                    <a:pt x="2882" y="3204"/>
                  </a:lnTo>
                  <a:lnTo>
                    <a:pt x="2882" y="2763"/>
                  </a:lnTo>
                  <a:cubicBezTo>
                    <a:pt x="3251" y="2370"/>
                    <a:pt x="3204" y="1644"/>
                    <a:pt x="3204" y="1549"/>
                  </a:cubicBezTo>
                  <a:lnTo>
                    <a:pt x="3204" y="810"/>
                  </a:lnTo>
                  <a:cubicBezTo>
                    <a:pt x="3204" y="572"/>
                    <a:pt x="3013" y="382"/>
                    <a:pt x="2775" y="382"/>
                  </a:cubicBezTo>
                  <a:lnTo>
                    <a:pt x="2763" y="382"/>
                  </a:lnTo>
                  <a:cubicBezTo>
                    <a:pt x="2680" y="382"/>
                    <a:pt x="2608" y="394"/>
                    <a:pt x="2549" y="441"/>
                  </a:cubicBezTo>
                  <a:cubicBezTo>
                    <a:pt x="2477" y="334"/>
                    <a:pt x="2335" y="275"/>
                    <a:pt x="2204" y="275"/>
                  </a:cubicBezTo>
                  <a:lnTo>
                    <a:pt x="2192" y="275"/>
                  </a:lnTo>
                  <a:cubicBezTo>
                    <a:pt x="2120" y="275"/>
                    <a:pt x="2049" y="287"/>
                    <a:pt x="1989" y="322"/>
                  </a:cubicBezTo>
                  <a:cubicBezTo>
                    <a:pt x="1906" y="227"/>
                    <a:pt x="1787" y="168"/>
                    <a:pt x="1656" y="168"/>
                  </a:cubicBezTo>
                  <a:lnTo>
                    <a:pt x="1644" y="168"/>
                  </a:lnTo>
                  <a:cubicBezTo>
                    <a:pt x="1584" y="168"/>
                    <a:pt x="1525" y="179"/>
                    <a:pt x="1465" y="203"/>
                  </a:cubicBezTo>
                  <a:cubicBezTo>
                    <a:pt x="1394" y="84"/>
                    <a:pt x="1251"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2" name="Google Shape;10892;p60"/>
          <p:cNvGrpSpPr/>
          <p:nvPr/>
        </p:nvGrpSpPr>
        <p:grpSpPr>
          <a:xfrm>
            <a:off x="7538896" y="1970156"/>
            <a:ext cx="361147" cy="361529"/>
            <a:chOff x="7538896" y="1970156"/>
            <a:chExt cx="361147" cy="361529"/>
          </a:xfrm>
        </p:grpSpPr>
        <p:sp>
          <p:nvSpPr>
            <p:cNvPr id="10893" name="Google Shape;10893;p60"/>
            <p:cNvSpPr/>
            <p:nvPr/>
          </p:nvSpPr>
          <p:spPr>
            <a:xfrm>
              <a:off x="7538896" y="1970156"/>
              <a:ext cx="361147" cy="361529"/>
            </a:xfrm>
            <a:custGeom>
              <a:avLst/>
              <a:gdLst/>
              <a:ahLst/>
              <a:cxnLst/>
              <a:rect l="l" t="t" r="r" b="b"/>
              <a:pathLst>
                <a:path w="11347" h="11359" extrusionOk="0">
                  <a:moveTo>
                    <a:pt x="8918" y="584"/>
                  </a:moveTo>
                  <a:lnTo>
                    <a:pt x="9477" y="1155"/>
                  </a:lnTo>
                  <a:lnTo>
                    <a:pt x="9632" y="1298"/>
                  </a:lnTo>
                  <a:lnTo>
                    <a:pt x="10239" y="1905"/>
                  </a:lnTo>
                  <a:lnTo>
                    <a:pt x="10704" y="2370"/>
                  </a:lnTo>
                  <a:lnTo>
                    <a:pt x="8918" y="2370"/>
                  </a:lnTo>
                  <a:lnTo>
                    <a:pt x="8918" y="584"/>
                  </a:lnTo>
                  <a:close/>
                  <a:moveTo>
                    <a:pt x="2631" y="4644"/>
                  </a:moveTo>
                  <a:cubicBezTo>
                    <a:pt x="3322" y="4644"/>
                    <a:pt x="3882" y="5215"/>
                    <a:pt x="3882" y="5894"/>
                  </a:cubicBezTo>
                  <a:lnTo>
                    <a:pt x="3882" y="6192"/>
                  </a:lnTo>
                  <a:lnTo>
                    <a:pt x="3810" y="6192"/>
                  </a:lnTo>
                  <a:cubicBezTo>
                    <a:pt x="3429" y="6108"/>
                    <a:pt x="3310" y="5596"/>
                    <a:pt x="3286" y="5596"/>
                  </a:cubicBezTo>
                  <a:cubicBezTo>
                    <a:pt x="3274" y="5525"/>
                    <a:pt x="3215" y="5477"/>
                    <a:pt x="3155" y="5465"/>
                  </a:cubicBezTo>
                  <a:cubicBezTo>
                    <a:pt x="3143" y="5463"/>
                    <a:pt x="3132" y="5462"/>
                    <a:pt x="3121" y="5462"/>
                  </a:cubicBezTo>
                  <a:cubicBezTo>
                    <a:pt x="3064" y="5462"/>
                    <a:pt x="3016" y="5487"/>
                    <a:pt x="2977" y="5537"/>
                  </a:cubicBezTo>
                  <a:cubicBezTo>
                    <a:pt x="2477" y="6156"/>
                    <a:pt x="1429" y="6156"/>
                    <a:pt x="1417" y="6156"/>
                  </a:cubicBezTo>
                  <a:lnTo>
                    <a:pt x="1298" y="6156"/>
                  </a:lnTo>
                  <a:lnTo>
                    <a:pt x="1286" y="6168"/>
                  </a:lnTo>
                  <a:lnTo>
                    <a:pt x="1262" y="6180"/>
                  </a:lnTo>
                  <a:lnTo>
                    <a:pt x="1262" y="5894"/>
                  </a:lnTo>
                  <a:cubicBezTo>
                    <a:pt x="1262" y="5215"/>
                    <a:pt x="1834" y="4644"/>
                    <a:pt x="2512" y="4644"/>
                  </a:cubicBezTo>
                  <a:close/>
                  <a:moveTo>
                    <a:pt x="1238" y="6644"/>
                  </a:moveTo>
                  <a:lnTo>
                    <a:pt x="1238" y="7192"/>
                  </a:lnTo>
                  <a:cubicBezTo>
                    <a:pt x="1107" y="7180"/>
                    <a:pt x="1000" y="7061"/>
                    <a:pt x="1000" y="6930"/>
                  </a:cubicBezTo>
                  <a:cubicBezTo>
                    <a:pt x="1000" y="6846"/>
                    <a:pt x="1024" y="6775"/>
                    <a:pt x="1084" y="6715"/>
                  </a:cubicBezTo>
                  <a:cubicBezTo>
                    <a:pt x="1143" y="6715"/>
                    <a:pt x="1191" y="6692"/>
                    <a:pt x="1226" y="6644"/>
                  </a:cubicBezTo>
                  <a:close/>
                  <a:moveTo>
                    <a:pt x="3929" y="6656"/>
                  </a:moveTo>
                  <a:cubicBezTo>
                    <a:pt x="3965" y="6680"/>
                    <a:pt x="4001" y="6715"/>
                    <a:pt x="4048" y="6715"/>
                  </a:cubicBezTo>
                  <a:cubicBezTo>
                    <a:pt x="4108" y="6763"/>
                    <a:pt x="4132" y="6835"/>
                    <a:pt x="4132" y="6918"/>
                  </a:cubicBezTo>
                  <a:cubicBezTo>
                    <a:pt x="4155" y="7061"/>
                    <a:pt x="4048" y="7180"/>
                    <a:pt x="3917" y="7192"/>
                  </a:cubicBezTo>
                  <a:lnTo>
                    <a:pt x="3917" y="6656"/>
                  </a:lnTo>
                  <a:close/>
                  <a:moveTo>
                    <a:pt x="3036" y="5942"/>
                  </a:moveTo>
                  <a:cubicBezTo>
                    <a:pt x="3120" y="6132"/>
                    <a:pt x="3286" y="6358"/>
                    <a:pt x="3572" y="6465"/>
                  </a:cubicBezTo>
                  <a:lnTo>
                    <a:pt x="3572" y="7227"/>
                  </a:lnTo>
                  <a:cubicBezTo>
                    <a:pt x="3560" y="7704"/>
                    <a:pt x="3167" y="8085"/>
                    <a:pt x="2691" y="8085"/>
                  </a:cubicBezTo>
                  <a:lnTo>
                    <a:pt x="2477" y="8085"/>
                  </a:lnTo>
                  <a:cubicBezTo>
                    <a:pt x="2000" y="8085"/>
                    <a:pt x="1607" y="7692"/>
                    <a:pt x="1607" y="7227"/>
                  </a:cubicBezTo>
                  <a:lnTo>
                    <a:pt x="1607" y="6501"/>
                  </a:lnTo>
                  <a:cubicBezTo>
                    <a:pt x="1917" y="6477"/>
                    <a:pt x="2572" y="6370"/>
                    <a:pt x="3036" y="5942"/>
                  </a:cubicBezTo>
                  <a:close/>
                  <a:moveTo>
                    <a:pt x="2917" y="8418"/>
                  </a:moveTo>
                  <a:lnTo>
                    <a:pt x="2917" y="8656"/>
                  </a:lnTo>
                  <a:lnTo>
                    <a:pt x="2917" y="8668"/>
                  </a:lnTo>
                  <a:lnTo>
                    <a:pt x="2572" y="9025"/>
                  </a:lnTo>
                  <a:lnTo>
                    <a:pt x="2250" y="8692"/>
                  </a:lnTo>
                  <a:lnTo>
                    <a:pt x="2250" y="8418"/>
                  </a:lnTo>
                  <a:cubicBezTo>
                    <a:pt x="2322" y="8430"/>
                    <a:pt x="2393" y="8430"/>
                    <a:pt x="2477" y="8430"/>
                  </a:cubicBezTo>
                  <a:lnTo>
                    <a:pt x="2691" y="8430"/>
                  </a:lnTo>
                  <a:cubicBezTo>
                    <a:pt x="2774" y="8430"/>
                    <a:pt x="2846" y="8418"/>
                    <a:pt x="2917" y="8418"/>
                  </a:cubicBezTo>
                  <a:close/>
                  <a:moveTo>
                    <a:pt x="8561" y="346"/>
                  </a:moveTo>
                  <a:lnTo>
                    <a:pt x="8561" y="2560"/>
                  </a:lnTo>
                  <a:cubicBezTo>
                    <a:pt x="8561" y="2667"/>
                    <a:pt x="8632" y="2739"/>
                    <a:pt x="8739" y="2739"/>
                  </a:cubicBezTo>
                  <a:lnTo>
                    <a:pt x="10954" y="2739"/>
                  </a:lnTo>
                  <a:lnTo>
                    <a:pt x="10954" y="10954"/>
                  </a:lnTo>
                  <a:lnTo>
                    <a:pt x="5167" y="10954"/>
                  </a:lnTo>
                  <a:lnTo>
                    <a:pt x="5167" y="10263"/>
                  </a:lnTo>
                  <a:cubicBezTo>
                    <a:pt x="5167" y="9454"/>
                    <a:pt x="4608" y="9049"/>
                    <a:pt x="4310" y="8954"/>
                  </a:cubicBezTo>
                  <a:lnTo>
                    <a:pt x="3274" y="8537"/>
                  </a:lnTo>
                  <a:lnTo>
                    <a:pt x="3274" y="8311"/>
                  </a:lnTo>
                  <a:cubicBezTo>
                    <a:pt x="3560" y="8156"/>
                    <a:pt x="3786" y="7894"/>
                    <a:pt x="3870" y="7561"/>
                  </a:cubicBezTo>
                  <a:cubicBezTo>
                    <a:pt x="4215" y="7561"/>
                    <a:pt x="4489" y="7287"/>
                    <a:pt x="4489" y="6930"/>
                  </a:cubicBezTo>
                  <a:cubicBezTo>
                    <a:pt x="4489" y="6715"/>
                    <a:pt x="4394" y="6525"/>
                    <a:pt x="4239" y="6418"/>
                  </a:cubicBezTo>
                  <a:lnTo>
                    <a:pt x="4239" y="5942"/>
                  </a:lnTo>
                  <a:cubicBezTo>
                    <a:pt x="4239" y="5108"/>
                    <a:pt x="3620" y="4429"/>
                    <a:pt x="2810" y="4346"/>
                  </a:cubicBezTo>
                  <a:lnTo>
                    <a:pt x="2810" y="346"/>
                  </a:lnTo>
                  <a:close/>
                  <a:moveTo>
                    <a:pt x="2679" y="0"/>
                  </a:moveTo>
                  <a:cubicBezTo>
                    <a:pt x="2572" y="0"/>
                    <a:pt x="2500" y="72"/>
                    <a:pt x="2500" y="179"/>
                  </a:cubicBezTo>
                  <a:lnTo>
                    <a:pt x="2500" y="4358"/>
                  </a:lnTo>
                  <a:cubicBezTo>
                    <a:pt x="1643" y="4394"/>
                    <a:pt x="953" y="5108"/>
                    <a:pt x="953" y="5965"/>
                  </a:cubicBezTo>
                  <a:lnTo>
                    <a:pt x="953" y="6442"/>
                  </a:lnTo>
                  <a:cubicBezTo>
                    <a:pt x="786" y="6561"/>
                    <a:pt x="691" y="6739"/>
                    <a:pt x="691" y="6954"/>
                  </a:cubicBezTo>
                  <a:cubicBezTo>
                    <a:pt x="691" y="7299"/>
                    <a:pt x="965" y="7597"/>
                    <a:pt x="1322" y="7597"/>
                  </a:cubicBezTo>
                  <a:cubicBezTo>
                    <a:pt x="1417" y="7918"/>
                    <a:pt x="1643" y="8192"/>
                    <a:pt x="1917" y="8335"/>
                  </a:cubicBezTo>
                  <a:lnTo>
                    <a:pt x="1917" y="8561"/>
                  </a:lnTo>
                  <a:lnTo>
                    <a:pt x="845" y="8978"/>
                  </a:lnTo>
                  <a:cubicBezTo>
                    <a:pt x="548" y="9085"/>
                    <a:pt x="0" y="9478"/>
                    <a:pt x="0" y="10287"/>
                  </a:cubicBezTo>
                  <a:lnTo>
                    <a:pt x="0" y="11180"/>
                  </a:lnTo>
                  <a:cubicBezTo>
                    <a:pt x="0" y="11287"/>
                    <a:pt x="72" y="11359"/>
                    <a:pt x="179" y="11359"/>
                  </a:cubicBezTo>
                  <a:lnTo>
                    <a:pt x="965" y="11359"/>
                  </a:lnTo>
                  <a:cubicBezTo>
                    <a:pt x="1072" y="11359"/>
                    <a:pt x="1143" y="11287"/>
                    <a:pt x="1143" y="11180"/>
                  </a:cubicBezTo>
                  <a:cubicBezTo>
                    <a:pt x="1143" y="11073"/>
                    <a:pt x="1072" y="11002"/>
                    <a:pt x="965" y="11002"/>
                  </a:cubicBezTo>
                  <a:lnTo>
                    <a:pt x="357" y="11002"/>
                  </a:lnTo>
                  <a:lnTo>
                    <a:pt x="357" y="10263"/>
                  </a:lnTo>
                  <a:cubicBezTo>
                    <a:pt x="357" y="9513"/>
                    <a:pt x="941" y="9287"/>
                    <a:pt x="965" y="9287"/>
                  </a:cubicBezTo>
                  <a:lnTo>
                    <a:pt x="988" y="9287"/>
                  </a:lnTo>
                  <a:lnTo>
                    <a:pt x="1965" y="8906"/>
                  </a:lnTo>
                  <a:lnTo>
                    <a:pt x="1977" y="8918"/>
                  </a:lnTo>
                  <a:lnTo>
                    <a:pt x="2500" y="9430"/>
                  </a:lnTo>
                  <a:cubicBezTo>
                    <a:pt x="2536" y="9454"/>
                    <a:pt x="2572" y="9466"/>
                    <a:pt x="2619" y="9466"/>
                  </a:cubicBezTo>
                  <a:cubicBezTo>
                    <a:pt x="2667" y="9466"/>
                    <a:pt x="2715" y="9454"/>
                    <a:pt x="2739" y="9406"/>
                  </a:cubicBezTo>
                  <a:lnTo>
                    <a:pt x="3251" y="8894"/>
                  </a:lnTo>
                  <a:lnTo>
                    <a:pt x="4227" y="9275"/>
                  </a:lnTo>
                  <a:lnTo>
                    <a:pt x="4239" y="9275"/>
                  </a:lnTo>
                  <a:cubicBezTo>
                    <a:pt x="4239" y="9275"/>
                    <a:pt x="4858" y="9490"/>
                    <a:pt x="4858" y="10240"/>
                  </a:cubicBezTo>
                  <a:lnTo>
                    <a:pt x="4858" y="10954"/>
                  </a:lnTo>
                  <a:lnTo>
                    <a:pt x="1607" y="10954"/>
                  </a:lnTo>
                  <a:cubicBezTo>
                    <a:pt x="1500" y="10954"/>
                    <a:pt x="1429" y="11037"/>
                    <a:pt x="1429" y="11133"/>
                  </a:cubicBezTo>
                  <a:cubicBezTo>
                    <a:pt x="1429" y="11240"/>
                    <a:pt x="1500" y="11311"/>
                    <a:pt x="1607" y="11311"/>
                  </a:cubicBezTo>
                  <a:lnTo>
                    <a:pt x="11168" y="11311"/>
                  </a:lnTo>
                  <a:cubicBezTo>
                    <a:pt x="11263" y="11311"/>
                    <a:pt x="11347" y="11240"/>
                    <a:pt x="11347" y="11133"/>
                  </a:cubicBezTo>
                  <a:lnTo>
                    <a:pt x="11311" y="2536"/>
                  </a:lnTo>
                  <a:lnTo>
                    <a:pt x="11311" y="2501"/>
                  </a:lnTo>
                  <a:lnTo>
                    <a:pt x="11311" y="2489"/>
                  </a:lnTo>
                  <a:cubicBezTo>
                    <a:pt x="11311" y="2489"/>
                    <a:pt x="11311" y="2477"/>
                    <a:pt x="11299" y="2477"/>
                  </a:cubicBezTo>
                  <a:lnTo>
                    <a:pt x="11287" y="2465"/>
                  </a:lnTo>
                  <a:lnTo>
                    <a:pt x="11263" y="2441"/>
                  </a:lnTo>
                  <a:lnTo>
                    <a:pt x="9882" y="1060"/>
                  </a:lnTo>
                  <a:lnTo>
                    <a:pt x="8870" y="48"/>
                  </a:lnTo>
                  <a:lnTo>
                    <a:pt x="8858" y="36"/>
                  </a:lnTo>
                  <a:lnTo>
                    <a:pt x="8846" y="12"/>
                  </a:lnTo>
                  <a:cubicBezTo>
                    <a:pt x="8846" y="12"/>
                    <a:pt x="8823" y="12"/>
                    <a:pt x="8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4" name="Google Shape;10894;p60"/>
            <p:cNvSpPr/>
            <p:nvPr/>
          </p:nvSpPr>
          <p:spPr>
            <a:xfrm>
              <a:off x="7685907" y="2066784"/>
              <a:ext cx="101211" cy="11394"/>
            </a:xfrm>
            <a:custGeom>
              <a:avLst/>
              <a:gdLst/>
              <a:ahLst/>
              <a:cxnLst/>
              <a:rect l="l" t="t" r="r" b="b"/>
              <a:pathLst>
                <a:path w="3180" h="358" extrusionOk="0">
                  <a:moveTo>
                    <a:pt x="179" y="0"/>
                  </a:moveTo>
                  <a:cubicBezTo>
                    <a:pt x="72" y="0"/>
                    <a:pt x="1" y="84"/>
                    <a:pt x="1" y="179"/>
                  </a:cubicBezTo>
                  <a:cubicBezTo>
                    <a:pt x="1" y="286"/>
                    <a:pt x="72" y="358"/>
                    <a:pt x="179" y="358"/>
                  </a:cubicBezTo>
                  <a:lnTo>
                    <a:pt x="3001" y="358"/>
                  </a:lnTo>
                  <a:cubicBezTo>
                    <a:pt x="3108" y="358"/>
                    <a:pt x="3180" y="286"/>
                    <a:pt x="3180" y="179"/>
                  </a:cubicBezTo>
                  <a:cubicBezTo>
                    <a:pt x="3180" y="84"/>
                    <a:pt x="3108" y="0"/>
                    <a:pt x="3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5" name="Google Shape;10895;p60"/>
            <p:cNvSpPr/>
            <p:nvPr/>
          </p:nvSpPr>
          <p:spPr>
            <a:xfrm>
              <a:off x="7685907" y="2106187"/>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72"/>
                    <a:pt x="4549"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6" name="Google Shape;10896;p60"/>
            <p:cNvSpPr/>
            <p:nvPr/>
          </p:nvSpPr>
          <p:spPr>
            <a:xfrm>
              <a:off x="7685907" y="2145239"/>
              <a:ext cx="147075" cy="11394"/>
            </a:xfrm>
            <a:custGeom>
              <a:avLst/>
              <a:gdLst/>
              <a:ahLst/>
              <a:cxnLst/>
              <a:rect l="l" t="t" r="r" b="b"/>
              <a:pathLst>
                <a:path w="4621" h="358" extrusionOk="0">
                  <a:moveTo>
                    <a:pt x="179" y="0"/>
                  </a:moveTo>
                  <a:cubicBezTo>
                    <a:pt x="72" y="0"/>
                    <a:pt x="1" y="71"/>
                    <a:pt x="1" y="179"/>
                  </a:cubicBezTo>
                  <a:cubicBezTo>
                    <a:pt x="1" y="274"/>
                    <a:pt x="72" y="357"/>
                    <a:pt x="179" y="357"/>
                  </a:cubicBezTo>
                  <a:lnTo>
                    <a:pt x="4442" y="357"/>
                  </a:lnTo>
                  <a:cubicBezTo>
                    <a:pt x="4549" y="357"/>
                    <a:pt x="4620" y="274"/>
                    <a:pt x="4620" y="179"/>
                  </a:cubicBezTo>
                  <a:cubicBezTo>
                    <a:pt x="4620" y="83"/>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7" name="Google Shape;10897;p60"/>
            <p:cNvSpPr/>
            <p:nvPr/>
          </p:nvSpPr>
          <p:spPr>
            <a:xfrm>
              <a:off x="7685907" y="2184260"/>
              <a:ext cx="147075" cy="11394"/>
            </a:xfrm>
            <a:custGeom>
              <a:avLst/>
              <a:gdLst/>
              <a:ahLst/>
              <a:cxnLst/>
              <a:rect l="l" t="t" r="r" b="b"/>
              <a:pathLst>
                <a:path w="4621" h="358" extrusionOk="0">
                  <a:moveTo>
                    <a:pt x="179" y="0"/>
                  </a:moveTo>
                  <a:cubicBezTo>
                    <a:pt x="72" y="0"/>
                    <a:pt x="1" y="84"/>
                    <a:pt x="1" y="179"/>
                  </a:cubicBezTo>
                  <a:cubicBezTo>
                    <a:pt x="1" y="286"/>
                    <a:pt x="72" y="358"/>
                    <a:pt x="179" y="358"/>
                  </a:cubicBezTo>
                  <a:lnTo>
                    <a:pt x="4442" y="358"/>
                  </a:lnTo>
                  <a:cubicBezTo>
                    <a:pt x="4549" y="358"/>
                    <a:pt x="4620" y="286"/>
                    <a:pt x="4620" y="179"/>
                  </a:cubicBezTo>
                  <a:cubicBezTo>
                    <a:pt x="4620" y="84"/>
                    <a:pt x="4537"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8" name="Google Shape;10898;p60"/>
            <p:cNvSpPr/>
            <p:nvPr/>
          </p:nvSpPr>
          <p:spPr>
            <a:xfrm>
              <a:off x="7685907" y="2223280"/>
              <a:ext cx="147075" cy="11394"/>
            </a:xfrm>
            <a:custGeom>
              <a:avLst/>
              <a:gdLst/>
              <a:ahLst/>
              <a:cxnLst/>
              <a:rect l="l" t="t" r="r" b="b"/>
              <a:pathLst>
                <a:path w="4621" h="358" extrusionOk="0">
                  <a:moveTo>
                    <a:pt x="179" y="1"/>
                  </a:moveTo>
                  <a:cubicBezTo>
                    <a:pt x="72" y="1"/>
                    <a:pt x="1" y="72"/>
                    <a:pt x="1" y="179"/>
                  </a:cubicBezTo>
                  <a:cubicBezTo>
                    <a:pt x="1" y="286"/>
                    <a:pt x="72" y="358"/>
                    <a:pt x="179" y="358"/>
                  </a:cubicBezTo>
                  <a:lnTo>
                    <a:pt x="4442" y="358"/>
                  </a:lnTo>
                  <a:cubicBezTo>
                    <a:pt x="4549" y="358"/>
                    <a:pt x="4620" y="286"/>
                    <a:pt x="4620" y="179"/>
                  </a:cubicBezTo>
                  <a:cubicBezTo>
                    <a:pt x="4620" y="84"/>
                    <a:pt x="4537"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99" name="Google Shape;10899;p60"/>
          <p:cNvGrpSpPr/>
          <p:nvPr/>
        </p:nvGrpSpPr>
        <p:grpSpPr>
          <a:xfrm>
            <a:off x="4896099" y="1970920"/>
            <a:ext cx="358155" cy="358123"/>
            <a:chOff x="4896099" y="1970920"/>
            <a:chExt cx="358155" cy="358123"/>
          </a:xfrm>
        </p:grpSpPr>
        <p:sp>
          <p:nvSpPr>
            <p:cNvPr id="10900" name="Google Shape;10900;p60"/>
            <p:cNvSpPr/>
            <p:nvPr/>
          </p:nvSpPr>
          <p:spPr>
            <a:xfrm>
              <a:off x="4896099" y="1970920"/>
              <a:ext cx="358155" cy="358123"/>
            </a:xfrm>
            <a:custGeom>
              <a:avLst/>
              <a:gdLst/>
              <a:ahLst/>
              <a:cxnLst/>
              <a:rect l="l" t="t" r="r" b="b"/>
              <a:pathLst>
                <a:path w="11253" h="11252" extrusionOk="0">
                  <a:moveTo>
                    <a:pt x="5621" y="0"/>
                  </a:moveTo>
                  <a:cubicBezTo>
                    <a:pt x="4109" y="0"/>
                    <a:pt x="2704" y="595"/>
                    <a:pt x="1644" y="1643"/>
                  </a:cubicBezTo>
                  <a:cubicBezTo>
                    <a:pt x="584" y="2715"/>
                    <a:pt x="1" y="4132"/>
                    <a:pt x="1" y="5632"/>
                  </a:cubicBezTo>
                  <a:cubicBezTo>
                    <a:pt x="1" y="6930"/>
                    <a:pt x="465" y="8192"/>
                    <a:pt x="1263" y="9192"/>
                  </a:cubicBezTo>
                  <a:cubicBezTo>
                    <a:pt x="1300" y="9235"/>
                    <a:pt x="1343" y="9252"/>
                    <a:pt x="1386" y="9252"/>
                  </a:cubicBezTo>
                  <a:cubicBezTo>
                    <a:pt x="1509" y="9252"/>
                    <a:pt x="1622" y="9104"/>
                    <a:pt x="1525" y="8989"/>
                  </a:cubicBezTo>
                  <a:cubicBezTo>
                    <a:pt x="751" y="8049"/>
                    <a:pt x="334" y="6858"/>
                    <a:pt x="334" y="5632"/>
                  </a:cubicBezTo>
                  <a:cubicBezTo>
                    <a:pt x="334" y="4227"/>
                    <a:pt x="882" y="2881"/>
                    <a:pt x="1882" y="1881"/>
                  </a:cubicBezTo>
                  <a:cubicBezTo>
                    <a:pt x="2882" y="893"/>
                    <a:pt x="4204" y="322"/>
                    <a:pt x="5621" y="322"/>
                  </a:cubicBezTo>
                  <a:cubicBezTo>
                    <a:pt x="7026" y="322"/>
                    <a:pt x="8371" y="869"/>
                    <a:pt x="9371" y="1869"/>
                  </a:cubicBezTo>
                  <a:cubicBezTo>
                    <a:pt x="10359" y="2870"/>
                    <a:pt x="10931" y="4191"/>
                    <a:pt x="10931" y="5608"/>
                  </a:cubicBezTo>
                  <a:cubicBezTo>
                    <a:pt x="10931" y="7025"/>
                    <a:pt x="10383" y="8358"/>
                    <a:pt x="9383" y="9358"/>
                  </a:cubicBezTo>
                  <a:cubicBezTo>
                    <a:pt x="8383" y="10359"/>
                    <a:pt x="7061" y="10918"/>
                    <a:pt x="5644" y="10918"/>
                  </a:cubicBezTo>
                  <a:cubicBezTo>
                    <a:pt x="4323" y="10918"/>
                    <a:pt x="3037" y="10430"/>
                    <a:pt x="2061" y="9537"/>
                  </a:cubicBezTo>
                  <a:cubicBezTo>
                    <a:pt x="2025" y="9504"/>
                    <a:pt x="1987" y="9490"/>
                    <a:pt x="1951" y="9490"/>
                  </a:cubicBezTo>
                  <a:cubicBezTo>
                    <a:pt x="1823" y="9490"/>
                    <a:pt x="1723" y="9673"/>
                    <a:pt x="1834" y="9775"/>
                  </a:cubicBezTo>
                  <a:cubicBezTo>
                    <a:pt x="2882" y="10728"/>
                    <a:pt x="4228" y="11252"/>
                    <a:pt x="5644" y="11252"/>
                  </a:cubicBezTo>
                  <a:cubicBezTo>
                    <a:pt x="7145" y="11252"/>
                    <a:pt x="8562" y="10656"/>
                    <a:pt x="9621" y="9597"/>
                  </a:cubicBezTo>
                  <a:cubicBezTo>
                    <a:pt x="10681" y="8525"/>
                    <a:pt x="11252" y="7108"/>
                    <a:pt x="11252" y="5608"/>
                  </a:cubicBezTo>
                  <a:cubicBezTo>
                    <a:pt x="11252" y="4120"/>
                    <a:pt x="10657" y="2703"/>
                    <a:pt x="9597" y="1631"/>
                  </a:cubicBezTo>
                  <a:cubicBezTo>
                    <a:pt x="8526"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1" name="Google Shape;10901;p60"/>
            <p:cNvSpPr/>
            <p:nvPr/>
          </p:nvSpPr>
          <p:spPr>
            <a:xfrm>
              <a:off x="4991454" y="2067835"/>
              <a:ext cx="166999" cy="164325"/>
            </a:xfrm>
            <a:custGeom>
              <a:avLst/>
              <a:gdLst/>
              <a:ahLst/>
              <a:cxnLst/>
              <a:rect l="l" t="t" r="r" b="b"/>
              <a:pathLst>
                <a:path w="5247" h="5163" extrusionOk="0">
                  <a:moveTo>
                    <a:pt x="4506" y="706"/>
                  </a:moveTo>
                  <a:lnTo>
                    <a:pt x="3160" y="2861"/>
                  </a:lnTo>
                  <a:lnTo>
                    <a:pt x="2351" y="2075"/>
                  </a:lnTo>
                  <a:lnTo>
                    <a:pt x="4506" y="706"/>
                  </a:lnTo>
                  <a:close/>
                  <a:moveTo>
                    <a:pt x="2113" y="2289"/>
                  </a:moveTo>
                  <a:lnTo>
                    <a:pt x="2922" y="3099"/>
                  </a:lnTo>
                  <a:lnTo>
                    <a:pt x="755" y="4468"/>
                  </a:lnTo>
                  <a:lnTo>
                    <a:pt x="755" y="4468"/>
                  </a:lnTo>
                  <a:lnTo>
                    <a:pt x="2113" y="2289"/>
                  </a:lnTo>
                  <a:close/>
                  <a:moveTo>
                    <a:pt x="5032" y="0"/>
                  </a:moveTo>
                  <a:cubicBezTo>
                    <a:pt x="5004" y="0"/>
                    <a:pt x="4974" y="8"/>
                    <a:pt x="4946" y="27"/>
                  </a:cubicBezTo>
                  <a:lnTo>
                    <a:pt x="2006" y="1896"/>
                  </a:lnTo>
                  <a:cubicBezTo>
                    <a:pt x="1970" y="1908"/>
                    <a:pt x="1934" y="1932"/>
                    <a:pt x="1922" y="1980"/>
                  </a:cubicBezTo>
                  <a:lnTo>
                    <a:pt x="77" y="4909"/>
                  </a:lnTo>
                  <a:cubicBezTo>
                    <a:pt x="1" y="5032"/>
                    <a:pt x="99" y="5163"/>
                    <a:pt x="214" y="5163"/>
                  </a:cubicBezTo>
                  <a:cubicBezTo>
                    <a:pt x="243" y="5163"/>
                    <a:pt x="274" y="5154"/>
                    <a:pt x="303" y="5135"/>
                  </a:cubicBezTo>
                  <a:lnTo>
                    <a:pt x="3232" y="3277"/>
                  </a:lnTo>
                  <a:cubicBezTo>
                    <a:pt x="3280" y="3265"/>
                    <a:pt x="3303" y="3230"/>
                    <a:pt x="3315" y="3182"/>
                  </a:cubicBezTo>
                  <a:lnTo>
                    <a:pt x="5161" y="253"/>
                  </a:lnTo>
                  <a:cubicBezTo>
                    <a:pt x="5247" y="138"/>
                    <a:pt x="5148" y="0"/>
                    <a:pt x="50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2" name="Google Shape;10902;p60"/>
            <p:cNvSpPr/>
            <p:nvPr/>
          </p:nvSpPr>
          <p:spPr>
            <a:xfrm>
              <a:off x="4923789" y="1998578"/>
              <a:ext cx="302043" cy="302425"/>
            </a:xfrm>
            <a:custGeom>
              <a:avLst/>
              <a:gdLst/>
              <a:ahLst/>
              <a:cxnLst/>
              <a:rect l="l" t="t" r="r" b="b"/>
              <a:pathLst>
                <a:path w="9490" h="9502" extrusionOk="0">
                  <a:moveTo>
                    <a:pt x="4727" y="0"/>
                  </a:moveTo>
                  <a:cubicBezTo>
                    <a:pt x="3465" y="0"/>
                    <a:pt x="2274" y="500"/>
                    <a:pt x="1381" y="1405"/>
                  </a:cubicBezTo>
                  <a:cubicBezTo>
                    <a:pt x="488" y="2298"/>
                    <a:pt x="0" y="3489"/>
                    <a:pt x="0" y="4763"/>
                  </a:cubicBezTo>
                  <a:cubicBezTo>
                    <a:pt x="0" y="6049"/>
                    <a:pt x="488" y="7227"/>
                    <a:pt x="1393" y="8120"/>
                  </a:cubicBezTo>
                  <a:cubicBezTo>
                    <a:pt x="2286" y="9013"/>
                    <a:pt x="3477" y="9501"/>
                    <a:pt x="4763" y="9501"/>
                  </a:cubicBezTo>
                  <a:cubicBezTo>
                    <a:pt x="6025" y="9501"/>
                    <a:pt x="7215" y="9013"/>
                    <a:pt x="8108" y="8097"/>
                  </a:cubicBezTo>
                  <a:cubicBezTo>
                    <a:pt x="9001" y="7204"/>
                    <a:pt x="9489" y="6013"/>
                    <a:pt x="9489" y="4739"/>
                  </a:cubicBezTo>
                  <a:cubicBezTo>
                    <a:pt x="9489" y="3620"/>
                    <a:pt x="9096" y="2524"/>
                    <a:pt x="8358" y="1667"/>
                  </a:cubicBezTo>
                  <a:cubicBezTo>
                    <a:pt x="8325" y="1625"/>
                    <a:pt x="8284" y="1607"/>
                    <a:pt x="8243" y="1607"/>
                  </a:cubicBezTo>
                  <a:cubicBezTo>
                    <a:pt x="8124" y="1607"/>
                    <a:pt x="8011" y="1757"/>
                    <a:pt x="8108" y="1881"/>
                  </a:cubicBezTo>
                  <a:cubicBezTo>
                    <a:pt x="8751" y="2620"/>
                    <a:pt x="9108" y="3560"/>
                    <a:pt x="9156" y="4537"/>
                  </a:cubicBezTo>
                  <a:lnTo>
                    <a:pt x="8477" y="4537"/>
                  </a:lnTo>
                  <a:cubicBezTo>
                    <a:pt x="8275" y="4537"/>
                    <a:pt x="8275" y="4870"/>
                    <a:pt x="8477" y="4870"/>
                  </a:cubicBezTo>
                  <a:lnTo>
                    <a:pt x="9156" y="4870"/>
                  </a:lnTo>
                  <a:cubicBezTo>
                    <a:pt x="9120" y="6001"/>
                    <a:pt x="8656" y="7037"/>
                    <a:pt x="7870" y="7847"/>
                  </a:cubicBezTo>
                  <a:cubicBezTo>
                    <a:pt x="7084" y="8632"/>
                    <a:pt x="6037" y="9097"/>
                    <a:pt x="4929" y="9144"/>
                  </a:cubicBezTo>
                  <a:lnTo>
                    <a:pt x="4929" y="8466"/>
                  </a:lnTo>
                  <a:cubicBezTo>
                    <a:pt x="4929" y="8364"/>
                    <a:pt x="4846" y="8314"/>
                    <a:pt x="4763" y="8314"/>
                  </a:cubicBezTo>
                  <a:cubicBezTo>
                    <a:pt x="4679" y="8314"/>
                    <a:pt x="4596" y="8364"/>
                    <a:pt x="4596" y="8466"/>
                  </a:cubicBezTo>
                  <a:lnTo>
                    <a:pt x="4596" y="9144"/>
                  </a:lnTo>
                  <a:cubicBezTo>
                    <a:pt x="3477" y="9097"/>
                    <a:pt x="2441" y="8644"/>
                    <a:pt x="1631" y="7858"/>
                  </a:cubicBezTo>
                  <a:cubicBezTo>
                    <a:pt x="834" y="7061"/>
                    <a:pt x="369" y="6013"/>
                    <a:pt x="345" y="4882"/>
                  </a:cubicBezTo>
                  <a:lnTo>
                    <a:pt x="1012" y="4882"/>
                  </a:lnTo>
                  <a:cubicBezTo>
                    <a:pt x="1215" y="4882"/>
                    <a:pt x="1215" y="4560"/>
                    <a:pt x="1012" y="4560"/>
                  </a:cubicBezTo>
                  <a:lnTo>
                    <a:pt x="345" y="4560"/>
                  </a:lnTo>
                  <a:cubicBezTo>
                    <a:pt x="381" y="3441"/>
                    <a:pt x="834" y="2417"/>
                    <a:pt x="1619" y="1620"/>
                  </a:cubicBezTo>
                  <a:cubicBezTo>
                    <a:pt x="2405" y="834"/>
                    <a:pt x="3453" y="369"/>
                    <a:pt x="4560" y="334"/>
                  </a:cubicBezTo>
                  <a:lnTo>
                    <a:pt x="4560" y="1000"/>
                  </a:lnTo>
                  <a:cubicBezTo>
                    <a:pt x="4560" y="1102"/>
                    <a:pt x="4644" y="1152"/>
                    <a:pt x="4727" y="1152"/>
                  </a:cubicBezTo>
                  <a:cubicBezTo>
                    <a:pt x="4810" y="1152"/>
                    <a:pt x="4894" y="1102"/>
                    <a:pt x="4894" y="1000"/>
                  </a:cubicBezTo>
                  <a:lnTo>
                    <a:pt x="4894" y="334"/>
                  </a:lnTo>
                  <a:cubicBezTo>
                    <a:pt x="5834" y="357"/>
                    <a:pt x="6727" y="691"/>
                    <a:pt x="7465" y="1262"/>
                  </a:cubicBezTo>
                  <a:cubicBezTo>
                    <a:pt x="7510" y="1301"/>
                    <a:pt x="7556" y="1319"/>
                    <a:pt x="7597" y="1319"/>
                  </a:cubicBezTo>
                  <a:cubicBezTo>
                    <a:pt x="7645" y="1319"/>
                    <a:pt x="7684" y="1295"/>
                    <a:pt x="7703" y="1250"/>
                  </a:cubicBezTo>
                  <a:cubicBezTo>
                    <a:pt x="7763" y="1179"/>
                    <a:pt x="7751" y="1072"/>
                    <a:pt x="7680" y="1012"/>
                  </a:cubicBezTo>
                  <a:cubicBezTo>
                    <a:pt x="6834" y="346"/>
                    <a:pt x="5822"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03" name="Google Shape;10903;p60"/>
          <p:cNvGrpSpPr/>
          <p:nvPr/>
        </p:nvGrpSpPr>
        <p:grpSpPr>
          <a:xfrm>
            <a:off x="4048787" y="2977019"/>
            <a:ext cx="283488" cy="198604"/>
            <a:chOff x="4048787" y="2977019"/>
            <a:chExt cx="283488" cy="198604"/>
          </a:xfrm>
        </p:grpSpPr>
        <p:sp>
          <p:nvSpPr>
            <p:cNvPr id="10904" name="Google Shape;10904;p60"/>
            <p:cNvSpPr/>
            <p:nvPr/>
          </p:nvSpPr>
          <p:spPr>
            <a:xfrm>
              <a:off x="4277659" y="3015880"/>
              <a:ext cx="25048" cy="19128"/>
            </a:xfrm>
            <a:custGeom>
              <a:avLst/>
              <a:gdLst/>
              <a:ahLst/>
              <a:cxnLst/>
              <a:rect l="l" t="t" r="r" b="b"/>
              <a:pathLst>
                <a:path w="787" h="601" extrusionOk="0">
                  <a:moveTo>
                    <a:pt x="157" y="1"/>
                  </a:moveTo>
                  <a:cubicBezTo>
                    <a:pt x="113" y="1"/>
                    <a:pt x="70" y="22"/>
                    <a:pt x="49" y="65"/>
                  </a:cubicBezTo>
                  <a:cubicBezTo>
                    <a:pt x="1" y="125"/>
                    <a:pt x="13" y="220"/>
                    <a:pt x="84" y="256"/>
                  </a:cubicBezTo>
                  <a:cubicBezTo>
                    <a:pt x="239" y="363"/>
                    <a:pt x="382" y="470"/>
                    <a:pt x="549" y="577"/>
                  </a:cubicBezTo>
                  <a:cubicBezTo>
                    <a:pt x="584" y="589"/>
                    <a:pt x="608" y="601"/>
                    <a:pt x="620" y="601"/>
                  </a:cubicBezTo>
                  <a:cubicBezTo>
                    <a:pt x="668" y="601"/>
                    <a:pt x="715" y="589"/>
                    <a:pt x="739" y="541"/>
                  </a:cubicBezTo>
                  <a:cubicBezTo>
                    <a:pt x="787" y="482"/>
                    <a:pt x="775" y="398"/>
                    <a:pt x="703" y="351"/>
                  </a:cubicBezTo>
                  <a:cubicBezTo>
                    <a:pt x="537" y="232"/>
                    <a:pt x="382" y="125"/>
                    <a:pt x="239" y="29"/>
                  </a:cubicBezTo>
                  <a:cubicBezTo>
                    <a:pt x="215" y="10"/>
                    <a:pt x="186" y="1"/>
                    <a:pt x="1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5" name="Google Shape;10905;p60"/>
            <p:cNvSpPr/>
            <p:nvPr/>
          </p:nvSpPr>
          <p:spPr>
            <a:xfrm>
              <a:off x="4101462" y="2977019"/>
              <a:ext cx="165630" cy="42458"/>
            </a:xfrm>
            <a:custGeom>
              <a:avLst/>
              <a:gdLst/>
              <a:ahLst/>
              <a:cxnLst/>
              <a:rect l="l" t="t" r="r" b="b"/>
              <a:pathLst>
                <a:path w="5204" h="1334" extrusionOk="0">
                  <a:moveTo>
                    <a:pt x="2810" y="0"/>
                  </a:moveTo>
                  <a:cubicBezTo>
                    <a:pt x="2132" y="0"/>
                    <a:pt x="1239" y="357"/>
                    <a:pt x="84" y="1084"/>
                  </a:cubicBezTo>
                  <a:cubicBezTo>
                    <a:pt x="24" y="1119"/>
                    <a:pt x="1" y="1215"/>
                    <a:pt x="48" y="1274"/>
                  </a:cubicBezTo>
                  <a:cubicBezTo>
                    <a:pt x="72" y="1322"/>
                    <a:pt x="120" y="1334"/>
                    <a:pt x="167" y="1334"/>
                  </a:cubicBezTo>
                  <a:cubicBezTo>
                    <a:pt x="191" y="1334"/>
                    <a:pt x="203" y="1334"/>
                    <a:pt x="239" y="1322"/>
                  </a:cubicBezTo>
                  <a:cubicBezTo>
                    <a:pt x="1334" y="619"/>
                    <a:pt x="2167" y="274"/>
                    <a:pt x="2798" y="274"/>
                  </a:cubicBezTo>
                  <a:cubicBezTo>
                    <a:pt x="3346" y="274"/>
                    <a:pt x="4061" y="524"/>
                    <a:pt x="4965" y="1060"/>
                  </a:cubicBezTo>
                  <a:cubicBezTo>
                    <a:pt x="4987" y="1077"/>
                    <a:pt x="5014" y="1085"/>
                    <a:pt x="5041" y="1085"/>
                  </a:cubicBezTo>
                  <a:cubicBezTo>
                    <a:pt x="5088" y="1085"/>
                    <a:pt x="5138" y="1062"/>
                    <a:pt x="5168" y="1024"/>
                  </a:cubicBezTo>
                  <a:cubicBezTo>
                    <a:pt x="5204" y="953"/>
                    <a:pt x="5180" y="869"/>
                    <a:pt x="5120" y="834"/>
                  </a:cubicBezTo>
                  <a:cubicBezTo>
                    <a:pt x="4168" y="262"/>
                    <a:pt x="3406"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6" name="Google Shape;10906;p60"/>
            <p:cNvSpPr/>
            <p:nvPr/>
          </p:nvSpPr>
          <p:spPr>
            <a:xfrm>
              <a:off x="4048787" y="3000508"/>
              <a:ext cx="283488" cy="175115"/>
            </a:xfrm>
            <a:custGeom>
              <a:avLst/>
              <a:gdLst/>
              <a:ahLst/>
              <a:cxnLst/>
              <a:rect l="l" t="t" r="r" b="b"/>
              <a:pathLst>
                <a:path w="8907" h="5502" extrusionOk="0">
                  <a:moveTo>
                    <a:pt x="4453" y="286"/>
                  </a:moveTo>
                  <a:cubicBezTo>
                    <a:pt x="5596" y="286"/>
                    <a:pt x="7894" y="2072"/>
                    <a:pt x="8561" y="2620"/>
                  </a:cubicBezTo>
                  <a:cubicBezTo>
                    <a:pt x="8609" y="2655"/>
                    <a:pt x="8621" y="2691"/>
                    <a:pt x="8621" y="2751"/>
                  </a:cubicBezTo>
                  <a:cubicBezTo>
                    <a:pt x="8621" y="2810"/>
                    <a:pt x="8609" y="2858"/>
                    <a:pt x="8561" y="2894"/>
                  </a:cubicBezTo>
                  <a:cubicBezTo>
                    <a:pt x="7894" y="3441"/>
                    <a:pt x="5596" y="5227"/>
                    <a:pt x="4453" y="5227"/>
                  </a:cubicBezTo>
                  <a:cubicBezTo>
                    <a:pt x="3310" y="5227"/>
                    <a:pt x="1013" y="3441"/>
                    <a:pt x="346" y="2894"/>
                  </a:cubicBezTo>
                  <a:cubicBezTo>
                    <a:pt x="298" y="2858"/>
                    <a:pt x="286" y="2810"/>
                    <a:pt x="286" y="2751"/>
                  </a:cubicBezTo>
                  <a:cubicBezTo>
                    <a:pt x="286" y="2691"/>
                    <a:pt x="310" y="2655"/>
                    <a:pt x="346" y="2620"/>
                  </a:cubicBezTo>
                  <a:cubicBezTo>
                    <a:pt x="1013" y="2072"/>
                    <a:pt x="3310" y="286"/>
                    <a:pt x="4453" y="286"/>
                  </a:cubicBezTo>
                  <a:close/>
                  <a:moveTo>
                    <a:pt x="4453" y="0"/>
                  </a:moveTo>
                  <a:cubicBezTo>
                    <a:pt x="3251" y="0"/>
                    <a:pt x="1060" y="1679"/>
                    <a:pt x="167" y="2405"/>
                  </a:cubicBezTo>
                  <a:cubicBezTo>
                    <a:pt x="60" y="2501"/>
                    <a:pt x="1" y="2620"/>
                    <a:pt x="1" y="2751"/>
                  </a:cubicBezTo>
                  <a:cubicBezTo>
                    <a:pt x="1" y="2882"/>
                    <a:pt x="60" y="3025"/>
                    <a:pt x="167" y="3096"/>
                  </a:cubicBezTo>
                  <a:cubicBezTo>
                    <a:pt x="1060" y="3822"/>
                    <a:pt x="3251" y="5501"/>
                    <a:pt x="4453" y="5501"/>
                  </a:cubicBezTo>
                  <a:cubicBezTo>
                    <a:pt x="5656" y="5501"/>
                    <a:pt x="7847" y="3822"/>
                    <a:pt x="8740" y="3096"/>
                  </a:cubicBezTo>
                  <a:cubicBezTo>
                    <a:pt x="8847" y="3001"/>
                    <a:pt x="8906" y="2882"/>
                    <a:pt x="8906" y="2751"/>
                  </a:cubicBezTo>
                  <a:cubicBezTo>
                    <a:pt x="8906" y="2620"/>
                    <a:pt x="8847" y="2501"/>
                    <a:pt x="8740" y="2405"/>
                  </a:cubicBezTo>
                  <a:cubicBezTo>
                    <a:pt x="7847" y="1679"/>
                    <a:pt x="5656" y="0"/>
                    <a:pt x="4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7" name="Google Shape;10907;p60"/>
            <p:cNvSpPr/>
            <p:nvPr/>
          </p:nvSpPr>
          <p:spPr>
            <a:xfrm>
              <a:off x="4126478" y="3024347"/>
              <a:ext cx="129220" cy="127437"/>
            </a:xfrm>
            <a:custGeom>
              <a:avLst/>
              <a:gdLst/>
              <a:ahLst/>
              <a:cxnLst/>
              <a:rect l="l" t="t" r="r" b="b"/>
              <a:pathLst>
                <a:path w="4060" h="4004" extrusionOk="0">
                  <a:moveTo>
                    <a:pt x="2016" y="0"/>
                  </a:moveTo>
                  <a:cubicBezTo>
                    <a:pt x="1995" y="0"/>
                    <a:pt x="1974" y="1"/>
                    <a:pt x="1953" y="1"/>
                  </a:cubicBezTo>
                  <a:cubicBezTo>
                    <a:pt x="893" y="25"/>
                    <a:pt x="48" y="894"/>
                    <a:pt x="12" y="1930"/>
                  </a:cubicBezTo>
                  <a:cubicBezTo>
                    <a:pt x="0" y="2454"/>
                    <a:pt x="179" y="2942"/>
                    <a:pt x="512" y="3299"/>
                  </a:cubicBezTo>
                  <a:cubicBezTo>
                    <a:pt x="542" y="3329"/>
                    <a:pt x="578" y="3344"/>
                    <a:pt x="613" y="3344"/>
                  </a:cubicBezTo>
                  <a:cubicBezTo>
                    <a:pt x="649" y="3344"/>
                    <a:pt x="685" y="3329"/>
                    <a:pt x="715" y="3299"/>
                  </a:cubicBezTo>
                  <a:cubicBezTo>
                    <a:pt x="762" y="3252"/>
                    <a:pt x="774" y="3169"/>
                    <a:pt x="715" y="3109"/>
                  </a:cubicBezTo>
                  <a:cubicBezTo>
                    <a:pt x="429" y="2776"/>
                    <a:pt x="286" y="2359"/>
                    <a:pt x="298" y="1906"/>
                  </a:cubicBezTo>
                  <a:cubicBezTo>
                    <a:pt x="346" y="1025"/>
                    <a:pt x="1060" y="299"/>
                    <a:pt x="1941" y="263"/>
                  </a:cubicBezTo>
                  <a:cubicBezTo>
                    <a:pt x="1969" y="262"/>
                    <a:pt x="1996" y="261"/>
                    <a:pt x="2024" y="261"/>
                  </a:cubicBezTo>
                  <a:cubicBezTo>
                    <a:pt x="2975" y="261"/>
                    <a:pt x="3762" y="1053"/>
                    <a:pt x="3739" y="2026"/>
                  </a:cubicBezTo>
                  <a:cubicBezTo>
                    <a:pt x="3727" y="2930"/>
                    <a:pt x="2977" y="3692"/>
                    <a:pt x="2072" y="3716"/>
                  </a:cubicBezTo>
                  <a:cubicBezTo>
                    <a:pt x="2050" y="3717"/>
                    <a:pt x="2027" y="3717"/>
                    <a:pt x="2005" y="3717"/>
                  </a:cubicBezTo>
                  <a:cubicBezTo>
                    <a:pt x="1717" y="3717"/>
                    <a:pt x="1423" y="3646"/>
                    <a:pt x="1191" y="3514"/>
                  </a:cubicBezTo>
                  <a:cubicBezTo>
                    <a:pt x="1167" y="3500"/>
                    <a:pt x="1144" y="3493"/>
                    <a:pt x="1121" y="3493"/>
                  </a:cubicBezTo>
                  <a:cubicBezTo>
                    <a:pt x="1086" y="3493"/>
                    <a:pt x="1053" y="3509"/>
                    <a:pt x="1024" y="3538"/>
                  </a:cubicBezTo>
                  <a:cubicBezTo>
                    <a:pt x="965" y="3597"/>
                    <a:pt x="989" y="3716"/>
                    <a:pt x="1060" y="3764"/>
                  </a:cubicBezTo>
                  <a:cubicBezTo>
                    <a:pt x="1339" y="3920"/>
                    <a:pt x="1660" y="4003"/>
                    <a:pt x="1993" y="4003"/>
                  </a:cubicBezTo>
                  <a:cubicBezTo>
                    <a:pt x="2015" y="4003"/>
                    <a:pt x="2038" y="4003"/>
                    <a:pt x="2060" y="4002"/>
                  </a:cubicBezTo>
                  <a:cubicBezTo>
                    <a:pt x="3108" y="3966"/>
                    <a:pt x="3989" y="3121"/>
                    <a:pt x="4025" y="2061"/>
                  </a:cubicBezTo>
                  <a:cubicBezTo>
                    <a:pt x="4060" y="939"/>
                    <a:pt x="3142" y="0"/>
                    <a:pt x="2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8" name="Google Shape;10908;p60"/>
            <p:cNvSpPr/>
            <p:nvPr/>
          </p:nvSpPr>
          <p:spPr>
            <a:xfrm>
              <a:off x="4156778" y="3054678"/>
              <a:ext cx="68238" cy="68270"/>
            </a:xfrm>
            <a:custGeom>
              <a:avLst/>
              <a:gdLst/>
              <a:ahLst/>
              <a:cxnLst/>
              <a:rect l="l" t="t" r="r" b="b"/>
              <a:pathLst>
                <a:path w="2144" h="2145" extrusionOk="0">
                  <a:moveTo>
                    <a:pt x="1072" y="1"/>
                  </a:moveTo>
                  <a:cubicBezTo>
                    <a:pt x="477" y="1"/>
                    <a:pt x="1" y="477"/>
                    <a:pt x="1" y="1073"/>
                  </a:cubicBezTo>
                  <a:cubicBezTo>
                    <a:pt x="1" y="1668"/>
                    <a:pt x="477" y="2144"/>
                    <a:pt x="1072" y="2144"/>
                  </a:cubicBezTo>
                  <a:cubicBezTo>
                    <a:pt x="1668" y="2144"/>
                    <a:pt x="2144" y="1668"/>
                    <a:pt x="2144" y="1073"/>
                  </a:cubicBezTo>
                  <a:cubicBezTo>
                    <a:pt x="2132" y="977"/>
                    <a:pt x="2073" y="918"/>
                    <a:pt x="2001" y="918"/>
                  </a:cubicBezTo>
                  <a:cubicBezTo>
                    <a:pt x="1918" y="918"/>
                    <a:pt x="1858" y="977"/>
                    <a:pt x="1858" y="1049"/>
                  </a:cubicBezTo>
                  <a:cubicBezTo>
                    <a:pt x="1858" y="1489"/>
                    <a:pt x="1501" y="1846"/>
                    <a:pt x="1072" y="1846"/>
                  </a:cubicBezTo>
                  <a:cubicBezTo>
                    <a:pt x="644" y="1846"/>
                    <a:pt x="287" y="1489"/>
                    <a:pt x="287" y="1049"/>
                  </a:cubicBezTo>
                  <a:cubicBezTo>
                    <a:pt x="287" y="620"/>
                    <a:pt x="644" y="263"/>
                    <a:pt x="1072" y="263"/>
                  </a:cubicBezTo>
                  <a:cubicBezTo>
                    <a:pt x="1144" y="263"/>
                    <a:pt x="1203" y="203"/>
                    <a:pt x="1203" y="132"/>
                  </a:cubicBezTo>
                  <a:cubicBezTo>
                    <a:pt x="1203" y="60"/>
                    <a:pt x="1144"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9" name="Google Shape;10909;p60"/>
            <p:cNvSpPr/>
            <p:nvPr/>
          </p:nvSpPr>
          <p:spPr>
            <a:xfrm>
              <a:off x="4198090" y="3060375"/>
              <a:ext cx="20879" cy="20879"/>
            </a:xfrm>
            <a:custGeom>
              <a:avLst/>
              <a:gdLst/>
              <a:ahLst/>
              <a:cxnLst/>
              <a:rect l="l" t="t" r="r" b="b"/>
              <a:pathLst>
                <a:path w="656" h="656" extrusionOk="0">
                  <a:moveTo>
                    <a:pt x="322" y="1"/>
                  </a:moveTo>
                  <a:cubicBezTo>
                    <a:pt x="143" y="1"/>
                    <a:pt x="1" y="143"/>
                    <a:pt x="1" y="322"/>
                  </a:cubicBezTo>
                  <a:cubicBezTo>
                    <a:pt x="1" y="501"/>
                    <a:pt x="143" y="655"/>
                    <a:pt x="322" y="655"/>
                  </a:cubicBezTo>
                  <a:cubicBezTo>
                    <a:pt x="501" y="655"/>
                    <a:pt x="655" y="501"/>
                    <a:pt x="655" y="322"/>
                  </a:cubicBezTo>
                  <a:cubicBezTo>
                    <a:pt x="655" y="143"/>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0" name="Google Shape;10910;p60"/>
          <p:cNvGrpSpPr/>
          <p:nvPr/>
        </p:nvGrpSpPr>
        <p:grpSpPr>
          <a:xfrm>
            <a:off x="4054103" y="2430191"/>
            <a:ext cx="218687" cy="349052"/>
            <a:chOff x="4054103" y="2430191"/>
            <a:chExt cx="218687" cy="349052"/>
          </a:xfrm>
        </p:grpSpPr>
        <p:sp>
          <p:nvSpPr>
            <p:cNvPr id="10911" name="Google Shape;10911;p60"/>
            <p:cNvSpPr/>
            <p:nvPr/>
          </p:nvSpPr>
          <p:spPr>
            <a:xfrm>
              <a:off x="4054103" y="2430191"/>
              <a:ext cx="218687" cy="349052"/>
            </a:xfrm>
            <a:custGeom>
              <a:avLst/>
              <a:gdLst/>
              <a:ahLst/>
              <a:cxnLst/>
              <a:rect l="l" t="t" r="r" b="b"/>
              <a:pathLst>
                <a:path w="6871" h="10967" extrusionOk="0">
                  <a:moveTo>
                    <a:pt x="6513" y="846"/>
                  </a:moveTo>
                  <a:cubicBezTo>
                    <a:pt x="6513" y="846"/>
                    <a:pt x="6537" y="846"/>
                    <a:pt x="6537" y="870"/>
                  </a:cubicBezTo>
                  <a:lnTo>
                    <a:pt x="6537" y="1203"/>
                  </a:lnTo>
                  <a:lnTo>
                    <a:pt x="6513" y="1203"/>
                  </a:lnTo>
                  <a:lnTo>
                    <a:pt x="6001" y="1227"/>
                  </a:lnTo>
                  <a:cubicBezTo>
                    <a:pt x="5906" y="1227"/>
                    <a:pt x="5834" y="1298"/>
                    <a:pt x="5834" y="1382"/>
                  </a:cubicBezTo>
                  <a:cubicBezTo>
                    <a:pt x="5834" y="1477"/>
                    <a:pt x="5906" y="1548"/>
                    <a:pt x="6001" y="1548"/>
                  </a:cubicBezTo>
                  <a:lnTo>
                    <a:pt x="6180" y="1548"/>
                  </a:lnTo>
                  <a:lnTo>
                    <a:pt x="6180" y="7239"/>
                  </a:lnTo>
                  <a:cubicBezTo>
                    <a:pt x="6180" y="7239"/>
                    <a:pt x="6180" y="7251"/>
                    <a:pt x="6156" y="7251"/>
                  </a:cubicBezTo>
                  <a:lnTo>
                    <a:pt x="655" y="7251"/>
                  </a:lnTo>
                  <a:cubicBezTo>
                    <a:pt x="655" y="7251"/>
                    <a:pt x="643" y="7251"/>
                    <a:pt x="643" y="7239"/>
                  </a:cubicBezTo>
                  <a:lnTo>
                    <a:pt x="643" y="1548"/>
                  </a:lnTo>
                  <a:lnTo>
                    <a:pt x="5310" y="1548"/>
                  </a:lnTo>
                  <a:cubicBezTo>
                    <a:pt x="5406" y="1548"/>
                    <a:pt x="5477" y="1477"/>
                    <a:pt x="5477" y="1382"/>
                  </a:cubicBezTo>
                  <a:cubicBezTo>
                    <a:pt x="5477" y="1298"/>
                    <a:pt x="5406" y="1227"/>
                    <a:pt x="5310" y="1227"/>
                  </a:cubicBezTo>
                  <a:lnTo>
                    <a:pt x="322" y="1227"/>
                  </a:lnTo>
                  <a:cubicBezTo>
                    <a:pt x="322" y="1227"/>
                    <a:pt x="310" y="1227"/>
                    <a:pt x="310" y="1203"/>
                  </a:cubicBezTo>
                  <a:lnTo>
                    <a:pt x="310" y="870"/>
                  </a:lnTo>
                  <a:cubicBezTo>
                    <a:pt x="310" y="870"/>
                    <a:pt x="310" y="846"/>
                    <a:pt x="322" y="846"/>
                  </a:cubicBezTo>
                  <a:close/>
                  <a:moveTo>
                    <a:pt x="5179" y="7561"/>
                  </a:moveTo>
                  <a:lnTo>
                    <a:pt x="5656" y="9990"/>
                  </a:lnTo>
                  <a:lnTo>
                    <a:pt x="3572" y="9990"/>
                  </a:lnTo>
                  <a:lnTo>
                    <a:pt x="3572" y="8085"/>
                  </a:lnTo>
                  <a:cubicBezTo>
                    <a:pt x="3572" y="7990"/>
                    <a:pt x="3501" y="7918"/>
                    <a:pt x="3405" y="7918"/>
                  </a:cubicBezTo>
                  <a:cubicBezTo>
                    <a:pt x="3310" y="7918"/>
                    <a:pt x="3239" y="7990"/>
                    <a:pt x="3239" y="8085"/>
                  </a:cubicBezTo>
                  <a:lnTo>
                    <a:pt x="3239" y="9990"/>
                  </a:lnTo>
                  <a:lnTo>
                    <a:pt x="1155" y="9990"/>
                  </a:lnTo>
                  <a:lnTo>
                    <a:pt x="1643" y="7561"/>
                  </a:lnTo>
                  <a:close/>
                  <a:moveTo>
                    <a:pt x="3417" y="0"/>
                  </a:moveTo>
                  <a:cubicBezTo>
                    <a:pt x="3334" y="0"/>
                    <a:pt x="3263" y="72"/>
                    <a:pt x="3263" y="167"/>
                  </a:cubicBezTo>
                  <a:lnTo>
                    <a:pt x="3263" y="524"/>
                  </a:lnTo>
                  <a:lnTo>
                    <a:pt x="322" y="524"/>
                  </a:lnTo>
                  <a:cubicBezTo>
                    <a:pt x="143" y="524"/>
                    <a:pt x="0" y="667"/>
                    <a:pt x="0" y="846"/>
                  </a:cubicBezTo>
                  <a:lnTo>
                    <a:pt x="0" y="1191"/>
                  </a:lnTo>
                  <a:cubicBezTo>
                    <a:pt x="0" y="1370"/>
                    <a:pt x="143" y="1524"/>
                    <a:pt x="322" y="1524"/>
                  </a:cubicBezTo>
                  <a:lnTo>
                    <a:pt x="334" y="1524"/>
                  </a:lnTo>
                  <a:lnTo>
                    <a:pt x="334" y="7204"/>
                  </a:lnTo>
                  <a:cubicBezTo>
                    <a:pt x="334" y="7382"/>
                    <a:pt x="488" y="7525"/>
                    <a:pt x="667" y="7525"/>
                  </a:cubicBezTo>
                  <a:lnTo>
                    <a:pt x="1334" y="7525"/>
                  </a:lnTo>
                  <a:lnTo>
                    <a:pt x="679" y="10776"/>
                  </a:lnTo>
                  <a:cubicBezTo>
                    <a:pt x="667" y="10859"/>
                    <a:pt x="727" y="10954"/>
                    <a:pt x="798" y="10966"/>
                  </a:cubicBezTo>
                  <a:lnTo>
                    <a:pt x="834" y="10966"/>
                  </a:lnTo>
                  <a:cubicBezTo>
                    <a:pt x="905" y="10966"/>
                    <a:pt x="977" y="10907"/>
                    <a:pt x="1000" y="10835"/>
                  </a:cubicBezTo>
                  <a:lnTo>
                    <a:pt x="1119" y="10264"/>
                  </a:lnTo>
                  <a:lnTo>
                    <a:pt x="3274" y="10264"/>
                  </a:lnTo>
                  <a:lnTo>
                    <a:pt x="3274" y="10788"/>
                  </a:lnTo>
                  <a:cubicBezTo>
                    <a:pt x="3274" y="10883"/>
                    <a:pt x="3346" y="10954"/>
                    <a:pt x="3441" y="10954"/>
                  </a:cubicBezTo>
                  <a:cubicBezTo>
                    <a:pt x="3524" y="10954"/>
                    <a:pt x="3596" y="10883"/>
                    <a:pt x="3596" y="10788"/>
                  </a:cubicBezTo>
                  <a:lnTo>
                    <a:pt x="3596" y="10264"/>
                  </a:lnTo>
                  <a:lnTo>
                    <a:pt x="5763" y="10264"/>
                  </a:lnTo>
                  <a:lnTo>
                    <a:pt x="5882" y="10835"/>
                  </a:lnTo>
                  <a:cubicBezTo>
                    <a:pt x="5894" y="10907"/>
                    <a:pt x="5965" y="10966"/>
                    <a:pt x="6037" y="10966"/>
                  </a:cubicBezTo>
                  <a:lnTo>
                    <a:pt x="6072" y="10966"/>
                  </a:lnTo>
                  <a:cubicBezTo>
                    <a:pt x="6156" y="10954"/>
                    <a:pt x="6215" y="10859"/>
                    <a:pt x="6191" y="10776"/>
                  </a:cubicBezTo>
                  <a:lnTo>
                    <a:pt x="5537" y="7525"/>
                  </a:lnTo>
                  <a:lnTo>
                    <a:pt x="6203" y="7525"/>
                  </a:lnTo>
                  <a:cubicBezTo>
                    <a:pt x="6382" y="7525"/>
                    <a:pt x="6537" y="7382"/>
                    <a:pt x="6537" y="7204"/>
                  </a:cubicBezTo>
                  <a:lnTo>
                    <a:pt x="6537" y="1513"/>
                  </a:lnTo>
                  <a:lnTo>
                    <a:pt x="6549" y="1513"/>
                  </a:lnTo>
                  <a:cubicBezTo>
                    <a:pt x="6727" y="1513"/>
                    <a:pt x="6870" y="1370"/>
                    <a:pt x="6870" y="1191"/>
                  </a:cubicBezTo>
                  <a:lnTo>
                    <a:pt x="6870" y="870"/>
                  </a:lnTo>
                  <a:cubicBezTo>
                    <a:pt x="6846" y="667"/>
                    <a:pt x="6692" y="524"/>
                    <a:pt x="6513" y="524"/>
                  </a:cubicBezTo>
                  <a:lnTo>
                    <a:pt x="3584" y="524"/>
                  </a:lnTo>
                  <a:lnTo>
                    <a:pt x="3584" y="167"/>
                  </a:lnTo>
                  <a:cubicBezTo>
                    <a:pt x="3584" y="72"/>
                    <a:pt x="3513" y="0"/>
                    <a:pt x="3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2" name="Google Shape;10912;p60"/>
            <p:cNvSpPr/>
            <p:nvPr/>
          </p:nvSpPr>
          <p:spPr>
            <a:xfrm>
              <a:off x="4091595" y="2517716"/>
              <a:ext cx="142524" cy="103503"/>
            </a:xfrm>
            <a:custGeom>
              <a:avLst/>
              <a:gdLst/>
              <a:ahLst/>
              <a:cxnLst/>
              <a:rect l="l" t="t" r="r" b="b"/>
              <a:pathLst>
                <a:path w="4478" h="3252" extrusionOk="0">
                  <a:moveTo>
                    <a:pt x="3430" y="1"/>
                  </a:moveTo>
                  <a:cubicBezTo>
                    <a:pt x="3347" y="1"/>
                    <a:pt x="3275" y="84"/>
                    <a:pt x="3275" y="168"/>
                  </a:cubicBezTo>
                  <a:cubicBezTo>
                    <a:pt x="3275" y="263"/>
                    <a:pt x="3347" y="334"/>
                    <a:pt x="3430" y="334"/>
                  </a:cubicBezTo>
                  <a:lnTo>
                    <a:pt x="3906" y="334"/>
                  </a:lnTo>
                  <a:lnTo>
                    <a:pt x="2335" y="1906"/>
                  </a:lnTo>
                  <a:lnTo>
                    <a:pt x="2323" y="1906"/>
                  </a:lnTo>
                  <a:lnTo>
                    <a:pt x="1965" y="1549"/>
                  </a:lnTo>
                  <a:cubicBezTo>
                    <a:pt x="1894" y="1483"/>
                    <a:pt x="1808" y="1450"/>
                    <a:pt x="1723" y="1450"/>
                  </a:cubicBezTo>
                  <a:cubicBezTo>
                    <a:pt x="1638" y="1450"/>
                    <a:pt x="1555" y="1483"/>
                    <a:pt x="1489" y="1549"/>
                  </a:cubicBezTo>
                  <a:lnTo>
                    <a:pt x="60" y="2977"/>
                  </a:lnTo>
                  <a:cubicBezTo>
                    <a:pt x="1" y="3037"/>
                    <a:pt x="1" y="3144"/>
                    <a:pt x="60" y="3204"/>
                  </a:cubicBezTo>
                  <a:cubicBezTo>
                    <a:pt x="84" y="3239"/>
                    <a:pt x="132" y="3251"/>
                    <a:pt x="180" y="3251"/>
                  </a:cubicBezTo>
                  <a:cubicBezTo>
                    <a:pt x="215" y="3251"/>
                    <a:pt x="263" y="3239"/>
                    <a:pt x="299" y="3204"/>
                  </a:cubicBezTo>
                  <a:lnTo>
                    <a:pt x="1727" y="1775"/>
                  </a:lnTo>
                  <a:lnTo>
                    <a:pt x="1739" y="1775"/>
                  </a:lnTo>
                  <a:lnTo>
                    <a:pt x="2096" y="2132"/>
                  </a:lnTo>
                  <a:cubicBezTo>
                    <a:pt x="2156" y="2192"/>
                    <a:pt x="2239" y="2239"/>
                    <a:pt x="2335" y="2239"/>
                  </a:cubicBezTo>
                  <a:cubicBezTo>
                    <a:pt x="2418" y="2239"/>
                    <a:pt x="2513" y="2203"/>
                    <a:pt x="2573" y="2132"/>
                  </a:cubicBezTo>
                  <a:lnTo>
                    <a:pt x="4144" y="560"/>
                  </a:lnTo>
                  <a:lnTo>
                    <a:pt x="4144" y="1037"/>
                  </a:lnTo>
                  <a:cubicBezTo>
                    <a:pt x="4144" y="1120"/>
                    <a:pt x="4228" y="1191"/>
                    <a:pt x="4311" y="1191"/>
                  </a:cubicBezTo>
                  <a:cubicBezTo>
                    <a:pt x="4406" y="1191"/>
                    <a:pt x="4478" y="1120"/>
                    <a:pt x="4478" y="1037"/>
                  </a:cubicBezTo>
                  <a:lnTo>
                    <a:pt x="4478" y="168"/>
                  </a:lnTo>
                  <a:cubicBezTo>
                    <a:pt x="4466" y="84"/>
                    <a:pt x="4382"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3" name="Google Shape;10913;p60"/>
          <p:cNvGrpSpPr/>
          <p:nvPr/>
        </p:nvGrpSpPr>
        <p:grpSpPr>
          <a:xfrm>
            <a:off x="2185128" y="2427549"/>
            <a:ext cx="382758" cy="356595"/>
            <a:chOff x="2185128" y="2427549"/>
            <a:chExt cx="382758" cy="356595"/>
          </a:xfrm>
        </p:grpSpPr>
        <p:sp>
          <p:nvSpPr>
            <p:cNvPr id="10914" name="Google Shape;10914;p60"/>
            <p:cNvSpPr/>
            <p:nvPr/>
          </p:nvSpPr>
          <p:spPr>
            <a:xfrm>
              <a:off x="2313584" y="2612467"/>
              <a:ext cx="119417" cy="103853"/>
            </a:xfrm>
            <a:custGeom>
              <a:avLst/>
              <a:gdLst/>
              <a:ahLst/>
              <a:cxnLst/>
              <a:rect l="l" t="t" r="r" b="b"/>
              <a:pathLst>
                <a:path w="3752" h="3263" extrusionOk="0">
                  <a:moveTo>
                    <a:pt x="1882" y="0"/>
                  </a:moveTo>
                  <a:cubicBezTo>
                    <a:pt x="1775" y="0"/>
                    <a:pt x="1692" y="96"/>
                    <a:pt x="1692" y="203"/>
                  </a:cubicBezTo>
                  <a:lnTo>
                    <a:pt x="1692" y="2013"/>
                  </a:lnTo>
                  <a:lnTo>
                    <a:pt x="120" y="2917"/>
                  </a:lnTo>
                  <a:cubicBezTo>
                    <a:pt x="37" y="2977"/>
                    <a:pt x="1" y="3084"/>
                    <a:pt x="48" y="3179"/>
                  </a:cubicBezTo>
                  <a:cubicBezTo>
                    <a:pt x="84" y="3239"/>
                    <a:pt x="156" y="3263"/>
                    <a:pt x="215" y="3263"/>
                  </a:cubicBezTo>
                  <a:cubicBezTo>
                    <a:pt x="239" y="3263"/>
                    <a:pt x="275" y="3251"/>
                    <a:pt x="298" y="3239"/>
                  </a:cubicBezTo>
                  <a:lnTo>
                    <a:pt x="1870" y="2322"/>
                  </a:lnTo>
                  <a:lnTo>
                    <a:pt x="3430" y="3239"/>
                  </a:lnTo>
                  <a:cubicBezTo>
                    <a:pt x="3454" y="3251"/>
                    <a:pt x="3489" y="3263"/>
                    <a:pt x="3513" y="3263"/>
                  </a:cubicBezTo>
                  <a:cubicBezTo>
                    <a:pt x="3573" y="3263"/>
                    <a:pt x="3656" y="3239"/>
                    <a:pt x="3680" y="3179"/>
                  </a:cubicBezTo>
                  <a:cubicBezTo>
                    <a:pt x="3751" y="3072"/>
                    <a:pt x="3727" y="2965"/>
                    <a:pt x="3632" y="2906"/>
                  </a:cubicBezTo>
                  <a:lnTo>
                    <a:pt x="2073" y="2001"/>
                  </a:lnTo>
                  <a:lnTo>
                    <a:pt x="2073" y="203"/>
                  </a:lnTo>
                  <a:cubicBezTo>
                    <a:pt x="2073" y="96"/>
                    <a:pt x="1989"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5" name="Google Shape;10915;p60"/>
            <p:cNvSpPr/>
            <p:nvPr/>
          </p:nvSpPr>
          <p:spPr>
            <a:xfrm>
              <a:off x="2311706" y="2427549"/>
              <a:ext cx="129633" cy="171327"/>
            </a:xfrm>
            <a:custGeom>
              <a:avLst/>
              <a:gdLst/>
              <a:ahLst/>
              <a:cxnLst/>
              <a:rect l="l" t="t" r="r" b="b"/>
              <a:pathLst>
                <a:path w="4073" h="5383" extrusionOk="0">
                  <a:moveTo>
                    <a:pt x="2084" y="369"/>
                  </a:moveTo>
                  <a:cubicBezTo>
                    <a:pt x="2584" y="369"/>
                    <a:pt x="2977" y="774"/>
                    <a:pt x="2977" y="1262"/>
                  </a:cubicBezTo>
                  <a:lnTo>
                    <a:pt x="2977" y="1381"/>
                  </a:lnTo>
                  <a:lnTo>
                    <a:pt x="2965" y="1381"/>
                  </a:lnTo>
                  <a:cubicBezTo>
                    <a:pt x="2703" y="1322"/>
                    <a:pt x="2620" y="965"/>
                    <a:pt x="2620" y="965"/>
                  </a:cubicBezTo>
                  <a:cubicBezTo>
                    <a:pt x="2608" y="893"/>
                    <a:pt x="2548" y="834"/>
                    <a:pt x="2477" y="810"/>
                  </a:cubicBezTo>
                  <a:cubicBezTo>
                    <a:pt x="2468" y="808"/>
                    <a:pt x="2458" y="807"/>
                    <a:pt x="2449" y="807"/>
                  </a:cubicBezTo>
                  <a:cubicBezTo>
                    <a:pt x="2385" y="807"/>
                    <a:pt x="2317" y="841"/>
                    <a:pt x="2286" y="893"/>
                  </a:cubicBezTo>
                  <a:cubicBezTo>
                    <a:pt x="1941" y="1369"/>
                    <a:pt x="1179" y="1369"/>
                    <a:pt x="1167" y="1369"/>
                  </a:cubicBezTo>
                  <a:cubicBezTo>
                    <a:pt x="1155" y="1369"/>
                    <a:pt x="1119" y="1369"/>
                    <a:pt x="1108" y="1381"/>
                  </a:cubicBezTo>
                  <a:lnTo>
                    <a:pt x="1108" y="1262"/>
                  </a:lnTo>
                  <a:cubicBezTo>
                    <a:pt x="1108" y="774"/>
                    <a:pt x="1512" y="369"/>
                    <a:pt x="2001" y="369"/>
                  </a:cubicBezTo>
                  <a:close/>
                  <a:moveTo>
                    <a:pt x="3132" y="1905"/>
                  </a:moveTo>
                  <a:cubicBezTo>
                    <a:pt x="3155" y="1929"/>
                    <a:pt x="3179" y="1953"/>
                    <a:pt x="3179" y="2000"/>
                  </a:cubicBezTo>
                  <a:cubicBezTo>
                    <a:pt x="3179" y="2048"/>
                    <a:pt x="3144" y="2096"/>
                    <a:pt x="3120" y="2119"/>
                  </a:cubicBezTo>
                  <a:lnTo>
                    <a:pt x="3120" y="1905"/>
                  </a:lnTo>
                  <a:close/>
                  <a:moveTo>
                    <a:pt x="977" y="1881"/>
                  </a:moveTo>
                  <a:lnTo>
                    <a:pt x="977" y="2143"/>
                  </a:lnTo>
                  <a:cubicBezTo>
                    <a:pt x="929" y="2108"/>
                    <a:pt x="893" y="2060"/>
                    <a:pt x="893" y="2000"/>
                  </a:cubicBezTo>
                  <a:cubicBezTo>
                    <a:pt x="893" y="1965"/>
                    <a:pt x="917" y="1929"/>
                    <a:pt x="941" y="1905"/>
                  </a:cubicBezTo>
                  <a:cubicBezTo>
                    <a:pt x="953" y="1905"/>
                    <a:pt x="953" y="1905"/>
                    <a:pt x="977" y="1881"/>
                  </a:cubicBezTo>
                  <a:close/>
                  <a:moveTo>
                    <a:pt x="2358" y="1346"/>
                  </a:moveTo>
                  <a:cubicBezTo>
                    <a:pt x="2429" y="1477"/>
                    <a:pt x="2548" y="1619"/>
                    <a:pt x="2715" y="1691"/>
                  </a:cubicBezTo>
                  <a:lnTo>
                    <a:pt x="2715" y="2227"/>
                  </a:lnTo>
                  <a:cubicBezTo>
                    <a:pt x="2739" y="2572"/>
                    <a:pt x="2465" y="2834"/>
                    <a:pt x="2132" y="2834"/>
                  </a:cubicBezTo>
                  <a:lnTo>
                    <a:pt x="1953" y="2834"/>
                  </a:lnTo>
                  <a:cubicBezTo>
                    <a:pt x="1631" y="2834"/>
                    <a:pt x="1346" y="2572"/>
                    <a:pt x="1346" y="2227"/>
                  </a:cubicBezTo>
                  <a:lnTo>
                    <a:pt x="1346" y="1738"/>
                  </a:lnTo>
                  <a:cubicBezTo>
                    <a:pt x="1596" y="1703"/>
                    <a:pt x="2024" y="1619"/>
                    <a:pt x="2358" y="1346"/>
                  </a:cubicBezTo>
                  <a:close/>
                  <a:moveTo>
                    <a:pt x="2262" y="3215"/>
                  </a:moveTo>
                  <a:lnTo>
                    <a:pt x="2262" y="3310"/>
                  </a:lnTo>
                  <a:lnTo>
                    <a:pt x="2251" y="3310"/>
                  </a:lnTo>
                  <a:lnTo>
                    <a:pt x="2048" y="3536"/>
                  </a:lnTo>
                  <a:lnTo>
                    <a:pt x="1846" y="3346"/>
                  </a:lnTo>
                  <a:lnTo>
                    <a:pt x="1846" y="3215"/>
                  </a:lnTo>
                  <a:close/>
                  <a:moveTo>
                    <a:pt x="2001" y="0"/>
                  </a:moveTo>
                  <a:cubicBezTo>
                    <a:pt x="1298" y="0"/>
                    <a:pt x="727" y="560"/>
                    <a:pt x="727" y="1262"/>
                  </a:cubicBezTo>
                  <a:lnTo>
                    <a:pt x="727" y="1584"/>
                  </a:lnTo>
                  <a:cubicBezTo>
                    <a:pt x="608" y="1691"/>
                    <a:pt x="536" y="1846"/>
                    <a:pt x="536" y="2000"/>
                  </a:cubicBezTo>
                  <a:cubicBezTo>
                    <a:pt x="536" y="2286"/>
                    <a:pt x="762" y="2524"/>
                    <a:pt x="1024" y="2536"/>
                  </a:cubicBezTo>
                  <a:cubicBezTo>
                    <a:pt x="1108" y="2762"/>
                    <a:pt x="1262" y="2953"/>
                    <a:pt x="1465" y="3072"/>
                  </a:cubicBezTo>
                  <a:lnTo>
                    <a:pt x="1465" y="3179"/>
                  </a:lnTo>
                  <a:lnTo>
                    <a:pt x="691" y="3477"/>
                  </a:lnTo>
                  <a:cubicBezTo>
                    <a:pt x="608" y="3512"/>
                    <a:pt x="0" y="3751"/>
                    <a:pt x="0" y="4525"/>
                  </a:cubicBezTo>
                  <a:lnTo>
                    <a:pt x="0" y="5191"/>
                  </a:lnTo>
                  <a:cubicBezTo>
                    <a:pt x="0" y="5298"/>
                    <a:pt x="96" y="5382"/>
                    <a:pt x="191" y="5382"/>
                  </a:cubicBezTo>
                  <a:lnTo>
                    <a:pt x="667" y="5382"/>
                  </a:lnTo>
                  <a:cubicBezTo>
                    <a:pt x="774" y="5382"/>
                    <a:pt x="869" y="5298"/>
                    <a:pt x="869" y="5191"/>
                  </a:cubicBezTo>
                  <a:cubicBezTo>
                    <a:pt x="869" y="5084"/>
                    <a:pt x="774" y="5001"/>
                    <a:pt x="667" y="5001"/>
                  </a:cubicBezTo>
                  <a:lnTo>
                    <a:pt x="369" y="5001"/>
                  </a:lnTo>
                  <a:lnTo>
                    <a:pt x="369" y="4501"/>
                  </a:lnTo>
                  <a:cubicBezTo>
                    <a:pt x="369" y="3989"/>
                    <a:pt x="786" y="3834"/>
                    <a:pt x="810" y="3822"/>
                  </a:cubicBezTo>
                  <a:lnTo>
                    <a:pt x="822" y="3822"/>
                  </a:lnTo>
                  <a:lnTo>
                    <a:pt x="1536" y="3536"/>
                  </a:lnTo>
                  <a:lnTo>
                    <a:pt x="1905" y="3905"/>
                  </a:lnTo>
                  <a:cubicBezTo>
                    <a:pt x="1941" y="3941"/>
                    <a:pt x="2001" y="3965"/>
                    <a:pt x="2036" y="3965"/>
                  </a:cubicBezTo>
                  <a:cubicBezTo>
                    <a:pt x="2084" y="3965"/>
                    <a:pt x="2143" y="3953"/>
                    <a:pt x="2179" y="3905"/>
                  </a:cubicBezTo>
                  <a:lnTo>
                    <a:pt x="2536" y="3536"/>
                  </a:lnTo>
                  <a:lnTo>
                    <a:pt x="3251" y="3822"/>
                  </a:lnTo>
                  <a:lnTo>
                    <a:pt x="3263" y="3822"/>
                  </a:lnTo>
                  <a:cubicBezTo>
                    <a:pt x="3275" y="3822"/>
                    <a:pt x="3691" y="3989"/>
                    <a:pt x="3691" y="4501"/>
                  </a:cubicBezTo>
                  <a:lnTo>
                    <a:pt x="3691" y="5001"/>
                  </a:lnTo>
                  <a:lnTo>
                    <a:pt x="1310" y="5001"/>
                  </a:lnTo>
                  <a:cubicBezTo>
                    <a:pt x="1203" y="5001"/>
                    <a:pt x="1119" y="5084"/>
                    <a:pt x="1119" y="5191"/>
                  </a:cubicBezTo>
                  <a:cubicBezTo>
                    <a:pt x="1119" y="5298"/>
                    <a:pt x="1203" y="5382"/>
                    <a:pt x="1310" y="5382"/>
                  </a:cubicBezTo>
                  <a:lnTo>
                    <a:pt x="3882" y="5382"/>
                  </a:lnTo>
                  <a:cubicBezTo>
                    <a:pt x="3888" y="5383"/>
                    <a:pt x="3894" y="5383"/>
                    <a:pt x="3900" y="5383"/>
                  </a:cubicBezTo>
                  <a:cubicBezTo>
                    <a:pt x="3989" y="5383"/>
                    <a:pt x="4072" y="5303"/>
                    <a:pt x="4072" y="5203"/>
                  </a:cubicBezTo>
                  <a:lnTo>
                    <a:pt x="4072" y="4536"/>
                  </a:lnTo>
                  <a:cubicBezTo>
                    <a:pt x="4072" y="3763"/>
                    <a:pt x="3477" y="3524"/>
                    <a:pt x="3382" y="3489"/>
                  </a:cubicBezTo>
                  <a:lnTo>
                    <a:pt x="2620" y="3191"/>
                  </a:lnTo>
                  <a:lnTo>
                    <a:pt x="2620" y="3096"/>
                  </a:lnTo>
                  <a:cubicBezTo>
                    <a:pt x="2834" y="2977"/>
                    <a:pt x="2977" y="2774"/>
                    <a:pt x="3048" y="2536"/>
                  </a:cubicBezTo>
                  <a:cubicBezTo>
                    <a:pt x="3322" y="2524"/>
                    <a:pt x="3548" y="2286"/>
                    <a:pt x="3548" y="2000"/>
                  </a:cubicBezTo>
                  <a:cubicBezTo>
                    <a:pt x="3548" y="1846"/>
                    <a:pt x="3465" y="1691"/>
                    <a:pt x="3346" y="1584"/>
                  </a:cubicBezTo>
                  <a:lnTo>
                    <a:pt x="3346" y="1262"/>
                  </a:lnTo>
                  <a:cubicBezTo>
                    <a:pt x="3346" y="560"/>
                    <a:pt x="2786"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6" name="Google Shape;10916;p60"/>
            <p:cNvSpPr/>
            <p:nvPr/>
          </p:nvSpPr>
          <p:spPr>
            <a:xfrm>
              <a:off x="2438252" y="2611703"/>
              <a:ext cx="129633" cy="172441"/>
            </a:xfrm>
            <a:custGeom>
              <a:avLst/>
              <a:gdLst/>
              <a:ahLst/>
              <a:cxnLst/>
              <a:rect l="l" t="t" r="r" b="b"/>
              <a:pathLst>
                <a:path w="4073" h="5418" extrusionOk="0">
                  <a:moveTo>
                    <a:pt x="2085" y="370"/>
                  </a:moveTo>
                  <a:cubicBezTo>
                    <a:pt x="2573" y="370"/>
                    <a:pt x="2978" y="774"/>
                    <a:pt x="2978" y="1263"/>
                  </a:cubicBezTo>
                  <a:lnTo>
                    <a:pt x="2978" y="1382"/>
                  </a:lnTo>
                  <a:lnTo>
                    <a:pt x="2966" y="1382"/>
                  </a:lnTo>
                  <a:cubicBezTo>
                    <a:pt x="2692" y="1322"/>
                    <a:pt x="2620" y="965"/>
                    <a:pt x="2620" y="965"/>
                  </a:cubicBezTo>
                  <a:cubicBezTo>
                    <a:pt x="2608" y="894"/>
                    <a:pt x="2549" y="834"/>
                    <a:pt x="2466" y="822"/>
                  </a:cubicBezTo>
                  <a:cubicBezTo>
                    <a:pt x="2450" y="817"/>
                    <a:pt x="2435" y="815"/>
                    <a:pt x="2420" y="815"/>
                  </a:cubicBezTo>
                  <a:cubicBezTo>
                    <a:pt x="2365" y="815"/>
                    <a:pt x="2313" y="847"/>
                    <a:pt x="2275" y="894"/>
                  </a:cubicBezTo>
                  <a:cubicBezTo>
                    <a:pt x="1942" y="1370"/>
                    <a:pt x="1180" y="1382"/>
                    <a:pt x="1168" y="1382"/>
                  </a:cubicBezTo>
                  <a:lnTo>
                    <a:pt x="1096" y="1382"/>
                  </a:lnTo>
                  <a:lnTo>
                    <a:pt x="1096" y="1263"/>
                  </a:lnTo>
                  <a:cubicBezTo>
                    <a:pt x="1096" y="774"/>
                    <a:pt x="1501" y="370"/>
                    <a:pt x="1989" y="370"/>
                  </a:cubicBezTo>
                  <a:close/>
                  <a:moveTo>
                    <a:pt x="3132" y="1906"/>
                  </a:moveTo>
                  <a:cubicBezTo>
                    <a:pt x="3156" y="1929"/>
                    <a:pt x="3168" y="1965"/>
                    <a:pt x="3168" y="2013"/>
                  </a:cubicBezTo>
                  <a:cubicBezTo>
                    <a:pt x="3168" y="2048"/>
                    <a:pt x="3144" y="2096"/>
                    <a:pt x="3109" y="2132"/>
                  </a:cubicBezTo>
                  <a:lnTo>
                    <a:pt x="3109" y="1906"/>
                  </a:lnTo>
                  <a:close/>
                  <a:moveTo>
                    <a:pt x="965" y="1894"/>
                  </a:moveTo>
                  <a:lnTo>
                    <a:pt x="965" y="2144"/>
                  </a:lnTo>
                  <a:cubicBezTo>
                    <a:pt x="930" y="2108"/>
                    <a:pt x="894" y="2072"/>
                    <a:pt x="894" y="2013"/>
                  </a:cubicBezTo>
                  <a:cubicBezTo>
                    <a:pt x="894" y="1965"/>
                    <a:pt x="906" y="1929"/>
                    <a:pt x="942" y="1906"/>
                  </a:cubicBezTo>
                  <a:cubicBezTo>
                    <a:pt x="953" y="1906"/>
                    <a:pt x="953" y="1906"/>
                    <a:pt x="965" y="1894"/>
                  </a:cubicBezTo>
                  <a:close/>
                  <a:moveTo>
                    <a:pt x="2347" y="1358"/>
                  </a:moveTo>
                  <a:cubicBezTo>
                    <a:pt x="2430" y="1489"/>
                    <a:pt x="2549" y="1620"/>
                    <a:pt x="2704" y="1691"/>
                  </a:cubicBezTo>
                  <a:lnTo>
                    <a:pt x="2704" y="2227"/>
                  </a:lnTo>
                  <a:cubicBezTo>
                    <a:pt x="2739" y="2572"/>
                    <a:pt x="2454" y="2846"/>
                    <a:pt x="2132" y="2846"/>
                  </a:cubicBezTo>
                  <a:lnTo>
                    <a:pt x="1954" y="2846"/>
                  </a:lnTo>
                  <a:cubicBezTo>
                    <a:pt x="1620" y="2846"/>
                    <a:pt x="1334" y="2572"/>
                    <a:pt x="1334" y="2227"/>
                  </a:cubicBezTo>
                  <a:lnTo>
                    <a:pt x="1334" y="1739"/>
                  </a:lnTo>
                  <a:cubicBezTo>
                    <a:pt x="1596" y="1715"/>
                    <a:pt x="2025" y="1620"/>
                    <a:pt x="2347" y="1358"/>
                  </a:cubicBezTo>
                  <a:close/>
                  <a:moveTo>
                    <a:pt x="2263" y="3215"/>
                  </a:moveTo>
                  <a:lnTo>
                    <a:pt x="2251" y="3322"/>
                  </a:lnTo>
                  <a:lnTo>
                    <a:pt x="2037" y="3537"/>
                  </a:lnTo>
                  <a:lnTo>
                    <a:pt x="1846" y="3346"/>
                  </a:lnTo>
                  <a:lnTo>
                    <a:pt x="1846" y="3215"/>
                  </a:lnTo>
                  <a:close/>
                  <a:moveTo>
                    <a:pt x="1989" y="1"/>
                  </a:moveTo>
                  <a:cubicBezTo>
                    <a:pt x="1299" y="1"/>
                    <a:pt x="727" y="560"/>
                    <a:pt x="727" y="1263"/>
                  </a:cubicBezTo>
                  <a:lnTo>
                    <a:pt x="727" y="1596"/>
                  </a:lnTo>
                  <a:cubicBezTo>
                    <a:pt x="608" y="1691"/>
                    <a:pt x="537" y="1846"/>
                    <a:pt x="537" y="2013"/>
                  </a:cubicBezTo>
                  <a:cubicBezTo>
                    <a:pt x="537" y="2287"/>
                    <a:pt x="763" y="2525"/>
                    <a:pt x="1025" y="2549"/>
                  </a:cubicBezTo>
                  <a:cubicBezTo>
                    <a:pt x="1096" y="2763"/>
                    <a:pt x="1263" y="2965"/>
                    <a:pt x="1454" y="3084"/>
                  </a:cubicBezTo>
                  <a:lnTo>
                    <a:pt x="1454" y="3180"/>
                  </a:lnTo>
                  <a:lnTo>
                    <a:pt x="680" y="3477"/>
                  </a:lnTo>
                  <a:cubicBezTo>
                    <a:pt x="608" y="3513"/>
                    <a:pt x="1" y="3751"/>
                    <a:pt x="1" y="4525"/>
                  </a:cubicBezTo>
                  <a:lnTo>
                    <a:pt x="1" y="5192"/>
                  </a:lnTo>
                  <a:cubicBezTo>
                    <a:pt x="1" y="5299"/>
                    <a:pt x="84" y="5382"/>
                    <a:pt x="191" y="5382"/>
                  </a:cubicBezTo>
                  <a:lnTo>
                    <a:pt x="668" y="5382"/>
                  </a:lnTo>
                  <a:cubicBezTo>
                    <a:pt x="775" y="5382"/>
                    <a:pt x="858" y="5299"/>
                    <a:pt x="858" y="5192"/>
                  </a:cubicBezTo>
                  <a:cubicBezTo>
                    <a:pt x="858" y="5085"/>
                    <a:pt x="775" y="5001"/>
                    <a:pt x="668" y="5001"/>
                  </a:cubicBezTo>
                  <a:lnTo>
                    <a:pt x="370" y="5001"/>
                  </a:lnTo>
                  <a:lnTo>
                    <a:pt x="370" y="4537"/>
                  </a:lnTo>
                  <a:cubicBezTo>
                    <a:pt x="370" y="4013"/>
                    <a:pt x="787" y="3870"/>
                    <a:pt x="799" y="3858"/>
                  </a:cubicBezTo>
                  <a:lnTo>
                    <a:pt x="823" y="3858"/>
                  </a:lnTo>
                  <a:lnTo>
                    <a:pt x="1537" y="3572"/>
                  </a:lnTo>
                  <a:lnTo>
                    <a:pt x="1906" y="3942"/>
                  </a:lnTo>
                  <a:cubicBezTo>
                    <a:pt x="1930" y="3977"/>
                    <a:pt x="1989" y="4001"/>
                    <a:pt x="2037" y="4001"/>
                  </a:cubicBezTo>
                  <a:cubicBezTo>
                    <a:pt x="2085" y="4001"/>
                    <a:pt x="2144" y="3989"/>
                    <a:pt x="2168" y="3942"/>
                  </a:cubicBezTo>
                  <a:lnTo>
                    <a:pt x="2525" y="3572"/>
                  </a:lnTo>
                  <a:lnTo>
                    <a:pt x="3239" y="3858"/>
                  </a:lnTo>
                  <a:lnTo>
                    <a:pt x="3263" y="3858"/>
                  </a:lnTo>
                  <a:cubicBezTo>
                    <a:pt x="3275" y="3858"/>
                    <a:pt x="3692" y="4013"/>
                    <a:pt x="3692" y="4537"/>
                  </a:cubicBezTo>
                  <a:lnTo>
                    <a:pt x="3692" y="5025"/>
                  </a:lnTo>
                  <a:lnTo>
                    <a:pt x="1311" y="5025"/>
                  </a:lnTo>
                  <a:cubicBezTo>
                    <a:pt x="1204" y="5025"/>
                    <a:pt x="1120" y="5120"/>
                    <a:pt x="1120" y="5215"/>
                  </a:cubicBezTo>
                  <a:cubicBezTo>
                    <a:pt x="1120" y="5323"/>
                    <a:pt x="1204" y="5418"/>
                    <a:pt x="1311" y="5418"/>
                  </a:cubicBezTo>
                  <a:lnTo>
                    <a:pt x="3882" y="5418"/>
                  </a:lnTo>
                  <a:cubicBezTo>
                    <a:pt x="3990" y="5418"/>
                    <a:pt x="4073" y="5323"/>
                    <a:pt x="4073" y="5215"/>
                  </a:cubicBezTo>
                  <a:lnTo>
                    <a:pt x="4073" y="4537"/>
                  </a:lnTo>
                  <a:cubicBezTo>
                    <a:pt x="4061" y="3763"/>
                    <a:pt x="3454" y="3525"/>
                    <a:pt x="3382" y="3501"/>
                  </a:cubicBezTo>
                  <a:lnTo>
                    <a:pt x="2620" y="3203"/>
                  </a:lnTo>
                  <a:lnTo>
                    <a:pt x="2620" y="3096"/>
                  </a:lnTo>
                  <a:cubicBezTo>
                    <a:pt x="2823" y="2977"/>
                    <a:pt x="2978" y="2787"/>
                    <a:pt x="3049" y="2560"/>
                  </a:cubicBezTo>
                  <a:cubicBezTo>
                    <a:pt x="3323" y="2549"/>
                    <a:pt x="3537" y="2310"/>
                    <a:pt x="3537" y="2025"/>
                  </a:cubicBezTo>
                  <a:cubicBezTo>
                    <a:pt x="3537" y="1858"/>
                    <a:pt x="3466" y="1703"/>
                    <a:pt x="3347" y="1608"/>
                  </a:cubicBezTo>
                  <a:lnTo>
                    <a:pt x="3347" y="1263"/>
                  </a:lnTo>
                  <a:cubicBezTo>
                    <a:pt x="3347" y="560"/>
                    <a:pt x="2787" y="1"/>
                    <a:pt x="2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7" name="Google Shape;10917;p60"/>
            <p:cNvSpPr/>
            <p:nvPr/>
          </p:nvSpPr>
          <p:spPr>
            <a:xfrm>
              <a:off x="2185128" y="2611703"/>
              <a:ext cx="130015" cy="172441"/>
            </a:xfrm>
            <a:custGeom>
              <a:avLst/>
              <a:gdLst/>
              <a:ahLst/>
              <a:cxnLst/>
              <a:rect l="l" t="t" r="r" b="b"/>
              <a:pathLst>
                <a:path w="4085" h="5418" extrusionOk="0">
                  <a:moveTo>
                    <a:pt x="2084" y="370"/>
                  </a:moveTo>
                  <a:cubicBezTo>
                    <a:pt x="2584" y="370"/>
                    <a:pt x="2977" y="774"/>
                    <a:pt x="2977" y="1263"/>
                  </a:cubicBezTo>
                  <a:lnTo>
                    <a:pt x="2977" y="1382"/>
                  </a:lnTo>
                  <a:lnTo>
                    <a:pt x="2965" y="1382"/>
                  </a:lnTo>
                  <a:cubicBezTo>
                    <a:pt x="2703" y="1322"/>
                    <a:pt x="2620" y="965"/>
                    <a:pt x="2620" y="965"/>
                  </a:cubicBezTo>
                  <a:cubicBezTo>
                    <a:pt x="2608" y="894"/>
                    <a:pt x="2549" y="834"/>
                    <a:pt x="2477" y="822"/>
                  </a:cubicBezTo>
                  <a:cubicBezTo>
                    <a:pt x="2462" y="817"/>
                    <a:pt x="2446" y="815"/>
                    <a:pt x="2430" y="815"/>
                  </a:cubicBezTo>
                  <a:cubicBezTo>
                    <a:pt x="2372" y="815"/>
                    <a:pt x="2315" y="847"/>
                    <a:pt x="2287" y="894"/>
                  </a:cubicBezTo>
                  <a:cubicBezTo>
                    <a:pt x="1941" y="1370"/>
                    <a:pt x="1179" y="1382"/>
                    <a:pt x="1167" y="1382"/>
                  </a:cubicBezTo>
                  <a:lnTo>
                    <a:pt x="1108" y="1382"/>
                  </a:lnTo>
                  <a:lnTo>
                    <a:pt x="1108" y="1263"/>
                  </a:lnTo>
                  <a:cubicBezTo>
                    <a:pt x="1108" y="774"/>
                    <a:pt x="1513" y="370"/>
                    <a:pt x="2001" y="370"/>
                  </a:cubicBezTo>
                  <a:close/>
                  <a:moveTo>
                    <a:pt x="3132" y="1906"/>
                  </a:moveTo>
                  <a:cubicBezTo>
                    <a:pt x="3168" y="1929"/>
                    <a:pt x="3180" y="1965"/>
                    <a:pt x="3180" y="2013"/>
                  </a:cubicBezTo>
                  <a:cubicBezTo>
                    <a:pt x="3180" y="2048"/>
                    <a:pt x="3144" y="2096"/>
                    <a:pt x="3120" y="2132"/>
                  </a:cubicBezTo>
                  <a:lnTo>
                    <a:pt x="3120" y="1906"/>
                  </a:lnTo>
                  <a:close/>
                  <a:moveTo>
                    <a:pt x="977" y="1894"/>
                  </a:moveTo>
                  <a:lnTo>
                    <a:pt x="977" y="2144"/>
                  </a:lnTo>
                  <a:cubicBezTo>
                    <a:pt x="929" y="2108"/>
                    <a:pt x="905" y="2072"/>
                    <a:pt x="905" y="2013"/>
                  </a:cubicBezTo>
                  <a:cubicBezTo>
                    <a:pt x="905" y="1965"/>
                    <a:pt x="917" y="1929"/>
                    <a:pt x="941" y="1906"/>
                  </a:cubicBezTo>
                  <a:cubicBezTo>
                    <a:pt x="965" y="1906"/>
                    <a:pt x="965" y="1906"/>
                    <a:pt x="977" y="1894"/>
                  </a:cubicBezTo>
                  <a:close/>
                  <a:moveTo>
                    <a:pt x="2358" y="1358"/>
                  </a:moveTo>
                  <a:cubicBezTo>
                    <a:pt x="2429" y="1489"/>
                    <a:pt x="2549" y="1620"/>
                    <a:pt x="2715" y="1691"/>
                  </a:cubicBezTo>
                  <a:lnTo>
                    <a:pt x="2715" y="2227"/>
                  </a:lnTo>
                  <a:cubicBezTo>
                    <a:pt x="2727" y="2572"/>
                    <a:pt x="2465" y="2846"/>
                    <a:pt x="2132" y="2846"/>
                  </a:cubicBezTo>
                  <a:lnTo>
                    <a:pt x="1953" y="2846"/>
                  </a:lnTo>
                  <a:cubicBezTo>
                    <a:pt x="1632" y="2846"/>
                    <a:pt x="1346" y="2572"/>
                    <a:pt x="1346" y="2227"/>
                  </a:cubicBezTo>
                  <a:lnTo>
                    <a:pt x="1346" y="1739"/>
                  </a:lnTo>
                  <a:cubicBezTo>
                    <a:pt x="1596" y="1715"/>
                    <a:pt x="2037" y="1620"/>
                    <a:pt x="2358" y="1358"/>
                  </a:cubicBezTo>
                  <a:close/>
                  <a:moveTo>
                    <a:pt x="2275" y="3215"/>
                  </a:moveTo>
                  <a:lnTo>
                    <a:pt x="2251" y="3322"/>
                  </a:lnTo>
                  <a:lnTo>
                    <a:pt x="2048" y="3537"/>
                  </a:lnTo>
                  <a:lnTo>
                    <a:pt x="1858" y="3346"/>
                  </a:lnTo>
                  <a:lnTo>
                    <a:pt x="1858" y="3215"/>
                  </a:lnTo>
                  <a:close/>
                  <a:moveTo>
                    <a:pt x="2001" y="1"/>
                  </a:moveTo>
                  <a:cubicBezTo>
                    <a:pt x="1298" y="1"/>
                    <a:pt x="739" y="560"/>
                    <a:pt x="739" y="1263"/>
                  </a:cubicBezTo>
                  <a:lnTo>
                    <a:pt x="739" y="1596"/>
                  </a:lnTo>
                  <a:cubicBezTo>
                    <a:pt x="620" y="1691"/>
                    <a:pt x="536" y="1846"/>
                    <a:pt x="536" y="2013"/>
                  </a:cubicBezTo>
                  <a:cubicBezTo>
                    <a:pt x="536" y="2287"/>
                    <a:pt x="763" y="2525"/>
                    <a:pt x="1036" y="2549"/>
                  </a:cubicBezTo>
                  <a:cubicBezTo>
                    <a:pt x="1108" y="2763"/>
                    <a:pt x="1275" y="2965"/>
                    <a:pt x="1465" y="3084"/>
                  </a:cubicBezTo>
                  <a:lnTo>
                    <a:pt x="1465" y="3180"/>
                  </a:lnTo>
                  <a:lnTo>
                    <a:pt x="691" y="3477"/>
                  </a:lnTo>
                  <a:cubicBezTo>
                    <a:pt x="620" y="3513"/>
                    <a:pt x="1" y="3751"/>
                    <a:pt x="1" y="4525"/>
                  </a:cubicBezTo>
                  <a:lnTo>
                    <a:pt x="1" y="5192"/>
                  </a:lnTo>
                  <a:cubicBezTo>
                    <a:pt x="1" y="5299"/>
                    <a:pt x="96" y="5382"/>
                    <a:pt x="203" y="5382"/>
                  </a:cubicBezTo>
                  <a:lnTo>
                    <a:pt x="679" y="5382"/>
                  </a:lnTo>
                  <a:cubicBezTo>
                    <a:pt x="775" y="5382"/>
                    <a:pt x="870" y="5299"/>
                    <a:pt x="870" y="5192"/>
                  </a:cubicBezTo>
                  <a:cubicBezTo>
                    <a:pt x="870" y="5085"/>
                    <a:pt x="775" y="5001"/>
                    <a:pt x="679" y="5001"/>
                  </a:cubicBezTo>
                  <a:lnTo>
                    <a:pt x="382" y="5001"/>
                  </a:lnTo>
                  <a:lnTo>
                    <a:pt x="382" y="4537"/>
                  </a:lnTo>
                  <a:cubicBezTo>
                    <a:pt x="382" y="4013"/>
                    <a:pt x="798" y="3870"/>
                    <a:pt x="810" y="3858"/>
                  </a:cubicBezTo>
                  <a:lnTo>
                    <a:pt x="822" y="3858"/>
                  </a:lnTo>
                  <a:lnTo>
                    <a:pt x="1537" y="3572"/>
                  </a:lnTo>
                  <a:lnTo>
                    <a:pt x="1906" y="3942"/>
                  </a:lnTo>
                  <a:cubicBezTo>
                    <a:pt x="1941" y="3977"/>
                    <a:pt x="2001" y="4001"/>
                    <a:pt x="2048" y="4001"/>
                  </a:cubicBezTo>
                  <a:cubicBezTo>
                    <a:pt x="2084" y="4001"/>
                    <a:pt x="2144" y="3989"/>
                    <a:pt x="2179" y="3942"/>
                  </a:cubicBezTo>
                  <a:lnTo>
                    <a:pt x="2537" y="3572"/>
                  </a:lnTo>
                  <a:lnTo>
                    <a:pt x="3251" y="3858"/>
                  </a:lnTo>
                  <a:lnTo>
                    <a:pt x="3263" y="3858"/>
                  </a:lnTo>
                  <a:cubicBezTo>
                    <a:pt x="3275" y="3858"/>
                    <a:pt x="3692" y="4013"/>
                    <a:pt x="3692" y="4537"/>
                  </a:cubicBezTo>
                  <a:lnTo>
                    <a:pt x="3692" y="5025"/>
                  </a:lnTo>
                  <a:lnTo>
                    <a:pt x="1310" y="5025"/>
                  </a:lnTo>
                  <a:cubicBezTo>
                    <a:pt x="1215" y="5025"/>
                    <a:pt x="1120" y="5120"/>
                    <a:pt x="1120" y="5215"/>
                  </a:cubicBezTo>
                  <a:cubicBezTo>
                    <a:pt x="1120" y="5323"/>
                    <a:pt x="1215" y="5418"/>
                    <a:pt x="1310" y="5418"/>
                  </a:cubicBezTo>
                  <a:lnTo>
                    <a:pt x="3894" y="5418"/>
                  </a:lnTo>
                  <a:cubicBezTo>
                    <a:pt x="3989" y="5418"/>
                    <a:pt x="4084" y="5323"/>
                    <a:pt x="4084" y="5215"/>
                  </a:cubicBezTo>
                  <a:lnTo>
                    <a:pt x="4084" y="4537"/>
                  </a:lnTo>
                  <a:cubicBezTo>
                    <a:pt x="4061" y="3763"/>
                    <a:pt x="3465" y="3525"/>
                    <a:pt x="3382" y="3501"/>
                  </a:cubicBezTo>
                  <a:lnTo>
                    <a:pt x="2632" y="3203"/>
                  </a:lnTo>
                  <a:lnTo>
                    <a:pt x="2632" y="3096"/>
                  </a:lnTo>
                  <a:cubicBezTo>
                    <a:pt x="2834" y="2977"/>
                    <a:pt x="2977" y="2787"/>
                    <a:pt x="3061" y="2560"/>
                  </a:cubicBezTo>
                  <a:cubicBezTo>
                    <a:pt x="3322" y="2549"/>
                    <a:pt x="3549" y="2310"/>
                    <a:pt x="3549" y="2025"/>
                  </a:cubicBezTo>
                  <a:cubicBezTo>
                    <a:pt x="3549" y="1858"/>
                    <a:pt x="3477" y="1703"/>
                    <a:pt x="3358" y="1608"/>
                  </a:cubicBezTo>
                  <a:lnTo>
                    <a:pt x="3358" y="1263"/>
                  </a:lnTo>
                  <a:cubicBezTo>
                    <a:pt x="3358" y="560"/>
                    <a:pt x="2787" y="1"/>
                    <a:pt x="2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18" name="Google Shape;10918;p60"/>
          <p:cNvGrpSpPr/>
          <p:nvPr/>
        </p:nvGrpSpPr>
        <p:grpSpPr>
          <a:xfrm>
            <a:off x="3539102" y="2427549"/>
            <a:ext cx="355099" cy="355481"/>
            <a:chOff x="3539102" y="2427549"/>
            <a:chExt cx="355099" cy="355481"/>
          </a:xfrm>
        </p:grpSpPr>
        <p:sp>
          <p:nvSpPr>
            <p:cNvPr id="10919" name="Google Shape;10919;p60"/>
            <p:cNvSpPr/>
            <p:nvPr/>
          </p:nvSpPr>
          <p:spPr>
            <a:xfrm>
              <a:off x="3539102" y="2561320"/>
              <a:ext cx="355099" cy="221710"/>
            </a:xfrm>
            <a:custGeom>
              <a:avLst/>
              <a:gdLst/>
              <a:ahLst/>
              <a:cxnLst/>
              <a:rect l="l" t="t" r="r" b="b"/>
              <a:pathLst>
                <a:path w="11157" h="6966" extrusionOk="0">
                  <a:moveTo>
                    <a:pt x="2953" y="3131"/>
                  </a:moveTo>
                  <a:lnTo>
                    <a:pt x="2953" y="6644"/>
                  </a:lnTo>
                  <a:lnTo>
                    <a:pt x="1537" y="6644"/>
                  </a:lnTo>
                  <a:lnTo>
                    <a:pt x="1537" y="3131"/>
                  </a:lnTo>
                  <a:close/>
                  <a:moveTo>
                    <a:pt x="6263" y="2250"/>
                  </a:moveTo>
                  <a:lnTo>
                    <a:pt x="6263" y="6644"/>
                  </a:lnTo>
                  <a:lnTo>
                    <a:pt x="4858" y="6644"/>
                  </a:lnTo>
                  <a:lnTo>
                    <a:pt x="4858" y="2250"/>
                  </a:lnTo>
                  <a:close/>
                  <a:moveTo>
                    <a:pt x="9585" y="333"/>
                  </a:moveTo>
                  <a:lnTo>
                    <a:pt x="9585" y="6644"/>
                  </a:lnTo>
                  <a:lnTo>
                    <a:pt x="8168" y="6644"/>
                  </a:lnTo>
                  <a:lnTo>
                    <a:pt x="8168" y="333"/>
                  </a:lnTo>
                  <a:close/>
                  <a:moveTo>
                    <a:pt x="8025" y="0"/>
                  </a:moveTo>
                  <a:cubicBezTo>
                    <a:pt x="7930" y="0"/>
                    <a:pt x="7859" y="83"/>
                    <a:pt x="7859" y="167"/>
                  </a:cubicBezTo>
                  <a:lnTo>
                    <a:pt x="7859" y="6644"/>
                  </a:lnTo>
                  <a:lnTo>
                    <a:pt x="6609" y="6644"/>
                  </a:lnTo>
                  <a:lnTo>
                    <a:pt x="6609" y="2084"/>
                  </a:lnTo>
                  <a:cubicBezTo>
                    <a:pt x="6609" y="2000"/>
                    <a:pt x="6537" y="1917"/>
                    <a:pt x="6442" y="1917"/>
                  </a:cubicBezTo>
                  <a:lnTo>
                    <a:pt x="4704" y="1917"/>
                  </a:lnTo>
                  <a:cubicBezTo>
                    <a:pt x="4608" y="1917"/>
                    <a:pt x="4537" y="2000"/>
                    <a:pt x="4537" y="2084"/>
                  </a:cubicBezTo>
                  <a:lnTo>
                    <a:pt x="4537" y="6644"/>
                  </a:lnTo>
                  <a:lnTo>
                    <a:pt x="3287" y="6644"/>
                  </a:lnTo>
                  <a:lnTo>
                    <a:pt x="3287" y="2965"/>
                  </a:lnTo>
                  <a:cubicBezTo>
                    <a:pt x="3287" y="2881"/>
                    <a:pt x="3215" y="2798"/>
                    <a:pt x="3120" y="2798"/>
                  </a:cubicBezTo>
                  <a:lnTo>
                    <a:pt x="1382" y="2798"/>
                  </a:lnTo>
                  <a:cubicBezTo>
                    <a:pt x="1298" y="2798"/>
                    <a:pt x="1215" y="2881"/>
                    <a:pt x="1215" y="2965"/>
                  </a:cubicBezTo>
                  <a:lnTo>
                    <a:pt x="1215" y="6644"/>
                  </a:lnTo>
                  <a:lnTo>
                    <a:pt x="167" y="6644"/>
                  </a:lnTo>
                  <a:cubicBezTo>
                    <a:pt x="72" y="6644"/>
                    <a:pt x="1" y="6715"/>
                    <a:pt x="1" y="6810"/>
                  </a:cubicBezTo>
                  <a:cubicBezTo>
                    <a:pt x="1" y="6894"/>
                    <a:pt x="72" y="6965"/>
                    <a:pt x="167" y="6965"/>
                  </a:cubicBezTo>
                  <a:lnTo>
                    <a:pt x="11002" y="6965"/>
                  </a:lnTo>
                  <a:cubicBezTo>
                    <a:pt x="11085" y="6965"/>
                    <a:pt x="11157" y="6894"/>
                    <a:pt x="11157" y="6810"/>
                  </a:cubicBezTo>
                  <a:cubicBezTo>
                    <a:pt x="11145" y="6715"/>
                    <a:pt x="11073" y="6644"/>
                    <a:pt x="10990" y="6644"/>
                  </a:cubicBezTo>
                  <a:lnTo>
                    <a:pt x="9930" y="6644"/>
                  </a:lnTo>
                  <a:lnTo>
                    <a:pt x="9930" y="167"/>
                  </a:lnTo>
                  <a:cubicBezTo>
                    <a:pt x="9930" y="83"/>
                    <a:pt x="9859" y="0"/>
                    <a:pt x="97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0" name="Google Shape;10920;p60"/>
            <p:cNvSpPr/>
            <p:nvPr/>
          </p:nvSpPr>
          <p:spPr>
            <a:xfrm>
              <a:off x="3544417" y="2427549"/>
              <a:ext cx="339568" cy="205415"/>
            </a:xfrm>
            <a:custGeom>
              <a:avLst/>
              <a:gdLst/>
              <a:ahLst/>
              <a:cxnLst/>
              <a:rect l="l" t="t" r="r" b="b"/>
              <a:pathLst>
                <a:path w="10669" h="6454" extrusionOk="0">
                  <a:moveTo>
                    <a:pt x="10157" y="0"/>
                  </a:moveTo>
                  <a:cubicBezTo>
                    <a:pt x="10125" y="0"/>
                    <a:pt x="10093" y="4"/>
                    <a:pt x="10061" y="12"/>
                  </a:cubicBezTo>
                  <a:lnTo>
                    <a:pt x="8656" y="191"/>
                  </a:lnTo>
                  <a:cubicBezTo>
                    <a:pt x="8382" y="214"/>
                    <a:pt x="8180" y="488"/>
                    <a:pt x="8216" y="762"/>
                  </a:cubicBezTo>
                  <a:cubicBezTo>
                    <a:pt x="8238" y="1032"/>
                    <a:pt x="8483" y="1217"/>
                    <a:pt x="8751" y="1217"/>
                  </a:cubicBezTo>
                  <a:cubicBezTo>
                    <a:pt x="8767" y="1217"/>
                    <a:pt x="8783" y="1216"/>
                    <a:pt x="8799" y="1215"/>
                  </a:cubicBezTo>
                  <a:lnTo>
                    <a:pt x="8906" y="1203"/>
                  </a:lnTo>
                  <a:lnTo>
                    <a:pt x="8906" y="1203"/>
                  </a:lnTo>
                  <a:cubicBezTo>
                    <a:pt x="7204" y="3191"/>
                    <a:pt x="5156" y="4215"/>
                    <a:pt x="3715" y="4727"/>
                  </a:cubicBezTo>
                  <a:cubicBezTo>
                    <a:pt x="1917" y="5370"/>
                    <a:pt x="524" y="5429"/>
                    <a:pt x="500" y="5429"/>
                  </a:cubicBezTo>
                  <a:cubicBezTo>
                    <a:pt x="227" y="5441"/>
                    <a:pt x="0" y="5679"/>
                    <a:pt x="12" y="5965"/>
                  </a:cubicBezTo>
                  <a:cubicBezTo>
                    <a:pt x="24" y="6239"/>
                    <a:pt x="250" y="6453"/>
                    <a:pt x="524" y="6453"/>
                  </a:cubicBezTo>
                  <a:lnTo>
                    <a:pt x="536" y="6453"/>
                  </a:lnTo>
                  <a:cubicBezTo>
                    <a:pt x="596" y="6453"/>
                    <a:pt x="2084" y="6394"/>
                    <a:pt x="4037" y="5703"/>
                  </a:cubicBezTo>
                  <a:cubicBezTo>
                    <a:pt x="5132" y="5322"/>
                    <a:pt x="6156" y="4798"/>
                    <a:pt x="7096" y="4167"/>
                  </a:cubicBezTo>
                  <a:cubicBezTo>
                    <a:pt x="7168" y="4120"/>
                    <a:pt x="7192" y="4013"/>
                    <a:pt x="7144" y="3941"/>
                  </a:cubicBezTo>
                  <a:cubicBezTo>
                    <a:pt x="7113" y="3895"/>
                    <a:pt x="7058" y="3869"/>
                    <a:pt x="7003" y="3869"/>
                  </a:cubicBezTo>
                  <a:cubicBezTo>
                    <a:pt x="6973" y="3869"/>
                    <a:pt x="6943" y="3877"/>
                    <a:pt x="6918" y="3893"/>
                  </a:cubicBezTo>
                  <a:cubicBezTo>
                    <a:pt x="5989" y="4513"/>
                    <a:pt x="5001" y="5025"/>
                    <a:pt x="3929" y="5394"/>
                  </a:cubicBezTo>
                  <a:cubicBezTo>
                    <a:pt x="2024" y="6084"/>
                    <a:pt x="596" y="6120"/>
                    <a:pt x="536" y="6120"/>
                  </a:cubicBezTo>
                  <a:cubicBezTo>
                    <a:pt x="429" y="6120"/>
                    <a:pt x="358" y="6049"/>
                    <a:pt x="358" y="5953"/>
                  </a:cubicBezTo>
                  <a:cubicBezTo>
                    <a:pt x="358" y="5846"/>
                    <a:pt x="429" y="5751"/>
                    <a:pt x="536" y="5751"/>
                  </a:cubicBezTo>
                  <a:cubicBezTo>
                    <a:pt x="548" y="5751"/>
                    <a:pt x="1989" y="5691"/>
                    <a:pt x="3834" y="5036"/>
                  </a:cubicBezTo>
                  <a:cubicBezTo>
                    <a:pt x="5406" y="4489"/>
                    <a:pt x="7632" y="3346"/>
                    <a:pt x="9454" y="1084"/>
                  </a:cubicBezTo>
                  <a:cubicBezTo>
                    <a:pt x="9534" y="969"/>
                    <a:pt x="9459" y="809"/>
                    <a:pt x="9315" y="809"/>
                  </a:cubicBezTo>
                  <a:cubicBezTo>
                    <a:pt x="9310" y="809"/>
                    <a:pt x="9304" y="809"/>
                    <a:pt x="9299" y="810"/>
                  </a:cubicBezTo>
                  <a:lnTo>
                    <a:pt x="8775" y="869"/>
                  </a:lnTo>
                  <a:cubicBezTo>
                    <a:pt x="8768" y="870"/>
                    <a:pt x="8761" y="871"/>
                    <a:pt x="8754" y="871"/>
                  </a:cubicBezTo>
                  <a:cubicBezTo>
                    <a:pt x="8676" y="871"/>
                    <a:pt x="8595" y="815"/>
                    <a:pt x="8573" y="738"/>
                  </a:cubicBezTo>
                  <a:cubicBezTo>
                    <a:pt x="8537" y="631"/>
                    <a:pt x="8620" y="512"/>
                    <a:pt x="8740" y="500"/>
                  </a:cubicBezTo>
                  <a:lnTo>
                    <a:pt x="10133" y="322"/>
                  </a:lnTo>
                  <a:cubicBezTo>
                    <a:pt x="10139" y="321"/>
                    <a:pt x="10146" y="320"/>
                    <a:pt x="10153" y="320"/>
                  </a:cubicBezTo>
                  <a:cubicBezTo>
                    <a:pt x="10253" y="320"/>
                    <a:pt x="10347" y="400"/>
                    <a:pt x="10347" y="500"/>
                  </a:cubicBezTo>
                  <a:lnTo>
                    <a:pt x="10347" y="1893"/>
                  </a:lnTo>
                  <a:cubicBezTo>
                    <a:pt x="10347" y="2000"/>
                    <a:pt x="10252" y="2072"/>
                    <a:pt x="10168" y="2072"/>
                  </a:cubicBezTo>
                  <a:cubicBezTo>
                    <a:pt x="10073" y="2072"/>
                    <a:pt x="9990" y="1988"/>
                    <a:pt x="9990" y="1893"/>
                  </a:cubicBezTo>
                  <a:lnTo>
                    <a:pt x="9990" y="1477"/>
                  </a:lnTo>
                  <a:cubicBezTo>
                    <a:pt x="9990" y="1417"/>
                    <a:pt x="9942" y="1346"/>
                    <a:pt x="9883" y="1334"/>
                  </a:cubicBezTo>
                  <a:cubicBezTo>
                    <a:pt x="9866" y="1324"/>
                    <a:pt x="9848" y="1319"/>
                    <a:pt x="9830" y="1319"/>
                  </a:cubicBezTo>
                  <a:cubicBezTo>
                    <a:pt x="9784" y="1319"/>
                    <a:pt x="9738" y="1347"/>
                    <a:pt x="9704" y="1381"/>
                  </a:cubicBezTo>
                  <a:cubicBezTo>
                    <a:pt x="9085" y="2119"/>
                    <a:pt x="8394" y="2810"/>
                    <a:pt x="7632" y="3382"/>
                  </a:cubicBezTo>
                  <a:cubicBezTo>
                    <a:pt x="7561" y="3441"/>
                    <a:pt x="7537" y="3548"/>
                    <a:pt x="7597" y="3608"/>
                  </a:cubicBezTo>
                  <a:cubicBezTo>
                    <a:pt x="7635" y="3646"/>
                    <a:pt x="7692" y="3674"/>
                    <a:pt x="7744" y="3674"/>
                  </a:cubicBezTo>
                  <a:cubicBezTo>
                    <a:pt x="7773" y="3674"/>
                    <a:pt x="7801" y="3665"/>
                    <a:pt x="7823" y="3643"/>
                  </a:cubicBezTo>
                  <a:cubicBezTo>
                    <a:pt x="8489" y="3131"/>
                    <a:pt x="9109" y="2548"/>
                    <a:pt x="9656" y="1917"/>
                  </a:cubicBezTo>
                  <a:cubicBezTo>
                    <a:pt x="9668" y="2179"/>
                    <a:pt x="9894" y="2405"/>
                    <a:pt x="10156" y="2405"/>
                  </a:cubicBezTo>
                  <a:cubicBezTo>
                    <a:pt x="10442" y="2405"/>
                    <a:pt x="10668" y="2179"/>
                    <a:pt x="10668" y="1893"/>
                  </a:cubicBezTo>
                  <a:lnTo>
                    <a:pt x="10668" y="500"/>
                  </a:lnTo>
                  <a:cubicBezTo>
                    <a:pt x="10621" y="369"/>
                    <a:pt x="10561" y="238"/>
                    <a:pt x="10466" y="131"/>
                  </a:cubicBezTo>
                  <a:cubicBezTo>
                    <a:pt x="10382" y="48"/>
                    <a:pt x="10270" y="0"/>
                    <a:pt x="10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1" name="Google Shape;10921;p60"/>
          <p:cNvGrpSpPr/>
          <p:nvPr/>
        </p:nvGrpSpPr>
        <p:grpSpPr>
          <a:xfrm>
            <a:off x="2656907" y="2439293"/>
            <a:ext cx="332757" cy="332343"/>
            <a:chOff x="2656907" y="2439293"/>
            <a:chExt cx="332757" cy="332343"/>
          </a:xfrm>
        </p:grpSpPr>
        <p:sp>
          <p:nvSpPr>
            <p:cNvPr id="10922" name="Google Shape;10922;p60"/>
            <p:cNvSpPr/>
            <p:nvPr/>
          </p:nvSpPr>
          <p:spPr>
            <a:xfrm>
              <a:off x="2868751" y="2547666"/>
              <a:ext cx="53088" cy="53088"/>
            </a:xfrm>
            <a:custGeom>
              <a:avLst/>
              <a:gdLst/>
              <a:ahLst/>
              <a:cxnLst/>
              <a:rect l="l" t="t" r="r" b="b"/>
              <a:pathLst>
                <a:path w="1668" h="1668" extrusionOk="0">
                  <a:moveTo>
                    <a:pt x="834" y="334"/>
                  </a:moveTo>
                  <a:cubicBezTo>
                    <a:pt x="1120" y="334"/>
                    <a:pt x="1346" y="548"/>
                    <a:pt x="1346" y="834"/>
                  </a:cubicBezTo>
                  <a:cubicBezTo>
                    <a:pt x="1346" y="1120"/>
                    <a:pt x="1120" y="1334"/>
                    <a:pt x="834" y="1334"/>
                  </a:cubicBezTo>
                  <a:cubicBezTo>
                    <a:pt x="560" y="1334"/>
                    <a:pt x="334" y="1120"/>
                    <a:pt x="334" y="834"/>
                  </a:cubicBezTo>
                  <a:cubicBezTo>
                    <a:pt x="334" y="548"/>
                    <a:pt x="572" y="334"/>
                    <a:pt x="834" y="334"/>
                  </a:cubicBezTo>
                  <a:close/>
                  <a:moveTo>
                    <a:pt x="834" y="0"/>
                  </a:moveTo>
                  <a:cubicBezTo>
                    <a:pt x="381" y="0"/>
                    <a:pt x="0" y="370"/>
                    <a:pt x="0" y="834"/>
                  </a:cubicBezTo>
                  <a:cubicBezTo>
                    <a:pt x="0" y="1298"/>
                    <a:pt x="381"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3" name="Google Shape;10923;p60"/>
            <p:cNvSpPr/>
            <p:nvPr/>
          </p:nvSpPr>
          <p:spPr>
            <a:xfrm>
              <a:off x="2870661" y="2611703"/>
              <a:ext cx="68970" cy="49301"/>
            </a:xfrm>
            <a:custGeom>
              <a:avLst/>
              <a:gdLst/>
              <a:ahLst/>
              <a:cxnLst/>
              <a:rect l="l" t="t" r="r" b="b"/>
              <a:pathLst>
                <a:path w="2167" h="1549" extrusionOk="0">
                  <a:moveTo>
                    <a:pt x="774" y="1"/>
                  </a:moveTo>
                  <a:cubicBezTo>
                    <a:pt x="560" y="1"/>
                    <a:pt x="333" y="60"/>
                    <a:pt x="119" y="167"/>
                  </a:cubicBezTo>
                  <a:cubicBezTo>
                    <a:pt x="48" y="203"/>
                    <a:pt x="0" y="310"/>
                    <a:pt x="48" y="382"/>
                  </a:cubicBezTo>
                  <a:cubicBezTo>
                    <a:pt x="83" y="443"/>
                    <a:pt x="150" y="479"/>
                    <a:pt x="212" y="479"/>
                  </a:cubicBezTo>
                  <a:cubicBezTo>
                    <a:pt x="234" y="479"/>
                    <a:pt x="255" y="474"/>
                    <a:pt x="274" y="465"/>
                  </a:cubicBezTo>
                  <a:cubicBezTo>
                    <a:pt x="417" y="382"/>
                    <a:pt x="595" y="346"/>
                    <a:pt x="762" y="346"/>
                  </a:cubicBezTo>
                  <a:cubicBezTo>
                    <a:pt x="1286" y="346"/>
                    <a:pt x="1715" y="727"/>
                    <a:pt x="1786" y="1215"/>
                  </a:cubicBezTo>
                  <a:lnTo>
                    <a:pt x="762" y="1215"/>
                  </a:lnTo>
                  <a:cubicBezTo>
                    <a:pt x="679" y="1215"/>
                    <a:pt x="595" y="1298"/>
                    <a:pt x="595" y="1382"/>
                  </a:cubicBezTo>
                  <a:cubicBezTo>
                    <a:pt x="595" y="1477"/>
                    <a:pt x="679" y="1548"/>
                    <a:pt x="762" y="1548"/>
                  </a:cubicBezTo>
                  <a:lnTo>
                    <a:pt x="1988" y="1548"/>
                  </a:lnTo>
                  <a:cubicBezTo>
                    <a:pt x="2072" y="1548"/>
                    <a:pt x="2143" y="1477"/>
                    <a:pt x="2143" y="1382"/>
                  </a:cubicBezTo>
                  <a:cubicBezTo>
                    <a:pt x="2167" y="608"/>
                    <a:pt x="1536"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4" name="Google Shape;10924;p60"/>
            <p:cNvSpPr/>
            <p:nvPr/>
          </p:nvSpPr>
          <p:spPr>
            <a:xfrm>
              <a:off x="2705794" y="2611321"/>
              <a:ext cx="68620" cy="49301"/>
            </a:xfrm>
            <a:custGeom>
              <a:avLst/>
              <a:gdLst/>
              <a:ahLst/>
              <a:cxnLst/>
              <a:rect l="l" t="t" r="r" b="b"/>
              <a:pathLst>
                <a:path w="2156" h="1549" extrusionOk="0">
                  <a:moveTo>
                    <a:pt x="1394" y="1"/>
                  </a:moveTo>
                  <a:cubicBezTo>
                    <a:pt x="632" y="1"/>
                    <a:pt x="1" y="620"/>
                    <a:pt x="1" y="1382"/>
                  </a:cubicBezTo>
                  <a:cubicBezTo>
                    <a:pt x="1" y="1465"/>
                    <a:pt x="84" y="1548"/>
                    <a:pt x="167" y="1548"/>
                  </a:cubicBezTo>
                  <a:lnTo>
                    <a:pt x="1406" y="1548"/>
                  </a:lnTo>
                  <a:cubicBezTo>
                    <a:pt x="1489" y="1548"/>
                    <a:pt x="1572" y="1465"/>
                    <a:pt x="1572" y="1382"/>
                  </a:cubicBezTo>
                  <a:cubicBezTo>
                    <a:pt x="1572" y="1287"/>
                    <a:pt x="1501" y="1215"/>
                    <a:pt x="1418" y="1215"/>
                  </a:cubicBezTo>
                  <a:lnTo>
                    <a:pt x="382" y="1215"/>
                  </a:lnTo>
                  <a:cubicBezTo>
                    <a:pt x="453" y="727"/>
                    <a:pt x="882" y="334"/>
                    <a:pt x="1406" y="334"/>
                  </a:cubicBezTo>
                  <a:cubicBezTo>
                    <a:pt x="1584" y="334"/>
                    <a:pt x="1751" y="382"/>
                    <a:pt x="1894" y="453"/>
                  </a:cubicBezTo>
                  <a:cubicBezTo>
                    <a:pt x="1918" y="469"/>
                    <a:pt x="1945" y="477"/>
                    <a:pt x="1974" y="477"/>
                  </a:cubicBezTo>
                  <a:cubicBezTo>
                    <a:pt x="2030" y="477"/>
                    <a:pt x="2088" y="445"/>
                    <a:pt x="2120" y="382"/>
                  </a:cubicBezTo>
                  <a:cubicBezTo>
                    <a:pt x="2156" y="310"/>
                    <a:pt x="2132" y="203"/>
                    <a:pt x="2049" y="155"/>
                  </a:cubicBezTo>
                  <a:cubicBezTo>
                    <a:pt x="1846" y="60"/>
                    <a:pt x="1632" y="1"/>
                    <a:pt x="1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5" name="Google Shape;10925;p60"/>
            <p:cNvSpPr/>
            <p:nvPr/>
          </p:nvSpPr>
          <p:spPr>
            <a:xfrm>
              <a:off x="2724000" y="2547666"/>
              <a:ext cx="53088" cy="53088"/>
            </a:xfrm>
            <a:custGeom>
              <a:avLst/>
              <a:gdLst/>
              <a:ahLst/>
              <a:cxnLst/>
              <a:rect l="l" t="t" r="r" b="b"/>
              <a:pathLst>
                <a:path w="1668" h="1668" extrusionOk="0">
                  <a:moveTo>
                    <a:pt x="834" y="334"/>
                  </a:moveTo>
                  <a:cubicBezTo>
                    <a:pt x="1119" y="334"/>
                    <a:pt x="1334" y="548"/>
                    <a:pt x="1334" y="834"/>
                  </a:cubicBezTo>
                  <a:cubicBezTo>
                    <a:pt x="1334" y="1120"/>
                    <a:pt x="1119" y="1334"/>
                    <a:pt x="834" y="1334"/>
                  </a:cubicBezTo>
                  <a:cubicBezTo>
                    <a:pt x="548" y="1334"/>
                    <a:pt x="322" y="1120"/>
                    <a:pt x="322" y="834"/>
                  </a:cubicBezTo>
                  <a:cubicBezTo>
                    <a:pt x="322" y="548"/>
                    <a:pt x="548" y="334"/>
                    <a:pt x="834" y="334"/>
                  </a:cubicBezTo>
                  <a:close/>
                  <a:moveTo>
                    <a:pt x="834" y="0"/>
                  </a:moveTo>
                  <a:cubicBezTo>
                    <a:pt x="369" y="0"/>
                    <a:pt x="0" y="370"/>
                    <a:pt x="0" y="834"/>
                  </a:cubicBezTo>
                  <a:cubicBezTo>
                    <a:pt x="0" y="1298"/>
                    <a:pt x="369" y="1667"/>
                    <a:pt x="834" y="1667"/>
                  </a:cubicBezTo>
                  <a:cubicBezTo>
                    <a:pt x="1298" y="1667"/>
                    <a:pt x="1667" y="1298"/>
                    <a:pt x="1667" y="834"/>
                  </a:cubicBezTo>
                  <a:cubicBezTo>
                    <a:pt x="1667" y="370"/>
                    <a:pt x="1298"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6" name="Google Shape;10926;p60"/>
            <p:cNvSpPr/>
            <p:nvPr/>
          </p:nvSpPr>
          <p:spPr>
            <a:xfrm>
              <a:off x="2788800" y="2534394"/>
              <a:ext cx="68238" cy="68238"/>
            </a:xfrm>
            <a:custGeom>
              <a:avLst/>
              <a:gdLst/>
              <a:ahLst/>
              <a:cxnLst/>
              <a:rect l="l" t="t" r="r" b="b"/>
              <a:pathLst>
                <a:path w="2144" h="2144" extrusionOk="0">
                  <a:moveTo>
                    <a:pt x="1072" y="334"/>
                  </a:moveTo>
                  <a:cubicBezTo>
                    <a:pt x="1489" y="334"/>
                    <a:pt x="1822" y="656"/>
                    <a:pt x="1822" y="1072"/>
                  </a:cubicBezTo>
                  <a:cubicBezTo>
                    <a:pt x="1822" y="1489"/>
                    <a:pt x="1489" y="1822"/>
                    <a:pt x="1072" y="1822"/>
                  </a:cubicBezTo>
                  <a:cubicBezTo>
                    <a:pt x="655" y="1822"/>
                    <a:pt x="334" y="1489"/>
                    <a:pt x="334" y="1072"/>
                  </a:cubicBezTo>
                  <a:cubicBezTo>
                    <a:pt x="334" y="656"/>
                    <a:pt x="667" y="334"/>
                    <a:pt x="1072" y="334"/>
                  </a:cubicBezTo>
                  <a:close/>
                  <a:moveTo>
                    <a:pt x="1072" y="1"/>
                  </a:moveTo>
                  <a:cubicBezTo>
                    <a:pt x="477" y="1"/>
                    <a:pt x="0" y="477"/>
                    <a:pt x="0" y="1072"/>
                  </a:cubicBezTo>
                  <a:cubicBezTo>
                    <a:pt x="0" y="1668"/>
                    <a:pt x="477" y="2144"/>
                    <a:pt x="1072" y="2144"/>
                  </a:cubicBezTo>
                  <a:cubicBezTo>
                    <a:pt x="1667" y="2144"/>
                    <a:pt x="2143" y="1668"/>
                    <a:pt x="2143" y="1072"/>
                  </a:cubicBezTo>
                  <a:cubicBezTo>
                    <a:pt x="2143"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7" name="Google Shape;10927;p60"/>
            <p:cNvSpPr/>
            <p:nvPr/>
          </p:nvSpPr>
          <p:spPr>
            <a:xfrm>
              <a:off x="2764930" y="2613613"/>
              <a:ext cx="115979" cy="62923"/>
            </a:xfrm>
            <a:custGeom>
              <a:avLst/>
              <a:gdLst/>
              <a:ahLst/>
              <a:cxnLst/>
              <a:rect l="l" t="t" r="r" b="b"/>
              <a:pathLst>
                <a:path w="3644" h="1977" extrusionOk="0">
                  <a:moveTo>
                    <a:pt x="1822" y="345"/>
                  </a:moveTo>
                  <a:cubicBezTo>
                    <a:pt x="2584" y="345"/>
                    <a:pt x="3203" y="917"/>
                    <a:pt x="3298" y="1655"/>
                  </a:cubicBezTo>
                  <a:lnTo>
                    <a:pt x="345" y="1655"/>
                  </a:lnTo>
                  <a:cubicBezTo>
                    <a:pt x="441" y="905"/>
                    <a:pt x="1060" y="345"/>
                    <a:pt x="1822" y="345"/>
                  </a:cubicBezTo>
                  <a:close/>
                  <a:moveTo>
                    <a:pt x="1822" y="0"/>
                  </a:moveTo>
                  <a:cubicBezTo>
                    <a:pt x="822" y="0"/>
                    <a:pt x="0" y="822"/>
                    <a:pt x="0" y="1810"/>
                  </a:cubicBezTo>
                  <a:cubicBezTo>
                    <a:pt x="0" y="1905"/>
                    <a:pt x="84" y="1977"/>
                    <a:pt x="167" y="1977"/>
                  </a:cubicBezTo>
                  <a:lnTo>
                    <a:pt x="3477" y="1977"/>
                  </a:lnTo>
                  <a:cubicBezTo>
                    <a:pt x="3560" y="1977"/>
                    <a:pt x="3643" y="1905"/>
                    <a:pt x="3643" y="1810"/>
                  </a:cubicBezTo>
                  <a:cubicBezTo>
                    <a:pt x="3643" y="798"/>
                    <a:pt x="282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8" name="Google Shape;10928;p60"/>
            <p:cNvSpPr/>
            <p:nvPr/>
          </p:nvSpPr>
          <p:spPr>
            <a:xfrm>
              <a:off x="2656907" y="2439293"/>
              <a:ext cx="332757" cy="332343"/>
            </a:xfrm>
            <a:custGeom>
              <a:avLst/>
              <a:gdLst/>
              <a:ahLst/>
              <a:cxnLst/>
              <a:rect l="l" t="t" r="r" b="b"/>
              <a:pathLst>
                <a:path w="10455" h="10442" extrusionOk="0">
                  <a:moveTo>
                    <a:pt x="5383" y="893"/>
                  </a:moveTo>
                  <a:cubicBezTo>
                    <a:pt x="7645" y="977"/>
                    <a:pt x="9454" y="2798"/>
                    <a:pt x="9550" y="5060"/>
                  </a:cubicBezTo>
                  <a:lnTo>
                    <a:pt x="9145" y="5060"/>
                  </a:lnTo>
                  <a:cubicBezTo>
                    <a:pt x="9050" y="5060"/>
                    <a:pt x="8978" y="5132"/>
                    <a:pt x="8978" y="5227"/>
                  </a:cubicBezTo>
                  <a:cubicBezTo>
                    <a:pt x="8978" y="5310"/>
                    <a:pt x="9050" y="5382"/>
                    <a:pt x="9145" y="5382"/>
                  </a:cubicBezTo>
                  <a:lnTo>
                    <a:pt x="9550" y="5382"/>
                  </a:lnTo>
                  <a:cubicBezTo>
                    <a:pt x="9454" y="7644"/>
                    <a:pt x="7645" y="9466"/>
                    <a:pt x="5383" y="9549"/>
                  </a:cubicBezTo>
                  <a:lnTo>
                    <a:pt x="5383" y="9156"/>
                  </a:lnTo>
                  <a:cubicBezTo>
                    <a:pt x="5383" y="9061"/>
                    <a:pt x="5311" y="8989"/>
                    <a:pt x="5216" y="8989"/>
                  </a:cubicBezTo>
                  <a:cubicBezTo>
                    <a:pt x="5121" y="8989"/>
                    <a:pt x="5049" y="9061"/>
                    <a:pt x="5049" y="9156"/>
                  </a:cubicBezTo>
                  <a:lnTo>
                    <a:pt x="5049" y="9549"/>
                  </a:lnTo>
                  <a:cubicBezTo>
                    <a:pt x="2787" y="9466"/>
                    <a:pt x="977" y="7644"/>
                    <a:pt x="882" y="5382"/>
                  </a:cubicBezTo>
                  <a:lnTo>
                    <a:pt x="1287" y="5382"/>
                  </a:lnTo>
                  <a:cubicBezTo>
                    <a:pt x="1382" y="5382"/>
                    <a:pt x="1453" y="5310"/>
                    <a:pt x="1453" y="5227"/>
                  </a:cubicBezTo>
                  <a:cubicBezTo>
                    <a:pt x="1453" y="5132"/>
                    <a:pt x="1382" y="5060"/>
                    <a:pt x="1287" y="5060"/>
                  </a:cubicBezTo>
                  <a:lnTo>
                    <a:pt x="882" y="5060"/>
                  </a:lnTo>
                  <a:cubicBezTo>
                    <a:pt x="977" y="2798"/>
                    <a:pt x="2787" y="977"/>
                    <a:pt x="5049" y="893"/>
                  </a:cubicBezTo>
                  <a:lnTo>
                    <a:pt x="5049" y="1286"/>
                  </a:lnTo>
                  <a:cubicBezTo>
                    <a:pt x="5049" y="1381"/>
                    <a:pt x="5121" y="1453"/>
                    <a:pt x="5216" y="1453"/>
                  </a:cubicBezTo>
                  <a:cubicBezTo>
                    <a:pt x="5311" y="1453"/>
                    <a:pt x="5383" y="1381"/>
                    <a:pt x="5383" y="1286"/>
                  </a:cubicBezTo>
                  <a:lnTo>
                    <a:pt x="5383" y="893"/>
                  </a:lnTo>
                  <a:close/>
                  <a:moveTo>
                    <a:pt x="5228" y="0"/>
                  </a:moveTo>
                  <a:cubicBezTo>
                    <a:pt x="5144" y="0"/>
                    <a:pt x="5061" y="72"/>
                    <a:pt x="5061" y="167"/>
                  </a:cubicBezTo>
                  <a:lnTo>
                    <a:pt x="5061" y="560"/>
                  </a:lnTo>
                  <a:cubicBezTo>
                    <a:pt x="2620" y="655"/>
                    <a:pt x="656" y="2620"/>
                    <a:pt x="572" y="5060"/>
                  </a:cubicBezTo>
                  <a:lnTo>
                    <a:pt x="168" y="5060"/>
                  </a:lnTo>
                  <a:cubicBezTo>
                    <a:pt x="84" y="5060"/>
                    <a:pt x="1" y="5132"/>
                    <a:pt x="1" y="5227"/>
                  </a:cubicBezTo>
                  <a:cubicBezTo>
                    <a:pt x="1" y="5310"/>
                    <a:pt x="84" y="5382"/>
                    <a:pt x="168" y="5382"/>
                  </a:cubicBezTo>
                  <a:lnTo>
                    <a:pt x="572" y="5382"/>
                  </a:lnTo>
                  <a:cubicBezTo>
                    <a:pt x="656" y="7823"/>
                    <a:pt x="2620" y="9787"/>
                    <a:pt x="5061" y="9882"/>
                  </a:cubicBezTo>
                  <a:lnTo>
                    <a:pt x="5061" y="10287"/>
                  </a:lnTo>
                  <a:cubicBezTo>
                    <a:pt x="5061" y="10371"/>
                    <a:pt x="5144" y="10442"/>
                    <a:pt x="5228" y="10442"/>
                  </a:cubicBezTo>
                  <a:cubicBezTo>
                    <a:pt x="5323" y="10442"/>
                    <a:pt x="5394" y="10371"/>
                    <a:pt x="5394" y="10287"/>
                  </a:cubicBezTo>
                  <a:lnTo>
                    <a:pt x="5394" y="9882"/>
                  </a:lnTo>
                  <a:cubicBezTo>
                    <a:pt x="7835" y="9787"/>
                    <a:pt x="9800" y="7823"/>
                    <a:pt x="9883" y="5382"/>
                  </a:cubicBezTo>
                  <a:lnTo>
                    <a:pt x="10288" y="5382"/>
                  </a:lnTo>
                  <a:cubicBezTo>
                    <a:pt x="10383" y="5382"/>
                    <a:pt x="10455" y="5310"/>
                    <a:pt x="10455" y="5227"/>
                  </a:cubicBezTo>
                  <a:cubicBezTo>
                    <a:pt x="10455" y="5132"/>
                    <a:pt x="10383" y="5060"/>
                    <a:pt x="10288" y="5060"/>
                  </a:cubicBezTo>
                  <a:lnTo>
                    <a:pt x="9883" y="5060"/>
                  </a:lnTo>
                  <a:cubicBezTo>
                    <a:pt x="9800" y="2620"/>
                    <a:pt x="7835" y="655"/>
                    <a:pt x="5394" y="560"/>
                  </a:cubicBezTo>
                  <a:lnTo>
                    <a:pt x="5394" y="167"/>
                  </a:lnTo>
                  <a:cubicBezTo>
                    <a:pt x="5394" y="72"/>
                    <a:pt x="5323" y="0"/>
                    <a:pt x="5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29" name="Google Shape;10929;p60"/>
          <p:cNvGrpSpPr/>
          <p:nvPr/>
        </p:nvGrpSpPr>
        <p:grpSpPr>
          <a:xfrm>
            <a:off x="1731523" y="2422616"/>
            <a:ext cx="399435" cy="365698"/>
            <a:chOff x="1731523" y="2422616"/>
            <a:chExt cx="399435" cy="365698"/>
          </a:xfrm>
        </p:grpSpPr>
        <p:sp>
          <p:nvSpPr>
            <p:cNvPr id="10930" name="Google Shape;10930;p60"/>
            <p:cNvSpPr/>
            <p:nvPr/>
          </p:nvSpPr>
          <p:spPr>
            <a:xfrm>
              <a:off x="1865294" y="2725009"/>
              <a:ext cx="43604" cy="43604"/>
            </a:xfrm>
            <a:custGeom>
              <a:avLst/>
              <a:gdLst/>
              <a:ahLst/>
              <a:cxnLst/>
              <a:rect l="l" t="t" r="r" b="b"/>
              <a:pathLst>
                <a:path w="1370" h="1370" extrusionOk="0">
                  <a:moveTo>
                    <a:pt x="679" y="370"/>
                  </a:moveTo>
                  <a:cubicBezTo>
                    <a:pt x="858" y="370"/>
                    <a:pt x="1013" y="512"/>
                    <a:pt x="1013" y="691"/>
                  </a:cubicBezTo>
                  <a:cubicBezTo>
                    <a:pt x="1013" y="870"/>
                    <a:pt x="858" y="1024"/>
                    <a:pt x="679" y="1024"/>
                  </a:cubicBezTo>
                  <a:cubicBezTo>
                    <a:pt x="501" y="1024"/>
                    <a:pt x="358" y="870"/>
                    <a:pt x="358" y="691"/>
                  </a:cubicBezTo>
                  <a:cubicBezTo>
                    <a:pt x="370" y="501"/>
                    <a:pt x="501" y="370"/>
                    <a:pt x="679" y="370"/>
                  </a:cubicBezTo>
                  <a:close/>
                  <a:moveTo>
                    <a:pt x="679" y="1"/>
                  </a:moveTo>
                  <a:cubicBezTo>
                    <a:pt x="310" y="1"/>
                    <a:pt x="1" y="310"/>
                    <a:pt x="1" y="679"/>
                  </a:cubicBezTo>
                  <a:cubicBezTo>
                    <a:pt x="1" y="1072"/>
                    <a:pt x="310" y="1370"/>
                    <a:pt x="679" y="1370"/>
                  </a:cubicBezTo>
                  <a:cubicBezTo>
                    <a:pt x="1048" y="1370"/>
                    <a:pt x="1370" y="1048"/>
                    <a:pt x="1370" y="679"/>
                  </a:cubicBezTo>
                  <a:cubicBezTo>
                    <a:pt x="1370" y="310"/>
                    <a:pt x="104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1" name="Google Shape;10931;p60"/>
            <p:cNvSpPr/>
            <p:nvPr/>
          </p:nvSpPr>
          <p:spPr>
            <a:xfrm>
              <a:off x="2005876" y="2725009"/>
              <a:ext cx="43636" cy="43604"/>
            </a:xfrm>
            <a:custGeom>
              <a:avLst/>
              <a:gdLst/>
              <a:ahLst/>
              <a:cxnLst/>
              <a:rect l="l" t="t" r="r" b="b"/>
              <a:pathLst>
                <a:path w="1371" h="1370" extrusionOk="0">
                  <a:moveTo>
                    <a:pt x="680" y="370"/>
                  </a:moveTo>
                  <a:cubicBezTo>
                    <a:pt x="858" y="370"/>
                    <a:pt x="1013" y="512"/>
                    <a:pt x="1013" y="691"/>
                  </a:cubicBezTo>
                  <a:cubicBezTo>
                    <a:pt x="1013" y="870"/>
                    <a:pt x="858" y="1024"/>
                    <a:pt x="680" y="1024"/>
                  </a:cubicBezTo>
                  <a:cubicBezTo>
                    <a:pt x="501" y="1024"/>
                    <a:pt x="358" y="870"/>
                    <a:pt x="358" y="691"/>
                  </a:cubicBezTo>
                  <a:cubicBezTo>
                    <a:pt x="370" y="501"/>
                    <a:pt x="501" y="370"/>
                    <a:pt x="680" y="370"/>
                  </a:cubicBezTo>
                  <a:close/>
                  <a:moveTo>
                    <a:pt x="680" y="1"/>
                  </a:moveTo>
                  <a:cubicBezTo>
                    <a:pt x="311" y="1"/>
                    <a:pt x="1" y="310"/>
                    <a:pt x="1" y="679"/>
                  </a:cubicBezTo>
                  <a:cubicBezTo>
                    <a:pt x="1" y="1072"/>
                    <a:pt x="311" y="1370"/>
                    <a:pt x="680" y="1370"/>
                  </a:cubicBezTo>
                  <a:cubicBezTo>
                    <a:pt x="1061" y="1370"/>
                    <a:pt x="1370" y="1048"/>
                    <a:pt x="1370" y="679"/>
                  </a:cubicBezTo>
                  <a:cubicBezTo>
                    <a:pt x="1370" y="310"/>
                    <a:pt x="1061"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2" name="Google Shape;10932;p60"/>
            <p:cNvSpPr/>
            <p:nvPr/>
          </p:nvSpPr>
          <p:spPr>
            <a:xfrm>
              <a:off x="1731523" y="2422616"/>
              <a:ext cx="399435" cy="365698"/>
            </a:xfrm>
            <a:custGeom>
              <a:avLst/>
              <a:gdLst/>
              <a:ahLst/>
              <a:cxnLst/>
              <a:rect l="l" t="t" r="r" b="b"/>
              <a:pathLst>
                <a:path w="12550" h="11490" extrusionOk="0">
                  <a:moveTo>
                    <a:pt x="4323" y="2143"/>
                  </a:moveTo>
                  <a:lnTo>
                    <a:pt x="4323" y="3215"/>
                  </a:lnTo>
                  <a:lnTo>
                    <a:pt x="3585" y="3215"/>
                  </a:lnTo>
                  <a:lnTo>
                    <a:pt x="3216" y="2143"/>
                  </a:lnTo>
                  <a:close/>
                  <a:moveTo>
                    <a:pt x="5787" y="2143"/>
                  </a:moveTo>
                  <a:lnTo>
                    <a:pt x="5787" y="3215"/>
                  </a:lnTo>
                  <a:lnTo>
                    <a:pt x="4692" y="3215"/>
                  </a:lnTo>
                  <a:lnTo>
                    <a:pt x="4692" y="2143"/>
                  </a:lnTo>
                  <a:close/>
                  <a:moveTo>
                    <a:pt x="7252" y="2143"/>
                  </a:moveTo>
                  <a:lnTo>
                    <a:pt x="7252" y="3215"/>
                  </a:lnTo>
                  <a:lnTo>
                    <a:pt x="6144" y="3215"/>
                  </a:lnTo>
                  <a:lnTo>
                    <a:pt x="6144" y="2143"/>
                  </a:lnTo>
                  <a:close/>
                  <a:moveTo>
                    <a:pt x="8704" y="2143"/>
                  </a:moveTo>
                  <a:lnTo>
                    <a:pt x="8704" y="3215"/>
                  </a:lnTo>
                  <a:lnTo>
                    <a:pt x="7609" y="3215"/>
                  </a:lnTo>
                  <a:lnTo>
                    <a:pt x="7609" y="2143"/>
                  </a:lnTo>
                  <a:close/>
                  <a:moveTo>
                    <a:pt x="10169" y="2143"/>
                  </a:moveTo>
                  <a:lnTo>
                    <a:pt x="10169" y="3215"/>
                  </a:lnTo>
                  <a:lnTo>
                    <a:pt x="9061" y="3215"/>
                  </a:lnTo>
                  <a:lnTo>
                    <a:pt x="9061" y="2143"/>
                  </a:lnTo>
                  <a:close/>
                  <a:moveTo>
                    <a:pt x="11050" y="2143"/>
                  </a:moveTo>
                  <a:lnTo>
                    <a:pt x="10788" y="3215"/>
                  </a:lnTo>
                  <a:lnTo>
                    <a:pt x="10538" y="3215"/>
                  </a:lnTo>
                  <a:lnTo>
                    <a:pt x="10538" y="2143"/>
                  </a:lnTo>
                  <a:close/>
                  <a:moveTo>
                    <a:pt x="10716" y="3572"/>
                  </a:moveTo>
                  <a:lnTo>
                    <a:pt x="10538" y="4334"/>
                  </a:lnTo>
                  <a:lnTo>
                    <a:pt x="10538" y="3572"/>
                  </a:lnTo>
                  <a:close/>
                  <a:moveTo>
                    <a:pt x="4323" y="3572"/>
                  </a:moveTo>
                  <a:lnTo>
                    <a:pt x="4323" y="4680"/>
                  </a:lnTo>
                  <a:lnTo>
                    <a:pt x="4108" y="4680"/>
                  </a:lnTo>
                  <a:lnTo>
                    <a:pt x="3727" y="3572"/>
                  </a:lnTo>
                  <a:close/>
                  <a:moveTo>
                    <a:pt x="5787" y="3572"/>
                  </a:moveTo>
                  <a:lnTo>
                    <a:pt x="5787" y="4680"/>
                  </a:lnTo>
                  <a:lnTo>
                    <a:pt x="4692" y="4680"/>
                  </a:lnTo>
                  <a:lnTo>
                    <a:pt x="4692" y="3572"/>
                  </a:lnTo>
                  <a:close/>
                  <a:moveTo>
                    <a:pt x="7252" y="3572"/>
                  </a:moveTo>
                  <a:lnTo>
                    <a:pt x="7252" y="4680"/>
                  </a:lnTo>
                  <a:lnTo>
                    <a:pt x="6144" y="4680"/>
                  </a:lnTo>
                  <a:lnTo>
                    <a:pt x="6144" y="3572"/>
                  </a:lnTo>
                  <a:close/>
                  <a:moveTo>
                    <a:pt x="8704" y="3572"/>
                  </a:moveTo>
                  <a:lnTo>
                    <a:pt x="8704" y="4680"/>
                  </a:lnTo>
                  <a:lnTo>
                    <a:pt x="7609" y="4680"/>
                  </a:lnTo>
                  <a:lnTo>
                    <a:pt x="7609" y="3572"/>
                  </a:lnTo>
                  <a:close/>
                  <a:moveTo>
                    <a:pt x="10169" y="3572"/>
                  </a:moveTo>
                  <a:lnTo>
                    <a:pt x="10169" y="4680"/>
                  </a:lnTo>
                  <a:lnTo>
                    <a:pt x="9061" y="4680"/>
                  </a:lnTo>
                  <a:lnTo>
                    <a:pt x="9061" y="3572"/>
                  </a:lnTo>
                  <a:close/>
                  <a:moveTo>
                    <a:pt x="4335" y="5037"/>
                  </a:moveTo>
                  <a:lnTo>
                    <a:pt x="4335" y="5275"/>
                  </a:lnTo>
                  <a:lnTo>
                    <a:pt x="4239" y="5037"/>
                  </a:lnTo>
                  <a:close/>
                  <a:moveTo>
                    <a:pt x="5787" y="5037"/>
                  </a:moveTo>
                  <a:lnTo>
                    <a:pt x="5787" y="5894"/>
                  </a:lnTo>
                  <a:cubicBezTo>
                    <a:pt x="5706" y="5890"/>
                    <a:pt x="5631" y="5889"/>
                    <a:pt x="5561" y="5889"/>
                  </a:cubicBezTo>
                  <a:cubicBezTo>
                    <a:pt x="5443" y="5889"/>
                    <a:pt x="5341" y="5892"/>
                    <a:pt x="5248" y="5892"/>
                  </a:cubicBezTo>
                  <a:cubicBezTo>
                    <a:pt x="5036" y="5892"/>
                    <a:pt x="4874" y="5875"/>
                    <a:pt x="4692" y="5763"/>
                  </a:cubicBezTo>
                  <a:lnTo>
                    <a:pt x="4692" y="5037"/>
                  </a:lnTo>
                  <a:close/>
                  <a:moveTo>
                    <a:pt x="7252" y="5037"/>
                  </a:moveTo>
                  <a:lnTo>
                    <a:pt x="7252" y="5894"/>
                  </a:lnTo>
                  <a:lnTo>
                    <a:pt x="6144" y="5894"/>
                  </a:lnTo>
                  <a:lnTo>
                    <a:pt x="6144" y="5037"/>
                  </a:lnTo>
                  <a:close/>
                  <a:moveTo>
                    <a:pt x="8704" y="5037"/>
                  </a:moveTo>
                  <a:lnTo>
                    <a:pt x="8704" y="5894"/>
                  </a:lnTo>
                  <a:lnTo>
                    <a:pt x="7609" y="5894"/>
                  </a:lnTo>
                  <a:lnTo>
                    <a:pt x="7609" y="5037"/>
                  </a:lnTo>
                  <a:close/>
                  <a:moveTo>
                    <a:pt x="10169" y="5037"/>
                  </a:moveTo>
                  <a:lnTo>
                    <a:pt x="10169" y="5894"/>
                  </a:lnTo>
                  <a:lnTo>
                    <a:pt x="9061" y="5894"/>
                  </a:lnTo>
                  <a:lnTo>
                    <a:pt x="9061" y="5037"/>
                  </a:lnTo>
                  <a:close/>
                  <a:moveTo>
                    <a:pt x="4882" y="9240"/>
                  </a:moveTo>
                  <a:cubicBezTo>
                    <a:pt x="5406" y="9240"/>
                    <a:pt x="5823" y="9680"/>
                    <a:pt x="5823" y="10180"/>
                  </a:cubicBezTo>
                  <a:cubicBezTo>
                    <a:pt x="5823" y="10704"/>
                    <a:pt x="5406" y="11121"/>
                    <a:pt x="4882" y="11121"/>
                  </a:cubicBezTo>
                  <a:cubicBezTo>
                    <a:pt x="4359" y="11121"/>
                    <a:pt x="3942" y="10704"/>
                    <a:pt x="3942" y="10180"/>
                  </a:cubicBezTo>
                  <a:cubicBezTo>
                    <a:pt x="3942" y="9656"/>
                    <a:pt x="4359" y="9240"/>
                    <a:pt x="4882" y="9240"/>
                  </a:cubicBezTo>
                  <a:close/>
                  <a:moveTo>
                    <a:pt x="9300" y="9240"/>
                  </a:moveTo>
                  <a:cubicBezTo>
                    <a:pt x="9823" y="9263"/>
                    <a:pt x="10240" y="9680"/>
                    <a:pt x="10240" y="10180"/>
                  </a:cubicBezTo>
                  <a:cubicBezTo>
                    <a:pt x="10240" y="10704"/>
                    <a:pt x="9823" y="11121"/>
                    <a:pt x="9300" y="11121"/>
                  </a:cubicBezTo>
                  <a:cubicBezTo>
                    <a:pt x="8788" y="11121"/>
                    <a:pt x="8371" y="10704"/>
                    <a:pt x="8371" y="10180"/>
                  </a:cubicBezTo>
                  <a:cubicBezTo>
                    <a:pt x="8371" y="9656"/>
                    <a:pt x="8788" y="9240"/>
                    <a:pt x="9300" y="9240"/>
                  </a:cubicBezTo>
                  <a:close/>
                  <a:moveTo>
                    <a:pt x="668" y="0"/>
                  </a:moveTo>
                  <a:cubicBezTo>
                    <a:pt x="298" y="0"/>
                    <a:pt x="1" y="298"/>
                    <a:pt x="1" y="667"/>
                  </a:cubicBezTo>
                  <a:cubicBezTo>
                    <a:pt x="1" y="1048"/>
                    <a:pt x="298" y="1346"/>
                    <a:pt x="668" y="1346"/>
                  </a:cubicBezTo>
                  <a:lnTo>
                    <a:pt x="1489" y="1346"/>
                  </a:lnTo>
                  <a:lnTo>
                    <a:pt x="2513" y="4227"/>
                  </a:lnTo>
                  <a:cubicBezTo>
                    <a:pt x="2540" y="4299"/>
                    <a:pt x="2608" y="4351"/>
                    <a:pt x="2681" y="4351"/>
                  </a:cubicBezTo>
                  <a:cubicBezTo>
                    <a:pt x="2704" y="4351"/>
                    <a:pt x="2728" y="4346"/>
                    <a:pt x="2751" y="4334"/>
                  </a:cubicBezTo>
                  <a:cubicBezTo>
                    <a:pt x="2846" y="4299"/>
                    <a:pt x="2906" y="4203"/>
                    <a:pt x="2858" y="4096"/>
                  </a:cubicBezTo>
                  <a:cubicBezTo>
                    <a:pt x="1858" y="1262"/>
                    <a:pt x="1822" y="1143"/>
                    <a:pt x="1822" y="1143"/>
                  </a:cubicBezTo>
                  <a:cubicBezTo>
                    <a:pt x="1775" y="1048"/>
                    <a:pt x="1668" y="965"/>
                    <a:pt x="1549" y="965"/>
                  </a:cubicBezTo>
                  <a:lnTo>
                    <a:pt x="668" y="965"/>
                  </a:lnTo>
                  <a:cubicBezTo>
                    <a:pt x="513" y="965"/>
                    <a:pt x="370" y="834"/>
                    <a:pt x="370" y="667"/>
                  </a:cubicBezTo>
                  <a:cubicBezTo>
                    <a:pt x="370" y="500"/>
                    <a:pt x="513" y="369"/>
                    <a:pt x="668" y="369"/>
                  </a:cubicBezTo>
                  <a:lnTo>
                    <a:pt x="1549" y="369"/>
                  </a:lnTo>
                  <a:cubicBezTo>
                    <a:pt x="1906" y="369"/>
                    <a:pt x="2215" y="584"/>
                    <a:pt x="2370" y="905"/>
                  </a:cubicBezTo>
                  <a:cubicBezTo>
                    <a:pt x="2596" y="1524"/>
                    <a:pt x="3811" y="5001"/>
                    <a:pt x="4001" y="5525"/>
                  </a:cubicBezTo>
                  <a:cubicBezTo>
                    <a:pt x="4144" y="5894"/>
                    <a:pt x="4573" y="6251"/>
                    <a:pt x="5109" y="6251"/>
                  </a:cubicBezTo>
                  <a:lnTo>
                    <a:pt x="11717" y="6251"/>
                  </a:lnTo>
                  <a:cubicBezTo>
                    <a:pt x="11883" y="6251"/>
                    <a:pt x="12014" y="6382"/>
                    <a:pt x="12014" y="6549"/>
                  </a:cubicBezTo>
                  <a:cubicBezTo>
                    <a:pt x="12014" y="6715"/>
                    <a:pt x="11883" y="6846"/>
                    <a:pt x="11717" y="6846"/>
                  </a:cubicBezTo>
                  <a:lnTo>
                    <a:pt x="5109" y="6846"/>
                  </a:lnTo>
                  <a:cubicBezTo>
                    <a:pt x="4394" y="6846"/>
                    <a:pt x="3739" y="6418"/>
                    <a:pt x="3466" y="5763"/>
                  </a:cubicBezTo>
                  <a:lnTo>
                    <a:pt x="3096" y="4715"/>
                  </a:lnTo>
                  <a:cubicBezTo>
                    <a:pt x="3078" y="4652"/>
                    <a:pt x="3013" y="4603"/>
                    <a:pt x="2936" y="4603"/>
                  </a:cubicBezTo>
                  <a:cubicBezTo>
                    <a:pt x="2911" y="4603"/>
                    <a:pt x="2885" y="4608"/>
                    <a:pt x="2858" y="4620"/>
                  </a:cubicBezTo>
                  <a:cubicBezTo>
                    <a:pt x="2751" y="4656"/>
                    <a:pt x="2715" y="4751"/>
                    <a:pt x="2751" y="4858"/>
                  </a:cubicBezTo>
                  <a:cubicBezTo>
                    <a:pt x="3049" y="5596"/>
                    <a:pt x="3073" y="5942"/>
                    <a:pt x="3406" y="6406"/>
                  </a:cubicBezTo>
                  <a:lnTo>
                    <a:pt x="3013" y="7001"/>
                  </a:lnTo>
                  <a:cubicBezTo>
                    <a:pt x="2394" y="7894"/>
                    <a:pt x="2930" y="9097"/>
                    <a:pt x="3989" y="9240"/>
                  </a:cubicBezTo>
                  <a:cubicBezTo>
                    <a:pt x="3144" y="10049"/>
                    <a:pt x="3692" y="11490"/>
                    <a:pt x="4870" y="11490"/>
                  </a:cubicBezTo>
                  <a:cubicBezTo>
                    <a:pt x="6025" y="11490"/>
                    <a:pt x="6597" y="10061"/>
                    <a:pt x="5763" y="9251"/>
                  </a:cubicBezTo>
                  <a:lnTo>
                    <a:pt x="8383" y="9251"/>
                  </a:lnTo>
                  <a:cubicBezTo>
                    <a:pt x="7549" y="10061"/>
                    <a:pt x="8109" y="11490"/>
                    <a:pt x="9276" y="11490"/>
                  </a:cubicBezTo>
                  <a:cubicBezTo>
                    <a:pt x="10431" y="11490"/>
                    <a:pt x="11002" y="10061"/>
                    <a:pt x="10169" y="9251"/>
                  </a:cubicBezTo>
                  <a:lnTo>
                    <a:pt x="10407" y="9251"/>
                  </a:lnTo>
                  <a:cubicBezTo>
                    <a:pt x="10776" y="9251"/>
                    <a:pt x="11074" y="8954"/>
                    <a:pt x="11074" y="8585"/>
                  </a:cubicBezTo>
                  <a:cubicBezTo>
                    <a:pt x="11074" y="8216"/>
                    <a:pt x="10776" y="7918"/>
                    <a:pt x="10407" y="7918"/>
                  </a:cubicBezTo>
                  <a:lnTo>
                    <a:pt x="8788" y="7918"/>
                  </a:lnTo>
                  <a:cubicBezTo>
                    <a:pt x="8680" y="7918"/>
                    <a:pt x="8609" y="7989"/>
                    <a:pt x="8609" y="8097"/>
                  </a:cubicBezTo>
                  <a:cubicBezTo>
                    <a:pt x="8609" y="8204"/>
                    <a:pt x="8680" y="8275"/>
                    <a:pt x="8788" y="8275"/>
                  </a:cubicBezTo>
                  <a:lnTo>
                    <a:pt x="10431" y="8275"/>
                  </a:lnTo>
                  <a:cubicBezTo>
                    <a:pt x="10597" y="8275"/>
                    <a:pt x="10728" y="8406"/>
                    <a:pt x="10728" y="8573"/>
                  </a:cubicBezTo>
                  <a:cubicBezTo>
                    <a:pt x="10728" y="8740"/>
                    <a:pt x="10597" y="8871"/>
                    <a:pt x="10431" y="8871"/>
                  </a:cubicBezTo>
                  <a:lnTo>
                    <a:pt x="4204" y="8871"/>
                  </a:lnTo>
                  <a:cubicBezTo>
                    <a:pt x="3323" y="8871"/>
                    <a:pt x="2811" y="7882"/>
                    <a:pt x="3311" y="7168"/>
                  </a:cubicBezTo>
                  <a:lnTo>
                    <a:pt x="3668" y="6656"/>
                  </a:lnTo>
                  <a:cubicBezTo>
                    <a:pt x="3811" y="6787"/>
                    <a:pt x="3978" y="6906"/>
                    <a:pt x="4168" y="7001"/>
                  </a:cubicBezTo>
                  <a:lnTo>
                    <a:pt x="3799" y="7537"/>
                  </a:lnTo>
                  <a:cubicBezTo>
                    <a:pt x="3573" y="7847"/>
                    <a:pt x="3799" y="8275"/>
                    <a:pt x="4180" y="8275"/>
                  </a:cubicBezTo>
                  <a:lnTo>
                    <a:pt x="8085" y="8275"/>
                  </a:lnTo>
                  <a:cubicBezTo>
                    <a:pt x="8192" y="8275"/>
                    <a:pt x="8264" y="8204"/>
                    <a:pt x="8264" y="8097"/>
                  </a:cubicBezTo>
                  <a:cubicBezTo>
                    <a:pt x="8264" y="7989"/>
                    <a:pt x="8192" y="7918"/>
                    <a:pt x="8085" y="7918"/>
                  </a:cubicBezTo>
                  <a:lnTo>
                    <a:pt x="4180" y="7918"/>
                  </a:lnTo>
                  <a:cubicBezTo>
                    <a:pt x="4097" y="7918"/>
                    <a:pt x="4037" y="7811"/>
                    <a:pt x="4097" y="7739"/>
                  </a:cubicBezTo>
                  <a:lnTo>
                    <a:pt x="4513" y="7132"/>
                  </a:lnTo>
                  <a:cubicBezTo>
                    <a:pt x="4753" y="7201"/>
                    <a:pt x="4820" y="7217"/>
                    <a:pt x="5587" y="7217"/>
                  </a:cubicBezTo>
                  <a:cubicBezTo>
                    <a:pt x="6309" y="7217"/>
                    <a:pt x="7651" y="7202"/>
                    <a:pt x="10341" y="7202"/>
                  </a:cubicBezTo>
                  <a:cubicBezTo>
                    <a:pt x="10765" y="7202"/>
                    <a:pt x="11223" y="7203"/>
                    <a:pt x="11717" y="7204"/>
                  </a:cubicBezTo>
                  <a:cubicBezTo>
                    <a:pt x="12086" y="7204"/>
                    <a:pt x="12383" y="6906"/>
                    <a:pt x="12383" y="6537"/>
                  </a:cubicBezTo>
                  <a:cubicBezTo>
                    <a:pt x="12383" y="6168"/>
                    <a:pt x="12098" y="5894"/>
                    <a:pt x="11728" y="5894"/>
                  </a:cubicBezTo>
                  <a:lnTo>
                    <a:pt x="11538" y="5894"/>
                  </a:lnTo>
                  <a:lnTo>
                    <a:pt x="12383" y="2191"/>
                  </a:lnTo>
                  <a:cubicBezTo>
                    <a:pt x="12550" y="1489"/>
                    <a:pt x="12014" y="822"/>
                    <a:pt x="11300" y="822"/>
                  </a:cubicBezTo>
                  <a:lnTo>
                    <a:pt x="7752" y="822"/>
                  </a:lnTo>
                  <a:cubicBezTo>
                    <a:pt x="7657" y="822"/>
                    <a:pt x="7573" y="893"/>
                    <a:pt x="7573" y="1000"/>
                  </a:cubicBezTo>
                  <a:cubicBezTo>
                    <a:pt x="7573" y="1108"/>
                    <a:pt x="7657" y="1179"/>
                    <a:pt x="7752" y="1179"/>
                  </a:cubicBezTo>
                  <a:lnTo>
                    <a:pt x="11300" y="1179"/>
                  </a:lnTo>
                  <a:cubicBezTo>
                    <a:pt x="11788" y="1179"/>
                    <a:pt x="12145" y="1620"/>
                    <a:pt x="12026" y="2096"/>
                  </a:cubicBezTo>
                  <a:lnTo>
                    <a:pt x="11145" y="5894"/>
                  </a:lnTo>
                  <a:lnTo>
                    <a:pt x="10526" y="5894"/>
                  </a:lnTo>
                  <a:cubicBezTo>
                    <a:pt x="10609" y="5489"/>
                    <a:pt x="11300" y="2548"/>
                    <a:pt x="11419" y="2001"/>
                  </a:cubicBezTo>
                  <a:cubicBezTo>
                    <a:pt x="11443" y="1882"/>
                    <a:pt x="11359" y="1774"/>
                    <a:pt x="11240" y="1774"/>
                  </a:cubicBezTo>
                  <a:lnTo>
                    <a:pt x="3073" y="1774"/>
                  </a:lnTo>
                  <a:lnTo>
                    <a:pt x="2858" y="1167"/>
                  </a:lnTo>
                  <a:lnTo>
                    <a:pt x="7073" y="1167"/>
                  </a:lnTo>
                  <a:cubicBezTo>
                    <a:pt x="7180" y="1167"/>
                    <a:pt x="7252" y="1084"/>
                    <a:pt x="7252" y="989"/>
                  </a:cubicBezTo>
                  <a:cubicBezTo>
                    <a:pt x="7252" y="881"/>
                    <a:pt x="7180" y="810"/>
                    <a:pt x="7073" y="810"/>
                  </a:cubicBezTo>
                  <a:lnTo>
                    <a:pt x="2727" y="810"/>
                  </a:lnTo>
                  <a:cubicBezTo>
                    <a:pt x="2561" y="346"/>
                    <a:pt x="2096" y="0"/>
                    <a:pt x="1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33" name="Google Shape;10933;p60"/>
          <p:cNvGrpSpPr/>
          <p:nvPr/>
        </p:nvGrpSpPr>
        <p:grpSpPr>
          <a:xfrm>
            <a:off x="3097241" y="2433564"/>
            <a:ext cx="344883" cy="343387"/>
            <a:chOff x="3097241" y="2433564"/>
            <a:chExt cx="344883" cy="343387"/>
          </a:xfrm>
        </p:grpSpPr>
        <p:sp>
          <p:nvSpPr>
            <p:cNvPr id="10934" name="Google Shape;10934;p60"/>
            <p:cNvSpPr/>
            <p:nvPr/>
          </p:nvSpPr>
          <p:spPr>
            <a:xfrm>
              <a:off x="3151825" y="2465806"/>
              <a:ext cx="235746" cy="311146"/>
            </a:xfrm>
            <a:custGeom>
              <a:avLst/>
              <a:gdLst/>
              <a:ahLst/>
              <a:cxnLst/>
              <a:rect l="l" t="t" r="r" b="b"/>
              <a:pathLst>
                <a:path w="7407" h="9776" extrusionOk="0">
                  <a:moveTo>
                    <a:pt x="3703" y="322"/>
                  </a:moveTo>
                  <a:cubicBezTo>
                    <a:pt x="5573" y="322"/>
                    <a:pt x="7097" y="1846"/>
                    <a:pt x="7097" y="3715"/>
                  </a:cubicBezTo>
                  <a:cubicBezTo>
                    <a:pt x="7097" y="5239"/>
                    <a:pt x="6144" y="6728"/>
                    <a:pt x="5358" y="7704"/>
                  </a:cubicBezTo>
                  <a:cubicBezTo>
                    <a:pt x="4656" y="8573"/>
                    <a:pt x="3953" y="9192"/>
                    <a:pt x="3703" y="9418"/>
                  </a:cubicBezTo>
                  <a:cubicBezTo>
                    <a:pt x="3441" y="9192"/>
                    <a:pt x="2751" y="8573"/>
                    <a:pt x="2048" y="7704"/>
                  </a:cubicBezTo>
                  <a:cubicBezTo>
                    <a:pt x="1263" y="6728"/>
                    <a:pt x="310" y="5239"/>
                    <a:pt x="310" y="3715"/>
                  </a:cubicBezTo>
                  <a:cubicBezTo>
                    <a:pt x="310" y="1846"/>
                    <a:pt x="1822" y="322"/>
                    <a:pt x="3703" y="322"/>
                  </a:cubicBezTo>
                  <a:close/>
                  <a:moveTo>
                    <a:pt x="3703" y="1"/>
                  </a:moveTo>
                  <a:cubicBezTo>
                    <a:pt x="1667" y="1"/>
                    <a:pt x="0" y="1668"/>
                    <a:pt x="0" y="3704"/>
                  </a:cubicBezTo>
                  <a:cubicBezTo>
                    <a:pt x="0" y="4418"/>
                    <a:pt x="191" y="5192"/>
                    <a:pt x="560" y="5978"/>
                  </a:cubicBezTo>
                  <a:cubicBezTo>
                    <a:pt x="858" y="6609"/>
                    <a:pt x="1274" y="7263"/>
                    <a:pt x="1798" y="7894"/>
                  </a:cubicBezTo>
                  <a:cubicBezTo>
                    <a:pt x="2691" y="9002"/>
                    <a:pt x="3549" y="9716"/>
                    <a:pt x="3596" y="9740"/>
                  </a:cubicBezTo>
                  <a:cubicBezTo>
                    <a:pt x="3626" y="9764"/>
                    <a:pt x="3665" y="9776"/>
                    <a:pt x="3700" y="9776"/>
                  </a:cubicBezTo>
                  <a:cubicBezTo>
                    <a:pt x="3736" y="9776"/>
                    <a:pt x="3769" y="9764"/>
                    <a:pt x="3787" y="9740"/>
                  </a:cubicBezTo>
                  <a:cubicBezTo>
                    <a:pt x="3822" y="9716"/>
                    <a:pt x="4703" y="9002"/>
                    <a:pt x="5596" y="7894"/>
                  </a:cubicBezTo>
                  <a:cubicBezTo>
                    <a:pt x="6108" y="7252"/>
                    <a:pt x="6525" y="6609"/>
                    <a:pt x="6823" y="5978"/>
                  </a:cubicBezTo>
                  <a:cubicBezTo>
                    <a:pt x="7204" y="5192"/>
                    <a:pt x="7394" y="4418"/>
                    <a:pt x="7394" y="3704"/>
                  </a:cubicBezTo>
                  <a:cubicBezTo>
                    <a:pt x="7406" y="1668"/>
                    <a:pt x="5739" y="1"/>
                    <a:pt x="3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5" name="Google Shape;10935;p60"/>
            <p:cNvSpPr/>
            <p:nvPr/>
          </p:nvSpPr>
          <p:spPr>
            <a:xfrm>
              <a:off x="3179483" y="2492732"/>
              <a:ext cx="181926" cy="181894"/>
            </a:xfrm>
            <a:custGeom>
              <a:avLst/>
              <a:gdLst/>
              <a:ahLst/>
              <a:cxnLst/>
              <a:rect l="l" t="t" r="r" b="b"/>
              <a:pathLst>
                <a:path w="5716" h="5715" extrusionOk="0">
                  <a:moveTo>
                    <a:pt x="2858" y="0"/>
                  </a:moveTo>
                  <a:cubicBezTo>
                    <a:pt x="1286" y="0"/>
                    <a:pt x="1" y="1286"/>
                    <a:pt x="1" y="2858"/>
                  </a:cubicBezTo>
                  <a:cubicBezTo>
                    <a:pt x="1" y="4441"/>
                    <a:pt x="1286" y="5715"/>
                    <a:pt x="2858" y="5715"/>
                  </a:cubicBezTo>
                  <a:cubicBezTo>
                    <a:pt x="4442" y="5715"/>
                    <a:pt x="5716" y="4429"/>
                    <a:pt x="5716" y="2858"/>
                  </a:cubicBezTo>
                  <a:cubicBezTo>
                    <a:pt x="5692" y="2131"/>
                    <a:pt x="5418" y="1429"/>
                    <a:pt x="4918" y="893"/>
                  </a:cubicBezTo>
                  <a:cubicBezTo>
                    <a:pt x="4888" y="863"/>
                    <a:pt x="4846" y="848"/>
                    <a:pt x="4805" y="848"/>
                  </a:cubicBezTo>
                  <a:cubicBezTo>
                    <a:pt x="4763" y="848"/>
                    <a:pt x="4721" y="863"/>
                    <a:pt x="4692" y="893"/>
                  </a:cubicBezTo>
                  <a:cubicBezTo>
                    <a:pt x="4632" y="953"/>
                    <a:pt x="4632" y="1060"/>
                    <a:pt x="4692" y="1119"/>
                  </a:cubicBezTo>
                  <a:cubicBezTo>
                    <a:pt x="5144" y="1595"/>
                    <a:pt x="5394" y="2215"/>
                    <a:pt x="5394" y="2869"/>
                  </a:cubicBezTo>
                  <a:cubicBezTo>
                    <a:pt x="5394" y="4274"/>
                    <a:pt x="4251" y="5417"/>
                    <a:pt x="2846" y="5417"/>
                  </a:cubicBezTo>
                  <a:cubicBezTo>
                    <a:pt x="1453" y="5417"/>
                    <a:pt x="298" y="4274"/>
                    <a:pt x="298" y="2869"/>
                  </a:cubicBezTo>
                  <a:cubicBezTo>
                    <a:pt x="298" y="1476"/>
                    <a:pt x="1453" y="333"/>
                    <a:pt x="2846" y="333"/>
                  </a:cubicBezTo>
                  <a:cubicBezTo>
                    <a:pt x="3299" y="333"/>
                    <a:pt x="3739" y="452"/>
                    <a:pt x="4132" y="667"/>
                  </a:cubicBezTo>
                  <a:cubicBezTo>
                    <a:pt x="4157" y="683"/>
                    <a:pt x="4185" y="691"/>
                    <a:pt x="4214" y="691"/>
                  </a:cubicBezTo>
                  <a:cubicBezTo>
                    <a:pt x="4269" y="691"/>
                    <a:pt x="4323" y="662"/>
                    <a:pt x="4346" y="607"/>
                  </a:cubicBezTo>
                  <a:cubicBezTo>
                    <a:pt x="4394" y="536"/>
                    <a:pt x="4370" y="429"/>
                    <a:pt x="4287" y="393"/>
                  </a:cubicBezTo>
                  <a:cubicBezTo>
                    <a:pt x="3858" y="131"/>
                    <a:pt x="3370" y="0"/>
                    <a:pt x="2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6" name="Google Shape;10936;p60"/>
            <p:cNvSpPr/>
            <p:nvPr/>
          </p:nvSpPr>
          <p:spPr>
            <a:xfrm>
              <a:off x="3242024" y="2524941"/>
              <a:ext cx="54202" cy="117857"/>
            </a:xfrm>
            <a:custGeom>
              <a:avLst/>
              <a:gdLst/>
              <a:ahLst/>
              <a:cxnLst/>
              <a:rect l="l" t="t" r="r" b="b"/>
              <a:pathLst>
                <a:path w="1703" h="3703" extrusionOk="0">
                  <a:moveTo>
                    <a:pt x="857" y="0"/>
                  </a:moveTo>
                  <a:cubicBezTo>
                    <a:pt x="762" y="0"/>
                    <a:pt x="691" y="71"/>
                    <a:pt x="691" y="167"/>
                  </a:cubicBezTo>
                  <a:lnTo>
                    <a:pt x="691" y="524"/>
                  </a:lnTo>
                  <a:cubicBezTo>
                    <a:pt x="322" y="560"/>
                    <a:pt x="24" y="881"/>
                    <a:pt x="24" y="1262"/>
                  </a:cubicBezTo>
                  <a:cubicBezTo>
                    <a:pt x="24" y="1679"/>
                    <a:pt x="357" y="2012"/>
                    <a:pt x="762" y="2012"/>
                  </a:cubicBezTo>
                  <a:lnTo>
                    <a:pt x="929" y="2012"/>
                  </a:lnTo>
                  <a:cubicBezTo>
                    <a:pt x="1167" y="2012"/>
                    <a:pt x="1357" y="2203"/>
                    <a:pt x="1357" y="2441"/>
                  </a:cubicBezTo>
                  <a:cubicBezTo>
                    <a:pt x="1357" y="2679"/>
                    <a:pt x="1167" y="2869"/>
                    <a:pt x="929" y="2869"/>
                  </a:cubicBezTo>
                  <a:lnTo>
                    <a:pt x="679" y="2869"/>
                  </a:lnTo>
                  <a:cubicBezTo>
                    <a:pt x="476" y="2869"/>
                    <a:pt x="334" y="2703"/>
                    <a:pt x="334" y="2524"/>
                  </a:cubicBezTo>
                  <a:cubicBezTo>
                    <a:pt x="334" y="2441"/>
                    <a:pt x="262" y="2369"/>
                    <a:pt x="167" y="2369"/>
                  </a:cubicBezTo>
                  <a:cubicBezTo>
                    <a:pt x="83" y="2369"/>
                    <a:pt x="0" y="2441"/>
                    <a:pt x="0" y="2524"/>
                  </a:cubicBezTo>
                  <a:cubicBezTo>
                    <a:pt x="0" y="2905"/>
                    <a:pt x="298" y="3203"/>
                    <a:pt x="679" y="3203"/>
                  </a:cubicBezTo>
                  <a:lnTo>
                    <a:pt x="691" y="3203"/>
                  </a:lnTo>
                  <a:lnTo>
                    <a:pt x="691" y="3536"/>
                  </a:lnTo>
                  <a:cubicBezTo>
                    <a:pt x="691" y="3631"/>
                    <a:pt x="762" y="3703"/>
                    <a:pt x="857" y="3703"/>
                  </a:cubicBezTo>
                  <a:cubicBezTo>
                    <a:pt x="941" y="3703"/>
                    <a:pt x="1012" y="3631"/>
                    <a:pt x="1012" y="3536"/>
                  </a:cubicBezTo>
                  <a:lnTo>
                    <a:pt x="1012" y="3179"/>
                  </a:lnTo>
                  <a:cubicBezTo>
                    <a:pt x="1393" y="3143"/>
                    <a:pt x="1691" y="2822"/>
                    <a:pt x="1691" y="2441"/>
                  </a:cubicBezTo>
                  <a:cubicBezTo>
                    <a:pt x="1691" y="2024"/>
                    <a:pt x="1346" y="1691"/>
                    <a:pt x="941" y="1691"/>
                  </a:cubicBezTo>
                  <a:lnTo>
                    <a:pt x="774" y="1691"/>
                  </a:lnTo>
                  <a:cubicBezTo>
                    <a:pt x="536" y="1691"/>
                    <a:pt x="345" y="1500"/>
                    <a:pt x="345" y="1262"/>
                  </a:cubicBezTo>
                  <a:cubicBezTo>
                    <a:pt x="345" y="1024"/>
                    <a:pt x="536" y="833"/>
                    <a:pt x="774" y="833"/>
                  </a:cubicBezTo>
                  <a:lnTo>
                    <a:pt x="1036" y="833"/>
                  </a:lnTo>
                  <a:cubicBezTo>
                    <a:pt x="1226" y="833"/>
                    <a:pt x="1369" y="1000"/>
                    <a:pt x="1369" y="1179"/>
                  </a:cubicBezTo>
                  <a:lnTo>
                    <a:pt x="1369" y="1345"/>
                  </a:lnTo>
                  <a:cubicBezTo>
                    <a:pt x="1393" y="1429"/>
                    <a:pt x="1453" y="1500"/>
                    <a:pt x="1536" y="1500"/>
                  </a:cubicBezTo>
                  <a:cubicBezTo>
                    <a:pt x="1631" y="1500"/>
                    <a:pt x="1703" y="1429"/>
                    <a:pt x="1703" y="1345"/>
                  </a:cubicBezTo>
                  <a:lnTo>
                    <a:pt x="1703" y="1179"/>
                  </a:lnTo>
                  <a:cubicBezTo>
                    <a:pt x="1703" y="810"/>
                    <a:pt x="1405" y="512"/>
                    <a:pt x="1036" y="512"/>
                  </a:cubicBezTo>
                  <a:lnTo>
                    <a:pt x="1012" y="512"/>
                  </a:lnTo>
                  <a:lnTo>
                    <a:pt x="1012" y="167"/>
                  </a:lnTo>
                  <a:cubicBezTo>
                    <a:pt x="1012" y="71"/>
                    <a:pt x="941"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7" name="Google Shape;10937;p60"/>
            <p:cNvSpPr/>
            <p:nvPr/>
          </p:nvSpPr>
          <p:spPr>
            <a:xfrm>
              <a:off x="3390945" y="2433724"/>
              <a:ext cx="51179" cy="85934"/>
            </a:xfrm>
            <a:custGeom>
              <a:avLst/>
              <a:gdLst/>
              <a:ahLst/>
              <a:cxnLst/>
              <a:rect l="l" t="t" r="r" b="b"/>
              <a:pathLst>
                <a:path w="1608" h="2700" extrusionOk="0">
                  <a:moveTo>
                    <a:pt x="182" y="1"/>
                  </a:moveTo>
                  <a:cubicBezTo>
                    <a:pt x="134" y="1"/>
                    <a:pt x="86" y="22"/>
                    <a:pt x="48" y="68"/>
                  </a:cubicBezTo>
                  <a:cubicBezTo>
                    <a:pt x="0" y="140"/>
                    <a:pt x="12" y="235"/>
                    <a:pt x="84" y="294"/>
                  </a:cubicBezTo>
                  <a:cubicBezTo>
                    <a:pt x="834" y="794"/>
                    <a:pt x="1274" y="1628"/>
                    <a:pt x="1274" y="2545"/>
                  </a:cubicBezTo>
                  <a:cubicBezTo>
                    <a:pt x="1274" y="2628"/>
                    <a:pt x="1358" y="2699"/>
                    <a:pt x="1441" y="2699"/>
                  </a:cubicBezTo>
                  <a:cubicBezTo>
                    <a:pt x="1536" y="2699"/>
                    <a:pt x="1608" y="2628"/>
                    <a:pt x="1608" y="2545"/>
                  </a:cubicBezTo>
                  <a:cubicBezTo>
                    <a:pt x="1596" y="1533"/>
                    <a:pt x="1096" y="592"/>
                    <a:pt x="262" y="20"/>
                  </a:cubicBezTo>
                  <a:cubicBezTo>
                    <a:pt x="237" y="8"/>
                    <a:pt x="20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8" name="Google Shape;10938;p60"/>
            <p:cNvSpPr/>
            <p:nvPr/>
          </p:nvSpPr>
          <p:spPr>
            <a:xfrm>
              <a:off x="3360613" y="2478187"/>
              <a:ext cx="27340" cy="41471"/>
            </a:xfrm>
            <a:custGeom>
              <a:avLst/>
              <a:gdLst/>
              <a:ahLst/>
              <a:cxnLst/>
              <a:rect l="l" t="t" r="r" b="b"/>
              <a:pathLst>
                <a:path w="859" h="1303" extrusionOk="0">
                  <a:moveTo>
                    <a:pt x="177" y="1"/>
                  </a:moveTo>
                  <a:cubicBezTo>
                    <a:pt x="131" y="1"/>
                    <a:pt x="85" y="25"/>
                    <a:pt x="48" y="76"/>
                  </a:cubicBezTo>
                  <a:cubicBezTo>
                    <a:pt x="1" y="147"/>
                    <a:pt x="13" y="231"/>
                    <a:pt x="84" y="290"/>
                  </a:cubicBezTo>
                  <a:cubicBezTo>
                    <a:pt x="370" y="493"/>
                    <a:pt x="537" y="802"/>
                    <a:pt x="537" y="1148"/>
                  </a:cubicBezTo>
                  <a:cubicBezTo>
                    <a:pt x="537" y="1231"/>
                    <a:pt x="608" y="1302"/>
                    <a:pt x="703" y="1302"/>
                  </a:cubicBezTo>
                  <a:cubicBezTo>
                    <a:pt x="787" y="1302"/>
                    <a:pt x="858" y="1231"/>
                    <a:pt x="858" y="1148"/>
                  </a:cubicBezTo>
                  <a:cubicBezTo>
                    <a:pt x="858" y="683"/>
                    <a:pt x="644" y="278"/>
                    <a:pt x="263" y="28"/>
                  </a:cubicBezTo>
                  <a:cubicBezTo>
                    <a:pt x="235" y="10"/>
                    <a:pt x="206"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9" name="Google Shape;10939;p60"/>
            <p:cNvSpPr/>
            <p:nvPr/>
          </p:nvSpPr>
          <p:spPr>
            <a:xfrm>
              <a:off x="3375795" y="2455939"/>
              <a:ext cx="39434" cy="63719"/>
            </a:xfrm>
            <a:custGeom>
              <a:avLst/>
              <a:gdLst/>
              <a:ahLst/>
              <a:cxnLst/>
              <a:rect l="l" t="t" r="r" b="b"/>
              <a:pathLst>
                <a:path w="1239" h="2002" extrusionOk="0">
                  <a:moveTo>
                    <a:pt x="183" y="0"/>
                  </a:moveTo>
                  <a:cubicBezTo>
                    <a:pt x="134" y="0"/>
                    <a:pt x="86" y="26"/>
                    <a:pt x="48" y="73"/>
                  </a:cubicBezTo>
                  <a:cubicBezTo>
                    <a:pt x="0" y="144"/>
                    <a:pt x="12" y="239"/>
                    <a:pt x="83" y="299"/>
                  </a:cubicBezTo>
                  <a:cubicBezTo>
                    <a:pt x="595" y="632"/>
                    <a:pt x="905" y="1216"/>
                    <a:pt x="905" y="1847"/>
                  </a:cubicBezTo>
                  <a:cubicBezTo>
                    <a:pt x="905" y="1930"/>
                    <a:pt x="976" y="2001"/>
                    <a:pt x="1072" y="2001"/>
                  </a:cubicBezTo>
                  <a:cubicBezTo>
                    <a:pt x="1155" y="2001"/>
                    <a:pt x="1238" y="1930"/>
                    <a:pt x="1238" y="1847"/>
                  </a:cubicBezTo>
                  <a:cubicBezTo>
                    <a:pt x="1238" y="1108"/>
                    <a:pt x="881" y="430"/>
                    <a:pt x="262" y="25"/>
                  </a:cubicBezTo>
                  <a:cubicBezTo>
                    <a:pt x="237" y="8"/>
                    <a:pt x="210"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0" name="Google Shape;10940;p60"/>
            <p:cNvSpPr/>
            <p:nvPr/>
          </p:nvSpPr>
          <p:spPr>
            <a:xfrm>
              <a:off x="3097241" y="2433564"/>
              <a:ext cx="50829" cy="85711"/>
            </a:xfrm>
            <a:custGeom>
              <a:avLst/>
              <a:gdLst/>
              <a:ahLst/>
              <a:cxnLst/>
              <a:rect l="l" t="t" r="r" b="b"/>
              <a:pathLst>
                <a:path w="1597" h="2693" extrusionOk="0">
                  <a:moveTo>
                    <a:pt x="1408" y="1"/>
                  </a:moveTo>
                  <a:cubicBezTo>
                    <a:pt x="1378" y="1"/>
                    <a:pt x="1348" y="9"/>
                    <a:pt x="1323" y="25"/>
                  </a:cubicBezTo>
                  <a:cubicBezTo>
                    <a:pt x="489" y="597"/>
                    <a:pt x="1" y="1538"/>
                    <a:pt x="1" y="2526"/>
                  </a:cubicBezTo>
                  <a:cubicBezTo>
                    <a:pt x="1" y="2621"/>
                    <a:pt x="72" y="2692"/>
                    <a:pt x="168" y="2692"/>
                  </a:cubicBezTo>
                  <a:cubicBezTo>
                    <a:pt x="251" y="2692"/>
                    <a:pt x="322" y="2621"/>
                    <a:pt x="322" y="2526"/>
                  </a:cubicBezTo>
                  <a:cubicBezTo>
                    <a:pt x="322" y="1633"/>
                    <a:pt x="775" y="787"/>
                    <a:pt x="1513" y="275"/>
                  </a:cubicBezTo>
                  <a:cubicBezTo>
                    <a:pt x="1573" y="240"/>
                    <a:pt x="1596" y="133"/>
                    <a:pt x="1549" y="73"/>
                  </a:cubicBezTo>
                  <a:cubicBezTo>
                    <a:pt x="1518" y="27"/>
                    <a:pt x="1462" y="1"/>
                    <a:pt x="14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1" name="Google Shape;10941;p60"/>
            <p:cNvSpPr/>
            <p:nvPr/>
          </p:nvSpPr>
          <p:spPr>
            <a:xfrm>
              <a:off x="3151061" y="2477773"/>
              <a:ext cx="27690" cy="41503"/>
            </a:xfrm>
            <a:custGeom>
              <a:avLst/>
              <a:gdLst/>
              <a:ahLst/>
              <a:cxnLst/>
              <a:rect l="l" t="t" r="r" b="b"/>
              <a:pathLst>
                <a:path w="870" h="1304" extrusionOk="0">
                  <a:moveTo>
                    <a:pt x="681" y="1"/>
                  </a:moveTo>
                  <a:cubicBezTo>
                    <a:pt x="647" y="1"/>
                    <a:pt x="613" y="10"/>
                    <a:pt x="584" y="29"/>
                  </a:cubicBezTo>
                  <a:cubicBezTo>
                    <a:pt x="215" y="280"/>
                    <a:pt x="1" y="696"/>
                    <a:pt x="1" y="1137"/>
                  </a:cubicBezTo>
                  <a:cubicBezTo>
                    <a:pt x="1" y="1232"/>
                    <a:pt x="84" y="1303"/>
                    <a:pt x="167" y="1303"/>
                  </a:cubicBezTo>
                  <a:cubicBezTo>
                    <a:pt x="263" y="1303"/>
                    <a:pt x="334" y="1232"/>
                    <a:pt x="334" y="1137"/>
                  </a:cubicBezTo>
                  <a:cubicBezTo>
                    <a:pt x="334" y="803"/>
                    <a:pt x="501" y="482"/>
                    <a:pt x="775" y="291"/>
                  </a:cubicBezTo>
                  <a:cubicBezTo>
                    <a:pt x="834" y="244"/>
                    <a:pt x="870" y="149"/>
                    <a:pt x="810" y="65"/>
                  </a:cubicBezTo>
                  <a:cubicBezTo>
                    <a:pt x="782" y="22"/>
                    <a:pt x="732" y="1"/>
                    <a:pt x="6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2" name="Google Shape;10942;p60"/>
            <p:cNvSpPr/>
            <p:nvPr/>
          </p:nvSpPr>
          <p:spPr>
            <a:xfrm>
              <a:off x="3124167" y="2455939"/>
              <a:ext cx="39434" cy="63337"/>
            </a:xfrm>
            <a:custGeom>
              <a:avLst/>
              <a:gdLst/>
              <a:ahLst/>
              <a:cxnLst/>
              <a:rect l="l" t="t" r="r" b="b"/>
              <a:pathLst>
                <a:path w="1239" h="1990" extrusionOk="0">
                  <a:moveTo>
                    <a:pt x="1038" y="0"/>
                  </a:moveTo>
                  <a:cubicBezTo>
                    <a:pt x="1008" y="0"/>
                    <a:pt x="978" y="8"/>
                    <a:pt x="953" y="25"/>
                  </a:cubicBezTo>
                  <a:cubicBezTo>
                    <a:pt x="357" y="430"/>
                    <a:pt x="0" y="1108"/>
                    <a:pt x="0" y="1823"/>
                  </a:cubicBezTo>
                  <a:cubicBezTo>
                    <a:pt x="0" y="1918"/>
                    <a:pt x="72" y="1989"/>
                    <a:pt x="167" y="1989"/>
                  </a:cubicBezTo>
                  <a:cubicBezTo>
                    <a:pt x="250" y="1989"/>
                    <a:pt x="334" y="1918"/>
                    <a:pt x="334" y="1823"/>
                  </a:cubicBezTo>
                  <a:cubicBezTo>
                    <a:pt x="334" y="1204"/>
                    <a:pt x="643" y="632"/>
                    <a:pt x="1143" y="275"/>
                  </a:cubicBezTo>
                  <a:cubicBezTo>
                    <a:pt x="1203" y="239"/>
                    <a:pt x="1239" y="132"/>
                    <a:pt x="1179" y="73"/>
                  </a:cubicBezTo>
                  <a:cubicBezTo>
                    <a:pt x="1148" y="26"/>
                    <a:pt x="1093" y="0"/>
                    <a:pt x="10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43" name="Google Shape;10943;p60"/>
          <p:cNvGrpSpPr/>
          <p:nvPr/>
        </p:nvGrpSpPr>
        <p:grpSpPr>
          <a:xfrm>
            <a:off x="1278299" y="2439293"/>
            <a:ext cx="410829" cy="332343"/>
            <a:chOff x="1278299" y="2439293"/>
            <a:chExt cx="410829" cy="332343"/>
          </a:xfrm>
        </p:grpSpPr>
        <p:sp>
          <p:nvSpPr>
            <p:cNvPr id="10944" name="Google Shape;10944;p60"/>
            <p:cNvSpPr/>
            <p:nvPr/>
          </p:nvSpPr>
          <p:spPr>
            <a:xfrm>
              <a:off x="1360159" y="2510141"/>
              <a:ext cx="245963" cy="12540"/>
            </a:xfrm>
            <a:custGeom>
              <a:avLst/>
              <a:gdLst/>
              <a:ahLst/>
              <a:cxnLst/>
              <a:rect l="l" t="t" r="r" b="b"/>
              <a:pathLst>
                <a:path w="7728" h="394" extrusionOk="0">
                  <a:moveTo>
                    <a:pt x="191" y="1"/>
                  </a:moveTo>
                  <a:cubicBezTo>
                    <a:pt x="96" y="1"/>
                    <a:pt x="1" y="96"/>
                    <a:pt x="1" y="203"/>
                  </a:cubicBezTo>
                  <a:cubicBezTo>
                    <a:pt x="1" y="298"/>
                    <a:pt x="96" y="394"/>
                    <a:pt x="191" y="394"/>
                  </a:cubicBezTo>
                  <a:lnTo>
                    <a:pt x="7537" y="394"/>
                  </a:lnTo>
                  <a:cubicBezTo>
                    <a:pt x="7633" y="394"/>
                    <a:pt x="7728" y="298"/>
                    <a:pt x="7728" y="203"/>
                  </a:cubicBezTo>
                  <a:cubicBezTo>
                    <a:pt x="7728" y="96"/>
                    <a:pt x="7633" y="1"/>
                    <a:pt x="7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5" name="Google Shape;10945;p60"/>
            <p:cNvSpPr/>
            <p:nvPr/>
          </p:nvSpPr>
          <p:spPr>
            <a:xfrm>
              <a:off x="1360159" y="2575706"/>
              <a:ext cx="245963" cy="12158"/>
            </a:xfrm>
            <a:custGeom>
              <a:avLst/>
              <a:gdLst/>
              <a:ahLst/>
              <a:cxnLst/>
              <a:rect l="l" t="t" r="r" b="b"/>
              <a:pathLst>
                <a:path w="7728" h="382" extrusionOk="0">
                  <a:moveTo>
                    <a:pt x="191" y="0"/>
                  </a:moveTo>
                  <a:cubicBezTo>
                    <a:pt x="96" y="0"/>
                    <a:pt x="1" y="84"/>
                    <a:pt x="1" y="191"/>
                  </a:cubicBezTo>
                  <a:cubicBezTo>
                    <a:pt x="1" y="298"/>
                    <a:pt x="96" y="381"/>
                    <a:pt x="191" y="381"/>
                  </a:cubicBezTo>
                  <a:lnTo>
                    <a:pt x="7537" y="381"/>
                  </a:lnTo>
                  <a:cubicBezTo>
                    <a:pt x="7633" y="381"/>
                    <a:pt x="7728" y="298"/>
                    <a:pt x="7728" y="191"/>
                  </a:cubicBezTo>
                  <a:cubicBezTo>
                    <a:pt x="7728" y="84"/>
                    <a:pt x="7633" y="0"/>
                    <a:pt x="7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6" name="Google Shape;10946;p60"/>
            <p:cNvSpPr/>
            <p:nvPr/>
          </p:nvSpPr>
          <p:spPr>
            <a:xfrm>
              <a:off x="1437086" y="2618132"/>
              <a:ext cx="92873" cy="12540"/>
            </a:xfrm>
            <a:custGeom>
              <a:avLst/>
              <a:gdLst/>
              <a:ahLst/>
              <a:cxnLst/>
              <a:rect l="l" t="t" r="r" b="b"/>
              <a:pathLst>
                <a:path w="2918" h="394" extrusionOk="0">
                  <a:moveTo>
                    <a:pt x="191" y="1"/>
                  </a:moveTo>
                  <a:cubicBezTo>
                    <a:pt x="84" y="1"/>
                    <a:pt x="1" y="96"/>
                    <a:pt x="1" y="203"/>
                  </a:cubicBezTo>
                  <a:cubicBezTo>
                    <a:pt x="1" y="299"/>
                    <a:pt x="84" y="394"/>
                    <a:pt x="191" y="394"/>
                  </a:cubicBezTo>
                  <a:lnTo>
                    <a:pt x="2715" y="394"/>
                  </a:lnTo>
                  <a:cubicBezTo>
                    <a:pt x="2822" y="394"/>
                    <a:pt x="2918" y="299"/>
                    <a:pt x="2918" y="203"/>
                  </a:cubicBezTo>
                  <a:cubicBezTo>
                    <a:pt x="2918" y="96"/>
                    <a:pt x="2822" y="1"/>
                    <a:pt x="2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7" name="Google Shape;10947;p60"/>
            <p:cNvSpPr/>
            <p:nvPr/>
          </p:nvSpPr>
          <p:spPr>
            <a:xfrm>
              <a:off x="1419295" y="2543115"/>
              <a:ext cx="186827" cy="12158"/>
            </a:xfrm>
            <a:custGeom>
              <a:avLst/>
              <a:gdLst/>
              <a:ahLst/>
              <a:cxnLst/>
              <a:rect l="l" t="t" r="r" b="b"/>
              <a:pathLst>
                <a:path w="5870" h="382" extrusionOk="0">
                  <a:moveTo>
                    <a:pt x="191" y="1"/>
                  </a:moveTo>
                  <a:cubicBezTo>
                    <a:pt x="95" y="1"/>
                    <a:pt x="0" y="84"/>
                    <a:pt x="0" y="191"/>
                  </a:cubicBezTo>
                  <a:cubicBezTo>
                    <a:pt x="0" y="298"/>
                    <a:pt x="95" y="382"/>
                    <a:pt x="191" y="382"/>
                  </a:cubicBezTo>
                  <a:lnTo>
                    <a:pt x="5679" y="382"/>
                  </a:lnTo>
                  <a:cubicBezTo>
                    <a:pt x="5775" y="382"/>
                    <a:pt x="5870" y="298"/>
                    <a:pt x="5870" y="191"/>
                  </a:cubicBezTo>
                  <a:cubicBezTo>
                    <a:pt x="5870" y="84"/>
                    <a:pt x="5775" y="1"/>
                    <a:pt x="5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8" name="Google Shape;10948;p60"/>
            <p:cNvSpPr/>
            <p:nvPr/>
          </p:nvSpPr>
          <p:spPr>
            <a:xfrm>
              <a:off x="1360541" y="2543115"/>
              <a:ext cx="43604" cy="12158"/>
            </a:xfrm>
            <a:custGeom>
              <a:avLst/>
              <a:gdLst/>
              <a:ahLst/>
              <a:cxnLst/>
              <a:rect l="l" t="t" r="r" b="b"/>
              <a:pathLst>
                <a:path w="1370" h="382" extrusionOk="0">
                  <a:moveTo>
                    <a:pt x="203" y="1"/>
                  </a:moveTo>
                  <a:cubicBezTo>
                    <a:pt x="96" y="1"/>
                    <a:pt x="1" y="84"/>
                    <a:pt x="1" y="191"/>
                  </a:cubicBezTo>
                  <a:cubicBezTo>
                    <a:pt x="1" y="298"/>
                    <a:pt x="96" y="382"/>
                    <a:pt x="203" y="382"/>
                  </a:cubicBezTo>
                  <a:lnTo>
                    <a:pt x="1179" y="382"/>
                  </a:lnTo>
                  <a:cubicBezTo>
                    <a:pt x="1286" y="382"/>
                    <a:pt x="1370" y="298"/>
                    <a:pt x="1370" y="191"/>
                  </a:cubicBezTo>
                  <a:cubicBezTo>
                    <a:pt x="1358" y="72"/>
                    <a:pt x="1286"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9" name="Google Shape;10949;p60"/>
            <p:cNvSpPr/>
            <p:nvPr/>
          </p:nvSpPr>
          <p:spPr>
            <a:xfrm>
              <a:off x="1306721" y="2469211"/>
              <a:ext cx="353222" cy="228171"/>
            </a:xfrm>
            <a:custGeom>
              <a:avLst/>
              <a:gdLst/>
              <a:ahLst/>
              <a:cxnLst/>
              <a:rect l="l" t="t" r="r" b="b"/>
              <a:pathLst>
                <a:path w="11098" h="7169" extrusionOk="0">
                  <a:moveTo>
                    <a:pt x="1144" y="1"/>
                  </a:moveTo>
                  <a:cubicBezTo>
                    <a:pt x="1025" y="1"/>
                    <a:pt x="918" y="96"/>
                    <a:pt x="906" y="215"/>
                  </a:cubicBezTo>
                  <a:cubicBezTo>
                    <a:pt x="894" y="596"/>
                    <a:pt x="596" y="894"/>
                    <a:pt x="215" y="906"/>
                  </a:cubicBezTo>
                  <a:cubicBezTo>
                    <a:pt x="96" y="906"/>
                    <a:pt x="1" y="1013"/>
                    <a:pt x="1" y="1144"/>
                  </a:cubicBezTo>
                  <a:lnTo>
                    <a:pt x="1" y="6025"/>
                  </a:lnTo>
                  <a:cubicBezTo>
                    <a:pt x="1" y="6144"/>
                    <a:pt x="96" y="6252"/>
                    <a:pt x="215" y="6264"/>
                  </a:cubicBezTo>
                  <a:cubicBezTo>
                    <a:pt x="596" y="6275"/>
                    <a:pt x="894" y="6573"/>
                    <a:pt x="906" y="6942"/>
                  </a:cubicBezTo>
                  <a:cubicBezTo>
                    <a:pt x="906" y="7061"/>
                    <a:pt x="1013" y="7168"/>
                    <a:pt x="1144" y="7168"/>
                  </a:cubicBezTo>
                  <a:lnTo>
                    <a:pt x="6728" y="7168"/>
                  </a:lnTo>
                  <a:cubicBezTo>
                    <a:pt x="6835" y="7168"/>
                    <a:pt x="6918" y="7085"/>
                    <a:pt x="6918" y="6978"/>
                  </a:cubicBezTo>
                  <a:cubicBezTo>
                    <a:pt x="6918" y="6871"/>
                    <a:pt x="6835" y="6787"/>
                    <a:pt x="6728" y="6787"/>
                  </a:cubicBezTo>
                  <a:lnTo>
                    <a:pt x="1275" y="6787"/>
                  </a:lnTo>
                  <a:cubicBezTo>
                    <a:pt x="1203" y="6323"/>
                    <a:pt x="846" y="5978"/>
                    <a:pt x="382" y="5894"/>
                  </a:cubicBezTo>
                  <a:lnTo>
                    <a:pt x="382" y="1263"/>
                  </a:lnTo>
                  <a:cubicBezTo>
                    <a:pt x="846" y="1191"/>
                    <a:pt x="1192" y="834"/>
                    <a:pt x="1275" y="370"/>
                  </a:cubicBezTo>
                  <a:lnTo>
                    <a:pt x="9776" y="370"/>
                  </a:lnTo>
                  <a:cubicBezTo>
                    <a:pt x="9847" y="846"/>
                    <a:pt x="10240" y="1203"/>
                    <a:pt x="10717" y="1263"/>
                  </a:cubicBezTo>
                  <a:lnTo>
                    <a:pt x="10717" y="4466"/>
                  </a:lnTo>
                  <a:cubicBezTo>
                    <a:pt x="10717" y="4561"/>
                    <a:pt x="10800" y="4656"/>
                    <a:pt x="10907" y="4656"/>
                  </a:cubicBezTo>
                  <a:cubicBezTo>
                    <a:pt x="11014" y="4656"/>
                    <a:pt x="11098" y="4561"/>
                    <a:pt x="11098" y="4466"/>
                  </a:cubicBezTo>
                  <a:lnTo>
                    <a:pt x="11098" y="1108"/>
                  </a:lnTo>
                  <a:cubicBezTo>
                    <a:pt x="11086" y="1072"/>
                    <a:pt x="11062" y="1013"/>
                    <a:pt x="11014" y="965"/>
                  </a:cubicBezTo>
                  <a:cubicBezTo>
                    <a:pt x="10967" y="918"/>
                    <a:pt x="10907" y="906"/>
                    <a:pt x="10848" y="906"/>
                  </a:cubicBezTo>
                  <a:cubicBezTo>
                    <a:pt x="10467" y="906"/>
                    <a:pt x="10145" y="608"/>
                    <a:pt x="10133" y="215"/>
                  </a:cubicBezTo>
                  <a:cubicBezTo>
                    <a:pt x="10133" y="96"/>
                    <a:pt x="10026" y="1"/>
                    <a:pt x="9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0" name="Google Shape;10950;p60"/>
            <p:cNvSpPr/>
            <p:nvPr/>
          </p:nvSpPr>
          <p:spPr>
            <a:xfrm>
              <a:off x="1278299" y="2439293"/>
              <a:ext cx="410829" cy="332343"/>
            </a:xfrm>
            <a:custGeom>
              <a:avLst/>
              <a:gdLst/>
              <a:ahLst/>
              <a:cxnLst/>
              <a:rect l="l" t="t" r="r" b="b"/>
              <a:pathLst>
                <a:path w="12908" h="10442" extrusionOk="0">
                  <a:moveTo>
                    <a:pt x="12348" y="369"/>
                  </a:moveTo>
                  <a:cubicBezTo>
                    <a:pt x="12431" y="369"/>
                    <a:pt x="12503" y="429"/>
                    <a:pt x="12503" y="524"/>
                  </a:cubicBezTo>
                  <a:lnTo>
                    <a:pt x="12503" y="8513"/>
                  </a:lnTo>
                  <a:cubicBezTo>
                    <a:pt x="12503" y="8585"/>
                    <a:pt x="12443" y="8656"/>
                    <a:pt x="12348" y="8656"/>
                  </a:cubicBezTo>
                  <a:lnTo>
                    <a:pt x="11610" y="8656"/>
                  </a:lnTo>
                  <a:lnTo>
                    <a:pt x="11502" y="8454"/>
                  </a:lnTo>
                  <a:cubicBezTo>
                    <a:pt x="11502" y="8454"/>
                    <a:pt x="11514" y="8454"/>
                    <a:pt x="11514" y="8442"/>
                  </a:cubicBezTo>
                  <a:cubicBezTo>
                    <a:pt x="11776" y="8323"/>
                    <a:pt x="11931" y="8049"/>
                    <a:pt x="11907" y="7763"/>
                  </a:cubicBezTo>
                  <a:cubicBezTo>
                    <a:pt x="11907" y="7692"/>
                    <a:pt x="11919" y="7632"/>
                    <a:pt x="11967" y="7573"/>
                  </a:cubicBezTo>
                  <a:cubicBezTo>
                    <a:pt x="12133" y="7334"/>
                    <a:pt x="12133" y="7025"/>
                    <a:pt x="11967" y="6799"/>
                  </a:cubicBezTo>
                  <a:cubicBezTo>
                    <a:pt x="11919" y="6739"/>
                    <a:pt x="11907" y="6668"/>
                    <a:pt x="11907" y="6608"/>
                  </a:cubicBezTo>
                  <a:cubicBezTo>
                    <a:pt x="11931" y="6322"/>
                    <a:pt x="11776" y="6061"/>
                    <a:pt x="11514" y="5941"/>
                  </a:cubicBezTo>
                  <a:cubicBezTo>
                    <a:pt x="11455" y="5906"/>
                    <a:pt x="11395" y="5858"/>
                    <a:pt x="11371" y="5787"/>
                  </a:cubicBezTo>
                  <a:cubicBezTo>
                    <a:pt x="11263" y="5559"/>
                    <a:pt x="11027" y="5401"/>
                    <a:pt x="10779" y="5401"/>
                  </a:cubicBezTo>
                  <a:cubicBezTo>
                    <a:pt x="10754" y="5401"/>
                    <a:pt x="10729" y="5402"/>
                    <a:pt x="10705" y="5406"/>
                  </a:cubicBezTo>
                  <a:cubicBezTo>
                    <a:pt x="10621" y="5406"/>
                    <a:pt x="10562" y="5382"/>
                    <a:pt x="10502" y="5346"/>
                  </a:cubicBezTo>
                  <a:cubicBezTo>
                    <a:pt x="10383" y="5263"/>
                    <a:pt x="10246" y="5221"/>
                    <a:pt x="10111" y="5221"/>
                  </a:cubicBezTo>
                  <a:cubicBezTo>
                    <a:pt x="9975" y="5221"/>
                    <a:pt x="9841" y="5263"/>
                    <a:pt x="9728" y="5346"/>
                  </a:cubicBezTo>
                  <a:cubicBezTo>
                    <a:pt x="9669" y="5382"/>
                    <a:pt x="9597" y="5406"/>
                    <a:pt x="9538" y="5406"/>
                  </a:cubicBezTo>
                  <a:cubicBezTo>
                    <a:pt x="9512" y="5402"/>
                    <a:pt x="9486" y="5401"/>
                    <a:pt x="9461" y="5401"/>
                  </a:cubicBezTo>
                  <a:cubicBezTo>
                    <a:pt x="9206" y="5401"/>
                    <a:pt x="8979" y="5559"/>
                    <a:pt x="8871" y="5787"/>
                  </a:cubicBezTo>
                  <a:cubicBezTo>
                    <a:pt x="8835" y="5846"/>
                    <a:pt x="8800" y="5906"/>
                    <a:pt x="8716" y="5941"/>
                  </a:cubicBezTo>
                  <a:cubicBezTo>
                    <a:pt x="8466" y="6061"/>
                    <a:pt x="8300" y="6322"/>
                    <a:pt x="8335" y="6608"/>
                  </a:cubicBezTo>
                  <a:cubicBezTo>
                    <a:pt x="8335" y="6680"/>
                    <a:pt x="8323" y="6739"/>
                    <a:pt x="8276" y="6799"/>
                  </a:cubicBezTo>
                  <a:cubicBezTo>
                    <a:pt x="8109" y="7037"/>
                    <a:pt x="8109" y="7346"/>
                    <a:pt x="8276" y="7573"/>
                  </a:cubicBezTo>
                  <a:cubicBezTo>
                    <a:pt x="8323" y="7632"/>
                    <a:pt x="8335" y="7704"/>
                    <a:pt x="8335" y="7763"/>
                  </a:cubicBezTo>
                  <a:cubicBezTo>
                    <a:pt x="8300" y="8049"/>
                    <a:pt x="8466" y="8323"/>
                    <a:pt x="8716" y="8442"/>
                  </a:cubicBezTo>
                  <a:cubicBezTo>
                    <a:pt x="8716" y="8442"/>
                    <a:pt x="8740" y="8442"/>
                    <a:pt x="8740" y="8454"/>
                  </a:cubicBezTo>
                  <a:lnTo>
                    <a:pt x="8633" y="8656"/>
                  </a:lnTo>
                  <a:lnTo>
                    <a:pt x="525" y="8656"/>
                  </a:lnTo>
                  <a:cubicBezTo>
                    <a:pt x="441" y="8656"/>
                    <a:pt x="370" y="8597"/>
                    <a:pt x="370" y="8513"/>
                  </a:cubicBezTo>
                  <a:lnTo>
                    <a:pt x="370" y="524"/>
                  </a:lnTo>
                  <a:cubicBezTo>
                    <a:pt x="370" y="441"/>
                    <a:pt x="430" y="369"/>
                    <a:pt x="525" y="369"/>
                  </a:cubicBezTo>
                  <a:close/>
                  <a:moveTo>
                    <a:pt x="10139" y="5638"/>
                  </a:moveTo>
                  <a:cubicBezTo>
                    <a:pt x="10199" y="5638"/>
                    <a:pt x="10258" y="5656"/>
                    <a:pt x="10312" y="5691"/>
                  </a:cubicBezTo>
                  <a:cubicBezTo>
                    <a:pt x="10420" y="5770"/>
                    <a:pt x="10553" y="5817"/>
                    <a:pt x="10684" y="5817"/>
                  </a:cubicBezTo>
                  <a:cubicBezTo>
                    <a:pt x="10711" y="5817"/>
                    <a:pt x="10738" y="5815"/>
                    <a:pt x="10764" y="5810"/>
                  </a:cubicBezTo>
                  <a:cubicBezTo>
                    <a:pt x="10773" y="5810"/>
                    <a:pt x="10782" y="5809"/>
                    <a:pt x="10790" y="5809"/>
                  </a:cubicBezTo>
                  <a:cubicBezTo>
                    <a:pt x="10900" y="5809"/>
                    <a:pt x="11007" y="5878"/>
                    <a:pt x="11062" y="5977"/>
                  </a:cubicBezTo>
                  <a:cubicBezTo>
                    <a:pt x="11133" y="6132"/>
                    <a:pt x="11229" y="6251"/>
                    <a:pt x="11383" y="6311"/>
                  </a:cubicBezTo>
                  <a:cubicBezTo>
                    <a:pt x="11502" y="6370"/>
                    <a:pt x="11562" y="6477"/>
                    <a:pt x="11550" y="6608"/>
                  </a:cubicBezTo>
                  <a:cubicBezTo>
                    <a:pt x="11526" y="6775"/>
                    <a:pt x="11574" y="6930"/>
                    <a:pt x="11669" y="7049"/>
                  </a:cubicBezTo>
                  <a:cubicBezTo>
                    <a:pt x="11741" y="7156"/>
                    <a:pt x="11741" y="7287"/>
                    <a:pt x="11669" y="7394"/>
                  </a:cubicBezTo>
                  <a:cubicBezTo>
                    <a:pt x="11574" y="7525"/>
                    <a:pt x="11538" y="7692"/>
                    <a:pt x="11550" y="7835"/>
                  </a:cubicBezTo>
                  <a:cubicBezTo>
                    <a:pt x="11562" y="7966"/>
                    <a:pt x="11490" y="8085"/>
                    <a:pt x="11383" y="8132"/>
                  </a:cubicBezTo>
                  <a:cubicBezTo>
                    <a:pt x="11288" y="8180"/>
                    <a:pt x="11217" y="8239"/>
                    <a:pt x="11157" y="8299"/>
                  </a:cubicBezTo>
                  <a:lnTo>
                    <a:pt x="11145" y="8323"/>
                  </a:lnTo>
                  <a:lnTo>
                    <a:pt x="11050" y="8454"/>
                  </a:lnTo>
                  <a:cubicBezTo>
                    <a:pt x="10995" y="8563"/>
                    <a:pt x="10911" y="8622"/>
                    <a:pt x="10787" y="8622"/>
                  </a:cubicBezTo>
                  <a:cubicBezTo>
                    <a:pt x="10776" y="8622"/>
                    <a:pt x="10764" y="8621"/>
                    <a:pt x="10752" y="8620"/>
                  </a:cubicBezTo>
                  <a:cubicBezTo>
                    <a:pt x="10726" y="8616"/>
                    <a:pt x="10699" y="8614"/>
                    <a:pt x="10672" y="8614"/>
                  </a:cubicBezTo>
                  <a:cubicBezTo>
                    <a:pt x="10542" y="8614"/>
                    <a:pt x="10410" y="8660"/>
                    <a:pt x="10312" y="8739"/>
                  </a:cubicBezTo>
                  <a:cubicBezTo>
                    <a:pt x="10252" y="8751"/>
                    <a:pt x="10205" y="8763"/>
                    <a:pt x="10169" y="8775"/>
                  </a:cubicBezTo>
                  <a:lnTo>
                    <a:pt x="10074" y="8775"/>
                  </a:lnTo>
                  <a:cubicBezTo>
                    <a:pt x="10026" y="8775"/>
                    <a:pt x="9978" y="8751"/>
                    <a:pt x="9955" y="8739"/>
                  </a:cubicBezTo>
                  <a:cubicBezTo>
                    <a:pt x="9836" y="8656"/>
                    <a:pt x="9705" y="8620"/>
                    <a:pt x="9562" y="8620"/>
                  </a:cubicBezTo>
                  <a:lnTo>
                    <a:pt x="9514" y="8620"/>
                  </a:lnTo>
                  <a:cubicBezTo>
                    <a:pt x="9504" y="8621"/>
                    <a:pt x="9495" y="8622"/>
                    <a:pt x="9486" y="8622"/>
                  </a:cubicBezTo>
                  <a:cubicBezTo>
                    <a:pt x="9366" y="8622"/>
                    <a:pt x="9261" y="8553"/>
                    <a:pt x="9216" y="8454"/>
                  </a:cubicBezTo>
                  <a:cubicBezTo>
                    <a:pt x="9181" y="8406"/>
                    <a:pt x="9157" y="8347"/>
                    <a:pt x="9121" y="8323"/>
                  </a:cubicBezTo>
                  <a:lnTo>
                    <a:pt x="9121" y="8299"/>
                  </a:lnTo>
                  <a:cubicBezTo>
                    <a:pt x="9062" y="8227"/>
                    <a:pt x="8990" y="8168"/>
                    <a:pt x="8895" y="8132"/>
                  </a:cubicBezTo>
                  <a:cubicBezTo>
                    <a:pt x="8776" y="8085"/>
                    <a:pt x="8716" y="7977"/>
                    <a:pt x="8728" y="7835"/>
                  </a:cubicBezTo>
                  <a:cubicBezTo>
                    <a:pt x="8752" y="7680"/>
                    <a:pt x="8704" y="7513"/>
                    <a:pt x="8609" y="7394"/>
                  </a:cubicBezTo>
                  <a:cubicBezTo>
                    <a:pt x="8538" y="7287"/>
                    <a:pt x="8538" y="7156"/>
                    <a:pt x="8609" y="7049"/>
                  </a:cubicBezTo>
                  <a:cubicBezTo>
                    <a:pt x="8704" y="6918"/>
                    <a:pt x="8752" y="6751"/>
                    <a:pt x="8728" y="6608"/>
                  </a:cubicBezTo>
                  <a:cubicBezTo>
                    <a:pt x="8716" y="6489"/>
                    <a:pt x="8788" y="6370"/>
                    <a:pt x="8895" y="6311"/>
                  </a:cubicBezTo>
                  <a:cubicBezTo>
                    <a:pt x="9050" y="6227"/>
                    <a:pt x="9169" y="6132"/>
                    <a:pt x="9228" y="5977"/>
                  </a:cubicBezTo>
                  <a:cubicBezTo>
                    <a:pt x="9283" y="5868"/>
                    <a:pt x="9387" y="5809"/>
                    <a:pt x="9496" y="5809"/>
                  </a:cubicBezTo>
                  <a:cubicBezTo>
                    <a:pt x="9506" y="5809"/>
                    <a:pt x="9516" y="5809"/>
                    <a:pt x="9526" y="5810"/>
                  </a:cubicBezTo>
                  <a:cubicBezTo>
                    <a:pt x="9552" y="5815"/>
                    <a:pt x="9579" y="5817"/>
                    <a:pt x="9606" y="5817"/>
                  </a:cubicBezTo>
                  <a:cubicBezTo>
                    <a:pt x="9737" y="5817"/>
                    <a:pt x="9868" y="5770"/>
                    <a:pt x="9966" y="5691"/>
                  </a:cubicBezTo>
                  <a:cubicBezTo>
                    <a:pt x="10020" y="5656"/>
                    <a:pt x="10080" y="5638"/>
                    <a:pt x="10139" y="5638"/>
                  </a:cubicBezTo>
                  <a:close/>
                  <a:moveTo>
                    <a:pt x="8990" y="8775"/>
                  </a:moveTo>
                  <a:cubicBezTo>
                    <a:pt x="9105" y="8910"/>
                    <a:pt x="9274" y="8982"/>
                    <a:pt x="9458" y="8982"/>
                  </a:cubicBezTo>
                  <a:cubicBezTo>
                    <a:pt x="9484" y="8982"/>
                    <a:pt x="9511" y="8981"/>
                    <a:pt x="9538" y="8978"/>
                  </a:cubicBezTo>
                  <a:cubicBezTo>
                    <a:pt x="9609" y="8978"/>
                    <a:pt x="9669" y="8989"/>
                    <a:pt x="9728" y="9037"/>
                  </a:cubicBezTo>
                  <a:cubicBezTo>
                    <a:pt x="9740" y="9049"/>
                    <a:pt x="9776" y="9061"/>
                    <a:pt x="9788" y="9061"/>
                  </a:cubicBezTo>
                  <a:lnTo>
                    <a:pt x="9383" y="9894"/>
                  </a:lnTo>
                  <a:lnTo>
                    <a:pt x="9193" y="9573"/>
                  </a:lnTo>
                  <a:cubicBezTo>
                    <a:pt x="9151" y="9500"/>
                    <a:pt x="9082" y="9463"/>
                    <a:pt x="9001" y="9463"/>
                  </a:cubicBezTo>
                  <a:cubicBezTo>
                    <a:pt x="8990" y="9463"/>
                    <a:pt x="8978" y="9464"/>
                    <a:pt x="8966" y="9466"/>
                  </a:cubicBezTo>
                  <a:lnTo>
                    <a:pt x="8633" y="9525"/>
                  </a:lnTo>
                  <a:lnTo>
                    <a:pt x="8990" y="8775"/>
                  </a:lnTo>
                  <a:close/>
                  <a:moveTo>
                    <a:pt x="11264" y="8775"/>
                  </a:moveTo>
                  <a:lnTo>
                    <a:pt x="11621" y="9525"/>
                  </a:lnTo>
                  <a:lnTo>
                    <a:pt x="11264" y="9466"/>
                  </a:lnTo>
                  <a:cubicBezTo>
                    <a:pt x="11254" y="9464"/>
                    <a:pt x="11243" y="9463"/>
                    <a:pt x="11233" y="9463"/>
                  </a:cubicBezTo>
                  <a:cubicBezTo>
                    <a:pt x="11158" y="9463"/>
                    <a:pt x="11080" y="9500"/>
                    <a:pt x="11038" y="9573"/>
                  </a:cubicBezTo>
                  <a:lnTo>
                    <a:pt x="10848" y="9894"/>
                  </a:lnTo>
                  <a:lnTo>
                    <a:pt x="10467" y="9061"/>
                  </a:lnTo>
                  <a:cubicBezTo>
                    <a:pt x="10478" y="9049"/>
                    <a:pt x="10502" y="9025"/>
                    <a:pt x="10514" y="9025"/>
                  </a:cubicBezTo>
                  <a:cubicBezTo>
                    <a:pt x="10574" y="8989"/>
                    <a:pt x="10657" y="8978"/>
                    <a:pt x="10717" y="8978"/>
                  </a:cubicBezTo>
                  <a:cubicBezTo>
                    <a:pt x="10731" y="8978"/>
                    <a:pt x="10746" y="8979"/>
                    <a:pt x="10760" y="8979"/>
                  </a:cubicBezTo>
                  <a:cubicBezTo>
                    <a:pt x="10946" y="8979"/>
                    <a:pt x="11121" y="8908"/>
                    <a:pt x="11264" y="8775"/>
                  </a:cubicBezTo>
                  <a:close/>
                  <a:moveTo>
                    <a:pt x="525" y="0"/>
                  </a:moveTo>
                  <a:cubicBezTo>
                    <a:pt x="239" y="0"/>
                    <a:pt x="1" y="238"/>
                    <a:pt x="1" y="524"/>
                  </a:cubicBezTo>
                  <a:lnTo>
                    <a:pt x="1" y="8513"/>
                  </a:lnTo>
                  <a:cubicBezTo>
                    <a:pt x="1" y="8799"/>
                    <a:pt x="239" y="9037"/>
                    <a:pt x="525" y="9037"/>
                  </a:cubicBezTo>
                  <a:lnTo>
                    <a:pt x="8454" y="9037"/>
                  </a:lnTo>
                  <a:lnTo>
                    <a:pt x="8169" y="9632"/>
                  </a:lnTo>
                  <a:cubicBezTo>
                    <a:pt x="8145" y="9704"/>
                    <a:pt x="8145" y="9787"/>
                    <a:pt x="8204" y="9870"/>
                  </a:cubicBezTo>
                  <a:cubicBezTo>
                    <a:pt x="8234" y="9930"/>
                    <a:pt x="8306" y="9957"/>
                    <a:pt x="8370" y="9957"/>
                  </a:cubicBezTo>
                  <a:cubicBezTo>
                    <a:pt x="8383" y="9957"/>
                    <a:pt x="8395" y="9956"/>
                    <a:pt x="8407" y="9954"/>
                  </a:cubicBezTo>
                  <a:lnTo>
                    <a:pt x="8931" y="9870"/>
                  </a:lnTo>
                  <a:lnTo>
                    <a:pt x="9228" y="10347"/>
                  </a:lnTo>
                  <a:cubicBezTo>
                    <a:pt x="9276" y="10418"/>
                    <a:pt x="9347" y="10442"/>
                    <a:pt x="9419" y="10442"/>
                  </a:cubicBezTo>
                  <a:lnTo>
                    <a:pt x="9431" y="10442"/>
                  </a:lnTo>
                  <a:cubicBezTo>
                    <a:pt x="9526" y="10442"/>
                    <a:pt x="9585" y="10382"/>
                    <a:pt x="9633" y="10311"/>
                  </a:cubicBezTo>
                  <a:lnTo>
                    <a:pt x="10133" y="9251"/>
                  </a:lnTo>
                  <a:lnTo>
                    <a:pt x="10645" y="10311"/>
                  </a:lnTo>
                  <a:cubicBezTo>
                    <a:pt x="10669" y="10382"/>
                    <a:pt x="10740" y="10430"/>
                    <a:pt x="10836" y="10442"/>
                  </a:cubicBezTo>
                  <a:lnTo>
                    <a:pt x="10848" y="10442"/>
                  </a:lnTo>
                  <a:cubicBezTo>
                    <a:pt x="10919" y="10442"/>
                    <a:pt x="11002" y="10406"/>
                    <a:pt x="11038" y="10347"/>
                  </a:cubicBezTo>
                  <a:lnTo>
                    <a:pt x="11336" y="9870"/>
                  </a:lnTo>
                  <a:lnTo>
                    <a:pt x="11860" y="9954"/>
                  </a:lnTo>
                  <a:cubicBezTo>
                    <a:pt x="11875" y="9956"/>
                    <a:pt x="11890" y="9957"/>
                    <a:pt x="11904" y="9957"/>
                  </a:cubicBezTo>
                  <a:cubicBezTo>
                    <a:pt x="11977" y="9957"/>
                    <a:pt x="12034" y="9930"/>
                    <a:pt x="12074" y="9870"/>
                  </a:cubicBezTo>
                  <a:cubicBezTo>
                    <a:pt x="12110" y="9787"/>
                    <a:pt x="12133" y="9716"/>
                    <a:pt x="12098" y="9620"/>
                  </a:cubicBezTo>
                  <a:lnTo>
                    <a:pt x="11812" y="9025"/>
                  </a:lnTo>
                  <a:lnTo>
                    <a:pt x="12383" y="9025"/>
                  </a:lnTo>
                  <a:cubicBezTo>
                    <a:pt x="12669" y="9025"/>
                    <a:pt x="12907" y="8787"/>
                    <a:pt x="12907" y="8513"/>
                  </a:cubicBezTo>
                  <a:lnTo>
                    <a:pt x="12907" y="524"/>
                  </a:lnTo>
                  <a:cubicBezTo>
                    <a:pt x="12884" y="238"/>
                    <a:pt x="12645" y="0"/>
                    <a:pt x="12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1" name="Google Shape;10951;p60"/>
            <p:cNvSpPr/>
            <p:nvPr/>
          </p:nvSpPr>
          <p:spPr>
            <a:xfrm>
              <a:off x="1562519" y="2630640"/>
              <a:ext cx="74699" cy="74699"/>
            </a:xfrm>
            <a:custGeom>
              <a:avLst/>
              <a:gdLst/>
              <a:ahLst/>
              <a:cxnLst/>
              <a:rect l="l" t="t" r="r" b="b"/>
              <a:pathLst>
                <a:path w="2347" h="2347" extrusionOk="0">
                  <a:moveTo>
                    <a:pt x="1179" y="382"/>
                  </a:moveTo>
                  <a:cubicBezTo>
                    <a:pt x="1608" y="382"/>
                    <a:pt x="1965" y="739"/>
                    <a:pt x="1965" y="1180"/>
                  </a:cubicBezTo>
                  <a:cubicBezTo>
                    <a:pt x="1977" y="1608"/>
                    <a:pt x="1620" y="1965"/>
                    <a:pt x="1179" y="1965"/>
                  </a:cubicBezTo>
                  <a:cubicBezTo>
                    <a:pt x="739" y="1965"/>
                    <a:pt x="382" y="1608"/>
                    <a:pt x="382" y="1180"/>
                  </a:cubicBezTo>
                  <a:cubicBezTo>
                    <a:pt x="382" y="739"/>
                    <a:pt x="739" y="382"/>
                    <a:pt x="1179" y="382"/>
                  </a:cubicBezTo>
                  <a:close/>
                  <a:moveTo>
                    <a:pt x="1179" y="1"/>
                  </a:moveTo>
                  <a:cubicBezTo>
                    <a:pt x="536" y="1"/>
                    <a:pt x="1" y="525"/>
                    <a:pt x="1" y="1180"/>
                  </a:cubicBezTo>
                  <a:cubicBezTo>
                    <a:pt x="1" y="1811"/>
                    <a:pt x="525" y="2346"/>
                    <a:pt x="1179" y="2346"/>
                  </a:cubicBezTo>
                  <a:cubicBezTo>
                    <a:pt x="1834" y="2346"/>
                    <a:pt x="2346" y="1823"/>
                    <a:pt x="2346" y="1180"/>
                  </a:cubicBezTo>
                  <a:cubicBezTo>
                    <a:pt x="2346" y="525"/>
                    <a:pt x="183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52" name="Google Shape;10952;p60"/>
          <p:cNvGrpSpPr/>
          <p:nvPr/>
        </p:nvGrpSpPr>
        <p:grpSpPr>
          <a:xfrm>
            <a:off x="870939" y="2439293"/>
            <a:ext cx="331993" cy="331993"/>
            <a:chOff x="870939" y="2439293"/>
            <a:chExt cx="331993" cy="331993"/>
          </a:xfrm>
        </p:grpSpPr>
        <p:sp>
          <p:nvSpPr>
            <p:cNvPr id="10953" name="Google Shape;10953;p60"/>
            <p:cNvSpPr/>
            <p:nvPr/>
          </p:nvSpPr>
          <p:spPr>
            <a:xfrm>
              <a:off x="870939" y="2439293"/>
              <a:ext cx="331993" cy="331993"/>
            </a:xfrm>
            <a:custGeom>
              <a:avLst/>
              <a:gdLst/>
              <a:ahLst/>
              <a:cxnLst/>
              <a:rect l="l" t="t" r="r" b="b"/>
              <a:pathLst>
                <a:path w="10431" h="10431" extrusionOk="0">
                  <a:moveTo>
                    <a:pt x="9490" y="298"/>
                  </a:moveTo>
                  <a:cubicBezTo>
                    <a:pt x="9835" y="298"/>
                    <a:pt x="10121" y="584"/>
                    <a:pt x="10121" y="917"/>
                  </a:cubicBezTo>
                  <a:lnTo>
                    <a:pt x="10121" y="9513"/>
                  </a:lnTo>
                  <a:cubicBezTo>
                    <a:pt x="10121" y="9847"/>
                    <a:pt x="9835" y="10132"/>
                    <a:pt x="9490" y="10132"/>
                  </a:cubicBezTo>
                  <a:lnTo>
                    <a:pt x="7037" y="10132"/>
                  </a:lnTo>
                  <a:lnTo>
                    <a:pt x="7037" y="9156"/>
                  </a:lnTo>
                  <a:cubicBezTo>
                    <a:pt x="7037" y="9055"/>
                    <a:pt x="6960" y="9004"/>
                    <a:pt x="6883" y="9004"/>
                  </a:cubicBezTo>
                  <a:cubicBezTo>
                    <a:pt x="6805" y="9004"/>
                    <a:pt x="6728" y="9055"/>
                    <a:pt x="6728" y="9156"/>
                  </a:cubicBezTo>
                  <a:lnTo>
                    <a:pt x="6728" y="10132"/>
                  </a:lnTo>
                  <a:lnTo>
                    <a:pt x="3644" y="10132"/>
                  </a:lnTo>
                  <a:lnTo>
                    <a:pt x="3644" y="298"/>
                  </a:lnTo>
                  <a:lnTo>
                    <a:pt x="6728" y="298"/>
                  </a:lnTo>
                  <a:lnTo>
                    <a:pt x="6728" y="8347"/>
                  </a:lnTo>
                  <a:cubicBezTo>
                    <a:pt x="6728" y="8442"/>
                    <a:pt x="6805" y="8489"/>
                    <a:pt x="6883" y="8489"/>
                  </a:cubicBezTo>
                  <a:cubicBezTo>
                    <a:pt x="6960" y="8489"/>
                    <a:pt x="7037" y="8442"/>
                    <a:pt x="7037" y="8347"/>
                  </a:cubicBezTo>
                  <a:lnTo>
                    <a:pt x="7037" y="298"/>
                  </a:lnTo>
                  <a:close/>
                  <a:moveTo>
                    <a:pt x="918" y="0"/>
                  </a:moveTo>
                  <a:cubicBezTo>
                    <a:pt x="417" y="0"/>
                    <a:pt x="1" y="417"/>
                    <a:pt x="1" y="917"/>
                  </a:cubicBezTo>
                  <a:lnTo>
                    <a:pt x="1" y="2096"/>
                  </a:lnTo>
                  <a:cubicBezTo>
                    <a:pt x="1" y="2191"/>
                    <a:pt x="78" y="2239"/>
                    <a:pt x="156" y="2239"/>
                  </a:cubicBezTo>
                  <a:cubicBezTo>
                    <a:pt x="233" y="2239"/>
                    <a:pt x="310" y="2191"/>
                    <a:pt x="310" y="2096"/>
                  </a:cubicBezTo>
                  <a:lnTo>
                    <a:pt x="310" y="917"/>
                  </a:lnTo>
                  <a:cubicBezTo>
                    <a:pt x="310" y="584"/>
                    <a:pt x="596" y="298"/>
                    <a:pt x="941" y="298"/>
                  </a:cubicBezTo>
                  <a:lnTo>
                    <a:pt x="3394" y="298"/>
                  </a:lnTo>
                  <a:lnTo>
                    <a:pt x="3394" y="10132"/>
                  </a:lnTo>
                  <a:lnTo>
                    <a:pt x="941" y="10132"/>
                  </a:lnTo>
                  <a:cubicBezTo>
                    <a:pt x="596" y="10132"/>
                    <a:pt x="310" y="9847"/>
                    <a:pt x="310" y="9513"/>
                  </a:cubicBezTo>
                  <a:lnTo>
                    <a:pt x="310" y="2965"/>
                  </a:lnTo>
                  <a:cubicBezTo>
                    <a:pt x="310" y="2864"/>
                    <a:pt x="233" y="2813"/>
                    <a:pt x="156" y="2813"/>
                  </a:cubicBezTo>
                  <a:cubicBezTo>
                    <a:pt x="78" y="2813"/>
                    <a:pt x="1" y="2864"/>
                    <a:pt x="1" y="2965"/>
                  </a:cubicBezTo>
                  <a:lnTo>
                    <a:pt x="1" y="9513"/>
                  </a:lnTo>
                  <a:cubicBezTo>
                    <a:pt x="1" y="10013"/>
                    <a:pt x="417" y="10430"/>
                    <a:pt x="918" y="10430"/>
                  </a:cubicBezTo>
                  <a:lnTo>
                    <a:pt x="9514" y="10430"/>
                  </a:lnTo>
                  <a:cubicBezTo>
                    <a:pt x="10014" y="10430"/>
                    <a:pt x="10431" y="10013"/>
                    <a:pt x="10431" y="9513"/>
                  </a:cubicBezTo>
                  <a:lnTo>
                    <a:pt x="10431" y="917"/>
                  </a:lnTo>
                  <a:cubicBezTo>
                    <a:pt x="10431" y="417"/>
                    <a:pt x="10014" y="0"/>
                    <a:pt x="9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4" name="Google Shape;10954;p60"/>
            <p:cNvSpPr/>
            <p:nvPr/>
          </p:nvSpPr>
          <p:spPr>
            <a:xfrm>
              <a:off x="908463" y="2696969"/>
              <a:ext cx="41726" cy="41726"/>
            </a:xfrm>
            <a:custGeom>
              <a:avLst/>
              <a:gdLst/>
              <a:ahLst/>
              <a:cxnLst/>
              <a:rect l="l" t="t" r="r" b="b"/>
              <a:pathLst>
                <a:path w="1311" h="1311" extrusionOk="0">
                  <a:moveTo>
                    <a:pt x="673" y="309"/>
                  </a:moveTo>
                  <a:cubicBezTo>
                    <a:pt x="844" y="309"/>
                    <a:pt x="989" y="471"/>
                    <a:pt x="989" y="655"/>
                  </a:cubicBezTo>
                  <a:cubicBezTo>
                    <a:pt x="989" y="846"/>
                    <a:pt x="846" y="1001"/>
                    <a:pt x="655" y="1001"/>
                  </a:cubicBezTo>
                  <a:cubicBezTo>
                    <a:pt x="453" y="1001"/>
                    <a:pt x="310" y="846"/>
                    <a:pt x="310" y="655"/>
                  </a:cubicBezTo>
                  <a:cubicBezTo>
                    <a:pt x="310" y="465"/>
                    <a:pt x="453" y="310"/>
                    <a:pt x="655" y="310"/>
                  </a:cubicBezTo>
                  <a:cubicBezTo>
                    <a:pt x="661" y="310"/>
                    <a:pt x="667" y="309"/>
                    <a:pt x="673" y="309"/>
                  </a:cubicBezTo>
                  <a:close/>
                  <a:moveTo>
                    <a:pt x="655" y="0"/>
                  </a:moveTo>
                  <a:cubicBezTo>
                    <a:pt x="274" y="0"/>
                    <a:pt x="0" y="286"/>
                    <a:pt x="0" y="655"/>
                  </a:cubicBezTo>
                  <a:cubicBezTo>
                    <a:pt x="0" y="1012"/>
                    <a:pt x="298" y="1310"/>
                    <a:pt x="655" y="1310"/>
                  </a:cubicBezTo>
                  <a:cubicBezTo>
                    <a:pt x="1012" y="1310"/>
                    <a:pt x="1310" y="1012"/>
                    <a:pt x="1310" y="655"/>
                  </a:cubicBezTo>
                  <a:cubicBezTo>
                    <a:pt x="1310" y="298"/>
                    <a:pt x="1012"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5" name="Google Shape;10955;p60"/>
            <p:cNvSpPr/>
            <p:nvPr/>
          </p:nvSpPr>
          <p:spPr>
            <a:xfrm>
              <a:off x="1015690" y="2696969"/>
              <a:ext cx="41726" cy="41726"/>
            </a:xfrm>
            <a:custGeom>
              <a:avLst/>
              <a:gdLst/>
              <a:ahLst/>
              <a:cxnLst/>
              <a:rect l="l" t="t" r="r" b="b"/>
              <a:pathLst>
                <a:path w="1311" h="1311" extrusionOk="0">
                  <a:moveTo>
                    <a:pt x="656" y="310"/>
                  </a:moveTo>
                  <a:cubicBezTo>
                    <a:pt x="858" y="310"/>
                    <a:pt x="1001" y="465"/>
                    <a:pt x="1001" y="655"/>
                  </a:cubicBezTo>
                  <a:cubicBezTo>
                    <a:pt x="1001" y="846"/>
                    <a:pt x="858" y="1001"/>
                    <a:pt x="656" y="1001"/>
                  </a:cubicBezTo>
                  <a:cubicBezTo>
                    <a:pt x="465" y="1001"/>
                    <a:pt x="322" y="846"/>
                    <a:pt x="322" y="655"/>
                  </a:cubicBezTo>
                  <a:cubicBezTo>
                    <a:pt x="322" y="465"/>
                    <a:pt x="465" y="310"/>
                    <a:pt x="656" y="310"/>
                  </a:cubicBezTo>
                  <a:close/>
                  <a:moveTo>
                    <a:pt x="656" y="0"/>
                  </a:moveTo>
                  <a:cubicBezTo>
                    <a:pt x="299" y="0"/>
                    <a:pt x="1" y="298"/>
                    <a:pt x="1" y="655"/>
                  </a:cubicBezTo>
                  <a:cubicBezTo>
                    <a:pt x="1" y="1012"/>
                    <a:pt x="299" y="1310"/>
                    <a:pt x="656" y="1310"/>
                  </a:cubicBezTo>
                  <a:cubicBezTo>
                    <a:pt x="1013" y="1310"/>
                    <a:pt x="1311" y="1012"/>
                    <a:pt x="1311" y="655"/>
                  </a:cubicBezTo>
                  <a:cubicBezTo>
                    <a:pt x="1311" y="298"/>
                    <a:pt x="1013"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6" name="Google Shape;10956;p60"/>
            <p:cNvSpPr/>
            <p:nvPr/>
          </p:nvSpPr>
          <p:spPr>
            <a:xfrm>
              <a:off x="1122567" y="2696969"/>
              <a:ext cx="41726" cy="41726"/>
            </a:xfrm>
            <a:custGeom>
              <a:avLst/>
              <a:gdLst/>
              <a:ahLst/>
              <a:cxnLst/>
              <a:rect l="l" t="t" r="r" b="b"/>
              <a:pathLst>
                <a:path w="1311" h="1311" extrusionOk="0">
                  <a:moveTo>
                    <a:pt x="655" y="310"/>
                  </a:moveTo>
                  <a:cubicBezTo>
                    <a:pt x="846" y="310"/>
                    <a:pt x="989" y="465"/>
                    <a:pt x="989" y="655"/>
                  </a:cubicBezTo>
                  <a:cubicBezTo>
                    <a:pt x="989" y="846"/>
                    <a:pt x="846" y="1001"/>
                    <a:pt x="655" y="1001"/>
                  </a:cubicBezTo>
                  <a:cubicBezTo>
                    <a:pt x="453" y="1001"/>
                    <a:pt x="310" y="846"/>
                    <a:pt x="310" y="655"/>
                  </a:cubicBezTo>
                  <a:cubicBezTo>
                    <a:pt x="310" y="465"/>
                    <a:pt x="453" y="310"/>
                    <a:pt x="655" y="310"/>
                  </a:cubicBezTo>
                  <a:close/>
                  <a:moveTo>
                    <a:pt x="655" y="0"/>
                  </a:moveTo>
                  <a:cubicBezTo>
                    <a:pt x="298" y="0"/>
                    <a:pt x="0" y="298"/>
                    <a:pt x="0" y="655"/>
                  </a:cubicBezTo>
                  <a:cubicBezTo>
                    <a:pt x="0"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7" name="Google Shape;10957;p60"/>
            <p:cNvSpPr/>
            <p:nvPr/>
          </p:nvSpPr>
          <p:spPr>
            <a:xfrm>
              <a:off x="913015"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8" name="Google Shape;10958;p60"/>
            <p:cNvSpPr/>
            <p:nvPr/>
          </p:nvSpPr>
          <p:spPr>
            <a:xfrm>
              <a:off x="913015"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9" name="Google Shape;10959;p60"/>
            <p:cNvSpPr/>
            <p:nvPr/>
          </p:nvSpPr>
          <p:spPr>
            <a:xfrm>
              <a:off x="913015"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0" name="Google Shape;10960;p60"/>
            <p:cNvSpPr/>
            <p:nvPr/>
          </p:nvSpPr>
          <p:spPr>
            <a:xfrm>
              <a:off x="894428" y="2474908"/>
              <a:ext cx="69384" cy="167508"/>
            </a:xfrm>
            <a:custGeom>
              <a:avLst/>
              <a:gdLst/>
              <a:ahLst/>
              <a:cxnLst/>
              <a:rect l="l" t="t" r="r" b="b"/>
              <a:pathLst>
                <a:path w="2180" h="5263" extrusionOk="0">
                  <a:moveTo>
                    <a:pt x="1870" y="298"/>
                  </a:moveTo>
                  <a:lnTo>
                    <a:pt x="1870" y="3703"/>
                  </a:lnTo>
                  <a:lnTo>
                    <a:pt x="287" y="3703"/>
                  </a:lnTo>
                  <a:lnTo>
                    <a:pt x="287" y="298"/>
                  </a:lnTo>
                  <a:close/>
                  <a:moveTo>
                    <a:pt x="1882" y="4001"/>
                  </a:moveTo>
                  <a:lnTo>
                    <a:pt x="1882" y="4953"/>
                  </a:lnTo>
                  <a:lnTo>
                    <a:pt x="299" y="4953"/>
                  </a:lnTo>
                  <a:lnTo>
                    <a:pt x="299" y="4001"/>
                  </a:lnTo>
                  <a:close/>
                  <a:moveTo>
                    <a:pt x="156" y="0"/>
                  </a:moveTo>
                  <a:cubicBezTo>
                    <a:pt x="60" y="0"/>
                    <a:pt x="1" y="72"/>
                    <a:pt x="1" y="143"/>
                  </a:cubicBezTo>
                  <a:lnTo>
                    <a:pt x="1" y="5120"/>
                  </a:lnTo>
                  <a:cubicBezTo>
                    <a:pt x="1" y="5203"/>
                    <a:pt x="84" y="5263"/>
                    <a:pt x="156" y="5263"/>
                  </a:cubicBezTo>
                  <a:lnTo>
                    <a:pt x="2025" y="5263"/>
                  </a:lnTo>
                  <a:cubicBezTo>
                    <a:pt x="2108" y="5263"/>
                    <a:pt x="2180" y="5192"/>
                    <a:pt x="2180" y="5120"/>
                  </a:cubicBezTo>
                  <a:lnTo>
                    <a:pt x="2180" y="143"/>
                  </a:lnTo>
                  <a:cubicBezTo>
                    <a:pt x="2180" y="60"/>
                    <a:pt x="2108"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1" name="Google Shape;10961;p60"/>
            <p:cNvSpPr/>
            <p:nvPr/>
          </p:nvSpPr>
          <p:spPr>
            <a:xfrm>
              <a:off x="1002068" y="2474145"/>
              <a:ext cx="69384" cy="168272"/>
            </a:xfrm>
            <a:custGeom>
              <a:avLst/>
              <a:gdLst/>
              <a:ahLst/>
              <a:cxnLst/>
              <a:rect l="l" t="t" r="r" b="b"/>
              <a:pathLst>
                <a:path w="2180" h="5287" extrusionOk="0">
                  <a:moveTo>
                    <a:pt x="1881" y="322"/>
                  </a:moveTo>
                  <a:lnTo>
                    <a:pt x="1881" y="3727"/>
                  </a:lnTo>
                  <a:lnTo>
                    <a:pt x="298" y="3727"/>
                  </a:lnTo>
                  <a:lnTo>
                    <a:pt x="298" y="322"/>
                  </a:lnTo>
                  <a:close/>
                  <a:moveTo>
                    <a:pt x="1881" y="4025"/>
                  </a:moveTo>
                  <a:lnTo>
                    <a:pt x="1881" y="4977"/>
                  </a:lnTo>
                  <a:lnTo>
                    <a:pt x="298" y="4977"/>
                  </a:lnTo>
                  <a:lnTo>
                    <a:pt x="298" y="4025"/>
                  </a:lnTo>
                  <a:close/>
                  <a:moveTo>
                    <a:pt x="155" y="1"/>
                  </a:moveTo>
                  <a:cubicBezTo>
                    <a:pt x="60" y="1"/>
                    <a:pt x="0" y="84"/>
                    <a:pt x="0" y="155"/>
                  </a:cubicBezTo>
                  <a:lnTo>
                    <a:pt x="0" y="5144"/>
                  </a:lnTo>
                  <a:cubicBezTo>
                    <a:pt x="0" y="5227"/>
                    <a:pt x="72" y="5287"/>
                    <a:pt x="155" y="5287"/>
                  </a:cubicBezTo>
                  <a:lnTo>
                    <a:pt x="2024" y="5287"/>
                  </a:lnTo>
                  <a:cubicBezTo>
                    <a:pt x="2120" y="5287"/>
                    <a:pt x="2179" y="5216"/>
                    <a:pt x="2179" y="5144"/>
                  </a:cubicBezTo>
                  <a:lnTo>
                    <a:pt x="2179" y="167"/>
                  </a:lnTo>
                  <a:cubicBezTo>
                    <a:pt x="2179" y="84"/>
                    <a:pt x="2120" y="1"/>
                    <a:pt x="20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2" name="Google Shape;10962;p60"/>
            <p:cNvSpPr/>
            <p:nvPr/>
          </p:nvSpPr>
          <p:spPr>
            <a:xfrm>
              <a:off x="1108531" y="2474145"/>
              <a:ext cx="69384" cy="168272"/>
            </a:xfrm>
            <a:custGeom>
              <a:avLst/>
              <a:gdLst/>
              <a:ahLst/>
              <a:cxnLst/>
              <a:rect l="l" t="t" r="r" b="b"/>
              <a:pathLst>
                <a:path w="2180" h="5287" extrusionOk="0">
                  <a:moveTo>
                    <a:pt x="1882" y="322"/>
                  </a:moveTo>
                  <a:lnTo>
                    <a:pt x="1882" y="3727"/>
                  </a:lnTo>
                  <a:lnTo>
                    <a:pt x="299" y="3727"/>
                  </a:lnTo>
                  <a:lnTo>
                    <a:pt x="299" y="322"/>
                  </a:lnTo>
                  <a:close/>
                  <a:moveTo>
                    <a:pt x="1882" y="4025"/>
                  </a:moveTo>
                  <a:lnTo>
                    <a:pt x="1882" y="4977"/>
                  </a:lnTo>
                  <a:lnTo>
                    <a:pt x="299" y="4977"/>
                  </a:lnTo>
                  <a:lnTo>
                    <a:pt x="299" y="4025"/>
                  </a:lnTo>
                  <a:close/>
                  <a:moveTo>
                    <a:pt x="156" y="1"/>
                  </a:moveTo>
                  <a:cubicBezTo>
                    <a:pt x="60" y="1"/>
                    <a:pt x="1" y="84"/>
                    <a:pt x="1" y="155"/>
                  </a:cubicBezTo>
                  <a:lnTo>
                    <a:pt x="1" y="5144"/>
                  </a:lnTo>
                  <a:cubicBezTo>
                    <a:pt x="1" y="5227"/>
                    <a:pt x="84" y="5287"/>
                    <a:pt x="156" y="5287"/>
                  </a:cubicBezTo>
                  <a:lnTo>
                    <a:pt x="2025" y="5287"/>
                  </a:lnTo>
                  <a:cubicBezTo>
                    <a:pt x="2120" y="5287"/>
                    <a:pt x="2180" y="5216"/>
                    <a:pt x="2180" y="5144"/>
                  </a:cubicBezTo>
                  <a:lnTo>
                    <a:pt x="2180" y="167"/>
                  </a:lnTo>
                  <a:cubicBezTo>
                    <a:pt x="2180"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3" name="Google Shape;10963;p60"/>
            <p:cNvSpPr/>
            <p:nvPr/>
          </p:nvSpPr>
          <p:spPr>
            <a:xfrm>
              <a:off x="1127118" y="2504094"/>
              <a:ext cx="31859" cy="9867"/>
            </a:xfrm>
            <a:custGeom>
              <a:avLst/>
              <a:gdLst/>
              <a:ahLst/>
              <a:cxnLst/>
              <a:rect l="l" t="t" r="r" b="b"/>
              <a:pathLst>
                <a:path w="1001" h="310" extrusionOk="0">
                  <a:moveTo>
                    <a:pt x="191" y="0"/>
                  </a:moveTo>
                  <a:cubicBezTo>
                    <a:pt x="0" y="12"/>
                    <a:pt x="0" y="310"/>
                    <a:pt x="191" y="310"/>
                  </a:cubicBezTo>
                  <a:lnTo>
                    <a:pt x="810" y="310"/>
                  </a:lnTo>
                  <a:cubicBezTo>
                    <a:pt x="1000" y="310"/>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4" name="Google Shape;10964;p60"/>
            <p:cNvSpPr/>
            <p:nvPr/>
          </p:nvSpPr>
          <p:spPr>
            <a:xfrm>
              <a:off x="1127118" y="2532898"/>
              <a:ext cx="31859" cy="10248"/>
            </a:xfrm>
            <a:custGeom>
              <a:avLst/>
              <a:gdLst/>
              <a:ahLst/>
              <a:cxnLst/>
              <a:rect l="l" t="t" r="r" b="b"/>
              <a:pathLst>
                <a:path w="1001" h="322" extrusionOk="0">
                  <a:moveTo>
                    <a:pt x="191" y="0"/>
                  </a:moveTo>
                  <a:cubicBezTo>
                    <a:pt x="0" y="24"/>
                    <a:pt x="0" y="322"/>
                    <a:pt x="191" y="322"/>
                  </a:cubicBezTo>
                  <a:lnTo>
                    <a:pt x="810" y="322"/>
                  </a:lnTo>
                  <a:cubicBezTo>
                    <a:pt x="1000" y="322"/>
                    <a:pt x="1000"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5" name="Google Shape;10965;p60"/>
            <p:cNvSpPr/>
            <p:nvPr/>
          </p:nvSpPr>
          <p:spPr>
            <a:xfrm>
              <a:off x="1127118" y="2562052"/>
              <a:ext cx="31859" cy="9898"/>
            </a:xfrm>
            <a:custGeom>
              <a:avLst/>
              <a:gdLst/>
              <a:ahLst/>
              <a:cxnLst/>
              <a:rect l="l" t="t" r="r" b="b"/>
              <a:pathLst>
                <a:path w="1001" h="311" extrusionOk="0">
                  <a:moveTo>
                    <a:pt x="191" y="1"/>
                  </a:moveTo>
                  <a:cubicBezTo>
                    <a:pt x="0" y="13"/>
                    <a:pt x="0" y="310"/>
                    <a:pt x="191" y="310"/>
                  </a:cubicBezTo>
                  <a:lnTo>
                    <a:pt x="810" y="310"/>
                  </a:lnTo>
                  <a:cubicBezTo>
                    <a:pt x="1000" y="310"/>
                    <a:pt x="1000"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6" name="Google Shape;10966;p60"/>
            <p:cNvSpPr/>
            <p:nvPr/>
          </p:nvSpPr>
          <p:spPr>
            <a:xfrm>
              <a:off x="1020624" y="2504094"/>
              <a:ext cx="32241" cy="9867"/>
            </a:xfrm>
            <a:custGeom>
              <a:avLst/>
              <a:gdLst/>
              <a:ahLst/>
              <a:cxnLst/>
              <a:rect l="l" t="t" r="r" b="b"/>
              <a:pathLst>
                <a:path w="1013" h="310" extrusionOk="0">
                  <a:moveTo>
                    <a:pt x="203" y="0"/>
                  </a:moveTo>
                  <a:cubicBezTo>
                    <a:pt x="1" y="12"/>
                    <a:pt x="1" y="310"/>
                    <a:pt x="203" y="310"/>
                  </a:cubicBezTo>
                  <a:lnTo>
                    <a:pt x="822" y="310"/>
                  </a:lnTo>
                  <a:cubicBezTo>
                    <a:pt x="1013" y="310"/>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7" name="Google Shape;10967;p60"/>
            <p:cNvSpPr/>
            <p:nvPr/>
          </p:nvSpPr>
          <p:spPr>
            <a:xfrm>
              <a:off x="1020624" y="2532898"/>
              <a:ext cx="32241" cy="10248"/>
            </a:xfrm>
            <a:custGeom>
              <a:avLst/>
              <a:gdLst/>
              <a:ahLst/>
              <a:cxnLst/>
              <a:rect l="l" t="t" r="r" b="b"/>
              <a:pathLst>
                <a:path w="1013" h="322" extrusionOk="0">
                  <a:moveTo>
                    <a:pt x="203" y="0"/>
                  </a:moveTo>
                  <a:cubicBezTo>
                    <a:pt x="1" y="24"/>
                    <a:pt x="1" y="322"/>
                    <a:pt x="203" y="322"/>
                  </a:cubicBezTo>
                  <a:lnTo>
                    <a:pt x="822" y="322"/>
                  </a:lnTo>
                  <a:cubicBezTo>
                    <a:pt x="1013" y="322"/>
                    <a:pt x="101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8" name="Google Shape;10968;p60"/>
            <p:cNvSpPr/>
            <p:nvPr/>
          </p:nvSpPr>
          <p:spPr>
            <a:xfrm>
              <a:off x="1020624" y="2562052"/>
              <a:ext cx="32241" cy="9898"/>
            </a:xfrm>
            <a:custGeom>
              <a:avLst/>
              <a:gdLst/>
              <a:ahLst/>
              <a:cxnLst/>
              <a:rect l="l" t="t" r="r" b="b"/>
              <a:pathLst>
                <a:path w="1013" h="311" extrusionOk="0">
                  <a:moveTo>
                    <a:pt x="203" y="1"/>
                  </a:moveTo>
                  <a:cubicBezTo>
                    <a:pt x="1" y="13"/>
                    <a:pt x="1" y="310"/>
                    <a:pt x="203" y="310"/>
                  </a:cubicBezTo>
                  <a:lnTo>
                    <a:pt x="822" y="310"/>
                  </a:lnTo>
                  <a:cubicBezTo>
                    <a:pt x="1013" y="310"/>
                    <a:pt x="101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69" name="Google Shape;10969;p60"/>
          <p:cNvGrpSpPr/>
          <p:nvPr/>
        </p:nvGrpSpPr>
        <p:grpSpPr>
          <a:xfrm>
            <a:off x="6644957" y="2456353"/>
            <a:ext cx="371395" cy="278904"/>
            <a:chOff x="6644957" y="2456353"/>
            <a:chExt cx="371395" cy="278904"/>
          </a:xfrm>
        </p:grpSpPr>
        <p:sp>
          <p:nvSpPr>
            <p:cNvPr id="10970" name="Google Shape;10970;p60"/>
            <p:cNvSpPr/>
            <p:nvPr/>
          </p:nvSpPr>
          <p:spPr>
            <a:xfrm>
              <a:off x="6644957" y="2456353"/>
              <a:ext cx="371395" cy="203123"/>
            </a:xfrm>
            <a:custGeom>
              <a:avLst/>
              <a:gdLst/>
              <a:ahLst/>
              <a:cxnLst/>
              <a:rect l="l" t="t" r="r" b="b"/>
              <a:pathLst>
                <a:path w="11669" h="6382" extrusionOk="0">
                  <a:moveTo>
                    <a:pt x="4763" y="0"/>
                  </a:moveTo>
                  <a:cubicBezTo>
                    <a:pt x="4167" y="0"/>
                    <a:pt x="3596" y="191"/>
                    <a:pt x="3120" y="548"/>
                  </a:cubicBezTo>
                  <a:cubicBezTo>
                    <a:pt x="2679" y="881"/>
                    <a:pt x="2358" y="1322"/>
                    <a:pt x="2179" y="1834"/>
                  </a:cubicBezTo>
                  <a:cubicBezTo>
                    <a:pt x="977" y="1893"/>
                    <a:pt x="0" y="2881"/>
                    <a:pt x="0" y="4108"/>
                  </a:cubicBezTo>
                  <a:cubicBezTo>
                    <a:pt x="0" y="5358"/>
                    <a:pt x="1036" y="6382"/>
                    <a:pt x="2286" y="6382"/>
                  </a:cubicBezTo>
                  <a:lnTo>
                    <a:pt x="3096" y="6382"/>
                  </a:lnTo>
                  <a:cubicBezTo>
                    <a:pt x="3191" y="6382"/>
                    <a:pt x="3274" y="6310"/>
                    <a:pt x="3274" y="6203"/>
                  </a:cubicBezTo>
                  <a:cubicBezTo>
                    <a:pt x="3274" y="6120"/>
                    <a:pt x="3203" y="6025"/>
                    <a:pt x="3096" y="6025"/>
                  </a:cubicBezTo>
                  <a:lnTo>
                    <a:pt x="2286" y="6025"/>
                  </a:lnTo>
                  <a:cubicBezTo>
                    <a:pt x="1215" y="6025"/>
                    <a:pt x="346" y="5167"/>
                    <a:pt x="346" y="4096"/>
                  </a:cubicBezTo>
                  <a:cubicBezTo>
                    <a:pt x="346" y="3024"/>
                    <a:pt x="1215" y="2155"/>
                    <a:pt x="2286" y="2155"/>
                  </a:cubicBezTo>
                  <a:lnTo>
                    <a:pt x="2298" y="2155"/>
                  </a:lnTo>
                  <a:cubicBezTo>
                    <a:pt x="2370" y="2155"/>
                    <a:pt x="2441" y="2107"/>
                    <a:pt x="2465" y="2036"/>
                  </a:cubicBezTo>
                  <a:cubicBezTo>
                    <a:pt x="2608" y="1548"/>
                    <a:pt x="2905" y="1119"/>
                    <a:pt x="3310" y="822"/>
                  </a:cubicBezTo>
                  <a:cubicBezTo>
                    <a:pt x="3727" y="500"/>
                    <a:pt x="4227" y="321"/>
                    <a:pt x="4751" y="321"/>
                  </a:cubicBezTo>
                  <a:cubicBezTo>
                    <a:pt x="5584" y="321"/>
                    <a:pt x="6346" y="738"/>
                    <a:pt x="6775" y="1453"/>
                  </a:cubicBezTo>
                  <a:cubicBezTo>
                    <a:pt x="6811" y="1516"/>
                    <a:pt x="6861" y="1545"/>
                    <a:pt x="6914" y="1545"/>
                  </a:cubicBezTo>
                  <a:cubicBezTo>
                    <a:pt x="6931" y="1545"/>
                    <a:pt x="6948" y="1542"/>
                    <a:pt x="6965" y="1536"/>
                  </a:cubicBezTo>
                  <a:cubicBezTo>
                    <a:pt x="7168" y="1476"/>
                    <a:pt x="7370" y="1429"/>
                    <a:pt x="7585" y="1429"/>
                  </a:cubicBezTo>
                  <a:cubicBezTo>
                    <a:pt x="8430" y="1429"/>
                    <a:pt x="9168" y="1976"/>
                    <a:pt x="9430" y="2786"/>
                  </a:cubicBezTo>
                  <a:cubicBezTo>
                    <a:pt x="9452" y="2851"/>
                    <a:pt x="9513" y="2907"/>
                    <a:pt x="9587" y="2907"/>
                  </a:cubicBezTo>
                  <a:cubicBezTo>
                    <a:pt x="9594" y="2907"/>
                    <a:pt x="9601" y="2906"/>
                    <a:pt x="9609" y="2905"/>
                  </a:cubicBezTo>
                  <a:cubicBezTo>
                    <a:pt x="9668" y="2905"/>
                    <a:pt x="9728" y="2881"/>
                    <a:pt x="9763" y="2881"/>
                  </a:cubicBezTo>
                  <a:cubicBezTo>
                    <a:pt x="10633" y="2881"/>
                    <a:pt x="11335" y="3584"/>
                    <a:pt x="11335" y="4453"/>
                  </a:cubicBezTo>
                  <a:cubicBezTo>
                    <a:pt x="11335" y="5310"/>
                    <a:pt x="10633" y="6013"/>
                    <a:pt x="9763" y="6013"/>
                  </a:cubicBezTo>
                  <a:lnTo>
                    <a:pt x="8573" y="6013"/>
                  </a:lnTo>
                  <a:cubicBezTo>
                    <a:pt x="8489" y="6013"/>
                    <a:pt x="8394" y="6084"/>
                    <a:pt x="8394" y="6191"/>
                  </a:cubicBezTo>
                  <a:cubicBezTo>
                    <a:pt x="8394" y="6298"/>
                    <a:pt x="8478" y="6370"/>
                    <a:pt x="8573" y="6370"/>
                  </a:cubicBezTo>
                  <a:lnTo>
                    <a:pt x="9763" y="6370"/>
                  </a:lnTo>
                  <a:cubicBezTo>
                    <a:pt x="10823" y="6370"/>
                    <a:pt x="11668" y="5501"/>
                    <a:pt x="11668" y="4465"/>
                  </a:cubicBezTo>
                  <a:cubicBezTo>
                    <a:pt x="11668" y="3417"/>
                    <a:pt x="10859" y="2560"/>
                    <a:pt x="9811" y="2560"/>
                  </a:cubicBezTo>
                  <a:lnTo>
                    <a:pt x="9740" y="2560"/>
                  </a:lnTo>
                  <a:cubicBezTo>
                    <a:pt x="9585" y="2155"/>
                    <a:pt x="9323" y="1798"/>
                    <a:pt x="8966" y="1548"/>
                  </a:cubicBezTo>
                  <a:cubicBezTo>
                    <a:pt x="8561" y="1250"/>
                    <a:pt x="8097" y="1095"/>
                    <a:pt x="7608" y="1095"/>
                  </a:cubicBezTo>
                  <a:cubicBezTo>
                    <a:pt x="7418" y="1095"/>
                    <a:pt x="7204" y="1131"/>
                    <a:pt x="7013" y="1179"/>
                  </a:cubicBezTo>
                  <a:cubicBezTo>
                    <a:pt x="6513" y="429"/>
                    <a:pt x="5680"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1" name="Google Shape;10971;p60"/>
            <p:cNvSpPr/>
            <p:nvPr/>
          </p:nvSpPr>
          <p:spPr>
            <a:xfrm>
              <a:off x="6761668" y="2549194"/>
              <a:ext cx="139850" cy="186064"/>
            </a:xfrm>
            <a:custGeom>
              <a:avLst/>
              <a:gdLst/>
              <a:ahLst/>
              <a:cxnLst/>
              <a:rect l="l" t="t" r="r" b="b"/>
              <a:pathLst>
                <a:path w="4394" h="5846" extrusionOk="0">
                  <a:moveTo>
                    <a:pt x="2584" y="357"/>
                  </a:moveTo>
                  <a:lnTo>
                    <a:pt x="2584" y="1476"/>
                  </a:lnTo>
                  <a:cubicBezTo>
                    <a:pt x="2584" y="1667"/>
                    <a:pt x="2751" y="1834"/>
                    <a:pt x="2941" y="1834"/>
                  </a:cubicBezTo>
                  <a:lnTo>
                    <a:pt x="3501" y="1834"/>
                  </a:lnTo>
                  <a:cubicBezTo>
                    <a:pt x="3584" y="1834"/>
                    <a:pt x="3679" y="1750"/>
                    <a:pt x="3679" y="1655"/>
                  </a:cubicBezTo>
                  <a:cubicBezTo>
                    <a:pt x="3679" y="1548"/>
                    <a:pt x="3596" y="1476"/>
                    <a:pt x="3501" y="1476"/>
                  </a:cubicBezTo>
                  <a:lnTo>
                    <a:pt x="2941" y="1476"/>
                  </a:lnTo>
                  <a:cubicBezTo>
                    <a:pt x="2941" y="1476"/>
                    <a:pt x="2929" y="1476"/>
                    <a:pt x="2929" y="1453"/>
                  </a:cubicBezTo>
                  <a:lnTo>
                    <a:pt x="2929" y="393"/>
                  </a:lnTo>
                  <a:lnTo>
                    <a:pt x="4001" y="1465"/>
                  </a:lnTo>
                  <a:cubicBezTo>
                    <a:pt x="4037" y="1500"/>
                    <a:pt x="4060" y="1560"/>
                    <a:pt x="4060" y="1607"/>
                  </a:cubicBezTo>
                  <a:lnTo>
                    <a:pt x="4060" y="5501"/>
                  </a:lnTo>
                  <a:lnTo>
                    <a:pt x="4049" y="5501"/>
                  </a:lnTo>
                  <a:lnTo>
                    <a:pt x="369" y="5525"/>
                  </a:lnTo>
                  <a:cubicBezTo>
                    <a:pt x="369" y="5525"/>
                    <a:pt x="358" y="5525"/>
                    <a:pt x="358" y="5501"/>
                  </a:cubicBezTo>
                  <a:lnTo>
                    <a:pt x="358" y="369"/>
                  </a:lnTo>
                  <a:cubicBezTo>
                    <a:pt x="358" y="369"/>
                    <a:pt x="358" y="357"/>
                    <a:pt x="369" y="357"/>
                  </a:cubicBezTo>
                  <a:close/>
                  <a:moveTo>
                    <a:pt x="358" y="0"/>
                  </a:moveTo>
                  <a:cubicBezTo>
                    <a:pt x="167" y="0"/>
                    <a:pt x="0" y="167"/>
                    <a:pt x="0" y="357"/>
                  </a:cubicBezTo>
                  <a:lnTo>
                    <a:pt x="0" y="5489"/>
                  </a:lnTo>
                  <a:cubicBezTo>
                    <a:pt x="0" y="5679"/>
                    <a:pt x="155" y="5846"/>
                    <a:pt x="358" y="5846"/>
                  </a:cubicBezTo>
                  <a:lnTo>
                    <a:pt x="4013" y="5846"/>
                  </a:lnTo>
                  <a:cubicBezTo>
                    <a:pt x="4203" y="5846"/>
                    <a:pt x="4370" y="5679"/>
                    <a:pt x="4370" y="5489"/>
                  </a:cubicBezTo>
                  <a:lnTo>
                    <a:pt x="4370" y="1607"/>
                  </a:lnTo>
                  <a:cubicBezTo>
                    <a:pt x="4394" y="1476"/>
                    <a:pt x="4334" y="1334"/>
                    <a:pt x="4227" y="1238"/>
                  </a:cubicBezTo>
                  <a:lnTo>
                    <a:pt x="3156" y="167"/>
                  </a:lnTo>
                  <a:cubicBezTo>
                    <a:pt x="3048" y="60"/>
                    <a:pt x="2917" y="0"/>
                    <a:pt x="2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2" name="Google Shape;10972;p60"/>
            <p:cNvSpPr/>
            <p:nvPr/>
          </p:nvSpPr>
          <p:spPr>
            <a:xfrm>
              <a:off x="6802216" y="2625357"/>
              <a:ext cx="58754" cy="75431"/>
            </a:xfrm>
            <a:custGeom>
              <a:avLst/>
              <a:gdLst/>
              <a:ahLst/>
              <a:cxnLst/>
              <a:rect l="l" t="t" r="r" b="b"/>
              <a:pathLst>
                <a:path w="1846" h="2370" extrusionOk="0">
                  <a:moveTo>
                    <a:pt x="929" y="0"/>
                  </a:moveTo>
                  <a:cubicBezTo>
                    <a:pt x="881" y="0"/>
                    <a:pt x="822" y="36"/>
                    <a:pt x="786" y="60"/>
                  </a:cubicBezTo>
                  <a:lnTo>
                    <a:pt x="60" y="988"/>
                  </a:lnTo>
                  <a:cubicBezTo>
                    <a:pt x="0" y="1060"/>
                    <a:pt x="12" y="1167"/>
                    <a:pt x="96" y="1227"/>
                  </a:cubicBezTo>
                  <a:cubicBezTo>
                    <a:pt x="123" y="1250"/>
                    <a:pt x="157" y="1260"/>
                    <a:pt x="190" y="1260"/>
                  </a:cubicBezTo>
                  <a:cubicBezTo>
                    <a:pt x="243" y="1260"/>
                    <a:pt x="297" y="1234"/>
                    <a:pt x="334" y="1191"/>
                  </a:cubicBezTo>
                  <a:lnTo>
                    <a:pt x="762" y="655"/>
                  </a:lnTo>
                  <a:lnTo>
                    <a:pt x="762" y="2191"/>
                  </a:lnTo>
                  <a:cubicBezTo>
                    <a:pt x="762" y="2274"/>
                    <a:pt x="834" y="2370"/>
                    <a:pt x="941" y="2370"/>
                  </a:cubicBezTo>
                  <a:cubicBezTo>
                    <a:pt x="1024" y="2370"/>
                    <a:pt x="1120" y="2298"/>
                    <a:pt x="1120" y="2191"/>
                  </a:cubicBezTo>
                  <a:lnTo>
                    <a:pt x="1120" y="655"/>
                  </a:lnTo>
                  <a:lnTo>
                    <a:pt x="1548" y="1191"/>
                  </a:lnTo>
                  <a:cubicBezTo>
                    <a:pt x="1584" y="1238"/>
                    <a:pt x="1643" y="1250"/>
                    <a:pt x="1691" y="1250"/>
                  </a:cubicBezTo>
                  <a:cubicBezTo>
                    <a:pt x="1727" y="1250"/>
                    <a:pt x="1762" y="1238"/>
                    <a:pt x="1786" y="1203"/>
                  </a:cubicBezTo>
                  <a:cubicBezTo>
                    <a:pt x="1834" y="1167"/>
                    <a:pt x="1846" y="1060"/>
                    <a:pt x="1786" y="988"/>
                  </a:cubicBezTo>
                  <a:lnTo>
                    <a:pt x="1060" y="60"/>
                  </a:lnTo>
                  <a:cubicBezTo>
                    <a:pt x="1036" y="12"/>
                    <a:pt x="989"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3" name="Google Shape;10973;p60"/>
            <p:cNvSpPr/>
            <p:nvPr/>
          </p:nvSpPr>
          <p:spPr>
            <a:xfrm>
              <a:off x="6802216" y="2480828"/>
              <a:ext cx="47009" cy="33132"/>
            </a:xfrm>
            <a:custGeom>
              <a:avLst/>
              <a:gdLst/>
              <a:ahLst/>
              <a:cxnLst/>
              <a:rect l="l" t="t" r="r" b="b"/>
              <a:pathLst>
                <a:path w="1477" h="1041" extrusionOk="0">
                  <a:moveTo>
                    <a:pt x="193" y="0"/>
                  </a:moveTo>
                  <a:cubicBezTo>
                    <a:pt x="119" y="0"/>
                    <a:pt x="45" y="64"/>
                    <a:pt x="24" y="136"/>
                  </a:cubicBezTo>
                  <a:cubicBezTo>
                    <a:pt x="0" y="231"/>
                    <a:pt x="60" y="314"/>
                    <a:pt x="155" y="338"/>
                  </a:cubicBezTo>
                  <a:cubicBezTo>
                    <a:pt x="560" y="422"/>
                    <a:pt x="917" y="636"/>
                    <a:pt x="1155" y="969"/>
                  </a:cubicBezTo>
                  <a:cubicBezTo>
                    <a:pt x="1179" y="1017"/>
                    <a:pt x="1239" y="1041"/>
                    <a:pt x="1286" y="1041"/>
                  </a:cubicBezTo>
                  <a:cubicBezTo>
                    <a:pt x="1310" y="1041"/>
                    <a:pt x="1358" y="1029"/>
                    <a:pt x="1393" y="1017"/>
                  </a:cubicBezTo>
                  <a:cubicBezTo>
                    <a:pt x="1465" y="946"/>
                    <a:pt x="1477" y="838"/>
                    <a:pt x="1429" y="767"/>
                  </a:cubicBezTo>
                  <a:cubicBezTo>
                    <a:pt x="1131" y="374"/>
                    <a:pt x="703" y="88"/>
                    <a:pt x="227" y="5"/>
                  </a:cubicBezTo>
                  <a:cubicBezTo>
                    <a:pt x="216" y="2"/>
                    <a:pt x="204" y="0"/>
                    <a:pt x="1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4" name="Google Shape;10974;p60"/>
            <p:cNvSpPr/>
            <p:nvPr/>
          </p:nvSpPr>
          <p:spPr>
            <a:xfrm>
              <a:off x="6895439" y="2517112"/>
              <a:ext cx="36793" cy="32114"/>
            </a:xfrm>
            <a:custGeom>
              <a:avLst/>
              <a:gdLst/>
              <a:ahLst/>
              <a:cxnLst/>
              <a:rect l="l" t="t" r="r" b="b"/>
              <a:pathLst>
                <a:path w="1156" h="1009" extrusionOk="0">
                  <a:moveTo>
                    <a:pt x="206" y="1"/>
                  </a:moveTo>
                  <a:cubicBezTo>
                    <a:pt x="131" y="1"/>
                    <a:pt x="65" y="39"/>
                    <a:pt x="36" y="115"/>
                  </a:cubicBezTo>
                  <a:cubicBezTo>
                    <a:pt x="0" y="198"/>
                    <a:pt x="48" y="306"/>
                    <a:pt x="143" y="341"/>
                  </a:cubicBezTo>
                  <a:cubicBezTo>
                    <a:pt x="429" y="437"/>
                    <a:pt x="667" y="639"/>
                    <a:pt x="810" y="913"/>
                  </a:cubicBezTo>
                  <a:cubicBezTo>
                    <a:pt x="846" y="972"/>
                    <a:pt x="893" y="1008"/>
                    <a:pt x="965" y="1008"/>
                  </a:cubicBezTo>
                  <a:cubicBezTo>
                    <a:pt x="989" y="1008"/>
                    <a:pt x="1024" y="1008"/>
                    <a:pt x="1036" y="996"/>
                  </a:cubicBezTo>
                  <a:cubicBezTo>
                    <a:pt x="1108" y="937"/>
                    <a:pt x="1155" y="829"/>
                    <a:pt x="1108" y="734"/>
                  </a:cubicBezTo>
                  <a:cubicBezTo>
                    <a:pt x="929" y="401"/>
                    <a:pt x="619" y="127"/>
                    <a:pt x="262" y="8"/>
                  </a:cubicBezTo>
                  <a:cubicBezTo>
                    <a:pt x="243" y="3"/>
                    <a:pt x="224" y="1"/>
                    <a:pt x="2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75" name="Google Shape;10975;p60"/>
          <p:cNvGrpSpPr/>
          <p:nvPr/>
        </p:nvGrpSpPr>
        <p:grpSpPr>
          <a:xfrm>
            <a:off x="5388757" y="2414659"/>
            <a:ext cx="260349" cy="362292"/>
            <a:chOff x="5388757" y="2414659"/>
            <a:chExt cx="260349" cy="362292"/>
          </a:xfrm>
        </p:grpSpPr>
        <p:sp>
          <p:nvSpPr>
            <p:cNvPr id="10976" name="Google Shape;10976;p60"/>
            <p:cNvSpPr/>
            <p:nvPr/>
          </p:nvSpPr>
          <p:spPr>
            <a:xfrm>
              <a:off x="5388757" y="2414659"/>
              <a:ext cx="260349" cy="362292"/>
            </a:xfrm>
            <a:custGeom>
              <a:avLst/>
              <a:gdLst/>
              <a:ahLst/>
              <a:cxnLst/>
              <a:rect l="l" t="t" r="r" b="b"/>
              <a:pathLst>
                <a:path w="8180" h="11383" extrusionOk="0">
                  <a:moveTo>
                    <a:pt x="4096" y="322"/>
                  </a:moveTo>
                  <a:cubicBezTo>
                    <a:pt x="4286" y="322"/>
                    <a:pt x="4465" y="429"/>
                    <a:pt x="4572" y="596"/>
                  </a:cubicBezTo>
                  <a:cubicBezTo>
                    <a:pt x="4608" y="643"/>
                    <a:pt x="4655" y="679"/>
                    <a:pt x="4727" y="679"/>
                  </a:cubicBezTo>
                  <a:lnTo>
                    <a:pt x="5358" y="679"/>
                  </a:lnTo>
                  <a:cubicBezTo>
                    <a:pt x="5465" y="679"/>
                    <a:pt x="5548" y="774"/>
                    <a:pt x="5548" y="881"/>
                  </a:cubicBezTo>
                  <a:lnTo>
                    <a:pt x="5548" y="1429"/>
                  </a:lnTo>
                  <a:lnTo>
                    <a:pt x="2679" y="1429"/>
                  </a:lnTo>
                  <a:lnTo>
                    <a:pt x="2679" y="881"/>
                  </a:lnTo>
                  <a:lnTo>
                    <a:pt x="2643" y="881"/>
                  </a:lnTo>
                  <a:cubicBezTo>
                    <a:pt x="2643" y="774"/>
                    <a:pt x="2727" y="679"/>
                    <a:pt x="2834" y="679"/>
                  </a:cubicBezTo>
                  <a:lnTo>
                    <a:pt x="3465" y="679"/>
                  </a:lnTo>
                  <a:cubicBezTo>
                    <a:pt x="3536" y="679"/>
                    <a:pt x="3584" y="655"/>
                    <a:pt x="3620" y="596"/>
                  </a:cubicBezTo>
                  <a:cubicBezTo>
                    <a:pt x="3727" y="417"/>
                    <a:pt x="3905" y="322"/>
                    <a:pt x="4096" y="322"/>
                  </a:cubicBezTo>
                  <a:close/>
                  <a:moveTo>
                    <a:pt x="7477" y="1036"/>
                  </a:moveTo>
                  <a:cubicBezTo>
                    <a:pt x="7680" y="1036"/>
                    <a:pt x="7846" y="1203"/>
                    <a:pt x="7846" y="1417"/>
                  </a:cubicBezTo>
                  <a:lnTo>
                    <a:pt x="7846" y="10680"/>
                  </a:lnTo>
                  <a:lnTo>
                    <a:pt x="7834" y="10680"/>
                  </a:lnTo>
                  <a:cubicBezTo>
                    <a:pt x="7834" y="10895"/>
                    <a:pt x="7668" y="11061"/>
                    <a:pt x="7465" y="11061"/>
                  </a:cubicBezTo>
                  <a:lnTo>
                    <a:pt x="691" y="11061"/>
                  </a:lnTo>
                  <a:cubicBezTo>
                    <a:pt x="476" y="11061"/>
                    <a:pt x="322" y="10895"/>
                    <a:pt x="322" y="10680"/>
                  </a:cubicBezTo>
                  <a:lnTo>
                    <a:pt x="322" y="1417"/>
                  </a:lnTo>
                  <a:cubicBezTo>
                    <a:pt x="322" y="1203"/>
                    <a:pt x="476" y="1036"/>
                    <a:pt x="691" y="1036"/>
                  </a:cubicBezTo>
                  <a:lnTo>
                    <a:pt x="2310" y="1036"/>
                  </a:lnTo>
                  <a:lnTo>
                    <a:pt x="2310" y="1596"/>
                  </a:lnTo>
                  <a:cubicBezTo>
                    <a:pt x="2310" y="1679"/>
                    <a:pt x="2381" y="1751"/>
                    <a:pt x="2477" y="1751"/>
                  </a:cubicBezTo>
                  <a:lnTo>
                    <a:pt x="5691" y="1751"/>
                  </a:lnTo>
                  <a:cubicBezTo>
                    <a:pt x="5775" y="1751"/>
                    <a:pt x="5846" y="1679"/>
                    <a:pt x="5846" y="1596"/>
                  </a:cubicBezTo>
                  <a:lnTo>
                    <a:pt x="5846" y="1036"/>
                  </a:lnTo>
                  <a:close/>
                  <a:moveTo>
                    <a:pt x="4084" y="0"/>
                  </a:moveTo>
                  <a:cubicBezTo>
                    <a:pt x="3798" y="0"/>
                    <a:pt x="3548" y="131"/>
                    <a:pt x="3381" y="358"/>
                  </a:cubicBezTo>
                  <a:lnTo>
                    <a:pt x="2834" y="358"/>
                  </a:lnTo>
                  <a:cubicBezTo>
                    <a:pt x="2608" y="358"/>
                    <a:pt x="2393" y="500"/>
                    <a:pt x="2346" y="715"/>
                  </a:cubicBezTo>
                  <a:lnTo>
                    <a:pt x="703" y="715"/>
                  </a:lnTo>
                  <a:cubicBezTo>
                    <a:pt x="322" y="715"/>
                    <a:pt x="0" y="1024"/>
                    <a:pt x="0" y="1417"/>
                  </a:cubicBezTo>
                  <a:lnTo>
                    <a:pt x="0" y="10680"/>
                  </a:lnTo>
                  <a:cubicBezTo>
                    <a:pt x="0" y="11073"/>
                    <a:pt x="310" y="11383"/>
                    <a:pt x="703" y="11383"/>
                  </a:cubicBezTo>
                  <a:lnTo>
                    <a:pt x="7477" y="11383"/>
                  </a:lnTo>
                  <a:cubicBezTo>
                    <a:pt x="7858" y="11383"/>
                    <a:pt x="8180" y="11073"/>
                    <a:pt x="8180" y="10680"/>
                  </a:cubicBezTo>
                  <a:lnTo>
                    <a:pt x="8180" y="1417"/>
                  </a:lnTo>
                  <a:cubicBezTo>
                    <a:pt x="8156" y="1024"/>
                    <a:pt x="7846" y="715"/>
                    <a:pt x="7465" y="715"/>
                  </a:cubicBezTo>
                  <a:lnTo>
                    <a:pt x="5822" y="715"/>
                  </a:lnTo>
                  <a:cubicBezTo>
                    <a:pt x="5751" y="500"/>
                    <a:pt x="5560" y="358"/>
                    <a:pt x="5334" y="358"/>
                  </a:cubicBezTo>
                  <a:lnTo>
                    <a:pt x="4786" y="358"/>
                  </a:lnTo>
                  <a:cubicBezTo>
                    <a:pt x="4620" y="131"/>
                    <a:pt x="4346"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7" name="Google Shape;10977;p60"/>
            <p:cNvSpPr/>
            <p:nvPr/>
          </p:nvSpPr>
          <p:spPr>
            <a:xfrm>
              <a:off x="5513425" y="2437384"/>
              <a:ext cx="10248" cy="10280"/>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8" name="Google Shape;10978;p60"/>
            <p:cNvSpPr/>
            <p:nvPr/>
          </p:nvSpPr>
          <p:spPr>
            <a:xfrm>
              <a:off x="5411100" y="2460140"/>
              <a:ext cx="214517" cy="283106"/>
            </a:xfrm>
            <a:custGeom>
              <a:avLst/>
              <a:gdLst/>
              <a:ahLst/>
              <a:cxnLst/>
              <a:rect l="l" t="t" r="r" b="b"/>
              <a:pathLst>
                <a:path w="6740" h="8895" extrusionOk="0">
                  <a:moveTo>
                    <a:pt x="5692" y="0"/>
                  </a:moveTo>
                  <a:cubicBezTo>
                    <a:pt x="5596" y="0"/>
                    <a:pt x="5525" y="72"/>
                    <a:pt x="5525" y="167"/>
                  </a:cubicBezTo>
                  <a:cubicBezTo>
                    <a:pt x="5525" y="250"/>
                    <a:pt x="5596" y="322"/>
                    <a:pt x="5692" y="322"/>
                  </a:cubicBezTo>
                  <a:lnTo>
                    <a:pt x="6418" y="322"/>
                  </a:lnTo>
                  <a:lnTo>
                    <a:pt x="6418" y="8561"/>
                  </a:lnTo>
                  <a:lnTo>
                    <a:pt x="334" y="8561"/>
                  </a:lnTo>
                  <a:lnTo>
                    <a:pt x="334" y="345"/>
                  </a:lnTo>
                  <a:lnTo>
                    <a:pt x="1060" y="345"/>
                  </a:lnTo>
                  <a:cubicBezTo>
                    <a:pt x="1144" y="345"/>
                    <a:pt x="1227" y="262"/>
                    <a:pt x="1227" y="179"/>
                  </a:cubicBezTo>
                  <a:cubicBezTo>
                    <a:pt x="1227" y="83"/>
                    <a:pt x="1144" y="12"/>
                    <a:pt x="1060" y="12"/>
                  </a:cubicBezTo>
                  <a:lnTo>
                    <a:pt x="167" y="12"/>
                  </a:lnTo>
                  <a:cubicBezTo>
                    <a:pt x="72" y="12"/>
                    <a:pt x="1" y="83"/>
                    <a:pt x="1" y="179"/>
                  </a:cubicBezTo>
                  <a:lnTo>
                    <a:pt x="1" y="8739"/>
                  </a:lnTo>
                  <a:cubicBezTo>
                    <a:pt x="1" y="8823"/>
                    <a:pt x="72" y="8894"/>
                    <a:pt x="167" y="8894"/>
                  </a:cubicBezTo>
                  <a:lnTo>
                    <a:pt x="6585" y="8894"/>
                  </a:lnTo>
                  <a:cubicBezTo>
                    <a:pt x="6668" y="8894"/>
                    <a:pt x="6739" y="8823"/>
                    <a:pt x="6739" y="8739"/>
                  </a:cubicBezTo>
                  <a:lnTo>
                    <a:pt x="6739" y="179"/>
                  </a:lnTo>
                  <a:cubicBezTo>
                    <a:pt x="6739" y="72"/>
                    <a:pt x="6668" y="0"/>
                    <a:pt x="6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9" name="Google Shape;10979;p60"/>
            <p:cNvSpPr/>
            <p:nvPr/>
          </p:nvSpPr>
          <p:spPr>
            <a:xfrm>
              <a:off x="5439904" y="2488562"/>
              <a:ext cx="78837" cy="106495"/>
            </a:xfrm>
            <a:custGeom>
              <a:avLst/>
              <a:gdLst/>
              <a:ahLst/>
              <a:cxnLst/>
              <a:rect l="l" t="t" r="r" b="b"/>
              <a:pathLst>
                <a:path w="2477" h="3346" extrusionOk="0">
                  <a:moveTo>
                    <a:pt x="1405" y="322"/>
                  </a:moveTo>
                  <a:cubicBezTo>
                    <a:pt x="1608" y="322"/>
                    <a:pt x="1774" y="488"/>
                    <a:pt x="1774" y="703"/>
                  </a:cubicBezTo>
                  <a:lnTo>
                    <a:pt x="1774" y="1060"/>
                  </a:lnTo>
                  <a:cubicBezTo>
                    <a:pt x="1774" y="1357"/>
                    <a:pt x="1536" y="1607"/>
                    <a:pt x="1227" y="1607"/>
                  </a:cubicBezTo>
                  <a:cubicBezTo>
                    <a:pt x="929" y="1607"/>
                    <a:pt x="679" y="1357"/>
                    <a:pt x="679" y="1060"/>
                  </a:cubicBezTo>
                  <a:lnTo>
                    <a:pt x="679" y="703"/>
                  </a:lnTo>
                  <a:cubicBezTo>
                    <a:pt x="679" y="488"/>
                    <a:pt x="834" y="322"/>
                    <a:pt x="1048" y="322"/>
                  </a:cubicBezTo>
                  <a:close/>
                  <a:moveTo>
                    <a:pt x="1417" y="1905"/>
                  </a:moveTo>
                  <a:lnTo>
                    <a:pt x="1417" y="2012"/>
                  </a:lnTo>
                  <a:cubicBezTo>
                    <a:pt x="1417" y="2084"/>
                    <a:pt x="1429" y="2143"/>
                    <a:pt x="1465" y="2191"/>
                  </a:cubicBezTo>
                  <a:lnTo>
                    <a:pt x="1239" y="2405"/>
                  </a:lnTo>
                  <a:lnTo>
                    <a:pt x="1215" y="2405"/>
                  </a:lnTo>
                  <a:lnTo>
                    <a:pt x="989" y="2191"/>
                  </a:lnTo>
                  <a:cubicBezTo>
                    <a:pt x="1012" y="2143"/>
                    <a:pt x="1036" y="2084"/>
                    <a:pt x="1036" y="2012"/>
                  </a:cubicBezTo>
                  <a:lnTo>
                    <a:pt x="1036" y="1905"/>
                  </a:lnTo>
                  <a:cubicBezTo>
                    <a:pt x="1096" y="1917"/>
                    <a:pt x="1155" y="1917"/>
                    <a:pt x="1227" y="1917"/>
                  </a:cubicBezTo>
                  <a:cubicBezTo>
                    <a:pt x="1286" y="1917"/>
                    <a:pt x="1358" y="1917"/>
                    <a:pt x="1417" y="1905"/>
                  </a:cubicBezTo>
                  <a:close/>
                  <a:moveTo>
                    <a:pt x="1703" y="2393"/>
                  </a:moveTo>
                  <a:lnTo>
                    <a:pt x="1989" y="2548"/>
                  </a:lnTo>
                  <a:cubicBezTo>
                    <a:pt x="2048" y="2572"/>
                    <a:pt x="2084" y="2643"/>
                    <a:pt x="2084" y="2703"/>
                  </a:cubicBezTo>
                  <a:lnTo>
                    <a:pt x="2084" y="3024"/>
                  </a:lnTo>
                  <a:lnTo>
                    <a:pt x="2120" y="3024"/>
                  </a:lnTo>
                  <a:lnTo>
                    <a:pt x="322" y="3036"/>
                  </a:lnTo>
                  <a:cubicBezTo>
                    <a:pt x="322" y="3036"/>
                    <a:pt x="298" y="3036"/>
                    <a:pt x="298" y="3024"/>
                  </a:cubicBezTo>
                  <a:lnTo>
                    <a:pt x="298" y="2703"/>
                  </a:lnTo>
                  <a:cubicBezTo>
                    <a:pt x="298" y="2631"/>
                    <a:pt x="346" y="2572"/>
                    <a:pt x="405" y="2548"/>
                  </a:cubicBezTo>
                  <a:lnTo>
                    <a:pt x="691" y="2393"/>
                  </a:lnTo>
                  <a:lnTo>
                    <a:pt x="953" y="2667"/>
                  </a:lnTo>
                  <a:cubicBezTo>
                    <a:pt x="1012" y="2715"/>
                    <a:pt x="1108" y="2762"/>
                    <a:pt x="1191" y="2762"/>
                  </a:cubicBezTo>
                  <a:cubicBezTo>
                    <a:pt x="1286" y="2762"/>
                    <a:pt x="1370" y="2738"/>
                    <a:pt x="1429" y="2667"/>
                  </a:cubicBezTo>
                  <a:lnTo>
                    <a:pt x="1703" y="2393"/>
                  </a:lnTo>
                  <a:close/>
                  <a:moveTo>
                    <a:pt x="1048" y="0"/>
                  </a:moveTo>
                  <a:cubicBezTo>
                    <a:pt x="655" y="0"/>
                    <a:pt x="346" y="310"/>
                    <a:pt x="346" y="703"/>
                  </a:cubicBezTo>
                  <a:lnTo>
                    <a:pt x="346" y="1060"/>
                  </a:lnTo>
                  <a:cubicBezTo>
                    <a:pt x="346" y="1334"/>
                    <a:pt x="477" y="1607"/>
                    <a:pt x="703" y="1750"/>
                  </a:cubicBezTo>
                  <a:lnTo>
                    <a:pt x="703" y="2012"/>
                  </a:lnTo>
                  <a:lnTo>
                    <a:pt x="703" y="2024"/>
                  </a:lnTo>
                  <a:lnTo>
                    <a:pt x="286" y="2227"/>
                  </a:lnTo>
                  <a:cubicBezTo>
                    <a:pt x="108" y="2322"/>
                    <a:pt x="0" y="2500"/>
                    <a:pt x="0" y="2691"/>
                  </a:cubicBezTo>
                  <a:lnTo>
                    <a:pt x="0" y="3000"/>
                  </a:lnTo>
                  <a:cubicBezTo>
                    <a:pt x="0" y="3203"/>
                    <a:pt x="155" y="3346"/>
                    <a:pt x="346" y="3346"/>
                  </a:cubicBezTo>
                  <a:lnTo>
                    <a:pt x="2132" y="3346"/>
                  </a:lnTo>
                  <a:cubicBezTo>
                    <a:pt x="2322" y="3346"/>
                    <a:pt x="2477" y="3203"/>
                    <a:pt x="2477" y="3000"/>
                  </a:cubicBezTo>
                  <a:lnTo>
                    <a:pt x="2477" y="2691"/>
                  </a:lnTo>
                  <a:cubicBezTo>
                    <a:pt x="2465" y="2500"/>
                    <a:pt x="2334" y="2322"/>
                    <a:pt x="2167" y="2227"/>
                  </a:cubicBezTo>
                  <a:lnTo>
                    <a:pt x="1751" y="2024"/>
                  </a:lnTo>
                  <a:lnTo>
                    <a:pt x="1751" y="2012"/>
                  </a:lnTo>
                  <a:lnTo>
                    <a:pt x="1751" y="1750"/>
                  </a:lnTo>
                  <a:cubicBezTo>
                    <a:pt x="1965" y="1595"/>
                    <a:pt x="2108" y="1334"/>
                    <a:pt x="2108" y="1060"/>
                  </a:cubicBezTo>
                  <a:lnTo>
                    <a:pt x="2108" y="703"/>
                  </a:lnTo>
                  <a:cubicBezTo>
                    <a:pt x="2108" y="310"/>
                    <a:pt x="1786" y="0"/>
                    <a:pt x="14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0" name="Google Shape;10980;p60"/>
            <p:cNvSpPr/>
            <p:nvPr/>
          </p:nvSpPr>
          <p:spPr>
            <a:xfrm>
              <a:off x="5530103" y="2494228"/>
              <a:ext cx="67856" cy="33005"/>
            </a:xfrm>
            <a:custGeom>
              <a:avLst/>
              <a:gdLst/>
              <a:ahLst/>
              <a:cxnLst/>
              <a:rect l="l" t="t" r="r" b="b"/>
              <a:pathLst>
                <a:path w="2132" h="1037" extrusionOk="0">
                  <a:moveTo>
                    <a:pt x="1786" y="346"/>
                  </a:moveTo>
                  <a:lnTo>
                    <a:pt x="1786" y="715"/>
                  </a:lnTo>
                  <a:lnTo>
                    <a:pt x="345" y="715"/>
                  </a:lnTo>
                  <a:lnTo>
                    <a:pt x="345" y="346"/>
                  </a:lnTo>
                  <a:close/>
                  <a:moveTo>
                    <a:pt x="167" y="1"/>
                  </a:moveTo>
                  <a:cubicBezTo>
                    <a:pt x="72" y="1"/>
                    <a:pt x="0" y="72"/>
                    <a:pt x="0" y="167"/>
                  </a:cubicBezTo>
                  <a:lnTo>
                    <a:pt x="0" y="882"/>
                  </a:lnTo>
                  <a:cubicBezTo>
                    <a:pt x="0" y="965"/>
                    <a:pt x="72" y="1036"/>
                    <a:pt x="167" y="1036"/>
                  </a:cubicBezTo>
                  <a:lnTo>
                    <a:pt x="1953" y="1036"/>
                  </a:lnTo>
                  <a:cubicBezTo>
                    <a:pt x="2036" y="1036"/>
                    <a:pt x="2107" y="965"/>
                    <a:pt x="2107" y="882"/>
                  </a:cubicBezTo>
                  <a:lnTo>
                    <a:pt x="2107" y="167"/>
                  </a:lnTo>
                  <a:cubicBezTo>
                    <a:pt x="2131" y="72"/>
                    <a:pt x="2048"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1" name="Google Shape;10981;p60"/>
            <p:cNvSpPr/>
            <p:nvPr/>
          </p:nvSpPr>
          <p:spPr>
            <a:xfrm>
              <a:off x="5530103" y="2539709"/>
              <a:ext cx="67092" cy="10248"/>
            </a:xfrm>
            <a:custGeom>
              <a:avLst/>
              <a:gdLst/>
              <a:ahLst/>
              <a:cxnLst/>
              <a:rect l="l" t="t" r="r" b="b"/>
              <a:pathLst>
                <a:path w="2108" h="322" extrusionOk="0">
                  <a:moveTo>
                    <a:pt x="167" y="0"/>
                  </a:moveTo>
                  <a:cubicBezTo>
                    <a:pt x="72" y="0"/>
                    <a:pt x="0" y="72"/>
                    <a:pt x="0" y="167"/>
                  </a:cubicBezTo>
                  <a:cubicBezTo>
                    <a:pt x="0" y="250"/>
                    <a:pt x="72" y="322"/>
                    <a:pt x="167" y="322"/>
                  </a:cubicBezTo>
                  <a:lnTo>
                    <a:pt x="1953" y="322"/>
                  </a:lnTo>
                  <a:cubicBezTo>
                    <a:pt x="2036" y="322"/>
                    <a:pt x="2107" y="250"/>
                    <a:pt x="2107" y="167"/>
                  </a:cubicBezTo>
                  <a:cubicBezTo>
                    <a:pt x="2107" y="72"/>
                    <a:pt x="2048"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2" name="Google Shape;10982;p60"/>
            <p:cNvSpPr/>
            <p:nvPr/>
          </p:nvSpPr>
          <p:spPr>
            <a:xfrm>
              <a:off x="5530103" y="2562434"/>
              <a:ext cx="32973" cy="10280"/>
            </a:xfrm>
            <a:custGeom>
              <a:avLst/>
              <a:gdLst/>
              <a:ahLst/>
              <a:cxnLst/>
              <a:rect l="l" t="t" r="r" b="b"/>
              <a:pathLst>
                <a:path w="1036" h="323" extrusionOk="0">
                  <a:moveTo>
                    <a:pt x="167" y="1"/>
                  </a:moveTo>
                  <a:cubicBezTo>
                    <a:pt x="72" y="1"/>
                    <a:pt x="0" y="72"/>
                    <a:pt x="0" y="167"/>
                  </a:cubicBezTo>
                  <a:cubicBezTo>
                    <a:pt x="0" y="251"/>
                    <a:pt x="72" y="322"/>
                    <a:pt x="167" y="322"/>
                  </a:cubicBezTo>
                  <a:lnTo>
                    <a:pt x="881" y="322"/>
                  </a:lnTo>
                  <a:cubicBezTo>
                    <a:pt x="964" y="322"/>
                    <a:pt x="1036" y="251"/>
                    <a:pt x="1036" y="167"/>
                  </a:cubicBezTo>
                  <a:cubicBezTo>
                    <a:pt x="1036" y="72"/>
                    <a:pt x="976"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3" name="Google Shape;10983;p60"/>
            <p:cNvSpPr/>
            <p:nvPr/>
          </p:nvSpPr>
          <p:spPr>
            <a:xfrm>
              <a:off x="5439522" y="2607534"/>
              <a:ext cx="158437" cy="10280"/>
            </a:xfrm>
            <a:custGeom>
              <a:avLst/>
              <a:gdLst/>
              <a:ahLst/>
              <a:cxnLst/>
              <a:rect l="l" t="t" r="r" b="b"/>
              <a:pathLst>
                <a:path w="4978" h="323" extrusionOk="0">
                  <a:moveTo>
                    <a:pt x="167" y="1"/>
                  </a:moveTo>
                  <a:cubicBezTo>
                    <a:pt x="72" y="1"/>
                    <a:pt x="0" y="72"/>
                    <a:pt x="0" y="155"/>
                  </a:cubicBezTo>
                  <a:cubicBezTo>
                    <a:pt x="0" y="251"/>
                    <a:pt x="72" y="322"/>
                    <a:pt x="167" y="322"/>
                  </a:cubicBezTo>
                  <a:lnTo>
                    <a:pt x="4799" y="322"/>
                  </a:lnTo>
                  <a:cubicBezTo>
                    <a:pt x="4882" y="322"/>
                    <a:pt x="4953" y="251"/>
                    <a:pt x="4953" y="155"/>
                  </a:cubicBezTo>
                  <a:cubicBezTo>
                    <a:pt x="4977" y="72"/>
                    <a:pt x="4894" y="1"/>
                    <a:pt x="4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4" name="Google Shape;10984;p60"/>
            <p:cNvSpPr/>
            <p:nvPr/>
          </p:nvSpPr>
          <p:spPr>
            <a:xfrm>
              <a:off x="5439522" y="2630258"/>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5" name="Google Shape;10985;p60"/>
            <p:cNvSpPr/>
            <p:nvPr/>
          </p:nvSpPr>
          <p:spPr>
            <a:xfrm>
              <a:off x="5439522" y="2698497"/>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6" name="Google Shape;10986;p60"/>
            <p:cNvSpPr/>
            <p:nvPr/>
          </p:nvSpPr>
          <p:spPr>
            <a:xfrm>
              <a:off x="5439522" y="2675740"/>
              <a:ext cx="22025" cy="10280"/>
            </a:xfrm>
            <a:custGeom>
              <a:avLst/>
              <a:gdLst/>
              <a:ahLst/>
              <a:cxnLst/>
              <a:rect l="l" t="t" r="r" b="b"/>
              <a:pathLst>
                <a:path w="692" h="323" extrusionOk="0">
                  <a:moveTo>
                    <a:pt x="167" y="1"/>
                  </a:moveTo>
                  <a:cubicBezTo>
                    <a:pt x="72" y="1"/>
                    <a:pt x="0" y="72"/>
                    <a:pt x="0" y="156"/>
                  </a:cubicBezTo>
                  <a:cubicBezTo>
                    <a:pt x="0" y="251"/>
                    <a:pt x="72" y="322"/>
                    <a:pt x="167" y="322"/>
                  </a:cubicBezTo>
                  <a:lnTo>
                    <a:pt x="524" y="322"/>
                  </a:lnTo>
                  <a:cubicBezTo>
                    <a:pt x="608" y="322"/>
                    <a:pt x="679" y="251"/>
                    <a:pt x="679" y="156"/>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7" name="Google Shape;10987;p60"/>
            <p:cNvSpPr/>
            <p:nvPr/>
          </p:nvSpPr>
          <p:spPr>
            <a:xfrm>
              <a:off x="5439522" y="2653015"/>
              <a:ext cx="22025" cy="10248"/>
            </a:xfrm>
            <a:custGeom>
              <a:avLst/>
              <a:gdLst/>
              <a:ahLst/>
              <a:cxnLst/>
              <a:rect l="l" t="t" r="r" b="b"/>
              <a:pathLst>
                <a:path w="692" h="322" extrusionOk="0">
                  <a:moveTo>
                    <a:pt x="167" y="0"/>
                  </a:moveTo>
                  <a:cubicBezTo>
                    <a:pt x="72" y="0"/>
                    <a:pt x="0" y="72"/>
                    <a:pt x="0" y="155"/>
                  </a:cubicBezTo>
                  <a:cubicBezTo>
                    <a:pt x="0" y="250"/>
                    <a:pt x="72" y="322"/>
                    <a:pt x="167" y="322"/>
                  </a:cubicBezTo>
                  <a:lnTo>
                    <a:pt x="524" y="322"/>
                  </a:lnTo>
                  <a:cubicBezTo>
                    <a:pt x="608" y="322"/>
                    <a:pt x="679" y="250"/>
                    <a:pt x="679" y="155"/>
                  </a:cubicBezTo>
                  <a:cubicBezTo>
                    <a:pt x="691" y="72"/>
                    <a:pt x="60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8" name="Google Shape;10988;p60"/>
            <p:cNvSpPr/>
            <p:nvPr/>
          </p:nvSpPr>
          <p:spPr>
            <a:xfrm>
              <a:off x="5473641" y="2630258"/>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9" name="Google Shape;10989;p60"/>
            <p:cNvSpPr/>
            <p:nvPr/>
          </p:nvSpPr>
          <p:spPr>
            <a:xfrm>
              <a:off x="5473641" y="2698497"/>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0" name="Google Shape;10990;p60"/>
            <p:cNvSpPr/>
            <p:nvPr/>
          </p:nvSpPr>
          <p:spPr>
            <a:xfrm>
              <a:off x="5473641" y="2675740"/>
              <a:ext cx="44718" cy="10280"/>
            </a:xfrm>
            <a:custGeom>
              <a:avLst/>
              <a:gdLst/>
              <a:ahLst/>
              <a:cxnLst/>
              <a:rect l="l" t="t" r="r" b="b"/>
              <a:pathLst>
                <a:path w="1405" h="323" extrusionOk="0">
                  <a:moveTo>
                    <a:pt x="167" y="1"/>
                  </a:moveTo>
                  <a:cubicBezTo>
                    <a:pt x="71" y="1"/>
                    <a:pt x="0" y="72"/>
                    <a:pt x="0" y="156"/>
                  </a:cubicBezTo>
                  <a:cubicBezTo>
                    <a:pt x="0" y="251"/>
                    <a:pt x="71" y="322"/>
                    <a:pt x="167" y="322"/>
                  </a:cubicBezTo>
                  <a:lnTo>
                    <a:pt x="1238" y="322"/>
                  </a:lnTo>
                  <a:cubicBezTo>
                    <a:pt x="1322" y="322"/>
                    <a:pt x="1393" y="251"/>
                    <a:pt x="1393" y="156"/>
                  </a:cubicBezTo>
                  <a:cubicBezTo>
                    <a:pt x="1405" y="72"/>
                    <a:pt x="1322" y="1"/>
                    <a:pt x="1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1" name="Google Shape;10991;p60"/>
            <p:cNvSpPr/>
            <p:nvPr/>
          </p:nvSpPr>
          <p:spPr>
            <a:xfrm>
              <a:off x="5473641" y="2653015"/>
              <a:ext cx="67474" cy="10248"/>
            </a:xfrm>
            <a:custGeom>
              <a:avLst/>
              <a:gdLst/>
              <a:ahLst/>
              <a:cxnLst/>
              <a:rect l="l" t="t" r="r" b="b"/>
              <a:pathLst>
                <a:path w="2120" h="322" extrusionOk="0">
                  <a:moveTo>
                    <a:pt x="167" y="0"/>
                  </a:moveTo>
                  <a:cubicBezTo>
                    <a:pt x="71" y="0"/>
                    <a:pt x="0" y="72"/>
                    <a:pt x="0" y="155"/>
                  </a:cubicBezTo>
                  <a:cubicBezTo>
                    <a:pt x="0" y="250"/>
                    <a:pt x="71" y="322"/>
                    <a:pt x="167" y="322"/>
                  </a:cubicBezTo>
                  <a:lnTo>
                    <a:pt x="1953" y="322"/>
                  </a:lnTo>
                  <a:cubicBezTo>
                    <a:pt x="2036" y="322"/>
                    <a:pt x="2107" y="250"/>
                    <a:pt x="2107" y="155"/>
                  </a:cubicBezTo>
                  <a:cubicBezTo>
                    <a:pt x="2119" y="72"/>
                    <a:pt x="2036" y="0"/>
                    <a:pt x="1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2" name="Google Shape;10992;p60"/>
            <p:cNvSpPr/>
            <p:nvPr/>
          </p:nvSpPr>
          <p:spPr>
            <a:xfrm>
              <a:off x="5558525" y="2653015"/>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3" name="Google Shape;10993;p60"/>
            <p:cNvSpPr/>
            <p:nvPr/>
          </p:nvSpPr>
          <p:spPr>
            <a:xfrm>
              <a:off x="5558525" y="2630258"/>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4" name="Google Shape;10994;p60"/>
            <p:cNvSpPr/>
            <p:nvPr/>
          </p:nvSpPr>
          <p:spPr>
            <a:xfrm>
              <a:off x="5558525" y="2675740"/>
              <a:ext cx="39434" cy="10280"/>
            </a:xfrm>
            <a:custGeom>
              <a:avLst/>
              <a:gdLst/>
              <a:ahLst/>
              <a:cxnLst/>
              <a:rect l="l" t="t" r="r" b="b"/>
              <a:pathLst>
                <a:path w="1239" h="323" extrusionOk="0">
                  <a:moveTo>
                    <a:pt x="167" y="1"/>
                  </a:moveTo>
                  <a:cubicBezTo>
                    <a:pt x="71" y="1"/>
                    <a:pt x="0" y="72"/>
                    <a:pt x="0" y="156"/>
                  </a:cubicBezTo>
                  <a:cubicBezTo>
                    <a:pt x="0" y="251"/>
                    <a:pt x="71" y="322"/>
                    <a:pt x="167" y="322"/>
                  </a:cubicBezTo>
                  <a:lnTo>
                    <a:pt x="1060" y="322"/>
                  </a:lnTo>
                  <a:cubicBezTo>
                    <a:pt x="1143" y="322"/>
                    <a:pt x="1214" y="251"/>
                    <a:pt x="1214" y="156"/>
                  </a:cubicBezTo>
                  <a:cubicBezTo>
                    <a:pt x="1238" y="72"/>
                    <a:pt x="1155"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5" name="Google Shape;10995;p60"/>
            <p:cNvSpPr/>
            <p:nvPr/>
          </p:nvSpPr>
          <p:spPr>
            <a:xfrm>
              <a:off x="5558525" y="2698497"/>
              <a:ext cx="39434" cy="10248"/>
            </a:xfrm>
            <a:custGeom>
              <a:avLst/>
              <a:gdLst/>
              <a:ahLst/>
              <a:cxnLst/>
              <a:rect l="l" t="t" r="r" b="b"/>
              <a:pathLst>
                <a:path w="1239" h="322" extrusionOk="0">
                  <a:moveTo>
                    <a:pt x="167" y="0"/>
                  </a:moveTo>
                  <a:cubicBezTo>
                    <a:pt x="71" y="0"/>
                    <a:pt x="0" y="72"/>
                    <a:pt x="0" y="155"/>
                  </a:cubicBezTo>
                  <a:cubicBezTo>
                    <a:pt x="0" y="250"/>
                    <a:pt x="71" y="322"/>
                    <a:pt x="167" y="322"/>
                  </a:cubicBezTo>
                  <a:lnTo>
                    <a:pt x="1060" y="322"/>
                  </a:lnTo>
                  <a:cubicBezTo>
                    <a:pt x="1143" y="322"/>
                    <a:pt x="1214" y="250"/>
                    <a:pt x="1214" y="155"/>
                  </a:cubicBezTo>
                  <a:cubicBezTo>
                    <a:pt x="1238"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996" name="Google Shape;10996;p60"/>
          <p:cNvGrpSpPr/>
          <p:nvPr/>
        </p:nvGrpSpPr>
        <p:grpSpPr>
          <a:xfrm>
            <a:off x="3567142" y="2905757"/>
            <a:ext cx="348288" cy="340331"/>
            <a:chOff x="3567142" y="2905757"/>
            <a:chExt cx="348288" cy="340331"/>
          </a:xfrm>
        </p:grpSpPr>
        <p:sp>
          <p:nvSpPr>
            <p:cNvPr id="10997" name="Google Shape;10997;p60"/>
            <p:cNvSpPr/>
            <p:nvPr/>
          </p:nvSpPr>
          <p:spPr>
            <a:xfrm>
              <a:off x="3567142" y="2905757"/>
              <a:ext cx="348288" cy="340331"/>
            </a:xfrm>
            <a:custGeom>
              <a:avLst/>
              <a:gdLst/>
              <a:ahLst/>
              <a:cxnLst/>
              <a:rect l="l" t="t" r="r" b="b"/>
              <a:pathLst>
                <a:path w="10943" h="10693" extrusionOk="0">
                  <a:moveTo>
                    <a:pt x="2799" y="608"/>
                  </a:moveTo>
                  <a:lnTo>
                    <a:pt x="6811" y="620"/>
                  </a:lnTo>
                  <a:cubicBezTo>
                    <a:pt x="7013" y="620"/>
                    <a:pt x="7156" y="763"/>
                    <a:pt x="7204" y="941"/>
                  </a:cubicBezTo>
                  <a:cubicBezTo>
                    <a:pt x="7204" y="965"/>
                    <a:pt x="7216" y="1001"/>
                    <a:pt x="7216" y="1013"/>
                  </a:cubicBezTo>
                  <a:lnTo>
                    <a:pt x="7216" y="1715"/>
                  </a:lnTo>
                  <a:lnTo>
                    <a:pt x="3144" y="1703"/>
                  </a:lnTo>
                  <a:lnTo>
                    <a:pt x="3144" y="1596"/>
                  </a:lnTo>
                  <a:cubicBezTo>
                    <a:pt x="3144" y="1215"/>
                    <a:pt x="3001" y="882"/>
                    <a:pt x="2799" y="608"/>
                  </a:cubicBezTo>
                  <a:close/>
                  <a:moveTo>
                    <a:pt x="1560" y="346"/>
                  </a:moveTo>
                  <a:cubicBezTo>
                    <a:pt x="2251" y="346"/>
                    <a:pt x="2811" y="906"/>
                    <a:pt x="2811" y="1596"/>
                  </a:cubicBezTo>
                  <a:cubicBezTo>
                    <a:pt x="2811" y="2275"/>
                    <a:pt x="2263" y="2846"/>
                    <a:pt x="1560" y="2846"/>
                  </a:cubicBezTo>
                  <a:cubicBezTo>
                    <a:pt x="882" y="2846"/>
                    <a:pt x="310" y="2275"/>
                    <a:pt x="310" y="1596"/>
                  </a:cubicBezTo>
                  <a:cubicBezTo>
                    <a:pt x="310" y="906"/>
                    <a:pt x="882" y="346"/>
                    <a:pt x="1560" y="346"/>
                  </a:cubicBezTo>
                  <a:close/>
                  <a:moveTo>
                    <a:pt x="1799" y="9252"/>
                  </a:moveTo>
                  <a:lnTo>
                    <a:pt x="7168" y="9288"/>
                  </a:lnTo>
                  <a:lnTo>
                    <a:pt x="7168" y="9990"/>
                  </a:lnTo>
                  <a:cubicBezTo>
                    <a:pt x="7168" y="10014"/>
                    <a:pt x="7168" y="10050"/>
                    <a:pt x="7156" y="10062"/>
                  </a:cubicBezTo>
                  <a:cubicBezTo>
                    <a:pt x="7109" y="10240"/>
                    <a:pt x="6966" y="10371"/>
                    <a:pt x="6775" y="10371"/>
                  </a:cubicBezTo>
                  <a:lnTo>
                    <a:pt x="2191" y="10359"/>
                  </a:lnTo>
                  <a:cubicBezTo>
                    <a:pt x="1965" y="10359"/>
                    <a:pt x="1799" y="10181"/>
                    <a:pt x="1799" y="9954"/>
                  </a:cubicBezTo>
                  <a:lnTo>
                    <a:pt x="1799" y="9252"/>
                  </a:lnTo>
                  <a:close/>
                  <a:moveTo>
                    <a:pt x="1572" y="1"/>
                  </a:moveTo>
                  <a:cubicBezTo>
                    <a:pt x="715" y="1"/>
                    <a:pt x="1" y="703"/>
                    <a:pt x="1" y="1561"/>
                  </a:cubicBezTo>
                  <a:cubicBezTo>
                    <a:pt x="1" y="2418"/>
                    <a:pt x="667" y="3108"/>
                    <a:pt x="1501" y="3144"/>
                  </a:cubicBezTo>
                  <a:lnTo>
                    <a:pt x="1501" y="4644"/>
                  </a:lnTo>
                  <a:cubicBezTo>
                    <a:pt x="1501" y="4739"/>
                    <a:pt x="1572" y="4811"/>
                    <a:pt x="1668" y="4811"/>
                  </a:cubicBezTo>
                  <a:cubicBezTo>
                    <a:pt x="1751" y="4811"/>
                    <a:pt x="1834" y="4739"/>
                    <a:pt x="1834" y="4644"/>
                  </a:cubicBezTo>
                  <a:lnTo>
                    <a:pt x="1834" y="3132"/>
                  </a:lnTo>
                  <a:cubicBezTo>
                    <a:pt x="2441" y="3025"/>
                    <a:pt x="2918" y="2596"/>
                    <a:pt x="3096" y="2013"/>
                  </a:cubicBezTo>
                  <a:lnTo>
                    <a:pt x="7216" y="2025"/>
                  </a:lnTo>
                  <a:lnTo>
                    <a:pt x="7216" y="3323"/>
                  </a:lnTo>
                  <a:lnTo>
                    <a:pt x="4704" y="3311"/>
                  </a:lnTo>
                  <a:lnTo>
                    <a:pt x="4668" y="3311"/>
                  </a:lnTo>
                  <a:lnTo>
                    <a:pt x="4668" y="2751"/>
                  </a:lnTo>
                  <a:cubicBezTo>
                    <a:pt x="4668" y="2668"/>
                    <a:pt x="4597" y="2596"/>
                    <a:pt x="4513" y="2596"/>
                  </a:cubicBezTo>
                  <a:cubicBezTo>
                    <a:pt x="4418" y="2596"/>
                    <a:pt x="4346" y="2668"/>
                    <a:pt x="4346" y="2751"/>
                  </a:cubicBezTo>
                  <a:lnTo>
                    <a:pt x="4346" y="3668"/>
                  </a:lnTo>
                  <a:lnTo>
                    <a:pt x="4335" y="7276"/>
                  </a:lnTo>
                  <a:lnTo>
                    <a:pt x="4335" y="8204"/>
                  </a:lnTo>
                  <a:cubicBezTo>
                    <a:pt x="4335" y="8288"/>
                    <a:pt x="4406" y="8371"/>
                    <a:pt x="4489" y="8371"/>
                  </a:cubicBezTo>
                  <a:cubicBezTo>
                    <a:pt x="4585" y="8371"/>
                    <a:pt x="4656" y="8288"/>
                    <a:pt x="4656" y="8204"/>
                  </a:cubicBezTo>
                  <a:lnTo>
                    <a:pt x="4656" y="7633"/>
                  </a:lnTo>
                  <a:lnTo>
                    <a:pt x="4692" y="7633"/>
                  </a:lnTo>
                  <a:lnTo>
                    <a:pt x="7204" y="7657"/>
                  </a:lnTo>
                  <a:lnTo>
                    <a:pt x="7204" y="8966"/>
                  </a:lnTo>
                  <a:lnTo>
                    <a:pt x="1834" y="8930"/>
                  </a:lnTo>
                  <a:lnTo>
                    <a:pt x="1846" y="5335"/>
                  </a:lnTo>
                  <a:cubicBezTo>
                    <a:pt x="1846" y="5240"/>
                    <a:pt x="1775" y="5168"/>
                    <a:pt x="1679" y="5168"/>
                  </a:cubicBezTo>
                  <a:cubicBezTo>
                    <a:pt x="1596" y="5168"/>
                    <a:pt x="1513" y="5240"/>
                    <a:pt x="1513" y="5335"/>
                  </a:cubicBezTo>
                  <a:lnTo>
                    <a:pt x="1501" y="9097"/>
                  </a:lnTo>
                  <a:lnTo>
                    <a:pt x="1501" y="9954"/>
                  </a:lnTo>
                  <a:cubicBezTo>
                    <a:pt x="1501" y="10347"/>
                    <a:pt x="1810" y="10669"/>
                    <a:pt x="2215" y="10669"/>
                  </a:cubicBezTo>
                  <a:lnTo>
                    <a:pt x="6799" y="10693"/>
                  </a:lnTo>
                  <a:cubicBezTo>
                    <a:pt x="7168" y="10693"/>
                    <a:pt x="7466" y="10407"/>
                    <a:pt x="7514" y="10050"/>
                  </a:cubicBezTo>
                  <a:lnTo>
                    <a:pt x="7514" y="9978"/>
                  </a:lnTo>
                  <a:lnTo>
                    <a:pt x="7514" y="9109"/>
                  </a:lnTo>
                  <a:lnTo>
                    <a:pt x="7514" y="7633"/>
                  </a:lnTo>
                  <a:lnTo>
                    <a:pt x="8478" y="7633"/>
                  </a:lnTo>
                  <a:cubicBezTo>
                    <a:pt x="8573" y="7633"/>
                    <a:pt x="8645" y="7561"/>
                    <a:pt x="8645" y="7478"/>
                  </a:cubicBezTo>
                  <a:cubicBezTo>
                    <a:pt x="8645" y="7383"/>
                    <a:pt x="8573" y="7311"/>
                    <a:pt x="8478" y="7311"/>
                  </a:cubicBezTo>
                  <a:lnTo>
                    <a:pt x="4668" y="7299"/>
                  </a:lnTo>
                  <a:cubicBezTo>
                    <a:pt x="4656" y="7299"/>
                    <a:pt x="4644" y="7276"/>
                    <a:pt x="4644" y="7264"/>
                  </a:cubicBezTo>
                  <a:lnTo>
                    <a:pt x="4656" y="3644"/>
                  </a:lnTo>
                  <a:cubicBezTo>
                    <a:pt x="4656" y="3632"/>
                    <a:pt x="4668" y="3620"/>
                    <a:pt x="4692" y="3620"/>
                  </a:cubicBezTo>
                  <a:lnTo>
                    <a:pt x="10585" y="3644"/>
                  </a:lnTo>
                  <a:cubicBezTo>
                    <a:pt x="10597" y="3644"/>
                    <a:pt x="10609" y="3668"/>
                    <a:pt x="10609" y="3680"/>
                  </a:cubicBezTo>
                  <a:lnTo>
                    <a:pt x="10597" y="7299"/>
                  </a:lnTo>
                  <a:cubicBezTo>
                    <a:pt x="10597" y="7311"/>
                    <a:pt x="10585" y="7323"/>
                    <a:pt x="10562" y="7323"/>
                  </a:cubicBezTo>
                  <a:lnTo>
                    <a:pt x="9192" y="7323"/>
                  </a:lnTo>
                  <a:cubicBezTo>
                    <a:pt x="9109" y="7323"/>
                    <a:pt x="9038" y="7395"/>
                    <a:pt x="9038" y="7490"/>
                  </a:cubicBezTo>
                  <a:cubicBezTo>
                    <a:pt x="9038" y="7573"/>
                    <a:pt x="9109" y="7657"/>
                    <a:pt x="9192" y="7657"/>
                  </a:cubicBezTo>
                  <a:lnTo>
                    <a:pt x="10562" y="7657"/>
                  </a:lnTo>
                  <a:cubicBezTo>
                    <a:pt x="10764" y="7657"/>
                    <a:pt x="10919" y="7490"/>
                    <a:pt x="10919" y="7299"/>
                  </a:cubicBezTo>
                  <a:lnTo>
                    <a:pt x="10943" y="3680"/>
                  </a:lnTo>
                  <a:cubicBezTo>
                    <a:pt x="10919" y="3513"/>
                    <a:pt x="10776" y="3346"/>
                    <a:pt x="10562" y="3346"/>
                  </a:cubicBezTo>
                  <a:lnTo>
                    <a:pt x="7514" y="3335"/>
                  </a:lnTo>
                  <a:lnTo>
                    <a:pt x="7514" y="1882"/>
                  </a:lnTo>
                  <a:lnTo>
                    <a:pt x="7514" y="1013"/>
                  </a:lnTo>
                  <a:lnTo>
                    <a:pt x="7514" y="941"/>
                  </a:lnTo>
                  <a:cubicBezTo>
                    <a:pt x="7490" y="584"/>
                    <a:pt x="7168" y="298"/>
                    <a:pt x="6799" y="298"/>
                  </a:cubicBezTo>
                  <a:lnTo>
                    <a:pt x="2501" y="287"/>
                  </a:lnTo>
                  <a:lnTo>
                    <a:pt x="2453" y="287"/>
                  </a:lnTo>
                  <a:cubicBezTo>
                    <a:pt x="2203" y="108"/>
                    <a:pt x="1906" y="1"/>
                    <a:pt x="1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8" name="Google Shape;10998;p60"/>
            <p:cNvSpPr/>
            <p:nvPr/>
          </p:nvSpPr>
          <p:spPr>
            <a:xfrm>
              <a:off x="3819534" y="3034977"/>
              <a:ext cx="73903" cy="48919"/>
            </a:xfrm>
            <a:custGeom>
              <a:avLst/>
              <a:gdLst/>
              <a:ahLst/>
              <a:cxnLst/>
              <a:rect l="l" t="t" r="r" b="b"/>
              <a:pathLst>
                <a:path w="2322" h="1537" extrusionOk="0">
                  <a:moveTo>
                    <a:pt x="1560" y="322"/>
                  </a:moveTo>
                  <a:cubicBezTo>
                    <a:pt x="1798" y="334"/>
                    <a:pt x="2001" y="525"/>
                    <a:pt x="2001" y="763"/>
                  </a:cubicBezTo>
                  <a:cubicBezTo>
                    <a:pt x="2001" y="1001"/>
                    <a:pt x="1798" y="1191"/>
                    <a:pt x="1548" y="1191"/>
                  </a:cubicBezTo>
                  <a:cubicBezTo>
                    <a:pt x="1310" y="1191"/>
                    <a:pt x="1119" y="1001"/>
                    <a:pt x="1119" y="751"/>
                  </a:cubicBezTo>
                  <a:cubicBezTo>
                    <a:pt x="1119" y="513"/>
                    <a:pt x="1310" y="322"/>
                    <a:pt x="1560" y="322"/>
                  </a:cubicBezTo>
                  <a:close/>
                  <a:moveTo>
                    <a:pt x="774" y="334"/>
                  </a:moveTo>
                  <a:cubicBezTo>
                    <a:pt x="834" y="334"/>
                    <a:pt x="881" y="346"/>
                    <a:pt x="929" y="358"/>
                  </a:cubicBezTo>
                  <a:cubicBezTo>
                    <a:pt x="846" y="477"/>
                    <a:pt x="810" y="620"/>
                    <a:pt x="810" y="775"/>
                  </a:cubicBezTo>
                  <a:cubicBezTo>
                    <a:pt x="810" y="930"/>
                    <a:pt x="846" y="1072"/>
                    <a:pt x="929" y="1191"/>
                  </a:cubicBezTo>
                  <a:cubicBezTo>
                    <a:pt x="881" y="1215"/>
                    <a:pt x="822" y="1227"/>
                    <a:pt x="774" y="1227"/>
                  </a:cubicBezTo>
                  <a:cubicBezTo>
                    <a:pt x="524" y="1191"/>
                    <a:pt x="334" y="1001"/>
                    <a:pt x="334" y="763"/>
                  </a:cubicBezTo>
                  <a:cubicBezTo>
                    <a:pt x="334" y="525"/>
                    <a:pt x="524" y="334"/>
                    <a:pt x="774" y="334"/>
                  </a:cubicBezTo>
                  <a:close/>
                  <a:moveTo>
                    <a:pt x="762" y="1"/>
                  </a:moveTo>
                  <a:cubicBezTo>
                    <a:pt x="346" y="1"/>
                    <a:pt x="0" y="346"/>
                    <a:pt x="0" y="763"/>
                  </a:cubicBezTo>
                  <a:cubicBezTo>
                    <a:pt x="0" y="1180"/>
                    <a:pt x="346" y="1525"/>
                    <a:pt x="762" y="1525"/>
                  </a:cubicBezTo>
                  <a:cubicBezTo>
                    <a:pt x="905" y="1525"/>
                    <a:pt x="1048" y="1489"/>
                    <a:pt x="1167" y="1418"/>
                  </a:cubicBezTo>
                  <a:cubicBezTo>
                    <a:pt x="1286" y="1489"/>
                    <a:pt x="1417" y="1537"/>
                    <a:pt x="1560" y="1537"/>
                  </a:cubicBezTo>
                  <a:cubicBezTo>
                    <a:pt x="1977" y="1537"/>
                    <a:pt x="2322" y="1191"/>
                    <a:pt x="2322" y="775"/>
                  </a:cubicBezTo>
                  <a:cubicBezTo>
                    <a:pt x="2322" y="358"/>
                    <a:pt x="1977" y="13"/>
                    <a:pt x="1560" y="13"/>
                  </a:cubicBezTo>
                  <a:cubicBezTo>
                    <a:pt x="1417" y="13"/>
                    <a:pt x="1286" y="60"/>
                    <a:pt x="1167" y="120"/>
                  </a:cubicBezTo>
                  <a:cubicBezTo>
                    <a:pt x="1048" y="48"/>
                    <a:pt x="905"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9" name="Google Shape;10999;p60"/>
            <p:cNvSpPr/>
            <p:nvPr/>
          </p:nvSpPr>
          <p:spPr>
            <a:xfrm>
              <a:off x="3728571" y="3036123"/>
              <a:ext cx="67506" cy="45895"/>
            </a:xfrm>
            <a:custGeom>
              <a:avLst/>
              <a:gdLst/>
              <a:ahLst/>
              <a:cxnLst/>
              <a:rect l="l" t="t" r="r" b="b"/>
              <a:pathLst>
                <a:path w="2121" h="1442" extrusionOk="0">
                  <a:moveTo>
                    <a:pt x="1739" y="310"/>
                  </a:moveTo>
                  <a:cubicBezTo>
                    <a:pt x="1763" y="310"/>
                    <a:pt x="1775" y="322"/>
                    <a:pt x="1775" y="346"/>
                  </a:cubicBezTo>
                  <a:lnTo>
                    <a:pt x="1775" y="1072"/>
                  </a:lnTo>
                  <a:cubicBezTo>
                    <a:pt x="1775" y="1084"/>
                    <a:pt x="1763" y="1096"/>
                    <a:pt x="1739" y="1096"/>
                  </a:cubicBezTo>
                  <a:lnTo>
                    <a:pt x="346" y="1096"/>
                  </a:lnTo>
                  <a:cubicBezTo>
                    <a:pt x="343" y="1103"/>
                    <a:pt x="338" y="1106"/>
                    <a:pt x="333" y="1106"/>
                  </a:cubicBezTo>
                  <a:cubicBezTo>
                    <a:pt x="322" y="1106"/>
                    <a:pt x="310" y="1089"/>
                    <a:pt x="310" y="1072"/>
                  </a:cubicBezTo>
                  <a:lnTo>
                    <a:pt x="310" y="346"/>
                  </a:lnTo>
                  <a:cubicBezTo>
                    <a:pt x="310" y="322"/>
                    <a:pt x="334" y="310"/>
                    <a:pt x="346" y="310"/>
                  </a:cubicBezTo>
                  <a:close/>
                  <a:moveTo>
                    <a:pt x="358" y="1"/>
                  </a:moveTo>
                  <a:cubicBezTo>
                    <a:pt x="167" y="1"/>
                    <a:pt x="1" y="167"/>
                    <a:pt x="1" y="358"/>
                  </a:cubicBezTo>
                  <a:lnTo>
                    <a:pt x="1" y="1084"/>
                  </a:lnTo>
                  <a:cubicBezTo>
                    <a:pt x="1" y="1275"/>
                    <a:pt x="167" y="1441"/>
                    <a:pt x="358" y="1441"/>
                  </a:cubicBezTo>
                  <a:lnTo>
                    <a:pt x="1763" y="1441"/>
                  </a:lnTo>
                  <a:cubicBezTo>
                    <a:pt x="1953" y="1441"/>
                    <a:pt x="2120" y="1275"/>
                    <a:pt x="2120" y="1084"/>
                  </a:cubicBezTo>
                  <a:lnTo>
                    <a:pt x="2120" y="358"/>
                  </a:lnTo>
                  <a:cubicBezTo>
                    <a:pt x="2120" y="167"/>
                    <a:pt x="1953" y="1"/>
                    <a:pt x="1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0" name="Google Shape;11000;p60"/>
            <p:cNvSpPr/>
            <p:nvPr/>
          </p:nvSpPr>
          <p:spPr>
            <a:xfrm>
              <a:off x="3724783" y="3091439"/>
              <a:ext cx="170946" cy="30745"/>
            </a:xfrm>
            <a:custGeom>
              <a:avLst/>
              <a:gdLst/>
              <a:ahLst/>
              <a:cxnLst/>
              <a:rect l="l" t="t" r="r" b="b"/>
              <a:pathLst>
                <a:path w="5371" h="966" extrusionOk="0">
                  <a:moveTo>
                    <a:pt x="358" y="346"/>
                  </a:moveTo>
                  <a:lnTo>
                    <a:pt x="5013" y="358"/>
                  </a:lnTo>
                  <a:cubicBezTo>
                    <a:pt x="5037" y="358"/>
                    <a:pt x="5049" y="370"/>
                    <a:pt x="5049" y="394"/>
                  </a:cubicBezTo>
                  <a:lnTo>
                    <a:pt x="5049" y="632"/>
                  </a:lnTo>
                  <a:cubicBezTo>
                    <a:pt x="5049" y="644"/>
                    <a:pt x="5037" y="656"/>
                    <a:pt x="5013" y="656"/>
                  </a:cubicBezTo>
                  <a:lnTo>
                    <a:pt x="358" y="644"/>
                  </a:lnTo>
                  <a:cubicBezTo>
                    <a:pt x="346" y="644"/>
                    <a:pt x="334" y="632"/>
                    <a:pt x="334" y="608"/>
                  </a:cubicBezTo>
                  <a:lnTo>
                    <a:pt x="334" y="370"/>
                  </a:lnTo>
                  <a:cubicBezTo>
                    <a:pt x="334" y="358"/>
                    <a:pt x="346" y="346"/>
                    <a:pt x="358" y="346"/>
                  </a:cubicBezTo>
                  <a:close/>
                  <a:moveTo>
                    <a:pt x="358" y="1"/>
                  </a:moveTo>
                  <a:cubicBezTo>
                    <a:pt x="167" y="13"/>
                    <a:pt x="1" y="168"/>
                    <a:pt x="1" y="358"/>
                  </a:cubicBezTo>
                  <a:lnTo>
                    <a:pt x="1" y="596"/>
                  </a:lnTo>
                  <a:cubicBezTo>
                    <a:pt x="1" y="787"/>
                    <a:pt x="167" y="953"/>
                    <a:pt x="358" y="953"/>
                  </a:cubicBezTo>
                  <a:lnTo>
                    <a:pt x="5013" y="965"/>
                  </a:lnTo>
                  <a:cubicBezTo>
                    <a:pt x="5204" y="965"/>
                    <a:pt x="5370" y="810"/>
                    <a:pt x="5370" y="608"/>
                  </a:cubicBezTo>
                  <a:lnTo>
                    <a:pt x="5370" y="370"/>
                  </a:lnTo>
                  <a:cubicBezTo>
                    <a:pt x="5370" y="179"/>
                    <a:pt x="5204" y="13"/>
                    <a:pt x="5013" y="13"/>
                  </a:cubicBezTo>
                  <a:lnTo>
                    <a:pt x="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1" name="Google Shape;11001;p60"/>
            <p:cNvSpPr/>
            <p:nvPr/>
          </p:nvSpPr>
          <p:spPr>
            <a:xfrm>
              <a:off x="3597092" y="2940799"/>
              <a:ext cx="40580" cy="30936"/>
            </a:xfrm>
            <a:custGeom>
              <a:avLst/>
              <a:gdLst/>
              <a:ahLst/>
              <a:cxnLst/>
              <a:rect l="l" t="t" r="r" b="b"/>
              <a:pathLst>
                <a:path w="1275" h="972" extrusionOk="0">
                  <a:moveTo>
                    <a:pt x="1100" y="1"/>
                  </a:moveTo>
                  <a:cubicBezTo>
                    <a:pt x="1055" y="1"/>
                    <a:pt x="1009" y="21"/>
                    <a:pt x="977" y="67"/>
                  </a:cubicBezTo>
                  <a:lnTo>
                    <a:pt x="500" y="567"/>
                  </a:lnTo>
                  <a:lnTo>
                    <a:pt x="298" y="305"/>
                  </a:lnTo>
                  <a:cubicBezTo>
                    <a:pt x="264" y="257"/>
                    <a:pt x="215" y="237"/>
                    <a:pt x="167" y="237"/>
                  </a:cubicBezTo>
                  <a:cubicBezTo>
                    <a:pt x="132" y="237"/>
                    <a:pt x="97" y="249"/>
                    <a:pt x="72" y="269"/>
                  </a:cubicBezTo>
                  <a:cubicBezTo>
                    <a:pt x="0" y="329"/>
                    <a:pt x="0" y="436"/>
                    <a:pt x="36" y="495"/>
                  </a:cubicBezTo>
                  <a:lnTo>
                    <a:pt x="369" y="912"/>
                  </a:lnTo>
                  <a:cubicBezTo>
                    <a:pt x="393" y="936"/>
                    <a:pt x="441" y="971"/>
                    <a:pt x="488" y="971"/>
                  </a:cubicBezTo>
                  <a:cubicBezTo>
                    <a:pt x="524" y="971"/>
                    <a:pt x="572" y="948"/>
                    <a:pt x="608" y="924"/>
                  </a:cubicBezTo>
                  <a:lnTo>
                    <a:pt x="1215" y="269"/>
                  </a:lnTo>
                  <a:cubicBezTo>
                    <a:pt x="1274" y="209"/>
                    <a:pt x="1274" y="102"/>
                    <a:pt x="1203" y="43"/>
                  </a:cubicBezTo>
                  <a:cubicBezTo>
                    <a:pt x="1176" y="16"/>
                    <a:pt x="1138" y="1"/>
                    <a:pt x="11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02" name="Google Shape;11002;p60"/>
          <p:cNvGrpSpPr/>
          <p:nvPr/>
        </p:nvGrpSpPr>
        <p:grpSpPr>
          <a:xfrm>
            <a:off x="7967103" y="2415041"/>
            <a:ext cx="355863" cy="361911"/>
            <a:chOff x="7967103" y="2415041"/>
            <a:chExt cx="355863" cy="361911"/>
          </a:xfrm>
        </p:grpSpPr>
        <p:sp>
          <p:nvSpPr>
            <p:cNvPr id="11003" name="Google Shape;11003;p60"/>
            <p:cNvSpPr/>
            <p:nvPr/>
          </p:nvSpPr>
          <p:spPr>
            <a:xfrm>
              <a:off x="7967103" y="2584427"/>
              <a:ext cx="111810" cy="192525"/>
            </a:xfrm>
            <a:custGeom>
              <a:avLst/>
              <a:gdLst/>
              <a:ahLst/>
              <a:cxnLst/>
              <a:rect l="l" t="t" r="r" b="b"/>
              <a:pathLst>
                <a:path w="3513" h="6049" extrusionOk="0">
                  <a:moveTo>
                    <a:pt x="1738" y="346"/>
                  </a:moveTo>
                  <a:cubicBezTo>
                    <a:pt x="2036" y="346"/>
                    <a:pt x="2298" y="560"/>
                    <a:pt x="2298" y="810"/>
                  </a:cubicBezTo>
                  <a:lnTo>
                    <a:pt x="2298" y="846"/>
                  </a:lnTo>
                  <a:cubicBezTo>
                    <a:pt x="2131" y="762"/>
                    <a:pt x="1941" y="739"/>
                    <a:pt x="1738" y="739"/>
                  </a:cubicBezTo>
                  <a:cubicBezTo>
                    <a:pt x="1548" y="739"/>
                    <a:pt x="1369" y="786"/>
                    <a:pt x="1191" y="846"/>
                  </a:cubicBezTo>
                  <a:lnTo>
                    <a:pt x="1191" y="810"/>
                  </a:lnTo>
                  <a:cubicBezTo>
                    <a:pt x="1203" y="560"/>
                    <a:pt x="1441" y="346"/>
                    <a:pt x="1738" y="346"/>
                  </a:cubicBezTo>
                  <a:close/>
                  <a:moveTo>
                    <a:pt x="1738" y="1048"/>
                  </a:moveTo>
                  <a:cubicBezTo>
                    <a:pt x="2334" y="1048"/>
                    <a:pt x="2834" y="1536"/>
                    <a:pt x="2834" y="2132"/>
                  </a:cubicBezTo>
                  <a:cubicBezTo>
                    <a:pt x="2834"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17" y="2346"/>
                    <a:pt x="1477" y="2239"/>
                    <a:pt x="1500" y="2167"/>
                  </a:cubicBezTo>
                  <a:cubicBezTo>
                    <a:pt x="1786" y="2251"/>
                    <a:pt x="2370" y="2465"/>
                    <a:pt x="2631" y="2834"/>
                  </a:cubicBezTo>
                  <a:cubicBezTo>
                    <a:pt x="2560" y="3263"/>
                    <a:pt x="2191" y="3584"/>
                    <a:pt x="1738" y="3584"/>
                  </a:cubicBezTo>
                  <a:cubicBezTo>
                    <a:pt x="1286" y="3584"/>
                    <a:pt x="893" y="3239"/>
                    <a:pt x="846" y="2774"/>
                  </a:cubicBezTo>
                  <a:cubicBezTo>
                    <a:pt x="846" y="2751"/>
                    <a:pt x="834" y="2727"/>
                    <a:pt x="822" y="2703"/>
                  </a:cubicBezTo>
                  <a:cubicBezTo>
                    <a:pt x="715" y="2536"/>
                    <a:pt x="655" y="2334"/>
                    <a:pt x="655" y="2132"/>
                  </a:cubicBezTo>
                  <a:cubicBezTo>
                    <a:pt x="655" y="1536"/>
                    <a:pt x="1143" y="1048"/>
                    <a:pt x="1738" y="1048"/>
                  </a:cubicBezTo>
                  <a:close/>
                  <a:moveTo>
                    <a:pt x="2131" y="3858"/>
                  </a:moveTo>
                  <a:lnTo>
                    <a:pt x="2131" y="4037"/>
                  </a:lnTo>
                  <a:cubicBezTo>
                    <a:pt x="2131" y="4096"/>
                    <a:pt x="2143" y="4156"/>
                    <a:pt x="2167" y="4203"/>
                  </a:cubicBezTo>
                  <a:lnTo>
                    <a:pt x="1738" y="4596"/>
                  </a:lnTo>
                  <a:lnTo>
                    <a:pt x="1346" y="4203"/>
                  </a:lnTo>
                  <a:cubicBezTo>
                    <a:pt x="1369" y="4156"/>
                    <a:pt x="1381" y="4096"/>
                    <a:pt x="1381" y="4037"/>
                  </a:cubicBezTo>
                  <a:lnTo>
                    <a:pt x="1381" y="3858"/>
                  </a:lnTo>
                  <a:cubicBezTo>
                    <a:pt x="1500" y="3894"/>
                    <a:pt x="1619" y="3917"/>
                    <a:pt x="1750" y="3917"/>
                  </a:cubicBezTo>
                  <a:cubicBezTo>
                    <a:pt x="1893" y="3917"/>
                    <a:pt x="2012" y="3906"/>
                    <a:pt x="2131" y="3858"/>
                  </a:cubicBezTo>
                  <a:close/>
                  <a:moveTo>
                    <a:pt x="1762" y="0"/>
                  </a:moveTo>
                  <a:cubicBezTo>
                    <a:pt x="1286" y="0"/>
                    <a:pt x="881" y="358"/>
                    <a:pt x="881" y="798"/>
                  </a:cubicBezTo>
                  <a:cubicBezTo>
                    <a:pt x="881" y="869"/>
                    <a:pt x="893" y="929"/>
                    <a:pt x="905" y="1000"/>
                  </a:cubicBezTo>
                  <a:cubicBezTo>
                    <a:pt x="572" y="1250"/>
                    <a:pt x="345" y="1667"/>
                    <a:pt x="345" y="2132"/>
                  </a:cubicBezTo>
                  <a:cubicBezTo>
                    <a:pt x="345" y="2382"/>
                    <a:pt x="405" y="2632"/>
                    <a:pt x="536" y="2834"/>
                  </a:cubicBezTo>
                  <a:cubicBezTo>
                    <a:pt x="584" y="3191"/>
                    <a:pt x="774" y="3489"/>
                    <a:pt x="1060" y="3679"/>
                  </a:cubicBezTo>
                  <a:lnTo>
                    <a:pt x="1060" y="4025"/>
                  </a:lnTo>
                  <a:lnTo>
                    <a:pt x="1060" y="4037"/>
                  </a:lnTo>
                  <a:lnTo>
                    <a:pt x="393" y="4382"/>
                  </a:lnTo>
                  <a:cubicBezTo>
                    <a:pt x="155" y="4501"/>
                    <a:pt x="0" y="4739"/>
                    <a:pt x="0" y="5013"/>
                  </a:cubicBezTo>
                  <a:lnTo>
                    <a:pt x="0" y="5882"/>
                  </a:lnTo>
                  <a:cubicBezTo>
                    <a:pt x="0" y="5977"/>
                    <a:pt x="72" y="6049"/>
                    <a:pt x="167" y="6049"/>
                  </a:cubicBezTo>
                  <a:cubicBezTo>
                    <a:pt x="250" y="6049"/>
                    <a:pt x="334" y="5977"/>
                    <a:pt x="334" y="5882"/>
                  </a:cubicBezTo>
                  <a:lnTo>
                    <a:pt x="334" y="5013"/>
                  </a:lnTo>
                  <a:cubicBezTo>
                    <a:pt x="334" y="4870"/>
                    <a:pt x="405" y="4739"/>
                    <a:pt x="536" y="4679"/>
                  </a:cubicBezTo>
                  <a:lnTo>
                    <a:pt x="1084" y="4394"/>
                  </a:lnTo>
                  <a:lnTo>
                    <a:pt x="1596" y="4894"/>
                  </a:lnTo>
                  <a:lnTo>
                    <a:pt x="1596" y="5882"/>
                  </a:lnTo>
                  <a:cubicBezTo>
                    <a:pt x="1596" y="5977"/>
                    <a:pt x="1667" y="6049"/>
                    <a:pt x="1762" y="6049"/>
                  </a:cubicBezTo>
                  <a:cubicBezTo>
                    <a:pt x="1846" y="6049"/>
                    <a:pt x="1917" y="5977"/>
                    <a:pt x="1917" y="5882"/>
                  </a:cubicBezTo>
                  <a:lnTo>
                    <a:pt x="1917" y="4894"/>
                  </a:lnTo>
                  <a:lnTo>
                    <a:pt x="2429" y="4394"/>
                  </a:lnTo>
                  <a:lnTo>
                    <a:pt x="2977" y="4679"/>
                  </a:lnTo>
                  <a:cubicBezTo>
                    <a:pt x="3096" y="4739"/>
                    <a:pt x="3191" y="4870"/>
                    <a:pt x="3191" y="5013"/>
                  </a:cubicBezTo>
                  <a:lnTo>
                    <a:pt x="3191" y="5882"/>
                  </a:lnTo>
                  <a:cubicBezTo>
                    <a:pt x="3191" y="5977"/>
                    <a:pt x="3262" y="6049"/>
                    <a:pt x="3346" y="6049"/>
                  </a:cubicBezTo>
                  <a:cubicBezTo>
                    <a:pt x="3441" y="6049"/>
                    <a:pt x="3513" y="5977"/>
                    <a:pt x="3513" y="5882"/>
                  </a:cubicBezTo>
                  <a:lnTo>
                    <a:pt x="3513" y="5013"/>
                  </a:lnTo>
                  <a:cubicBezTo>
                    <a:pt x="3513" y="4739"/>
                    <a:pt x="3370" y="4501"/>
                    <a:pt x="3132"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53" y="1262"/>
                    <a:pt x="2608" y="1000"/>
                  </a:cubicBezTo>
                  <a:cubicBezTo>
                    <a:pt x="2620" y="941"/>
                    <a:pt x="2631" y="869"/>
                    <a:pt x="2631" y="798"/>
                  </a:cubicBezTo>
                  <a:cubicBezTo>
                    <a:pt x="2631" y="369"/>
                    <a:pt x="2239" y="0"/>
                    <a:pt x="1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4" name="Google Shape;11004;p60"/>
            <p:cNvSpPr/>
            <p:nvPr/>
          </p:nvSpPr>
          <p:spPr>
            <a:xfrm>
              <a:off x="7989446" y="2750789"/>
              <a:ext cx="10280" cy="26162"/>
            </a:xfrm>
            <a:custGeom>
              <a:avLst/>
              <a:gdLst/>
              <a:ahLst/>
              <a:cxnLst/>
              <a:rect l="l" t="t" r="r" b="b"/>
              <a:pathLst>
                <a:path w="323" h="822" extrusionOk="0">
                  <a:moveTo>
                    <a:pt x="167" y="0"/>
                  </a:moveTo>
                  <a:cubicBezTo>
                    <a:pt x="72" y="0"/>
                    <a:pt x="1" y="83"/>
                    <a:pt x="1" y="167"/>
                  </a:cubicBezTo>
                  <a:lnTo>
                    <a:pt x="1" y="655"/>
                  </a:lnTo>
                  <a:cubicBezTo>
                    <a:pt x="1" y="750"/>
                    <a:pt x="72" y="822"/>
                    <a:pt x="167" y="822"/>
                  </a:cubicBezTo>
                  <a:cubicBezTo>
                    <a:pt x="251" y="822"/>
                    <a:pt x="322" y="750"/>
                    <a:pt x="322" y="655"/>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5" name="Google Shape;11005;p60"/>
            <p:cNvSpPr/>
            <p:nvPr/>
          </p:nvSpPr>
          <p:spPr>
            <a:xfrm>
              <a:off x="8045908" y="2750789"/>
              <a:ext cx="10662" cy="26162"/>
            </a:xfrm>
            <a:custGeom>
              <a:avLst/>
              <a:gdLst/>
              <a:ahLst/>
              <a:cxnLst/>
              <a:rect l="l" t="t" r="r" b="b"/>
              <a:pathLst>
                <a:path w="335" h="822" extrusionOk="0">
                  <a:moveTo>
                    <a:pt x="155" y="0"/>
                  </a:moveTo>
                  <a:cubicBezTo>
                    <a:pt x="72" y="0"/>
                    <a:pt x="1" y="83"/>
                    <a:pt x="1" y="167"/>
                  </a:cubicBezTo>
                  <a:lnTo>
                    <a:pt x="1" y="655"/>
                  </a:lnTo>
                  <a:cubicBezTo>
                    <a:pt x="1" y="750"/>
                    <a:pt x="72" y="822"/>
                    <a:pt x="155" y="822"/>
                  </a:cubicBezTo>
                  <a:cubicBezTo>
                    <a:pt x="251" y="822"/>
                    <a:pt x="322" y="750"/>
                    <a:pt x="322" y="655"/>
                  </a:cubicBezTo>
                  <a:lnTo>
                    <a:pt x="322" y="167"/>
                  </a:lnTo>
                  <a:cubicBezTo>
                    <a:pt x="334" y="83"/>
                    <a:pt x="263"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6" name="Google Shape;11006;p60"/>
            <p:cNvSpPr/>
            <p:nvPr/>
          </p:nvSpPr>
          <p:spPr>
            <a:xfrm>
              <a:off x="8073184" y="2595789"/>
              <a:ext cx="136858" cy="112956"/>
            </a:xfrm>
            <a:custGeom>
              <a:avLst/>
              <a:gdLst/>
              <a:ahLst/>
              <a:cxnLst/>
              <a:rect l="l" t="t" r="r" b="b"/>
              <a:pathLst>
                <a:path w="4300" h="3549" extrusionOk="0">
                  <a:moveTo>
                    <a:pt x="2156" y="1"/>
                  </a:moveTo>
                  <a:cubicBezTo>
                    <a:pt x="2073" y="1"/>
                    <a:pt x="2001" y="84"/>
                    <a:pt x="2001" y="167"/>
                  </a:cubicBezTo>
                  <a:lnTo>
                    <a:pt x="2001" y="2048"/>
                  </a:lnTo>
                  <a:lnTo>
                    <a:pt x="108" y="3251"/>
                  </a:lnTo>
                  <a:cubicBezTo>
                    <a:pt x="37" y="3299"/>
                    <a:pt x="1" y="3406"/>
                    <a:pt x="60" y="3477"/>
                  </a:cubicBezTo>
                  <a:cubicBezTo>
                    <a:pt x="96" y="3525"/>
                    <a:pt x="156" y="3549"/>
                    <a:pt x="191" y="3549"/>
                  </a:cubicBezTo>
                  <a:cubicBezTo>
                    <a:pt x="227" y="3549"/>
                    <a:pt x="251" y="3537"/>
                    <a:pt x="287" y="3525"/>
                  </a:cubicBezTo>
                  <a:lnTo>
                    <a:pt x="2156" y="2334"/>
                  </a:lnTo>
                  <a:lnTo>
                    <a:pt x="4037" y="3525"/>
                  </a:lnTo>
                  <a:cubicBezTo>
                    <a:pt x="4063" y="3538"/>
                    <a:pt x="4093" y="3544"/>
                    <a:pt x="4123" y="3544"/>
                  </a:cubicBezTo>
                  <a:cubicBezTo>
                    <a:pt x="4178" y="3544"/>
                    <a:pt x="4233" y="3523"/>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7" name="Google Shape;11007;p60"/>
            <p:cNvSpPr/>
            <p:nvPr/>
          </p:nvSpPr>
          <p:spPr>
            <a:xfrm>
              <a:off x="8085310" y="2415041"/>
              <a:ext cx="112956" cy="169036"/>
            </a:xfrm>
            <a:custGeom>
              <a:avLst/>
              <a:gdLst/>
              <a:ahLst/>
              <a:cxnLst/>
              <a:rect l="l" t="t" r="r" b="b"/>
              <a:pathLst>
                <a:path w="3549" h="5311" extrusionOk="0">
                  <a:moveTo>
                    <a:pt x="1775" y="334"/>
                  </a:moveTo>
                  <a:cubicBezTo>
                    <a:pt x="2061" y="334"/>
                    <a:pt x="2335" y="453"/>
                    <a:pt x="2525" y="643"/>
                  </a:cubicBezTo>
                  <a:cubicBezTo>
                    <a:pt x="2716" y="846"/>
                    <a:pt x="2835" y="1119"/>
                    <a:pt x="2870" y="1417"/>
                  </a:cubicBezTo>
                  <a:cubicBezTo>
                    <a:pt x="2882" y="1524"/>
                    <a:pt x="2894" y="1655"/>
                    <a:pt x="2906" y="1822"/>
                  </a:cubicBezTo>
                  <a:cubicBezTo>
                    <a:pt x="2727" y="1500"/>
                    <a:pt x="2430" y="1286"/>
                    <a:pt x="2061" y="1167"/>
                  </a:cubicBezTo>
                  <a:cubicBezTo>
                    <a:pt x="1727" y="1060"/>
                    <a:pt x="1430" y="1060"/>
                    <a:pt x="1418" y="1060"/>
                  </a:cubicBezTo>
                  <a:cubicBezTo>
                    <a:pt x="1382" y="1060"/>
                    <a:pt x="1334" y="1072"/>
                    <a:pt x="1299" y="1108"/>
                  </a:cubicBezTo>
                  <a:lnTo>
                    <a:pt x="1001" y="1417"/>
                  </a:lnTo>
                  <a:cubicBezTo>
                    <a:pt x="942" y="1477"/>
                    <a:pt x="942" y="1596"/>
                    <a:pt x="1001" y="1655"/>
                  </a:cubicBezTo>
                  <a:cubicBezTo>
                    <a:pt x="1031" y="1685"/>
                    <a:pt x="1075" y="1700"/>
                    <a:pt x="1120" y="1700"/>
                  </a:cubicBezTo>
                  <a:cubicBezTo>
                    <a:pt x="1165" y="1700"/>
                    <a:pt x="1209" y="1685"/>
                    <a:pt x="1239" y="1655"/>
                  </a:cubicBezTo>
                  <a:lnTo>
                    <a:pt x="1501" y="1405"/>
                  </a:lnTo>
                  <a:cubicBezTo>
                    <a:pt x="1584" y="1405"/>
                    <a:pt x="1763" y="1417"/>
                    <a:pt x="1954" y="1489"/>
                  </a:cubicBezTo>
                  <a:cubicBezTo>
                    <a:pt x="2299" y="1608"/>
                    <a:pt x="2537" y="1798"/>
                    <a:pt x="2668" y="2084"/>
                  </a:cubicBezTo>
                  <a:cubicBezTo>
                    <a:pt x="2596" y="2512"/>
                    <a:pt x="2227" y="2846"/>
                    <a:pt x="1775" y="2846"/>
                  </a:cubicBezTo>
                  <a:cubicBezTo>
                    <a:pt x="1287" y="2846"/>
                    <a:pt x="870" y="2441"/>
                    <a:pt x="870" y="1941"/>
                  </a:cubicBezTo>
                  <a:cubicBezTo>
                    <a:pt x="870" y="1846"/>
                    <a:pt x="799" y="1774"/>
                    <a:pt x="703" y="1774"/>
                  </a:cubicBezTo>
                  <a:cubicBezTo>
                    <a:pt x="691" y="1774"/>
                    <a:pt x="680" y="1774"/>
                    <a:pt x="644" y="1786"/>
                  </a:cubicBezTo>
                  <a:cubicBezTo>
                    <a:pt x="668" y="1655"/>
                    <a:pt x="680" y="1524"/>
                    <a:pt x="691" y="1417"/>
                  </a:cubicBezTo>
                  <a:cubicBezTo>
                    <a:pt x="703" y="1119"/>
                    <a:pt x="822" y="834"/>
                    <a:pt x="1037" y="643"/>
                  </a:cubicBezTo>
                  <a:cubicBezTo>
                    <a:pt x="1227" y="429"/>
                    <a:pt x="1501" y="334"/>
                    <a:pt x="1775" y="334"/>
                  </a:cubicBezTo>
                  <a:close/>
                  <a:moveTo>
                    <a:pt x="572" y="2239"/>
                  </a:moveTo>
                  <a:cubicBezTo>
                    <a:pt x="644" y="2536"/>
                    <a:pt x="822" y="2786"/>
                    <a:pt x="1084" y="2965"/>
                  </a:cubicBezTo>
                  <a:lnTo>
                    <a:pt x="1084" y="3143"/>
                  </a:lnTo>
                  <a:cubicBezTo>
                    <a:pt x="763" y="3084"/>
                    <a:pt x="549" y="3013"/>
                    <a:pt x="394" y="2929"/>
                  </a:cubicBezTo>
                  <a:cubicBezTo>
                    <a:pt x="382" y="2929"/>
                    <a:pt x="394" y="2917"/>
                    <a:pt x="394" y="2917"/>
                  </a:cubicBezTo>
                  <a:cubicBezTo>
                    <a:pt x="465" y="2727"/>
                    <a:pt x="525" y="2477"/>
                    <a:pt x="572" y="2239"/>
                  </a:cubicBezTo>
                  <a:close/>
                  <a:moveTo>
                    <a:pt x="2989" y="2239"/>
                  </a:moveTo>
                  <a:cubicBezTo>
                    <a:pt x="3025" y="2489"/>
                    <a:pt x="3108" y="2727"/>
                    <a:pt x="3168" y="2917"/>
                  </a:cubicBezTo>
                  <a:lnTo>
                    <a:pt x="3168" y="2929"/>
                  </a:lnTo>
                  <a:cubicBezTo>
                    <a:pt x="3025" y="2989"/>
                    <a:pt x="2811" y="3084"/>
                    <a:pt x="2477" y="3143"/>
                  </a:cubicBezTo>
                  <a:lnTo>
                    <a:pt x="2477" y="2965"/>
                  </a:lnTo>
                  <a:cubicBezTo>
                    <a:pt x="2716" y="2798"/>
                    <a:pt x="2906" y="2536"/>
                    <a:pt x="2989" y="2239"/>
                  </a:cubicBezTo>
                  <a:close/>
                  <a:moveTo>
                    <a:pt x="2168" y="3108"/>
                  </a:moveTo>
                  <a:lnTo>
                    <a:pt x="2168" y="3286"/>
                  </a:lnTo>
                  <a:cubicBezTo>
                    <a:pt x="2168" y="3346"/>
                    <a:pt x="2180" y="3405"/>
                    <a:pt x="2204" y="3453"/>
                  </a:cubicBezTo>
                  <a:lnTo>
                    <a:pt x="2037" y="3608"/>
                  </a:lnTo>
                  <a:cubicBezTo>
                    <a:pt x="1960" y="3673"/>
                    <a:pt x="1864" y="3706"/>
                    <a:pt x="1772" y="3706"/>
                  </a:cubicBezTo>
                  <a:cubicBezTo>
                    <a:pt x="1680" y="3706"/>
                    <a:pt x="1590" y="3673"/>
                    <a:pt x="1525" y="3608"/>
                  </a:cubicBezTo>
                  <a:lnTo>
                    <a:pt x="1382" y="3453"/>
                  </a:lnTo>
                  <a:cubicBezTo>
                    <a:pt x="1406" y="3405"/>
                    <a:pt x="1418" y="3346"/>
                    <a:pt x="1418" y="3286"/>
                  </a:cubicBezTo>
                  <a:lnTo>
                    <a:pt x="1418" y="3108"/>
                  </a:lnTo>
                  <a:cubicBezTo>
                    <a:pt x="1537" y="3143"/>
                    <a:pt x="1656" y="3167"/>
                    <a:pt x="1799" y="3167"/>
                  </a:cubicBezTo>
                  <a:cubicBezTo>
                    <a:pt x="1930" y="3167"/>
                    <a:pt x="2049" y="3155"/>
                    <a:pt x="2168" y="3108"/>
                  </a:cubicBezTo>
                  <a:close/>
                  <a:moveTo>
                    <a:pt x="1775" y="0"/>
                  </a:moveTo>
                  <a:cubicBezTo>
                    <a:pt x="1037" y="0"/>
                    <a:pt x="418" y="607"/>
                    <a:pt x="358" y="1405"/>
                  </a:cubicBezTo>
                  <a:cubicBezTo>
                    <a:pt x="334" y="1727"/>
                    <a:pt x="227" y="2417"/>
                    <a:pt x="84" y="2810"/>
                  </a:cubicBezTo>
                  <a:cubicBezTo>
                    <a:pt x="25" y="2989"/>
                    <a:pt x="96" y="3167"/>
                    <a:pt x="263" y="3251"/>
                  </a:cubicBezTo>
                  <a:cubicBezTo>
                    <a:pt x="382" y="3310"/>
                    <a:pt x="572" y="3382"/>
                    <a:pt x="822" y="3441"/>
                  </a:cubicBezTo>
                  <a:lnTo>
                    <a:pt x="394" y="3644"/>
                  </a:lnTo>
                  <a:cubicBezTo>
                    <a:pt x="156" y="3763"/>
                    <a:pt x="1" y="4001"/>
                    <a:pt x="1" y="4275"/>
                  </a:cubicBezTo>
                  <a:lnTo>
                    <a:pt x="1" y="5156"/>
                  </a:lnTo>
                  <a:cubicBezTo>
                    <a:pt x="1" y="5239"/>
                    <a:pt x="84" y="5310"/>
                    <a:pt x="168" y="5310"/>
                  </a:cubicBezTo>
                  <a:cubicBezTo>
                    <a:pt x="263" y="5310"/>
                    <a:pt x="334" y="5239"/>
                    <a:pt x="334" y="5156"/>
                  </a:cubicBezTo>
                  <a:lnTo>
                    <a:pt x="334" y="4275"/>
                  </a:lnTo>
                  <a:cubicBezTo>
                    <a:pt x="334" y="4144"/>
                    <a:pt x="406" y="4001"/>
                    <a:pt x="537" y="3941"/>
                  </a:cubicBezTo>
                  <a:lnTo>
                    <a:pt x="1096" y="3667"/>
                  </a:lnTo>
                  <a:lnTo>
                    <a:pt x="1287" y="3846"/>
                  </a:lnTo>
                  <a:cubicBezTo>
                    <a:pt x="1418" y="3977"/>
                    <a:pt x="1596" y="4036"/>
                    <a:pt x="1763" y="4036"/>
                  </a:cubicBezTo>
                  <a:cubicBezTo>
                    <a:pt x="1942" y="4036"/>
                    <a:pt x="2108" y="3977"/>
                    <a:pt x="2239" y="3846"/>
                  </a:cubicBezTo>
                  <a:lnTo>
                    <a:pt x="2430" y="3667"/>
                  </a:lnTo>
                  <a:lnTo>
                    <a:pt x="2977" y="3941"/>
                  </a:lnTo>
                  <a:cubicBezTo>
                    <a:pt x="3097" y="4001"/>
                    <a:pt x="3192" y="4144"/>
                    <a:pt x="3192" y="4275"/>
                  </a:cubicBezTo>
                  <a:lnTo>
                    <a:pt x="3192" y="5156"/>
                  </a:lnTo>
                  <a:cubicBezTo>
                    <a:pt x="3192" y="5239"/>
                    <a:pt x="3263" y="5310"/>
                    <a:pt x="3358" y="5310"/>
                  </a:cubicBezTo>
                  <a:cubicBezTo>
                    <a:pt x="3442" y="5310"/>
                    <a:pt x="3513" y="5239"/>
                    <a:pt x="3513" y="5156"/>
                  </a:cubicBezTo>
                  <a:lnTo>
                    <a:pt x="3513" y="4275"/>
                  </a:lnTo>
                  <a:cubicBezTo>
                    <a:pt x="3549" y="4001"/>
                    <a:pt x="3406" y="3763"/>
                    <a:pt x="3168" y="3644"/>
                  </a:cubicBezTo>
                  <a:lnTo>
                    <a:pt x="2727" y="3441"/>
                  </a:lnTo>
                  <a:cubicBezTo>
                    <a:pt x="2989" y="3382"/>
                    <a:pt x="3180" y="3310"/>
                    <a:pt x="3299" y="3251"/>
                  </a:cubicBezTo>
                  <a:cubicBezTo>
                    <a:pt x="3454" y="3167"/>
                    <a:pt x="3537" y="2977"/>
                    <a:pt x="3478" y="2810"/>
                  </a:cubicBezTo>
                  <a:cubicBezTo>
                    <a:pt x="3323" y="2417"/>
                    <a:pt x="3204" y="1727"/>
                    <a:pt x="3192" y="1405"/>
                  </a:cubicBezTo>
                  <a:cubicBezTo>
                    <a:pt x="3132" y="596"/>
                    <a:pt x="252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8" name="Google Shape;11008;p60"/>
            <p:cNvSpPr/>
            <p:nvPr/>
          </p:nvSpPr>
          <p:spPr>
            <a:xfrm>
              <a:off x="8108449"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9" name="Google Shape;11009;p60"/>
            <p:cNvSpPr/>
            <p:nvPr/>
          </p:nvSpPr>
          <p:spPr>
            <a:xfrm>
              <a:off x="8165293" y="2557501"/>
              <a:ext cx="10248" cy="26194"/>
            </a:xfrm>
            <a:custGeom>
              <a:avLst/>
              <a:gdLst/>
              <a:ahLst/>
              <a:cxnLst/>
              <a:rect l="l" t="t" r="r" b="b"/>
              <a:pathLst>
                <a:path w="322" h="823" extrusionOk="0">
                  <a:moveTo>
                    <a:pt x="155" y="1"/>
                  </a:moveTo>
                  <a:cubicBezTo>
                    <a:pt x="72" y="1"/>
                    <a:pt x="0" y="84"/>
                    <a:pt x="0" y="168"/>
                  </a:cubicBezTo>
                  <a:lnTo>
                    <a:pt x="0" y="656"/>
                  </a:lnTo>
                  <a:cubicBezTo>
                    <a:pt x="0" y="751"/>
                    <a:pt x="72" y="823"/>
                    <a:pt x="155" y="823"/>
                  </a:cubicBezTo>
                  <a:cubicBezTo>
                    <a:pt x="250" y="823"/>
                    <a:pt x="322" y="751"/>
                    <a:pt x="322" y="656"/>
                  </a:cubicBezTo>
                  <a:lnTo>
                    <a:pt x="322" y="168"/>
                  </a:ln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0" name="Google Shape;11010;p60"/>
            <p:cNvSpPr/>
            <p:nvPr/>
          </p:nvSpPr>
          <p:spPr>
            <a:xfrm>
              <a:off x="8238432" y="2635956"/>
              <a:ext cx="45481" cy="15946"/>
            </a:xfrm>
            <a:custGeom>
              <a:avLst/>
              <a:gdLst/>
              <a:ahLst/>
              <a:cxnLst/>
              <a:rect l="l" t="t" r="r" b="b"/>
              <a:pathLst>
                <a:path w="1429" h="501" extrusionOk="0">
                  <a:moveTo>
                    <a:pt x="167" y="1"/>
                  </a:moveTo>
                  <a:cubicBezTo>
                    <a:pt x="83" y="1"/>
                    <a:pt x="0" y="72"/>
                    <a:pt x="0" y="155"/>
                  </a:cubicBezTo>
                  <a:cubicBezTo>
                    <a:pt x="0" y="251"/>
                    <a:pt x="83" y="322"/>
                    <a:pt x="167" y="322"/>
                  </a:cubicBezTo>
                  <a:cubicBezTo>
                    <a:pt x="357" y="322"/>
                    <a:pt x="893" y="358"/>
                    <a:pt x="1167" y="489"/>
                  </a:cubicBezTo>
                  <a:cubicBezTo>
                    <a:pt x="1191" y="501"/>
                    <a:pt x="1214" y="501"/>
                    <a:pt x="1238" y="501"/>
                  </a:cubicBezTo>
                  <a:cubicBezTo>
                    <a:pt x="1298" y="501"/>
                    <a:pt x="1357" y="477"/>
                    <a:pt x="1393" y="417"/>
                  </a:cubicBezTo>
                  <a:cubicBezTo>
                    <a:pt x="1429" y="334"/>
                    <a:pt x="1405" y="239"/>
                    <a:pt x="1310" y="191"/>
                  </a:cubicBezTo>
                  <a:cubicBezTo>
                    <a:pt x="929" y="1"/>
                    <a:pt x="20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1" name="Google Shape;11011;p60"/>
            <p:cNvSpPr/>
            <p:nvPr/>
          </p:nvSpPr>
          <p:spPr>
            <a:xfrm>
              <a:off x="8198998" y="2607534"/>
              <a:ext cx="123968" cy="169036"/>
            </a:xfrm>
            <a:custGeom>
              <a:avLst/>
              <a:gdLst/>
              <a:ahLst/>
              <a:cxnLst/>
              <a:rect l="l" t="t" r="r" b="b"/>
              <a:pathLst>
                <a:path w="3895" h="5311" extrusionOk="0">
                  <a:moveTo>
                    <a:pt x="3049" y="322"/>
                  </a:moveTo>
                  <a:lnTo>
                    <a:pt x="3049" y="1025"/>
                  </a:lnTo>
                  <a:cubicBezTo>
                    <a:pt x="3049" y="1144"/>
                    <a:pt x="3013" y="1251"/>
                    <a:pt x="2965" y="1346"/>
                  </a:cubicBezTo>
                  <a:lnTo>
                    <a:pt x="2882" y="1513"/>
                  </a:lnTo>
                  <a:cubicBezTo>
                    <a:pt x="2870" y="1548"/>
                    <a:pt x="2870" y="1560"/>
                    <a:pt x="2870" y="1584"/>
                  </a:cubicBezTo>
                  <a:lnTo>
                    <a:pt x="2870" y="1941"/>
                  </a:lnTo>
                  <a:cubicBezTo>
                    <a:pt x="2870" y="2203"/>
                    <a:pt x="2763" y="2418"/>
                    <a:pt x="2596" y="2596"/>
                  </a:cubicBezTo>
                  <a:cubicBezTo>
                    <a:pt x="2406" y="2763"/>
                    <a:pt x="2168" y="2858"/>
                    <a:pt x="1930" y="2858"/>
                  </a:cubicBezTo>
                  <a:cubicBezTo>
                    <a:pt x="1453" y="2834"/>
                    <a:pt x="1049" y="2406"/>
                    <a:pt x="1049" y="1906"/>
                  </a:cubicBezTo>
                  <a:lnTo>
                    <a:pt x="1049" y="1584"/>
                  </a:lnTo>
                  <a:cubicBezTo>
                    <a:pt x="1049" y="1560"/>
                    <a:pt x="1049" y="1548"/>
                    <a:pt x="1037" y="1513"/>
                  </a:cubicBezTo>
                  <a:lnTo>
                    <a:pt x="929" y="1310"/>
                  </a:lnTo>
                  <a:cubicBezTo>
                    <a:pt x="882" y="1227"/>
                    <a:pt x="870" y="1144"/>
                    <a:pt x="870" y="1072"/>
                  </a:cubicBezTo>
                  <a:lnTo>
                    <a:pt x="870" y="1048"/>
                  </a:lnTo>
                  <a:cubicBezTo>
                    <a:pt x="870" y="655"/>
                    <a:pt x="1203" y="322"/>
                    <a:pt x="1596" y="322"/>
                  </a:cubicBezTo>
                  <a:close/>
                  <a:moveTo>
                    <a:pt x="2334" y="3132"/>
                  </a:moveTo>
                  <a:cubicBezTo>
                    <a:pt x="2334" y="3180"/>
                    <a:pt x="2346" y="3239"/>
                    <a:pt x="2358" y="3287"/>
                  </a:cubicBezTo>
                  <a:lnTo>
                    <a:pt x="2215" y="3418"/>
                  </a:lnTo>
                  <a:cubicBezTo>
                    <a:pt x="2138" y="3495"/>
                    <a:pt x="2043" y="3534"/>
                    <a:pt x="1949" y="3534"/>
                  </a:cubicBezTo>
                  <a:cubicBezTo>
                    <a:pt x="1855" y="3534"/>
                    <a:pt x="1763" y="3495"/>
                    <a:pt x="1691" y="3418"/>
                  </a:cubicBezTo>
                  <a:lnTo>
                    <a:pt x="1561" y="3287"/>
                  </a:lnTo>
                  <a:cubicBezTo>
                    <a:pt x="1572" y="3239"/>
                    <a:pt x="1584" y="3180"/>
                    <a:pt x="1584" y="3132"/>
                  </a:cubicBezTo>
                  <a:cubicBezTo>
                    <a:pt x="1691" y="3168"/>
                    <a:pt x="1811" y="3191"/>
                    <a:pt x="1918" y="3191"/>
                  </a:cubicBezTo>
                  <a:lnTo>
                    <a:pt x="1953" y="3191"/>
                  </a:lnTo>
                  <a:cubicBezTo>
                    <a:pt x="2096" y="3191"/>
                    <a:pt x="2215" y="3180"/>
                    <a:pt x="2334" y="3132"/>
                  </a:cubicBezTo>
                  <a:close/>
                  <a:moveTo>
                    <a:pt x="1584" y="1"/>
                  </a:moveTo>
                  <a:cubicBezTo>
                    <a:pt x="1001" y="1"/>
                    <a:pt x="525" y="477"/>
                    <a:pt x="525" y="1048"/>
                  </a:cubicBezTo>
                  <a:lnTo>
                    <a:pt x="525" y="1072"/>
                  </a:lnTo>
                  <a:cubicBezTo>
                    <a:pt x="525" y="1203"/>
                    <a:pt x="560" y="1334"/>
                    <a:pt x="620" y="1453"/>
                  </a:cubicBezTo>
                  <a:lnTo>
                    <a:pt x="703" y="1620"/>
                  </a:lnTo>
                  <a:lnTo>
                    <a:pt x="703" y="1882"/>
                  </a:lnTo>
                  <a:cubicBezTo>
                    <a:pt x="703" y="2322"/>
                    <a:pt x="918" y="2703"/>
                    <a:pt x="1239" y="2941"/>
                  </a:cubicBezTo>
                  <a:lnTo>
                    <a:pt x="1239" y="3096"/>
                  </a:lnTo>
                  <a:cubicBezTo>
                    <a:pt x="1239" y="3180"/>
                    <a:pt x="1180" y="3251"/>
                    <a:pt x="1108" y="3275"/>
                  </a:cubicBezTo>
                  <a:lnTo>
                    <a:pt x="513" y="3453"/>
                  </a:lnTo>
                  <a:cubicBezTo>
                    <a:pt x="215" y="3537"/>
                    <a:pt x="1" y="3811"/>
                    <a:pt x="1" y="4120"/>
                  </a:cubicBezTo>
                  <a:lnTo>
                    <a:pt x="1" y="5144"/>
                  </a:lnTo>
                  <a:cubicBezTo>
                    <a:pt x="1" y="5239"/>
                    <a:pt x="84" y="5311"/>
                    <a:pt x="167" y="5311"/>
                  </a:cubicBezTo>
                  <a:cubicBezTo>
                    <a:pt x="263" y="5311"/>
                    <a:pt x="334" y="5239"/>
                    <a:pt x="334" y="5144"/>
                  </a:cubicBezTo>
                  <a:lnTo>
                    <a:pt x="334" y="4120"/>
                  </a:lnTo>
                  <a:cubicBezTo>
                    <a:pt x="334" y="3953"/>
                    <a:pt x="441" y="3811"/>
                    <a:pt x="596" y="3763"/>
                  </a:cubicBezTo>
                  <a:lnTo>
                    <a:pt x="1191" y="3584"/>
                  </a:lnTo>
                  <a:cubicBezTo>
                    <a:pt x="1251" y="3572"/>
                    <a:pt x="1299" y="3537"/>
                    <a:pt x="1346" y="3525"/>
                  </a:cubicBezTo>
                  <a:lnTo>
                    <a:pt x="1453" y="3632"/>
                  </a:lnTo>
                  <a:cubicBezTo>
                    <a:pt x="1584" y="3763"/>
                    <a:pt x="1763" y="3834"/>
                    <a:pt x="1942" y="3834"/>
                  </a:cubicBezTo>
                  <a:cubicBezTo>
                    <a:pt x="2120" y="3834"/>
                    <a:pt x="2299" y="3763"/>
                    <a:pt x="2430" y="3632"/>
                  </a:cubicBezTo>
                  <a:lnTo>
                    <a:pt x="2537" y="3525"/>
                  </a:lnTo>
                  <a:cubicBezTo>
                    <a:pt x="2584" y="3549"/>
                    <a:pt x="2620" y="3572"/>
                    <a:pt x="2680" y="3584"/>
                  </a:cubicBezTo>
                  <a:lnTo>
                    <a:pt x="3275" y="3763"/>
                  </a:lnTo>
                  <a:cubicBezTo>
                    <a:pt x="3442" y="3811"/>
                    <a:pt x="3549" y="3953"/>
                    <a:pt x="3549" y="4120"/>
                  </a:cubicBezTo>
                  <a:lnTo>
                    <a:pt x="3549" y="5144"/>
                  </a:lnTo>
                  <a:cubicBezTo>
                    <a:pt x="3549" y="5239"/>
                    <a:pt x="3620" y="5311"/>
                    <a:pt x="3716" y="5311"/>
                  </a:cubicBezTo>
                  <a:cubicBezTo>
                    <a:pt x="3799" y="5311"/>
                    <a:pt x="3870" y="5239"/>
                    <a:pt x="3870" y="5144"/>
                  </a:cubicBezTo>
                  <a:lnTo>
                    <a:pt x="3870" y="4120"/>
                  </a:lnTo>
                  <a:cubicBezTo>
                    <a:pt x="3894" y="3822"/>
                    <a:pt x="3680" y="3549"/>
                    <a:pt x="3382" y="3465"/>
                  </a:cubicBezTo>
                  <a:lnTo>
                    <a:pt x="2787" y="3287"/>
                  </a:lnTo>
                  <a:cubicBezTo>
                    <a:pt x="2715" y="3251"/>
                    <a:pt x="2656" y="3180"/>
                    <a:pt x="2656" y="3108"/>
                  </a:cubicBezTo>
                  <a:lnTo>
                    <a:pt x="2656" y="2977"/>
                  </a:lnTo>
                  <a:cubicBezTo>
                    <a:pt x="2715" y="2930"/>
                    <a:pt x="2763" y="2882"/>
                    <a:pt x="2823" y="2834"/>
                  </a:cubicBezTo>
                  <a:cubicBezTo>
                    <a:pt x="3061" y="2596"/>
                    <a:pt x="3192" y="2287"/>
                    <a:pt x="3192" y="1941"/>
                  </a:cubicBezTo>
                  <a:lnTo>
                    <a:pt x="3192" y="1632"/>
                  </a:lnTo>
                  <a:lnTo>
                    <a:pt x="3251" y="1501"/>
                  </a:lnTo>
                  <a:cubicBezTo>
                    <a:pt x="3323" y="1346"/>
                    <a:pt x="3370" y="1191"/>
                    <a:pt x="3370" y="1025"/>
                  </a:cubicBezTo>
                  <a:lnTo>
                    <a:pt x="3370" y="155"/>
                  </a:lnTo>
                  <a:cubicBezTo>
                    <a:pt x="3370" y="72"/>
                    <a:pt x="3299" y="1"/>
                    <a:pt x="3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2" name="Google Shape;11012;p60"/>
            <p:cNvSpPr/>
            <p:nvPr/>
          </p:nvSpPr>
          <p:spPr>
            <a:xfrm>
              <a:off x="8222137"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3" name="Google Shape;11013;p60"/>
            <p:cNvSpPr/>
            <p:nvPr/>
          </p:nvSpPr>
          <p:spPr>
            <a:xfrm>
              <a:off x="8289579" y="2743946"/>
              <a:ext cx="10630" cy="33005"/>
            </a:xfrm>
            <a:custGeom>
              <a:avLst/>
              <a:gdLst/>
              <a:ahLst/>
              <a:cxnLst/>
              <a:rect l="l" t="t" r="r" b="b"/>
              <a:pathLst>
                <a:path w="334" h="1037" extrusionOk="0">
                  <a:moveTo>
                    <a:pt x="167" y="1"/>
                  </a:moveTo>
                  <a:cubicBezTo>
                    <a:pt x="84" y="1"/>
                    <a:pt x="0" y="72"/>
                    <a:pt x="0" y="156"/>
                  </a:cubicBezTo>
                  <a:lnTo>
                    <a:pt x="0" y="870"/>
                  </a:lnTo>
                  <a:cubicBezTo>
                    <a:pt x="0" y="965"/>
                    <a:pt x="84" y="1037"/>
                    <a:pt x="167" y="1037"/>
                  </a:cubicBezTo>
                  <a:cubicBezTo>
                    <a:pt x="250" y="1037"/>
                    <a:pt x="334" y="965"/>
                    <a:pt x="334" y="870"/>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14" name="Google Shape;11014;p60"/>
          <p:cNvGrpSpPr/>
          <p:nvPr/>
        </p:nvGrpSpPr>
        <p:grpSpPr>
          <a:xfrm>
            <a:off x="7529411" y="2414659"/>
            <a:ext cx="355863" cy="362292"/>
            <a:chOff x="7529411" y="2414659"/>
            <a:chExt cx="355863" cy="362292"/>
          </a:xfrm>
        </p:grpSpPr>
        <p:sp>
          <p:nvSpPr>
            <p:cNvPr id="11015" name="Google Shape;11015;p60"/>
            <p:cNvSpPr/>
            <p:nvPr/>
          </p:nvSpPr>
          <p:spPr>
            <a:xfrm>
              <a:off x="7687816" y="2443081"/>
              <a:ext cx="45481" cy="15946"/>
            </a:xfrm>
            <a:custGeom>
              <a:avLst/>
              <a:gdLst/>
              <a:ahLst/>
              <a:cxnLst/>
              <a:rect l="l" t="t" r="r" b="b"/>
              <a:pathLst>
                <a:path w="1429" h="501" extrusionOk="0">
                  <a:moveTo>
                    <a:pt x="155" y="0"/>
                  </a:moveTo>
                  <a:cubicBezTo>
                    <a:pt x="72" y="0"/>
                    <a:pt x="0" y="72"/>
                    <a:pt x="0" y="167"/>
                  </a:cubicBezTo>
                  <a:cubicBezTo>
                    <a:pt x="0" y="250"/>
                    <a:pt x="72" y="322"/>
                    <a:pt x="155" y="322"/>
                  </a:cubicBezTo>
                  <a:cubicBezTo>
                    <a:pt x="357" y="322"/>
                    <a:pt x="893" y="357"/>
                    <a:pt x="1155" y="488"/>
                  </a:cubicBezTo>
                  <a:cubicBezTo>
                    <a:pt x="1191" y="500"/>
                    <a:pt x="1203" y="500"/>
                    <a:pt x="1227" y="500"/>
                  </a:cubicBezTo>
                  <a:cubicBezTo>
                    <a:pt x="1286" y="500"/>
                    <a:pt x="1346" y="477"/>
                    <a:pt x="1381" y="417"/>
                  </a:cubicBezTo>
                  <a:cubicBezTo>
                    <a:pt x="1429" y="346"/>
                    <a:pt x="1381" y="238"/>
                    <a:pt x="1310" y="191"/>
                  </a:cubicBezTo>
                  <a:cubicBezTo>
                    <a:pt x="917" y="0"/>
                    <a:pt x="19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6" name="Google Shape;11016;p60"/>
            <p:cNvSpPr/>
            <p:nvPr/>
          </p:nvSpPr>
          <p:spPr>
            <a:xfrm>
              <a:off x="7648764" y="2414659"/>
              <a:ext cx="123204" cy="168654"/>
            </a:xfrm>
            <a:custGeom>
              <a:avLst/>
              <a:gdLst/>
              <a:ahLst/>
              <a:cxnLst/>
              <a:rect l="l" t="t" r="r" b="b"/>
              <a:pathLst>
                <a:path w="3871" h="5299" extrusionOk="0">
                  <a:moveTo>
                    <a:pt x="3013" y="322"/>
                  </a:moveTo>
                  <a:lnTo>
                    <a:pt x="3013" y="1024"/>
                  </a:lnTo>
                  <a:cubicBezTo>
                    <a:pt x="3013" y="1143"/>
                    <a:pt x="2977" y="1250"/>
                    <a:pt x="2930" y="1358"/>
                  </a:cubicBezTo>
                  <a:lnTo>
                    <a:pt x="2847" y="1512"/>
                  </a:lnTo>
                  <a:cubicBezTo>
                    <a:pt x="2835" y="1548"/>
                    <a:pt x="2835" y="1560"/>
                    <a:pt x="2835" y="1596"/>
                  </a:cubicBezTo>
                  <a:lnTo>
                    <a:pt x="2835" y="1953"/>
                  </a:lnTo>
                  <a:cubicBezTo>
                    <a:pt x="2835" y="2203"/>
                    <a:pt x="2727" y="2429"/>
                    <a:pt x="2561" y="2608"/>
                  </a:cubicBezTo>
                  <a:cubicBezTo>
                    <a:pt x="2370" y="2763"/>
                    <a:pt x="2144" y="2858"/>
                    <a:pt x="1894" y="2858"/>
                  </a:cubicBezTo>
                  <a:cubicBezTo>
                    <a:pt x="1418" y="2846"/>
                    <a:pt x="1013" y="2405"/>
                    <a:pt x="1013" y="1905"/>
                  </a:cubicBezTo>
                  <a:lnTo>
                    <a:pt x="1013" y="1596"/>
                  </a:lnTo>
                  <a:cubicBezTo>
                    <a:pt x="1013" y="1560"/>
                    <a:pt x="1013" y="1548"/>
                    <a:pt x="1001" y="1512"/>
                  </a:cubicBezTo>
                  <a:lnTo>
                    <a:pt x="894" y="1310"/>
                  </a:lnTo>
                  <a:cubicBezTo>
                    <a:pt x="846" y="1239"/>
                    <a:pt x="834" y="1143"/>
                    <a:pt x="834" y="1072"/>
                  </a:cubicBezTo>
                  <a:lnTo>
                    <a:pt x="834" y="1060"/>
                  </a:lnTo>
                  <a:cubicBezTo>
                    <a:pt x="834" y="655"/>
                    <a:pt x="1168" y="322"/>
                    <a:pt x="1561" y="322"/>
                  </a:cubicBezTo>
                  <a:close/>
                  <a:moveTo>
                    <a:pt x="2299" y="3108"/>
                  </a:moveTo>
                  <a:cubicBezTo>
                    <a:pt x="2299" y="3155"/>
                    <a:pt x="2311" y="3215"/>
                    <a:pt x="2323" y="3263"/>
                  </a:cubicBezTo>
                  <a:lnTo>
                    <a:pt x="1918" y="3679"/>
                  </a:lnTo>
                  <a:lnTo>
                    <a:pt x="1537" y="3286"/>
                  </a:lnTo>
                  <a:cubicBezTo>
                    <a:pt x="1549" y="3263"/>
                    <a:pt x="1549" y="3227"/>
                    <a:pt x="1549" y="3179"/>
                  </a:cubicBezTo>
                  <a:lnTo>
                    <a:pt x="1549" y="3108"/>
                  </a:lnTo>
                  <a:cubicBezTo>
                    <a:pt x="1656" y="3144"/>
                    <a:pt x="1763" y="3167"/>
                    <a:pt x="1882" y="3167"/>
                  </a:cubicBezTo>
                  <a:lnTo>
                    <a:pt x="1918" y="3167"/>
                  </a:lnTo>
                  <a:cubicBezTo>
                    <a:pt x="2061" y="3167"/>
                    <a:pt x="2180" y="3155"/>
                    <a:pt x="2299" y="3108"/>
                  </a:cubicBezTo>
                  <a:close/>
                  <a:moveTo>
                    <a:pt x="1584" y="0"/>
                  </a:moveTo>
                  <a:cubicBezTo>
                    <a:pt x="1001" y="0"/>
                    <a:pt x="525" y="477"/>
                    <a:pt x="525" y="1060"/>
                  </a:cubicBezTo>
                  <a:lnTo>
                    <a:pt x="525" y="1072"/>
                  </a:lnTo>
                  <a:cubicBezTo>
                    <a:pt x="525" y="1203"/>
                    <a:pt x="549" y="1334"/>
                    <a:pt x="608" y="1453"/>
                  </a:cubicBezTo>
                  <a:lnTo>
                    <a:pt x="703" y="1620"/>
                  </a:lnTo>
                  <a:lnTo>
                    <a:pt x="703" y="1893"/>
                  </a:lnTo>
                  <a:cubicBezTo>
                    <a:pt x="703" y="2322"/>
                    <a:pt x="906" y="2703"/>
                    <a:pt x="1239" y="2941"/>
                  </a:cubicBezTo>
                  <a:lnTo>
                    <a:pt x="1239" y="3179"/>
                  </a:lnTo>
                  <a:cubicBezTo>
                    <a:pt x="1239" y="3215"/>
                    <a:pt x="1227" y="3239"/>
                    <a:pt x="1192" y="3239"/>
                  </a:cubicBezTo>
                  <a:lnTo>
                    <a:pt x="513" y="3441"/>
                  </a:lnTo>
                  <a:cubicBezTo>
                    <a:pt x="215" y="3525"/>
                    <a:pt x="1" y="3798"/>
                    <a:pt x="1" y="4108"/>
                  </a:cubicBezTo>
                  <a:lnTo>
                    <a:pt x="1" y="5132"/>
                  </a:lnTo>
                  <a:cubicBezTo>
                    <a:pt x="1" y="5227"/>
                    <a:pt x="72" y="5299"/>
                    <a:pt x="168" y="5299"/>
                  </a:cubicBezTo>
                  <a:cubicBezTo>
                    <a:pt x="251" y="5299"/>
                    <a:pt x="322" y="5227"/>
                    <a:pt x="322" y="5132"/>
                  </a:cubicBezTo>
                  <a:lnTo>
                    <a:pt x="322" y="4108"/>
                  </a:lnTo>
                  <a:cubicBezTo>
                    <a:pt x="322" y="3941"/>
                    <a:pt x="430" y="3798"/>
                    <a:pt x="596" y="3751"/>
                  </a:cubicBezTo>
                  <a:lnTo>
                    <a:pt x="1275" y="3560"/>
                  </a:lnTo>
                  <a:cubicBezTo>
                    <a:pt x="1311" y="3560"/>
                    <a:pt x="1323" y="3536"/>
                    <a:pt x="1358" y="3525"/>
                  </a:cubicBezTo>
                  <a:lnTo>
                    <a:pt x="1775" y="3941"/>
                  </a:lnTo>
                  <a:lnTo>
                    <a:pt x="1775" y="5120"/>
                  </a:lnTo>
                  <a:cubicBezTo>
                    <a:pt x="1775" y="5203"/>
                    <a:pt x="1846" y="5287"/>
                    <a:pt x="1930" y="5287"/>
                  </a:cubicBezTo>
                  <a:cubicBezTo>
                    <a:pt x="2025" y="5287"/>
                    <a:pt x="2096" y="5203"/>
                    <a:pt x="2096" y="5120"/>
                  </a:cubicBezTo>
                  <a:lnTo>
                    <a:pt x="2096" y="3941"/>
                  </a:lnTo>
                  <a:lnTo>
                    <a:pt x="2525" y="3513"/>
                  </a:lnTo>
                  <a:cubicBezTo>
                    <a:pt x="2573" y="3536"/>
                    <a:pt x="2620" y="3560"/>
                    <a:pt x="2680" y="3572"/>
                  </a:cubicBezTo>
                  <a:lnTo>
                    <a:pt x="3275" y="3751"/>
                  </a:lnTo>
                  <a:cubicBezTo>
                    <a:pt x="3442" y="3798"/>
                    <a:pt x="3537" y="3941"/>
                    <a:pt x="3537" y="4108"/>
                  </a:cubicBezTo>
                  <a:lnTo>
                    <a:pt x="3537" y="5132"/>
                  </a:lnTo>
                  <a:cubicBezTo>
                    <a:pt x="3537" y="5227"/>
                    <a:pt x="3620" y="5299"/>
                    <a:pt x="3704" y="5299"/>
                  </a:cubicBezTo>
                  <a:cubicBezTo>
                    <a:pt x="3799" y="5299"/>
                    <a:pt x="3870" y="5227"/>
                    <a:pt x="3870" y="5132"/>
                  </a:cubicBezTo>
                  <a:lnTo>
                    <a:pt x="3870" y="4108"/>
                  </a:lnTo>
                  <a:cubicBezTo>
                    <a:pt x="3870" y="3822"/>
                    <a:pt x="3668" y="3536"/>
                    <a:pt x="3370" y="3465"/>
                  </a:cubicBezTo>
                  <a:lnTo>
                    <a:pt x="2775" y="3286"/>
                  </a:lnTo>
                  <a:cubicBezTo>
                    <a:pt x="2692" y="3263"/>
                    <a:pt x="2632" y="3179"/>
                    <a:pt x="2632" y="3108"/>
                  </a:cubicBezTo>
                  <a:lnTo>
                    <a:pt x="2632" y="2977"/>
                  </a:lnTo>
                  <a:cubicBezTo>
                    <a:pt x="2692" y="2929"/>
                    <a:pt x="2739" y="2882"/>
                    <a:pt x="2799" y="2846"/>
                  </a:cubicBezTo>
                  <a:cubicBezTo>
                    <a:pt x="3037" y="2608"/>
                    <a:pt x="3168" y="2286"/>
                    <a:pt x="3168" y="1953"/>
                  </a:cubicBezTo>
                  <a:lnTo>
                    <a:pt x="3168" y="1631"/>
                  </a:lnTo>
                  <a:lnTo>
                    <a:pt x="3228" y="1501"/>
                  </a:lnTo>
                  <a:cubicBezTo>
                    <a:pt x="3311" y="1358"/>
                    <a:pt x="3347" y="1191"/>
                    <a:pt x="3347" y="1024"/>
                  </a:cubicBezTo>
                  <a:lnTo>
                    <a:pt x="3347" y="167"/>
                  </a:lnTo>
                  <a:cubicBezTo>
                    <a:pt x="3347" y="72"/>
                    <a:pt x="3275" y="0"/>
                    <a:pt x="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7" name="Google Shape;11017;p60"/>
            <p:cNvSpPr/>
            <p:nvPr/>
          </p:nvSpPr>
          <p:spPr>
            <a:xfrm>
              <a:off x="7670757" y="2551072"/>
              <a:ext cx="10248" cy="33005"/>
            </a:xfrm>
            <a:custGeom>
              <a:avLst/>
              <a:gdLst/>
              <a:ahLst/>
              <a:cxnLst/>
              <a:rect l="l" t="t" r="r" b="b"/>
              <a:pathLst>
                <a:path w="322" h="1037" extrusionOk="0">
                  <a:moveTo>
                    <a:pt x="155" y="1"/>
                  </a:moveTo>
                  <a:cubicBezTo>
                    <a:pt x="72" y="1"/>
                    <a:pt x="0" y="72"/>
                    <a:pt x="0" y="167"/>
                  </a:cubicBezTo>
                  <a:lnTo>
                    <a:pt x="0" y="882"/>
                  </a:lnTo>
                  <a:cubicBezTo>
                    <a:pt x="0"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8" name="Google Shape;11018;p60"/>
            <p:cNvSpPr/>
            <p:nvPr/>
          </p:nvSpPr>
          <p:spPr>
            <a:xfrm>
              <a:off x="7738963" y="2551072"/>
              <a:ext cx="10280" cy="33005"/>
            </a:xfrm>
            <a:custGeom>
              <a:avLst/>
              <a:gdLst/>
              <a:ahLst/>
              <a:cxnLst/>
              <a:rect l="l" t="t" r="r" b="b"/>
              <a:pathLst>
                <a:path w="323" h="1037" extrusionOk="0">
                  <a:moveTo>
                    <a:pt x="155" y="1"/>
                  </a:moveTo>
                  <a:cubicBezTo>
                    <a:pt x="72" y="1"/>
                    <a:pt x="1" y="72"/>
                    <a:pt x="1" y="167"/>
                  </a:cubicBezTo>
                  <a:lnTo>
                    <a:pt x="1" y="882"/>
                  </a:lnTo>
                  <a:cubicBezTo>
                    <a:pt x="1" y="965"/>
                    <a:pt x="72" y="1036"/>
                    <a:pt x="155" y="1036"/>
                  </a:cubicBezTo>
                  <a:cubicBezTo>
                    <a:pt x="251" y="1036"/>
                    <a:pt x="322" y="965"/>
                    <a:pt x="322" y="882"/>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19" name="Google Shape;11019;p60"/>
            <p:cNvSpPr/>
            <p:nvPr/>
          </p:nvSpPr>
          <p:spPr>
            <a:xfrm>
              <a:off x="7568432" y="2635956"/>
              <a:ext cx="45513" cy="15946"/>
            </a:xfrm>
            <a:custGeom>
              <a:avLst/>
              <a:gdLst/>
              <a:ahLst/>
              <a:cxnLst/>
              <a:rect l="l" t="t" r="r" b="b"/>
              <a:pathLst>
                <a:path w="1430" h="501" extrusionOk="0">
                  <a:moveTo>
                    <a:pt x="156" y="1"/>
                  </a:moveTo>
                  <a:cubicBezTo>
                    <a:pt x="72" y="1"/>
                    <a:pt x="1" y="72"/>
                    <a:pt x="1" y="155"/>
                  </a:cubicBezTo>
                  <a:cubicBezTo>
                    <a:pt x="1" y="251"/>
                    <a:pt x="72" y="322"/>
                    <a:pt x="156" y="322"/>
                  </a:cubicBezTo>
                  <a:cubicBezTo>
                    <a:pt x="358" y="322"/>
                    <a:pt x="894" y="358"/>
                    <a:pt x="1156" y="489"/>
                  </a:cubicBezTo>
                  <a:cubicBezTo>
                    <a:pt x="1191" y="501"/>
                    <a:pt x="1203" y="501"/>
                    <a:pt x="1227" y="501"/>
                  </a:cubicBezTo>
                  <a:cubicBezTo>
                    <a:pt x="1287" y="501"/>
                    <a:pt x="1346" y="477"/>
                    <a:pt x="1382" y="417"/>
                  </a:cubicBezTo>
                  <a:cubicBezTo>
                    <a:pt x="1430" y="334"/>
                    <a:pt x="1394" y="239"/>
                    <a:pt x="1310" y="191"/>
                  </a:cubicBezTo>
                  <a:cubicBezTo>
                    <a:pt x="918" y="1"/>
                    <a:pt x="19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0" name="Google Shape;11020;p60"/>
            <p:cNvSpPr/>
            <p:nvPr/>
          </p:nvSpPr>
          <p:spPr>
            <a:xfrm>
              <a:off x="7529411" y="2607916"/>
              <a:ext cx="123172" cy="168654"/>
            </a:xfrm>
            <a:custGeom>
              <a:avLst/>
              <a:gdLst/>
              <a:ahLst/>
              <a:cxnLst/>
              <a:rect l="l" t="t" r="r" b="b"/>
              <a:pathLst>
                <a:path w="3870" h="5299" extrusionOk="0">
                  <a:moveTo>
                    <a:pt x="3025" y="310"/>
                  </a:moveTo>
                  <a:lnTo>
                    <a:pt x="3025" y="1013"/>
                  </a:lnTo>
                  <a:cubicBezTo>
                    <a:pt x="3025" y="1132"/>
                    <a:pt x="2989" y="1239"/>
                    <a:pt x="2953" y="1334"/>
                  </a:cubicBezTo>
                  <a:lnTo>
                    <a:pt x="2858" y="1501"/>
                  </a:lnTo>
                  <a:cubicBezTo>
                    <a:pt x="2846" y="1536"/>
                    <a:pt x="2846" y="1548"/>
                    <a:pt x="2846" y="1572"/>
                  </a:cubicBezTo>
                  <a:lnTo>
                    <a:pt x="2846" y="1929"/>
                  </a:lnTo>
                  <a:cubicBezTo>
                    <a:pt x="2834" y="2191"/>
                    <a:pt x="2727" y="2406"/>
                    <a:pt x="2560" y="2584"/>
                  </a:cubicBezTo>
                  <a:cubicBezTo>
                    <a:pt x="2392" y="2753"/>
                    <a:pt x="2170" y="2847"/>
                    <a:pt x="1945" y="2847"/>
                  </a:cubicBezTo>
                  <a:cubicBezTo>
                    <a:pt x="1932" y="2847"/>
                    <a:pt x="1919" y="2847"/>
                    <a:pt x="1905" y="2846"/>
                  </a:cubicBezTo>
                  <a:cubicBezTo>
                    <a:pt x="1429" y="2822"/>
                    <a:pt x="1024" y="2394"/>
                    <a:pt x="1024" y="1894"/>
                  </a:cubicBezTo>
                  <a:lnTo>
                    <a:pt x="1024" y="1572"/>
                  </a:lnTo>
                  <a:cubicBezTo>
                    <a:pt x="1024" y="1548"/>
                    <a:pt x="1024" y="1536"/>
                    <a:pt x="1012" y="1501"/>
                  </a:cubicBezTo>
                  <a:lnTo>
                    <a:pt x="905" y="1298"/>
                  </a:lnTo>
                  <a:cubicBezTo>
                    <a:pt x="870" y="1215"/>
                    <a:pt x="846" y="1132"/>
                    <a:pt x="846" y="1060"/>
                  </a:cubicBezTo>
                  <a:lnTo>
                    <a:pt x="846" y="1036"/>
                  </a:lnTo>
                  <a:cubicBezTo>
                    <a:pt x="846" y="643"/>
                    <a:pt x="1179" y="310"/>
                    <a:pt x="1584" y="310"/>
                  </a:cubicBezTo>
                  <a:close/>
                  <a:moveTo>
                    <a:pt x="2298" y="3096"/>
                  </a:moveTo>
                  <a:lnTo>
                    <a:pt x="2298" y="3156"/>
                  </a:lnTo>
                  <a:cubicBezTo>
                    <a:pt x="2298" y="3179"/>
                    <a:pt x="2298" y="3215"/>
                    <a:pt x="2310" y="3263"/>
                  </a:cubicBezTo>
                  <a:lnTo>
                    <a:pt x="1917" y="3656"/>
                  </a:lnTo>
                  <a:lnTo>
                    <a:pt x="1536" y="3275"/>
                  </a:lnTo>
                  <a:cubicBezTo>
                    <a:pt x="1548" y="3239"/>
                    <a:pt x="1548" y="3215"/>
                    <a:pt x="1548" y="3168"/>
                  </a:cubicBezTo>
                  <a:lnTo>
                    <a:pt x="1548" y="3096"/>
                  </a:lnTo>
                  <a:cubicBezTo>
                    <a:pt x="1655" y="3120"/>
                    <a:pt x="1763" y="3156"/>
                    <a:pt x="1882" y="3156"/>
                  </a:cubicBezTo>
                  <a:lnTo>
                    <a:pt x="1917" y="3156"/>
                  </a:lnTo>
                  <a:cubicBezTo>
                    <a:pt x="2036" y="3156"/>
                    <a:pt x="2179" y="3132"/>
                    <a:pt x="2298" y="3096"/>
                  </a:cubicBezTo>
                  <a:close/>
                  <a:moveTo>
                    <a:pt x="1584" y="1"/>
                  </a:moveTo>
                  <a:cubicBezTo>
                    <a:pt x="1001" y="1"/>
                    <a:pt x="524" y="477"/>
                    <a:pt x="524" y="1060"/>
                  </a:cubicBezTo>
                  <a:lnTo>
                    <a:pt x="524" y="1072"/>
                  </a:lnTo>
                  <a:cubicBezTo>
                    <a:pt x="524" y="1203"/>
                    <a:pt x="548" y="1334"/>
                    <a:pt x="608" y="1453"/>
                  </a:cubicBezTo>
                  <a:lnTo>
                    <a:pt x="703" y="1620"/>
                  </a:lnTo>
                  <a:lnTo>
                    <a:pt x="703" y="1894"/>
                  </a:lnTo>
                  <a:cubicBezTo>
                    <a:pt x="703" y="2322"/>
                    <a:pt x="905" y="2703"/>
                    <a:pt x="1239" y="2941"/>
                  </a:cubicBezTo>
                  <a:lnTo>
                    <a:pt x="1239" y="3179"/>
                  </a:lnTo>
                  <a:cubicBezTo>
                    <a:pt x="1239" y="3215"/>
                    <a:pt x="1227" y="3239"/>
                    <a:pt x="1191" y="3239"/>
                  </a:cubicBezTo>
                  <a:lnTo>
                    <a:pt x="512" y="3441"/>
                  </a:lnTo>
                  <a:cubicBezTo>
                    <a:pt x="215" y="3525"/>
                    <a:pt x="0" y="3799"/>
                    <a:pt x="0" y="4108"/>
                  </a:cubicBezTo>
                  <a:lnTo>
                    <a:pt x="0" y="5132"/>
                  </a:lnTo>
                  <a:cubicBezTo>
                    <a:pt x="0" y="5227"/>
                    <a:pt x="72" y="5299"/>
                    <a:pt x="167" y="5299"/>
                  </a:cubicBezTo>
                  <a:cubicBezTo>
                    <a:pt x="250" y="5299"/>
                    <a:pt x="322" y="5227"/>
                    <a:pt x="322" y="5132"/>
                  </a:cubicBezTo>
                  <a:lnTo>
                    <a:pt x="322" y="4108"/>
                  </a:lnTo>
                  <a:cubicBezTo>
                    <a:pt x="322" y="3941"/>
                    <a:pt x="429" y="3799"/>
                    <a:pt x="596" y="3751"/>
                  </a:cubicBezTo>
                  <a:lnTo>
                    <a:pt x="1274" y="3560"/>
                  </a:lnTo>
                  <a:cubicBezTo>
                    <a:pt x="1310" y="3560"/>
                    <a:pt x="1322" y="3537"/>
                    <a:pt x="1358" y="3525"/>
                  </a:cubicBezTo>
                  <a:lnTo>
                    <a:pt x="1774" y="3941"/>
                  </a:lnTo>
                  <a:lnTo>
                    <a:pt x="1774" y="5120"/>
                  </a:lnTo>
                  <a:cubicBezTo>
                    <a:pt x="1774" y="5204"/>
                    <a:pt x="1846" y="5287"/>
                    <a:pt x="1929" y="5287"/>
                  </a:cubicBezTo>
                  <a:cubicBezTo>
                    <a:pt x="2025" y="5287"/>
                    <a:pt x="2096" y="5204"/>
                    <a:pt x="2096" y="5120"/>
                  </a:cubicBezTo>
                  <a:lnTo>
                    <a:pt x="2096" y="3941"/>
                  </a:lnTo>
                  <a:lnTo>
                    <a:pt x="2513" y="3525"/>
                  </a:lnTo>
                  <a:cubicBezTo>
                    <a:pt x="2548" y="3537"/>
                    <a:pt x="2560" y="3537"/>
                    <a:pt x="2584" y="3560"/>
                  </a:cubicBezTo>
                  <a:lnTo>
                    <a:pt x="3275" y="3751"/>
                  </a:lnTo>
                  <a:cubicBezTo>
                    <a:pt x="3441" y="3799"/>
                    <a:pt x="3537" y="3941"/>
                    <a:pt x="3537" y="4108"/>
                  </a:cubicBezTo>
                  <a:lnTo>
                    <a:pt x="3537" y="5132"/>
                  </a:lnTo>
                  <a:cubicBezTo>
                    <a:pt x="3537" y="5227"/>
                    <a:pt x="3620" y="5299"/>
                    <a:pt x="3703" y="5299"/>
                  </a:cubicBezTo>
                  <a:cubicBezTo>
                    <a:pt x="3799" y="5299"/>
                    <a:pt x="3870" y="5227"/>
                    <a:pt x="3870" y="5132"/>
                  </a:cubicBezTo>
                  <a:lnTo>
                    <a:pt x="3870" y="4108"/>
                  </a:lnTo>
                  <a:cubicBezTo>
                    <a:pt x="3870" y="3810"/>
                    <a:pt x="3668" y="3537"/>
                    <a:pt x="3370" y="3453"/>
                  </a:cubicBezTo>
                  <a:lnTo>
                    <a:pt x="2679" y="3263"/>
                  </a:lnTo>
                  <a:cubicBezTo>
                    <a:pt x="2656" y="3239"/>
                    <a:pt x="2632" y="3227"/>
                    <a:pt x="2632" y="3203"/>
                  </a:cubicBezTo>
                  <a:lnTo>
                    <a:pt x="2632" y="2977"/>
                  </a:lnTo>
                  <a:cubicBezTo>
                    <a:pt x="2691" y="2929"/>
                    <a:pt x="2739" y="2882"/>
                    <a:pt x="2798" y="2846"/>
                  </a:cubicBezTo>
                  <a:cubicBezTo>
                    <a:pt x="3037" y="2608"/>
                    <a:pt x="3168" y="2287"/>
                    <a:pt x="3168" y="1953"/>
                  </a:cubicBezTo>
                  <a:lnTo>
                    <a:pt x="3168" y="1632"/>
                  </a:lnTo>
                  <a:lnTo>
                    <a:pt x="3227" y="1501"/>
                  </a:lnTo>
                  <a:cubicBezTo>
                    <a:pt x="3310" y="1358"/>
                    <a:pt x="3346" y="1191"/>
                    <a:pt x="3346" y="1024"/>
                  </a:cubicBezTo>
                  <a:lnTo>
                    <a:pt x="3346" y="167"/>
                  </a:lnTo>
                  <a:cubicBezTo>
                    <a:pt x="3346" y="72"/>
                    <a:pt x="3275"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1" name="Google Shape;11021;p60"/>
            <p:cNvSpPr/>
            <p:nvPr/>
          </p:nvSpPr>
          <p:spPr>
            <a:xfrm>
              <a:off x="7551754" y="2743946"/>
              <a:ext cx="10280" cy="33005"/>
            </a:xfrm>
            <a:custGeom>
              <a:avLst/>
              <a:gdLst/>
              <a:ahLst/>
              <a:cxnLst/>
              <a:rect l="l" t="t" r="r" b="b"/>
              <a:pathLst>
                <a:path w="323" h="1037" extrusionOk="0">
                  <a:moveTo>
                    <a:pt x="168" y="1"/>
                  </a:moveTo>
                  <a:cubicBezTo>
                    <a:pt x="72" y="1"/>
                    <a:pt x="1" y="72"/>
                    <a:pt x="1" y="156"/>
                  </a:cubicBezTo>
                  <a:lnTo>
                    <a:pt x="1" y="870"/>
                  </a:lnTo>
                  <a:cubicBezTo>
                    <a:pt x="1" y="965"/>
                    <a:pt x="72" y="1037"/>
                    <a:pt x="168" y="1037"/>
                  </a:cubicBezTo>
                  <a:cubicBezTo>
                    <a:pt x="251" y="1037"/>
                    <a:pt x="322" y="965"/>
                    <a:pt x="322" y="870"/>
                  </a:cubicBezTo>
                  <a:lnTo>
                    <a:pt x="322" y="156"/>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2" name="Google Shape;11022;p60"/>
            <p:cNvSpPr/>
            <p:nvPr/>
          </p:nvSpPr>
          <p:spPr>
            <a:xfrm>
              <a:off x="7619610" y="2743946"/>
              <a:ext cx="10248" cy="33005"/>
            </a:xfrm>
            <a:custGeom>
              <a:avLst/>
              <a:gdLst/>
              <a:ahLst/>
              <a:cxnLst/>
              <a:rect l="l" t="t" r="r" b="b"/>
              <a:pathLst>
                <a:path w="322" h="1037" extrusionOk="0">
                  <a:moveTo>
                    <a:pt x="155" y="1"/>
                  </a:moveTo>
                  <a:cubicBezTo>
                    <a:pt x="72" y="1"/>
                    <a:pt x="0" y="72"/>
                    <a:pt x="0" y="156"/>
                  </a:cubicBezTo>
                  <a:lnTo>
                    <a:pt x="0" y="870"/>
                  </a:lnTo>
                  <a:cubicBezTo>
                    <a:pt x="0" y="965"/>
                    <a:pt x="72" y="1037"/>
                    <a:pt x="155" y="1037"/>
                  </a:cubicBezTo>
                  <a:cubicBezTo>
                    <a:pt x="250" y="1037"/>
                    <a:pt x="322" y="965"/>
                    <a:pt x="322" y="870"/>
                  </a:cubicBezTo>
                  <a:lnTo>
                    <a:pt x="322" y="156"/>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3" name="Google Shape;11023;p60"/>
            <p:cNvSpPr/>
            <p:nvPr/>
          </p:nvSpPr>
          <p:spPr>
            <a:xfrm>
              <a:off x="7773464" y="2584427"/>
              <a:ext cx="111810" cy="192525"/>
            </a:xfrm>
            <a:custGeom>
              <a:avLst/>
              <a:gdLst/>
              <a:ahLst/>
              <a:cxnLst/>
              <a:rect l="l" t="t" r="r" b="b"/>
              <a:pathLst>
                <a:path w="3513" h="6049" extrusionOk="0">
                  <a:moveTo>
                    <a:pt x="1738" y="346"/>
                  </a:moveTo>
                  <a:cubicBezTo>
                    <a:pt x="2036" y="346"/>
                    <a:pt x="2286" y="560"/>
                    <a:pt x="2286" y="810"/>
                  </a:cubicBezTo>
                  <a:lnTo>
                    <a:pt x="2286" y="846"/>
                  </a:lnTo>
                  <a:cubicBezTo>
                    <a:pt x="2131" y="762"/>
                    <a:pt x="1929" y="739"/>
                    <a:pt x="1738" y="739"/>
                  </a:cubicBezTo>
                  <a:cubicBezTo>
                    <a:pt x="1548" y="739"/>
                    <a:pt x="1369" y="786"/>
                    <a:pt x="1191" y="846"/>
                  </a:cubicBezTo>
                  <a:lnTo>
                    <a:pt x="1191" y="810"/>
                  </a:lnTo>
                  <a:cubicBezTo>
                    <a:pt x="1203" y="560"/>
                    <a:pt x="1441" y="346"/>
                    <a:pt x="1738" y="346"/>
                  </a:cubicBezTo>
                  <a:close/>
                  <a:moveTo>
                    <a:pt x="1738" y="1048"/>
                  </a:moveTo>
                  <a:cubicBezTo>
                    <a:pt x="2334" y="1048"/>
                    <a:pt x="2822" y="1536"/>
                    <a:pt x="2822" y="2132"/>
                  </a:cubicBezTo>
                  <a:cubicBezTo>
                    <a:pt x="2822" y="2251"/>
                    <a:pt x="2810" y="2358"/>
                    <a:pt x="2762" y="2477"/>
                  </a:cubicBezTo>
                  <a:cubicBezTo>
                    <a:pt x="2286" y="2001"/>
                    <a:pt x="1453" y="1810"/>
                    <a:pt x="1429" y="1798"/>
                  </a:cubicBezTo>
                  <a:cubicBezTo>
                    <a:pt x="1415" y="1791"/>
                    <a:pt x="1400" y="1788"/>
                    <a:pt x="1385" y="1788"/>
                  </a:cubicBezTo>
                  <a:cubicBezTo>
                    <a:pt x="1347" y="1788"/>
                    <a:pt x="1308" y="1805"/>
                    <a:pt x="1274" y="1822"/>
                  </a:cubicBezTo>
                  <a:cubicBezTo>
                    <a:pt x="1238" y="1858"/>
                    <a:pt x="1215" y="1893"/>
                    <a:pt x="1215" y="1953"/>
                  </a:cubicBezTo>
                  <a:cubicBezTo>
                    <a:pt x="1215" y="1977"/>
                    <a:pt x="1203" y="2072"/>
                    <a:pt x="1084" y="2191"/>
                  </a:cubicBezTo>
                  <a:cubicBezTo>
                    <a:pt x="1024" y="2251"/>
                    <a:pt x="1024" y="2358"/>
                    <a:pt x="1084" y="2429"/>
                  </a:cubicBezTo>
                  <a:cubicBezTo>
                    <a:pt x="1111" y="2467"/>
                    <a:pt x="1148" y="2483"/>
                    <a:pt x="1188" y="2483"/>
                  </a:cubicBezTo>
                  <a:cubicBezTo>
                    <a:pt x="1234" y="2483"/>
                    <a:pt x="1283" y="2461"/>
                    <a:pt x="1322" y="2429"/>
                  </a:cubicBezTo>
                  <a:cubicBezTo>
                    <a:pt x="1405" y="2346"/>
                    <a:pt x="1465" y="2239"/>
                    <a:pt x="1500" y="2167"/>
                  </a:cubicBezTo>
                  <a:cubicBezTo>
                    <a:pt x="1786" y="2251"/>
                    <a:pt x="2358" y="2465"/>
                    <a:pt x="2631" y="2834"/>
                  </a:cubicBezTo>
                  <a:cubicBezTo>
                    <a:pt x="2560" y="3263"/>
                    <a:pt x="2191" y="3584"/>
                    <a:pt x="1738" y="3584"/>
                  </a:cubicBezTo>
                  <a:cubicBezTo>
                    <a:pt x="1274" y="3584"/>
                    <a:pt x="893" y="3239"/>
                    <a:pt x="845" y="2774"/>
                  </a:cubicBezTo>
                  <a:cubicBezTo>
                    <a:pt x="845" y="2751"/>
                    <a:pt x="834" y="2727"/>
                    <a:pt x="822" y="2703"/>
                  </a:cubicBezTo>
                  <a:cubicBezTo>
                    <a:pt x="714" y="2536"/>
                    <a:pt x="655" y="2334"/>
                    <a:pt x="655" y="2132"/>
                  </a:cubicBezTo>
                  <a:cubicBezTo>
                    <a:pt x="655" y="1536"/>
                    <a:pt x="1143" y="1048"/>
                    <a:pt x="1738" y="1048"/>
                  </a:cubicBezTo>
                  <a:close/>
                  <a:moveTo>
                    <a:pt x="2131" y="3846"/>
                  </a:moveTo>
                  <a:lnTo>
                    <a:pt x="2131" y="4025"/>
                  </a:lnTo>
                  <a:cubicBezTo>
                    <a:pt x="2131" y="4084"/>
                    <a:pt x="2143" y="4144"/>
                    <a:pt x="2167" y="4191"/>
                  </a:cubicBezTo>
                  <a:lnTo>
                    <a:pt x="1988" y="4334"/>
                  </a:lnTo>
                  <a:cubicBezTo>
                    <a:pt x="1917" y="4400"/>
                    <a:pt x="1825" y="4432"/>
                    <a:pt x="1734" y="4432"/>
                  </a:cubicBezTo>
                  <a:cubicBezTo>
                    <a:pt x="1643" y="4432"/>
                    <a:pt x="1554" y="4400"/>
                    <a:pt x="1488" y="4334"/>
                  </a:cubicBezTo>
                  <a:lnTo>
                    <a:pt x="1334" y="4191"/>
                  </a:lnTo>
                  <a:cubicBezTo>
                    <a:pt x="1369" y="4144"/>
                    <a:pt x="1381" y="4084"/>
                    <a:pt x="1381" y="4025"/>
                  </a:cubicBezTo>
                  <a:lnTo>
                    <a:pt x="1381" y="3846"/>
                  </a:lnTo>
                  <a:cubicBezTo>
                    <a:pt x="1500" y="3870"/>
                    <a:pt x="1619" y="3906"/>
                    <a:pt x="1750" y="3906"/>
                  </a:cubicBezTo>
                  <a:cubicBezTo>
                    <a:pt x="1893" y="3906"/>
                    <a:pt x="2012" y="3894"/>
                    <a:pt x="2131" y="3846"/>
                  </a:cubicBezTo>
                  <a:close/>
                  <a:moveTo>
                    <a:pt x="1750" y="0"/>
                  </a:moveTo>
                  <a:cubicBezTo>
                    <a:pt x="1274" y="0"/>
                    <a:pt x="881" y="358"/>
                    <a:pt x="881" y="798"/>
                  </a:cubicBezTo>
                  <a:cubicBezTo>
                    <a:pt x="881" y="869"/>
                    <a:pt x="893" y="929"/>
                    <a:pt x="905" y="1000"/>
                  </a:cubicBezTo>
                  <a:cubicBezTo>
                    <a:pt x="560" y="1250"/>
                    <a:pt x="345" y="1667"/>
                    <a:pt x="345" y="2132"/>
                  </a:cubicBezTo>
                  <a:cubicBezTo>
                    <a:pt x="345" y="2382"/>
                    <a:pt x="405" y="2632"/>
                    <a:pt x="536" y="2834"/>
                  </a:cubicBezTo>
                  <a:cubicBezTo>
                    <a:pt x="583" y="3191"/>
                    <a:pt x="774" y="3489"/>
                    <a:pt x="1060" y="3679"/>
                  </a:cubicBezTo>
                  <a:lnTo>
                    <a:pt x="1060" y="4025"/>
                  </a:lnTo>
                  <a:lnTo>
                    <a:pt x="1060" y="4037"/>
                  </a:lnTo>
                  <a:lnTo>
                    <a:pt x="381" y="4382"/>
                  </a:lnTo>
                  <a:cubicBezTo>
                    <a:pt x="143" y="4501"/>
                    <a:pt x="0" y="4739"/>
                    <a:pt x="0" y="5013"/>
                  </a:cubicBezTo>
                  <a:lnTo>
                    <a:pt x="0" y="5882"/>
                  </a:lnTo>
                  <a:cubicBezTo>
                    <a:pt x="0" y="5977"/>
                    <a:pt x="72" y="6049"/>
                    <a:pt x="167" y="6049"/>
                  </a:cubicBezTo>
                  <a:cubicBezTo>
                    <a:pt x="250" y="6049"/>
                    <a:pt x="322" y="5977"/>
                    <a:pt x="322" y="5882"/>
                  </a:cubicBezTo>
                  <a:lnTo>
                    <a:pt x="322" y="5013"/>
                  </a:lnTo>
                  <a:cubicBezTo>
                    <a:pt x="322" y="4870"/>
                    <a:pt x="393" y="4739"/>
                    <a:pt x="536" y="4679"/>
                  </a:cubicBezTo>
                  <a:lnTo>
                    <a:pt x="1084" y="4394"/>
                  </a:lnTo>
                  <a:lnTo>
                    <a:pt x="1274" y="4572"/>
                  </a:lnTo>
                  <a:cubicBezTo>
                    <a:pt x="1417" y="4715"/>
                    <a:pt x="1584" y="4775"/>
                    <a:pt x="1750" y="4775"/>
                  </a:cubicBezTo>
                  <a:cubicBezTo>
                    <a:pt x="1929" y="4775"/>
                    <a:pt x="2096" y="4715"/>
                    <a:pt x="2227" y="4572"/>
                  </a:cubicBezTo>
                  <a:lnTo>
                    <a:pt x="2429" y="4394"/>
                  </a:lnTo>
                  <a:lnTo>
                    <a:pt x="2977" y="4679"/>
                  </a:lnTo>
                  <a:cubicBezTo>
                    <a:pt x="3096" y="4739"/>
                    <a:pt x="3179" y="4870"/>
                    <a:pt x="3179" y="5013"/>
                  </a:cubicBezTo>
                  <a:lnTo>
                    <a:pt x="3179" y="5882"/>
                  </a:lnTo>
                  <a:cubicBezTo>
                    <a:pt x="3179" y="5977"/>
                    <a:pt x="3262" y="6049"/>
                    <a:pt x="3346" y="6049"/>
                  </a:cubicBezTo>
                  <a:cubicBezTo>
                    <a:pt x="3441" y="6049"/>
                    <a:pt x="3512" y="5977"/>
                    <a:pt x="3512" y="5882"/>
                  </a:cubicBezTo>
                  <a:lnTo>
                    <a:pt x="3512" y="5013"/>
                  </a:lnTo>
                  <a:cubicBezTo>
                    <a:pt x="3512" y="4739"/>
                    <a:pt x="3358" y="4501"/>
                    <a:pt x="3120" y="4382"/>
                  </a:cubicBezTo>
                  <a:lnTo>
                    <a:pt x="2453" y="4037"/>
                  </a:lnTo>
                  <a:lnTo>
                    <a:pt x="2453" y="4025"/>
                  </a:lnTo>
                  <a:lnTo>
                    <a:pt x="2453" y="3679"/>
                  </a:lnTo>
                  <a:cubicBezTo>
                    <a:pt x="2739" y="3489"/>
                    <a:pt x="2929" y="3191"/>
                    <a:pt x="2977" y="2834"/>
                  </a:cubicBezTo>
                  <a:cubicBezTo>
                    <a:pt x="3096" y="2632"/>
                    <a:pt x="3167" y="2370"/>
                    <a:pt x="3167" y="2132"/>
                  </a:cubicBezTo>
                  <a:cubicBezTo>
                    <a:pt x="3167" y="1667"/>
                    <a:pt x="2941" y="1262"/>
                    <a:pt x="2608" y="1000"/>
                  </a:cubicBezTo>
                  <a:cubicBezTo>
                    <a:pt x="2619" y="941"/>
                    <a:pt x="2631" y="869"/>
                    <a:pt x="2631" y="798"/>
                  </a:cubicBezTo>
                  <a:cubicBezTo>
                    <a:pt x="2631" y="369"/>
                    <a:pt x="2227" y="0"/>
                    <a:pt x="1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4" name="Google Shape;11024;p60"/>
            <p:cNvSpPr/>
            <p:nvPr/>
          </p:nvSpPr>
          <p:spPr>
            <a:xfrm>
              <a:off x="7795043" y="2750789"/>
              <a:ext cx="11012" cy="26162"/>
            </a:xfrm>
            <a:custGeom>
              <a:avLst/>
              <a:gdLst/>
              <a:ahLst/>
              <a:cxnLst/>
              <a:rect l="l" t="t" r="r" b="b"/>
              <a:pathLst>
                <a:path w="346"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46" y="83"/>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5" name="Google Shape;11025;p60"/>
            <p:cNvSpPr/>
            <p:nvPr/>
          </p:nvSpPr>
          <p:spPr>
            <a:xfrm>
              <a:off x="7851887" y="2750789"/>
              <a:ext cx="10662" cy="26162"/>
            </a:xfrm>
            <a:custGeom>
              <a:avLst/>
              <a:gdLst/>
              <a:ahLst/>
              <a:cxnLst/>
              <a:rect l="l" t="t" r="r" b="b"/>
              <a:pathLst>
                <a:path w="335" h="822" extrusionOk="0">
                  <a:moveTo>
                    <a:pt x="167" y="0"/>
                  </a:moveTo>
                  <a:cubicBezTo>
                    <a:pt x="84" y="0"/>
                    <a:pt x="1" y="83"/>
                    <a:pt x="1" y="167"/>
                  </a:cubicBezTo>
                  <a:lnTo>
                    <a:pt x="1" y="655"/>
                  </a:lnTo>
                  <a:cubicBezTo>
                    <a:pt x="1" y="750"/>
                    <a:pt x="84" y="822"/>
                    <a:pt x="167" y="822"/>
                  </a:cubicBezTo>
                  <a:cubicBezTo>
                    <a:pt x="263" y="822"/>
                    <a:pt x="334" y="750"/>
                    <a:pt x="334" y="655"/>
                  </a:cubicBezTo>
                  <a:lnTo>
                    <a:pt x="334" y="167"/>
                  </a:lnTo>
                  <a:cubicBezTo>
                    <a:pt x="334" y="83"/>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6" name="Google Shape;11026;p60"/>
            <p:cNvSpPr/>
            <p:nvPr/>
          </p:nvSpPr>
          <p:spPr>
            <a:xfrm>
              <a:off x="7641189" y="2595789"/>
              <a:ext cx="136826" cy="113147"/>
            </a:xfrm>
            <a:custGeom>
              <a:avLst/>
              <a:gdLst/>
              <a:ahLst/>
              <a:cxnLst/>
              <a:rect l="l" t="t" r="r" b="b"/>
              <a:pathLst>
                <a:path w="4299" h="3555" extrusionOk="0">
                  <a:moveTo>
                    <a:pt x="2156" y="1"/>
                  </a:moveTo>
                  <a:cubicBezTo>
                    <a:pt x="2072" y="1"/>
                    <a:pt x="2001" y="84"/>
                    <a:pt x="2001" y="167"/>
                  </a:cubicBezTo>
                  <a:lnTo>
                    <a:pt x="2001" y="2048"/>
                  </a:lnTo>
                  <a:lnTo>
                    <a:pt x="108" y="3251"/>
                  </a:lnTo>
                  <a:cubicBezTo>
                    <a:pt x="37" y="3299"/>
                    <a:pt x="1" y="3406"/>
                    <a:pt x="60" y="3477"/>
                  </a:cubicBezTo>
                  <a:cubicBezTo>
                    <a:pt x="91" y="3523"/>
                    <a:pt x="147" y="3555"/>
                    <a:pt x="202" y="3555"/>
                  </a:cubicBezTo>
                  <a:cubicBezTo>
                    <a:pt x="232" y="3555"/>
                    <a:pt x="261" y="3546"/>
                    <a:pt x="287" y="3525"/>
                  </a:cubicBezTo>
                  <a:lnTo>
                    <a:pt x="2156" y="2334"/>
                  </a:lnTo>
                  <a:lnTo>
                    <a:pt x="4037" y="3525"/>
                  </a:lnTo>
                  <a:cubicBezTo>
                    <a:pt x="4061" y="3537"/>
                    <a:pt x="4097" y="3549"/>
                    <a:pt x="4120" y="3549"/>
                  </a:cubicBezTo>
                  <a:cubicBezTo>
                    <a:pt x="4180" y="3549"/>
                    <a:pt x="4228" y="3525"/>
                    <a:pt x="4263" y="3477"/>
                  </a:cubicBezTo>
                  <a:cubicBezTo>
                    <a:pt x="4299" y="3406"/>
                    <a:pt x="4287" y="3299"/>
                    <a:pt x="4216" y="3251"/>
                  </a:cubicBezTo>
                  <a:lnTo>
                    <a:pt x="2323" y="2048"/>
                  </a:lnTo>
                  <a:lnTo>
                    <a:pt x="2323" y="167"/>
                  </a:lnTo>
                  <a:cubicBezTo>
                    <a:pt x="2323" y="84"/>
                    <a:pt x="2251" y="1"/>
                    <a:pt x="2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27" name="Google Shape;11027;p60"/>
          <p:cNvGrpSpPr/>
          <p:nvPr/>
        </p:nvGrpSpPr>
        <p:grpSpPr>
          <a:xfrm>
            <a:off x="5733194" y="2431718"/>
            <a:ext cx="446826" cy="327059"/>
            <a:chOff x="5733194" y="2431718"/>
            <a:chExt cx="446826" cy="327059"/>
          </a:xfrm>
        </p:grpSpPr>
        <p:sp>
          <p:nvSpPr>
            <p:cNvPr id="11028" name="Google Shape;11028;p60"/>
            <p:cNvSpPr/>
            <p:nvPr/>
          </p:nvSpPr>
          <p:spPr>
            <a:xfrm>
              <a:off x="6032946" y="2474145"/>
              <a:ext cx="56112" cy="20115"/>
            </a:xfrm>
            <a:custGeom>
              <a:avLst/>
              <a:gdLst/>
              <a:ahLst/>
              <a:cxnLst/>
              <a:rect l="l" t="t" r="r" b="b"/>
              <a:pathLst>
                <a:path w="1763" h="632" extrusionOk="0">
                  <a:moveTo>
                    <a:pt x="215" y="1"/>
                  </a:moveTo>
                  <a:cubicBezTo>
                    <a:pt x="96" y="1"/>
                    <a:pt x="1" y="96"/>
                    <a:pt x="1" y="215"/>
                  </a:cubicBezTo>
                  <a:cubicBezTo>
                    <a:pt x="1" y="334"/>
                    <a:pt x="96" y="417"/>
                    <a:pt x="215" y="417"/>
                  </a:cubicBezTo>
                  <a:cubicBezTo>
                    <a:pt x="441" y="417"/>
                    <a:pt x="1108" y="453"/>
                    <a:pt x="1429" y="620"/>
                  </a:cubicBezTo>
                  <a:cubicBezTo>
                    <a:pt x="1465" y="632"/>
                    <a:pt x="1489" y="632"/>
                    <a:pt x="1525" y="632"/>
                  </a:cubicBezTo>
                  <a:cubicBezTo>
                    <a:pt x="1596" y="632"/>
                    <a:pt x="1668" y="584"/>
                    <a:pt x="1703" y="513"/>
                  </a:cubicBezTo>
                  <a:cubicBezTo>
                    <a:pt x="1763" y="417"/>
                    <a:pt x="1727" y="298"/>
                    <a:pt x="1632" y="239"/>
                  </a:cubicBezTo>
                  <a:cubicBezTo>
                    <a:pt x="1156" y="1"/>
                    <a:pt x="263" y="1"/>
                    <a:pt x="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29" name="Google Shape;11029;p60"/>
            <p:cNvSpPr/>
            <p:nvPr/>
          </p:nvSpPr>
          <p:spPr>
            <a:xfrm>
              <a:off x="5733194" y="2431718"/>
              <a:ext cx="446826" cy="327059"/>
            </a:xfrm>
            <a:custGeom>
              <a:avLst/>
              <a:gdLst/>
              <a:ahLst/>
              <a:cxnLst/>
              <a:rect l="l" t="t" r="r" b="b"/>
              <a:pathLst>
                <a:path w="14039" h="10276" extrusionOk="0">
                  <a:moveTo>
                    <a:pt x="11621" y="655"/>
                  </a:moveTo>
                  <a:lnTo>
                    <a:pt x="11621" y="1500"/>
                  </a:lnTo>
                  <a:cubicBezTo>
                    <a:pt x="11621" y="1631"/>
                    <a:pt x="11598" y="1762"/>
                    <a:pt x="11538" y="1905"/>
                  </a:cubicBezTo>
                  <a:lnTo>
                    <a:pt x="11431" y="2108"/>
                  </a:lnTo>
                  <a:cubicBezTo>
                    <a:pt x="11419" y="2143"/>
                    <a:pt x="11419" y="2167"/>
                    <a:pt x="11419" y="2203"/>
                  </a:cubicBezTo>
                  <a:lnTo>
                    <a:pt x="11419" y="2631"/>
                  </a:lnTo>
                  <a:cubicBezTo>
                    <a:pt x="11419" y="2929"/>
                    <a:pt x="11300" y="3215"/>
                    <a:pt x="11074" y="3429"/>
                  </a:cubicBezTo>
                  <a:cubicBezTo>
                    <a:pt x="10858" y="3634"/>
                    <a:pt x="10599" y="3751"/>
                    <a:pt x="10317" y="3751"/>
                  </a:cubicBezTo>
                  <a:cubicBezTo>
                    <a:pt x="10303" y="3751"/>
                    <a:pt x="10290" y="3751"/>
                    <a:pt x="10276" y="3751"/>
                  </a:cubicBezTo>
                  <a:cubicBezTo>
                    <a:pt x="9657" y="3739"/>
                    <a:pt x="9181" y="3215"/>
                    <a:pt x="9181" y="2584"/>
                  </a:cubicBezTo>
                  <a:lnTo>
                    <a:pt x="9181" y="2203"/>
                  </a:lnTo>
                  <a:cubicBezTo>
                    <a:pt x="9181" y="2167"/>
                    <a:pt x="9181" y="2143"/>
                    <a:pt x="9169" y="2108"/>
                  </a:cubicBezTo>
                  <a:lnTo>
                    <a:pt x="9038" y="1857"/>
                  </a:lnTo>
                  <a:cubicBezTo>
                    <a:pt x="8990" y="1762"/>
                    <a:pt x="8966" y="1667"/>
                    <a:pt x="8966" y="1560"/>
                  </a:cubicBezTo>
                  <a:lnTo>
                    <a:pt x="8966" y="1548"/>
                  </a:lnTo>
                  <a:cubicBezTo>
                    <a:pt x="8966" y="1048"/>
                    <a:pt x="9359" y="655"/>
                    <a:pt x="9859" y="655"/>
                  </a:cubicBezTo>
                  <a:close/>
                  <a:moveTo>
                    <a:pt x="4156" y="429"/>
                  </a:moveTo>
                  <a:cubicBezTo>
                    <a:pt x="4513" y="429"/>
                    <a:pt x="4823" y="560"/>
                    <a:pt x="5061" y="822"/>
                  </a:cubicBezTo>
                  <a:cubicBezTo>
                    <a:pt x="5299" y="1072"/>
                    <a:pt x="5442" y="1417"/>
                    <a:pt x="5478" y="1786"/>
                  </a:cubicBezTo>
                  <a:cubicBezTo>
                    <a:pt x="5513" y="2215"/>
                    <a:pt x="5656" y="3108"/>
                    <a:pt x="5847" y="3643"/>
                  </a:cubicBezTo>
                  <a:lnTo>
                    <a:pt x="5835" y="3643"/>
                  </a:lnTo>
                  <a:cubicBezTo>
                    <a:pt x="5525" y="3762"/>
                    <a:pt x="4882" y="3941"/>
                    <a:pt x="4132" y="3941"/>
                  </a:cubicBezTo>
                  <a:cubicBezTo>
                    <a:pt x="4077" y="3944"/>
                    <a:pt x="4021" y="3945"/>
                    <a:pt x="3967" y="3945"/>
                  </a:cubicBezTo>
                  <a:cubicBezTo>
                    <a:pt x="3330" y="3945"/>
                    <a:pt x="2762" y="3765"/>
                    <a:pt x="2477" y="3655"/>
                  </a:cubicBezTo>
                  <a:cubicBezTo>
                    <a:pt x="2656" y="3108"/>
                    <a:pt x="2799" y="2215"/>
                    <a:pt x="2835" y="1786"/>
                  </a:cubicBezTo>
                  <a:cubicBezTo>
                    <a:pt x="2858" y="1417"/>
                    <a:pt x="3013" y="1072"/>
                    <a:pt x="3251" y="822"/>
                  </a:cubicBezTo>
                  <a:cubicBezTo>
                    <a:pt x="3501" y="560"/>
                    <a:pt x="3811" y="429"/>
                    <a:pt x="4156" y="429"/>
                  </a:cubicBezTo>
                  <a:close/>
                  <a:moveTo>
                    <a:pt x="10752" y="4096"/>
                  </a:moveTo>
                  <a:cubicBezTo>
                    <a:pt x="10752" y="4155"/>
                    <a:pt x="10764" y="4215"/>
                    <a:pt x="10776" y="4274"/>
                  </a:cubicBezTo>
                  <a:lnTo>
                    <a:pt x="10609" y="4429"/>
                  </a:lnTo>
                  <a:cubicBezTo>
                    <a:pt x="10526" y="4524"/>
                    <a:pt x="10419" y="4572"/>
                    <a:pt x="10300" y="4572"/>
                  </a:cubicBezTo>
                  <a:cubicBezTo>
                    <a:pt x="10181" y="4572"/>
                    <a:pt x="10062" y="4524"/>
                    <a:pt x="9990" y="4429"/>
                  </a:cubicBezTo>
                  <a:lnTo>
                    <a:pt x="9823" y="4274"/>
                  </a:lnTo>
                  <a:cubicBezTo>
                    <a:pt x="9835" y="4215"/>
                    <a:pt x="9859" y="4155"/>
                    <a:pt x="9859" y="4096"/>
                  </a:cubicBezTo>
                  <a:cubicBezTo>
                    <a:pt x="9990" y="4132"/>
                    <a:pt x="10121" y="4167"/>
                    <a:pt x="10252" y="4167"/>
                  </a:cubicBezTo>
                  <a:lnTo>
                    <a:pt x="10300" y="4167"/>
                  </a:lnTo>
                  <a:cubicBezTo>
                    <a:pt x="10455" y="4167"/>
                    <a:pt x="10609" y="4132"/>
                    <a:pt x="10752" y="4096"/>
                  </a:cubicBezTo>
                  <a:close/>
                  <a:moveTo>
                    <a:pt x="4692" y="4358"/>
                  </a:moveTo>
                  <a:cubicBezTo>
                    <a:pt x="4763" y="4524"/>
                    <a:pt x="4918" y="4644"/>
                    <a:pt x="5097" y="4691"/>
                  </a:cubicBezTo>
                  <a:lnTo>
                    <a:pt x="5835" y="4894"/>
                  </a:lnTo>
                  <a:cubicBezTo>
                    <a:pt x="6025" y="4953"/>
                    <a:pt x="6168" y="5132"/>
                    <a:pt x="6168" y="5322"/>
                  </a:cubicBezTo>
                  <a:lnTo>
                    <a:pt x="6168" y="7251"/>
                  </a:lnTo>
                  <a:cubicBezTo>
                    <a:pt x="6168" y="7501"/>
                    <a:pt x="5954" y="7692"/>
                    <a:pt x="5716" y="7692"/>
                  </a:cubicBezTo>
                  <a:lnTo>
                    <a:pt x="5704" y="7692"/>
                  </a:lnTo>
                  <a:lnTo>
                    <a:pt x="5704" y="6144"/>
                  </a:lnTo>
                  <a:cubicBezTo>
                    <a:pt x="5668" y="5787"/>
                    <a:pt x="5394" y="5501"/>
                    <a:pt x="5025" y="5501"/>
                  </a:cubicBezTo>
                  <a:lnTo>
                    <a:pt x="3275" y="5501"/>
                  </a:lnTo>
                  <a:cubicBezTo>
                    <a:pt x="2918" y="5501"/>
                    <a:pt x="2632" y="5787"/>
                    <a:pt x="2632" y="6144"/>
                  </a:cubicBezTo>
                  <a:lnTo>
                    <a:pt x="2632" y="7692"/>
                  </a:lnTo>
                  <a:lnTo>
                    <a:pt x="2620" y="7692"/>
                  </a:lnTo>
                  <a:cubicBezTo>
                    <a:pt x="2370" y="7692"/>
                    <a:pt x="2180" y="7489"/>
                    <a:pt x="2180" y="7251"/>
                  </a:cubicBezTo>
                  <a:lnTo>
                    <a:pt x="2180" y="5322"/>
                  </a:lnTo>
                  <a:cubicBezTo>
                    <a:pt x="2180" y="5132"/>
                    <a:pt x="2311" y="4941"/>
                    <a:pt x="2501" y="4894"/>
                  </a:cubicBezTo>
                  <a:lnTo>
                    <a:pt x="3251" y="4691"/>
                  </a:lnTo>
                  <a:cubicBezTo>
                    <a:pt x="3430" y="4644"/>
                    <a:pt x="3561" y="4524"/>
                    <a:pt x="3644" y="4358"/>
                  </a:cubicBezTo>
                  <a:cubicBezTo>
                    <a:pt x="3811" y="4370"/>
                    <a:pt x="3989" y="4394"/>
                    <a:pt x="4168" y="4394"/>
                  </a:cubicBezTo>
                  <a:cubicBezTo>
                    <a:pt x="4347" y="4394"/>
                    <a:pt x="4525" y="4370"/>
                    <a:pt x="4692" y="4358"/>
                  </a:cubicBezTo>
                  <a:close/>
                  <a:moveTo>
                    <a:pt x="10526" y="5906"/>
                  </a:moveTo>
                  <a:cubicBezTo>
                    <a:pt x="10538" y="5906"/>
                    <a:pt x="10538" y="5906"/>
                    <a:pt x="10538" y="5918"/>
                  </a:cubicBezTo>
                  <a:lnTo>
                    <a:pt x="10538" y="7680"/>
                  </a:lnTo>
                  <a:cubicBezTo>
                    <a:pt x="10538" y="7692"/>
                    <a:pt x="10538" y="7692"/>
                    <a:pt x="10526" y="7692"/>
                  </a:cubicBezTo>
                  <a:lnTo>
                    <a:pt x="7895" y="7692"/>
                  </a:lnTo>
                  <a:cubicBezTo>
                    <a:pt x="7871" y="7692"/>
                    <a:pt x="7871" y="7692"/>
                    <a:pt x="7871" y="7680"/>
                  </a:cubicBezTo>
                  <a:lnTo>
                    <a:pt x="7871" y="5918"/>
                  </a:lnTo>
                  <a:lnTo>
                    <a:pt x="10526" y="5906"/>
                  </a:lnTo>
                  <a:close/>
                  <a:moveTo>
                    <a:pt x="11050" y="4596"/>
                  </a:moveTo>
                  <a:lnTo>
                    <a:pt x="11228" y="4691"/>
                  </a:lnTo>
                  <a:lnTo>
                    <a:pt x="11967" y="4894"/>
                  </a:lnTo>
                  <a:cubicBezTo>
                    <a:pt x="12157" y="4953"/>
                    <a:pt x="12300" y="5132"/>
                    <a:pt x="12300" y="5322"/>
                  </a:cubicBezTo>
                  <a:lnTo>
                    <a:pt x="12300" y="7251"/>
                  </a:lnTo>
                  <a:cubicBezTo>
                    <a:pt x="12300" y="7501"/>
                    <a:pt x="12086" y="7692"/>
                    <a:pt x="11848" y="7692"/>
                  </a:cubicBezTo>
                  <a:lnTo>
                    <a:pt x="10955" y="7692"/>
                  </a:lnTo>
                  <a:lnTo>
                    <a:pt x="10955" y="7680"/>
                  </a:lnTo>
                  <a:lnTo>
                    <a:pt x="10955" y="7227"/>
                  </a:lnTo>
                  <a:lnTo>
                    <a:pt x="11621" y="7227"/>
                  </a:lnTo>
                  <a:cubicBezTo>
                    <a:pt x="11740" y="7227"/>
                    <a:pt x="11836" y="7144"/>
                    <a:pt x="11836" y="7025"/>
                  </a:cubicBezTo>
                  <a:lnTo>
                    <a:pt x="11836" y="5715"/>
                  </a:lnTo>
                  <a:cubicBezTo>
                    <a:pt x="11836" y="5596"/>
                    <a:pt x="11740" y="5501"/>
                    <a:pt x="11621" y="5501"/>
                  </a:cubicBezTo>
                  <a:cubicBezTo>
                    <a:pt x="11502" y="5501"/>
                    <a:pt x="11419" y="5596"/>
                    <a:pt x="11419" y="5715"/>
                  </a:cubicBezTo>
                  <a:lnTo>
                    <a:pt x="11419" y="6834"/>
                  </a:lnTo>
                  <a:lnTo>
                    <a:pt x="10955" y="6834"/>
                  </a:lnTo>
                  <a:lnTo>
                    <a:pt x="10955" y="5941"/>
                  </a:lnTo>
                  <a:cubicBezTo>
                    <a:pt x="10955" y="5691"/>
                    <a:pt x="10764" y="5525"/>
                    <a:pt x="10538" y="5525"/>
                  </a:cubicBezTo>
                  <a:lnTo>
                    <a:pt x="8335" y="5525"/>
                  </a:lnTo>
                  <a:lnTo>
                    <a:pt x="8335" y="5322"/>
                  </a:lnTo>
                  <a:lnTo>
                    <a:pt x="8299" y="5322"/>
                  </a:lnTo>
                  <a:cubicBezTo>
                    <a:pt x="8299" y="5132"/>
                    <a:pt x="8442" y="4941"/>
                    <a:pt x="8633" y="4894"/>
                  </a:cubicBezTo>
                  <a:lnTo>
                    <a:pt x="9383" y="4691"/>
                  </a:lnTo>
                  <a:cubicBezTo>
                    <a:pt x="9442" y="4667"/>
                    <a:pt x="9490" y="4644"/>
                    <a:pt x="9562" y="4596"/>
                  </a:cubicBezTo>
                  <a:lnTo>
                    <a:pt x="9693" y="4727"/>
                  </a:lnTo>
                  <a:cubicBezTo>
                    <a:pt x="9859" y="4894"/>
                    <a:pt x="10062" y="4989"/>
                    <a:pt x="10300" y="4989"/>
                  </a:cubicBezTo>
                  <a:cubicBezTo>
                    <a:pt x="10526" y="4989"/>
                    <a:pt x="10752" y="4894"/>
                    <a:pt x="10907" y="4727"/>
                  </a:cubicBezTo>
                  <a:lnTo>
                    <a:pt x="11050" y="4596"/>
                  </a:lnTo>
                  <a:close/>
                  <a:moveTo>
                    <a:pt x="2632" y="8108"/>
                  </a:moveTo>
                  <a:lnTo>
                    <a:pt x="2632" y="8573"/>
                  </a:lnTo>
                  <a:lnTo>
                    <a:pt x="846" y="8573"/>
                  </a:lnTo>
                  <a:lnTo>
                    <a:pt x="846" y="8108"/>
                  </a:lnTo>
                  <a:close/>
                  <a:moveTo>
                    <a:pt x="13157" y="8108"/>
                  </a:moveTo>
                  <a:lnTo>
                    <a:pt x="13157" y="8573"/>
                  </a:lnTo>
                  <a:lnTo>
                    <a:pt x="5668" y="8573"/>
                  </a:lnTo>
                  <a:lnTo>
                    <a:pt x="5668" y="8108"/>
                  </a:lnTo>
                  <a:close/>
                  <a:moveTo>
                    <a:pt x="5049" y="5906"/>
                  </a:moveTo>
                  <a:cubicBezTo>
                    <a:pt x="5180" y="5906"/>
                    <a:pt x="5287" y="6013"/>
                    <a:pt x="5287" y="6144"/>
                  </a:cubicBezTo>
                  <a:lnTo>
                    <a:pt x="5287" y="9001"/>
                  </a:lnTo>
                  <a:lnTo>
                    <a:pt x="3049" y="9001"/>
                  </a:lnTo>
                  <a:lnTo>
                    <a:pt x="3049" y="6144"/>
                  </a:lnTo>
                  <a:cubicBezTo>
                    <a:pt x="3049" y="6013"/>
                    <a:pt x="3156" y="5906"/>
                    <a:pt x="3287" y="5906"/>
                  </a:cubicBezTo>
                  <a:close/>
                  <a:moveTo>
                    <a:pt x="4168" y="0"/>
                  </a:moveTo>
                  <a:cubicBezTo>
                    <a:pt x="3239" y="0"/>
                    <a:pt x="2501" y="738"/>
                    <a:pt x="2430" y="1738"/>
                  </a:cubicBezTo>
                  <a:cubicBezTo>
                    <a:pt x="2394" y="2155"/>
                    <a:pt x="2263" y="2989"/>
                    <a:pt x="2084" y="3477"/>
                  </a:cubicBezTo>
                  <a:cubicBezTo>
                    <a:pt x="2037" y="3584"/>
                    <a:pt x="2049" y="3703"/>
                    <a:pt x="2096" y="3810"/>
                  </a:cubicBezTo>
                  <a:cubicBezTo>
                    <a:pt x="2144" y="3905"/>
                    <a:pt x="2239" y="3989"/>
                    <a:pt x="2334" y="4024"/>
                  </a:cubicBezTo>
                  <a:cubicBezTo>
                    <a:pt x="2513" y="4084"/>
                    <a:pt x="2811" y="4179"/>
                    <a:pt x="3156" y="4251"/>
                  </a:cubicBezTo>
                  <a:cubicBezTo>
                    <a:pt x="3144" y="4251"/>
                    <a:pt x="3144" y="4251"/>
                    <a:pt x="3120" y="4263"/>
                  </a:cubicBezTo>
                  <a:lnTo>
                    <a:pt x="2382" y="4477"/>
                  </a:lnTo>
                  <a:cubicBezTo>
                    <a:pt x="2013" y="4584"/>
                    <a:pt x="1751" y="4917"/>
                    <a:pt x="1751" y="5310"/>
                  </a:cubicBezTo>
                  <a:lnTo>
                    <a:pt x="1751" y="7227"/>
                  </a:lnTo>
                  <a:cubicBezTo>
                    <a:pt x="1751" y="7394"/>
                    <a:pt x="1799" y="7561"/>
                    <a:pt x="1894" y="7680"/>
                  </a:cubicBezTo>
                  <a:lnTo>
                    <a:pt x="203" y="7680"/>
                  </a:lnTo>
                  <a:cubicBezTo>
                    <a:pt x="84" y="7680"/>
                    <a:pt x="1" y="7763"/>
                    <a:pt x="1" y="7882"/>
                  </a:cubicBezTo>
                  <a:cubicBezTo>
                    <a:pt x="1" y="8001"/>
                    <a:pt x="84" y="8096"/>
                    <a:pt x="203" y="8096"/>
                  </a:cubicBezTo>
                  <a:lnTo>
                    <a:pt x="441" y="8096"/>
                  </a:lnTo>
                  <a:lnTo>
                    <a:pt x="441" y="10073"/>
                  </a:lnTo>
                  <a:cubicBezTo>
                    <a:pt x="441" y="10192"/>
                    <a:pt x="537" y="10275"/>
                    <a:pt x="656" y="10275"/>
                  </a:cubicBezTo>
                  <a:cubicBezTo>
                    <a:pt x="775" y="10275"/>
                    <a:pt x="858" y="10192"/>
                    <a:pt x="858" y="10073"/>
                  </a:cubicBezTo>
                  <a:lnTo>
                    <a:pt x="858" y="8954"/>
                  </a:lnTo>
                  <a:lnTo>
                    <a:pt x="2644" y="8954"/>
                  </a:lnTo>
                  <a:lnTo>
                    <a:pt x="2644" y="10073"/>
                  </a:lnTo>
                  <a:cubicBezTo>
                    <a:pt x="2644" y="10192"/>
                    <a:pt x="2739" y="10275"/>
                    <a:pt x="2858" y="10275"/>
                  </a:cubicBezTo>
                  <a:cubicBezTo>
                    <a:pt x="2977" y="10275"/>
                    <a:pt x="3073" y="10192"/>
                    <a:pt x="3073" y="10073"/>
                  </a:cubicBezTo>
                  <a:lnTo>
                    <a:pt x="3073" y="9406"/>
                  </a:lnTo>
                  <a:lnTo>
                    <a:pt x="5287" y="9406"/>
                  </a:lnTo>
                  <a:lnTo>
                    <a:pt x="5287" y="10073"/>
                  </a:lnTo>
                  <a:cubicBezTo>
                    <a:pt x="5287" y="10192"/>
                    <a:pt x="5371" y="10275"/>
                    <a:pt x="5490" y="10275"/>
                  </a:cubicBezTo>
                  <a:cubicBezTo>
                    <a:pt x="5609" y="10275"/>
                    <a:pt x="5704" y="10192"/>
                    <a:pt x="5704" y="10073"/>
                  </a:cubicBezTo>
                  <a:lnTo>
                    <a:pt x="5704" y="8954"/>
                  </a:lnTo>
                  <a:lnTo>
                    <a:pt x="13169" y="8954"/>
                  </a:lnTo>
                  <a:lnTo>
                    <a:pt x="13169" y="10073"/>
                  </a:lnTo>
                  <a:cubicBezTo>
                    <a:pt x="13169" y="10192"/>
                    <a:pt x="13264" y="10275"/>
                    <a:pt x="13383" y="10275"/>
                  </a:cubicBezTo>
                  <a:cubicBezTo>
                    <a:pt x="13503" y="10275"/>
                    <a:pt x="13586" y="10192"/>
                    <a:pt x="13586" y="10073"/>
                  </a:cubicBezTo>
                  <a:lnTo>
                    <a:pt x="13586" y="8096"/>
                  </a:lnTo>
                  <a:lnTo>
                    <a:pt x="13824" y="8096"/>
                  </a:lnTo>
                  <a:cubicBezTo>
                    <a:pt x="13943" y="8096"/>
                    <a:pt x="14038" y="8001"/>
                    <a:pt x="14038" y="7882"/>
                  </a:cubicBezTo>
                  <a:cubicBezTo>
                    <a:pt x="14003" y="7787"/>
                    <a:pt x="13919" y="7692"/>
                    <a:pt x="13800" y="7692"/>
                  </a:cubicBezTo>
                  <a:lnTo>
                    <a:pt x="12562" y="7692"/>
                  </a:lnTo>
                  <a:cubicBezTo>
                    <a:pt x="12633" y="7561"/>
                    <a:pt x="12693" y="7406"/>
                    <a:pt x="12693" y="7251"/>
                  </a:cubicBezTo>
                  <a:lnTo>
                    <a:pt x="12693" y="5322"/>
                  </a:lnTo>
                  <a:cubicBezTo>
                    <a:pt x="12693" y="4941"/>
                    <a:pt x="12443" y="4596"/>
                    <a:pt x="12074" y="4489"/>
                  </a:cubicBezTo>
                  <a:lnTo>
                    <a:pt x="11324" y="4286"/>
                  </a:lnTo>
                  <a:cubicBezTo>
                    <a:pt x="11228" y="4251"/>
                    <a:pt x="11169" y="4167"/>
                    <a:pt x="11169" y="4060"/>
                  </a:cubicBezTo>
                  <a:lnTo>
                    <a:pt x="11169" y="3893"/>
                  </a:lnTo>
                  <a:cubicBezTo>
                    <a:pt x="11240" y="3858"/>
                    <a:pt x="11300" y="3798"/>
                    <a:pt x="11359" y="3739"/>
                  </a:cubicBezTo>
                  <a:cubicBezTo>
                    <a:pt x="11657" y="3453"/>
                    <a:pt x="11824" y="3060"/>
                    <a:pt x="11824" y="2643"/>
                  </a:cubicBezTo>
                  <a:lnTo>
                    <a:pt x="11824" y="2262"/>
                  </a:lnTo>
                  <a:lnTo>
                    <a:pt x="11895" y="2096"/>
                  </a:lnTo>
                  <a:cubicBezTo>
                    <a:pt x="11979" y="1917"/>
                    <a:pt x="12026" y="1703"/>
                    <a:pt x="12026" y="1512"/>
                  </a:cubicBezTo>
                  <a:lnTo>
                    <a:pt x="12026" y="453"/>
                  </a:lnTo>
                  <a:cubicBezTo>
                    <a:pt x="12026" y="333"/>
                    <a:pt x="11943" y="250"/>
                    <a:pt x="11824" y="250"/>
                  </a:cubicBezTo>
                  <a:lnTo>
                    <a:pt x="9859" y="250"/>
                  </a:lnTo>
                  <a:cubicBezTo>
                    <a:pt x="9145" y="250"/>
                    <a:pt x="8561" y="834"/>
                    <a:pt x="8561" y="1548"/>
                  </a:cubicBezTo>
                  <a:lnTo>
                    <a:pt x="8561" y="1560"/>
                  </a:lnTo>
                  <a:cubicBezTo>
                    <a:pt x="8561" y="1727"/>
                    <a:pt x="8597" y="1881"/>
                    <a:pt x="8680" y="2036"/>
                  </a:cubicBezTo>
                  <a:lnTo>
                    <a:pt x="8788" y="2238"/>
                  </a:lnTo>
                  <a:lnTo>
                    <a:pt x="8788" y="2572"/>
                  </a:lnTo>
                  <a:cubicBezTo>
                    <a:pt x="8788" y="3108"/>
                    <a:pt x="9050" y="3584"/>
                    <a:pt x="9442" y="3870"/>
                  </a:cubicBezTo>
                  <a:lnTo>
                    <a:pt x="9442" y="4048"/>
                  </a:lnTo>
                  <a:cubicBezTo>
                    <a:pt x="9442" y="4143"/>
                    <a:pt x="9359" y="4239"/>
                    <a:pt x="9276" y="4263"/>
                  </a:cubicBezTo>
                  <a:lnTo>
                    <a:pt x="8526" y="4477"/>
                  </a:lnTo>
                  <a:cubicBezTo>
                    <a:pt x="8157" y="4584"/>
                    <a:pt x="7907" y="4917"/>
                    <a:pt x="7907" y="5310"/>
                  </a:cubicBezTo>
                  <a:lnTo>
                    <a:pt x="7907" y="5489"/>
                  </a:lnTo>
                  <a:lnTo>
                    <a:pt x="7895" y="5489"/>
                  </a:lnTo>
                  <a:cubicBezTo>
                    <a:pt x="7657" y="5489"/>
                    <a:pt x="7478" y="5679"/>
                    <a:pt x="7478" y="5906"/>
                  </a:cubicBezTo>
                  <a:lnTo>
                    <a:pt x="7478" y="7656"/>
                  </a:lnTo>
                  <a:lnTo>
                    <a:pt x="7478" y="7680"/>
                  </a:lnTo>
                  <a:lnTo>
                    <a:pt x="6442" y="7680"/>
                  </a:lnTo>
                  <a:cubicBezTo>
                    <a:pt x="6525" y="7537"/>
                    <a:pt x="6585" y="7394"/>
                    <a:pt x="6585" y="7227"/>
                  </a:cubicBezTo>
                  <a:lnTo>
                    <a:pt x="6585" y="5310"/>
                  </a:lnTo>
                  <a:cubicBezTo>
                    <a:pt x="6585" y="4917"/>
                    <a:pt x="6323" y="4584"/>
                    <a:pt x="5954" y="4477"/>
                  </a:cubicBezTo>
                  <a:lnTo>
                    <a:pt x="5216" y="4263"/>
                  </a:lnTo>
                  <a:cubicBezTo>
                    <a:pt x="5192" y="4263"/>
                    <a:pt x="5192" y="4263"/>
                    <a:pt x="5180" y="4251"/>
                  </a:cubicBezTo>
                  <a:cubicBezTo>
                    <a:pt x="5537" y="4179"/>
                    <a:pt x="5823" y="4084"/>
                    <a:pt x="6002" y="4024"/>
                  </a:cubicBezTo>
                  <a:cubicBezTo>
                    <a:pt x="6109" y="3989"/>
                    <a:pt x="6192" y="3905"/>
                    <a:pt x="6240" y="3810"/>
                  </a:cubicBezTo>
                  <a:cubicBezTo>
                    <a:pt x="6287" y="3703"/>
                    <a:pt x="6299" y="3596"/>
                    <a:pt x="6252" y="3477"/>
                  </a:cubicBezTo>
                  <a:cubicBezTo>
                    <a:pt x="6073" y="2977"/>
                    <a:pt x="5942" y="2143"/>
                    <a:pt x="5906" y="1738"/>
                  </a:cubicBezTo>
                  <a:cubicBezTo>
                    <a:pt x="5835" y="738"/>
                    <a:pt x="5097"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0" name="Google Shape;11030;p60"/>
            <p:cNvSpPr/>
            <p:nvPr/>
          </p:nvSpPr>
          <p:spPr>
            <a:xfrm>
              <a:off x="6019323" y="2641653"/>
              <a:ext cx="13272" cy="13272"/>
            </a:xfrm>
            <a:custGeom>
              <a:avLst/>
              <a:gdLst/>
              <a:ahLst/>
              <a:cxnLst/>
              <a:rect l="l" t="t" r="r" b="b"/>
              <a:pathLst>
                <a:path w="417" h="417" extrusionOk="0">
                  <a:moveTo>
                    <a:pt x="202" y="0"/>
                  </a:moveTo>
                  <a:cubicBezTo>
                    <a:pt x="95" y="0"/>
                    <a:pt x="0" y="84"/>
                    <a:pt x="0" y="203"/>
                  </a:cubicBezTo>
                  <a:cubicBezTo>
                    <a:pt x="0" y="322"/>
                    <a:pt x="95" y="417"/>
                    <a:pt x="202" y="417"/>
                  </a:cubicBezTo>
                  <a:cubicBezTo>
                    <a:pt x="322" y="417"/>
                    <a:pt x="417" y="322"/>
                    <a:pt x="417" y="203"/>
                  </a:cubicBezTo>
                  <a:cubicBezTo>
                    <a:pt x="417" y="84"/>
                    <a:pt x="322" y="0"/>
                    <a:pt x="2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31" name="Google Shape;11031;p60"/>
          <p:cNvGrpSpPr/>
          <p:nvPr/>
        </p:nvGrpSpPr>
        <p:grpSpPr>
          <a:xfrm>
            <a:off x="4876780" y="2418064"/>
            <a:ext cx="407774" cy="356627"/>
            <a:chOff x="4876780" y="2418064"/>
            <a:chExt cx="407774" cy="356627"/>
          </a:xfrm>
        </p:grpSpPr>
        <p:sp>
          <p:nvSpPr>
            <p:cNvPr id="11032" name="Google Shape;11032;p60"/>
            <p:cNvSpPr/>
            <p:nvPr/>
          </p:nvSpPr>
          <p:spPr>
            <a:xfrm>
              <a:off x="4876780" y="2455589"/>
              <a:ext cx="407774" cy="319103"/>
            </a:xfrm>
            <a:custGeom>
              <a:avLst/>
              <a:gdLst/>
              <a:ahLst/>
              <a:cxnLst/>
              <a:rect l="l" t="t" r="r" b="b"/>
              <a:pathLst>
                <a:path w="12812" h="10026" extrusionOk="0">
                  <a:moveTo>
                    <a:pt x="3608" y="393"/>
                  </a:moveTo>
                  <a:cubicBezTo>
                    <a:pt x="3942" y="393"/>
                    <a:pt x="4216" y="619"/>
                    <a:pt x="4216" y="905"/>
                  </a:cubicBezTo>
                  <a:lnTo>
                    <a:pt x="4216" y="929"/>
                  </a:lnTo>
                  <a:cubicBezTo>
                    <a:pt x="4025" y="857"/>
                    <a:pt x="3811" y="810"/>
                    <a:pt x="3608" y="810"/>
                  </a:cubicBezTo>
                  <a:cubicBezTo>
                    <a:pt x="3382" y="810"/>
                    <a:pt x="3192" y="857"/>
                    <a:pt x="2989" y="929"/>
                  </a:cubicBezTo>
                  <a:lnTo>
                    <a:pt x="2989" y="905"/>
                  </a:lnTo>
                  <a:cubicBezTo>
                    <a:pt x="2989" y="619"/>
                    <a:pt x="3275" y="393"/>
                    <a:pt x="3608" y="393"/>
                  </a:cubicBezTo>
                  <a:close/>
                  <a:moveTo>
                    <a:pt x="3620" y="1179"/>
                  </a:moveTo>
                  <a:cubicBezTo>
                    <a:pt x="4287" y="1179"/>
                    <a:pt x="4835" y="1739"/>
                    <a:pt x="4835" y="2405"/>
                  </a:cubicBezTo>
                  <a:cubicBezTo>
                    <a:pt x="4835" y="2536"/>
                    <a:pt x="4823" y="2655"/>
                    <a:pt x="4775" y="2774"/>
                  </a:cubicBezTo>
                  <a:cubicBezTo>
                    <a:pt x="4239" y="2239"/>
                    <a:pt x="3299" y="2012"/>
                    <a:pt x="3263" y="2012"/>
                  </a:cubicBezTo>
                  <a:cubicBezTo>
                    <a:pt x="3248" y="2009"/>
                    <a:pt x="3233" y="2008"/>
                    <a:pt x="3219" y="2008"/>
                  </a:cubicBezTo>
                  <a:cubicBezTo>
                    <a:pt x="3174" y="2008"/>
                    <a:pt x="3132" y="2021"/>
                    <a:pt x="3096" y="2048"/>
                  </a:cubicBezTo>
                  <a:cubicBezTo>
                    <a:pt x="3049" y="2072"/>
                    <a:pt x="3025" y="2131"/>
                    <a:pt x="3037" y="2191"/>
                  </a:cubicBezTo>
                  <a:cubicBezTo>
                    <a:pt x="3037" y="2215"/>
                    <a:pt x="3025" y="2322"/>
                    <a:pt x="2882" y="2465"/>
                  </a:cubicBezTo>
                  <a:cubicBezTo>
                    <a:pt x="2811" y="2536"/>
                    <a:pt x="2811" y="2655"/>
                    <a:pt x="2882" y="2727"/>
                  </a:cubicBezTo>
                  <a:cubicBezTo>
                    <a:pt x="2924" y="2768"/>
                    <a:pt x="2974" y="2789"/>
                    <a:pt x="3023" y="2789"/>
                  </a:cubicBezTo>
                  <a:cubicBezTo>
                    <a:pt x="3073" y="2789"/>
                    <a:pt x="3120" y="2768"/>
                    <a:pt x="3156" y="2727"/>
                  </a:cubicBezTo>
                  <a:cubicBezTo>
                    <a:pt x="3263" y="2631"/>
                    <a:pt x="3323" y="2524"/>
                    <a:pt x="3358" y="2429"/>
                  </a:cubicBezTo>
                  <a:cubicBezTo>
                    <a:pt x="3680" y="2524"/>
                    <a:pt x="4335" y="2762"/>
                    <a:pt x="4632" y="3179"/>
                  </a:cubicBezTo>
                  <a:cubicBezTo>
                    <a:pt x="4537" y="3655"/>
                    <a:pt x="4120" y="4013"/>
                    <a:pt x="3632" y="4013"/>
                  </a:cubicBezTo>
                  <a:cubicBezTo>
                    <a:pt x="3624" y="4013"/>
                    <a:pt x="3616" y="4013"/>
                    <a:pt x="3608" y="4013"/>
                  </a:cubicBezTo>
                  <a:cubicBezTo>
                    <a:pt x="3083" y="4013"/>
                    <a:pt x="2655" y="3636"/>
                    <a:pt x="2608" y="3120"/>
                  </a:cubicBezTo>
                  <a:cubicBezTo>
                    <a:pt x="2608" y="3084"/>
                    <a:pt x="2596" y="3060"/>
                    <a:pt x="2572" y="3048"/>
                  </a:cubicBezTo>
                  <a:cubicBezTo>
                    <a:pt x="2453" y="2846"/>
                    <a:pt x="2394" y="2631"/>
                    <a:pt x="2394" y="2405"/>
                  </a:cubicBezTo>
                  <a:cubicBezTo>
                    <a:pt x="2394" y="1739"/>
                    <a:pt x="2953" y="1179"/>
                    <a:pt x="3620" y="1179"/>
                  </a:cubicBezTo>
                  <a:close/>
                  <a:moveTo>
                    <a:pt x="4013" y="4334"/>
                  </a:moveTo>
                  <a:lnTo>
                    <a:pt x="4013" y="4536"/>
                  </a:lnTo>
                  <a:cubicBezTo>
                    <a:pt x="4025" y="4596"/>
                    <a:pt x="4037" y="4667"/>
                    <a:pt x="4061" y="4715"/>
                  </a:cubicBezTo>
                  <a:lnTo>
                    <a:pt x="3882" y="4870"/>
                  </a:lnTo>
                  <a:cubicBezTo>
                    <a:pt x="3805" y="4947"/>
                    <a:pt x="3701" y="4986"/>
                    <a:pt x="3598" y="4986"/>
                  </a:cubicBezTo>
                  <a:cubicBezTo>
                    <a:pt x="3495" y="4986"/>
                    <a:pt x="3394" y="4947"/>
                    <a:pt x="3323" y="4870"/>
                  </a:cubicBezTo>
                  <a:lnTo>
                    <a:pt x="3144" y="4715"/>
                  </a:lnTo>
                  <a:cubicBezTo>
                    <a:pt x="3168" y="4656"/>
                    <a:pt x="3180" y="4596"/>
                    <a:pt x="3180" y="4536"/>
                  </a:cubicBezTo>
                  <a:lnTo>
                    <a:pt x="3180" y="4334"/>
                  </a:lnTo>
                  <a:cubicBezTo>
                    <a:pt x="3323" y="4382"/>
                    <a:pt x="3454" y="4394"/>
                    <a:pt x="3596" y="4394"/>
                  </a:cubicBezTo>
                  <a:cubicBezTo>
                    <a:pt x="3751" y="4394"/>
                    <a:pt x="3882" y="4382"/>
                    <a:pt x="4013" y="4334"/>
                  </a:cubicBezTo>
                  <a:close/>
                  <a:moveTo>
                    <a:pt x="6013" y="5977"/>
                  </a:moveTo>
                  <a:lnTo>
                    <a:pt x="6013" y="5989"/>
                  </a:lnTo>
                  <a:lnTo>
                    <a:pt x="6025" y="7596"/>
                  </a:lnTo>
                  <a:cubicBezTo>
                    <a:pt x="6025" y="7596"/>
                    <a:pt x="6025" y="7608"/>
                    <a:pt x="6013" y="7608"/>
                  </a:cubicBezTo>
                  <a:lnTo>
                    <a:pt x="3620" y="7608"/>
                  </a:lnTo>
                  <a:cubicBezTo>
                    <a:pt x="3620" y="7608"/>
                    <a:pt x="3608" y="7608"/>
                    <a:pt x="3608" y="7596"/>
                  </a:cubicBezTo>
                  <a:lnTo>
                    <a:pt x="3608" y="5989"/>
                  </a:lnTo>
                  <a:cubicBezTo>
                    <a:pt x="3608" y="5989"/>
                    <a:pt x="3608" y="5977"/>
                    <a:pt x="3620" y="5977"/>
                  </a:cubicBezTo>
                  <a:close/>
                  <a:moveTo>
                    <a:pt x="4358" y="4941"/>
                  </a:moveTo>
                  <a:lnTo>
                    <a:pt x="4989" y="5263"/>
                  </a:lnTo>
                  <a:cubicBezTo>
                    <a:pt x="5120" y="5334"/>
                    <a:pt x="5216" y="5465"/>
                    <a:pt x="5216" y="5620"/>
                  </a:cubicBezTo>
                  <a:lnTo>
                    <a:pt x="3608" y="5620"/>
                  </a:lnTo>
                  <a:cubicBezTo>
                    <a:pt x="3394" y="5620"/>
                    <a:pt x="3215" y="5799"/>
                    <a:pt x="3215" y="6001"/>
                  </a:cubicBezTo>
                  <a:lnTo>
                    <a:pt x="3215" y="6822"/>
                  </a:lnTo>
                  <a:lnTo>
                    <a:pt x="2787" y="6822"/>
                  </a:lnTo>
                  <a:lnTo>
                    <a:pt x="2787" y="6060"/>
                  </a:lnTo>
                  <a:cubicBezTo>
                    <a:pt x="2787" y="5965"/>
                    <a:pt x="2692" y="5870"/>
                    <a:pt x="2596" y="5870"/>
                  </a:cubicBezTo>
                  <a:cubicBezTo>
                    <a:pt x="2489" y="5870"/>
                    <a:pt x="2394" y="5965"/>
                    <a:pt x="2394" y="6060"/>
                  </a:cubicBezTo>
                  <a:lnTo>
                    <a:pt x="2394" y="7013"/>
                  </a:lnTo>
                  <a:cubicBezTo>
                    <a:pt x="2394" y="7120"/>
                    <a:pt x="2489" y="7203"/>
                    <a:pt x="2596" y="7203"/>
                  </a:cubicBezTo>
                  <a:lnTo>
                    <a:pt x="3203" y="7203"/>
                  </a:lnTo>
                  <a:lnTo>
                    <a:pt x="3203" y="7620"/>
                  </a:lnTo>
                  <a:lnTo>
                    <a:pt x="3203" y="7644"/>
                  </a:lnTo>
                  <a:lnTo>
                    <a:pt x="2382" y="7644"/>
                  </a:lnTo>
                  <a:cubicBezTo>
                    <a:pt x="2156" y="7644"/>
                    <a:pt x="1965" y="7465"/>
                    <a:pt x="1965" y="7227"/>
                  </a:cubicBezTo>
                  <a:lnTo>
                    <a:pt x="1965" y="5632"/>
                  </a:lnTo>
                  <a:lnTo>
                    <a:pt x="2001" y="5632"/>
                  </a:lnTo>
                  <a:cubicBezTo>
                    <a:pt x="2001" y="5465"/>
                    <a:pt x="2084" y="5334"/>
                    <a:pt x="2215" y="5263"/>
                  </a:cubicBezTo>
                  <a:lnTo>
                    <a:pt x="2846" y="4941"/>
                  </a:lnTo>
                  <a:lnTo>
                    <a:pt x="3073" y="5156"/>
                  </a:lnTo>
                  <a:cubicBezTo>
                    <a:pt x="3215" y="5298"/>
                    <a:pt x="3406" y="5382"/>
                    <a:pt x="3608" y="5382"/>
                  </a:cubicBezTo>
                  <a:cubicBezTo>
                    <a:pt x="3799" y="5382"/>
                    <a:pt x="3989" y="5298"/>
                    <a:pt x="4144" y="5156"/>
                  </a:cubicBezTo>
                  <a:lnTo>
                    <a:pt x="4358" y="4941"/>
                  </a:lnTo>
                  <a:close/>
                  <a:moveTo>
                    <a:pt x="12026" y="7989"/>
                  </a:moveTo>
                  <a:lnTo>
                    <a:pt x="12026" y="8418"/>
                  </a:lnTo>
                  <a:lnTo>
                    <a:pt x="787" y="8418"/>
                  </a:lnTo>
                  <a:lnTo>
                    <a:pt x="787" y="7989"/>
                  </a:lnTo>
                  <a:close/>
                  <a:moveTo>
                    <a:pt x="3608" y="0"/>
                  </a:moveTo>
                  <a:cubicBezTo>
                    <a:pt x="3049" y="0"/>
                    <a:pt x="2620" y="405"/>
                    <a:pt x="2620" y="893"/>
                  </a:cubicBezTo>
                  <a:cubicBezTo>
                    <a:pt x="2620" y="977"/>
                    <a:pt x="2632" y="1060"/>
                    <a:pt x="2656" y="1131"/>
                  </a:cubicBezTo>
                  <a:cubicBezTo>
                    <a:pt x="2263" y="1417"/>
                    <a:pt x="2013" y="1881"/>
                    <a:pt x="2013" y="2405"/>
                  </a:cubicBezTo>
                  <a:cubicBezTo>
                    <a:pt x="2013" y="2679"/>
                    <a:pt x="2084" y="2953"/>
                    <a:pt x="2215" y="3191"/>
                  </a:cubicBezTo>
                  <a:cubicBezTo>
                    <a:pt x="2275" y="3596"/>
                    <a:pt x="2501" y="3917"/>
                    <a:pt x="2799" y="4144"/>
                  </a:cubicBezTo>
                  <a:lnTo>
                    <a:pt x="2799" y="4525"/>
                  </a:lnTo>
                  <a:lnTo>
                    <a:pt x="2799" y="4548"/>
                  </a:lnTo>
                  <a:lnTo>
                    <a:pt x="2037" y="4917"/>
                  </a:lnTo>
                  <a:cubicBezTo>
                    <a:pt x="1775" y="5048"/>
                    <a:pt x="1608" y="5322"/>
                    <a:pt x="1608" y="5620"/>
                  </a:cubicBezTo>
                  <a:lnTo>
                    <a:pt x="1608" y="7215"/>
                  </a:lnTo>
                  <a:cubicBezTo>
                    <a:pt x="1608" y="7358"/>
                    <a:pt x="1656" y="7513"/>
                    <a:pt x="1727" y="7632"/>
                  </a:cubicBezTo>
                  <a:lnTo>
                    <a:pt x="191" y="7632"/>
                  </a:lnTo>
                  <a:cubicBezTo>
                    <a:pt x="96" y="7632"/>
                    <a:pt x="1" y="7715"/>
                    <a:pt x="1" y="7823"/>
                  </a:cubicBezTo>
                  <a:cubicBezTo>
                    <a:pt x="1" y="7930"/>
                    <a:pt x="96" y="8013"/>
                    <a:pt x="191" y="8013"/>
                  </a:cubicBezTo>
                  <a:lnTo>
                    <a:pt x="406" y="8013"/>
                  </a:lnTo>
                  <a:lnTo>
                    <a:pt x="406" y="9835"/>
                  </a:lnTo>
                  <a:cubicBezTo>
                    <a:pt x="406" y="9930"/>
                    <a:pt x="489" y="10025"/>
                    <a:pt x="596" y="10025"/>
                  </a:cubicBezTo>
                  <a:cubicBezTo>
                    <a:pt x="703" y="10025"/>
                    <a:pt x="787" y="9930"/>
                    <a:pt x="787" y="9835"/>
                  </a:cubicBezTo>
                  <a:lnTo>
                    <a:pt x="787" y="8823"/>
                  </a:lnTo>
                  <a:lnTo>
                    <a:pt x="12026" y="8823"/>
                  </a:lnTo>
                  <a:lnTo>
                    <a:pt x="12026" y="9835"/>
                  </a:lnTo>
                  <a:cubicBezTo>
                    <a:pt x="12026" y="9930"/>
                    <a:pt x="12121" y="10025"/>
                    <a:pt x="12217" y="10025"/>
                  </a:cubicBezTo>
                  <a:cubicBezTo>
                    <a:pt x="12324" y="10025"/>
                    <a:pt x="12419" y="9930"/>
                    <a:pt x="12419" y="9835"/>
                  </a:cubicBezTo>
                  <a:lnTo>
                    <a:pt x="12419" y="8013"/>
                  </a:lnTo>
                  <a:lnTo>
                    <a:pt x="12621" y="8013"/>
                  </a:lnTo>
                  <a:cubicBezTo>
                    <a:pt x="12728" y="8013"/>
                    <a:pt x="12812" y="7930"/>
                    <a:pt x="12812" y="7823"/>
                  </a:cubicBezTo>
                  <a:cubicBezTo>
                    <a:pt x="12800" y="7704"/>
                    <a:pt x="12717" y="7632"/>
                    <a:pt x="12609" y="7632"/>
                  </a:cubicBezTo>
                  <a:lnTo>
                    <a:pt x="6406" y="7632"/>
                  </a:lnTo>
                  <a:lnTo>
                    <a:pt x="6406" y="7608"/>
                  </a:lnTo>
                  <a:lnTo>
                    <a:pt x="6406" y="6001"/>
                  </a:lnTo>
                  <a:cubicBezTo>
                    <a:pt x="6406" y="5799"/>
                    <a:pt x="6228" y="5620"/>
                    <a:pt x="6013" y="5620"/>
                  </a:cubicBezTo>
                  <a:lnTo>
                    <a:pt x="5597" y="5620"/>
                  </a:lnTo>
                  <a:cubicBezTo>
                    <a:pt x="5597" y="5322"/>
                    <a:pt x="5430" y="5048"/>
                    <a:pt x="5168" y="4917"/>
                  </a:cubicBezTo>
                  <a:lnTo>
                    <a:pt x="4406" y="4548"/>
                  </a:lnTo>
                  <a:lnTo>
                    <a:pt x="4406" y="4525"/>
                  </a:lnTo>
                  <a:lnTo>
                    <a:pt x="4406" y="4144"/>
                  </a:lnTo>
                  <a:cubicBezTo>
                    <a:pt x="4716" y="3929"/>
                    <a:pt x="4942" y="3596"/>
                    <a:pt x="4989" y="3191"/>
                  </a:cubicBezTo>
                  <a:cubicBezTo>
                    <a:pt x="5120" y="2953"/>
                    <a:pt x="5192" y="2667"/>
                    <a:pt x="5192" y="2405"/>
                  </a:cubicBezTo>
                  <a:cubicBezTo>
                    <a:pt x="5192" y="1881"/>
                    <a:pt x="4942" y="1417"/>
                    <a:pt x="4561" y="1131"/>
                  </a:cubicBezTo>
                  <a:cubicBezTo>
                    <a:pt x="4585" y="1060"/>
                    <a:pt x="4585" y="988"/>
                    <a:pt x="4585" y="893"/>
                  </a:cubicBezTo>
                  <a:cubicBezTo>
                    <a:pt x="4585" y="405"/>
                    <a:pt x="4144" y="0"/>
                    <a:pt x="3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3" name="Google Shape;11033;p60"/>
            <p:cNvSpPr/>
            <p:nvPr/>
          </p:nvSpPr>
          <p:spPr>
            <a:xfrm>
              <a:off x="5017012" y="2666287"/>
              <a:ext cx="25016" cy="12158"/>
            </a:xfrm>
            <a:custGeom>
              <a:avLst/>
              <a:gdLst/>
              <a:ahLst/>
              <a:cxnLst/>
              <a:rect l="l" t="t" r="r" b="b"/>
              <a:pathLst>
                <a:path w="786" h="382" extrusionOk="0">
                  <a:moveTo>
                    <a:pt x="191" y="0"/>
                  </a:moveTo>
                  <a:cubicBezTo>
                    <a:pt x="83" y="0"/>
                    <a:pt x="0" y="83"/>
                    <a:pt x="0" y="191"/>
                  </a:cubicBezTo>
                  <a:cubicBezTo>
                    <a:pt x="0" y="298"/>
                    <a:pt x="83" y="381"/>
                    <a:pt x="191" y="381"/>
                  </a:cubicBezTo>
                  <a:lnTo>
                    <a:pt x="595" y="381"/>
                  </a:lnTo>
                  <a:cubicBezTo>
                    <a:pt x="702" y="381"/>
                    <a:pt x="786" y="298"/>
                    <a:pt x="786" y="191"/>
                  </a:cubicBezTo>
                  <a:cubicBezTo>
                    <a:pt x="786" y="83"/>
                    <a:pt x="702"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4" name="Google Shape;11034;p60"/>
            <p:cNvSpPr/>
            <p:nvPr/>
          </p:nvSpPr>
          <p:spPr>
            <a:xfrm>
              <a:off x="5068159" y="2418064"/>
              <a:ext cx="203155" cy="198222"/>
            </a:xfrm>
            <a:custGeom>
              <a:avLst/>
              <a:gdLst/>
              <a:ahLst/>
              <a:cxnLst/>
              <a:rect l="l" t="t" r="r" b="b"/>
              <a:pathLst>
                <a:path w="6383" h="6228" extrusionOk="0">
                  <a:moveTo>
                    <a:pt x="5608" y="346"/>
                  </a:moveTo>
                  <a:cubicBezTo>
                    <a:pt x="5834" y="346"/>
                    <a:pt x="6025" y="524"/>
                    <a:pt x="6025" y="762"/>
                  </a:cubicBezTo>
                  <a:lnTo>
                    <a:pt x="6025" y="3989"/>
                  </a:lnTo>
                  <a:lnTo>
                    <a:pt x="6013" y="3989"/>
                  </a:lnTo>
                  <a:cubicBezTo>
                    <a:pt x="6013" y="4203"/>
                    <a:pt x="5834" y="4406"/>
                    <a:pt x="5596" y="4406"/>
                  </a:cubicBezTo>
                  <a:lnTo>
                    <a:pt x="3203" y="4406"/>
                  </a:lnTo>
                  <a:cubicBezTo>
                    <a:pt x="3156" y="4406"/>
                    <a:pt x="3132" y="4418"/>
                    <a:pt x="3096" y="4430"/>
                  </a:cubicBezTo>
                  <a:lnTo>
                    <a:pt x="1310" y="5727"/>
                  </a:lnTo>
                  <a:lnTo>
                    <a:pt x="1584" y="4620"/>
                  </a:lnTo>
                  <a:cubicBezTo>
                    <a:pt x="1596" y="4561"/>
                    <a:pt x="1584" y="4501"/>
                    <a:pt x="1548" y="4465"/>
                  </a:cubicBezTo>
                  <a:cubicBezTo>
                    <a:pt x="1512" y="4418"/>
                    <a:pt x="1465" y="4382"/>
                    <a:pt x="1405" y="4382"/>
                  </a:cubicBezTo>
                  <a:lnTo>
                    <a:pt x="810" y="4382"/>
                  </a:lnTo>
                  <a:cubicBezTo>
                    <a:pt x="584" y="4382"/>
                    <a:pt x="393" y="4203"/>
                    <a:pt x="393" y="3965"/>
                  </a:cubicBezTo>
                  <a:lnTo>
                    <a:pt x="393" y="762"/>
                  </a:lnTo>
                  <a:cubicBezTo>
                    <a:pt x="393" y="548"/>
                    <a:pt x="572" y="346"/>
                    <a:pt x="810" y="346"/>
                  </a:cubicBezTo>
                  <a:close/>
                  <a:moveTo>
                    <a:pt x="786" y="0"/>
                  </a:moveTo>
                  <a:cubicBezTo>
                    <a:pt x="358" y="0"/>
                    <a:pt x="0" y="358"/>
                    <a:pt x="0" y="786"/>
                  </a:cubicBezTo>
                  <a:lnTo>
                    <a:pt x="0" y="3989"/>
                  </a:lnTo>
                  <a:cubicBezTo>
                    <a:pt x="0" y="4418"/>
                    <a:pt x="358" y="4775"/>
                    <a:pt x="786" y="4775"/>
                  </a:cubicBezTo>
                  <a:lnTo>
                    <a:pt x="1143" y="4775"/>
                  </a:lnTo>
                  <a:lnTo>
                    <a:pt x="881" y="5870"/>
                  </a:lnTo>
                  <a:cubicBezTo>
                    <a:pt x="846" y="5989"/>
                    <a:pt x="893" y="6108"/>
                    <a:pt x="1000" y="6192"/>
                  </a:cubicBezTo>
                  <a:cubicBezTo>
                    <a:pt x="1048" y="6216"/>
                    <a:pt x="1108" y="6227"/>
                    <a:pt x="1167" y="6227"/>
                  </a:cubicBezTo>
                  <a:cubicBezTo>
                    <a:pt x="1227" y="6227"/>
                    <a:pt x="1286" y="6216"/>
                    <a:pt x="1322" y="6168"/>
                  </a:cubicBezTo>
                  <a:lnTo>
                    <a:pt x="3263" y="4775"/>
                  </a:lnTo>
                  <a:lnTo>
                    <a:pt x="5596" y="4775"/>
                  </a:lnTo>
                  <a:cubicBezTo>
                    <a:pt x="6025" y="4775"/>
                    <a:pt x="6382" y="4418"/>
                    <a:pt x="6382" y="3989"/>
                  </a:cubicBezTo>
                  <a:lnTo>
                    <a:pt x="6382" y="786"/>
                  </a:lnTo>
                  <a:cubicBezTo>
                    <a:pt x="6382" y="358"/>
                    <a:pt x="6025" y="0"/>
                    <a:pt x="5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5" name="Google Shape;11035;p60"/>
            <p:cNvSpPr/>
            <p:nvPr/>
          </p:nvSpPr>
          <p:spPr>
            <a:xfrm>
              <a:off x="5106415" y="2456353"/>
              <a:ext cx="31509" cy="12158"/>
            </a:xfrm>
            <a:custGeom>
              <a:avLst/>
              <a:gdLst/>
              <a:ahLst/>
              <a:cxnLst/>
              <a:rect l="l" t="t" r="r" b="b"/>
              <a:pathLst>
                <a:path w="990" h="382" extrusionOk="0">
                  <a:moveTo>
                    <a:pt x="203" y="0"/>
                  </a:moveTo>
                  <a:cubicBezTo>
                    <a:pt x="96" y="0"/>
                    <a:pt x="1" y="83"/>
                    <a:pt x="1" y="191"/>
                  </a:cubicBezTo>
                  <a:cubicBezTo>
                    <a:pt x="1" y="298"/>
                    <a:pt x="96" y="381"/>
                    <a:pt x="203" y="381"/>
                  </a:cubicBezTo>
                  <a:lnTo>
                    <a:pt x="799" y="381"/>
                  </a:lnTo>
                  <a:cubicBezTo>
                    <a:pt x="894" y="381"/>
                    <a:pt x="989" y="298"/>
                    <a:pt x="989" y="191"/>
                  </a:cubicBezTo>
                  <a:cubicBezTo>
                    <a:pt x="989" y="83"/>
                    <a:pt x="894" y="0"/>
                    <a:pt x="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6" name="Google Shape;11036;p60"/>
            <p:cNvSpPr/>
            <p:nvPr/>
          </p:nvSpPr>
          <p:spPr>
            <a:xfrm>
              <a:off x="5151133" y="2456353"/>
              <a:ext cx="82274" cy="12158"/>
            </a:xfrm>
            <a:custGeom>
              <a:avLst/>
              <a:gdLst/>
              <a:ahLst/>
              <a:cxnLst/>
              <a:rect l="l" t="t" r="r" b="b"/>
              <a:pathLst>
                <a:path w="2585" h="382" extrusionOk="0">
                  <a:moveTo>
                    <a:pt x="191" y="0"/>
                  </a:moveTo>
                  <a:cubicBezTo>
                    <a:pt x="84" y="0"/>
                    <a:pt x="1" y="83"/>
                    <a:pt x="1" y="191"/>
                  </a:cubicBezTo>
                  <a:cubicBezTo>
                    <a:pt x="1" y="298"/>
                    <a:pt x="84" y="381"/>
                    <a:pt x="191" y="381"/>
                  </a:cubicBezTo>
                  <a:lnTo>
                    <a:pt x="2394" y="381"/>
                  </a:lnTo>
                  <a:cubicBezTo>
                    <a:pt x="2501" y="381"/>
                    <a:pt x="2584" y="298"/>
                    <a:pt x="2584" y="191"/>
                  </a:cubicBezTo>
                  <a:cubicBezTo>
                    <a:pt x="2584" y="83"/>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7" name="Google Shape;11037;p60"/>
            <p:cNvSpPr/>
            <p:nvPr/>
          </p:nvSpPr>
          <p:spPr>
            <a:xfrm>
              <a:off x="5106415" y="2488180"/>
              <a:ext cx="126992" cy="12158"/>
            </a:xfrm>
            <a:custGeom>
              <a:avLst/>
              <a:gdLst/>
              <a:ahLst/>
              <a:cxnLst/>
              <a:rect l="l" t="t" r="r" b="b"/>
              <a:pathLst>
                <a:path w="3990" h="382" extrusionOk="0">
                  <a:moveTo>
                    <a:pt x="203" y="0"/>
                  </a:moveTo>
                  <a:cubicBezTo>
                    <a:pt x="96" y="0"/>
                    <a:pt x="1" y="83"/>
                    <a:pt x="1" y="191"/>
                  </a:cubicBezTo>
                  <a:cubicBezTo>
                    <a:pt x="1" y="298"/>
                    <a:pt x="96" y="381"/>
                    <a:pt x="203" y="381"/>
                  </a:cubicBezTo>
                  <a:lnTo>
                    <a:pt x="3799" y="381"/>
                  </a:lnTo>
                  <a:cubicBezTo>
                    <a:pt x="3906" y="381"/>
                    <a:pt x="3989" y="298"/>
                    <a:pt x="3989" y="191"/>
                  </a:cubicBezTo>
                  <a:cubicBezTo>
                    <a:pt x="3978" y="83"/>
                    <a:pt x="3906" y="0"/>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8" name="Google Shape;11038;p60"/>
            <p:cNvSpPr/>
            <p:nvPr/>
          </p:nvSpPr>
          <p:spPr>
            <a:xfrm>
              <a:off x="5106415" y="2519626"/>
              <a:ext cx="82656" cy="12540"/>
            </a:xfrm>
            <a:custGeom>
              <a:avLst/>
              <a:gdLst/>
              <a:ahLst/>
              <a:cxnLst/>
              <a:rect l="l" t="t" r="r" b="b"/>
              <a:pathLst>
                <a:path w="2597" h="394" extrusionOk="0">
                  <a:moveTo>
                    <a:pt x="203" y="0"/>
                  </a:moveTo>
                  <a:cubicBezTo>
                    <a:pt x="96" y="0"/>
                    <a:pt x="1" y="96"/>
                    <a:pt x="1" y="203"/>
                  </a:cubicBezTo>
                  <a:cubicBezTo>
                    <a:pt x="1" y="298"/>
                    <a:pt x="96" y="393"/>
                    <a:pt x="203" y="393"/>
                  </a:cubicBezTo>
                  <a:lnTo>
                    <a:pt x="2394" y="393"/>
                  </a:lnTo>
                  <a:cubicBezTo>
                    <a:pt x="2501" y="393"/>
                    <a:pt x="2596" y="298"/>
                    <a:pt x="2596" y="203"/>
                  </a:cubicBezTo>
                  <a:cubicBezTo>
                    <a:pt x="2585" y="96"/>
                    <a:pt x="2501" y="0"/>
                    <a:pt x="2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9" name="Google Shape;11039;p60"/>
            <p:cNvSpPr/>
            <p:nvPr/>
          </p:nvSpPr>
          <p:spPr>
            <a:xfrm>
              <a:off x="5202312" y="2519626"/>
              <a:ext cx="31095" cy="12540"/>
            </a:xfrm>
            <a:custGeom>
              <a:avLst/>
              <a:gdLst/>
              <a:ahLst/>
              <a:cxnLst/>
              <a:rect l="l" t="t" r="r" b="b"/>
              <a:pathLst>
                <a:path w="977" h="394" extrusionOk="0">
                  <a:moveTo>
                    <a:pt x="191" y="0"/>
                  </a:moveTo>
                  <a:cubicBezTo>
                    <a:pt x="84" y="0"/>
                    <a:pt x="0" y="96"/>
                    <a:pt x="0" y="203"/>
                  </a:cubicBezTo>
                  <a:cubicBezTo>
                    <a:pt x="0" y="298"/>
                    <a:pt x="84" y="393"/>
                    <a:pt x="191" y="393"/>
                  </a:cubicBezTo>
                  <a:lnTo>
                    <a:pt x="786" y="393"/>
                  </a:lnTo>
                  <a:cubicBezTo>
                    <a:pt x="893" y="393"/>
                    <a:pt x="976" y="298"/>
                    <a:pt x="976" y="203"/>
                  </a:cubicBezTo>
                  <a:cubicBezTo>
                    <a:pt x="965" y="96"/>
                    <a:pt x="893" y="0"/>
                    <a:pt x="7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40" name="Google Shape;11040;p60"/>
          <p:cNvGrpSpPr/>
          <p:nvPr/>
        </p:nvGrpSpPr>
        <p:grpSpPr>
          <a:xfrm>
            <a:off x="7070872" y="2410871"/>
            <a:ext cx="398321" cy="371013"/>
            <a:chOff x="7070872" y="2410871"/>
            <a:chExt cx="398321" cy="371013"/>
          </a:xfrm>
        </p:grpSpPr>
        <p:sp>
          <p:nvSpPr>
            <p:cNvPr id="11041" name="Google Shape;11041;p60"/>
            <p:cNvSpPr/>
            <p:nvPr/>
          </p:nvSpPr>
          <p:spPr>
            <a:xfrm>
              <a:off x="7204643" y="2603364"/>
              <a:ext cx="123586" cy="107641"/>
            </a:xfrm>
            <a:custGeom>
              <a:avLst/>
              <a:gdLst/>
              <a:ahLst/>
              <a:cxnLst/>
              <a:rect l="l" t="t" r="r" b="b"/>
              <a:pathLst>
                <a:path w="3883" h="3382" extrusionOk="0">
                  <a:moveTo>
                    <a:pt x="1942" y="1"/>
                  </a:moveTo>
                  <a:cubicBezTo>
                    <a:pt x="1846" y="1"/>
                    <a:pt x="1751" y="96"/>
                    <a:pt x="1751" y="203"/>
                  </a:cubicBezTo>
                  <a:lnTo>
                    <a:pt x="1751" y="2072"/>
                  </a:lnTo>
                  <a:lnTo>
                    <a:pt x="132" y="3013"/>
                  </a:lnTo>
                  <a:cubicBezTo>
                    <a:pt x="37" y="3072"/>
                    <a:pt x="1" y="3192"/>
                    <a:pt x="60" y="3287"/>
                  </a:cubicBezTo>
                  <a:cubicBezTo>
                    <a:pt x="84" y="3346"/>
                    <a:pt x="156" y="3382"/>
                    <a:pt x="215" y="3382"/>
                  </a:cubicBezTo>
                  <a:cubicBezTo>
                    <a:pt x="251" y="3382"/>
                    <a:pt x="298" y="3370"/>
                    <a:pt x="322" y="3358"/>
                  </a:cubicBezTo>
                  <a:lnTo>
                    <a:pt x="1942" y="2418"/>
                  </a:lnTo>
                  <a:lnTo>
                    <a:pt x="3573" y="3358"/>
                  </a:lnTo>
                  <a:cubicBezTo>
                    <a:pt x="3596" y="3370"/>
                    <a:pt x="3632" y="3382"/>
                    <a:pt x="3668" y="3382"/>
                  </a:cubicBezTo>
                  <a:cubicBezTo>
                    <a:pt x="3751" y="3382"/>
                    <a:pt x="3811" y="3358"/>
                    <a:pt x="3835" y="3287"/>
                  </a:cubicBezTo>
                  <a:cubicBezTo>
                    <a:pt x="3882" y="3192"/>
                    <a:pt x="3847" y="3072"/>
                    <a:pt x="3763" y="3013"/>
                  </a:cubicBezTo>
                  <a:lnTo>
                    <a:pt x="2144" y="2072"/>
                  </a:lnTo>
                  <a:lnTo>
                    <a:pt x="2144" y="203"/>
                  </a:lnTo>
                  <a:cubicBezTo>
                    <a:pt x="2144" y="96"/>
                    <a:pt x="2049"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2" name="Google Shape;11042;p60"/>
            <p:cNvSpPr/>
            <p:nvPr/>
          </p:nvSpPr>
          <p:spPr>
            <a:xfrm>
              <a:off x="7203147" y="2410871"/>
              <a:ext cx="133421" cy="178902"/>
            </a:xfrm>
            <a:custGeom>
              <a:avLst/>
              <a:gdLst/>
              <a:ahLst/>
              <a:cxnLst/>
              <a:rect l="l" t="t" r="r" b="b"/>
              <a:pathLst>
                <a:path w="4192" h="5621" extrusionOk="0">
                  <a:moveTo>
                    <a:pt x="2131" y="405"/>
                  </a:moveTo>
                  <a:cubicBezTo>
                    <a:pt x="2631" y="405"/>
                    <a:pt x="3048" y="822"/>
                    <a:pt x="3048" y="1322"/>
                  </a:cubicBezTo>
                  <a:lnTo>
                    <a:pt x="3048" y="1441"/>
                  </a:lnTo>
                  <a:lnTo>
                    <a:pt x="3036" y="1441"/>
                  </a:lnTo>
                  <a:cubicBezTo>
                    <a:pt x="2762" y="1381"/>
                    <a:pt x="2679" y="1012"/>
                    <a:pt x="2679" y="1012"/>
                  </a:cubicBezTo>
                  <a:cubicBezTo>
                    <a:pt x="2667" y="941"/>
                    <a:pt x="2608" y="881"/>
                    <a:pt x="2524" y="858"/>
                  </a:cubicBezTo>
                  <a:cubicBezTo>
                    <a:pt x="2515" y="856"/>
                    <a:pt x="2506" y="855"/>
                    <a:pt x="2497" y="855"/>
                  </a:cubicBezTo>
                  <a:cubicBezTo>
                    <a:pt x="2435" y="855"/>
                    <a:pt x="2375" y="889"/>
                    <a:pt x="2334" y="941"/>
                  </a:cubicBezTo>
                  <a:cubicBezTo>
                    <a:pt x="1977" y="1417"/>
                    <a:pt x="1191" y="1429"/>
                    <a:pt x="1179" y="1429"/>
                  </a:cubicBezTo>
                  <a:cubicBezTo>
                    <a:pt x="1143" y="1429"/>
                    <a:pt x="1131" y="1429"/>
                    <a:pt x="1119" y="1441"/>
                  </a:cubicBezTo>
                  <a:lnTo>
                    <a:pt x="1119" y="1322"/>
                  </a:lnTo>
                  <a:cubicBezTo>
                    <a:pt x="1119" y="822"/>
                    <a:pt x="1536" y="405"/>
                    <a:pt x="2036" y="405"/>
                  </a:cubicBezTo>
                  <a:close/>
                  <a:moveTo>
                    <a:pt x="976" y="1965"/>
                  </a:moveTo>
                  <a:lnTo>
                    <a:pt x="976" y="2215"/>
                  </a:lnTo>
                  <a:cubicBezTo>
                    <a:pt x="941" y="2191"/>
                    <a:pt x="905" y="2143"/>
                    <a:pt x="905" y="2084"/>
                  </a:cubicBezTo>
                  <a:cubicBezTo>
                    <a:pt x="905" y="2036"/>
                    <a:pt x="917" y="2012"/>
                    <a:pt x="953" y="1977"/>
                  </a:cubicBezTo>
                  <a:cubicBezTo>
                    <a:pt x="965" y="1977"/>
                    <a:pt x="965" y="1977"/>
                    <a:pt x="976" y="1965"/>
                  </a:cubicBezTo>
                  <a:close/>
                  <a:moveTo>
                    <a:pt x="3215" y="1977"/>
                  </a:moveTo>
                  <a:cubicBezTo>
                    <a:pt x="3239" y="2012"/>
                    <a:pt x="3251" y="2048"/>
                    <a:pt x="3251" y="2084"/>
                  </a:cubicBezTo>
                  <a:cubicBezTo>
                    <a:pt x="3251" y="2143"/>
                    <a:pt x="3227" y="2179"/>
                    <a:pt x="3191" y="2215"/>
                  </a:cubicBezTo>
                  <a:lnTo>
                    <a:pt x="3191" y="1977"/>
                  </a:lnTo>
                  <a:close/>
                  <a:moveTo>
                    <a:pt x="2441" y="1393"/>
                  </a:moveTo>
                  <a:cubicBezTo>
                    <a:pt x="2512" y="1536"/>
                    <a:pt x="2631" y="1679"/>
                    <a:pt x="2810" y="1750"/>
                  </a:cubicBezTo>
                  <a:lnTo>
                    <a:pt x="2810" y="2322"/>
                  </a:lnTo>
                  <a:cubicBezTo>
                    <a:pt x="2810" y="2679"/>
                    <a:pt x="2524" y="2941"/>
                    <a:pt x="2191" y="2941"/>
                  </a:cubicBezTo>
                  <a:lnTo>
                    <a:pt x="2012" y="2941"/>
                  </a:lnTo>
                  <a:cubicBezTo>
                    <a:pt x="1667" y="2941"/>
                    <a:pt x="1381" y="2667"/>
                    <a:pt x="1381" y="2322"/>
                  </a:cubicBezTo>
                  <a:lnTo>
                    <a:pt x="1381" y="1798"/>
                  </a:lnTo>
                  <a:cubicBezTo>
                    <a:pt x="1631" y="1774"/>
                    <a:pt x="2096" y="1679"/>
                    <a:pt x="2441" y="1393"/>
                  </a:cubicBezTo>
                  <a:close/>
                  <a:moveTo>
                    <a:pt x="2286" y="3346"/>
                  </a:moveTo>
                  <a:lnTo>
                    <a:pt x="2286" y="3453"/>
                  </a:lnTo>
                  <a:lnTo>
                    <a:pt x="2310" y="3453"/>
                  </a:lnTo>
                  <a:lnTo>
                    <a:pt x="2084" y="3679"/>
                  </a:lnTo>
                  <a:lnTo>
                    <a:pt x="1869" y="3477"/>
                  </a:lnTo>
                  <a:lnTo>
                    <a:pt x="1869" y="3346"/>
                  </a:lnTo>
                  <a:close/>
                  <a:moveTo>
                    <a:pt x="2048" y="0"/>
                  </a:moveTo>
                  <a:cubicBezTo>
                    <a:pt x="1322" y="0"/>
                    <a:pt x="726" y="596"/>
                    <a:pt x="726" y="1322"/>
                  </a:cubicBezTo>
                  <a:lnTo>
                    <a:pt x="726" y="1667"/>
                  </a:lnTo>
                  <a:cubicBezTo>
                    <a:pt x="607" y="1774"/>
                    <a:pt x="512" y="1917"/>
                    <a:pt x="512" y="2096"/>
                  </a:cubicBezTo>
                  <a:cubicBezTo>
                    <a:pt x="512" y="2393"/>
                    <a:pt x="738" y="2632"/>
                    <a:pt x="1036" y="2643"/>
                  </a:cubicBezTo>
                  <a:cubicBezTo>
                    <a:pt x="1107" y="2882"/>
                    <a:pt x="1274" y="3096"/>
                    <a:pt x="1500" y="3215"/>
                  </a:cubicBezTo>
                  <a:lnTo>
                    <a:pt x="1500" y="3322"/>
                  </a:lnTo>
                  <a:lnTo>
                    <a:pt x="691" y="3632"/>
                  </a:lnTo>
                  <a:cubicBezTo>
                    <a:pt x="619" y="3655"/>
                    <a:pt x="0" y="3917"/>
                    <a:pt x="0" y="4715"/>
                  </a:cubicBezTo>
                  <a:lnTo>
                    <a:pt x="0" y="5418"/>
                  </a:lnTo>
                  <a:cubicBezTo>
                    <a:pt x="0" y="5525"/>
                    <a:pt x="84" y="5608"/>
                    <a:pt x="191" y="5608"/>
                  </a:cubicBezTo>
                  <a:lnTo>
                    <a:pt x="691" y="5608"/>
                  </a:lnTo>
                  <a:cubicBezTo>
                    <a:pt x="798" y="5608"/>
                    <a:pt x="893" y="5525"/>
                    <a:pt x="893" y="5418"/>
                  </a:cubicBezTo>
                  <a:cubicBezTo>
                    <a:pt x="893" y="5310"/>
                    <a:pt x="798" y="5227"/>
                    <a:pt x="691" y="5227"/>
                  </a:cubicBezTo>
                  <a:lnTo>
                    <a:pt x="393" y="5227"/>
                  </a:lnTo>
                  <a:lnTo>
                    <a:pt x="393" y="4715"/>
                  </a:lnTo>
                  <a:cubicBezTo>
                    <a:pt x="393" y="4167"/>
                    <a:pt x="834" y="4013"/>
                    <a:pt x="846" y="4001"/>
                  </a:cubicBezTo>
                  <a:lnTo>
                    <a:pt x="857" y="4001"/>
                  </a:lnTo>
                  <a:lnTo>
                    <a:pt x="1608" y="3715"/>
                  </a:lnTo>
                  <a:lnTo>
                    <a:pt x="1989" y="4108"/>
                  </a:lnTo>
                  <a:cubicBezTo>
                    <a:pt x="2024" y="4132"/>
                    <a:pt x="2084" y="4167"/>
                    <a:pt x="2119" y="4167"/>
                  </a:cubicBezTo>
                  <a:cubicBezTo>
                    <a:pt x="2179" y="4167"/>
                    <a:pt x="2227" y="4132"/>
                    <a:pt x="2262" y="4108"/>
                  </a:cubicBezTo>
                  <a:lnTo>
                    <a:pt x="2631" y="3715"/>
                  </a:lnTo>
                  <a:lnTo>
                    <a:pt x="3370" y="4013"/>
                  </a:lnTo>
                  <a:lnTo>
                    <a:pt x="3393" y="4013"/>
                  </a:lnTo>
                  <a:cubicBezTo>
                    <a:pt x="3405" y="4013"/>
                    <a:pt x="3834" y="4179"/>
                    <a:pt x="3834" y="4727"/>
                  </a:cubicBezTo>
                  <a:lnTo>
                    <a:pt x="3834" y="5239"/>
                  </a:lnTo>
                  <a:lnTo>
                    <a:pt x="1334" y="5239"/>
                  </a:lnTo>
                  <a:cubicBezTo>
                    <a:pt x="1227" y="5239"/>
                    <a:pt x="1143" y="5322"/>
                    <a:pt x="1143" y="5430"/>
                  </a:cubicBezTo>
                  <a:cubicBezTo>
                    <a:pt x="1143" y="5537"/>
                    <a:pt x="1227" y="5620"/>
                    <a:pt x="1334" y="5620"/>
                  </a:cubicBezTo>
                  <a:lnTo>
                    <a:pt x="4048" y="5620"/>
                  </a:lnTo>
                  <a:cubicBezTo>
                    <a:pt x="4108" y="5608"/>
                    <a:pt x="4191" y="5525"/>
                    <a:pt x="4191" y="5418"/>
                  </a:cubicBezTo>
                  <a:lnTo>
                    <a:pt x="4191" y="4715"/>
                  </a:lnTo>
                  <a:cubicBezTo>
                    <a:pt x="4191" y="3917"/>
                    <a:pt x="3572" y="3655"/>
                    <a:pt x="3501" y="3632"/>
                  </a:cubicBezTo>
                  <a:lnTo>
                    <a:pt x="2703" y="3322"/>
                  </a:lnTo>
                  <a:lnTo>
                    <a:pt x="2703" y="3215"/>
                  </a:lnTo>
                  <a:cubicBezTo>
                    <a:pt x="2917" y="3096"/>
                    <a:pt x="3084" y="2882"/>
                    <a:pt x="3167" y="2643"/>
                  </a:cubicBezTo>
                  <a:cubicBezTo>
                    <a:pt x="3453" y="2620"/>
                    <a:pt x="3679" y="2382"/>
                    <a:pt x="3679" y="2096"/>
                  </a:cubicBezTo>
                  <a:cubicBezTo>
                    <a:pt x="3679" y="1917"/>
                    <a:pt x="3596" y="1774"/>
                    <a:pt x="3465" y="1667"/>
                  </a:cubicBezTo>
                  <a:lnTo>
                    <a:pt x="3465" y="1322"/>
                  </a:lnTo>
                  <a:cubicBezTo>
                    <a:pt x="3465" y="596"/>
                    <a:pt x="2870" y="0"/>
                    <a:pt x="2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3" name="Google Shape;11043;p60"/>
            <p:cNvSpPr/>
            <p:nvPr/>
          </p:nvSpPr>
          <p:spPr>
            <a:xfrm>
              <a:off x="7334245"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39" y="845"/>
                    <a:pt x="2530" y="844"/>
                    <a:pt x="2521" y="844"/>
                  </a:cubicBezTo>
                  <a:cubicBezTo>
                    <a:pt x="2456" y="844"/>
                    <a:pt x="2389" y="878"/>
                    <a:pt x="2358" y="930"/>
                  </a:cubicBezTo>
                  <a:cubicBezTo>
                    <a:pt x="2001" y="1418"/>
                    <a:pt x="1203" y="1430"/>
                    <a:pt x="1191"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51" y="2180"/>
                    <a:pt x="3215" y="2203"/>
                  </a:cubicBezTo>
                  <a:lnTo>
                    <a:pt x="3215" y="1965"/>
                  </a:lnTo>
                  <a:close/>
                  <a:moveTo>
                    <a:pt x="1001" y="1965"/>
                  </a:moveTo>
                  <a:lnTo>
                    <a:pt x="1001" y="2215"/>
                  </a:lnTo>
                  <a:cubicBezTo>
                    <a:pt x="953" y="2192"/>
                    <a:pt x="929" y="2144"/>
                    <a:pt x="929" y="2084"/>
                  </a:cubicBezTo>
                  <a:cubicBezTo>
                    <a:pt x="929" y="2037"/>
                    <a:pt x="941" y="2013"/>
                    <a:pt x="965" y="1977"/>
                  </a:cubicBezTo>
                  <a:cubicBezTo>
                    <a:pt x="989" y="1977"/>
                    <a:pt x="989" y="1977"/>
                    <a:pt x="1001" y="1965"/>
                  </a:cubicBezTo>
                  <a:close/>
                  <a:moveTo>
                    <a:pt x="2442" y="1406"/>
                  </a:moveTo>
                  <a:cubicBezTo>
                    <a:pt x="2513" y="1537"/>
                    <a:pt x="2632" y="1680"/>
                    <a:pt x="2811" y="1763"/>
                  </a:cubicBezTo>
                  <a:lnTo>
                    <a:pt x="2811" y="2323"/>
                  </a:lnTo>
                  <a:cubicBezTo>
                    <a:pt x="2834" y="2668"/>
                    <a:pt x="2549" y="2954"/>
                    <a:pt x="2191" y="2954"/>
                  </a:cubicBezTo>
                  <a:lnTo>
                    <a:pt x="2013" y="2954"/>
                  </a:lnTo>
                  <a:cubicBezTo>
                    <a:pt x="1668" y="2954"/>
                    <a:pt x="1382" y="2668"/>
                    <a:pt x="1382" y="2323"/>
                  </a:cubicBezTo>
                  <a:lnTo>
                    <a:pt x="1382" y="1799"/>
                  </a:lnTo>
                  <a:cubicBezTo>
                    <a:pt x="1644" y="1775"/>
                    <a:pt x="2084" y="1680"/>
                    <a:pt x="2442" y="1406"/>
                  </a:cubicBezTo>
                  <a:close/>
                  <a:moveTo>
                    <a:pt x="2311" y="3335"/>
                  </a:moveTo>
                  <a:lnTo>
                    <a:pt x="2322"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8" y="5609"/>
                    <a:pt x="894" y="5525"/>
                    <a:pt x="894" y="5418"/>
                  </a:cubicBezTo>
                  <a:cubicBezTo>
                    <a:pt x="894" y="5311"/>
                    <a:pt x="798"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1"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39" y="5537"/>
                    <a:pt x="4239" y="5430"/>
                  </a:cubicBezTo>
                  <a:lnTo>
                    <a:pt x="4239" y="4739"/>
                  </a:lnTo>
                  <a:cubicBezTo>
                    <a:pt x="4204" y="3918"/>
                    <a:pt x="3573" y="3668"/>
                    <a:pt x="3501" y="3632"/>
                  </a:cubicBezTo>
                  <a:lnTo>
                    <a:pt x="2715" y="3323"/>
                  </a:lnTo>
                  <a:lnTo>
                    <a:pt x="2715" y="3216"/>
                  </a:lnTo>
                  <a:cubicBezTo>
                    <a:pt x="2918" y="3096"/>
                    <a:pt x="3084" y="2894"/>
                    <a:pt x="3168" y="2656"/>
                  </a:cubicBezTo>
                  <a:cubicBezTo>
                    <a:pt x="3454" y="2620"/>
                    <a:pt x="3680" y="2382"/>
                    <a:pt x="3680" y="2096"/>
                  </a:cubicBezTo>
                  <a:cubicBezTo>
                    <a:pt x="3680" y="1918"/>
                    <a:pt x="3608" y="1775"/>
                    <a:pt x="3465" y="1668"/>
                  </a:cubicBezTo>
                  <a:lnTo>
                    <a:pt x="3465" y="1322"/>
                  </a:lnTo>
                  <a:cubicBezTo>
                    <a:pt x="3465"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4" name="Google Shape;11044;p60"/>
            <p:cNvSpPr/>
            <p:nvPr/>
          </p:nvSpPr>
          <p:spPr>
            <a:xfrm>
              <a:off x="7070872" y="2602600"/>
              <a:ext cx="134949" cy="179284"/>
            </a:xfrm>
            <a:custGeom>
              <a:avLst/>
              <a:gdLst/>
              <a:ahLst/>
              <a:cxnLst/>
              <a:rect l="l" t="t" r="r" b="b"/>
              <a:pathLst>
                <a:path w="4240" h="5633" extrusionOk="0">
                  <a:moveTo>
                    <a:pt x="2144" y="394"/>
                  </a:moveTo>
                  <a:cubicBezTo>
                    <a:pt x="2656" y="394"/>
                    <a:pt x="3073" y="810"/>
                    <a:pt x="3073" y="1311"/>
                  </a:cubicBezTo>
                  <a:lnTo>
                    <a:pt x="3073" y="1430"/>
                  </a:lnTo>
                  <a:lnTo>
                    <a:pt x="3049" y="1430"/>
                  </a:lnTo>
                  <a:cubicBezTo>
                    <a:pt x="2787" y="1370"/>
                    <a:pt x="2692" y="1001"/>
                    <a:pt x="2692" y="1001"/>
                  </a:cubicBezTo>
                  <a:cubicBezTo>
                    <a:pt x="2680" y="930"/>
                    <a:pt x="2620" y="870"/>
                    <a:pt x="2549" y="846"/>
                  </a:cubicBezTo>
                  <a:cubicBezTo>
                    <a:pt x="2540" y="845"/>
                    <a:pt x="2530" y="844"/>
                    <a:pt x="2521" y="844"/>
                  </a:cubicBezTo>
                  <a:cubicBezTo>
                    <a:pt x="2457" y="844"/>
                    <a:pt x="2389" y="878"/>
                    <a:pt x="2358" y="930"/>
                  </a:cubicBezTo>
                  <a:cubicBezTo>
                    <a:pt x="2001" y="1418"/>
                    <a:pt x="1203" y="1430"/>
                    <a:pt x="1192" y="1430"/>
                  </a:cubicBezTo>
                  <a:lnTo>
                    <a:pt x="1132" y="1430"/>
                  </a:lnTo>
                  <a:lnTo>
                    <a:pt x="1132" y="1311"/>
                  </a:lnTo>
                  <a:cubicBezTo>
                    <a:pt x="1132" y="810"/>
                    <a:pt x="1549" y="394"/>
                    <a:pt x="2061" y="394"/>
                  </a:cubicBezTo>
                  <a:close/>
                  <a:moveTo>
                    <a:pt x="3227" y="1965"/>
                  </a:moveTo>
                  <a:cubicBezTo>
                    <a:pt x="3263" y="2001"/>
                    <a:pt x="3275" y="2037"/>
                    <a:pt x="3275" y="2073"/>
                  </a:cubicBezTo>
                  <a:cubicBezTo>
                    <a:pt x="3275" y="2132"/>
                    <a:pt x="3239" y="2180"/>
                    <a:pt x="3216" y="2203"/>
                  </a:cubicBezTo>
                  <a:lnTo>
                    <a:pt x="3216" y="1965"/>
                  </a:lnTo>
                  <a:close/>
                  <a:moveTo>
                    <a:pt x="1001" y="1965"/>
                  </a:moveTo>
                  <a:lnTo>
                    <a:pt x="1001" y="2215"/>
                  </a:lnTo>
                  <a:cubicBezTo>
                    <a:pt x="953" y="2192"/>
                    <a:pt x="930" y="2144"/>
                    <a:pt x="930" y="2084"/>
                  </a:cubicBezTo>
                  <a:cubicBezTo>
                    <a:pt x="930" y="2037"/>
                    <a:pt x="941" y="2013"/>
                    <a:pt x="965" y="1977"/>
                  </a:cubicBezTo>
                  <a:cubicBezTo>
                    <a:pt x="989" y="1977"/>
                    <a:pt x="989" y="1977"/>
                    <a:pt x="1001" y="1965"/>
                  </a:cubicBezTo>
                  <a:close/>
                  <a:moveTo>
                    <a:pt x="2454" y="1406"/>
                  </a:moveTo>
                  <a:cubicBezTo>
                    <a:pt x="2525" y="1537"/>
                    <a:pt x="2644" y="1680"/>
                    <a:pt x="2823" y="1763"/>
                  </a:cubicBezTo>
                  <a:lnTo>
                    <a:pt x="2823" y="2323"/>
                  </a:lnTo>
                  <a:cubicBezTo>
                    <a:pt x="2835" y="2668"/>
                    <a:pt x="2549" y="2954"/>
                    <a:pt x="2204" y="2954"/>
                  </a:cubicBezTo>
                  <a:lnTo>
                    <a:pt x="2025" y="2954"/>
                  </a:lnTo>
                  <a:cubicBezTo>
                    <a:pt x="1680" y="2954"/>
                    <a:pt x="1406" y="2668"/>
                    <a:pt x="1406" y="2323"/>
                  </a:cubicBezTo>
                  <a:lnTo>
                    <a:pt x="1406" y="1799"/>
                  </a:lnTo>
                  <a:cubicBezTo>
                    <a:pt x="1656" y="1775"/>
                    <a:pt x="2120" y="1680"/>
                    <a:pt x="2454" y="1406"/>
                  </a:cubicBezTo>
                  <a:close/>
                  <a:moveTo>
                    <a:pt x="2311" y="3335"/>
                  </a:moveTo>
                  <a:lnTo>
                    <a:pt x="2323" y="3442"/>
                  </a:lnTo>
                  <a:lnTo>
                    <a:pt x="2096" y="3668"/>
                  </a:lnTo>
                  <a:lnTo>
                    <a:pt x="1894" y="3466"/>
                  </a:lnTo>
                  <a:lnTo>
                    <a:pt x="1894" y="3335"/>
                  </a:lnTo>
                  <a:close/>
                  <a:moveTo>
                    <a:pt x="2061" y="1"/>
                  </a:moveTo>
                  <a:cubicBezTo>
                    <a:pt x="1322" y="1"/>
                    <a:pt x="727" y="596"/>
                    <a:pt x="727" y="1322"/>
                  </a:cubicBezTo>
                  <a:lnTo>
                    <a:pt x="727" y="1668"/>
                  </a:lnTo>
                  <a:cubicBezTo>
                    <a:pt x="608" y="1775"/>
                    <a:pt x="525" y="1918"/>
                    <a:pt x="525" y="2096"/>
                  </a:cubicBezTo>
                  <a:cubicBezTo>
                    <a:pt x="525" y="2394"/>
                    <a:pt x="739" y="2632"/>
                    <a:pt x="1037" y="2656"/>
                  </a:cubicBezTo>
                  <a:cubicBezTo>
                    <a:pt x="1120" y="2894"/>
                    <a:pt x="1275" y="3096"/>
                    <a:pt x="1501" y="3216"/>
                  </a:cubicBezTo>
                  <a:lnTo>
                    <a:pt x="1501" y="3323"/>
                  </a:lnTo>
                  <a:lnTo>
                    <a:pt x="703" y="3632"/>
                  </a:lnTo>
                  <a:cubicBezTo>
                    <a:pt x="620" y="3668"/>
                    <a:pt x="1" y="3918"/>
                    <a:pt x="1" y="4716"/>
                  </a:cubicBezTo>
                  <a:lnTo>
                    <a:pt x="1" y="5418"/>
                  </a:lnTo>
                  <a:cubicBezTo>
                    <a:pt x="1" y="5525"/>
                    <a:pt x="84" y="5609"/>
                    <a:pt x="191" y="5609"/>
                  </a:cubicBezTo>
                  <a:lnTo>
                    <a:pt x="703" y="5609"/>
                  </a:lnTo>
                  <a:cubicBezTo>
                    <a:pt x="799" y="5609"/>
                    <a:pt x="894" y="5525"/>
                    <a:pt x="894" y="5418"/>
                  </a:cubicBezTo>
                  <a:cubicBezTo>
                    <a:pt x="894" y="5311"/>
                    <a:pt x="799" y="5228"/>
                    <a:pt x="703" y="5228"/>
                  </a:cubicBezTo>
                  <a:lnTo>
                    <a:pt x="406" y="5228"/>
                  </a:lnTo>
                  <a:lnTo>
                    <a:pt x="406" y="4716"/>
                  </a:lnTo>
                  <a:cubicBezTo>
                    <a:pt x="406" y="4168"/>
                    <a:pt x="834" y="4025"/>
                    <a:pt x="846" y="4001"/>
                  </a:cubicBezTo>
                  <a:lnTo>
                    <a:pt x="858" y="4001"/>
                  </a:lnTo>
                  <a:lnTo>
                    <a:pt x="1608" y="3727"/>
                  </a:lnTo>
                  <a:lnTo>
                    <a:pt x="1989" y="4108"/>
                  </a:lnTo>
                  <a:cubicBezTo>
                    <a:pt x="2025" y="4144"/>
                    <a:pt x="2084" y="4168"/>
                    <a:pt x="2132" y="4168"/>
                  </a:cubicBezTo>
                  <a:cubicBezTo>
                    <a:pt x="2192" y="4168"/>
                    <a:pt x="2227" y="4144"/>
                    <a:pt x="2263" y="4108"/>
                  </a:cubicBezTo>
                  <a:lnTo>
                    <a:pt x="2632" y="3727"/>
                  </a:lnTo>
                  <a:lnTo>
                    <a:pt x="3382" y="4025"/>
                  </a:lnTo>
                  <a:lnTo>
                    <a:pt x="3394" y="4025"/>
                  </a:lnTo>
                  <a:cubicBezTo>
                    <a:pt x="3406" y="4025"/>
                    <a:pt x="3835" y="4180"/>
                    <a:pt x="3835" y="4739"/>
                  </a:cubicBezTo>
                  <a:lnTo>
                    <a:pt x="3835" y="5240"/>
                  </a:lnTo>
                  <a:lnTo>
                    <a:pt x="1334" y="5240"/>
                  </a:lnTo>
                  <a:cubicBezTo>
                    <a:pt x="1239" y="5240"/>
                    <a:pt x="1144" y="5335"/>
                    <a:pt x="1144" y="5430"/>
                  </a:cubicBezTo>
                  <a:cubicBezTo>
                    <a:pt x="1144" y="5537"/>
                    <a:pt x="1239" y="5632"/>
                    <a:pt x="1334" y="5632"/>
                  </a:cubicBezTo>
                  <a:lnTo>
                    <a:pt x="4049" y="5632"/>
                  </a:lnTo>
                  <a:cubicBezTo>
                    <a:pt x="4156" y="5632"/>
                    <a:pt x="4240" y="5537"/>
                    <a:pt x="4240" y="5430"/>
                  </a:cubicBezTo>
                  <a:lnTo>
                    <a:pt x="4240" y="4739"/>
                  </a:lnTo>
                  <a:cubicBezTo>
                    <a:pt x="4216" y="3918"/>
                    <a:pt x="3573" y="3668"/>
                    <a:pt x="3501" y="3632"/>
                  </a:cubicBezTo>
                  <a:lnTo>
                    <a:pt x="2716" y="3323"/>
                  </a:lnTo>
                  <a:lnTo>
                    <a:pt x="2716" y="3216"/>
                  </a:lnTo>
                  <a:cubicBezTo>
                    <a:pt x="2918" y="3096"/>
                    <a:pt x="3085" y="2894"/>
                    <a:pt x="3168" y="2656"/>
                  </a:cubicBezTo>
                  <a:cubicBezTo>
                    <a:pt x="3454" y="2620"/>
                    <a:pt x="3680" y="2382"/>
                    <a:pt x="3680" y="2096"/>
                  </a:cubicBezTo>
                  <a:cubicBezTo>
                    <a:pt x="3680" y="1918"/>
                    <a:pt x="3608" y="1775"/>
                    <a:pt x="3466" y="1668"/>
                  </a:cubicBezTo>
                  <a:lnTo>
                    <a:pt x="3466" y="1322"/>
                  </a:lnTo>
                  <a:cubicBezTo>
                    <a:pt x="3466" y="596"/>
                    <a:pt x="2870"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45" name="Google Shape;11045;p60"/>
          <p:cNvSpPr/>
          <p:nvPr/>
        </p:nvSpPr>
        <p:spPr>
          <a:xfrm>
            <a:off x="6238328" y="2433596"/>
            <a:ext cx="316461" cy="324036"/>
          </a:xfrm>
          <a:custGeom>
            <a:avLst/>
            <a:gdLst/>
            <a:ahLst/>
            <a:cxnLst/>
            <a:rect l="l" t="t" r="r" b="b"/>
            <a:pathLst>
              <a:path w="9943" h="10181" extrusionOk="0">
                <a:moveTo>
                  <a:pt x="7883" y="536"/>
                </a:moveTo>
                <a:lnTo>
                  <a:pt x="9264" y="1918"/>
                </a:lnTo>
                <a:lnTo>
                  <a:pt x="7883" y="1918"/>
                </a:lnTo>
                <a:lnTo>
                  <a:pt x="7883" y="536"/>
                </a:lnTo>
                <a:close/>
                <a:moveTo>
                  <a:pt x="6442" y="1537"/>
                </a:moveTo>
                <a:lnTo>
                  <a:pt x="7823" y="2918"/>
                </a:lnTo>
                <a:lnTo>
                  <a:pt x="6442" y="2918"/>
                </a:lnTo>
                <a:lnTo>
                  <a:pt x="6442" y="1537"/>
                </a:lnTo>
                <a:close/>
                <a:moveTo>
                  <a:pt x="2954" y="5323"/>
                </a:moveTo>
                <a:cubicBezTo>
                  <a:pt x="3489" y="5323"/>
                  <a:pt x="3918" y="5799"/>
                  <a:pt x="3918" y="6394"/>
                </a:cubicBezTo>
                <a:lnTo>
                  <a:pt x="3930" y="6478"/>
                </a:lnTo>
                <a:cubicBezTo>
                  <a:pt x="3906" y="6478"/>
                  <a:pt x="3906" y="6478"/>
                  <a:pt x="3894" y="6490"/>
                </a:cubicBezTo>
                <a:cubicBezTo>
                  <a:pt x="3585" y="6418"/>
                  <a:pt x="3489" y="5966"/>
                  <a:pt x="3489" y="5966"/>
                </a:cubicBezTo>
                <a:cubicBezTo>
                  <a:pt x="3477" y="5906"/>
                  <a:pt x="3430" y="5847"/>
                  <a:pt x="3358" y="5835"/>
                </a:cubicBezTo>
                <a:cubicBezTo>
                  <a:pt x="3348" y="5833"/>
                  <a:pt x="3338" y="5832"/>
                  <a:pt x="3328" y="5832"/>
                </a:cubicBezTo>
                <a:cubicBezTo>
                  <a:pt x="3276" y="5832"/>
                  <a:pt x="3221" y="5857"/>
                  <a:pt x="3192" y="5906"/>
                </a:cubicBezTo>
                <a:cubicBezTo>
                  <a:pt x="2823" y="6478"/>
                  <a:pt x="1989" y="6490"/>
                  <a:pt x="1977" y="6490"/>
                </a:cubicBezTo>
                <a:lnTo>
                  <a:pt x="1930" y="6490"/>
                </a:lnTo>
                <a:cubicBezTo>
                  <a:pt x="1918" y="6490"/>
                  <a:pt x="1894" y="6490"/>
                  <a:pt x="1894" y="6478"/>
                </a:cubicBezTo>
                <a:lnTo>
                  <a:pt x="1894" y="6394"/>
                </a:lnTo>
                <a:cubicBezTo>
                  <a:pt x="1894" y="5799"/>
                  <a:pt x="2334" y="5323"/>
                  <a:pt x="2870" y="5323"/>
                </a:cubicBezTo>
                <a:close/>
                <a:moveTo>
                  <a:pt x="1668" y="6906"/>
                </a:moveTo>
                <a:cubicBezTo>
                  <a:pt x="1680" y="6906"/>
                  <a:pt x="1692" y="6918"/>
                  <a:pt x="1703" y="6918"/>
                </a:cubicBezTo>
                <a:lnTo>
                  <a:pt x="1703" y="7097"/>
                </a:lnTo>
                <a:cubicBezTo>
                  <a:pt x="1727" y="7132"/>
                  <a:pt x="1727" y="7192"/>
                  <a:pt x="1727" y="7228"/>
                </a:cubicBezTo>
                <a:cubicBezTo>
                  <a:pt x="1644" y="7216"/>
                  <a:pt x="1584" y="7144"/>
                  <a:pt x="1584" y="7049"/>
                </a:cubicBezTo>
                <a:cubicBezTo>
                  <a:pt x="1584" y="6990"/>
                  <a:pt x="1620" y="6930"/>
                  <a:pt x="1668" y="6906"/>
                </a:cubicBezTo>
                <a:close/>
                <a:moveTo>
                  <a:pt x="4168" y="6894"/>
                </a:moveTo>
                <a:cubicBezTo>
                  <a:pt x="4204" y="6918"/>
                  <a:pt x="4239" y="6978"/>
                  <a:pt x="4239" y="7037"/>
                </a:cubicBezTo>
                <a:cubicBezTo>
                  <a:pt x="4228" y="7144"/>
                  <a:pt x="4180" y="7216"/>
                  <a:pt x="4109" y="7228"/>
                </a:cubicBezTo>
                <a:cubicBezTo>
                  <a:pt x="4109" y="7192"/>
                  <a:pt x="4120" y="7132"/>
                  <a:pt x="4120" y="7085"/>
                </a:cubicBezTo>
                <a:lnTo>
                  <a:pt x="4120" y="6906"/>
                </a:lnTo>
                <a:cubicBezTo>
                  <a:pt x="4132" y="6906"/>
                  <a:pt x="4144" y="6906"/>
                  <a:pt x="4168" y="6894"/>
                </a:cubicBezTo>
                <a:close/>
                <a:moveTo>
                  <a:pt x="3251" y="6311"/>
                </a:moveTo>
                <a:cubicBezTo>
                  <a:pt x="3347" y="6490"/>
                  <a:pt x="3513" y="6716"/>
                  <a:pt x="3775" y="6787"/>
                </a:cubicBezTo>
                <a:lnTo>
                  <a:pt x="3775" y="7085"/>
                </a:lnTo>
                <a:cubicBezTo>
                  <a:pt x="3775" y="7561"/>
                  <a:pt x="3430" y="7942"/>
                  <a:pt x="3001" y="7942"/>
                </a:cubicBezTo>
                <a:lnTo>
                  <a:pt x="2787" y="7942"/>
                </a:lnTo>
                <a:cubicBezTo>
                  <a:pt x="2358" y="7942"/>
                  <a:pt x="2013" y="7561"/>
                  <a:pt x="2013" y="7085"/>
                </a:cubicBezTo>
                <a:lnTo>
                  <a:pt x="2013" y="6799"/>
                </a:lnTo>
                <a:lnTo>
                  <a:pt x="2037" y="6799"/>
                </a:lnTo>
                <a:cubicBezTo>
                  <a:pt x="2227" y="6787"/>
                  <a:pt x="2835" y="6728"/>
                  <a:pt x="3251" y="6311"/>
                </a:cubicBezTo>
                <a:close/>
                <a:moveTo>
                  <a:pt x="3013" y="8240"/>
                </a:moveTo>
                <a:cubicBezTo>
                  <a:pt x="3061" y="8264"/>
                  <a:pt x="3108" y="8264"/>
                  <a:pt x="3156" y="8264"/>
                </a:cubicBezTo>
                <a:lnTo>
                  <a:pt x="3156" y="8418"/>
                </a:lnTo>
                <a:lnTo>
                  <a:pt x="2918" y="8656"/>
                </a:lnTo>
                <a:lnTo>
                  <a:pt x="2692" y="8442"/>
                </a:lnTo>
                <a:lnTo>
                  <a:pt x="2692" y="8240"/>
                </a:lnTo>
                <a:close/>
                <a:moveTo>
                  <a:pt x="7597" y="334"/>
                </a:moveTo>
                <a:lnTo>
                  <a:pt x="7597" y="2108"/>
                </a:lnTo>
                <a:cubicBezTo>
                  <a:pt x="7597" y="2203"/>
                  <a:pt x="7680" y="2275"/>
                  <a:pt x="7764" y="2275"/>
                </a:cubicBezTo>
                <a:lnTo>
                  <a:pt x="9538" y="2275"/>
                </a:lnTo>
                <a:lnTo>
                  <a:pt x="9538" y="8871"/>
                </a:lnTo>
                <a:lnTo>
                  <a:pt x="8359" y="8871"/>
                </a:lnTo>
                <a:lnTo>
                  <a:pt x="8359" y="3084"/>
                </a:lnTo>
                <a:lnTo>
                  <a:pt x="8359" y="3061"/>
                </a:lnTo>
                <a:lnTo>
                  <a:pt x="8359" y="3049"/>
                </a:lnTo>
                <a:cubicBezTo>
                  <a:pt x="8359" y="3049"/>
                  <a:pt x="8359" y="3037"/>
                  <a:pt x="8347" y="3037"/>
                </a:cubicBezTo>
                <a:cubicBezTo>
                  <a:pt x="8347" y="3037"/>
                  <a:pt x="8347" y="3013"/>
                  <a:pt x="8335" y="3013"/>
                </a:cubicBezTo>
                <a:lnTo>
                  <a:pt x="8311" y="3001"/>
                </a:lnTo>
                <a:lnTo>
                  <a:pt x="6383" y="1072"/>
                </a:lnTo>
                <a:lnTo>
                  <a:pt x="6371" y="1048"/>
                </a:lnTo>
                <a:lnTo>
                  <a:pt x="6347" y="1036"/>
                </a:lnTo>
                <a:cubicBezTo>
                  <a:pt x="6347" y="1036"/>
                  <a:pt x="6335" y="1036"/>
                  <a:pt x="6335" y="1025"/>
                </a:cubicBezTo>
                <a:lnTo>
                  <a:pt x="3882" y="1025"/>
                </a:lnTo>
                <a:lnTo>
                  <a:pt x="3882" y="334"/>
                </a:lnTo>
                <a:close/>
                <a:moveTo>
                  <a:pt x="6085" y="1334"/>
                </a:moveTo>
                <a:lnTo>
                  <a:pt x="6085" y="3108"/>
                </a:lnTo>
                <a:cubicBezTo>
                  <a:pt x="6085" y="3192"/>
                  <a:pt x="6156" y="3275"/>
                  <a:pt x="6240" y="3275"/>
                </a:cubicBezTo>
                <a:lnTo>
                  <a:pt x="8014" y="3275"/>
                </a:lnTo>
                <a:lnTo>
                  <a:pt x="8049" y="9883"/>
                </a:lnTo>
                <a:lnTo>
                  <a:pt x="4311" y="9883"/>
                </a:lnTo>
                <a:cubicBezTo>
                  <a:pt x="5192" y="9407"/>
                  <a:pt x="5811" y="8502"/>
                  <a:pt x="5871" y="7430"/>
                </a:cubicBezTo>
                <a:lnTo>
                  <a:pt x="5871" y="7406"/>
                </a:lnTo>
                <a:lnTo>
                  <a:pt x="5871" y="7347"/>
                </a:lnTo>
                <a:lnTo>
                  <a:pt x="5871" y="7323"/>
                </a:lnTo>
                <a:lnTo>
                  <a:pt x="5871" y="7311"/>
                </a:lnTo>
                <a:lnTo>
                  <a:pt x="5871" y="7263"/>
                </a:lnTo>
                <a:lnTo>
                  <a:pt x="5871" y="7228"/>
                </a:lnTo>
                <a:lnTo>
                  <a:pt x="5871" y="7216"/>
                </a:lnTo>
                <a:lnTo>
                  <a:pt x="5871" y="7168"/>
                </a:lnTo>
                <a:lnTo>
                  <a:pt x="5871" y="7144"/>
                </a:lnTo>
                <a:lnTo>
                  <a:pt x="5871" y="7121"/>
                </a:lnTo>
                <a:lnTo>
                  <a:pt x="5871" y="7085"/>
                </a:lnTo>
                <a:lnTo>
                  <a:pt x="5871" y="7049"/>
                </a:lnTo>
                <a:lnTo>
                  <a:pt x="5871" y="7002"/>
                </a:lnTo>
                <a:lnTo>
                  <a:pt x="5871" y="6978"/>
                </a:lnTo>
                <a:lnTo>
                  <a:pt x="5871" y="6930"/>
                </a:lnTo>
                <a:lnTo>
                  <a:pt x="5871" y="6906"/>
                </a:lnTo>
                <a:lnTo>
                  <a:pt x="5871" y="6859"/>
                </a:lnTo>
                <a:lnTo>
                  <a:pt x="5871" y="6847"/>
                </a:lnTo>
                <a:lnTo>
                  <a:pt x="5871" y="6823"/>
                </a:lnTo>
                <a:lnTo>
                  <a:pt x="5871" y="6787"/>
                </a:lnTo>
                <a:lnTo>
                  <a:pt x="5871" y="6751"/>
                </a:lnTo>
                <a:cubicBezTo>
                  <a:pt x="5871" y="6728"/>
                  <a:pt x="5859" y="6704"/>
                  <a:pt x="5859" y="6680"/>
                </a:cubicBezTo>
                <a:cubicBezTo>
                  <a:pt x="5859" y="6644"/>
                  <a:pt x="5847" y="6632"/>
                  <a:pt x="5847" y="6609"/>
                </a:cubicBezTo>
                <a:lnTo>
                  <a:pt x="5847" y="6573"/>
                </a:lnTo>
                <a:cubicBezTo>
                  <a:pt x="5847" y="6561"/>
                  <a:pt x="5835" y="6549"/>
                  <a:pt x="5835" y="6525"/>
                </a:cubicBezTo>
                <a:lnTo>
                  <a:pt x="5835" y="6513"/>
                </a:lnTo>
                <a:lnTo>
                  <a:pt x="5835" y="6501"/>
                </a:lnTo>
                <a:cubicBezTo>
                  <a:pt x="5835" y="6490"/>
                  <a:pt x="5811" y="6466"/>
                  <a:pt x="5811" y="6454"/>
                </a:cubicBezTo>
                <a:cubicBezTo>
                  <a:pt x="5811" y="6442"/>
                  <a:pt x="5811" y="6442"/>
                  <a:pt x="5799" y="6430"/>
                </a:cubicBezTo>
                <a:cubicBezTo>
                  <a:pt x="5799" y="6406"/>
                  <a:pt x="5787" y="6394"/>
                  <a:pt x="5787" y="6382"/>
                </a:cubicBezTo>
                <a:lnTo>
                  <a:pt x="5775" y="6347"/>
                </a:lnTo>
                <a:cubicBezTo>
                  <a:pt x="5775" y="6335"/>
                  <a:pt x="5752" y="6323"/>
                  <a:pt x="5752" y="6311"/>
                </a:cubicBezTo>
                <a:cubicBezTo>
                  <a:pt x="5752" y="6287"/>
                  <a:pt x="5752" y="6287"/>
                  <a:pt x="5740" y="6275"/>
                </a:cubicBezTo>
                <a:cubicBezTo>
                  <a:pt x="5740" y="6263"/>
                  <a:pt x="5728" y="6251"/>
                  <a:pt x="5728" y="6228"/>
                </a:cubicBezTo>
                <a:lnTo>
                  <a:pt x="5716" y="6204"/>
                </a:lnTo>
                <a:cubicBezTo>
                  <a:pt x="5716" y="6192"/>
                  <a:pt x="5692" y="6168"/>
                  <a:pt x="5692" y="6156"/>
                </a:cubicBezTo>
                <a:lnTo>
                  <a:pt x="5692" y="6144"/>
                </a:lnTo>
                <a:cubicBezTo>
                  <a:pt x="5656" y="6037"/>
                  <a:pt x="5597" y="5930"/>
                  <a:pt x="5549" y="5835"/>
                </a:cubicBezTo>
                <a:cubicBezTo>
                  <a:pt x="5518" y="5780"/>
                  <a:pt x="5461" y="5751"/>
                  <a:pt x="5405" y="5751"/>
                </a:cubicBezTo>
                <a:cubicBezTo>
                  <a:pt x="5376" y="5751"/>
                  <a:pt x="5347" y="5759"/>
                  <a:pt x="5323" y="5775"/>
                </a:cubicBezTo>
                <a:cubicBezTo>
                  <a:pt x="5252" y="5811"/>
                  <a:pt x="5216" y="5918"/>
                  <a:pt x="5263" y="5989"/>
                </a:cubicBezTo>
                <a:cubicBezTo>
                  <a:pt x="5311" y="6085"/>
                  <a:pt x="5371" y="6192"/>
                  <a:pt x="5394" y="6275"/>
                </a:cubicBezTo>
                <a:lnTo>
                  <a:pt x="5394" y="6287"/>
                </a:lnTo>
                <a:cubicBezTo>
                  <a:pt x="5394" y="6311"/>
                  <a:pt x="5418" y="6323"/>
                  <a:pt x="5418" y="6335"/>
                </a:cubicBezTo>
                <a:lnTo>
                  <a:pt x="5430" y="6370"/>
                </a:lnTo>
                <a:cubicBezTo>
                  <a:pt x="5430" y="6382"/>
                  <a:pt x="5442" y="6394"/>
                  <a:pt x="5442" y="6406"/>
                </a:cubicBezTo>
                <a:cubicBezTo>
                  <a:pt x="5442" y="6430"/>
                  <a:pt x="5442" y="6430"/>
                  <a:pt x="5454" y="6442"/>
                </a:cubicBezTo>
                <a:cubicBezTo>
                  <a:pt x="5454" y="6454"/>
                  <a:pt x="5478" y="6466"/>
                  <a:pt x="5478" y="6490"/>
                </a:cubicBezTo>
                <a:lnTo>
                  <a:pt x="5490" y="6513"/>
                </a:lnTo>
                <a:cubicBezTo>
                  <a:pt x="5490" y="6525"/>
                  <a:pt x="5502" y="6549"/>
                  <a:pt x="5502" y="6561"/>
                </a:cubicBezTo>
                <a:lnTo>
                  <a:pt x="5502" y="6585"/>
                </a:lnTo>
                <a:cubicBezTo>
                  <a:pt x="5502" y="6609"/>
                  <a:pt x="5513" y="6621"/>
                  <a:pt x="5513" y="6632"/>
                </a:cubicBezTo>
                <a:lnTo>
                  <a:pt x="5513" y="6668"/>
                </a:lnTo>
                <a:cubicBezTo>
                  <a:pt x="5513" y="6680"/>
                  <a:pt x="5513" y="6692"/>
                  <a:pt x="5537" y="6704"/>
                </a:cubicBezTo>
                <a:lnTo>
                  <a:pt x="5537" y="6740"/>
                </a:lnTo>
                <a:cubicBezTo>
                  <a:pt x="5537" y="6751"/>
                  <a:pt x="5549" y="6787"/>
                  <a:pt x="5549" y="6799"/>
                </a:cubicBezTo>
                <a:cubicBezTo>
                  <a:pt x="5549" y="6811"/>
                  <a:pt x="5561" y="6847"/>
                  <a:pt x="5561" y="6859"/>
                </a:cubicBezTo>
                <a:lnTo>
                  <a:pt x="5561" y="6882"/>
                </a:lnTo>
                <a:lnTo>
                  <a:pt x="5561" y="6930"/>
                </a:lnTo>
                <a:lnTo>
                  <a:pt x="5561" y="6942"/>
                </a:lnTo>
                <a:lnTo>
                  <a:pt x="5561" y="6966"/>
                </a:lnTo>
                <a:lnTo>
                  <a:pt x="5561" y="7002"/>
                </a:lnTo>
                <a:lnTo>
                  <a:pt x="5561" y="7037"/>
                </a:lnTo>
                <a:lnTo>
                  <a:pt x="5561" y="7085"/>
                </a:lnTo>
                <a:lnTo>
                  <a:pt x="5561" y="7109"/>
                </a:lnTo>
                <a:lnTo>
                  <a:pt x="5561" y="7156"/>
                </a:lnTo>
                <a:lnTo>
                  <a:pt x="5561" y="7180"/>
                </a:lnTo>
                <a:lnTo>
                  <a:pt x="5561" y="7216"/>
                </a:lnTo>
                <a:lnTo>
                  <a:pt x="5561" y="7240"/>
                </a:lnTo>
                <a:lnTo>
                  <a:pt x="5561" y="7287"/>
                </a:lnTo>
                <a:lnTo>
                  <a:pt x="5561" y="7299"/>
                </a:lnTo>
                <a:lnTo>
                  <a:pt x="5561" y="7335"/>
                </a:lnTo>
                <a:lnTo>
                  <a:pt x="5561" y="7359"/>
                </a:lnTo>
                <a:lnTo>
                  <a:pt x="5561" y="7383"/>
                </a:lnTo>
                <a:lnTo>
                  <a:pt x="5561" y="7394"/>
                </a:lnTo>
                <a:lnTo>
                  <a:pt x="5561" y="7454"/>
                </a:lnTo>
                <a:lnTo>
                  <a:pt x="5561" y="7466"/>
                </a:lnTo>
                <a:cubicBezTo>
                  <a:pt x="5537" y="8133"/>
                  <a:pt x="5252" y="8728"/>
                  <a:pt x="4823" y="9180"/>
                </a:cubicBezTo>
                <a:cubicBezTo>
                  <a:pt x="4644" y="8835"/>
                  <a:pt x="4323" y="8704"/>
                  <a:pt x="4287" y="8692"/>
                </a:cubicBezTo>
                <a:lnTo>
                  <a:pt x="3513" y="8371"/>
                </a:lnTo>
                <a:lnTo>
                  <a:pt x="3513" y="8228"/>
                </a:lnTo>
                <a:cubicBezTo>
                  <a:pt x="3751" y="8109"/>
                  <a:pt x="3942" y="7894"/>
                  <a:pt x="4049" y="7633"/>
                </a:cubicBezTo>
                <a:lnTo>
                  <a:pt x="4085" y="7633"/>
                </a:lnTo>
                <a:cubicBezTo>
                  <a:pt x="4359" y="7633"/>
                  <a:pt x="4585" y="7406"/>
                  <a:pt x="4585" y="7109"/>
                </a:cubicBezTo>
                <a:cubicBezTo>
                  <a:pt x="4585" y="6906"/>
                  <a:pt x="4466" y="6704"/>
                  <a:pt x="4287" y="6632"/>
                </a:cubicBezTo>
                <a:lnTo>
                  <a:pt x="4287" y="6454"/>
                </a:lnTo>
                <a:cubicBezTo>
                  <a:pt x="4287" y="5680"/>
                  <a:pt x="3704" y="5061"/>
                  <a:pt x="2989" y="5061"/>
                </a:cubicBezTo>
                <a:lnTo>
                  <a:pt x="2894" y="5061"/>
                </a:lnTo>
                <a:cubicBezTo>
                  <a:pt x="2180" y="5061"/>
                  <a:pt x="1608" y="5680"/>
                  <a:pt x="1608" y="6454"/>
                </a:cubicBezTo>
                <a:lnTo>
                  <a:pt x="1608" y="6632"/>
                </a:lnTo>
                <a:cubicBezTo>
                  <a:pt x="1430" y="6704"/>
                  <a:pt x="1311" y="6906"/>
                  <a:pt x="1311" y="7109"/>
                </a:cubicBezTo>
                <a:cubicBezTo>
                  <a:pt x="1311" y="7394"/>
                  <a:pt x="1525" y="7633"/>
                  <a:pt x="1799" y="7633"/>
                </a:cubicBezTo>
                <a:cubicBezTo>
                  <a:pt x="1811" y="7633"/>
                  <a:pt x="1823" y="7633"/>
                  <a:pt x="1846" y="7621"/>
                </a:cubicBezTo>
                <a:cubicBezTo>
                  <a:pt x="1942" y="7883"/>
                  <a:pt x="2156" y="8109"/>
                  <a:pt x="2406" y="8228"/>
                </a:cubicBezTo>
                <a:lnTo>
                  <a:pt x="2406" y="8371"/>
                </a:lnTo>
                <a:lnTo>
                  <a:pt x="1620" y="8692"/>
                </a:lnTo>
                <a:cubicBezTo>
                  <a:pt x="1572" y="8704"/>
                  <a:pt x="1251" y="8835"/>
                  <a:pt x="1084" y="9180"/>
                </a:cubicBezTo>
                <a:cubicBezTo>
                  <a:pt x="596" y="8668"/>
                  <a:pt x="299" y="7978"/>
                  <a:pt x="334" y="7216"/>
                </a:cubicBezTo>
                <a:lnTo>
                  <a:pt x="334" y="7204"/>
                </a:lnTo>
                <a:lnTo>
                  <a:pt x="334" y="7156"/>
                </a:lnTo>
                <a:lnTo>
                  <a:pt x="334" y="7144"/>
                </a:lnTo>
                <a:lnTo>
                  <a:pt x="334" y="7121"/>
                </a:lnTo>
                <a:lnTo>
                  <a:pt x="334" y="7097"/>
                </a:lnTo>
                <a:lnTo>
                  <a:pt x="334" y="7085"/>
                </a:lnTo>
                <a:lnTo>
                  <a:pt x="334" y="7061"/>
                </a:lnTo>
                <a:lnTo>
                  <a:pt x="334" y="7025"/>
                </a:lnTo>
                <a:lnTo>
                  <a:pt x="334" y="7002"/>
                </a:lnTo>
                <a:lnTo>
                  <a:pt x="334" y="6990"/>
                </a:lnTo>
                <a:lnTo>
                  <a:pt x="334" y="6942"/>
                </a:lnTo>
                <a:lnTo>
                  <a:pt x="334" y="6918"/>
                </a:lnTo>
                <a:lnTo>
                  <a:pt x="334" y="6871"/>
                </a:lnTo>
                <a:lnTo>
                  <a:pt x="334" y="6847"/>
                </a:lnTo>
                <a:cubicBezTo>
                  <a:pt x="334" y="6823"/>
                  <a:pt x="334" y="6811"/>
                  <a:pt x="358" y="6799"/>
                </a:cubicBezTo>
                <a:lnTo>
                  <a:pt x="358" y="6763"/>
                </a:lnTo>
                <a:cubicBezTo>
                  <a:pt x="358" y="6751"/>
                  <a:pt x="358" y="6740"/>
                  <a:pt x="370" y="6740"/>
                </a:cubicBezTo>
                <a:lnTo>
                  <a:pt x="370" y="6728"/>
                </a:lnTo>
                <a:lnTo>
                  <a:pt x="370" y="6704"/>
                </a:lnTo>
                <a:cubicBezTo>
                  <a:pt x="370" y="6692"/>
                  <a:pt x="370" y="6680"/>
                  <a:pt x="382" y="6668"/>
                </a:cubicBezTo>
                <a:lnTo>
                  <a:pt x="382" y="6644"/>
                </a:lnTo>
                <a:lnTo>
                  <a:pt x="382" y="6632"/>
                </a:lnTo>
                <a:cubicBezTo>
                  <a:pt x="382" y="6621"/>
                  <a:pt x="394" y="6585"/>
                  <a:pt x="394" y="6573"/>
                </a:cubicBezTo>
                <a:cubicBezTo>
                  <a:pt x="394" y="6561"/>
                  <a:pt x="406" y="6525"/>
                  <a:pt x="406" y="6513"/>
                </a:cubicBezTo>
                <a:lnTo>
                  <a:pt x="406" y="6501"/>
                </a:lnTo>
                <a:cubicBezTo>
                  <a:pt x="406" y="6490"/>
                  <a:pt x="429" y="6466"/>
                  <a:pt x="429" y="6454"/>
                </a:cubicBezTo>
                <a:cubicBezTo>
                  <a:pt x="429" y="6442"/>
                  <a:pt x="429" y="6442"/>
                  <a:pt x="441" y="6430"/>
                </a:cubicBezTo>
                <a:cubicBezTo>
                  <a:pt x="441" y="6406"/>
                  <a:pt x="453" y="6394"/>
                  <a:pt x="453" y="6382"/>
                </a:cubicBezTo>
                <a:cubicBezTo>
                  <a:pt x="453" y="6370"/>
                  <a:pt x="453" y="6370"/>
                  <a:pt x="465" y="6347"/>
                </a:cubicBezTo>
                <a:cubicBezTo>
                  <a:pt x="465" y="6335"/>
                  <a:pt x="489" y="6323"/>
                  <a:pt x="489" y="6311"/>
                </a:cubicBezTo>
                <a:cubicBezTo>
                  <a:pt x="489" y="6311"/>
                  <a:pt x="489" y="6287"/>
                  <a:pt x="501" y="6275"/>
                </a:cubicBezTo>
                <a:cubicBezTo>
                  <a:pt x="501" y="6263"/>
                  <a:pt x="513" y="6251"/>
                  <a:pt x="513" y="6228"/>
                </a:cubicBezTo>
                <a:cubicBezTo>
                  <a:pt x="513" y="6216"/>
                  <a:pt x="513" y="6216"/>
                  <a:pt x="525" y="6204"/>
                </a:cubicBezTo>
                <a:cubicBezTo>
                  <a:pt x="525" y="6192"/>
                  <a:pt x="549" y="6168"/>
                  <a:pt x="549" y="6156"/>
                </a:cubicBezTo>
                <a:lnTo>
                  <a:pt x="560" y="6144"/>
                </a:lnTo>
                <a:cubicBezTo>
                  <a:pt x="560" y="6132"/>
                  <a:pt x="572" y="6109"/>
                  <a:pt x="572" y="6097"/>
                </a:cubicBezTo>
                <a:lnTo>
                  <a:pt x="572" y="6085"/>
                </a:lnTo>
                <a:cubicBezTo>
                  <a:pt x="691" y="5859"/>
                  <a:pt x="858" y="5656"/>
                  <a:pt x="1037" y="5454"/>
                </a:cubicBezTo>
                <a:lnTo>
                  <a:pt x="1049" y="5442"/>
                </a:lnTo>
                <a:lnTo>
                  <a:pt x="1061" y="5430"/>
                </a:lnTo>
                <a:lnTo>
                  <a:pt x="1084" y="5418"/>
                </a:lnTo>
                <a:lnTo>
                  <a:pt x="1096" y="5394"/>
                </a:lnTo>
                <a:lnTo>
                  <a:pt x="1108" y="5382"/>
                </a:lnTo>
                <a:lnTo>
                  <a:pt x="1120" y="5370"/>
                </a:lnTo>
                <a:lnTo>
                  <a:pt x="1144" y="5358"/>
                </a:lnTo>
                <a:cubicBezTo>
                  <a:pt x="1156" y="5358"/>
                  <a:pt x="1156" y="5335"/>
                  <a:pt x="1168" y="5335"/>
                </a:cubicBezTo>
                <a:lnTo>
                  <a:pt x="1180" y="5323"/>
                </a:lnTo>
                <a:cubicBezTo>
                  <a:pt x="1203" y="5323"/>
                  <a:pt x="1203" y="5311"/>
                  <a:pt x="1215" y="5311"/>
                </a:cubicBezTo>
                <a:cubicBezTo>
                  <a:pt x="1227" y="5311"/>
                  <a:pt x="1227" y="5299"/>
                  <a:pt x="1239" y="5299"/>
                </a:cubicBezTo>
                <a:cubicBezTo>
                  <a:pt x="1263" y="5299"/>
                  <a:pt x="1263" y="5275"/>
                  <a:pt x="1275" y="5275"/>
                </a:cubicBezTo>
                <a:cubicBezTo>
                  <a:pt x="1287" y="5275"/>
                  <a:pt x="1287" y="5263"/>
                  <a:pt x="1299" y="5263"/>
                </a:cubicBezTo>
                <a:cubicBezTo>
                  <a:pt x="1322" y="5263"/>
                  <a:pt x="1322" y="5251"/>
                  <a:pt x="1334" y="5251"/>
                </a:cubicBezTo>
                <a:cubicBezTo>
                  <a:pt x="1346" y="5251"/>
                  <a:pt x="1346" y="5239"/>
                  <a:pt x="1358" y="5239"/>
                </a:cubicBezTo>
                <a:cubicBezTo>
                  <a:pt x="1382" y="5239"/>
                  <a:pt x="1382" y="5216"/>
                  <a:pt x="1394" y="5216"/>
                </a:cubicBezTo>
                <a:cubicBezTo>
                  <a:pt x="1406" y="5216"/>
                  <a:pt x="1406" y="5204"/>
                  <a:pt x="1418" y="5204"/>
                </a:cubicBezTo>
                <a:cubicBezTo>
                  <a:pt x="1442" y="5204"/>
                  <a:pt x="1442" y="5192"/>
                  <a:pt x="1453" y="5192"/>
                </a:cubicBezTo>
                <a:cubicBezTo>
                  <a:pt x="1465" y="5192"/>
                  <a:pt x="1465" y="5180"/>
                  <a:pt x="1477" y="5180"/>
                </a:cubicBezTo>
                <a:cubicBezTo>
                  <a:pt x="1501" y="5180"/>
                  <a:pt x="1501" y="5156"/>
                  <a:pt x="1513" y="5156"/>
                </a:cubicBezTo>
                <a:cubicBezTo>
                  <a:pt x="1525" y="5156"/>
                  <a:pt x="1525" y="5144"/>
                  <a:pt x="1537" y="5144"/>
                </a:cubicBezTo>
                <a:cubicBezTo>
                  <a:pt x="1561" y="5144"/>
                  <a:pt x="1561" y="5132"/>
                  <a:pt x="1572" y="5132"/>
                </a:cubicBezTo>
                <a:cubicBezTo>
                  <a:pt x="1584" y="5132"/>
                  <a:pt x="1584" y="5120"/>
                  <a:pt x="1596" y="5120"/>
                </a:cubicBezTo>
                <a:cubicBezTo>
                  <a:pt x="1620" y="5120"/>
                  <a:pt x="1620" y="5097"/>
                  <a:pt x="1632" y="5097"/>
                </a:cubicBezTo>
                <a:cubicBezTo>
                  <a:pt x="1644" y="5097"/>
                  <a:pt x="1644" y="5085"/>
                  <a:pt x="1656" y="5085"/>
                </a:cubicBezTo>
                <a:cubicBezTo>
                  <a:pt x="1680" y="5085"/>
                  <a:pt x="1680" y="5073"/>
                  <a:pt x="1692" y="5073"/>
                </a:cubicBezTo>
                <a:lnTo>
                  <a:pt x="1703" y="5073"/>
                </a:lnTo>
                <a:cubicBezTo>
                  <a:pt x="1715" y="5073"/>
                  <a:pt x="1715" y="5061"/>
                  <a:pt x="1739" y="5061"/>
                </a:cubicBezTo>
                <a:cubicBezTo>
                  <a:pt x="1739" y="5061"/>
                  <a:pt x="1751" y="5061"/>
                  <a:pt x="1751" y="5037"/>
                </a:cubicBezTo>
                <a:lnTo>
                  <a:pt x="1763" y="5025"/>
                </a:lnTo>
                <a:cubicBezTo>
                  <a:pt x="1763" y="5025"/>
                  <a:pt x="1775" y="5025"/>
                  <a:pt x="1775" y="5013"/>
                </a:cubicBezTo>
                <a:cubicBezTo>
                  <a:pt x="1799" y="5013"/>
                  <a:pt x="1799" y="5013"/>
                  <a:pt x="1811" y="5001"/>
                </a:cubicBezTo>
                <a:lnTo>
                  <a:pt x="1823" y="5001"/>
                </a:lnTo>
                <a:cubicBezTo>
                  <a:pt x="1823" y="5001"/>
                  <a:pt x="1834" y="5001"/>
                  <a:pt x="1834" y="4977"/>
                </a:cubicBezTo>
                <a:cubicBezTo>
                  <a:pt x="1858" y="4977"/>
                  <a:pt x="1858" y="4966"/>
                  <a:pt x="1870" y="4966"/>
                </a:cubicBezTo>
                <a:cubicBezTo>
                  <a:pt x="1882" y="4966"/>
                  <a:pt x="1894" y="4954"/>
                  <a:pt x="1918" y="4954"/>
                </a:cubicBezTo>
                <a:cubicBezTo>
                  <a:pt x="1930" y="4954"/>
                  <a:pt x="1942" y="4942"/>
                  <a:pt x="1953" y="4942"/>
                </a:cubicBezTo>
                <a:lnTo>
                  <a:pt x="1977" y="4942"/>
                </a:lnTo>
                <a:lnTo>
                  <a:pt x="1989" y="4918"/>
                </a:lnTo>
                <a:cubicBezTo>
                  <a:pt x="2001" y="4918"/>
                  <a:pt x="2001" y="4918"/>
                  <a:pt x="2013" y="4906"/>
                </a:cubicBezTo>
                <a:cubicBezTo>
                  <a:pt x="2013" y="4906"/>
                  <a:pt x="2037" y="4906"/>
                  <a:pt x="2037" y="4894"/>
                </a:cubicBezTo>
                <a:lnTo>
                  <a:pt x="2049" y="4894"/>
                </a:lnTo>
                <a:cubicBezTo>
                  <a:pt x="2061" y="4894"/>
                  <a:pt x="2061" y="4894"/>
                  <a:pt x="2073" y="4882"/>
                </a:cubicBezTo>
                <a:lnTo>
                  <a:pt x="2108" y="4882"/>
                </a:lnTo>
                <a:cubicBezTo>
                  <a:pt x="2120" y="4882"/>
                  <a:pt x="2120" y="4882"/>
                  <a:pt x="2132" y="4858"/>
                </a:cubicBezTo>
                <a:lnTo>
                  <a:pt x="2168" y="4846"/>
                </a:lnTo>
                <a:cubicBezTo>
                  <a:pt x="2180" y="4858"/>
                  <a:pt x="2215" y="4858"/>
                  <a:pt x="2227" y="4858"/>
                </a:cubicBezTo>
                <a:cubicBezTo>
                  <a:pt x="2275" y="4858"/>
                  <a:pt x="2311" y="4835"/>
                  <a:pt x="2346" y="4799"/>
                </a:cubicBezTo>
                <a:lnTo>
                  <a:pt x="3442" y="4799"/>
                </a:lnTo>
                <a:cubicBezTo>
                  <a:pt x="3466" y="4799"/>
                  <a:pt x="3477" y="4799"/>
                  <a:pt x="3477" y="4823"/>
                </a:cubicBezTo>
                <a:cubicBezTo>
                  <a:pt x="3489" y="4823"/>
                  <a:pt x="3489" y="4823"/>
                  <a:pt x="3501" y="4835"/>
                </a:cubicBezTo>
                <a:cubicBezTo>
                  <a:pt x="3525" y="4835"/>
                  <a:pt x="3537" y="4835"/>
                  <a:pt x="3537" y="4846"/>
                </a:cubicBezTo>
                <a:cubicBezTo>
                  <a:pt x="3549" y="4846"/>
                  <a:pt x="3549" y="4846"/>
                  <a:pt x="3561" y="4858"/>
                </a:cubicBezTo>
                <a:cubicBezTo>
                  <a:pt x="3585" y="4858"/>
                  <a:pt x="3597" y="4858"/>
                  <a:pt x="3597" y="4882"/>
                </a:cubicBezTo>
                <a:cubicBezTo>
                  <a:pt x="3608" y="4882"/>
                  <a:pt x="3608" y="4882"/>
                  <a:pt x="3620" y="4894"/>
                </a:cubicBezTo>
                <a:cubicBezTo>
                  <a:pt x="3644" y="4894"/>
                  <a:pt x="3644" y="4894"/>
                  <a:pt x="3656" y="4906"/>
                </a:cubicBezTo>
                <a:cubicBezTo>
                  <a:pt x="3668" y="4906"/>
                  <a:pt x="3668" y="4906"/>
                  <a:pt x="3680" y="4918"/>
                </a:cubicBezTo>
                <a:cubicBezTo>
                  <a:pt x="3704" y="4918"/>
                  <a:pt x="3704" y="4942"/>
                  <a:pt x="3716" y="4942"/>
                </a:cubicBezTo>
                <a:cubicBezTo>
                  <a:pt x="3728" y="4942"/>
                  <a:pt x="3728" y="4942"/>
                  <a:pt x="3739" y="4954"/>
                </a:cubicBezTo>
                <a:cubicBezTo>
                  <a:pt x="3763" y="4954"/>
                  <a:pt x="3763" y="4966"/>
                  <a:pt x="3775" y="4966"/>
                </a:cubicBezTo>
                <a:lnTo>
                  <a:pt x="3787" y="4966"/>
                </a:lnTo>
                <a:cubicBezTo>
                  <a:pt x="3787" y="4966"/>
                  <a:pt x="3799" y="4966"/>
                  <a:pt x="3799" y="4977"/>
                </a:cubicBezTo>
                <a:cubicBezTo>
                  <a:pt x="3823" y="4977"/>
                  <a:pt x="3823" y="4977"/>
                  <a:pt x="3835" y="5001"/>
                </a:cubicBezTo>
                <a:lnTo>
                  <a:pt x="3847" y="5013"/>
                </a:lnTo>
                <a:cubicBezTo>
                  <a:pt x="3847" y="5013"/>
                  <a:pt x="3858" y="5013"/>
                  <a:pt x="3858" y="5025"/>
                </a:cubicBezTo>
                <a:cubicBezTo>
                  <a:pt x="3882" y="5025"/>
                  <a:pt x="3882" y="5037"/>
                  <a:pt x="3894" y="5037"/>
                </a:cubicBezTo>
                <a:lnTo>
                  <a:pt x="3906" y="5037"/>
                </a:lnTo>
                <a:cubicBezTo>
                  <a:pt x="3906" y="5037"/>
                  <a:pt x="3918" y="5037"/>
                  <a:pt x="3918" y="5061"/>
                </a:cubicBezTo>
                <a:cubicBezTo>
                  <a:pt x="3942" y="5061"/>
                  <a:pt x="3942" y="5073"/>
                  <a:pt x="3954" y="5073"/>
                </a:cubicBezTo>
                <a:lnTo>
                  <a:pt x="3966" y="5085"/>
                </a:lnTo>
                <a:cubicBezTo>
                  <a:pt x="3966" y="5085"/>
                  <a:pt x="3978" y="5085"/>
                  <a:pt x="3978" y="5097"/>
                </a:cubicBezTo>
                <a:cubicBezTo>
                  <a:pt x="4001" y="5097"/>
                  <a:pt x="4001" y="5120"/>
                  <a:pt x="4013" y="5120"/>
                </a:cubicBezTo>
                <a:lnTo>
                  <a:pt x="4025" y="5132"/>
                </a:lnTo>
                <a:cubicBezTo>
                  <a:pt x="4025" y="5132"/>
                  <a:pt x="4037" y="5132"/>
                  <a:pt x="4037" y="5144"/>
                </a:cubicBezTo>
                <a:cubicBezTo>
                  <a:pt x="4061" y="5144"/>
                  <a:pt x="4073" y="5156"/>
                  <a:pt x="4085" y="5156"/>
                </a:cubicBezTo>
                <a:cubicBezTo>
                  <a:pt x="4097" y="5156"/>
                  <a:pt x="4120" y="5180"/>
                  <a:pt x="4132" y="5180"/>
                </a:cubicBezTo>
                <a:cubicBezTo>
                  <a:pt x="4144" y="5180"/>
                  <a:pt x="4144" y="5192"/>
                  <a:pt x="4156" y="5192"/>
                </a:cubicBezTo>
                <a:lnTo>
                  <a:pt x="4180" y="5204"/>
                </a:lnTo>
                <a:lnTo>
                  <a:pt x="4192" y="5216"/>
                </a:lnTo>
                <a:lnTo>
                  <a:pt x="4204" y="5239"/>
                </a:lnTo>
                <a:lnTo>
                  <a:pt x="4216" y="5251"/>
                </a:lnTo>
                <a:lnTo>
                  <a:pt x="4239" y="5263"/>
                </a:lnTo>
                <a:lnTo>
                  <a:pt x="4251" y="5275"/>
                </a:lnTo>
                <a:cubicBezTo>
                  <a:pt x="4263" y="5275"/>
                  <a:pt x="4263" y="5299"/>
                  <a:pt x="4275" y="5299"/>
                </a:cubicBezTo>
                <a:cubicBezTo>
                  <a:pt x="4299" y="5299"/>
                  <a:pt x="4299" y="5311"/>
                  <a:pt x="4311" y="5311"/>
                </a:cubicBezTo>
                <a:cubicBezTo>
                  <a:pt x="4323" y="5311"/>
                  <a:pt x="4323" y="5323"/>
                  <a:pt x="4335" y="5323"/>
                </a:cubicBezTo>
                <a:lnTo>
                  <a:pt x="4359" y="5323"/>
                </a:lnTo>
                <a:lnTo>
                  <a:pt x="4370" y="5335"/>
                </a:lnTo>
                <a:cubicBezTo>
                  <a:pt x="4382" y="5335"/>
                  <a:pt x="4382" y="5358"/>
                  <a:pt x="4394" y="5358"/>
                </a:cubicBezTo>
                <a:cubicBezTo>
                  <a:pt x="4418" y="5358"/>
                  <a:pt x="4418" y="5370"/>
                  <a:pt x="4430" y="5370"/>
                </a:cubicBezTo>
                <a:cubicBezTo>
                  <a:pt x="4442" y="5370"/>
                  <a:pt x="4442" y="5382"/>
                  <a:pt x="4454" y="5382"/>
                </a:cubicBezTo>
                <a:cubicBezTo>
                  <a:pt x="4478" y="5382"/>
                  <a:pt x="4478" y="5394"/>
                  <a:pt x="4490" y="5394"/>
                </a:cubicBezTo>
                <a:cubicBezTo>
                  <a:pt x="4501" y="5394"/>
                  <a:pt x="4501" y="5418"/>
                  <a:pt x="4513" y="5418"/>
                </a:cubicBezTo>
                <a:cubicBezTo>
                  <a:pt x="4537" y="5418"/>
                  <a:pt x="4537" y="5430"/>
                  <a:pt x="4549" y="5430"/>
                </a:cubicBezTo>
                <a:cubicBezTo>
                  <a:pt x="4561" y="5430"/>
                  <a:pt x="4561" y="5442"/>
                  <a:pt x="4573" y="5442"/>
                </a:cubicBezTo>
                <a:cubicBezTo>
                  <a:pt x="4597" y="5442"/>
                  <a:pt x="4597" y="5454"/>
                  <a:pt x="4609" y="5454"/>
                </a:cubicBezTo>
                <a:cubicBezTo>
                  <a:pt x="4620" y="5454"/>
                  <a:pt x="4620" y="5478"/>
                  <a:pt x="4632" y="5478"/>
                </a:cubicBezTo>
                <a:cubicBezTo>
                  <a:pt x="4656" y="5478"/>
                  <a:pt x="4656" y="5489"/>
                  <a:pt x="4668" y="5489"/>
                </a:cubicBezTo>
                <a:lnTo>
                  <a:pt x="4680" y="5501"/>
                </a:lnTo>
                <a:cubicBezTo>
                  <a:pt x="4692" y="5501"/>
                  <a:pt x="4692" y="5513"/>
                  <a:pt x="4716" y="5513"/>
                </a:cubicBezTo>
                <a:lnTo>
                  <a:pt x="4728" y="5537"/>
                </a:lnTo>
                <a:lnTo>
                  <a:pt x="4751" y="5561"/>
                </a:lnTo>
                <a:lnTo>
                  <a:pt x="4787" y="5597"/>
                </a:lnTo>
                <a:lnTo>
                  <a:pt x="4799" y="5608"/>
                </a:lnTo>
                <a:cubicBezTo>
                  <a:pt x="4832" y="5641"/>
                  <a:pt x="4879" y="5660"/>
                  <a:pt x="4925" y="5660"/>
                </a:cubicBezTo>
                <a:cubicBezTo>
                  <a:pt x="4962" y="5660"/>
                  <a:pt x="4998" y="5647"/>
                  <a:pt x="5025" y="5620"/>
                </a:cubicBezTo>
                <a:cubicBezTo>
                  <a:pt x="5085" y="5561"/>
                  <a:pt x="5097" y="5454"/>
                  <a:pt x="5037" y="5394"/>
                </a:cubicBezTo>
                <a:lnTo>
                  <a:pt x="5025" y="5382"/>
                </a:lnTo>
                <a:lnTo>
                  <a:pt x="4990" y="5358"/>
                </a:lnTo>
                <a:lnTo>
                  <a:pt x="4966" y="5323"/>
                </a:lnTo>
                <a:lnTo>
                  <a:pt x="4954" y="5311"/>
                </a:lnTo>
                <a:lnTo>
                  <a:pt x="4918" y="5275"/>
                </a:lnTo>
                <a:lnTo>
                  <a:pt x="4894" y="5251"/>
                </a:lnTo>
                <a:lnTo>
                  <a:pt x="4859" y="5216"/>
                </a:lnTo>
                <a:lnTo>
                  <a:pt x="4835" y="5192"/>
                </a:lnTo>
                <a:lnTo>
                  <a:pt x="4799" y="5156"/>
                </a:lnTo>
                <a:lnTo>
                  <a:pt x="4775" y="5132"/>
                </a:lnTo>
                <a:lnTo>
                  <a:pt x="4740" y="5097"/>
                </a:lnTo>
                <a:lnTo>
                  <a:pt x="4716" y="5073"/>
                </a:lnTo>
                <a:lnTo>
                  <a:pt x="4680" y="5037"/>
                </a:lnTo>
                <a:lnTo>
                  <a:pt x="4656" y="5013"/>
                </a:lnTo>
                <a:cubicBezTo>
                  <a:pt x="4632" y="5013"/>
                  <a:pt x="4632" y="5001"/>
                  <a:pt x="4620" y="5001"/>
                </a:cubicBezTo>
                <a:cubicBezTo>
                  <a:pt x="4609" y="5001"/>
                  <a:pt x="4609" y="4977"/>
                  <a:pt x="4597" y="4977"/>
                </a:cubicBezTo>
                <a:cubicBezTo>
                  <a:pt x="4573" y="4977"/>
                  <a:pt x="4573" y="4966"/>
                  <a:pt x="4561" y="4966"/>
                </a:cubicBezTo>
                <a:lnTo>
                  <a:pt x="4549" y="4966"/>
                </a:lnTo>
                <a:cubicBezTo>
                  <a:pt x="4537" y="4966"/>
                  <a:pt x="4537" y="4954"/>
                  <a:pt x="4513" y="4954"/>
                </a:cubicBezTo>
                <a:cubicBezTo>
                  <a:pt x="4501" y="4954"/>
                  <a:pt x="4501" y="4942"/>
                  <a:pt x="4490" y="4942"/>
                </a:cubicBezTo>
                <a:cubicBezTo>
                  <a:pt x="4478" y="4942"/>
                  <a:pt x="4478" y="4918"/>
                  <a:pt x="4454" y="4918"/>
                </a:cubicBezTo>
                <a:cubicBezTo>
                  <a:pt x="4442" y="4918"/>
                  <a:pt x="4442" y="4906"/>
                  <a:pt x="4430" y="4906"/>
                </a:cubicBezTo>
                <a:lnTo>
                  <a:pt x="4418" y="4894"/>
                </a:lnTo>
                <a:cubicBezTo>
                  <a:pt x="4394" y="4894"/>
                  <a:pt x="4394" y="4882"/>
                  <a:pt x="4382" y="4882"/>
                </a:cubicBezTo>
                <a:cubicBezTo>
                  <a:pt x="4370" y="4882"/>
                  <a:pt x="4370" y="4858"/>
                  <a:pt x="4359" y="4858"/>
                </a:cubicBezTo>
                <a:lnTo>
                  <a:pt x="4335" y="4846"/>
                </a:lnTo>
                <a:cubicBezTo>
                  <a:pt x="4323" y="4846"/>
                  <a:pt x="4323" y="4835"/>
                  <a:pt x="4311" y="4835"/>
                </a:cubicBezTo>
                <a:cubicBezTo>
                  <a:pt x="4299" y="4835"/>
                  <a:pt x="4299" y="4823"/>
                  <a:pt x="4275" y="4823"/>
                </a:cubicBezTo>
                <a:cubicBezTo>
                  <a:pt x="4263" y="4799"/>
                  <a:pt x="4251" y="4799"/>
                  <a:pt x="4239" y="4787"/>
                </a:cubicBezTo>
                <a:cubicBezTo>
                  <a:pt x="4216" y="4775"/>
                  <a:pt x="4204" y="4775"/>
                  <a:pt x="4192" y="4763"/>
                </a:cubicBezTo>
                <a:cubicBezTo>
                  <a:pt x="4192" y="4763"/>
                  <a:pt x="4180" y="4763"/>
                  <a:pt x="4180" y="4739"/>
                </a:cubicBezTo>
                <a:lnTo>
                  <a:pt x="4156" y="4727"/>
                </a:lnTo>
                <a:cubicBezTo>
                  <a:pt x="4144" y="4727"/>
                  <a:pt x="4144" y="4716"/>
                  <a:pt x="4132" y="4716"/>
                </a:cubicBezTo>
                <a:cubicBezTo>
                  <a:pt x="4132" y="4716"/>
                  <a:pt x="4120" y="4716"/>
                  <a:pt x="4120" y="4704"/>
                </a:cubicBezTo>
                <a:lnTo>
                  <a:pt x="4097" y="4680"/>
                </a:lnTo>
                <a:cubicBezTo>
                  <a:pt x="4085" y="4680"/>
                  <a:pt x="4085" y="4668"/>
                  <a:pt x="4073" y="4668"/>
                </a:cubicBezTo>
                <a:cubicBezTo>
                  <a:pt x="4061" y="4668"/>
                  <a:pt x="4061" y="4668"/>
                  <a:pt x="4037" y="4656"/>
                </a:cubicBezTo>
                <a:lnTo>
                  <a:pt x="4025" y="4656"/>
                </a:lnTo>
                <a:cubicBezTo>
                  <a:pt x="4013" y="4656"/>
                  <a:pt x="4013" y="4644"/>
                  <a:pt x="4001" y="4644"/>
                </a:cubicBezTo>
                <a:cubicBezTo>
                  <a:pt x="3978" y="4644"/>
                  <a:pt x="3978" y="4644"/>
                  <a:pt x="3966" y="4620"/>
                </a:cubicBezTo>
                <a:lnTo>
                  <a:pt x="3954" y="4608"/>
                </a:lnTo>
                <a:cubicBezTo>
                  <a:pt x="3942" y="4608"/>
                  <a:pt x="3942" y="4608"/>
                  <a:pt x="3918" y="4596"/>
                </a:cubicBezTo>
                <a:cubicBezTo>
                  <a:pt x="3906" y="4596"/>
                  <a:pt x="3906" y="4596"/>
                  <a:pt x="3894" y="4585"/>
                </a:cubicBezTo>
                <a:lnTo>
                  <a:pt x="3882" y="4585"/>
                </a:lnTo>
                <a:cubicBezTo>
                  <a:pt x="3858" y="4585"/>
                  <a:pt x="3847" y="4561"/>
                  <a:pt x="3847" y="4561"/>
                </a:cubicBezTo>
                <a:cubicBezTo>
                  <a:pt x="3835" y="4561"/>
                  <a:pt x="3823" y="4549"/>
                  <a:pt x="3823" y="4549"/>
                </a:cubicBezTo>
                <a:cubicBezTo>
                  <a:pt x="3799" y="4549"/>
                  <a:pt x="3787" y="4537"/>
                  <a:pt x="3787" y="4537"/>
                </a:cubicBezTo>
                <a:cubicBezTo>
                  <a:pt x="3775" y="4537"/>
                  <a:pt x="3763" y="4537"/>
                  <a:pt x="3763" y="4525"/>
                </a:cubicBezTo>
                <a:cubicBezTo>
                  <a:pt x="3739" y="4525"/>
                  <a:pt x="3728" y="4501"/>
                  <a:pt x="3716" y="4501"/>
                </a:cubicBezTo>
                <a:cubicBezTo>
                  <a:pt x="3704" y="4501"/>
                  <a:pt x="3680" y="4501"/>
                  <a:pt x="3680" y="4489"/>
                </a:cubicBezTo>
                <a:cubicBezTo>
                  <a:pt x="3668" y="4489"/>
                  <a:pt x="3656" y="4489"/>
                  <a:pt x="3644" y="4477"/>
                </a:cubicBezTo>
                <a:cubicBezTo>
                  <a:pt x="3620" y="4477"/>
                  <a:pt x="3608" y="4477"/>
                  <a:pt x="3608" y="4465"/>
                </a:cubicBezTo>
                <a:cubicBezTo>
                  <a:pt x="3597" y="4465"/>
                  <a:pt x="3585" y="4465"/>
                  <a:pt x="3561" y="4442"/>
                </a:cubicBezTo>
                <a:cubicBezTo>
                  <a:pt x="3549" y="4442"/>
                  <a:pt x="3549" y="4442"/>
                  <a:pt x="3537" y="4430"/>
                </a:cubicBezTo>
                <a:cubicBezTo>
                  <a:pt x="3525" y="4430"/>
                  <a:pt x="3501" y="4430"/>
                  <a:pt x="3489" y="4418"/>
                </a:cubicBezTo>
                <a:cubicBezTo>
                  <a:pt x="3477" y="4418"/>
                  <a:pt x="3466" y="4418"/>
                  <a:pt x="3466" y="4406"/>
                </a:cubicBezTo>
                <a:cubicBezTo>
                  <a:pt x="3442" y="4406"/>
                  <a:pt x="3430" y="4406"/>
                  <a:pt x="3418" y="4382"/>
                </a:cubicBezTo>
                <a:lnTo>
                  <a:pt x="2358" y="4382"/>
                </a:lnTo>
                <a:lnTo>
                  <a:pt x="2358" y="1334"/>
                </a:lnTo>
                <a:close/>
                <a:moveTo>
                  <a:pt x="3418" y="8621"/>
                </a:moveTo>
                <a:lnTo>
                  <a:pt x="4144" y="8918"/>
                </a:lnTo>
                <a:lnTo>
                  <a:pt x="4168" y="8918"/>
                </a:lnTo>
                <a:cubicBezTo>
                  <a:pt x="4180" y="8918"/>
                  <a:pt x="4442" y="9014"/>
                  <a:pt x="4561" y="9335"/>
                </a:cubicBezTo>
                <a:cubicBezTo>
                  <a:pt x="4180" y="9609"/>
                  <a:pt x="3751" y="9811"/>
                  <a:pt x="3275" y="9883"/>
                </a:cubicBezTo>
                <a:lnTo>
                  <a:pt x="2811" y="9883"/>
                </a:lnTo>
                <a:cubicBezTo>
                  <a:pt x="2775" y="9883"/>
                  <a:pt x="2751" y="9883"/>
                  <a:pt x="2739" y="9895"/>
                </a:cubicBezTo>
                <a:cubicBezTo>
                  <a:pt x="2180" y="9871"/>
                  <a:pt x="1680" y="9657"/>
                  <a:pt x="1275" y="9335"/>
                </a:cubicBezTo>
                <a:cubicBezTo>
                  <a:pt x="1275" y="9311"/>
                  <a:pt x="1287" y="9311"/>
                  <a:pt x="1287" y="9299"/>
                </a:cubicBezTo>
                <a:cubicBezTo>
                  <a:pt x="1406" y="9002"/>
                  <a:pt x="1668" y="8918"/>
                  <a:pt x="1680" y="8918"/>
                </a:cubicBezTo>
                <a:lnTo>
                  <a:pt x="1692" y="8918"/>
                </a:lnTo>
                <a:lnTo>
                  <a:pt x="2418" y="8633"/>
                </a:lnTo>
                <a:lnTo>
                  <a:pt x="2811" y="9002"/>
                </a:lnTo>
                <a:cubicBezTo>
                  <a:pt x="2835" y="9037"/>
                  <a:pt x="2882" y="9049"/>
                  <a:pt x="2930" y="9049"/>
                </a:cubicBezTo>
                <a:cubicBezTo>
                  <a:pt x="2977" y="9049"/>
                  <a:pt x="3013" y="9037"/>
                  <a:pt x="3049" y="9002"/>
                </a:cubicBezTo>
                <a:lnTo>
                  <a:pt x="3418" y="8621"/>
                </a:lnTo>
                <a:close/>
                <a:moveTo>
                  <a:pt x="3728" y="1"/>
                </a:moveTo>
                <a:cubicBezTo>
                  <a:pt x="3692" y="1"/>
                  <a:pt x="3644" y="13"/>
                  <a:pt x="3608" y="36"/>
                </a:cubicBezTo>
                <a:cubicBezTo>
                  <a:pt x="3585" y="72"/>
                  <a:pt x="3573" y="120"/>
                  <a:pt x="3573" y="155"/>
                </a:cubicBezTo>
                <a:lnTo>
                  <a:pt x="3573" y="1013"/>
                </a:lnTo>
                <a:lnTo>
                  <a:pt x="2275" y="1013"/>
                </a:lnTo>
                <a:cubicBezTo>
                  <a:pt x="2227" y="1013"/>
                  <a:pt x="2180" y="1025"/>
                  <a:pt x="2156" y="1048"/>
                </a:cubicBezTo>
                <a:cubicBezTo>
                  <a:pt x="2120" y="1084"/>
                  <a:pt x="2108" y="1132"/>
                  <a:pt x="2108" y="1167"/>
                </a:cubicBezTo>
                <a:lnTo>
                  <a:pt x="2120" y="4465"/>
                </a:lnTo>
                <a:lnTo>
                  <a:pt x="2084" y="4465"/>
                </a:lnTo>
                <a:cubicBezTo>
                  <a:pt x="2061" y="4465"/>
                  <a:pt x="2061" y="4465"/>
                  <a:pt x="2049" y="4477"/>
                </a:cubicBezTo>
                <a:lnTo>
                  <a:pt x="2001" y="4477"/>
                </a:lnTo>
                <a:cubicBezTo>
                  <a:pt x="1989" y="4477"/>
                  <a:pt x="1989" y="4477"/>
                  <a:pt x="1977" y="4489"/>
                </a:cubicBezTo>
                <a:lnTo>
                  <a:pt x="1965" y="4489"/>
                </a:lnTo>
                <a:cubicBezTo>
                  <a:pt x="1942" y="4489"/>
                  <a:pt x="1942" y="4489"/>
                  <a:pt x="1930" y="4513"/>
                </a:cubicBezTo>
                <a:cubicBezTo>
                  <a:pt x="1918" y="4513"/>
                  <a:pt x="1918" y="4513"/>
                  <a:pt x="1906" y="4525"/>
                </a:cubicBezTo>
                <a:lnTo>
                  <a:pt x="1882" y="4537"/>
                </a:lnTo>
                <a:cubicBezTo>
                  <a:pt x="1882" y="4537"/>
                  <a:pt x="1870" y="4537"/>
                  <a:pt x="1870" y="4549"/>
                </a:cubicBezTo>
                <a:cubicBezTo>
                  <a:pt x="1858" y="4549"/>
                  <a:pt x="1846" y="4573"/>
                  <a:pt x="1823" y="4573"/>
                </a:cubicBezTo>
                <a:cubicBezTo>
                  <a:pt x="1811" y="4573"/>
                  <a:pt x="1799" y="4585"/>
                  <a:pt x="1787" y="4585"/>
                </a:cubicBezTo>
                <a:cubicBezTo>
                  <a:pt x="1763" y="4585"/>
                  <a:pt x="1751" y="4596"/>
                  <a:pt x="1751" y="4596"/>
                </a:cubicBezTo>
                <a:cubicBezTo>
                  <a:pt x="1739" y="4596"/>
                  <a:pt x="1739" y="4608"/>
                  <a:pt x="1727" y="4608"/>
                </a:cubicBezTo>
                <a:lnTo>
                  <a:pt x="1703" y="4608"/>
                </a:lnTo>
                <a:cubicBezTo>
                  <a:pt x="1692" y="4608"/>
                  <a:pt x="1692" y="4632"/>
                  <a:pt x="1680" y="4632"/>
                </a:cubicBezTo>
                <a:cubicBezTo>
                  <a:pt x="1668" y="4632"/>
                  <a:pt x="1668" y="4644"/>
                  <a:pt x="1644" y="4644"/>
                </a:cubicBezTo>
                <a:lnTo>
                  <a:pt x="1632" y="4656"/>
                </a:lnTo>
                <a:cubicBezTo>
                  <a:pt x="1620" y="4656"/>
                  <a:pt x="1620" y="4668"/>
                  <a:pt x="1608" y="4668"/>
                </a:cubicBezTo>
                <a:cubicBezTo>
                  <a:pt x="1584" y="4668"/>
                  <a:pt x="1584" y="4692"/>
                  <a:pt x="1572" y="4692"/>
                </a:cubicBezTo>
                <a:cubicBezTo>
                  <a:pt x="1561" y="4692"/>
                  <a:pt x="1561" y="4704"/>
                  <a:pt x="1549" y="4704"/>
                </a:cubicBezTo>
                <a:cubicBezTo>
                  <a:pt x="1525" y="4704"/>
                  <a:pt x="1525" y="4716"/>
                  <a:pt x="1513" y="4716"/>
                </a:cubicBezTo>
                <a:cubicBezTo>
                  <a:pt x="1501" y="4716"/>
                  <a:pt x="1501" y="4727"/>
                  <a:pt x="1489" y="4727"/>
                </a:cubicBezTo>
                <a:cubicBezTo>
                  <a:pt x="1465" y="4727"/>
                  <a:pt x="1465" y="4751"/>
                  <a:pt x="1453" y="4751"/>
                </a:cubicBezTo>
                <a:cubicBezTo>
                  <a:pt x="1442" y="4751"/>
                  <a:pt x="1442" y="4763"/>
                  <a:pt x="1430" y="4763"/>
                </a:cubicBezTo>
                <a:cubicBezTo>
                  <a:pt x="1406" y="4763"/>
                  <a:pt x="1406" y="4775"/>
                  <a:pt x="1394" y="4775"/>
                </a:cubicBezTo>
                <a:cubicBezTo>
                  <a:pt x="1382" y="4775"/>
                  <a:pt x="1382" y="4787"/>
                  <a:pt x="1370" y="4787"/>
                </a:cubicBezTo>
                <a:cubicBezTo>
                  <a:pt x="1346" y="4787"/>
                  <a:pt x="1346" y="4811"/>
                  <a:pt x="1334" y="4811"/>
                </a:cubicBezTo>
                <a:cubicBezTo>
                  <a:pt x="1322" y="4811"/>
                  <a:pt x="1322" y="4823"/>
                  <a:pt x="1311" y="4823"/>
                </a:cubicBezTo>
                <a:cubicBezTo>
                  <a:pt x="1287" y="4823"/>
                  <a:pt x="1287" y="4835"/>
                  <a:pt x="1275" y="4835"/>
                </a:cubicBezTo>
                <a:cubicBezTo>
                  <a:pt x="1263" y="4835"/>
                  <a:pt x="1263" y="4846"/>
                  <a:pt x="1251" y="4846"/>
                </a:cubicBezTo>
                <a:cubicBezTo>
                  <a:pt x="1227" y="4846"/>
                  <a:pt x="1227" y="4870"/>
                  <a:pt x="1215" y="4870"/>
                </a:cubicBezTo>
                <a:cubicBezTo>
                  <a:pt x="1203" y="4870"/>
                  <a:pt x="1203" y="4882"/>
                  <a:pt x="1191" y="4882"/>
                </a:cubicBezTo>
                <a:cubicBezTo>
                  <a:pt x="1168" y="4882"/>
                  <a:pt x="1168" y="4894"/>
                  <a:pt x="1156" y="4894"/>
                </a:cubicBezTo>
                <a:lnTo>
                  <a:pt x="1132" y="4930"/>
                </a:lnTo>
                <a:lnTo>
                  <a:pt x="1096" y="4954"/>
                </a:lnTo>
                <a:lnTo>
                  <a:pt x="1072" y="4989"/>
                </a:lnTo>
                <a:lnTo>
                  <a:pt x="1049" y="5001"/>
                </a:lnTo>
                <a:lnTo>
                  <a:pt x="1025" y="5025"/>
                </a:lnTo>
                <a:lnTo>
                  <a:pt x="1013" y="5049"/>
                </a:lnTo>
                <a:cubicBezTo>
                  <a:pt x="989" y="5049"/>
                  <a:pt x="989" y="5061"/>
                  <a:pt x="977" y="5061"/>
                </a:cubicBezTo>
                <a:lnTo>
                  <a:pt x="965" y="5073"/>
                </a:lnTo>
                <a:lnTo>
                  <a:pt x="953" y="5085"/>
                </a:lnTo>
                <a:lnTo>
                  <a:pt x="918" y="5120"/>
                </a:lnTo>
                <a:lnTo>
                  <a:pt x="906" y="5132"/>
                </a:lnTo>
                <a:cubicBezTo>
                  <a:pt x="691" y="5347"/>
                  <a:pt x="513" y="5561"/>
                  <a:pt x="382" y="5823"/>
                </a:cubicBezTo>
                <a:lnTo>
                  <a:pt x="382" y="5835"/>
                </a:lnTo>
                <a:cubicBezTo>
                  <a:pt x="370" y="5847"/>
                  <a:pt x="370" y="5859"/>
                  <a:pt x="358" y="5882"/>
                </a:cubicBezTo>
                <a:lnTo>
                  <a:pt x="334" y="5906"/>
                </a:lnTo>
                <a:cubicBezTo>
                  <a:pt x="334" y="5918"/>
                  <a:pt x="322" y="5942"/>
                  <a:pt x="322" y="5954"/>
                </a:cubicBezTo>
                <a:cubicBezTo>
                  <a:pt x="322" y="5966"/>
                  <a:pt x="310" y="5966"/>
                  <a:pt x="310" y="5978"/>
                </a:cubicBezTo>
                <a:cubicBezTo>
                  <a:pt x="310" y="6001"/>
                  <a:pt x="299" y="6013"/>
                  <a:pt x="299" y="6025"/>
                </a:cubicBezTo>
                <a:cubicBezTo>
                  <a:pt x="299" y="6037"/>
                  <a:pt x="275" y="6037"/>
                  <a:pt x="275" y="6061"/>
                </a:cubicBezTo>
                <a:cubicBezTo>
                  <a:pt x="275" y="6073"/>
                  <a:pt x="263" y="6085"/>
                  <a:pt x="263" y="6097"/>
                </a:cubicBezTo>
                <a:cubicBezTo>
                  <a:pt x="263" y="6120"/>
                  <a:pt x="251" y="6120"/>
                  <a:pt x="251" y="6132"/>
                </a:cubicBezTo>
                <a:cubicBezTo>
                  <a:pt x="251" y="6144"/>
                  <a:pt x="239" y="6156"/>
                  <a:pt x="239" y="6180"/>
                </a:cubicBezTo>
                <a:cubicBezTo>
                  <a:pt x="239" y="6192"/>
                  <a:pt x="239" y="6192"/>
                  <a:pt x="215" y="6204"/>
                </a:cubicBezTo>
                <a:cubicBezTo>
                  <a:pt x="215" y="6216"/>
                  <a:pt x="203" y="6240"/>
                  <a:pt x="203" y="6251"/>
                </a:cubicBezTo>
                <a:lnTo>
                  <a:pt x="191" y="6275"/>
                </a:lnTo>
                <a:cubicBezTo>
                  <a:pt x="179" y="6311"/>
                  <a:pt x="179" y="6323"/>
                  <a:pt x="156" y="6359"/>
                </a:cubicBezTo>
                <a:cubicBezTo>
                  <a:pt x="156" y="6382"/>
                  <a:pt x="144" y="6394"/>
                  <a:pt x="144" y="6430"/>
                </a:cubicBezTo>
                <a:lnTo>
                  <a:pt x="144" y="6442"/>
                </a:lnTo>
                <a:lnTo>
                  <a:pt x="144" y="6454"/>
                </a:lnTo>
                <a:cubicBezTo>
                  <a:pt x="144" y="6478"/>
                  <a:pt x="132" y="6490"/>
                  <a:pt x="132" y="6501"/>
                </a:cubicBezTo>
                <a:lnTo>
                  <a:pt x="132" y="6513"/>
                </a:lnTo>
                <a:lnTo>
                  <a:pt x="132" y="6537"/>
                </a:lnTo>
                <a:cubicBezTo>
                  <a:pt x="132" y="6549"/>
                  <a:pt x="132" y="6561"/>
                  <a:pt x="120" y="6573"/>
                </a:cubicBezTo>
                <a:lnTo>
                  <a:pt x="120" y="6609"/>
                </a:lnTo>
                <a:cubicBezTo>
                  <a:pt x="120" y="6621"/>
                  <a:pt x="120" y="6632"/>
                  <a:pt x="96" y="6656"/>
                </a:cubicBezTo>
                <a:lnTo>
                  <a:pt x="96" y="6680"/>
                </a:lnTo>
                <a:cubicBezTo>
                  <a:pt x="96" y="6692"/>
                  <a:pt x="96" y="6716"/>
                  <a:pt x="84" y="6728"/>
                </a:cubicBezTo>
                <a:lnTo>
                  <a:pt x="84" y="6751"/>
                </a:lnTo>
                <a:lnTo>
                  <a:pt x="84" y="6799"/>
                </a:lnTo>
                <a:lnTo>
                  <a:pt x="84" y="6811"/>
                </a:lnTo>
                <a:lnTo>
                  <a:pt x="84" y="6847"/>
                </a:lnTo>
                <a:lnTo>
                  <a:pt x="84" y="6894"/>
                </a:lnTo>
                <a:lnTo>
                  <a:pt x="84" y="6906"/>
                </a:lnTo>
                <a:lnTo>
                  <a:pt x="84" y="6930"/>
                </a:lnTo>
                <a:lnTo>
                  <a:pt x="84" y="6966"/>
                </a:lnTo>
                <a:lnTo>
                  <a:pt x="84" y="6978"/>
                </a:lnTo>
                <a:lnTo>
                  <a:pt x="84" y="6990"/>
                </a:lnTo>
                <a:lnTo>
                  <a:pt x="84" y="7049"/>
                </a:lnTo>
                <a:lnTo>
                  <a:pt x="84" y="7073"/>
                </a:lnTo>
                <a:lnTo>
                  <a:pt x="84" y="7085"/>
                </a:lnTo>
                <a:cubicBezTo>
                  <a:pt x="1" y="8704"/>
                  <a:pt x="1263" y="10109"/>
                  <a:pt x="2882" y="10180"/>
                </a:cubicBezTo>
                <a:lnTo>
                  <a:pt x="3037" y="10180"/>
                </a:lnTo>
                <a:cubicBezTo>
                  <a:pt x="3168" y="10180"/>
                  <a:pt x="3287" y="10169"/>
                  <a:pt x="3418" y="10145"/>
                </a:cubicBezTo>
                <a:lnTo>
                  <a:pt x="8335" y="10145"/>
                </a:lnTo>
                <a:cubicBezTo>
                  <a:pt x="8419" y="10145"/>
                  <a:pt x="8490" y="10073"/>
                  <a:pt x="8490" y="9990"/>
                </a:cubicBezTo>
                <a:lnTo>
                  <a:pt x="8490" y="9133"/>
                </a:lnTo>
                <a:lnTo>
                  <a:pt x="9776" y="9133"/>
                </a:lnTo>
                <a:cubicBezTo>
                  <a:pt x="9859" y="9133"/>
                  <a:pt x="9943" y="9061"/>
                  <a:pt x="9943" y="8978"/>
                </a:cubicBezTo>
                <a:lnTo>
                  <a:pt x="9824" y="2072"/>
                </a:lnTo>
                <a:lnTo>
                  <a:pt x="9824" y="2037"/>
                </a:lnTo>
                <a:lnTo>
                  <a:pt x="9824" y="2025"/>
                </a:lnTo>
                <a:cubicBezTo>
                  <a:pt x="9824" y="2025"/>
                  <a:pt x="9824" y="2013"/>
                  <a:pt x="9800" y="2013"/>
                </a:cubicBezTo>
                <a:cubicBezTo>
                  <a:pt x="9800" y="2013"/>
                  <a:pt x="9800" y="1989"/>
                  <a:pt x="9788" y="1989"/>
                </a:cubicBezTo>
                <a:lnTo>
                  <a:pt x="9776" y="1977"/>
                </a:lnTo>
                <a:lnTo>
                  <a:pt x="7835" y="36"/>
                </a:lnTo>
                <a:lnTo>
                  <a:pt x="7823" y="24"/>
                </a:lnTo>
                <a:lnTo>
                  <a:pt x="7811" y="13"/>
                </a:lnTo>
                <a:cubicBezTo>
                  <a:pt x="7811" y="13"/>
                  <a:pt x="7799" y="13"/>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046" name="Google Shape;11046;p60"/>
          <p:cNvGrpSpPr/>
          <p:nvPr/>
        </p:nvGrpSpPr>
        <p:grpSpPr>
          <a:xfrm>
            <a:off x="5318259" y="2982111"/>
            <a:ext cx="371013" cy="220787"/>
            <a:chOff x="5318259" y="2982111"/>
            <a:chExt cx="371013" cy="220787"/>
          </a:xfrm>
        </p:grpSpPr>
        <p:sp>
          <p:nvSpPr>
            <p:cNvPr id="11047" name="Google Shape;11047;p60"/>
            <p:cNvSpPr/>
            <p:nvPr/>
          </p:nvSpPr>
          <p:spPr>
            <a:xfrm>
              <a:off x="5364123" y="3021546"/>
              <a:ext cx="58372" cy="18396"/>
            </a:xfrm>
            <a:custGeom>
              <a:avLst/>
              <a:gdLst/>
              <a:ahLst/>
              <a:cxnLst/>
              <a:rect l="l" t="t" r="r" b="b"/>
              <a:pathLst>
                <a:path w="1834" h="578" extrusionOk="0">
                  <a:moveTo>
                    <a:pt x="674" y="0"/>
                  </a:moveTo>
                  <a:cubicBezTo>
                    <a:pt x="513" y="0"/>
                    <a:pt x="335" y="16"/>
                    <a:pt x="143" y="54"/>
                  </a:cubicBezTo>
                  <a:cubicBezTo>
                    <a:pt x="60" y="66"/>
                    <a:pt x="0" y="149"/>
                    <a:pt x="0" y="220"/>
                  </a:cubicBezTo>
                  <a:lnTo>
                    <a:pt x="0" y="399"/>
                  </a:lnTo>
                  <a:cubicBezTo>
                    <a:pt x="0" y="482"/>
                    <a:pt x="72" y="566"/>
                    <a:pt x="167" y="566"/>
                  </a:cubicBezTo>
                  <a:cubicBezTo>
                    <a:pt x="250" y="566"/>
                    <a:pt x="334" y="482"/>
                    <a:pt x="334" y="399"/>
                  </a:cubicBezTo>
                  <a:lnTo>
                    <a:pt x="334" y="351"/>
                  </a:lnTo>
                  <a:cubicBezTo>
                    <a:pt x="453" y="332"/>
                    <a:pt x="564" y="324"/>
                    <a:pt x="666" y="324"/>
                  </a:cubicBezTo>
                  <a:cubicBezTo>
                    <a:pt x="878" y="324"/>
                    <a:pt x="1050" y="359"/>
                    <a:pt x="1179" y="399"/>
                  </a:cubicBezTo>
                  <a:cubicBezTo>
                    <a:pt x="1405" y="459"/>
                    <a:pt x="1536" y="530"/>
                    <a:pt x="1536" y="542"/>
                  </a:cubicBezTo>
                  <a:cubicBezTo>
                    <a:pt x="1560" y="566"/>
                    <a:pt x="1596" y="578"/>
                    <a:pt x="1619" y="578"/>
                  </a:cubicBezTo>
                  <a:cubicBezTo>
                    <a:pt x="1679" y="578"/>
                    <a:pt x="1727" y="542"/>
                    <a:pt x="1774" y="506"/>
                  </a:cubicBezTo>
                  <a:cubicBezTo>
                    <a:pt x="1834" y="423"/>
                    <a:pt x="1810" y="328"/>
                    <a:pt x="1727" y="256"/>
                  </a:cubicBezTo>
                  <a:cubicBezTo>
                    <a:pt x="1707" y="247"/>
                    <a:pt x="1322" y="0"/>
                    <a:pt x="6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8" name="Google Shape;11048;p60"/>
            <p:cNvSpPr/>
            <p:nvPr/>
          </p:nvSpPr>
          <p:spPr>
            <a:xfrm>
              <a:off x="5346681" y="3151338"/>
              <a:ext cx="11012" cy="39052"/>
            </a:xfrm>
            <a:custGeom>
              <a:avLst/>
              <a:gdLst/>
              <a:ahLst/>
              <a:cxnLst/>
              <a:rect l="l" t="t" r="r" b="b"/>
              <a:pathLst>
                <a:path w="346" h="1227" extrusionOk="0">
                  <a:moveTo>
                    <a:pt x="167" y="0"/>
                  </a:moveTo>
                  <a:cubicBezTo>
                    <a:pt x="72" y="0"/>
                    <a:pt x="0" y="71"/>
                    <a:pt x="0" y="155"/>
                  </a:cubicBezTo>
                  <a:lnTo>
                    <a:pt x="0" y="1072"/>
                  </a:lnTo>
                  <a:cubicBezTo>
                    <a:pt x="0" y="1155"/>
                    <a:pt x="72" y="1226"/>
                    <a:pt x="167" y="1226"/>
                  </a:cubicBezTo>
                  <a:cubicBezTo>
                    <a:pt x="250" y="1226"/>
                    <a:pt x="322" y="1155"/>
                    <a:pt x="322" y="1072"/>
                  </a:cubicBezTo>
                  <a:lnTo>
                    <a:pt x="322" y="155"/>
                  </a:lnTo>
                  <a:cubicBezTo>
                    <a:pt x="346" y="71"/>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9" name="Google Shape;11049;p60"/>
            <p:cNvSpPr/>
            <p:nvPr/>
          </p:nvSpPr>
          <p:spPr>
            <a:xfrm>
              <a:off x="5318259" y="2988763"/>
              <a:ext cx="149717" cy="202773"/>
            </a:xfrm>
            <a:custGeom>
              <a:avLst/>
              <a:gdLst/>
              <a:ahLst/>
              <a:cxnLst/>
              <a:rect l="l" t="t" r="r" b="b"/>
              <a:pathLst>
                <a:path w="4704" h="6371" extrusionOk="0">
                  <a:moveTo>
                    <a:pt x="3620" y="322"/>
                  </a:moveTo>
                  <a:lnTo>
                    <a:pt x="3620" y="1179"/>
                  </a:lnTo>
                  <a:cubicBezTo>
                    <a:pt x="3620" y="1322"/>
                    <a:pt x="3584" y="1453"/>
                    <a:pt x="3513" y="1596"/>
                  </a:cubicBezTo>
                  <a:lnTo>
                    <a:pt x="3441" y="1727"/>
                  </a:lnTo>
                  <a:cubicBezTo>
                    <a:pt x="3418" y="1750"/>
                    <a:pt x="3418" y="1774"/>
                    <a:pt x="3418" y="1798"/>
                  </a:cubicBezTo>
                  <a:lnTo>
                    <a:pt x="3418" y="2167"/>
                  </a:lnTo>
                  <a:cubicBezTo>
                    <a:pt x="3453" y="2465"/>
                    <a:pt x="3334" y="2751"/>
                    <a:pt x="3108" y="2965"/>
                  </a:cubicBezTo>
                  <a:cubicBezTo>
                    <a:pt x="2892" y="3158"/>
                    <a:pt x="2633" y="3275"/>
                    <a:pt x="2351" y="3275"/>
                  </a:cubicBezTo>
                  <a:cubicBezTo>
                    <a:pt x="2338" y="3275"/>
                    <a:pt x="2324" y="3275"/>
                    <a:pt x="2310" y="3274"/>
                  </a:cubicBezTo>
                  <a:cubicBezTo>
                    <a:pt x="1715" y="3263"/>
                    <a:pt x="1239" y="2739"/>
                    <a:pt x="1239" y="2108"/>
                  </a:cubicBezTo>
                  <a:lnTo>
                    <a:pt x="1239" y="1798"/>
                  </a:lnTo>
                  <a:cubicBezTo>
                    <a:pt x="1239" y="1774"/>
                    <a:pt x="1239" y="1739"/>
                    <a:pt x="1215" y="1727"/>
                  </a:cubicBezTo>
                  <a:lnTo>
                    <a:pt x="1143" y="1596"/>
                  </a:lnTo>
                  <a:cubicBezTo>
                    <a:pt x="1084" y="1453"/>
                    <a:pt x="1036" y="1322"/>
                    <a:pt x="1036" y="1179"/>
                  </a:cubicBezTo>
                  <a:cubicBezTo>
                    <a:pt x="1036" y="715"/>
                    <a:pt x="1429" y="322"/>
                    <a:pt x="1894" y="322"/>
                  </a:cubicBezTo>
                  <a:close/>
                  <a:moveTo>
                    <a:pt x="2906" y="3513"/>
                  </a:moveTo>
                  <a:lnTo>
                    <a:pt x="2906" y="3751"/>
                  </a:lnTo>
                  <a:cubicBezTo>
                    <a:pt x="2906" y="3798"/>
                    <a:pt x="2918" y="3858"/>
                    <a:pt x="2918" y="3894"/>
                  </a:cubicBezTo>
                  <a:lnTo>
                    <a:pt x="2334" y="4334"/>
                  </a:lnTo>
                  <a:lnTo>
                    <a:pt x="1763" y="3894"/>
                  </a:lnTo>
                  <a:cubicBezTo>
                    <a:pt x="1775" y="3858"/>
                    <a:pt x="1775" y="3798"/>
                    <a:pt x="1775" y="3751"/>
                  </a:cubicBezTo>
                  <a:lnTo>
                    <a:pt x="1775" y="3513"/>
                  </a:lnTo>
                  <a:cubicBezTo>
                    <a:pt x="1929" y="3584"/>
                    <a:pt x="2096" y="3632"/>
                    <a:pt x="2286" y="3632"/>
                  </a:cubicBezTo>
                  <a:lnTo>
                    <a:pt x="2334" y="3632"/>
                  </a:lnTo>
                  <a:cubicBezTo>
                    <a:pt x="2525" y="3632"/>
                    <a:pt x="2727" y="3584"/>
                    <a:pt x="2906" y="3513"/>
                  </a:cubicBezTo>
                  <a:close/>
                  <a:moveTo>
                    <a:pt x="1905" y="0"/>
                  </a:moveTo>
                  <a:cubicBezTo>
                    <a:pt x="1251" y="0"/>
                    <a:pt x="715" y="536"/>
                    <a:pt x="715" y="1191"/>
                  </a:cubicBezTo>
                  <a:cubicBezTo>
                    <a:pt x="715" y="1381"/>
                    <a:pt x="762" y="1572"/>
                    <a:pt x="846" y="1750"/>
                  </a:cubicBezTo>
                  <a:lnTo>
                    <a:pt x="893" y="1858"/>
                  </a:lnTo>
                  <a:lnTo>
                    <a:pt x="893" y="2120"/>
                  </a:lnTo>
                  <a:cubicBezTo>
                    <a:pt x="893" y="2596"/>
                    <a:pt x="1108" y="3013"/>
                    <a:pt x="1441" y="3298"/>
                  </a:cubicBezTo>
                  <a:lnTo>
                    <a:pt x="1441" y="3763"/>
                  </a:lnTo>
                  <a:cubicBezTo>
                    <a:pt x="1441" y="3834"/>
                    <a:pt x="1405" y="3906"/>
                    <a:pt x="1322" y="3941"/>
                  </a:cubicBezTo>
                  <a:lnTo>
                    <a:pt x="465" y="4263"/>
                  </a:lnTo>
                  <a:cubicBezTo>
                    <a:pt x="179" y="4370"/>
                    <a:pt x="0" y="4644"/>
                    <a:pt x="0" y="4941"/>
                  </a:cubicBezTo>
                  <a:lnTo>
                    <a:pt x="0" y="6203"/>
                  </a:lnTo>
                  <a:cubicBezTo>
                    <a:pt x="0" y="6299"/>
                    <a:pt x="72" y="6370"/>
                    <a:pt x="167" y="6370"/>
                  </a:cubicBezTo>
                  <a:cubicBezTo>
                    <a:pt x="251" y="6370"/>
                    <a:pt x="334" y="6299"/>
                    <a:pt x="334" y="6203"/>
                  </a:cubicBezTo>
                  <a:lnTo>
                    <a:pt x="334" y="4941"/>
                  </a:lnTo>
                  <a:cubicBezTo>
                    <a:pt x="334" y="4775"/>
                    <a:pt x="429" y="4644"/>
                    <a:pt x="572" y="4584"/>
                  </a:cubicBezTo>
                  <a:lnTo>
                    <a:pt x="1429" y="4251"/>
                  </a:lnTo>
                  <a:cubicBezTo>
                    <a:pt x="1477" y="4239"/>
                    <a:pt x="1513" y="4215"/>
                    <a:pt x="1560" y="4179"/>
                  </a:cubicBezTo>
                  <a:lnTo>
                    <a:pt x="2179" y="4644"/>
                  </a:lnTo>
                  <a:lnTo>
                    <a:pt x="2179" y="6203"/>
                  </a:lnTo>
                  <a:cubicBezTo>
                    <a:pt x="2179" y="6299"/>
                    <a:pt x="2251" y="6370"/>
                    <a:pt x="2334" y="6370"/>
                  </a:cubicBezTo>
                  <a:cubicBezTo>
                    <a:pt x="2429" y="6370"/>
                    <a:pt x="2501" y="6299"/>
                    <a:pt x="2501" y="6203"/>
                  </a:cubicBezTo>
                  <a:lnTo>
                    <a:pt x="2501" y="4644"/>
                  </a:lnTo>
                  <a:lnTo>
                    <a:pt x="3108" y="4179"/>
                  </a:lnTo>
                  <a:cubicBezTo>
                    <a:pt x="3156" y="4215"/>
                    <a:pt x="3203" y="4239"/>
                    <a:pt x="3239" y="4251"/>
                  </a:cubicBezTo>
                  <a:lnTo>
                    <a:pt x="4108" y="4584"/>
                  </a:lnTo>
                  <a:cubicBezTo>
                    <a:pt x="4251" y="4644"/>
                    <a:pt x="4346" y="4775"/>
                    <a:pt x="4346" y="4941"/>
                  </a:cubicBezTo>
                  <a:cubicBezTo>
                    <a:pt x="4346" y="5025"/>
                    <a:pt x="4418" y="5108"/>
                    <a:pt x="4513" y="5108"/>
                  </a:cubicBezTo>
                  <a:cubicBezTo>
                    <a:pt x="4596" y="5108"/>
                    <a:pt x="4668" y="5025"/>
                    <a:pt x="4668" y="4941"/>
                  </a:cubicBezTo>
                  <a:cubicBezTo>
                    <a:pt x="4703" y="4632"/>
                    <a:pt x="4525" y="4358"/>
                    <a:pt x="4239" y="4251"/>
                  </a:cubicBezTo>
                  <a:lnTo>
                    <a:pt x="3382" y="3929"/>
                  </a:lnTo>
                  <a:cubicBezTo>
                    <a:pt x="3310" y="3894"/>
                    <a:pt x="3263" y="3822"/>
                    <a:pt x="3263" y="3751"/>
                  </a:cubicBezTo>
                  <a:lnTo>
                    <a:pt x="3263" y="3322"/>
                  </a:lnTo>
                  <a:cubicBezTo>
                    <a:pt x="3310" y="3286"/>
                    <a:pt x="3334" y="3263"/>
                    <a:pt x="3370" y="3227"/>
                  </a:cubicBezTo>
                  <a:cubicBezTo>
                    <a:pt x="3644" y="2941"/>
                    <a:pt x="3810" y="2584"/>
                    <a:pt x="3810" y="2179"/>
                  </a:cubicBezTo>
                  <a:lnTo>
                    <a:pt x="3810" y="1858"/>
                  </a:lnTo>
                  <a:lnTo>
                    <a:pt x="3858" y="1750"/>
                  </a:lnTo>
                  <a:cubicBezTo>
                    <a:pt x="3941" y="1572"/>
                    <a:pt x="3989" y="1381"/>
                    <a:pt x="3989" y="1191"/>
                  </a:cubicBezTo>
                  <a:lnTo>
                    <a:pt x="3989" y="155"/>
                  </a:lnTo>
                  <a:cubicBezTo>
                    <a:pt x="3989" y="72"/>
                    <a:pt x="3918" y="0"/>
                    <a:pt x="3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0" name="Google Shape;11050;p60"/>
            <p:cNvSpPr/>
            <p:nvPr/>
          </p:nvSpPr>
          <p:spPr>
            <a:xfrm>
              <a:off x="5548658" y="2982111"/>
              <a:ext cx="140614" cy="208279"/>
            </a:xfrm>
            <a:custGeom>
              <a:avLst/>
              <a:gdLst/>
              <a:ahLst/>
              <a:cxnLst/>
              <a:rect l="l" t="t" r="r" b="b"/>
              <a:pathLst>
                <a:path w="4418" h="6544" extrusionOk="0">
                  <a:moveTo>
                    <a:pt x="2246" y="370"/>
                  </a:moveTo>
                  <a:cubicBezTo>
                    <a:pt x="2295" y="370"/>
                    <a:pt x="2346" y="376"/>
                    <a:pt x="2394" y="388"/>
                  </a:cubicBezTo>
                  <a:cubicBezTo>
                    <a:pt x="3132" y="459"/>
                    <a:pt x="3715" y="1102"/>
                    <a:pt x="3727" y="1876"/>
                  </a:cubicBezTo>
                  <a:cubicBezTo>
                    <a:pt x="3727" y="2602"/>
                    <a:pt x="3906" y="3269"/>
                    <a:pt x="4061" y="3626"/>
                  </a:cubicBezTo>
                  <a:lnTo>
                    <a:pt x="4061" y="3638"/>
                  </a:lnTo>
                  <a:cubicBezTo>
                    <a:pt x="3882" y="3722"/>
                    <a:pt x="3537" y="3912"/>
                    <a:pt x="2953" y="4031"/>
                  </a:cubicBezTo>
                  <a:lnTo>
                    <a:pt x="2953" y="3972"/>
                  </a:lnTo>
                  <a:lnTo>
                    <a:pt x="2953" y="3626"/>
                  </a:lnTo>
                  <a:cubicBezTo>
                    <a:pt x="3179" y="3495"/>
                    <a:pt x="3370" y="3317"/>
                    <a:pt x="3489" y="3091"/>
                  </a:cubicBezTo>
                  <a:cubicBezTo>
                    <a:pt x="3727" y="2674"/>
                    <a:pt x="3644" y="2126"/>
                    <a:pt x="3287" y="1793"/>
                  </a:cubicBezTo>
                  <a:cubicBezTo>
                    <a:pt x="3025" y="1578"/>
                    <a:pt x="2584" y="1293"/>
                    <a:pt x="1870" y="1293"/>
                  </a:cubicBezTo>
                  <a:cubicBezTo>
                    <a:pt x="1822" y="1293"/>
                    <a:pt x="1786" y="1305"/>
                    <a:pt x="1751" y="1340"/>
                  </a:cubicBezTo>
                  <a:lnTo>
                    <a:pt x="1382" y="1709"/>
                  </a:lnTo>
                  <a:cubicBezTo>
                    <a:pt x="1322" y="1769"/>
                    <a:pt x="1322" y="1888"/>
                    <a:pt x="1382" y="1948"/>
                  </a:cubicBezTo>
                  <a:cubicBezTo>
                    <a:pt x="1411" y="1977"/>
                    <a:pt x="1456" y="1992"/>
                    <a:pt x="1501" y="1992"/>
                  </a:cubicBezTo>
                  <a:cubicBezTo>
                    <a:pt x="1545" y="1992"/>
                    <a:pt x="1590" y="1977"/>
                    <a:pt x="1620" y="1948"/>
                  </a:cubicBezTo>
                  <a:lnTo>
                    <a:pt x="1929" y="1638"/>
                  </a:lnTo>
                  <a:cubicBezTo>
                    <a:pt x="2394" y="1650"/>
                    <a:pt x="2763" y="1781"/>
                    <a:pt x="3048" y="2055"/>
                  </a:cubicBezTo>
                  <a:cubicBezTo>
                    <a:pt x="3287" y="2269"/>
                    <a:pt x="3346" y="2650"/>
                    <a:pt x="3179" y="2924"/>
                  </a:cubicBezTo>
                  <a:cubicBezTo>
                    <a:pt x="2989" y="3269"/>
                    <a:pt x="2608" y="3495"/>
                    <a:pt x="2215" y="3495"/>
                  </a:cubicBezTo>
                  <a:cubicBezTo>
                    <a:pt x="1596" y="3495"/>
                    <a:pt x="1108" y="3007"/>
                    <a:pt x="1108" y="2388"/>
                  </a:cubicBezTo>
                  <a:cubicBezTo>
                    <a:pt x="1108" y="2305"/>
                    <a:pt x="1036" y="2233"/>
                    <a:pt x="941" y="2233"/>
                  </a:cubicBezTo>
                  <a:cubicBezTo>
                    <a:pt x="858" y="2233"/>
                    <a:pt x="786" y="2305"/>
                    <a:pt x="786" y="2388"/>
                  </a:cubicBezTo>
                  <a:cubicBezTo>
                    <a:pt x="786" y="2924"/>
                    <a:pt x="1084" y="3400"/>
                    <a:pt x="1513" y="3662"/>
                  </a:cubicBezTo>
                  <a:lnTo>
                    <a:pt x="1513" y="3995"/>
                  </a:lnTo>
                  <a:lnTo>
                    <a:pt x="1513" y="4055"/>
                  </a:lnTo>
                  <a:cubicBezTo>
                    <a:pt x="929" y="3936"/>
                    <a:pt x="608" y="3745"/>
                    <a:pt x="441" y="3638"/>
                  </a:cubicBezTo>
                  <a:cubicBezTo>
                    <a:pt x="441" y="3638"/>
                    <a:pt x="429" y="3638"/>
                    <a:pt x="441" y="3626"/>
                  </a:cubicBezTo>
                  <a:cubicBezTo>
                    <a:pt x="596" y="3269"/>
                    <a:pt x="774" y="2602"/>
                    <a:pt x="774" y="1876"/>
                  </a:cubicBezTo>
                  <a:cubicBezTo>
                    <a:pt x="774" y="1114"/>
                    <a:pt x="1370" y="459"/>
                    <a:pt x="2108" y="388"/>
                  </a:cubicBezTo>
                  <a:cubicBezTo>
                    <a:pt x="2150" y="376"/>
                    <a:pt x="2197" y="370"/>
                    <a:pt x="2246" y="370"/>
                  </a:cubicBezTo>
                  <a:close/>
                  <a:moveTo>
                    <a:pt x="2584" y="3769"/>
                  </a:moveTo>
                  <a:lnTo>
                    <a:pt x="2584" y="3972"/>
                  </a:lnTo>
                  <a:cubicBezTo>
                    <a:pt x="2584" y="4174"/>
                    <a:pt x="2703" y="4365"/>
                    <a:pt x="2882" y="4448"/>
                  </a:cubicBezTo>
                  <a:lnTo>
                    <a:pt x="2989" y="4507"/>
                  </a:lnTo>
                  <a:cubicBezTo>
                    <a:pt x="2858" y="4769"/>
                    <a:pt x="2560" y="4936"/>
                    <a:pt x="2227" y="4936"/>
                  </a:cubicBezTo>
                  <a:cubicBezTo>
                    <a:pt x="1917" y="4936"/>
                    <a:pt x="1620" y="4769"/>
                    <a:pt x="1441" y="4507"/>
                  </a:cubicBezTo>
                  <a:lnTo>
                    <a:pt x="1548" y="4448"/>
                  </a:lnTo>
                  <a:cubicBezTo>
                    <a:pt x="1727" y="4365"/>
                    <a:pt x="1846" y="4162"/>
                    <a:pt x="1846" y="3972"/>
                  </a:cubicBezTo>
                  <a:lnTo>
                    <a:pt x="1846" y="3769"/>
                  </a:lnTo>
                  <a:cubicBezTo>
                    <a:pt x="1965" y="3793"/>
                    <a:pt x="2096" y="3805"/>
                    <a:pt x="2215" y="3805"/>
                  </a:cubicBezTo>
                  <a:cubicBezTo>
                    <a:pt x="2346" y="3805"/>
                    <a:pt x="2465" y="3793"/>
                    <a:pt x="2584" y="3769"/>
                  </a:cubicBezTo>
                  <a:close/>
                  <a:moveTo>
                    <a:pt x="2209" y="1"/>
                  </a:moveTo>
                  <a:cubicBezTo>
                    <a:pt x="2153" y="1"/>
                    <a:pt x="2096" y="7"/>
                    <a:pt x="2036" y="19"/>
                  </a:cubicBezTo>
                  <a:cubicBezTo>
                    <a:pt x="1108" y="102"/>
                    <a:pt x="393" y="912"/>
                    <a:pt x="381" y="1840"/>
                  </a:cubicBezTo>
                  <a:cubicBezTo>
                    <a:pt x="381" y="2519"/>
                    <a:pt x="215" y="3138"/>
                    <a:pt x="84" y="3472"/>
                  </a:cubicBezTo>
                  <a:cubicBezTo>
                    <a:pt x="24" y="3614"/>
                    <a:pt x="72" y="3793"/>
                    <a:pt x="203" y="3876"/>
                  </a:cubicBezTo>
                  <a:cubicBezTo>
                    <a:pt x="358" y="3984"/>
                    <a:pt x="632" y="4150"/>
                    <a:pt x="1084" y="4281"/>
                  </a:cubicBezTo>
                  <a:lnTo>
                    <a:pt x="393" y="4626"/>
                  </a:lnTo>
                  <a:cubicBezTo>
                    <a:pt x="215" y="4722"/>
                    <a:pt x="84" y="4877"/>
                    <a:pt x="24" y="5055"/>
                  </a:cubicBezTo>
                  <a:cubicBezTo>
                    <a:pt x="0" y="5150"/>
                    <a:pt x="60" y="5234"/>
                    <a:pt x="143" y="5269"/>
                  </a:cubicBezTo>
                  <a:lnTo>
                    <a:pt x="191" y="5269"/>
                  </a:lnTo>
                  <a:cubicBezTo>
                    <a:pt x="262" y="5269"/>
                    <a:pt x="334" y="5222"/>
                    <a:pt x="358" y="5150"/>
                  </a:cubicBezTo>
                  <a:cubicBezTo>
                    <a:pt x="381" y="5043"/>
                    <a:pt x="453" y="4972"/>
                    <a:pt x="548" y="4924"/>
                  </a:cubicBezTo>
                  <a:lnTo>
                    <a:pt x="1084" y="4662"/>
                  </a:lnTo>
                  <a:cubicBezTo>
                    <a:pt x="1310" y="5043"/>
                    <a:pt x="1727" y="5281"/>
                    <a:pt x="2167" y="5281"/>
                  </a:cubicBezTo>
                  <a:cubicBezTo>
                    <a:pt x="2620" y="5281"/>
                    <a:pt x="3037" y="5043"/>
                    <a:pt x="3251" y="4662"/>
                  </a:cubicBezTo>
                  <a:lnTo>
                    <a:pt x="3787" y="4924"/>
                  </a:lnTo>
                  <a:cubicBezTo>
                    <a:pt x="3930" y="4984"/>
                    <a:pt x="4001" y="5115"/>
                    <a:pt x="4001" y="5269"/>
                  </a:cubicBezTo>
                  <a:lnTo>
                    <a:pt x="4001" y="6377"/>
                  </a:lnTo>
                  <a:cubicBezTo>
                    <a:pt x="4001" y="6472"/>
                    <a:pt x="4072" y="6543"/>
                    <a:pt x="4168" y="6543"/>
                  </a:cubicBezTo>
                  <a:cubicBezTo>
                    <a:pt x="4251" y="6543"/>
                    <a:pt x="4322" y="6472"/>
                    <a:pt x="4322" y="6377"/>
                  </a:cubicBezTo>
                  <a:lnTo>
                    <a:pt x="4322" y="5269"/>
                  </a:lnTo>
                  <a:cubicBezTo>
                    <a:pt x="4418" y="4996"/>
                    <a:pt x="4263" y="4746"/>
                    <a:pt x="4013" y="4626"/>
                  </a:cubicBezTo>
                  <a:lnTo>
                    <a:pt x="3334" y="4281"/>
                  </a:lnTo>
                  <a:cubicBezTo>
                    <a:pt x="3787" y="4150"/>
                    <a:pt x="4072" y="3984"/>
                    <a:pt x="4203" y="3876"/>
                  </a:cubicBezTo>
                  <a:cubicBezTo>
                    <a:pt x="4346" y="3793"/>
                    <a:pt x="4406" y="3614"/>
                    <a:pt x="4322" y="3472"/>
                  </a:cubicBezTo>
                  <a:cubicBezTo>
                    <a:pt x="4191" y="3138"/>
                    <a:pt x="4025" y="2519"/>
                    <a:pt x="4025" y="1840"/>
                  </a:cubicBezTo>
                  <a:cubicBezTo>
                    <a:pt x="4025" y="912"/>
                    <a:pt x="3299" y="102"/>
                    <a:pt x="2382" y="19"/>
                  </a:cubicBezTo>
                  <a:cubicBezTo>
                    <a:pt x="2322" y="7"/>
                    <a:pt x="2266" y="1"/>
                    <a:pt x="22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1" name="Google Shape;11051;p60"/>
            <p:cNvSpPr/>
            <p:nvPr/>
          </p:nvSpPr>
          <p:spPr>
            <a:xfrm>
              <a:off x="5655153" y="3157004"/>
              <a:ext cx="10630" cy="33387"/>
            </a:xfrm>
            <a:custGeom>
              <a:avLst/>
              <a:gdLst/>
              <a:ahLst/>
              <a:cxnLst/>
              <a:rect l="l" t="t" r="r" b="b"/>
              <a:pathLst>
                <a:path w="334" h="1049" extrusionOk="0">
                  <a:moveTo>
                    <a:pt x="167" y="1"/>
                  </a:moveTo>
                  <a:cubicBezTo>
                    <a:pt x="72" y="1"/>
                    <a:pt x="0" y="72"/>
                    <a:pt x="0" y="155"/>
                  </a:cubicBezTo>
                  <a:lnTo>
                    <a:pt x="0" y="894"/>
                  </a:lnTo>
                  <a:cubicBezTo>
                    <a:pt x="0" y="977"/>
                    <a:pt x="72" y="1048"/>
                    <a:pt x="167" y="1048"/>
                  </a:cubicBezTo>
                  <a:cubicBezTo>
                    <a:pt x="250" y="1048"/>
                    <a:pt x="322" y="977"/>
                    <a:pt x="322" y="894"/>
                  </a:cubicBezTo>
                  <a:lnTo>
                    <a:pt x="322" y="155"/>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2" name="Google Shape;11052;p60"/>
            <p:cNvSpPr/>
            <p:nvPr/>
          </p:nvSpPr>
          <p:spPr>
            <a:xfrm>
              <a:off x="5497893" y="3174445"/>
              <a:ext cx="11012" cy="10248"/>
            </a:xfrm>
            <a:custGeom>
              <a:avLst/>
              <a:gdLst/>
              <a:ahLst/>
              <a:cxnLst/>
              <a:rect l="l" t="t" r="r" b="b"/>
              <a:pathLst>
                <a:path w="346" h="322" extrusionOk="0">
                  <a:moveTo>
                    <a:pt x="179" y="0"/>
                  </a:moveTo>
                  <a:cubicBezTo>
                    <a:pt x="83" y="0"/>
                    <a:pt x="0" y="72"/>
                    <a:pt x="0" y="167"/>
                  </a:cubicBezTo>
                  <a:cubicBezTo>
                    <a:pt x="0" y="250"/>
                    <a:pt x="71" y="322"/>
                    <a:pt x="179" y="322"/>
                  </a:cubicBezTo>
                  <a:cubicBezTo>
                    <a:pt x="262" y="322"/>
                    <a:pt x="333" y="250"/>
                    <a:pt x="333" y="167"/>
                  </a:cubicBezTo>
                  <a:cubicBezTo>
                    <a:pt x="345"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3" name="Google Shape;11053;p60"/>
            <p:cNvSpPr/>
            <p:nvPr/>
          </p:nvSpPr>
          <p:spPr>
            <a:xfrm>
              <a:off x="5410718" y="3156972"/>
              <a:ext cx="74699" cy="45927"/>
            </a:xfrm>
            <a:custGeom>
              <a:avLst/>
              <a:gdLst/>
              <a:ahLst/>
              <a:cxnLst/>
              <a:rect l="l" t="t" r="r" b="b"/>
              <a:pathLst>
                <a:path w="2347" h="1443" extrusionOk="0">
                  <a:moveTo>
                    <a:pt x="905" y="0"/>
                  </a:moveTo>
                  <a:cubicBezTo>
                    <a:pt x="870" y="0"/>
                    <a:pt x="833" y="13"/>
                    <a:pt x="798" y="37"/>
                  </a:cubicBezTo>
                  <a:lnTo>
                    <a:pt x="72" y="585"/>
                  </a:lnTo>
                  <a:cubicBezTo>
                    <a:pt x="24" y="621"/>
                    <a:pt x="1" y="680"/>
                    <a:pt x="1" y="728"/>
                  </a:cubicBezTo>
                  <a:cubicBezTo>
                    <a:pt x="1" y="764"/>
                    <a:pt x="24" y="823"/>
                    <a:pt x="72" y="859"/>
                  </a:cubicBezTo>
                  <a:lnTo>
                    <a:pt x="798" y="1407"/>
                  </a:lnTo>
                  <a:cubicBezTo>
                    <a:pt x="834" y="1442"/>
                    <a:pt x="858" y="1442"/>
                    <a:pt x="905" y="1442"/>
                  </a:cubicBezTo>
                  <a:cubicBezTo>
                    <a:pt x="953" y="1442"/>
                    <a:pt x="1013" y="1407"/>
                    <a:pt x="1036" y="1359"/>
                  </a:cubicBezTo>
                  <a:cubicBezTo>
                    <a:pt x="1096" y="1287"/>
                    <a:pt x="1084" y="1180"/>
                    <a:pt x="1013" y="1121"/>
                  </a:cubicBezTo>
                  <a:lnTo>
                    <a:pt x="679" y="883"/>
                  </a:lnTo>
                  <a:lnTo>
                    <a:pt x="2191" y="883"/>
                  </a:lnTo>
                  <a:cubicBezTo>
                    <a:pt x="2275" y="883"/>
                    <a:pt x="2346" y="811"/>
                    <a:pt x="2346" y="728"/>
                  </a:cubicBezTo>
                  <a:cubicBezTo>
                    <a:pt x="2346" y="621"/>
                    <a:pt x="2275" y="549"/>
                    <a:pt x="2191" y="549"/>
                  </a:cubicBezTo>
                  <a:lnTo>
                    <a:pt x="679" y="549"/>
                  </a:lnTo>
                  <a:lnTo>
                    <a:pt x="1013" y="311"/>
                  </a:lnTo>
                  <a:cubicBezTo>
                    <a:pt x="1084" y="252"/>
                    <a:pt x="1096" y="145"/>
                    <a:pt x="1036" y="73"/>
                  </a:cubicBezTo>
                  <a:cubicBezTo>
                    <a:pt x="1002" y="24"/>
                    <a:pt x="955" y="0"/>
                    <a:pt x="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4" name="Google Shape;11054;p60"/>
            <p:cNvSpPr/>
            <p:nvPr/>
          </p:nvSpPr>
          <p:spPr>
            <a:xfrm>
              <a:off x="5521382" y="3156590"/>
              <a:ext cx="75049" cy="45163"/>
            </a:xfrm>
            <a:custGeom>
              <a:avLst/>
              <a:gdLst/>
              <a:ahLst/>
              <a:cxnLst/>
              <a:rect l="l" t="t" r="r" b="b"/>
              <a:pathLst>
                <a:path w="2358" h="1419" extrusionOk="0">
                  <a:moveTo>
                    <a:pt x="1446" y="0"/>
                  </a:moveTo>
                  <a:cubicBezTo>
                    <a:pt x="1396" y="0"/>
                    <a:pt x="1345" y="25"/>
                    <a:pt x="1310" y="73"/>
                  </a:cubicBezTo>
                  <a:cubicBezTo>
                    <a:pt x="1250" y="145"/>
                    <a:pt x="1274" y="252"/>
                    <a:pt x="1346" y="311"/>
                  </a:cubicBezTo>
                  <a:lnTo>
                    <a:pt x="1667" y="549"/>
                  </a:lnTo>
                  <a:lnTo>
                    <a:pt x="167" y="549"/>
                  </a:lnTo>
                  <a:cubicBezTo>
                    <a:pt x="84" y="549"/>
                    <a:pt x="0" y="621"/>
                    <a:pt x="0" y="704"/>
                  </a:cubicBezTo>
                  <a:cubicBezTo>
                    <a:pt x="0" y="799"/>
                    <a:pt x="84" y="871"/>
                    <a:pt x="167" y="871"/>
                  </a:cubicBezTo>
                  <a:lnTo>
                    <a:pt x="1667" y="871"/>
                  </a:lnTo>
                  <a:lnTo>
                    <a:pt x="1346" y="1109"/>
                  </a:lnTo>
                  <a:cubicBezTo>
                    <a:pt x="1274" y="1169"/>
                    <a:pt x="1250" y="1276"/>
                    <a:pt x="1310" y="1347"/>
                  </a:cubicBezTo>
                  <a:cubicBezTo>
                    <a:pt x="1346" y="1395"/>
                    <a:pt x="1405" y="1419"/>
                    <a:pt x="1453" y="1419"/>
                  </a:cubicBezTo>
                  <a:cubicBezTo>
                    <a:pt x="1477" y="1419"/>
                    <a:pt x="1524" y="1407"/>
                    <a:pt x="1548" y="1395"/>
                  </a:cubicBezTo>
                  <a:lnTo>
                    <a:pt x="2286" y="847"/>
                  </a:lnTo>
                  <a:cubicBezTo>
                    <a:pt x="2322" y="811"/>
                    <a:pt x="2358" y="752"/>
                    <a:pt x="2358" y="704"/>
                  </a:cubicBezTo>
                  <a:cubicBezTo>
                    <a:pt x="2358" y="668"/>
                    <a:pt x="2322" y="633"/>
                    <a:pt x="2286" y="585"/>
                  </a:cubicBezTo>
                  <a:lnTo>
                    <a:pt x="1548" y="37"/>
                  </a:lnTo>
                  <a:cubicBezTo>
                    <a:pt x="1518" y="13"/>
                    <a:pt x="1482" y="0"/>
                    <a:pt x="14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5" name="Google Shape;11055;p60"/>
          <p:cNvGrpSpPr/>
          <p:nvPr/>
        </p:nvGrpSpPr>
        <p:grpSpPr>
          <a:xfrm>
            <a:off x="7073928" y="2905757"/>
            <a:ext cx="371395" cy="371809"/>
            <a:chOff x="7073928" y="2905757"/>
            <a:chExt cx="371395" cy="371809"/>
          </a:xfrm>
        </p:grpSpPr>
        <p:sp>
          <p:nvSpPr>
            <p:cNvPr id="11056" name="Google Shape;11056;p60"/>
            <p:cNvSpPr/>
            <p:nvPr/>
          </p:nvSpPr>
          <p:spPr>
            <a:xfrm>
              <a:off x="7073928" y="2905757"/>
              <a:ext cx="371395" cy="371809"/>
            </a:xfrm>
            <a:custGeom>
              <a:avLst/>
              <a:gdLst/>
              <a:ahLst/>
              <a:cxnLst/>
              <a:rect l="l" t="t" r="r" b="b"/>
              <a:pathLst>
                <a:path w="11669" h="11682" extrusionOk="0">
                  <a:moveTo>
                    <a:pt x="3608" y="1811"/>
                  </a:moveTo>
                  <a:cubicBezTo>
                    <a:pt x="3822" y="1811"/>
                    <a:pt x="3989" y="1977"/>
                    <a:pt x="3989" y="2192"/>
                  </a:cubicBezTo>
                  <a:lnTo>
                    <a:pt x="3989" y="2561"/>
                  </a:lnTo>
                  <a:cubicBezTo>
                    <a:pt x="3989" y="2870"/>
                    <a:pt x="3727" y="3120"/>
                    <a:pt x="3417" y="3120"/>
                  </a:cubicBezTo>
                  <a:cubicBezTo>
                    <a:pt x="3411" y="3120"/>
                    <a:pt x="3404" y="3121"/>
                    <a:pt x="3398" y="3121"/>
                  </a:cubicBezTo>
                  <a:cubicBezTo>
                    <a:pt x="3109" y="3121"/>
                    <a:pt x="2870" y="2863"/>
                    <a:pt x="2870" y="2561"/>
                  </a:cubicBezTo>
                  <a:lnTo>
                    <a:pt x="2870" y="2192"/>
                  </a:lnTo>
                  <a:cubicBezTo>
                    <a:pt x="2870" y="1977"/>
                    <a:pt x="3024" y="1811"/>
                    <a:pt x="3239" y="1811"/>
                  </a:cubicBezTo>
                  <a:close/>
                  <a:moveTo>
                    <a:pt x="3596" y="3454"/>
                  </a:moveTo>
                  <a:lnTo>
                    <a:pt x="3596" y="3466"/>
                  </a:lnTo>
                  <a:cubicBezTo>
                    <a:pt x="3632" y="3561"/>
                    <a:pt x="3643" y="3644"/>
                    <a:pt x="3667" y="3704"/>
                  </a:cubicBezTo>
                  <a:lnTo>
                    <a:pt x="3429" y="3942"/>
                  </a:lnTo>
                  <a:lnTo>
                    <a:pt x="3405" y="3942"/>
                  </a:lnTo>
                  <a:lnTo>
                    <a:pt x="3167" y="3704"/>
                  </a:lnTo>
                  <a:cubicBezTo>
                    <a:pt x="3191" y="3644"/>
                    <a:pt x="3215" y="3585"/>
                    <a:pt x="3215" y="3525"/>
                  </a:cubicBezTo>
                  <a:lnTo>
                    <a:pt x="3215" y="3454"/>
                  </a:lnTo>
                  <a:close/>
                  <a:moveTo>
                    <a:pt x="5632" y="5204"/>
                  </a:moveTo>
                  <a:lnTo>
                    <a:pt x="5632" y="7418"/>
                  </a:lnTo>
                  <a:lnTo>
                    <a:pt x="4525" y="8204"/>
                  </a:lnTo>
                  <a:lnTo>
                    <a:pt x="4525" y="5466"/>
                  </a:lnTo>
                  <a:cubicBezTo>
                    <a:pt x="4608" y="5525"/>
                    <a:pt x="4727" y="5573"/>
                    <a:pt x="4846" y="5585"/>
                  </a:cubicBezTo>
                  <a:lnTo>
                    <a:pt x="4977" y="5585"/>
                  </a:lnTo>
                  <a:cubicBezTo>
                    <a:pt x="5120" y="5561"/>
                    <a:pt x="5263" y="5525"/>
                    <a:pt x="5370" y="5418"/>
                  </a:cubicBezTo>
                  <a:lnTo>
                    <a:pt x="5632" y="5204"/>
                  </a:lnTo>
                  <a:close/>
                  <a:moveTo>
                    <a:pt x="2893" y="3930"/>
                  </a:moveTo>
                  <a:lnTo>
                    <a:pt x="3167" y="4204"/>
                  </a:lnTo>
                  <a:cubicBezTo>
                    <a:pt x="3227" y="4263"/>
                    <a:pt x="3310" y="4299"/>
                    <a:pt x="3417" y="4299"/>
                  </a:cubicBezTo>
                  <a:cubicBezTo>
                    <a:pt x="3524" y="4299"/>
                    <a:pt x="3596" y="4275"/>
                    <a:pt x="3667" y="4204"/>
                  </a:cubicBezTo>
                  <a:lnTo>
                    <a:pt x="3905" y="3966"/>
                  </a:lnTo>
                  <a:cubicBezTo>
                    <a:pt x="3989" y="3989"/>
                    <a:pt x="4060" y="4025"/>
                    <a:pt x="4144" y="4025"/>
                  </a:cubicBezTo>
                  <a:cubicBezTo>
                    <a:pt x="4203" y="4025"/>
                    <a:pt x="4263" y="4049"/>
                    <a:pt x="4298" y="4097"/>
                  </a:cubicBezTo>
                  <a:lnTo>
                    <a:pt x="4798" y="4716"/>
                  </a:lnTo>
                  <a:cubicBezTo>
                    <a:pt x="4833" y="4764"/>
                    <a:pt x="4884" y="4789"/>
                    <a:pt x="4935" y="4789"/>
                  </a:cubicBezTo>
                  <a:cubicBezTo>
                    <a:pt x="4971" y="4789"/>
                    <a:pt x="5007" y="4776"/>
                    <a:pt x="5036" y="4751"/>
                  </a:cubicBezTo>
                  <a:lnTo>
                    <a:pt x="5656" y="4263"/>
                  </a:lnTo>
                  <a:cubicBezTo>
                    <a:pt x="5694" y="4231"/>
                    <a:pt x="5747" y="4209"/>
                    <a:pt x="5798" y="4209"/>
                  </a:cubicBezTo>
                  <a:cubicBezTo>
                    <a:pt x="5842" y="4209"/>
                    <a:pt x="5885" y="4225"/>
                    <a:pt x="5918" y="4263"/>
                  </a:cubicBezTo>
                  <a:cubicBezTo>
                    <a:pt x="5965" y="4299"/>
                    <a:pt x="5989" y="4347"/>
                    <a:pt x="5977" y="4406"/>
                  </a:cubicBezTo>
                  <a:cubicBezTo>
                    <a:pt x="5989" y="4454"/>
                    <a:pt x="5965" y="4513"/>
                    <a:pt x="5918" y="4537"/>
                  </a:cubicBezTo>
                  <a:lnTo>
                    <a:pt x="5144" y="5156"/>
                  </a:lnTo>
                  <a:cubicBezTo>
                    <a:pt x="5084" y="5192"/>
                    <a:pt x="5013" y="5228"/>
                    <a:pt x="4929" y="5240"/>
                  </a:cubicBezTo>
                  <a:lnTo>
                    <a:pt x="4858" y="5240"/>
                  </a:lnTo>
                  <a:cubicBezTo>
                    <a:pt x="4751" y="5228"/>
                    <a:pt x="4667" y="5180"/>
                    <a:pt x="4608" y="5109"/>
                  </a:cubicBezTo>
                  <a:lnTo>
                    <a:pt x="4453" y="4930"/>
                  </a:lnTo>
                  <a:cubicBezTo>
                    <a:pt x="4425" y="4884"/>
                    <a:pt x="4369" y="4866"/>
                    <a:pt x="4312" y="4866"/>
                  </a:cubicBezTo>
                  <a:cubicBezTo>
                    <a:pt x="4295" y="4866"/>
                    <a:pt x="4279" y="4868"/>
                    <a:pt x="4263" y="4870"/>
                  </a:cubicBezTo>
                  <a:cubicBezTo>
                    <a:pt x="4191" y="4894"/>
                    <a:pt x="4144" y="4954"/>
                    <a:pt x="4144" y="5037"/>
                  </a:cubicBezTo>
                  <a:lnTo>
                    <a:pt x="4144" y="8454"/>
                  </a:lnTo>
                  <a:lnTo>
                    <a:pt x="3763" y="8740"/>
                  </a:lnTo>
                  <a:lnTo>
                    <a:pt x="3763" y="7145"/>
                  </a:lnTo>
                  <a:cubicBezTo>
                    <a:pt x="3763" y="7061"/>
                    <a:pt x="3691" y="6978"/>
                    <a:pt x="3596" y="6978"/>
                  </a:cubicBezTo>
                  <a:cubicBezTo>
                    <a:pt x="3512" y="6978"/>
                    <a:pt x="3429" y="7061"/>
                    <a:pt x="3429" y="7145"/>
                  </a:cubicBezTo>
                  <a:lnTo>
                    <a:pt x="3429" y="8978"/>
                  </a:lnTo>
                  <a:lnTo>
                    <a:pt x="2870" y="9383"/>
                  </a:lnTo>
                  <a:lnTo>
                    <a:pt x="2870" y="7180"/>
                  </a:lnTo>
                  <a:cubicBezTo>
                    <a:pt x="2870" y="7014"/>
                    <a:pt x="2822" y="6835"/>
                    <a:pt x="2750" y="6680"/>
                  </a:cubicBezTo>
                  <a:lnTo>
                    <a:pt x="2572" y="6347"/>
                  </a:lnTo>
                  <a:cubicBezTo>
                    <a:pt x="2524" y="6240"/>
                    <a:pt x="2500" y="6121"/>
                    <a:pt x="2500" y="6013"/>
                  </a:cubicBezTo>
                  <a:lnTo>
                    <a:pt x="2500" y="4263"/>
                  </a:lnTo>
                  <a:cubicBezTo>
                    <a:pt x="2500" y="4180"/>
                    <a:pt x="2536" y="4120"/>
                    <a:pt x="2596" y="4085"/>
                  </a:cubicBezTo>
                  <a:lnTo>
                    <a:pt x="2893" y="3930"/>
                  </a:lnTo>
                  <a:close/>
                  <a:moveTo>
                    <a:pt x="5810" y="1"/>
                  </a:moveTo>
                  <a:cubicBezTo>
                    <a:pt x="5727" y="1"/>
                    <a:pt x="5656" y="72"/>
                    <a:pt x="5656" y="167"/>
                  </a:cubicBezTo>
                  <a:lnTo>
                    <a:pt x="5656" y="3870"/>
                  </a:lnTo>
                  <a:cubicBezTo>
                    <a:pt x="5596" y="3882"/>
                    <a:pt x="5537" y="3930"/>
                    <a:pt x="5477" y="3977"/>
                  </a:cubicBezTo>
                  <a:lnTo>
                    <a:pt x="5001" y="4358"/>
                  </a:lnTo>
                  <a:lnTo>
                    <a:pt x="4596" y="3870"/>
                  </a:lnTo>
                  <a:cubicBezTo>
                    <a:pt x="4489" y="3739"/>
                    <a:pt x="4346" y="3668"/>
                    <a:pt x="4179" y="3668"/>
                  </a:cubicBezTo>
                  <a:cubicBezTo>
                    <a:pt x="4072" y="3668"/>
                    <a:pt x="3989" y="3573"/>
                    <a:pt x="3989" y="3466"/>
                  </a:cubicBezTo>
                  <a:lnTo>
                    <a:pt x="3989" y="3275"/>
                  </a:lnTo>
                  <a:cubicBezTo>
                    <a:pt x="4203" y="3108"/>
                    <a:pt x="4358" y="2846"/>
                    <a:pt x="4358" y="2549"/>
                  </a:cubicBezTo>
                  <a:lnTo>
                    <a:pt x="4358" y="2180"/>
                  </a:lnTo>
                  <a:cubicBezTo>
                    <a:pt x="4358" y="1775"/>
                    <a:pt x="4024" y="1465"/>
                    <a:pt x="3643" y="1465"/>
                  </a:cubicBezTo>
                  <a:lnTo>
                    <a:pt x="3274" y="1465"/>
                  </a:lnTo>
                  <a:cubicBezTo>
                    <a:pt x="2870" y="1465"/>
                    <a:pt x="2560" y="1787"/>
                    <a:pt x="2560" y="2180"/>
                  </a:cubicBezTo>
                  <a:lnTo>
                    <a:pt x="2560" y="2549"/>
                  </a:lnTo>
                  <a:cubicBezTo>
                    <a:pt x="2560" y="2846"/>
                    <a:pt x="2703" y="3108"/>
                    <a:pt x="2929" y="3275"/>
                  </a:cubicBezTo>
                  <a:lnTo>
                    <a:pt x="2929" y="3525"/>
                  </a:lnTo>
                  <a:lnTo>
                    <a:pt x="2929" y="3549"/>
                  </a:lnTo>
                  <a:lnTo>
                    <a:pt x="2500" y="3751"/>
                  </a:lnTo>
                  <a:cubicBezTo>
                    <a:pt x="2322" y="3847"/>
                    <a:pt x="2203" y="4037"/>
                    <a:pt x="2203" y="4228"/>
                  </a:cubicBezTo>
                  <a:lnTo>
                    <a:pt x="2203" y="5990"/>
                  </a:lnTo>
                  <a:cubicBezTo>
                    <a:pt x="2203" y="6144"/>
                    <a:pt x="2239" y="6323"/>
                    <a:pt x="2322" y="6478"/>
                  </a:cubicBezTo>
                  <a:lnTo>
                    <a:pt x="2500" y="6823"/>
                  </a:lnTo>
                  <a:cubicBezTo>
                    <a:pt x="2536" y="6918"/>
                    <a:pt x="2572" y="7037"/>
                    <a:pt x="2572" y="7145"/>
                  </a:cubicBezTo>
                  <a:lnTo>
                    <a:pt x="2572" y="9597"/>
                  </a:lnTo>
                  <a:lnTo>
                    <a:pt x="83" y="11371"/>
                  </a:lnTo>
                  <a:cubicBezTo>
                    <a:pt x="12" y="11431"/>
                    <a:pt x="0" y="11538"/>
                    <a:pt x="36" y="11609"/>
                  </a:cubicBezTo>
                  <a:cubicBezTo>
                    <a:pt x="74" y="11655"/>
                    <a:pt x="133" y="11682"/>
                    <a:pt x="188" y="11682"/>
                  </a:cubicBezTo>
                  <a:cubicBezTo>
                    <a:pt x="219" y="11682"/>
                    <a:pt x="249" y="11674"/>
                    <a:pt x="274" y="11657"/>
                  </a:cubicBezTo>
                  <a:lnTo>
                    <a:pt x="5846" y="7716"/>
                  </a:lnTo>
                  <a:lnTo>
                    <a:pt x="11406" y="11657"/>
                  </a:lnTo>
                  <a:cubicBezTo>
                    <a:pt x="11442" y="11669"/>
                    <a:pt x="11466" y="11681"/>
                    <a:pt x="11513" y="11681"/>
                  </a:cubicBezTo>
                  <a:cubicBezTo>
                    <a:pt x="11573" y="11681"/>
                    <a:pt x="11621" y="11657"/>
                    <a:pt x="11644" y="11609"/>
                  </a:cubicBezTo>
                  <a:cubicBezTo>
                    <a:pt x="11668" y="11538"/>
                    <a:pt x="11644" y="11431"/>
                    <a:pt x="11573" y="11371"/>
                  </a:cubicBezTo>
                  <a:lnTo>
                    <a:pt x="5977" y="7395"/>
                  </a:lnTo>
                  <a:lnTo>
                    <a:pt x="5977" y="4930"/>
                  </a:lnTo>
                  <a:lnTo>
                    <a:pt x="6144" y="4787"/>
                  </a:lnTo>
                  <a:cubicBezTo>
                    <a:pt x="6263" y="4692"/>
                    <a:pt x="6334" y="4549"/>
                    <a:pt x="6346" y="4394"/>
                  </a:cubicBezTo>
                  <a:cubicBezTo>
                    <a:pt x="6346" y="4228"/>
                    <a:pt x="6287" y="4073"/>
                    <a:pt x="6168" y="3977"/>
                  </a:cubicBezTo>
                  <a:cubicBezTo>
                    <a:pt x="6108" y="3930"/>
                    <a:pt x="6049" y="3882"/>
                    <a:pt x="5977" y="3870"/>
                  </a:cubicBezTo>
                  <a:lnTo>
                    <a:pt x="5977" y="715"/>
                  </a:lnTo>
                  <a:lnTo>
                    <a:pt x="8275" y="715"/>
                  </a:lnTo>
                  <a:lnTo>
                    <a:pt x="8037" y="1191"/>
                  </a:lnTo>
                  <a:cubicBezTo>
                    <a:pt x="8001" y="1239"/>
                    <a:pt x="8001" y="1299"/>
                    <a:pt x="8037" y="1334"/>
                  </a:cubicBezTo>
                  <a:lnTo>
                    <a:pt x="8275" y="1811"/>
                  </a:lnTo>
                  <a:lnTo>
                    <a:pt x="6549" y="1811"/>
                  </a:lnTo>
                  <a:cubicBezTo>
                    <a:pt x="6453" y="1811"/>
                    <a:pt x="6382" y="1894"/>
                    <a:pt x="6382" y="1977"/>
                  </a:cubicBezTo>
                  <a:cubicBezTo>
                    <a:pt x="6382" y="2072"/>
                    <a:pt x="6453" y="2144"/>
                    <a:pt x="6549" y="2144"/>
                  </a:cubicBezTo>
                  <a:lnTo>
                    <a:pt x="8549" y="2144"/>
                  </a:lnTo>
                  <a:cubicBezTo>
                    <a:pt x="8608" y="2144"/>
                    <a:pt x="8668" y="2108"/>
                    <a:pt x="8704" y="2072"/>
                  </a:cubicBezTo>
                  <a:cubicBezTo>
                    <a:pt x="8727" y="2025"/>
                    <a:pt x="8727" y="1953"/>
                    <a:pt x="8716" y="1906"/>
                  </a:cubicBezTo>
                  <a:lnTo>
                    <a:pt x="8394" y="1251"/>
                  </a:lnTo>
                  <a:lnTo>
                    <a:pt x="8716" y="596"/>
                  </a:lnTo>
                  <a:cubicBezTo>
                    <a:pt x="8751" y="537"/>
                    <a:pt x="8751" y="477"/>
                    <a:pt x="8704" y="429"/>
                  </a:cubicBezTo>
                  <a:cubicBezTo>
                    <a:pt x="8668" y="394"/>
                    <a:pt x="8608" y="358"/>
                    <a:pt x="8549" y="358"/>
                  </a:cubicBezTo>
                  <a:lnTo>
                    <a:pt x="5977" y="358"/>
                  </a:lnTo>
                  <a:lnTo>
                    <a:pt x="5977" y="167"/>
                  </a:lnTo>
                  <a:cubicBezTo>
                    <a:pt x="5977" y="72"/>
                    <a:pt x="5906" y="1"/>
                    <a:pt x="5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7" name="Google Shape;11057;p60"/>
            <p:cNvSpPr/>
            <p:nvPr/>
          </p:nvSpPr>
          <p:spPr>
            <a:xfrm>
              <a:off x="7281188" y="3188513"/>
              <a:ext cx="65596" cy="48473"/>
            </a:xfrm>
            <a:custGeom>
              <a:avLst/>
              <a:gdLst/>
              <a:ahLst/>
              <a:cxnLst/>
              <a:rect l="l" t="t" r="r" b="b"/>
              <a:pathLst>
                <a:path w="2061" h="1523" extrusionOk="0">
                  <a:moveTo>
                    <a:pt x="204" y="1"/>
                  </a:moveTo>
                  <a:cubicBezTo>
                    <a:pt x="151" y="1"/>
                    <a:pt x="97" y="27"/>
                    <a:pt x="60" y="70"/>
                  </a:cubicBezTo>
                  <a:cubicBezTo>
                    <a:pt x="1" y="154"/>
                    <a:pt x="37" y="261"/>
                    <a:pt x="108" y="320"/>
                  </a:cubicBezTo>
                  <a:lnTo>
                    <a:pt x="1775" y="1487"/>
                  </a:lnTo>
                  <a:cubicBezTo>
                    <a:pt x="1799" y="1511"/>
                    <a:pt x="1834" y="1523"/>
                    <a:pt x="1882" y="1523"/>
                  </a:cubicBezTo>
                  <a:cubicBezTo>
                    <a:pt x="1942" y="1523"/>
                    <a:pt x="1977" y="1487"/>
                    <a:pt x="2013" y="1451"/>
                  </a:cubicBezTo>
                  <a:cubicBezTo>
                    <a:pt x="2061" y="1368"/>
                    <a:pt x="2037" y="1261"/>
                    <a:pt x="1965" y="1213"/>
                  </a:cubicBezTo>
                  <a:lnTo>
                    <a:pt x="299" y="35"/>
                  </a:lnTo>
                  <a:cubicBezTo>
                    <a:pt x="271" y="11"/>
                    <a:pt x="237" y="1"/>
                    <a:pt x="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58" name="Google Shape;11058;p60"/>
            <p:cNvSpPr/>
            <p:nvPr/>
          </p:nvSpPr>
          <p:spPr>
            <a:xfrm>
              <a:off x="7252034" y="3168080"/>
              <a:ext cx="24634" cy="19287"/>
            </a:xfrm>
            <a:custGeom>
              <a:avLst/>
              <a:gdLst/>
              <a:ahLst/>
              <a:cxnLst/>
              <a:rect l="l" t="t" r="r" b="b"/>
              <a:pathLst>
                <a:path w="774" h="606" extrusionOk="0">
                  <a:moveTo>
                    <a:pt x="201" y="1"/>
                  </a:moveTo>
                  <a:cubicBezTo>
                    <a:pt x="148" y="1"/>
                    <a:pt x="97" y="29"/>
                    <a:pt x="60" y="81"/>
                  </a:cubicBezTo>
                  <a:cubicBezTo>
                    <a:pt x="0" y="153"/>
                    <a:pt x="24" y="260"/>
                    <a:pt x="95" y="319"/>
                  </a:cubicBezTo>
                  <a:lnTo>
                    <a:pt x="476" y="569"/>
                  </a:lnTo>
                  <a:cubicBezTo>
                    <a:pt x="500" y="581"/>
                    <a:pt x="536" y="605"/>
                    <a:pt x="572" y="605"/>
                  </a:cubicBezTo>
                  <a:cubicBezTo>
                    <a:pt x="631" y="605"/>
                    <a:pt x="679" y="569"/>
                    <a:pt x="714" y="522"/>
                  </a:cubicBezTo>
                  <a:cubicBezTo>
                    <a:pt x="774" y="450"/>
                    <a:pt x="750" y="343"/>
                    <a:pt x="667" y="284"/>
                  </a:cubicBezTo>
                  <a:lnTo>
                    <a:pt x="298" y="34"/>
                  </a:lnTo>
                  <a:cubicBezTo>
                    <a:pt x="266" y="11"/>
                    <a:pt x="233"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9" name="Google Shape;11059;p60"/>
          <p:cNvGrpSpPr/>
          <p:nvPr/>
        </p:nvGrpSpPr>
        <p:grpSpPr>
          <a:xfrm>
            <a:off x="6188327" y="2955408"/>
            <a:ext cx="371395" cy="272857"/>
            <a:chOff x="6188327" y="2955408"/>
            <a:chExt cx="371395" cy="272857"/>
          </a:xfrm>
        </p:grpSpPr>
        <p:sp>
          <p:nvSpPr>
            <p:cNvPr id="11060" name="Google Shape;11060;p60"/>
            <p:cNvSpPr/>
            <p:nvPr/>
          </p:nvSpPr>
          <p:spPr>
            <a:xfrm>
              <a:off x="6229990" y="2978897"/>
              <a:ext cx="289567" cy="197840"/>
            </a:xfrm>
            <a:custGeom>
              <a:avLst/>
              <a:gdLst/>
              <a:ahLst/>
              <a:cxnLst/>
              <a:rect l="l" t="t" r="r" b="b"/>
              <a:pathLst>
                <a:path w="9098" h="6216" extrusionOk="0">
                  <a:moveTo>
                    <a:pt x="2894" y="1263"/>
                  </a:moveTo>
                  <a:cubicBezTo>
                    <a:pt x="3097" y="1263"/>
                    <a:pt x="3263" y="1429"/>
                    <a:pt x="3263" y="1632"/>
                  </a:cubicBezTo>
                  <a:lnTo>
                    <a:pt x="3263" y="2001"/>
                  </a:lnTo>
                  <a:cubicBezTo>
                    <a:pt x="3263" y="2322"/>
                    <a:pt x="3013" y="2572"/>
                    <a:pt x="2704" y="2572"/>
                  </a:cubicBezTo>
                  <a:cubicBezTo>
                    <a:pt x="2406" y="2561"/>
                    <a:pt x="2144" y="2299"/>
                    <a:pt x="2144" y="2001"/>
                  </a:cubicBezTo>
                  <a:lnTo>
                    <a:pt x="2144" y="1632"/>
                  </a:lnTo>
                  <a:cubicBezTo>
                    <a:pt x="2144" y="1429"/>
                    <a:pt x="2311" y="1263"/>
                    <a:pt x="2525" y="1263"/>
                  </a:cubicBezTo>
                  <a:close/>
                  <a:moveTo>
                    <a:pt x="7264" y="1084"/>
                  </a:moveTo>
                  <a:cubicBezTo>
                    <a:pt x="7371" y="1084"/>
                    <a:pt x="7466" y="1168"/>
                    <a:pt x="7466" y="1275"/>
                  </a:cubicBezTo>
                  <a:lnTo>
                    <a:pt x="7466" y="1822"/>
                  </a:lnTo>
                  <a:cubicBezTo>
                    <a:pt x="7466" y="1894"/>
                    <a:pt x="7430" y="1953"/>
                    <a:pt x="7359" y="1989"/>
                  </a:cubicBezTo>
                  <a:cubicBezTo>
                    <a:pt x="7299" y="2025"/>
                    <a:pt x="7264" y="2084"/>
                    <a:pt x="7264" y="2144"/>
                  </a:cubicBezTo>
                  <a:lnTo>
                    <a:pt x="7264" y="2406"/>
                  </a:lnTo>
                  <a:cubicBezTo>
                    <a:pt x="7264" y="2477"/>
                    <a:pt x="7323" y="2549"/>
                    <a:pt x="7407" y="2572"/>
                  </a:cubicBezTo>
                  <a:lnTo>
                    <a:pt x="7859" y="2692"/>
                  </a:lnTo>
                  <a:cubicBezTo>
                    <a:pt x="7954" y="2703"/>
                    <a:pt x="8014" y="2787"/>
                    <a:pt x="8014" y="2882"/>
                  </a:cubicBezTo>
                  <a:lnTo>
                    <a:pt x="8014" y="2930"/>
                  </a:lnTo>
                  <a:lnTo>
                    <a:pt x="6168" y="2930"/>
                  </a:lnTo>
                  <a:lnTo>
                    <a:pt x="6168" y="2882"/>
                  </a:lnTo>
                  <a:cubicBezTo>
                    <a:pt x="6168" y="2787"/>
                    <a:pt x="6228" y="2715"/>
                    <a:pt x="6311" y="2692"/>
                  </a:cubicBezTo>
                  <a:lnTo>
                    <a:pt x="6776" y="2572"/>
                  </a:lnTo>
                  <a:cubicBezTo>
                    <a:pt x="6847" y="2549"/>
                    <a:pt x="6907" y="2477"/>
                    <a:pt x="6907" y="2406"/>
                  </a:cubicBezTo>
                  <a:lnTo>
                    <a:pt x="6907" y="2144"/>
                  </a:lnTo>
                  <a:cubicBezTo>
                    <a:pt x="6895" y="2060"/>
                    <a:pt x="6871" y="2025"/>
                    <a:pt x="6811" y="1989"/>
                  </a:cubicBezTo>
                  <a:cubicBezTo>
                    <a:pt x="6752" y="1953"/>
                    <a:pt x="6704" y="1882"/>
                    <a:pt x="6704" y="1822"/>
                  </a:cubicBezTo>
                  <a:lnTo>
                    <a:pt x="6704" y="1275"/>
                  </a:lnTo>
                  <a:cubicBezTo>
                    <a:pt x="6704" y="1168"/>
                    <a:pt x="6787" y="1084"/>
                    <a:pt x="6895" y="1084"/>
                  </a:cubicBezTo>
                  <a:close/>
                  <a:moveTo>
                    <a:pt x="8752" y="334"/>
                  </a:moveTo>
                  <a:lnTo>
                    <a:pt x="8752" y="2930"/>
                  </a:lnTo>
                  <a:lnTo>
                    <a:pt x="8371" y="2930"/>
                  </a:lnTo>
                  <a:lnTo>
                    <a:pt x="8371" y="2882"/>
                  </a:lnTo>
                  <a:cubicBezTo>
                    <a:pt x="8371" y="2632"/>
                    <a:pt x="8204" y="2418"/>
                    <a:pt x="7966" y="2358"/>
                  </a:cubicBezTo>
                  <a:lnTo>
                    <a:pt x="7645" y="2287"/>
                  </a:lnTo>
                  <a:lnTo>
                    <a:pt x="7645" y="2227"/>
                  </a:lnTo>
                  <a:cubicBezTo>
                    <a:pt x="7764" y="2120"/>
                    <a:pt x="7823" y="1977"/>
                    <a:pt x="7823" y="1822"/>
                  </a:cubicBezTo>
                  <a:lnTo>
                    <a:pt x="7823" y="1275"/>
                  </a:lnTo>
                  <a:cubicBezTo>
                    <a:pt x="7823" y="977"/>
                    <a:pt x="7585" y="739"/>
                    <a:pt x="7288" y="739"/>
                  </a:cubicBezTo>
                  <a:lnTo>
                    <a:pt x="6907" y="739"/>
                  </a:lnTo>
                  <a:cubicBezTo>
                    <a:pt x="6609" y="739"/>
                    <a:pt x="6371" y="977"/>
                    <a:pt x="6371" y="1275"/>
                  </a:cubicBezTo>
                  <a:lnTo>
                    <a:pt x="6371" y="1822"/>
                  </a:lnTo>
                  <a:cubicBezTo>
                    <a:pt x="6371" y="1977"/>
                    <a:pt x="6454" y="2120"/>
                    <a:pt x="6549" y="2227"/>
                  </a:cubicBezTo>
                  <a:lnTo>
                    <a:pt x="6549" y="2287"/>
                  </a:lnTo>
                  <a:lnTo>
                    <a:pt x="6228" y="2358"/>
                  </a:lnTo>
                  <a:cubicBezTo>
                    <a:pt x="5990" y="2418"/>
                    <a:pt x="5823" y="2632"/>
                    <a:pt x="5823" y="2882"/>
                  </a:cubicBezTo>
                  <a:lnTo>
                    <a:pt x="5823" y="2930"/>
                  </a:lnTo>
                  <a:lnTo>
                    <a:pt x="5442" y="2930"/>
                  </a:lnTo>
                  <a:lnTo>
                    <a:pt x="5442" y="334"/>
                  </a:lnTo>
                  <a:close/>
                  <a:moveTo>
                    <a:pt x="2894" y="2906"/>
                  </a:moveTo>
                  <a:lnTo>
                    <a:pt x="2894" y="2989"/>
                  </a:lnTo>
                  <a:cubicBezTo>
                    <a:pt x="2894" y="3049"/>
                    <a:pt x="2906" y="3108"/>
                    <a:pt x="2954" y="3168"/>
                  </a:cubicBezTo>
                  <a:lnTo>
                    <a:pt x="2716" y="3406"/>
                  </a:lnTo>
                  <a:lnTo>
                    <a:pt x="2704" y="3406"/>
                  </a:lnTo>
                  <a:lnTo>
                    <a:pt x="2466" y="3168"/>
                  </a:lnTo>
                  <a:cubicBezTo>
                    <a:pt x="2489" y="3108"/>
                    <a:pt x="2501" y="3049"/>
                    <a:pt x="2501" y="2989"/>
                  </a:cubicBezTo>
                  <a:lnTo>
                    <a:pt x="2501" y="2906"/>
                  </a:lnTo>
                  <a:close/>
                  <a:moveTo>
                    <a:pt x="3251" y="3346"/>
                  </a:moveTo>
                  <a:lnTo>
                    <a:pt x="3597" y="3477"/>
                  </a:lnTo>
                  <a:cubicBezTo>
                    <a:pt x="3739" y="3537"/>
                    <a:pt x="3835" y="3668"/>
                    <a:pt x="3835" y="3835"/>
                  </a:cubicBezTo>
                  <a:lnTo>
                    <a:pt x="3835" y="4918"/>
                  </a:lnTo>
                  <a:cubicBezTo>
                    <a:pt x="3835" y="5025"/>
                    <a:pt x="3739" y="5108"/>
                    <a:pt x="3632" y="5108"/>
                  </a:cubicBezTo>
                  <a:lnTo>
                    <a:pt x="2894" y="5108"/>
                  </a:lnTo>
                  <a:lnTo>
                    <a:pt x="2894" y="4906"/>
                  </a:lnTo>
                  <a:lnTo>
                    <a:pt x="3263" y="4906"/>
                  </a:lnTo>
                  <a:cubicBezTo>
                    <a:pt x="3358" y="4906"/>
                    <a:pt x="3430" y="4835"/>
                    <a:pt x="3430" y="4739"/>
                  </a:cubicBezTo>
                  <a:lnTo>
                    <a:pt x="3430" y="4192"/>
                  </a:lnTo>
                  <a:cubicBezTo>
                    <a:pt x="3430" y="4096"/>
                    <a:pt x="3358" y="4025"/>
                    <a:pt x="3263" y="4025"/>
                  </a:cubicBezTo>
                  <a:cubicBezTo>
                    <a:pt x="3180" y="4025"/>
                    <a:pt x="3097" y="4096"/>
                    <a:pt x="3097" y="4192"/>
                  </a:cubicBezTo>
                  <a:lnTo>
                    <a:pt x="3097" y="4561"/>
                  </a:lnTo>
                  <a:lnTo>
                    <a:pt x="2346" y="4561"/>
                  </a:lnTo>
                  <a:lnTo>
                    <a:pt x="2346" y="4192"/>
                  </a:lnTo>
                  <a:cubicBezTo>
                    <a:pt x="2346" y="4096"/>
                    <a:pt x="2263" y="4025"/>
                    <a:pt x="2180" y="4025"/>
                  </a:cubicBezTo>
                  <a:cubicBezTo>
                    <a:pt x="2085" y="4025"/>
                    <a:pt x="2013" y="4096"/>
                    <a:pt x="2013" y="4192"/>
                  </a:cubicBezTo>
                  <a:lnTo>
                    <a:pt x="2013" y="4739"/>
                  </a:lnTo>
                  <a:cubicBezTo>
                    <a:pt x="2013" y="4835"/>
                    <a:pt x="2085" y="4906"/>
                    <a:pt x="2180" y="4906"/>
                  </a:cubicBezTo>
                  <a:lnTo>
                    <a:pt x="2549" y="4906"/>
                  </a:lnTo>
                  <a:lnTo>
                    <a:pt x="2549" y="5120"/>
                  </a:lnTo>
                  <a:lnTo>
                    <a:pt x="1811" y="5120"/>
                  </a:lnTo>
                  <a:cubicBezTo>
                    <a:pt x="1704" y="5120"/>
                    <a:pt x="1608" y="5025"/>
                    <a:pt x="1608" y="4918"/>
                  </a:cubicBezTo>
                  <a:lnTo>
                    <a:pt x="1608" y="3835"/>
                  </a:lnTo>
                  <a:lnTo>
                    <a:pt x="1596" y="3835"/>
                  </a:lnTo>
                  <a:cubicBezTo>
                    <a:pt x="1596" y="3680"/>
                    <a:pt x="1704" y="3537"/>
                    <a:pt x="1834" y="3477"/>
                  </a:cubicBezTo>
                  <a:lnTo>
                    <a:pt x="2180" y="3346"/>
                  </a:lnTo>
                  <a:lnTo>
                    <a:pt x="2466" y="3632"/>
                  </a:lnTo>
                  <a:cubicBezTo>
                    <a:pt x="2537" y="3704"/>
                    <a:pt x="2620" y="3727"/>
                    <a:pt x="2716" y="3727"/>
                  </a:cubicBezTo>
                  <a:cubicBezTo>
                    <a:pt x="2799" y="3727"/>
                    <a:pt x="2894" y="3704"/>
                    <a:pt x="2966" y="3632"/>
                  </a:cubicBezTo>
                  <a:lnTo>
                    <a:pt x="3251" y="3346"/>
                  </a:lnTo>
                  <a:close/>
                  <a:moveTo>
                    <a:pt x="5097" y="5085"/>
                  </a:moveTo>
                  <a:lnTo>
                    <a:pt x="5097" y="5847"/>
                  </a:lnTo>
                  <a:lnTo>
                    <a:pt x="322" y="5847"/>
                  </a:lnTo>
                  <a:lnTo>
                    <a:pt x="322" y="5085"/>
                  </a:lnTo>
                  <a:lnTo>
                    <a:pt x="1287" y="5085"/>
                  </a:lnTo>
                  <a:cubicBezTo>
                    <a:pt x="1358" y="5287"/>
                    <a:pt x="1549" y="5454"/>
                    <a:pt x="1787" y="5454"/>
                  </a:cubicBezTo>
                  <a:lnTo>
                    <a:pt x="3620" y="5454"/>
                  </a:lnTo>
                  <a:cubicBezTo>
                    <a:pt x="3859" y="5454"/>
                    <a:pt x="4049" y="5311"/>
                    <a:pt x="4132" y="5085"/>
                  </a:cubicBezTo>
                  <a:close/>
                  <a:moveTo>
                    <a:pt x="7288" y="4001"/>
                  </a:moveTo>
                  <a:cubicBezTo>
                    <a:pt x="7383" y="4001"/>
                    <a:pt x="7478" y="4085"/>
                    <a:pt x="7478" y="4192"/>
                  </a:cubicBezTo>
                  <a:lnTo>
                    <a:pt x="7478" y="4739"/>
                  </a:lnTo>
                  <a:cubicBezTo>
                    <a:pt x="7478" y="4823"/>
                    <a:pt x="7442" y="4870"/>
                    <a:pt x="7371" y="4906"/>
                  </a:cubicBezTo>
                  <a:cubicBezTo>
                    <a:pt x="7311" y="4942"/>
                    <a:pt x="7288" y="5001"/>
                    <a:pt x="7288" y="5061"/>
                  </a:cubicBezTo>
                  <a:lnTo>
                    <a:pt x="7288" y="5323"/>
                  </a:lnTo>
                  <a:cubicBezTo>
                    <a:pt x="7288" y="5394"/>
                    <a:pt x="7347" y="5466"/>
                    <a:pt x="7419" y="5489"/>
                  </a:cubicBezTo>
                  <a:lnTo>
                    <a:pt x="7883" y="5609"/>
                  </a:lnTo>
                  <a:cubicBezTo>
                    <a:pt x="7966" y="5620"/>
                    <a:pt x="8026" y="5716"/>
                    <a:pt x="8026" y="5799"/>
                  </a:cubicBezTo>
                  <a:lnTo>
                    <a:pt x="8026" y="5847"/>
                  </a:lnTo>
                  <a:lnTo>
                    <a:pt x="6168" y="5847"/>
                  </a:lnTo>
                  <a:lnTo>
                    <a:pt x="6168" y="5799"/>
                  </a:lnTo>
                  <a:cubicBezTo>
                    <a:pt x="6168" y="5716"/>
                    <a:pt x="6228" y="5632"/>
                    <a:pt x="6311" y="5609"/>
                  </a:cubicBezTo>
                  <a:lnTo>
                    <a:pt x="6776" y="5489"/>
                  </a:lnTo>
                  <a:cubicBezTo>
                    <a:pt x="6847" y="5478"/>
                    <a:pt x="6907" y="5394"/>
                    <a:pt x="6907" y="5323"/>
                  </a:cubicBezTo>
                  <a:lnTo>
                    <a:pt x="6907" y="5061"/>
                  </a:lnTo>
                  <a:cubicBezTo>
                    <a:pt x="6907" y="5001"/>
                    <a:pt x="6883" y="4942"/>
                    <a:pt x="6823" y="4906"/>
                  </a:cubicBezTo>
                  <a:cubicBezTo>
                    <a:pt x="6764" y="4870"/>
                    <a:pt x="6716" y="4799"/>
                    <a:pt x="6716" y="4739"/>
                  </a:cubicBezTo>
                  <a:lnTo>
                    <a:pt x="6716" y="4192"/>
                  </a:lnTo>
                  <a:cubicBezTo>
                    <a:pt x="6716" y="4085"/>
                    <a:pt x="6811" y="4001"/>
                    <a:pt x="6907" y="4001"/>
                  </a:cubicBezTo>
                  <a:close/>
                  <a:moveTo>
                    <a:pt x="8740" y="3275"/>
                  </a:moveTo>
                  <a:lnTo>
                    <a:pt x="8740" y="5847"/>
                  </a:lnTo>
                  <a:lnTo>
                    <a:pt x="8359" y="5847"/>
                  </a:lnTo>
                  <a:lnTo>
                    <a:pt x="8359" y="5799"/>
                  </a:lnTo>
                  <a:cubicBezTo>
                    <a:pt x="8359" y="5549"/>
                    <a:pt x="8192" y="5335"/>
                    <a:pt x="7954" y="5275"/>
                  </a:cubicBezTo>
                  <a:lnTo>
                    <a:pt x="7621" y="5204"/>
                  </a:lnTo>
                  <a:lnTo>
                    <a:pt x="7621" y="5144"/>
                  </a:lnTo>
                  <a:cubicBezTo>
                    <a:pt x="7740" y="5037"/>
                    <a:pt x="7800" y="4894"/>
                    <a:pt x="7800" y="4739"/>
                  </a:cubicBezTo>
                  <a:lnTo>
                    <a:pt x="7800" y="4192"/>
                  </a:lnTo>
                  <a:cubicBezTo>
                    <a:pt x="7800" y="3894"/>
                    <a:pt x="7561" y="3656"/>
                    <a:pt x="7264" y="3656"/>
                  </a:cubicBezTo>
                  <a:lnTo>
                    <a:pt x="6895" y="3656"/>
                  </a:lnTo>
                  <a:cubicBezTo>
                    <a:pt x="6597" y="3656"/>
                    <a:pt x="6359" y="3894"/>
                    <a:pt x="6359" y="4192"/>
                  </a:cubicBezTo>
                  <a:lnTo>
                    <a:pt x="6359" y="4739"/>
                  </a:lnTo>
                  <a:cubicBezTo>
                    <a:pt x="6359" y="4894"/>
                    <a:pt x="6430" y="5037"/>
                    <a:pt x="6537" y="5144"/>
                  </a:cubicBezTo>
                  <a:lnTo>
                    <a:pt x="6537" y="5204"/>
                  </a:lnTo>
                  <a:lnTo>
                    <a:pt x="6216" y="5275"/>
                  </a:lnTo>
                  <a:cubicBezTo>
                    <a:pt x="5978" y="5335"/>
                    <a:pt x="5811" y="5549"/>
                    <a:pt x="5811" y="5799"/>
                  </a:cubicBezTo>
                  <a:lnTo>
                    <a:pt x="5811" y="5847"/>
                  </a:lnTo>
                  <a:lnTo>
                    <a:pt x="5418" y="5847"/>
                  </a:lnTo>
                  <a:lnTo>
                    <a:pt x="5418" y="3275"/>
                  </a:lnTo>
                  <a:close/>
                  <a:moveTo>
                    <a:pt x="1430" y="1"/>
                  </a:moveTo>
                  <a:cubicBezTo>
                    <a:pt x="1346" y="1"/>
                    <a:pt x="1275" y="72"/>
                    <a:pt x="1275" y="155"/>
                  </a:cubicBezTo>
                  <a:cubicBezTo>
                    <a:pt x="1275" y="251"/>
                    <a:pt x="1346" y="322"/>
                    <a:pt x="1430" y="322"/>
                  </a:cubicBezTo>
                  <a:lnTo>
                    <a:pt x="5097" y="322"/>
                  </a:lnTo>
                  <a:lnTo>
                    <a:pt x="5097" y="4763"/>
                  </a:lnTo>
                  <a:lnTo>
                    <a:pt x="4156" y="4763"/>
                  </a:lnTo>
                  <a:lnTo>
                    <a:pt x="4156" y="3835"/>
                  </a:lnTo>
                  <a:cubicBezTo>
                    <a:pt x="4156" y="3537"/>
                    <a:pt x="3978" y="3275"/>
                    <a:pt x="3692" y="3168"/>
                  </a:cubicBezTo>
                  <a:lnTo>
                    <a:pt x="3251" y="2989"/>
                  </a:lnTo>
                  <a:lnTo>
                    <a:pt x="3251" y="2965"/>
                  </a:lnTo>
                  <a:lnTo>
                    <a:pt x="3251" y="2715"/>
                  </a:lnTo>
                  <a:cubicBezTo>
                    <a:pt x="3478" y="2549"/>
                    <a:pt x="3620" y="2287"/>
                    <a:pt x="3620" y="1989"/>
                  </a:cubicBezTo>
                  <a:lnTo>
                    <a:pt x="3620" y="1632"/>
                  </a:lnTo>
                  <a:cubicBezTo>
                    <a:pt x="3620" y="1227"/>
                    <a:pt x="3299" y="917"/>
                    <a:pt x="2906" y="917"/>
                  </a:cubicBezTo>
                  <a:lnTo>
                    <a:pt x="2537" y="917"/>
                  </a:lnTo>
                  <a:cubicBezTo>
                    <a:pt x="2132" y="917"/>
                    <a:pt x="1823" y="1251"/>
                    <a:pt x="1823" y="1632"/>
                  </a:cubicBezTo>
                  <a:lnTo>
                    <a:pt x="1823" y="2001"/>
                  </a:lnTo>
                  <a:cubicBezTo>
                    <a:pt x="1823" y="2299"/>
                    <a:pt x="1965" y="2572"/>
                    <a:pt x="2192" y="2739"/>
                  </a:cubicBezTo>
                  <a:lnTo>
                    <a:pt x="2192" y="2989"/>
                  </a:lnTo>
                  <a:lnTo>
                    <a:pt x="2192" y="3001"/>
                  </a:lnTo>
                  <a:lnTo>
                    <a:pt x="1751" y="3180"/>
                  </a:lnTo>
                  <a:cubicBezTo>
                    <a:pt x="1477" y="3287"/>
                    <a:pt x="1287" y="3549"/>
                    <a:pt x="1287" y="3846"/>
                  </a:cubicBezTo>
                  <a:lnTo>
                    <a:pt x="1287" y="4775"/>
                  </a:lnTo>
                  <a:lnTo>
                    <a:pt x="346" y="4775"/>
                  </a:lnTo>
                  <a:lnTo>
                    <a:pt x="346" y="370"/>
                  </a:lnTo>
                  <a:lnTo>
                    <a:pt x="715" y="370"/>
                  </a:lnTo>
                  <a:cubicBezTo>
                    <a:pt x="811" y="370"/>
                    <a:pt x="882" y="298"/>
                    <a:pt x="882" y="203"/>
                  </a:cubicBezTo>
                  <a:cubicBezTo>
                    <a:pt x="882" y="120"/>
                    <a:pt x="811" y="36"/>
                    <a:pt x="715" y="36"/>
                  </a:cubicBezTo>
                  <a:lnTo>
                    <a:pt x="168" y="36"/>
                  </a:lnTo>
                  <a:cubicBezTo>
                    <a:pt x="84" y="36"/>
                    <a:pt x="1" y="120"/>
                    <a:pt x="1" y="203"/>
                  </a:cubicBezTo>
                  <a:lnTo>
                    <a:pt x="1" y="6049"/>
                  </a:lnTo>
                  <a:cubicBezTo>
                    <a:pt x="1" y="6144"/>
                    <a:pt x="84" y="6216"/>
                    <a:pt x="168" y="6216"/>
                  </a:cubicBezTo>
                  <a:lnTo>
                    <a:pt x="8931" y="6216"/>
                  </a:lnTo>
                  <a:cubicBezTo>
                    <a:pt x="9026" y="6216"/>
                    <a:pt x="9097" y="6144"/>
                    <a:pt x="9097" y="6049"/>
                  </a:cubicBezTo>
                  <a:lnTo>
                    <a:pt x="9097" y="203"/>
                  </a:lnTo>
                  <a:cubicBezTo>
                    <a:pt x="9085" y="84"/>
                    <a:pt x="9014" y="1"/>
                    <a:pt x="89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1" name="Google Shape;11061;p60"/>
            <p:cNvSpPr/>
            <p:nvPr/>
          </p:nvSpPr>
          <p:spPr>
            <a:xfrm>
              <a:off x="6188327" y="2955408"/>
              <a:ext cx="371395" cy="272857"/>
            </a:xfrm>
            <a:custGeom>
              <a:avLst/>
              <a:gdLst/>
              <a:ahLst/>
              <a:cxnLst/>
              <a:rect l="l" t="t" r="r" b="b"/>
              <a:pathLst>
                <a:path w="11669" h="8573" extrusionOk="0">
                  <a:moveTo>
                    <a:pt x="10597" y="358"/>
                  </a:moveTo>
                  <a:cubicBezTo>
                    <a:pt x="10704" y="358"/>
                    <a:pt x="10799" y="453"/>
                    <a:pt x="10799" y="548"/>
                  </a:cubicBezTo>
                  <a:lnTo>
                    <a:pt x="10799" y="7323"/>
                  </a:lnTo>
                  <a:lnTo>
                    <a:pt x="10418" y="7323"/>
                  </a:lnTo>
                  <a:cubicBezTo>
                    <a:pt x="10335" y="7323"/>
                    <a:pt x="10263" y="7394"/>
                    <a:pt x="10263" y="7490"/>
                  </a:cubicBezTo>
                  <a:cubicBezTo>
                    <a:pt x="10263" y="7585"/>
                    <a:pt x="10335" y="7656"/>
                    <a:pt x="10418" y="7656"/>
                  </a:cubicBezTo>
                  <a:lnTo>
                    <a:pt x="11323" y="7656"/>
                  </a:lnTo>
                  <a:cubicBezTo>
                    <a:pt x="11323" y="7656"/>
                    <a:pt x="11347" y="7656"/>
                    <a:pt x="11347" y="7668"/>
                  </a:cubicBezTo>
                  <a:lnTo>
                    <a:pt x="11347" y="8037"/>
                  </a:lnTo>
                  <a:cubicBezTo>
                    <a:pt x="11335" y="8144"/>
                    <a:pt x="11240" y="8240"/>
                    <a:pt x="11133" y="8240"/>
                  </a:cubicBezTo>
                  <a:lnTo>
                    <a:pt x="536" y="8240"/>
                  </a:lnTo>
                  <a:cubicBezTo>
                    <a:pt x="441" y="8240"/>
                    <a:pt x="346" y="8144"/>
                    <a:pt x="346" y="8037"/>
                  </a:cubicBezTo>
                  <a:lnTo>
                    <a:pt x="346" y="7668"/>
                  </a:lnTo>
                  <a:cubicBezTo>
                    <a:pt x="346" y="7668"/>
                    <a:pt x="346" y="7656"/>
                    <a:pt x="357" y="7656"/>
                  </a:cubicBezTo>
                  <a:lnTo>
                    <a:pt x="9680" y="7656"/>
                  </a:lnTo>
                  <a:cubicBezTo>
                    <a:pt x="9763" y="7656"/>
                    <a:pt x="9835" y="7585"/>
                    <a:pt x="9835" y="7490"/>
                  </a:cubicBezTo>
                  <a:cubicBezTo>
                    <a:pt x="9835" y="7394"/>
                    <a:pt x="9763" y="7323"/>
                    <a:pt x="9680" y="7323"/>
                  </a:cubicBezTo>
                  <a:lnTo>
                    <a:pt x="893" y="7323"/>
                  </a:lnTo>
                  <a:lnTo>
                    <a:pt x="893" y="548"/>
                  </a:lnTo>
                  <a:cubicBezTo>
                    <a:pt x="893" y="453"/>
                    <a:pt x="988" y="358"/>
                    <a:pt x="1084" y="358"/>
                  </a:cubicBezTo>
                  <a:close/>
                  <a:moveTo>
                    <a:pt x="1096" y="1"/>
                  </a:moveTo>
                  <a:cubicBezTo>
                    <a:pt x="798" y="1"/>
                    <a:pt x="560" y="239"/>
                    <a:pt x="560" y="536"/>
                  </a:cubicBezTo>
                  <a:lnTo>
                    <a:pt x="560" y="7311"/>
                  </a:lnTo>
                  <a:lnTo>
                    <a:pt x="357" y="7311"/>
                  </a:lnTo>
                  <a:cubicBezTo>
                    <a:pt x="167" y="7311"/>
                    <a:pt x="0" y="7478"/>
                    <a:pt x="0" y="7668"/>
                  </a:cubicBezTo>
                  <a:lnTo>
                    <a:pt x="0" y="8037"/>
                  </a:lnTo>
                  <a:cubicBezTo>
                    <a:pt x="0" y="8335"/>
                    <a:pt x="238" y="8573"/>
                    <a:pt x="536" y="8573"/>
                  </a:cubicBezTo>
                  <a:lnTo>
                    <a:pt x="11133" y="8573"/>
                  </a:lnTo>
                  <a:cubicBezTo>
                    <a:pt x="11430" y="8573"/>
                    <a:pt x="11668" y="8335"/>
                    <a:pt x="11668" y="8037"/>
                  </a:cubicBezTo>
                  <a:lnTo>
                    <a:pt x="11668" y="7668"/>
                  </a:lnTo>
                  <a:cubicBezTo>
                    <a:pt x="11668" y="7478"/>
                    <a:pt x="11525" y="7311"/>
                    <a:pt x="11335" y="7311"/>
                  </a:cubicBezTo>
                  <a:lnTo>
                    <a:pt x="11133" y="7311"/>
                  </a:lnTo>
                  <a:lnTo>
                    <a:pt x="11133" y="536"/>
                  </a:lnTo>
                  <a:cubicBezTo>
                    <a:pt x="11133" y="239"/>
                    <a:pt x="10894" y="1"/>
                    <a:pt x="10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2" name="Google Shape;11062;p60"/>
          <p:cNvGrpSpPr/>
          <p:nvPr/>
        </p:nvGrpSpPr>
        <p:grpSpPr>
          <a:xfrm>
            <a:off x="7521454" y="2906139"/>
            <a:ext cx="359651" cy="371013"/>
            <a:chOff x="7521454" y="2906139"/>
            <a:chExt cx="359651" cy="371013"/>
          </a:xfrm>
        </p:grpSpPr>
        <p:sp>
          <p:nvSpPr>
            <p:cNvPr id="11063" name="Google Shape;11063;p60"/>
            <p:cNvSpPr/>
            <p:nvPr/>
          </p:nvSpPr>
          <p:spPr>
            <a:xfrm>
              <a:off x="7614677"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798" y="1405"/>
                    <a:pt x="1548" y="1655"/>
                    <a:pt x="1251" y="1655"/>
                  </a:cubicBezTo>
                  <a:cubicBezTo>
                    <a:pt x="941" y="1655"/>
                    <a:pt x="691" y="1393"/>
                    <a:pt x="691" y="1084"/>
                  </a:cubicBezTo>
                  <a:lnTo>
                    <a:pt x="691" y="715"/>
                  </a:lnTo>
                  <a:cubicBezTo>
                    <a:pt x="691" y="512"/>
                    <a:pt x="846" y="345"/>
                    <a:pt x="1060" y="345"/>
                  </a:cubicBezTo>
                  <a:close/>
                  <a:moveTo>
                    <a:pt x="1429" y="1988"/>
                  </a:moveTo>
                  <a:lnTo>
                    <a:pt x="1429" y="2072"/>
                  </a:lnTo>
                  <a:cubicBezTo>
                    <a:pt x="1429" y="2131"/>
                    <a:pt x="1441" y="2191"/>
                    <a:pt x="1477" y="2250"/>
                  </a:cubicBezTo>
                  <a:lnTo>
                    <a:pt x="1251" y="2489"/>
                  </a:lnTo>
                  <a:lnTo>
                    <a:pt x="1239" y="2489"/>
                  </a:lnTo>
                  <a:lnTo>
                    <a:pt x="1000" y="2250"/>
                  </a:lnTo>
                  <a:cubicBezTo>
                    <a:pt x="1024" y="2191"/>
                    <a:pt x="1048" y="2131"/>
                    <a:pt x="1048" y="2072"/>
                  </a:cubicBezTo>
                  <a:lnTo>
                    <a:pt x="1048"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0" y="2715"/>
                  </a:lnTo>
                  <a:cubicBezTo>
                    <a:pt x="1072" y="2786"/>
                    <a:pt x="1155" y="2810"/>
                    <a:pt x="1251" y="2810"/>
                  </a:cubicBezTo>
                  <a:cubicBezTo>
                    <a:pt x="1334" y="2810"/>
                    <a:pt x="1429" y="2786"/>
                    <a:pt x="1501"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13" y="2572"/>
                    <a:pt x="2394"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4" name="Google Shape;11064;p60"/>
            <p:cNvSpPr/>
            <p:nvPr/>
          </p:nvSpPr>
          <p:spPr>
            <a:xfrm>
              <a:off x="7707518" y="3138830"/>
              <a:ext cx="79983" cy="138322"/>
            </a:xfrm>
            <a:custGeom>
              <a:avLst/>
              <a:gdLst/>
              <a:ahLst/>
              <a:cxnLst/>
              <a:rect l="l" t="t" r="r" b="b"/>
              <a:pathLst>
                <a:path w="2513" h="4346" extrusionOk="0">
                  <a:moveTo>
                    <a:pt x="1429" y="345"/>
                  </a:moveTo>
                  <a:cubicBezTo>
                    <a:pt x="1643" y="345"/>
                    <a:pt x="1798" y="512"/>
                    <a:pt x="1798" y="715"/>
                  </a:cubicBezTo>
                  <a:lnTo>
                    <a:pt x="1798" y="1084"/>
                  </a:lnTo>
                  <a:cubicBezTo>
                    <a:pt x="1822" y="1405"/>
                    <a:pt x="1560" y="1655"/>
                    <a:pt x="1251" y="1655"/>
                  </a:cubicBezTo>
                  <a:cubicBezTo>
                    <a:pt x="941" y="1655"/>
                    <a:pt x="691" y="1393"/>
                    <a:pt x="691" y="1084"/>
                  </a:cubicBezTo>
                  <a:lnTo>
                    <a:pt x="691" y="715"/>
                  </a:lnTo>
                  <a:cubicBezTo>
                    <a:pt x="691" y="512"/>
                    <a:pt x="846" y="345"/>
                    <a:pt x="1060" y="345"/>
                  </a:cubicBezTo>
                  <a:close/>
                  <a:moveTo>
                    <a:pt x="1441" y="1988"/>
                  </a:moveTo>
                  <a:lnTo>
                    <a:pt x="1441" y="2072"/>
                  </a:lnTo>
                  <a:cubicBezTo>
                    <a:pt x="1441" y="2131"/>
                    <a:pt x="1465" y="2191"/>
                    <a:pt x="1489" y="2250"/>
                  </a:cubicBezTo>
                  <a:lnTo>
                    <a:pt x="1262" y="2489"/>
                  </a:lnTo>
                  <a:lnTo>
                    <a:pt x="1251" y="2489"/>
                  </a:lnTo>
                  <a:lnTo>
                    <a:pt x="1012" y="2250"/>
                  </a:lnTo>
                  <a:cubicBezTo>
                    <a:pt x="1048" y="2191"/>
                    <a:pt x="1060" y="2131"/>
                    <a:pt x="1060" y="2072"/>
                  </a:cubicBezTo>
                  <a:lnTo>
                    <a:pt x="1060" y="1988"/>
                  </a:lnTo>
                  <a:close/>
                  <a:moveTo>
                    <a:pt x="1072" y="0"/>
                  </a:moveTo>
                  <a:cubicBezTo>
                    <a:pt x="667" y="0"/>
                    <a:pt x="358" y="334"/>
                    <a:pt x="358" y="715"/>
                  </a:cubicBezTo>
                  <a:lnTo>
                    <a:pt x="358" y="1084"/>
                  </a:lnTo>
                  <a:cubicBezTo>
                    <a:pt x="358" y="1381"/>
                    <a:pt x="512"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69" y="2631"/>
                    <a:pt x="429" y="2596"/>
                  </a:cubicBezTo>
                  <a:lnTo>
                    <a:pt x="727" y="2441"/>
                  </a:lnTo>
                  <a:lnTo>
                    <a:pt x="1001" y="2715"/>
                  </a:lnTo>
                  <a:cubicBezTo>
                    <a:pt x="1072" y="2786"/>
                    <a:pt x="1155" y="2810"/>
                    <a:pt x="1251" y="2810"/>
                  </a:cubicBezTo>
                  <a:cubicBezTo>
                    <a:pt x="1346" y="2810"/>
                    <a:pt x="1429" y="2786"/>
                    <a:pt x="1501" y="2715"/>
                  </a:cubicBezTo>
                  <a:lnTo>
                    <a:pt x="1774" y="2441"/>
                  </a:lnTo>
                  <a:lnTo>
                    <a:pt x="2072" y="2596"/>
                  </a:lnTo>
                  <a:cubicBezTo>
                    <a:pt x="2132" y="2619"/>
                    <a:pt x="2167" y="2691"/>
                    <a:pt x="2167" y="2774"/>
                  </a:cubicBezTo>
                  <a:lnTo>
                    <a:pt x="2167" y="4179"/>
                  </a:lnTo>
                  <a:cubicBezTo>
                    <a:pt x="2167" y="4274"/>
                    <a:pt x="2251" y="4346"/>
                    <a:pt x="2334" y="4346"/>
                  </a:cubicBezTo>
                  <a:cubicBezTo>
                    <a:pt x="2429" y="4346"/>
                    <a:pt x="2501" y="4274"/>
                    <a:pt x="2501" y="4179"/>
                  </a:cubicBezTo>
                  <a:lnTo>
                    <a:pt x="2501" y="2774"/>
                  </a:lnTo>
                  <a:cubicBezTo>
                    <a:pt x="2513" y="2572"/>
                    <a:pt x="2417"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5" name="Google Shape;11065;p60"/>
            <p:cNvSpPr/>
            <p:nvPr/>
          </p:nvSpPr>
          <p:spPr>
            <a:xfrm>
              <a:off x="7800740" y="3138830"/>
              <a:ext cx="80364" cy="138322"/>
            </a:xfrm>
            <a:custGeom>
              <a:avLst/>
              <a:gdLst/>
              <a:ahLst/>
              <a:cxnLst/>
              <a:rect l="l" t="t" r="r" b="b"/>
              <a:pathLst>
                <a:path w="2525" h="4346" extrusionOk="0">
                  <a:moveTo>
                    <a:pt x="1429" y="345"/>
                  </a:moveTo>
                  <a:cubicBezTo>
                    <a:pt x="1643" y="345"/>
                    <a:pt x="1810" y="512"/>
                    <a:pt x="1810" y="715"/>
                  </a:cubicBezTo>
                  <a:lnTo>
                    <a:pt x="1810" y="1084"/>
                  </a:lnTo>
                  <a:cubicBezTo>
                    <a:pt x="1810" y="1405"/>
                    <a:pt x="1548" y="1655"/>
                    <a:pt x="1250" y="1655"/>
                  </a:cubicBezTo>
                  <a:cubicBezTo>
                    <a:pt x="941" y="1655"/>
                    <a:pt x="691" y="1393"/>
                    <a:pt x="691" y="1084"/>
                  </a:cubicBezTo>
                  <a:lnTo>
                    <a:pt x="691" y="715"/>
                  </a:lnTo>
                  <a:cubicBezTo>
                    <a:pt x="691" y="512"/>
                    <a:pt x="858" y="345"/>
                    <a:pt x="1060" y="345"/>
                  </a:cubicBezTo>
                  <a:close/>
                  <a:moveTo>
                    <a:pt x="1429" y="1988"/>
                  </a:moveTo>
                  <a:lnTo>
                    <a:pt x="1429" y="2072"/>
                  </a:lnTo>
                  <a:cubicBezTo>
                    <a:pt x="1429" y="2131"/>
                    <a:pt x="1453" y="2191"/>
                    <a:pt x="1477" y="2250"/>
                  </a:cubicBezTo>
                  <a:lnTo>
                    <a:pt x="1250" y="2489"/>
                  </a:lnTo>
                  <a:lnTo>
                    <a:pt x="1239" y="2489"/>
                  </a:lnTo>
                  <a:lnTo>
                    <a:pt x="1000" y="2250"/>
                  </a:lnTo>
                  <a:cubicBezTo>
                    <a:pt x="1036" y="2191"/>
                    <a:pt x="1048" y="2131"/>
                    <a:pt x="1048" y="2072"/>
                  </a:cubicBezTo>
                  <a:lnTo>
                    <a:pt x="1048" y="1988"/>
                  </a:lnTo>
                  <a:close/>
                  <a:moveTo>
                    <a:pt x="1072" y="0"/>
                  </a:moveTo>
                  <a:cubicBezTo>
                    <a:pt x="679" y="0"/>
                    <a:pt x="358" y="334"/>
                    <a:pt x="358" y="715"/>
                  </a:cubicBezTo>
                  <a:lnTo>
                    <a:pt x="358" y="1084"/>
                  </a:lnTo>
                  <a:cubicBezTo>
                    <a:pt x="358" y="1381"/>
                    <a:pt x="512" y="1655"/>
                    <a:pt x="739" y="1822"/>
                  </a:cubicBezTo>
                  <a:lnTo>
                    <a:pt x="739" y="2072"/>
                  </a:lnTo>
                  <a:lnTo>
                    <a:pt x="739" y="2084"/>
                  </a:lnTo>
                  <a:lnTo>
                    <a:pt x="298" y="2298"/>
                  </a:lnTo>
                  <a:cubicBezTo>
                    <a:pt x="119" y="2381"/>
                    <a:pt x="0" y="2572"/>
                    <a:pt x="0" y="2774"/>
                  </a:cubicBezTo>
                  <a:lnTo>
                    <a:pt x="0" y="4179"/>
                  </a:lnTo>
                  <a:cubicBezTo>
                    <a:pt x="0" y="4274"/>
                    <a:pt x="84" y="4346"/>
                    <a:pt x="167" y="4346"/>
                  </a:cubicBezTo>
                  <a:cubicBezTo>
                    <a:pt x="250" y="4346"/>
                    <a:pt x="334" y="4274"/>
                    <a:pt x="334" y="4179"/>
                  </a:cubicBezTo>
                  <a:lnTo>
                    <a:pt x="334" y="2774"/>
                  </a:lnTo>
                  <a:cubicBezTo>
                    <a:pt x="334" y="2691"/>
                    <a:pt x="369" y="2631"/>
                    <a:pt x="429" y="2596"/>
                  </a:cubicBezTo>
                  <a:lnTo>
                    <a:pt x="727" y="2441"/>
                  </a:lnTo>
                  <a:lnTo>
                    <a:pt x="1000" y="2715"/>
                  </a:lnTo>
                  <a:cubicBezTo>
                    <a:pt x="1072" y="2786"/>
                    <a:pt x="1167" y="2810"/>
                    <a:pt x="1250" y="2810"/>
                  </a:cubicBezTo>
                  <a:cubicBezTo>
                    <a:pt x="1346" y="2810"/>
                    <a:pt x="1429" y="2786"/>
                    <a:pt x="1512" y="2715"/>
                  </a:cubicBezTo>
                  <a:lnTo>
                    <a:pt x="1774" y="2441"/>
                  </a:lnTo>
                  <a:lnTo>
                    <a:pt x="2072" y="2596"/>
                  </a:lnTo>
                  <a:cubicBezTo>
                    <a:pt x="2132" y="2619"/>
                    <a:pt x="2179" y="2691"/>
                    <a:pt x="2179" y="2774"/>
                  </a:cubicBezTo>
                  <a:lnTo>
                    <a:pt x="2179" y="4179"/>
                  </a:lnTo>
                  <a:cubicBezTo>
                    <a:pt x="2179" y="4274"/>
                    <a:pt x="2251" y="4346"/>
                    <a:pt x="2334" y="4346"/>
                  </a:cubicBezTo>
                  <a:cubicBezTo>
                    <a:pt x="2429" y="4346"/>
                    <a:pt x="2501" y="4274"/>
                    <a:pt x="2501" y="4179"/>
                  </a:cubicBezTo>
                  <a:lnTo>
                    <a:pt x="2501" y="2774"/>
                  </a:lnTo>
                  <a:cubicBezTo>
                    <a:pt x="2524" y="2572"/>
                    <a:pt x="2405" y="2381"/>
                    <a:pt x="2227" y="2298"/>
                  </a:cubicBezTo>
                  <a:lnTo>
                    <a:pt x="1786" y="2084"/>
                  </a:lnTo>
                  <a:lnTo>
                    <a:pt x="1786" y="2072"/>
                  </a:lnTo>
                  <a:lnTo>
                    <a:pt x="1786" y="1822"/>
                  </a:lnTo>
                  <a:cubicBezTo>
                    <a:pt x="2012" y="1655"/>
                    <a:pt x="2167" y="1381"/>
                    <a:pt x="2167" y="1084"/>
                  </a:cubicBezTo>
                  <a:lnTo>
                    <a:pt x="2167" y="715"/>
                  </a:lnTo>
                  <a:cubicBezTo>
                    <a:pt x="2167" y="310"/>
                    <a:pt x="1834" y="0"/>
                    <a:pt x="1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6" name="Google Shape;11066;p60"/>
            <p:cNvSpPr/>
            <p:nvPr/>
          </p:nvSpPr>
          <p:spPr>
            <a:xfrm>
              <a:off x="7521454" y="3138830"/>
              <a:ext cx="79983" cy="138322"/>
            </a:xfrm>
            <a:custGeom>
              <a:avLst/>
              <a:gdLst/>
              <a:ahLst/>
              <a:cxnLst/>
              <a:rect l="l" t="t" r="r" b="b"/>
              <a:pathLst>
                <a:path w="2513" h="4346" extrusionOk="0">
                  <a:moveTo>
                    <a:pt x="1429" y="345"/>
                  </a:moveTo>
                  <a:cubicBezTo>
                    <a:pt x="1632" y="345"/>
                    <a:pt x="1798" y="512"/>
                    <a:pt x="1798" y="715"/>
                  </a:cubicBezTo>
                  <a:lnTo>
                    <a:pt x="1798" y="1084"/>
                  </a:lnTo>
                  <a:cubicBezTo>
                    <a:pt x="1810" y="1405"/>
                    <a:pt x="1560" y="1655"/>
                    <a:pt x="1251" y="1655"/>
                  </a:cubicBezTo>
                  <a:cubicBezTo>
                    <a:pt x="941" y="1655"/>
                    <a:pt x="679" y="1393"/>
                    <a:pt x="679" y="1084"/>
                  </a:cubicBezTo>
                  <a:lnTo>
                    <a:pt x="679" y="715"/>
                  </a:lnTo>
                  <a:cubicBezTo>
                    <a:pt x="679" y="512"/>
                    <a:pt x="846" y="345"/>
                    <a:pt x="1060" y="345"/>
                  </a:cubicBezTo>
                  <a:close/>
                  <a:moveTo>
                    <a:pt x="1441" y="1988"/>
                  </a:moveTo>
                  <a:lnTo>
                    <a:pt x="1441" y="2072"/>
                  </a:lnTo>
                  <a:cubicBezTo>
                    <a:pt x="1441" y="2131"/>
                    <a:pt x="1453" y="2191"/>
                    <a:pt x="1489" y="2250"/>
                  </a:cubicBezTo>
                  <a:lnTo>
                    <a:pt x="1262" y="2489"/>
                  </a:lnTo>
                  <a:lnTo>
                    <a:pt x="1251" y="2489"/>
                  </a:lnTo>
                  <a:lnTo>
                    <a:pt x="1012" y="2250"/>
                  </a:lnTo>
                  <a:cubicBezTo>
                    <a:pt x="1036" y="2191"/>
                    <a:pt x="1060" y="2131"/>
                    <a:pt x="1060" y="2072"/>
                  </a:cubicBezTo>
                  <a:lnTo>
                    <a:pt x="1060" y="1988"/>
                  </a:lnTo>
                  <a:close/>
                  <a:moveTo>
                    <a:pt x="1072" y="0"/>
                  </a:moveTo>
                  <a:cubicBezTo>
                    <a:pt x="667" y="0"/>
                    <a:pt x="358" y="334"/>
                    <a:pt x="358" y="715"/>
                  </a:cubicBezTo>
                  <a:lnTo>
                    <a:pt x="358" y="1084"/>
                  </a:lnTo>
                  <a:cubicBezTo>
                    <a:pt x="358" y="1381"/>
                    <a:pt x="500" y="1655"/>
                    <a:pt x="727" y="1822"/>
                  </a:cubicBezTo>
                  <a:lnTo>
                    <a:pt x="727" y="2072"/>
                  </a:lnTo>
                  <a:lnTo>
                    <a:pt x="727" y="2084"/>
                  </a:lnTo>
                  <a:lnTo>
                    <a:pt x="298" y="2298"/>
                  </a:lnTo>
                  <a:cubicBezTo>
                    <a:pt x="119" y="2381"/>
                    <a:pt x="0" y="2572"/>
                    <a:pt x="0" y="2774"/>
                  </a:cubicBezTo>
                  <a:lnTo>
                    <a:pt x="0" y="4179"/>
                  </a:lnTo>
                  <a:cubicBezTo>
                    <a:pt x="0" y="4274"/>
                    <a:pt x="72" y="4346"/>
                    <a:pt x="167" y="4346"/>
                  </a:cubicBezTo>
                  <a:cubicBezTo>
                    <a:pt x="250" y="4346"/>
                    <a:pt x="322" y="4274"/>
                    <a:pt x="322" y="4179"/>
                  </a:cubicBezTo>
                  <a:lnTo>
                    <a:pt x="322" y="2774"/>
                  </a:lnTo>
                  <a:cubicBezTo>
                    <a:pt x="322" y="2691"/>
                    <a:pt x="370" y="2631"/>
                    <a:pt x="429" y="2596"/>
                  </a:cubicBezTo>
                  <a:lnTo>
                    <a:pt x="727" y="2441"/>
                  </a:lnTo>
                  <a:lnTo>
                    <a:pt x="989" y="2715"/>
                  </a:lnTo>
                  <a:cubicBezTo>
                    <a:pt x="1072" y="2786"/>
                    <a:pt x="1155" y="2810"/>
                    <a:pt x="1251" y="2810"/>
                  </a:cubicBezTo>
                  <a:cubicBezTo>
                    <a:pt x="1334" y="2810"/>
                    <a:pt x="1429" y="2786"/>
                    <a:pt x="1501" y="2715"/>
                  </a:cubicBezTo>
                  <a:lnTo>
                    <a:pt x="1763" y="2441"/>
                  </a:lnTo>
                  <a:lnTo>
                    <a:pt x="2060" y="2596"/>
                  </a:lnTo>
                  <a:cubicBezTo>
                    <a:pt x="2132" y="2619"/>
                    <a:pt x="2167" y="2691"/>
                    <a:pt x="2167" y="2774"/>
                  </a:cubicBezTo>
                  <a:lnTo>
                    <a:pt x="2167" y="4179"/>
                  </a:lnTo>
                  <a:cubicBezTo>
                    <a:pt x="2167" y="4274"/>
                    <a:pt x="2251" y="4346"/>
                    <a:pt x="2334" y="4346"/>
                  </a:cubicBezTo>
                  <a:cubicBezTo>
                    <a:pt x="2417" y="4346"/>
                    <a:pt x="2501" y="4274"/>
                    <a:pt x="2501" y="4179"/>
                  </a:cubicBezTo>
                  <a:lnTo>
                    <a:pt x="2501" y="2774"/>
                  </a:lnTo>
                  <a:cubicBezTo>
                    <a:pt x="2513" y="2572"/>
                    <a:pt x="2405" y="2381"/>
                    <a:pt x="2215" y="2298"/>
                  </a:cubicBezTo>
                  <a:lnTo>
                    <a:pt x="1786" y="2084"/>
                  </a:lnTo>
                  <a:lnTo>
                    <a:pt x="1786" y="2072"/>
                  </a:lnTo>
                  <a:lnTo>
                    <a:pt x="1786" y="1822"/>
                  </a:lnTo>
                  <a:cubicBezTo>
                    <a:pt x="2013" y="1655"/>
                    <a:pt x="2155" y="1381"/>
                    <a:pt x="2155" y="1084"/>
                  </a:cubicBezTo>
                  <a:lnTo>
                    <a:pt x="2155" y="715"/>
                  </a:lnTo>
                  <a:cubicBezTo>
                    <a:pt x="2155" y="310"/>
                    <a:pt x="1834"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67" name="Google Shape;11067;p60"/>
            <p:cNvSpPr/>
            <p:nvPr/>
          </p:nvSpPr>
          <p:spPr>
            <a:xfrm>
              <a:off x="7555923" y="2906139"/>
              <a:ext cx="289949" cy="219833"/>
            </a:xfrm>
            <a:custGeom>
              <a:avLst/>
              <a:gdLst/>
              <a:ahLst/>
              <a:cxnLst/>
              <a:rect l="l" t="t" r="r" b="b"/>
              <a:pathLst>
                <a:path w="9110" h="6907" extrusionOk="0">
                  <a:moveTo>
                    <a:pt x="4561" y="1"/>
                  </a:moveTo>
                  <a:cubicBezTo>
                    <a:pt x="4501" y="1"/>
                    <a:pt x="4442" y="36"/>
                    <a:pt x="4406" y="96"/>
                  </a:cubicBezTo>
                  <a:lnTo>
                    <a:pt x="3859" y="1191"/>
                  </a:lnTo>
                  <a:cubicBezTo>
                    <a:pt x="3811" y="1287"/>
                    <a:pt x="3847" y="1382"/>
                    <a:pt x="3930" y="1418"/>
                  </a:cubicBezTo>
                  <a:cubicBezTo>
                    <a:pt x="3959" y="1432"/>
                    <a:pt x="3988" y="1439"/>
                    <a:pt x="4016" y="1439"/>
                  </a:cubicBezTo>
                  <a:cubicBezTo>
                    <a:pt x="4078" y="1439"/>
                    <a:pt x="4131" y="1404"/>
                    <a:pt x="4156" y="1346"/>
                  </a:cubicBezTo>
                  <a:lnTo>
                    <a:pt x="4382" y="894"/>
                  </a:lnTo>
                  <a:lnTo>
                    <a:pt x="4382" y="4204"/>
                  </a:lnTo>
                  <a:lnTo>
                    <a:pt x="715" y="4204"/>
                  </a:lnTo>
                  <a:cubicBezTo>
                    <a:pt x="310" y="4204"/>
                    <a:pt x="1" y="4525"/>
                    <a:pt x="1" y="4918"/>
                  </a:cubicBezTo>
                  <a:lnTo>
                    <a:pt x="1" y="6752"/>
                  </a:lnTo>
                  <a:cubicBezTo>
                    <a:pt x="1" y="6835"/>
                    <a:pt x="72" y="6906"/>
                    <a:pt x="168" y="6906"/>
                  </a:cubicBezTo>
                  <a:cubicBezTo>
                    <a:pt x="251" y="6906"/>
                    <a:pt x="334" y="6835"/>
                    <a:pt x="334" y="6752"/>
                  </a:cubicBezTo>
                  <a:lnTo>
                    <a:pt x="334" y="4918"/>
                  </a:lnTo>
                  <a:cubicBezTo>
                    <a:pt x="334" y="4704"/>
                    <a:pt x="489" y="4549"/>
                    <a:pt x="703" y="4549"/>
                  </a:cubicBezTo>
                  <a:lnTo>
                    <a:pt x="2906" y="4549"/>
                  </a:lnTo>
                  <a:lnTo>
                    <a:pt x="2906" y="6752"/>
                  </a:lnTo>
                  <a:cubicBezTo>
                    <a:pt x="2906" y="6835"/>
                    <a:pt x="2977" y="6906"/>
                    <a:pt x="3061" y="6906"/>
                  </a:cubicBezTo>
                  <a:cubicBezTo>
                    <a:pt x="3156" y="6906"/>
                    <a:pt x="3227" y="6835"/>
                    <a:pt x="3227" y="6752"/>
                  </a:cubicBezTo>
                  <a:lnTo>
                    <a:pt x="3227" y="4549"/>
                  </a:lnTo>
                  <a:lnTo>
                    <a:pt x="5823" y="4549"/>
                  </a:lnTo>
                  <a:lnTo>
                    <a:pt x="5823" y="6752"/>
                  </a:lnTo>
                  <a:cubicBezTo>
                    <a:pt x="5823" y="6835"/>
                    <a:pt x="5894" y="6906"/>
                    <a:pt x="5978" y="6906"/>
                  </a:cubicBezTo>
                  <a:cubicBezTo>
                    <a:pt x="6073" y="6906"/>
                    <a:pt x="6145" y="6835"/>
                    <a:pt x="6145" y="6752"/>
                  </a:cubicBezTo>
                  <a:lnTo>
                    <a:pt x="6145" y="4549"/>
                  </a:lnTo>
                  <a:lnTo>
                    <a:pt x="8347" y="4549"/>
                  </a:lnTo>
                  <a:cubicBezTo>
                    <a:pt x="8561" y="4549"/>
                    <a:pt x="8716" y="4704"/>
                    <a:pt x="8716" y="4918"/>
                  </a:cubicBezTo>
                  <a:lnTo>
                    <a:pt x="8716" y="6752"/>
                  </a:lnTo>
                  <a:cubicBezTo>
                    <a:pt x="8716" y="6835"/>
                    <a:pt x="8800" y="6906"/>
                    <a:pt x="8883" y="6906"/>
                  </a:cubicBezTo>
                  <a:cubicBezTo>
                    <a:pt x="8978" y="6906"/>
                    <a:pt x="9050" y="6835"/>
                    <a:pt x="9050" y="6752"/>
                  </a:cubicBezTo>
                  <a:lnTo>
                    <a:pt x="9050" y="4918"/>
                  </a:lnTo>
                  <a:cubicBezTo>
                    <a:pt x="9109" y="4525"/>
                    <a:pt x="8788" y="4204"/>
                    <a:pt x="8395" y="4204"/>
                  </a:cubicBezTo>
                  <a:lnTo>
                    <a:pt x="4740" y="4204"/>
                  </a:lnTo>
                  <a:lnTo>
                    <a:pt x="4740" y="894"/>
                  </a:lnTo>
                  <a:lnTo>
                    <a:pt x="4954" y="1346"/>
                  </a:lnTo>
                  <a:cubicBezTo>
                    <a:pt x="4990" y="1406"/>
                    <a:pt x="5049" y="1429"/>
                    <a:pt x="5109" y="1429"/>
                  </a:cubicBezTo>
                  <a:cubicBezTo>
                    <a:pt x="5132" y="1429"/>
                    <a:pt x="5156" y="1429"/>
                    <a:pt x="5180" y="1418"/>
                  </a:cubicBezTo>
                  <a:cubicBezTo>
                    <a:pt x="5275" y="1370"/>
                    <a:pt x="5299" y="1263"/>
                    <a:pt x="5252" y="1191"/>
                  </a:cubicBezTo>
                  <a:lnTo>
                    <a:pt x="4704" y="96"/>
                  </a:lnTo>
                  <a:cubicBezTo>
                    <a:pt x="4680" y="36"/>
                    <a:pt x="4621"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68" name="Google Shape;11068;p60"/>
          <p:cNvGrpSpPr/>
          <p:nvPr/>
        </p:nvGrpSpPr>
        <p:grpSpPr>
          <a:xfrm>
            <a:off x="5782845" y="2906521"/>
            <a:ext cx="301661" cy="371013"/>
            <a:chOff x="5782845" y="2906521"/>
            <a:chExt cx="301661" cy="371013"/>
          </a:xfrm>
        </p:grpSpPr>
        <p:sp>
          <p:nvSpPr>
            <p:cNvPr id="11069" name="Google Shape;11069;p60"/>
            <p:cNvSpPr/>
            <p:nvPr/>
          </p:nvSpPr>
          <p:spPr>
            <a:xfrm>
              <a:off x="5782845" y="3087651"/>
              <a:ext cx="301661" cy="189883"/>
            </a:xfrm>
            <a:custGeom>
              <a:avLst/>
              <a:gdLst/>
              <a:ahLst/>
              <a:cxnLst/>
              <a:rect l="l" t="t" r="r" b="b"/>
              <a:pathLst>
                <a:path w="9478" h="5966" extrusionOk="0">
                  <a:moveTo>
                    <a:pt x="3215" y="322"/>
                  </a:moveTo>
                  <a:cubicBezTo>
                    <a:pt x="3322" y="322"/>
                    <a:pt x="3418" y="370"/>
                    <a:pt x="3489" y="429"/>
                  </a:cubicBezTo>
                  <a:cubicBezTo>
                    <a:pt x="3561" y="513"/>
                    <a:pt x="3596" y="596"/>
                    <a:pt x="3596" y="703"/>
                  </a:cubicBezTo>
                  <a:lnTo>
                    <a:pt x="3596" y="1156"/>
                  </a:lnTo>
                  <a:cubicBezTo>
                    <a:pt x="3608" y="1358"/>
                    <a:pt x="3501" y="1537"/>
                    <a:pt x="3322" y="1644"/>
                  </a:cubicBezTo>
                  <a:cubicBezTo>
                    <a:pt x="3263" y="1668"/>
                    <a:pt x="3239" y="1727"/>
                    <a:pt x="3239" y="1787"/>
                  </a:cubicBezTo>
                  <a:lnTo>
                    <a:pt x="3239" y="1977"/>
                  </a:lnTo>
                  <a:lnTo>
                    <a:pt x="2846" y="1977"/>
                  </a:lnTo>
                  <a:lnTo>
                    <a:pt x="2846" y="1787"/>
                  </a:lnTo>
                  <a:cubicBezTo>
                    <a:pt x="2846" y="1727"/>
                    <a:pt x="2822" y="1668"/>
                    <a:pt x="2763" y="1644"/>
                  </a:cubicBezTo>
                  <a:cubicBezTo>
                    <a:pt x="2584" y="1537"/>
                    <a:pt x="2477" y="1358"/>
                    <a:pt x="2477" y="1156"/>
                  </a:cubicBezTo>
                  <a:lnTo>
                    <a:pt x="2477" y="703"/>
                  </a:lnTo>
                  <a:cubicBezTo>
                    <a:pt x="2477" y="489"/>
                    <a:pt x="2644" y="322"/>
                    <a:pt x="2846" y="322"/>
                  </a:cubicBezTo>
                  <a:close/>
                  <a:moveTo>
                    <a:pt x="6513" y="322"/>
                  </a:moveTo>
                  <a:cubicBezTo>
                    <a:pt x="6609" y="322"/>
                    <a:pt x="6704" y="370"/>
                    <a:pt x="6775" y="429"/>
                  </a:cubicBezTo>
                  <a:cubicBezTo>
                    <a:pt x="6847" y="513"/>
                    <a:pt x="6882" y="596"/>
                    <a:pt x="6882" y="703"/>
                  </a:cubicBezTo>
                  <a:lnTo>
                    <a:pt x="6882" y="1156"/>
                  </a:lnTo>
                  <a:cubicBezTo>
                    <a:pt x="6894" y="1358"/>
                    <a:pt x="6787" y="1537"/>
                    <a:pt x="6609" y="1644"/>
                  </a:cubicBezTo>
                  <a:cubicBezTo>
                    <a:pt x="6549" y="1668"/>
                    <a:pt x="6525" y="1727"/>
                    <a:pt x="6525" y="1787"/>
                  </a:cubicBezTo>
                  <a:lnTo>
                    <a:pt x="6525" y="1977"/>
                  </a:lnTo>
                  <a:lnTo>
                    <a:pt x="6132" y="1977"/>
                  </a:lnTo>
                  <a:lnTo>
                    <a:pt x="6132" y="1787"/>
                  </a:lnTo>
                  <a:cubicBezTo>
                    <a:pt x="6132" y="1727"/>
                    <a:pt x="6108" y="1668"/>
                    <a:pt x="6049" y="1644"/>
                  </a:cubicBezTo>
                  <a:cubicBezTo>
                    <a:pt x="5870" y="1537"/>
                    <a:pt x="5763" y="1358"/>
                    <a:pt x="5763" y="1156"/>
                  </a:cubicBezTo>
                  <a:lnTo>
                    <a:pt x="5763" y="703"/>
                  </a:lnTo>
                  <a:cubicBezTo>
                    <a:pt x="5763" y="489"/>
                    <a:pt x="5930" y="322"/>
                    <a:pt x="6132" y="322"/>
                  </a:cubicBezTo>
                  <a:close/>
                  <a:moveTo>
                    <a:pt x="1572" y="2144"/>
                  </a:moveTo>
                  <a:cubicBezTo>
                    <a:pt x="1667" y="2144"/>
                    <a:pt x="1763" y="2192"/>
                    <a:pt x="1834" y="2251"/>
                  </a:cubicBezTo>
                  <a:cubicBezTo>
                    <a:pt x="1906" y="2323"/>
                    <a:pt x="1941" y="2418"/>
                    <a:pt x="1941" y="2513"/>
                  </a:cubicBezTo>
                  <a:lnTo>
                    <a:pt x="1941" y="2977"/>
                  </a:lnTo>
                  <a:lnTo>
                    <a:pt x="1953" y="2977"/>
                  </a:lnTo>
                  <a:cubicBezTo>
                    <a:pt x="1953" y="3168"/>
                    <a:pt x="1846" y="3370"/>
                    <a:pt x="1667" y="3454"/>
                  </a:cubicBezTo>
                  <a:cubicBezTo>
                    <a:pt x="1608" y="3489"/>
                    <a:pt x="1584" y="3549"/>
                    <a:pt x="1584" y="3608"/>
                  </a:cubicBezTo>
                  <a:lnTo>
                    <a:pt x="1584" y="3799"/>
                  </a:lnTo>
                  <a:lnTo>
                    <a:pt x="1191" y="3799"/>
                  </a:lnTo>
                  <a:lnTo>
                    <a:pt x="1191" y="3608"/>
                  </a:lnTo>
                  <a:cubicBezTo>
                    <a:pt x="1191" y="3549"/>
                    <a:pt x="1167" y="3489"/>
                    <a:pt x="1108" y="3454"/>
                  </a:cubicBezTo>
                  <a:cubicBezTo>
                    <a:pt x="929" y="3346"/>
                    <a:pt x="822" y="3168"/>
                    <a:pt x="822" y="2977"/>
                  </a:cubicBezTo>
                  <a:lnTo>
                    <a:pt x="822" y="2513"/>
                  </a:lnTo>
                  <a:cubicBezTo>
                    <a:pt x="822" y="2311"/>
                    <a:pt x="989" y="2144"/>
                    <a:pt x="1191" y="2144"/>
                  </a:cubicBezTo>
                  <a:close/>
                  <a:moveTo>
                    <a:pt x="4858" y="2144"/>
                  </a:moveTo>
                  <a:cubicBezTo>
                    <a:pt x="4965" y="2144"/>
                    <a:pt x="5049" y="2192"/>
                    <a:pt x="5120" y="2251"/>
                  </a:cubicBezTo>
                  <a:cubicBezTo>
                    <a:pt x="5204" y="2323"/>
                    <a:pt x="5227" y="2418"/>
                    <a:pt x="5227" y="2513"/>
                  </a:cubicBezTo>
                  <a:lnTo>
                    <a:pt x="5227" y="2977"/>
                  </a:lnTo>
                  <a:cubicBezTo>
                    <a:pt x="5239" y="3168"/>
                    <a:pt x="5144" y="3370"/>
                    <a:pt x="4954" y="3454"/>
                  </a:cubicBezTo>
                  <a:cubicBezTo>
                    <a:pt x="4894" y="3489"/>
                    <a:pt x="4870" y="3549"/>
                    <a:pt x="4870" y="3608"/>
                  </a:cubicBezTo>
                  <a:lnTo>
                    <a:pt x="4870" y="3799"/>
                  </a:lnTo>
                  <a:lnTo>
                    <a:pt x="4489" y="3799"/>
                  </a:lnTo>
                  <a:lnTo>
                    <a:pt x="4489" y="3608"/>
                  </a:lnTo>
                  <a:cubicBezTo>
                    <a:pt x="4489" y="3549"/>
                    <a:pt x="4453" y="3489"/>
                    <a:pt x="4394" y="3454"/>
                  </a:cubicBezTo>
                  <a:cubicBezTo>
                    <a:pt x="4215" y="3346"/>
                    <a:pt x="4108" y="3168"/>
                    <a:pt x="4108" y="2977"/>
                  </a:cubicBezTo>
                  <a:lnTo>
                    <a:pt x="4108" y="2513"/>
                  </a:lnTo>
                  <a:cubicBezTo>
                    <a:pt x="4108" y="2311"/>
                    <a:pt x="4275" y="2144"/>
                    <a:pt x="4489" y="2144"/>
                  </a:cubicBezTo>
                  <a:close/>
                  <a:moveTo>
                    <a:pt x="8144" y="2144"/>
                  </a:moveTo>
                  <a:cubicBezTo>
                    <a:pt x="8252" y="2144"/>
                    <a:pt x="8335" y="2192"/>
                    <a:pt x="8418" y="2251"/>
                  </a:cubicBezTo>
                  <a:cubicBezTo>
                    <a:pt x="8490" y="2323"/>
                    <a:pt x="8514" y="2418"/>
                    <a:pt x="8514" y="2513"/>
                  </a:cubicBezTo>
                  <a:lnTo>
                    <a:pt x="8514" y="2977"/>
                  </a:lnTo>
                  <a:cubicBezTo>
                    <a:pt x="8525" y="3168"/>
                    <a:pt x="8430" y="3370"/>
                    <a:pt x="8252" y="3454"/>
                  </a:cubicBezTo>
                  <a:cubicBezTo>
                    <a:pt x="8192" y="3489"/>
                    <a:pt x="8156" y="3549"/>
                    <a:pt x="8156" y="3608"/>
                  </a:cubicBezTo>
                  <a:lnTo>
                    <a:pt x="8156" y="3799"/>
                  </a:lnTo>
                  <a:lnTo>
                    <a:pt x="7775" y="3799"/>
                  </a:lnTo>
                  <a:lnTo>
                    <a:pt x="7775" y="3608"/>
                  </a:lnTo>
                  <a:cubicBezTo>
                    <a:pt x="7775" y="3549"/>
                    <a:pt x="7740" y="3489"/>
                    <a:pt x="7680" y="3454"/>
                  </a:cubicBezTo>
                  <a:cubicBezTo>
                    <a:pt x="7501" y="3346"/>
                    <a:pt x="7406" y="3168"/>
                    <a:pt x="7406" y="2977"/>
                  </a:cubicBezTo>
                  <a:lnTo>
                    <a:pt x="7406" y="2513"/>
                  </a:lnTo>
                  <a:cubicBezTo>
                    <a:pt x="7406" y="2311"/>
                    <a:pt x="7561" y="2144"/>
                    <a:pt x="7775" y="2144"/>
                  </a:cubicBezTo>
                  <a:close/>
                  <a:moveTo>
                    <a:pt x="2894" y="1"/>
                  </a:moveTo>
                  <a:cubicBezTo>
                    <a:pt x="2489" y="1"/>
                    <a:pt x="2179" y="334"/>
                    <a:pt x="2179" y="715"/>
                  </a:cubicBezTo>
                  <a:lnTo>
                    <a:pt x="2179" y="1180"/>
                  </a:lnTo>
                  <a:cubicBezTo>
                    <a:pt x="2179" y="1465"/>
                    <a:pt x="2310" y="1727"/>
                    <a:pt x="2548" y="1894"/>
                  </a:cubicBezTo>
                  <a:lnTo>
                    <a:pt x="2548" y="2061"/>
                  </a:lnTo>
                  <a:lnTo>
                    <a:pt x="2251" y="2180"/>
                  </a:lnTo>
                  <a:cubicBezTo>
                    <a:pt x="2215" y="2120"/>
                    <a:pt x="2179" y="2072"/>
                    <a:pt x="2132" y="2025"/>
                  </a:cubicBezTo>
                  <a:cubicBezTo>
                    <a:pt x="2001" y="1894"/>
                    <a:pt x="1822" y="1822"/>
                    <a:pt x="1620" y="1822"/>
                  </a:cubicBezTo>
                  <a:lnTo>
                    <a:pt x="1251" y="1822"/>
                  </a:lnTo>
                  <a:cubicBezTo>
                    <a:pt x="846" y="1822"/>
                    <a:pt x="536" y="2144"/>
                    <a:pt x="536" y="2537"/>
                  </a:cubicBezTo>
                  <a:lnTo>
                    <a:pt x="536" y="2989"/>
                  </a:lnTo>
                  <a:cubicBezTo>
                    <a:pt x="536" y="3275"/>
                    <a:pt x="679" y="3549"/>
                    <a:pt x="905" y="3704"/>
                  </a:cubicBezTo>
                  <a:lnTo>
                    <a:pt x="905" y="3870"/>
                  </a:lnTo>
                  <a:lnTo>
                    <a:pt x="453" y="4049"/>
                  </a:lnTo>
                  <a:cubicBezTo>
                    <a:pt x="179" y="4156"/>
                    <a:pt x="1" y="4418"/>
                    <a:pt x="1" y="4716"/>
                  </a:cubicBezTo>
                  <a:lnTo>
                    <a:pt x="1" y="5811"/>
                  </a:lnTo>
                  <a:cubicBezTo>
                    <a:pt x="1" y="5894"/>
                    <a:pt x="84" y="5966"/>
                    <a:pt x="167" y="5966"/>
                  </a:cubicBezTo>
                  <a:cubicBezTo>
                    <a:pt x="251" y="5966"/>
                    <a:pt x="334" y="5894"/>
                    <a:pt x="334" y="5811"/>
                  </a:cubicBezTo>
                  <a:lnTo>
                    <a:pt x="334" y="4716"/>
                  </a:lnTo>
                  <a:cubicBezTo>
                    <a:pt x="334" y="4573"/>
                    <a:pt x="417" y="4418"/>
                    <a:pt x="572" y="4358"/>
                  </a:cubicBezTo>
                  <a:lnTo>
                    <a:pt x="1108" y="4156"/>
                  </a:lnTo>
                  <a:lnTo>
                    <a:pt x="1775" y="4156"/>
                  </a:lnTo>
                  <a:lnTo>
                    <a:pt x="2310" y="4358"/>
                  </a:lnTo>
                  <a:cubicBezTo>
                    <a:pt x="2453" y="4418"/>
                    <a:pt x="2548" y="4561"/>
                    <a:pt x="2548" y="4716"/>
                  </a:cubicBezTo>
                  <a:lnTo>
                    <a:pt x="2548" y="5811"/>
                  </a:lnTo>
                  <a:cubicBezTo>
                    <a:pt x="2548" y="5894"/>
                    <a:pt x="2620" y="5966"/>
                    <a:pt x="2715" y="5966"/>
                  </a:cubicBezTo>
                  <a:cubicBezTo>
                    <a:pt x="2799" y="5966"/>
                    <a:pt x="2870" y="5894"/>
                    <a:pt x="2870" y="5811"/>
                  </a:cubicBezTo>
                  <a:lnTo>
                    <a:pt x="2870" y="4716"/>
                  </a:lnTo>
                  <a:cubicBezTo>
                    <a:pt x="2870" y="4418"/>
                    <a:pt x="2691" y="4168"/>
                    <a:pt x="2429" y="4049"/>
                  </a:cubicBezTo>
                  <a:lnTo>
                    <a:pt x="1965" y="3870"/>
                  </a:lnTo>
                  <a:lnTo>
                    <a:pt x="1965" y="3704"/>
                  </a:lnTo>
                  <a:cubicBezTo>
                    <a:pt x="2191" y="3537"/>
                    <a:pt x="2334" y="3275"/>
                    <a:pt x="2334" y="2989"/>
                  </a:cubicBezTo>
                  <a:lnTo>
                    <a:pt x="2334" y="2537"/>
                  </a:lnTo>
                  <a:lnTo>
                    <a:pt x="2334" y="2501"/>
                  </a:lnTo>
                  <a:lnTo>
                    <a:pt x="2751" y="2334"/>
                  </a:lnTo>
                  <a:lnTo>
                    <a:pt x="3430" y="2334"/>
                  </a:lnTo>
                  <a:lnTo>
                    <a:pt x="3846" y="2501"/>
                  </a:lnTo>
                  <a:lnTo>
                    <a:pt x="3846" y="2537"/>
                  </a:lnTo>
                  <a:lnTo>
                    <a:pt x="3846" y="2989"/>
                  </a:lnTo>
                  <a:cubicBezTo>
                    <a:pt x="3846" y="3275"/>
                    <a:pt x="3977" y="3549"/>
                    <a:pt x="4215" y="3704"/>
                  </a:cubicBezTo>
                  <a:lnTo>
                    <a:pt x="4215" y="3870"/>
                  </a:lnTo>
                  <a:lnTo>
                    <a:pt x="3751" y="4049"/>
                  </a:lnTo>
                  <a:cubicBezTo>
                    <a:pt x="3489" y="4156"/>
                    <a:pt x="3310" y="4418"/>
                    <a:pt x="3310" y="4716"/>
                  </a:cubicBezTo>
                  <a:lnTo>
                    <a:pt x="3310" y="5811"/>
                  </a:lnTo>
                  <a:cubicBezTo>
                    <a:pt x="3310" y="5894"/>
                    <a:pt x="3382" y="5966"/>
                    <a:pt x="3465" y="5966"/>
                  </a:cubicBezTo>
                  <a:cubicBezTo>
                    <a:pt x="3561" y="5966"/>
                    <a:pt x="3632" y="5894"/>
                    <a:pt x="3632" y="5811"/>
                  </a:cubicBezTo>
                  <a:lnTo>
                    <a:pt x="3632" y="4716"/>
                  </a:lnTo>
                  <a:cubicBezTo>
                    <a:pt x="3632" y="4573"/>
                    <a:pt x="3727" y="4418"/>
                    <a:pt x="3870" y="4358"/>
                  </a:cubicBezTo>
                  <a:lnTo>
                    <a:pt x="4406" y="4156"/>
                  </a:lnTo>
                  <a:lnTo>
                    <a:pt x="5073" y="4156"/>
                  </a:lnTo>
                  <a:lnTo>
                    <a:pt x="5608" y="4358"/>
                  </a:lnTo>
                  <a:cubicBezTo>
                    <a:pt x="5763" y="4418"/>
                    <a:pt x="5847" y="4561"/>
                    <a:pt x="5847" y="4716"/>
                  </a:cubicBezTo>
                  <a:lnTo>
                    <a:pt x="5847" y="5811"/>
                  </a:lnTo>
                  <a:cubicBezTo>
                    <a:pt x="5847" y="5894"/>
                    <a:pt x="5930" y="5966"/>
                    <a:pt x="6013" y="5966"/>
                  </a:cubicBezTo>
                  <a:cubicBezTo>
                    <a:pt x="6108" y="5966"/>
                    <a:pt x="6180" y="5894"/>
                    <a:pt x="6180" y="5811"/>
                  </a:cubicBezTo>
                  <a:lnTo>
                    <a:pt x="6180" y="4716"/>
                  </a:lnTo>
                  <a:cubicBezTo>
                    <a:pt x="6180" y="4418"/>
                    <a:pt x="6001" y="4168"/>
                    <a:pt x="5727" y="4049"/>
                  </a:cubicBezTo>
                  <a:lnTo>
                    <a:pt x="5275" y="3870"/>
                  </a:lnTo>
                  <a:lnTo>
                    <a:pt x="5275" y="3704"/>
                  </a:lnTo>
                  <a:cubicBezTo>
                    <a:pt x="5489" y="3537"/>
                    <a:pt x="5644" y="3275"/>
                    <a:pt x="5644" y="2989"/>
                  </a:cubicBezTo>
                  <a:lnTo>
                    <a:pt x="5644" y="2537"/>
                  </a:lnTo>
                  <a:lnTo>
                    <a:pt x="5644" y="2501"/>
                  </a:lnTo>
                  <a:lnTo>
                    <a:pt x="6061" y="2334"/>
                  </a:lnTo>
                  <a:lnTo>
                    <a:pt x="6728" y="2334"/>
                  </a:lnTo>
                  <a:lnTo>
                    <a:pt x="7144" y="2501"/>
                  </a:lnTo>
                  <a:lnTo>
                    <a:pt x="7144" y="2537"/>
                  </a:lnTo>
                  <a:lnTo>
                    <a:pt x="7144" y="2989"/>
                  </a:lnTo>
                  <a:cubicBezTo>
                    <a:pt x="7144" y="3275"/>
                    <a:pt x="7275" y="3549"/>
                    <a:pt x="7513" y="3704"/>
                  </a:cubicBezTo>
                  <a:lnTo>
                    <a:pt x="7513" y="3870"/>
                  </a:lnTo>
                  <a:lnTo>
                    <a:pt x="7061" y="4049"/>
                  </a:lnTo>
                  <a:cubicBezTo>
                    <a:pt x="6787" y="4156"/>
                    <a:pt x="6609" y="4418"/>
                    <a:pt x="6609" y="4716"/>
                  </a:cubicBezTo>
                  <a:lnTo>
                    <a:pt x="6609" y="5811"/>
                  </a:lnTo>
                  <a:cubicBezTo>
                    <a:pt x="6609" y="5894"/>
                    <a:pt x="6680" y="5966"/>
                    <a:pt x="6775" y="5966"/>
                  </a:cubicBezTo>
                  <a:cubicBezTo>
                    <a:pt x="6859" y="5966"/>
                    <a:pt x="6942" y="5894"/>
                    <a:pt x="6942" y="5811"/>
                  </a:cubicBezTo>
                  <a:lnTo>
                    <a:pt x="6942" y="4716"/>
                  </a:lnTo>
                  <a:cubicBezTo>
                    <a:pt x="6942" y="4573"/>
                    <a:pt x="7025" y="4418"/>
                    <a:pt x="7180" y="4358"/>
                  </a:cubicBezTo>
                  <a:lnTo>
                    <a:pt x="7716" y="4156"/>
                  </a:lnTo>
                  <a:lnTo>
                    <a:pt x="8383" y="4156"/>
                  </a:lnTo>
                  <a:lnTo>
                    <a:pt x="8918" y="4358"/>
                  </a:lnTo>
                  <a:cubicBezTo>
                    <a:pt x="9061" y="4418"/>
                    <a:pt x="9156" y="4561"/>
                    <a:pt x="9156" y="4716"/>
                  </a:cubicBezTo>
                  <a:lnTo>
                    <a:pt x="9156" y="5811"/>
                  </a:lnTo>
                  <a:cubicBezTo>
                    <a:pt x="9156" y="5894"/>
                    <a:pt x="9228" y="5966"/>
                    <a:pt x="9323" y="5966"/>
                  </a:cubicBezTo>
                  <a:cubicBezTo>
                    <a:pt x="9406" y="5966"/>
                    <a:pt x="9478" y="5894"/>
                    <a:pt x="9478" y="5811"/>
                  </a:cubicBezTo>
                  <a:lnTo>
                    <a:pt x="9478" y="4716"/>
                  </a:lnTo>
                  <a:cubicBezTo>
                    <a:pt x="9418" y="4418"/>
                    <a:pt x="9252" y="4156"/>
                    <a:pt x="8978" y="4049"/>
                  </a:cubicBezTo>
                  <a:lnTo>
                    <a:pt x="8514" y="3870"/>
                  </a:lnTo>
                  <a:lnTo>
                    <a:pt x="8514" y="3704"/>
                  </a:lnTo>
                  <a:cubicBezTo>
                    <a:pt x="8740" y="3537"/>
                    <a:pt x="8895" y="3275"/>
                    <a:pt x="8895" y="2989"/>
                  </a:cubicBezTo>
                  <a:lnTo>
                    <a:pt x="8895" y="2537"/>
                  </a:lnTo>
                  <a:cubicBezTo>
                    <a:pt x="8895" y="2334"/>
                    <a:pt x="8811" y="2156"/>
                    <a:pt x="8680" y="2025"/>
                  </a:cubicBezTo>
                  <a:cubicBezTo>
                    <a:pt x="8549" y="1894"/>
                    <a:pt x="8371" y="1822"/>
                    <a:pt x="8168" y="1822"/>
                  </a:cubicBezTo>
                  <a:lnTo>
                    <a:pt x="7799" y="1822"/>
                  </a:lnTo>
                  <a:cubicBezTo>
                    <a:pt x="7537" y="1822"/>
                    <a:pt x="7311" y="1965"/>
                    <a:pt x="7192" y="2180"/>
                  </a:cubicBezTo>
                  <a:lnTo>
                    <a:pt x="6882" y="2061"/>
                  </a:lnTo>
                  <a:lnTo>
                    <a:pt x="6882" y="1894"/>
                  </a:lnTo>
                  <a:cubicBezTo>
                    <a:pt x="7109" y="1727"/>
                    <a:pt x="7251" y="1465"/>
                    <a:pt x="7251" y="1180"/>
                  </a:cubicBezTo>
                  <a:lnTo>
                    <a:pt x="7251" y="715"/>
                  </a:lnTo>
                  <a:cubicBezTo>
                    <a:pt x="7251" y="525"/>
                    <a:pt x="7180" y="346"/>
                    <a:pt x="7037" y="215"/>
                  </a:cubicBezTo>
                  <a:cubicBezTo>
                    <a:pt x="6906" y="72"/>
                    <a:pt x="6728" y="1"/>
                    <a:pt x="6537" y="1"/>
                  </a:cubicBezTo>
                  <a:lnTo>
                    <a:pt x="6168" y="1"/>
                  </a:lnTo>
                  <a:cubicBezTo>
                    <a:pt x="5763" y="1"/>
                    <a:pt x="5454" y="334"/>
                    <a:pt x="5454" y="715"/>
                  </a:cubicBezTo>
                  <a:lnTo>
                    <a:pt x="5454" y="1180"/>
                  </a:lnTo>
                  <a:cubicBezTo>
                    <a:pt x="5454" y="1465"/>
                    <a:pt x="5585" y="1727"/>
                    <a:pt x="5823" y="1894"/>
                  </a:cubicBezTo>
                  <a:lnTo>
                    <a:pt x="5823" y="2061"/>
                  </a:lnTo>
                  <a:lnTo>
                    <a:pt x="5525" y="2180"/>
                  </a:lnTo>
                  <a:cubicBezTo>
                    <a:pt x="5489" y="2120"/>
                    <a:pt x="5454" y="2072"/>
                    <a:pt x="5406" y="2025"/>
                  </a:cubicBezTo>
                  <a:cubicBezTo>
                    <a:pt x="5275" y="1894"/>
                    <a:pt x="5096" y="1822"/>
                    <a:pt x="4894" y="1822"/>
                  </a:cubicBezTo>
                  <a:lnTo>
                    <a:pt x="4525" y="1822"/>
                  </a:lnTo>
                  <a:cubicBezTo>
                    <a:pt x="4263" y="1822"/>
                    <a:pt x="4037" y="1965"/>
                    <a:pt x="3918" y="2180"/>
                  </a:cubicBezTo>
                  <a:lnTo>
                    <a:pt x="3608" y="2061"/>
                  </a:lnTo>
                  <a:lnTo>
                    <a:pt x="3608" y="1894"/>
                  </a:lnTo>
                  <a:cubicBezTo>
                    <a:pt x="3834" y="1727"/>
                    <a:pt x="3977" y="1465"/>
                    <a:pt x="3977" y="1180"/>
                  </a:cubicBezTo>
                  <a:lnTo>
                    <a:pt x="3977" y="715"/>
                  </a:lnTo>
                  <a:cubicBezTo>
                    <a:pt x="3977" y="525"/>
                    <a:pt x="3906" y="346"/>
                    <a:pt x="3763" y="215"/>
                  </a:cubicBezTo>
                  <a:cubicBezTo>
                    <a:pt x="3632" y="72"/>
                    <a:pt x="3453"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0" name="Google Shape;11070;p60"/>
            <p:cNvSpPr/>
            <p:nvPr/>
          </p:nvSpPr>
          <p:spPr>
            <a:xfrm>
              <a:off x="5868111" y="2906521"/>
              <a:ext cx="127724" cy="172823"/>
            </a:xfrm>
            <a:custGeom>
              <a:avLst/>
              <a:gdLst/>
              <a:ahLst/>
              <a:cxnLst/>
              <a:rect l="l" t="t" r="r" b="b"/>
              <a:pathLst>
                <a:path w="4013" h="5430" extrusionOk="0">
                  <a:moveTo>
                    <a:pt x="2191" y="334"/>
                  </a:moveTo>
                  <a:cubicBezTo>
                    <a:pt x="2406" y="334"/>
                    <a:pt x="2560" y="501"/>
                    <a:pt x="2560" y="703"/>
                  </a:cubicBezTo>
                  <a:lnTo>
                    <a:pt x="2560" y="1084"/>
                  </a:lnTo>
                  <a:cubicBezTo>
                    <a:pt x="2560" y="1394"/>
                    <a:pt x="2310" y="1644"/>
                    <a:pt x="2001" y="1644"/>
                  </a:cubicBezTo>
                  <a:cubicBezTo>
                    <a:pt x="1691" y="1644"/>
                    <a:pt x="1453" y="1394"/>
                    <a:pt x="1453" y="1084"/>
                  </a:cubicBezTo>
                  <a:lnTo>
                    <a:pt x="1453" y="703"/>
                  </a:lnTo>
                  <a:cubicBezTo>
                    <a:pt x="1453" y="501"/>
                    <a:pt x="1608" y="334"/>
                    <a:pt x="1822" y="334"/>
                  </a:cubicBezTo>
                  <a:close/>
                  <a:moveTo>
                    <a:pt x="2191" y="1953"/>
                  </a:moveTo>
                  <a:lnTo>
                    <a:pt x="2191" y="2060"/>
                  </a:lnTo>
                  <a:cubicBezTo>
                    <a:pt x="2203" y="2120"/>
                    <a:pt x="2227" y="2179"/>
                    <a:pt x="2251" y="2239"/>
                  </a:cubicBezTo>
                  <a:lnTo>
                    <a:pt x="2013" y="2477"/>
                  </a:lnTo>
                  <a:lnTo>
                    <a:pt x="2001" y="2477"/>
                  </a:lnTo>
                  <a:lnTo>
                    <a:pt x="1763" y="2239"/>
                  </a:lnTo>
                  <a:cubicBezTo>
                    <a:pt x="1786" y="2179"/>
                    <a:pt x="1810" y="2120"/>
                    <a:pt x="1810" y="2060"/>
                  </a:cubicBezTo>
                  <a:lnTo>
                    <a:pt x="1810" y="1953"/>
                  </a:lnTo>
                  <a:cubicBezTo>
                    <a:pt x="1870" y="1965"/>
                    <a:pt x="1941" y="1965"/>
                    <a:pt x="2001" y="1965"/>
                  </a:cubicBezTo>
                  <a:cubicBezTo>
                    <a:pt x="2060" y="1965"/>
                    <a:pt x="2132" y="1953"/>
                    <a:pt x="2191" y="1953"/>
                  </a:cubicBezTo>
                  <a:close/>
                  <a:moveTo>
                    <a:pt x="2525" y="2429"/>
                  </a:moveTo>
                  <a:lnTo>
                    <a:pt x="2822" y="2584"/>
                  </a:lnTo>
                  <a:cubicBezTo>
                    <a:pt x="2882" y="2608"/>
                    <a:pt x="2917" y="2680"/>
                    <a:pt x="2917" y="2763"/>
                  </a:cubicBezTo>
                  <a:lnTo>
                    <a:pt x="2917" y="3084"/>
                  </a:lnTo>
                  <a:lnTo>
                    <a:pt x="1072" y="3084"/>
                  </a:lnTo>
                  <a:lnTo>
                    <a:pt x="1072" y="2763"/>
                  </a:lnTo>
                  <a:cubicBezTo>
                    <a:pt x="1072" y="2680"/>
                    <a:pt x="1120" y="2632"/>
                    <a:pt x="1179" y="2584"/>
                  </a:cubicBezTo>
                  <a:lnTo>
                    <a:pt x="1477" y="2429"/>
                  </a:lnTo>
                  <a:lnTo>
                    <a:pt x="1751" y="2703"/>
                  </a:lnTo>
                  <a:cubicBezTo>
                    <a:pt x="1822" y="2775"/>
                    <a:pt x="1905" y="2799"/>
                    <a:pt x="2001" y="2799"/>
                  </a:cubicBezTo>
                  <a:cubicBezTo>
                    <a:pt x="2084" y="2799"/>
                    <a:pt x="2179" y="2775"/>
                    <a:pt x="2251" y="2703"/>
                  </a:cubicBezTo>
                  <a:lnTo>
                    <a:pt x="2525" y="2429"/>
                  </a:lnTo>
                  <a:close/>
                  <a:moveTo>
                    <a:pt x="3560" y="3442"/>
                  </a:moveTo>
                  <a:lnTo>
                    <a:pt x="3370" y="3834"/>
                  </a:lnTo>
                  <a:lnTo>
                    <a:pt x="655" y="3834"/>
                  </a:lnTo>
                  <a:lnTo>
                    <a:pt x="465" y="3442"/>
                  </a:lnTo>
                  <a:close/>
                  <a:moveTo>
                    <a:pt x="1822" y="1"/>
                  </a:moveTo>
                  <a:cubicBezTo>
                    <a:pt x="1417" y="1"/>
                    <a:pt x="1108" y="334"/>
                    <a:pt x="1108" y="715"/>
                  </a:cubicBezTo>
                  <a:lnTo>
                    <a:pt x="1108" y="1096"/>
                  </a:lnTo>
                  <a:cubicBezTo>
                    <a:pt x="1108" y="1394"/>
                    <a:pt x="1251" y="1656"/>
                    <a:pt x="1477" y="1822"/>
                  </a:cubicBezTo>
                  <a:lnTo>
                    <a:pt x="1477" y="2072"/>
                  </a:lnTo>
                  <a:lnTo>
                    <a:pt x="1477" y="2084"/>
                  </a:lnTo>
                  <a:lnTo>
                    <a:pt x="1048" y="2299"/>
                  </a:lnTo>
                  <a:cubicBezTo>
                    <a:pt x="870" y="2382"/>
                    <a:pt x="751" y="2584"/>
                    <a:pt x="751" y="2775"/>
                  </a:cubicBezTo>
                  <a:lnTo>
                    <a:pt x="751" y="3108"/>
                  </a:lnTo>
                  <a:lnTo>
                    <a:pt x="179" y="3108"/>
                  </a:lnTo>
                  <a:cubicBezTo>
                    <a:pt x="120" y="3108"/>
                    <a:pt x="60" y="3132"/>
                    <a:pt x="36" y="3180"/>
                  </a:cubicBezTo>
                  <a:cubicBezTo>
                    <a:pt x="0" y="3227"/>
                    <a:pt x="0" y="3299"/>
                    <a:pt x="24" y="3346"/>
                  </a:cubicBezTo>
                  <a:lnTo>
                    <a:pt x="393" y="4073"/>
                  </a:lnTo>
                  <a:cubicBezTo>
                    <a:pt x="417" y="4132"/>
                    <a:pt x="477" y="4156"/>
                    <a:pt x="536" y="4156"/>
                  </a:cubicBezTo>
                  <a:lnTo>
                    <a:pt x="739" y="4156"/>
                  </a:lnTo>
                  <a:lnTo>
                    <a:pt x="739" y="5263"/>
                  </a:lnTo>
                  <a:cubicBezTo>
                    <a:pt x="739" y="5347"/>
                    <a:pt x="810" y="5430"/>
                    <a:pt x="893" y="5430"/>
                  </a:cubicBezTo>
                  <a:cubicBezTo>
                    <a:pt x="989" y="5430"/>
                    <a:pt x="1060" y="5347"/>
                    <a:pt x="1060" y="5263"/>
                  </a:cubicBezTo>
                  <a:lnTo>
                    <a:pt x="1060" y="4156"/>
                  </a:lnTo>
                  <a:lnTo>
                    <a:pt x="2906" y="4156"/>
                  </a:lnTo>
                  <a:lnTo>
                    <a:pt x="2906" y="5263"/>
                  </a:lnTo>
                  <a:cubicBezTo>
                    <a:pt x="2906" y="5347"/>
                    <a:pt x="2977" y="5430"/>
                    <a:pt x="3072" y="5430"/>
                  </a:cubicBezTo>
                  <a:cubicBezTo>
                    <a:pt x="3156" y="5430"/>
                    <a:pt x="3227" y="5347"/>
                    <a:pt x="3227" y="5263"/>
                  </a:cubicBezTo>
                  <a:lnTo>
                    <a:pt x="3227" y="4156"/>
                  </a:lnTo>
                  <a:lnTo>
                    <a:pt x="3429" y="4156"/>
                  </a:lnTo>
                  <a:cubicBezTo>
                    <a:pt x="3489" y="4156"/>
                    <a:pt x="3549" y="4132"/>
                    <a:pt x="3572" y="4073"/>
                  </a:cubicBezTo>
                  <a:lnTo>
                    <a:pt x="3941" y="3346"/>
                  </a:lnTo>
                  <a:cubicBezTo>
                    <a:pt x="4013" y="3299"/>
                    <a:pt x="4013" y="3227"/>
                    <a:pt x="3977" y="3180"/>
                  </a:cubicBezTo>
                  <a:cubicBezTo>
                    <a:pt x="3953" y="3132"/>
                    <a:pt x="3894" y="3108"/>
                    <a:pt x="3834" y="3108"/>
                  </a:cubicBezTo>
                  <a:lnTo>
                    <a:pt x="3263" y="3108"/>
                  </a:lnTo>
                  <a:lnTo>
                    <a:pt x="3263" y="2775"/>
                  </a:lnTo>
                  <a:cubicBezTo>
                    <a:pt x="3263" y="2572"/>
                    <a:pt x="3144" y="2382"/>
                    <a:pt x="2965" y="2299"/>
                  </a:cubicBezTo>
                  <a:lnTo>
                    <a:pt x="2536" y="2084"/>
                  </a:lnTo>
                  <a:lnTo>
                    <a:pt x="2536" y="2072"/>
                  </a:lnTo>
                  <a:lnTo>
                    <a:pt x="2536" y="1822"/>
                  </a:lnTo>
                  <a:cubicBezTo>
                    <a:pt x="2763" y="1656"/>
                    <a:pt x="2906" y="1394"/>
                    <a:pt x="2906" y="1096"/>
                  </a:cubicBezTo>
                  <a:lnTo>
                    <a:pt x="2906" y="715"/>
                  </a:lnTo>
                  <a:cubicBezTo>
                    <a:pt x="2906" y="322"/>
                    <a:pt x="2572"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1" name="Google Shape;11071;p60"/>
            <p:cNvSpPr/>
            <p:nvPr/>
          </p:nvSpPr>
          <p:spPr>
            <a:xfrm>
              <a:off x="5915088" y="3051655"/>
              <a:ext cx="34151" cy="10662"/>
            </a:xfrm>
            <a:custGeom>
              <a:avLst/>
              <a:gdLst/>
              <a:ahLst/>
              <a:cxnLst/>
              <a:rect l="l" t="t" r="r" b="b"/>
              <a:pathLst>
                <a:path w="1073" h="335" extrusionOk="0">
                  <a:moveTo>
                    <a:pt x="168" y="1"/>
                  </a:moveTo>
                  <a:cubicBezTo>
                    <a:pt x="72" y="1"/>
                    <a:pt x="1" y="72"/>
                    <a:pt x="1" y="167"/>
                  </a:cubicBezTo>
                  <a:cubicBezTo>
                    <a:pt x="1" y="251"/>
                    <a:pt x="72" y="334"/>
                    <a:pt x="168" y="334"/>
                  </a:cubicBezTo>
                  <a:lnTo>
                    <a:pt x="894" y="334"/>
                  </a:lnTo>
                  <a:cubicBezTo>
                    <a:pt x="989" y="334"/>
                    <a:pt x="1060" y="251"/>
                    <a:pt x="1060" y="167"/>
                  </a:cubicBezTo>
                  <a:cubicBezTo>
                    <a:pt x="1072" y="72"/>
                    <a:pt x="989"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72" name="Google Shape;11072;p60"/>
          <p:cNvGrpSpPr/>
          <p:nvPr/>
        </p:nvGrpSpPr>
        <p:grpSpPr>
          <a:xfrm>
            <a:off x="6630539" y="2917502"/>
            <a:ext cx="371777" cy="349434"/>
            <a:chOff x="6630539" y="2917502"/>
            <a:chExt cx="371777" cy="349434"/>
          </a:xfrm>
        </p:grpSpPr>
        <p:sp>
          <p:nvSpPr>
            <p:cNvPr id="11073" name="Google Shape;11073;p60"/>
            <p:cNvSpPr/>
            <p:nvPr/>
          </p:nvSpPr>
          <p:spPr>
            <a:xfrm>
              <a:off x="6689292" y="3043093"/>
              <a:ext cx="92109" cy="30586"/>
            </a:xfrm>
            <a:custGeom>
              <a:avLst/>
              <a:gdLst/>
              <a:ahLst/>
              <a:cxnLst/>
              <a:rect l="l" t="t" r="r" b="b"/>
              <a:pathLst>
                <a:path w="2894" h="961" extrusionOk="0">
                  <a:moveTo>
                    <a:pt x="1164" y="1"/>
                  </a:moveTo>
                  <a:cubicBezTo>
                    <a:pt x="816" y="1"/>
                    <a:pt x="501" y="36"/>
                    <a:pt x="298" y="67"/>
                  </a:cubicBezTo>
                  <a:cubicBezTo>
                    <a:pt x="119" y="91"/>
                    <a:pt x="0" y="246"/>
                    <a:pt x="0" y="401"/>
                  </a:cubicBezTo>
                  <a:lnTo>
                    <a:pt x="0" y="794"/>
                  </a:lnTo>
                  <a:cubicBezTo>
                    <a:pt x="0" y="877"/>
                    <a:pt x="72" y="960"/>
                    <a:pt x="155" y="960"/>
                  </a:cubicBezTo>
                  <a:cubicBezTo>
                    <a:pt x="250" y="960"/>
                    <a:pt x="322" y="877"/>
                    <a:pt x="322" y="794"/>
                  </a:cubicBezTo>
                  <a:lnTo>
                    <a:pt x="322" y="401"/>
                  </a:lnTo>
                  <a:cubicBezTo>
                    <a:pt x="322" y="401"/>
                    <a:pt x="322" y="389"/>
                    <a:pt x="334" y="389"/>
                  </a:cubicBezTo>
                  <a:cubicBezTo>
                    <a:pt x="511" y="361"/>
                    <a:pt x="812" y="318"/>
                    <a:pt x="1157" y="318"/>
                  </a:cubicBezTo>
                  <a:cubicBezTo>
                    <a:pt x="1253" y="318"/>
                    <a:pt x="1352" y="321"/>
                    <a:pt x="1453" y="329"/>
                  </a:cubicBezTo>
                  <a:cubicBezTo>
                    <a:pt x="1989" y="365"/>
                    <a:pt x="2382" y="496"/>
                    <a:pt x="2596" y="734"/>
                  </a:cubicBezTo>
                  <a:cubicBezTo>
                    <a:pt x="2626" y="764"/>
                    <a:pt x="2670" y="779"/>
                    <a:pt x="2715" y="779"/>
                  </a:cubicBezTo>
                  <a:cubicBezTo>
                    <a:pt x="2760" y="779"/>
                    <a:pt x="2804" y="764"/>
                    <a:pt x="2834" y="734"/>
                  </a:cubicBezTo>
                  <a:cubicBezTo>
                    <a:pt x="2894" y="675"/>
                    <a:pt x="2894" y="567"/>
                    <a:pt x="2834" y="508"/>
                  </a:cubicBezTo>
                  <a:cubicBezTo>
                    <a:pt x="2437" y="103"/>
                    <a:pt x="1753" y="1"/>
                    <a:pt x="1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4" name="Google Shape;11074;p60"/>
            <p:cNvSpPr/>
            <p:nvPr/>
          </p:nvSpPr>
          <p:spPr>
            <a:xfrm>
              <a:off x="6630539" y="2993315"/>
              <a:ext cx="208852" cy="273621"/>
            </a:xfrm>
            <a:custGeom>
              <a:avLst/>
              <a:gdLst/>
              <a:ahLst/>
              <a:cxnLst/>
              <a:rect l="l" t="t" r="r" b="b"/>
              <a:pathLst>
                <a:path w="6562" h="8597" extrusionOk="0">
                  <a:moveTo>
                    <a:pt x="5132" y="334"/>
                  </a:moveTo>
                  <a:lnTo>
                    <a:pt x="5132" y="1988"/>
                  </a:lnTo>
                  <a:cubicBezTo>
                    <a:pt x="5132" y="2239"/>
                    <a:pt x="5073" y="2477"/>
                    <a:pt x="4966" y="2703"/>
                  </a:cubicBezTo>
                  <a:cubicBezTo>
                    <a:pt x="4954" y="2727"/>
                    <a:pt x="4954" y="2739"/>
                    <a:pt x="4954" y="2774"/>
                  </a:cubicBezTo>
                  <a:lnTo>
                    <a:pt x="4954" y="3262"/>
                  </a:lnTo>
                  <a:cubicBezTo>
                    <a:pt x="4954" y="3727"/>
                    <a:pt x="4763" y="4155"/>
                    <a:pt x="4430" y="4465"/>
                  </a:cubicBezTo>
                  <a:cubicBezTo>
                    <a:pt x="4108" y="4765"/>
                    <a:pt x="3713" y="4920"/>
                    <a:pt x="3275" y="4920"/>
                  </a:cubicBezTo>
                  <a:cubicBezTo>
                    <a:pt x="3243" y="4920"/>
                    <a:pt x="3212" y="4919"/>
                    <a:pt x="3180" y="4917"/>
                  </a:cubicBezTo>
                  <a:cubicBezTo>
                    <a:pt x="2299" y="4882"/>
                    <a:pt x="1620" y="4120"/>
                    <a:pt x="1620" y="3215"/>
                  </a:cubicBezTo>
                  <a:lnTo>
                    <a:pt x="1620" y="2786"/>
                  </a:lnTo>
                  <a:cubicBezTo>
                    <a:pt x="1620" y="2762"/>
                    <a:pt x="1620" y="2739"/>
                    <a:pt x="1608" y="2715"/>
                  </a:cubicBezTo>
                  <a:cubicBezTo>
                    <a:pt x="1501" y="2489"/>
                    <a:pt x="1441" y="2239"/>
                    <a:pt x="1441" y="2000"/>
                  </a:cubicBezTo>
                  <a:lnTo>
                    <a:pt x="1441" y="1631"/>
                  </a:lnTo>
                  <a:cubicBezTo>
                    <a:pt x="1441" y="917"/>
                    <a:pt x="2025" y="334"/>
                    <a:pt x="2739" y="334"/>
                  </a:cubicBezTo>
                  <a:close/>
                  <a:moveTo>
                    <a:pt x="4204" y="5048"/>
                  </a:moveTo>
                  <a:lnTo>
                    <a:pt x="4204" y="5358"/>
                  </a:lnTo>
                  <a:lnTo>
                    <a:pt x="3287" y="6001"/>
                  </a:lnTo>
                  <a:lnTo>
                    <a:pt x="2358" y="5358"/>
                  </a:lnTo>
                  <a:lnTo>
                    <a:pt x="2358" y="5048"/>
                  </a:lnTo>
                  <a:cubicBezTo>
                    <a:pt x="2596" y="5179"/>
                    <a:pt x="2870" y="5263"/>
                    <a:pt x="3156" y="5275"/>
                  </a:cubicBezTo>
                  <a:lnTo>
                    <a:pt x="3287" y="5275"/>
                  </a:lnTo>
                  <a:cubicBezTo>
                    <a:pt x="3608" y="5275"/>
                    <a:pt x="3930" y="5203"/>
                    <a:pt x="4204" y="5048"/>
                  </a:cubicBezTo>
                  <a:close/>
                  <a:moveTo>
                    <a:pt x="2203" y="5668"/>
                  </a:moveTo>
                  <a:lnTo>
                    <a:pt x="3001" y="6227"/>
                  </a:lnTo>
                  <a:lnTo>
                    <a:pt x="2584" y="6656"/>
                  </a:lnTo>
                  <a:lnTo>
                    <a:pt x="2573" y="6656"/>
                  </a:lnTo>
                  <a:lnTo>
                    <a:pt x="2037" y="5858"/>
                  </a:lnTo>
                  <a:lnTo>
                    <a:pt x="2203" y="5668"/>
                  </a:lnTo>
                  <a:close/>
                  <a:moveTo>
                    <a:pt x="4359" y="5668"/>
                  </a:moveTo>
                  <a:lnTo>
                    <a:pt x="4525" y="5858"/>
                  </a:lnTo>
                  <a:lnTo>
                    <a:pt x="4001" y="6656"/>
                  </a:lnTo>
                  <a:lnTo>
                    <a:pt x="3989" y="6656"/>
                  </a:lnTo>
                  <a:lnTo>
                    <a:pt x="3549" y="6227"/>
                  </a:lnTo>
                  <a:lnTo>
                    <a:pt x="4359" y="5668"/>
                  </a:lnTo>
                  <a:close/>
                  <a:moveTo>
                    <a:pt x="2739" y="0"/>
                  </a:moveTo>
                  <a:cubicBezTo>
                    <a:pt x="1822" y="0"/>
                    <a:pt x="1096" y="738"/>
                    <a:pt x="1096" y="1643"/>
                  </a:cubicBezTo>
                  <a:lnTo>
                    <a:pt x="1096" y="2012"/>
                  </a:lnTo>
                  <a:cubicBezTo>
                    <a:pt x="1096" y="2298"/>
                    <a:pt x="1156" y="2584"/>
                    <a:pt x="1275" y="2846"/>
                  </a:cubicBezTo>
                  <a:lnTo>
                    <a:pt x="1275" y="3239"/>
                  </a:lnTo>
                  <a:cubicBezTo>
                    <a:pt x="1275" y="3870"/>
                    <a:pt x="1561" y="4453"/>
                    <a:pt x="2001" y="4822"/>
                  </a:cubicBezTo>
                  <a:lnTo>
                    <a:pt x="2001" y="5406"/>
                  </a:lnTo>
                  <a:lnTo>
                    <a:pt x="1692" y="5739"/>
                  </a:lnTo>
                  <a:cubicBezTo>
                    <a:pt x="1668" y="5763"/>
                    <a:pt x="1644" y="5822"/>
                    <a:pt x="1644" y="5870"/>
                  </a:cubicBezTo>
                  <a:lnTo>
                    <a:pt x="596" y="6251"/>
                  </a:lnTo>
                  <a:cubicBezTo>
                    <a:pt x="239" y="6394"/>
                    <a:pt x="1" y="6727"/>
                    <a:pt x="1" y="7108"/>
                  </a:cubicBezTo>
                  <a:lnTo>
                    <a:pt x="1" y="8418"/>
                  </a:lnTo>
                  <a:cubicBezTo>
                    <a:pt x="1" y="8501"/>
                    <a:pt x="72" y="8573"/>
                    <a:pt x="156" y="8573"/>
                  </a:cubicBezTo>
                  <a:cubicBezTo>
                    <a:pt x="251" y="8573"/>
                    <a:pt x="322" y="8501"/>
                    <a:pt x="322" y="8418"/>
                  </a:cubicBezTo>
                  <a:lnTo>
                    <a:pt x="322" y="7108"/>
                  </a:lnTo>
                  <a:cubicBezTo>
                    <a:pt x="322" y="6870"/>
                    <a:pt x="477" y="6656"/>
                    <a:pt x="691" y="6584"/>
                  </a:cubicBezTo>
                  <a:lnTo>
                    <a:pt x="1811" y="6179"/>
                  </a:lnTo>
                  <a:lnTo>
                    <a:pt x="2275" y="6882"/>
                  </a:lnTo>
                  <a:cubicBezTo>
                    <a:pt x="2334" y="6965"/>
                    <a:pt x="2418" y="7025"/>
                    <a:pt x="2525" y="7025"/>
                  </a:cubicBezTo>
                  <a:lnTo>
                    <a:pt x="2561" y="7025"/>
                  </a:lnTo>
                  <a:cubicBezTo>
                    <a:pt x="2644" y="7025"/>
                    <a:pt x="2739" y="7001"/>
                    <a:pt x="2811" y="6930"/>
                  </a:cubicBezTo>
                  <a:lnTo>
                    <a:pt x="3096" y="6644"/>
                  </a:lnTo>
                  <a:lnTo>
                    <a:pt x="3096" y="8430"/>
                  </a:lnTo>
                  <a:cubicBezTo>
                    <a:pt x="3096" y="8513"/>
                    <a:pt x="3168" y="8596"/>
                    <a:pt x="3251" y="8596"/>
                  </a:cubicBezTo>
                  <a:cubicBezTo>
                    <a:pt x="3346" y="8596"/>
                    <a:pt x="3418" y="8513"/>
                    <a:pt x="3418" y="8430"/>
                  </a:cubicBezTo>
                  <a:lnTo>
                    <a:pt x="3418" y="6644"/>
                  </a:lnTo>
                  <a:lnTo>
                    <a:pt x="3704" y="6930"/>
                  </a:lnTo>
                  <a:cubicBezTo>
                    <a:pt x="3763" y="6989"/>
                    <a:pt x="3870" y="7025"/>
                    <a:pt x="3954" y="7025"/>
                  </a:cubicBezTo>
                  <a:lnTo>
                    <a:pt x="3989" y="7025"/>
                  </a:lnTo>
                  <a:cubicBezTo>
                    <a:pt x="4085" y="7013"/>
                    <a:pt x="4180" y="6953"/>
                    <a:pt x="4239" y="6882"/>
                  </a:cubicBezTo>
                  <a:lnTo>
                    <a:pt x="4704" y="6179"/>
                  </a:lnTo>
                  <a:lnTo>
                    <a:pt x="5811" y="6584"/>
                  </a:lnTo>
                  <a:cubicBezTo>
                    <a:pt x="6037" y="6656"/>
                    <a:pt x="6192" y="6882"/>
                    <a:pt x="6192" y="7108"/>
                  </a:cubicBezTo>
                  <a:lnTo>
                    <a:pt x="6192" y="8418"/>
                  </a:lnTo>
                  <a:cubicBezTo>
                    <a:pt x="6192" y="8501"/>
                    <a:pt x="6264" y="8573"/>
                    <a:pt x="6347" y="8573"/>
                  </a:cubicBezTo>
                  <a:cubicBezTo>
                    <a:pt x="6442" y="8573"/>
                    <a:pt x="6514" y="8501"/>
                    <a:pt x="6514" y="8418"/>
                  </a:cubicBezTo>
                  <a:lnTo>
                    <a:pt x="6514" y="7108"/>
                  </a:lnTo>
                  <a:cubicBezTo>
                    <a:pt x="6561" y="6703"/>
                    <a:pt x="6323" y="6370"/>
                    <a:pt x="5966" y="6239"/>
                  </a:cubicBezTo>
                  <a:lnTo>
                    <a:pt x="4906" y="5858"/>
                  </a:lnTo>
                  <a:cubicBezTo>
                    <a:pt x="4906" y="5810"/>
                    <a:pt x="4894" y="5763"/>
                    <a:pt x="4859" y="5715"/>
                  </a:cubicBezTo>
                  <a:lnTo>
                    <a:pt x="4549" y="5394"/>
                  </a:lnTo>
                  <a:lnTo>
                    <a:pt x="4549" y="4822"/>
                  </a:lnTo>
                  <a:cubicBezTo>
                    <a:pt x="4585" y="4798"/>
                    <a:pt x="4609" y="4763"/>
                    <a:pt x="4656" y="4739"/>
                  </a:cubicBezTo>
                  <a:cubicBezTo>
                    <a:pt x="5061" y="4370"/>
                    <a:pt x="5275" y="3822"/>
                    <a:pt x="5275" y="3274"/>
                  </a:cubicBezTo>
                  <a:lnTo>
                    <a:pt x="5275" y="2834"/>
                  </a:lnTo>
                  <a:cubicBezTo>
                    <a:pt x="5394" y="2560"/>
                    <a:pt x="5454" y="2286"/>
                    <a:pt x="5454" y="2000"/>
                  </a:cubicBezTo>
                  <a:lnTo>
                    <a:pt x="5454" y="167"/>
                  </a:lnTo>
                  <a:cubicBezTo>
                    <a:pt x="5454" y="83"/>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5" name="Google Shape;11075;p60"/>
            <p:cNvSpPr/>
            <p:nvPr/>
          </p:nvSpPr>
          <p:spPr>
            <a:xfrm>
              <a:off x="6665804" y="3232053"/>
              <a:ext cx="10630" cy="33737"/>
            </a:xfrm>
            <a:custGeom>
              <a:avLst/>
              <a:gdLst/>
              <a:ahLst/>
              <a:cxnLst/>
              <a:rect l="l" t="t" r="r" b="b"/>
              <a:pathLst>
                <a:path w="334" h="1060" extrusionOk="0">
                  <a:moveTo>
                    <a:pt x="167" y="0"/>
                  </a:moveTo>
                  <a:cubicBezTo>
                    <a:pt x="83" y="0"/>
                    <a:pt x="0" y="83"/>
                    <a:pt x="0" y="167"/>
                  </a:cubicBezTo>
                  <a:lnTo>
                    <a:pt x="0" y="893"/>
                  </a:lnTo>
                  <a:cubicBezTo>
                    <a:pt x="0" y="988"/>
                    <a:pt x="83" y="1060"/>
                    <a:pt x="167" y="1060"/>
                  </a:cubicBezTo>
                  <a:cubicBezTo>
                    <a:pt x="262" y="1060"/>
                    <a:pt x="333" y="988"/>
                    <a:pt x="333" y="893"/>
                  </a:cubicBezTo>
                  <a:lnTo>
                    <a:pt x="333" y="167"/>
                  </a:lnTo>
                  <a:cubicBezTo>
                    <a:pt x="333" y="83"/>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6" name="Google Shape;11076;p60"/>
            <p:cNvSpPr/>
            <p:nvPr/>
          </p:nvSpPr>
          <p:spPr>
            <a:xfrm>
              <a:off x="6793877" y="3232053"/>
              <a:ext cx="10248" cy="33737"/>
            </a:xfrm>
            <a:custGeom>
              <a:avLst/>
              <a:gdLst/>
              <a:ahLst/>
              <a:cxnLst/>
              <a:rect l="l" t="t" r="r" b="b"/>
              <a:pathLst>
                <a:path w="322" h="1060" extrusionOk="0">
                  <a:moveTo>
                    <a:pt x="167" y="0"/>
                  </a:moveTo>
                  <a:cubicBezTo>
                    <a:pt x="72" y="0"/>
                    <a:pt x="0" y="83"/>
                    <a:pt x="0" y="167"/>
                  </a:cubicBezTo>
                  <a:lnTo>
                    <a:pt x="0" y="893"/>
                  </a:lnTo>
                  <a:cubicBezTo>
                    <a:pt x="0" y="988"/>
                    <a:pt x="72" y="1060"/>
                    <a:pt x="167" y="1060"/>
                  </a:cubicBezTo>
                  <a:cubicBezTo>
                    <a:pt x="250" y="1060"/>
                    <a:pt x="322" y="988"/>
                    <a:pt x="322" y="893"/>
                  </a:cubicBezTo>
                  <a:lnTo>
                    <a:pt x="322" y="167"/>
                  </a:ln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7" name="Google Shape;11077;p60"/>
            <p:cNvSpPr/>
            <p:nvPr/>
          </p:nvSpPr>
          <p:spPr>
            <a:xfrm>
              <a:off x="6828347" y="2952766"/>
              <a:ext cx="173969" cy="181162"/>
            </a:xfrm>
            <a:custGeom>
              <a:avLst/>
              <a:gdLst/>
              <a:ahLst/>
              <a:cxnLst/>
              <a:rect l="l" t="t" r="r" b="b"/>
              <a:pathLst>
                <a:path w="5466" h="5692" extrusionOk="0">
                  <a:moveTo>
                    <a:pt x="3847" y="0"/>
                  </a:moveTo>
                  <a:cubicBezTo>
                    <a:pt x="3751" y="0"/>
                    <a:pt x="3680" y="72"/>
                    <a:pt x="3680" y="167"/>
                  </a:cubicBezTo>
                  <a:cubicBezTo>
                    <a:pt x="3680" y="250"/>
                    <a:pt x="3751" y="322"/>
                    <a:pt x="3847" y="322"/>
                  </a:cubicBezTo>
                  <a:lnTo>
                    <a:pt x="4751" y="322"/>
                  </a:lnTo>
                  <a:cubicBezTo>
                    <a:pt x="4954" y="322"/>
                    <a:pt x="5121" y="488"/>
                    <a:pt x="5121" y="703"/>
                  </a:cubicBezTo>
                  <a:lnTo>
                    <a:pt x="5121" y="3643"/>
                  </a:lnTo>
                  <a:cubicBezTo>
                    <a:pt x="5121" y="3858"/>
                    <a:pt x="4954" y="4013"/>
                    <a:pt x="4751" y="4013"/>
                  </a:cubicBezTo>
                  <a:lnTo>
                    <a:pt x="2918" y="4013"/>
                  </a:lnTo>
                  <a:cubicBezTo>
                    <a:pt x="2894" y="4013"/>
                    <a:pt x="2846" y="4036"/>
                    <a:pt x="2811" y="4048"/>
                  </a:cubicBezTo>
                  <a:lnTo>
                    <a:pt x="1180" y="5239"/>
                  </a:lnTo>
                  <a:lnTo>
                    <a:pt x="1180" y="5239"/>
                  </a:lnTo>
                  <a:lnTo>
                    <a:pt x="1430" y="4227"/>
                  </a:lnTo>
                  <a:cubicBezTo>
                    <a:pt x="1442" y="4179"/>
                    <a:pt x="1430" y="4120"/>
                    <a:pt x="1406" y="4072"/>
                  </a:cubicBezTo>
                  <a:cubicBezTo>
                    <a:pt x="1370" y="4036"/>
                    <a:pt x="1311" y="4013"/>
                    <a:pt x="1263" y="4013"/>
                  </a:cubicBezTo>
                  <a:lnTo>
                    <a:pt x="715" y="4013"/>
                  </a:lnTo>
                  <a:cubicBezTo>
                    <a:pt x="513" y="4013"/>
                    <a:pt x="346" y="3858"/>
                    <a:pt x="346" y="3643"/>
                  </a:cubicBezTo>
                  <a:lnTo>
                    <a:pt x="346" y="715"/>
                  </a:lnTo>
                  <a:cubicBezTo>
                    <a:pt x="346" y="500"/>
                    <a:pt x="513" y="345"/>
                    <a:pt x="715" y="345"/>
                  </a:cubicBezTo>
                  <a:lnTo>
                    <a:pt x="1620" y="345"/>
                  </a:lnTo>
                  <a:cubicBezTo>
                    <a:pt x="1715" y="345"/>
                    <a:pt x="1787" y="262"/>
                    <a:pt x="1787" y="179"/>
                  </a:cubicBezTo>
                  <a:cubicBezTo>
                    <a:pt x="1787" y="84"/>
                    <a:pt x="1715" y="12"/>
                    <a:pt x="1620" y="12"/>
                  </a:cubicBezTo>
                  <a:lnTo>
                    <a:pt x="715" y="12"/>
                  </a:lnTo>
                  <a:cubicBezTo>
                    <a:pt x="310" y="12"/>
                    <a:pt x="1" y="345"/>
                    <a:pt x="1" y="726"/>
                  </a:cubicBezTo>
                  <a:lnTo>
                    <a:pt x="1" y="3643"/>
                  </a:lnTo>
                  <a:cubicBezTo>
                    <a:pt x="1" y="4048"/>
                    <a:pt x="334" y="4358"/>
                    <a:pt x="715" y="4358"/>
                  </a:cubicBezTo>
                  <a:lnTo>
                    <a:pt x="1049" y="4358"/>
                  </a:lnTo>
                  <a:lnTo>
                    <a:pt x="787" y="5370"/>
                  </a:lnTo>
                  <a:cubicBezTo>
                    <a:pt x="763" y="5477"/>
                    <a:pt x="811" y="5596"/>
                    <a:pt x="894" y="5656"/>
                  </a:cubicBezTo>
                  <a:cubicBezTo>
                    <a:pt x="941" y="5679"/>
                    <a:pt x="989" y="5691"/>
                    <a:pt x="1049" y="5691"/>
                  </a:cubicBezTo>
                  <a:cubicBezTo>
                    <a:pt x="1108" y="5691"/>
                    <a:pt x="1144" y="5679"/>
                    <a:pt x="1192" y="5656"/>
                  </a:cubicBezTo>
                  <a:lnTo>
                    <a:pt x="2954" y="4370"/>
                  </a:lnTo>
                  <a:lnTo>
                    <a:pt x="4716" y="4370"/>
                  </a:lnTo>
                  <a:cubicBezTo>
                    <a:pt x="5121" y="4370"/>
                    <a:pt x="5430" y="4048"/>
                    <a:pt x="5430" y="3655"/>
                  </a:cubicBezTo>
                  <a:lnTo>
                    <a:pt x="5430" y="726"/>
                  </a:lnTo>
                  <a:cubicBezTo>
                    <a:pt x="5466" y="322"/>
                    <a:pt x="5132" y="0"/>
                    <a:pt x="4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8" name="Google Shape;11078;p60"/>
            <p:cNvSpPr/>
            <p:nvPr/>
          </p:nvSpPr>
          <p:spPr>
            <a:xfrm>
              <a:off x="6898463" y="2917502"/>
              <a:ext cx="34151" cy="104999"/>
            </a:xfrm>
            <a:custGeom>
              <a:avLst/>
              <a:gdLst/>
              <a:ahLst/>
              <a:cxnLst/>
              <a:rect l="l" t="t" r="r" b="b"/>
              <a:pathLst>
                <a:path w="1073" h="3299" extrusionOk="0">
                  <a:moveTo>
                    <a:pt x="715" y="346"/>
                  </a:moveTo>
                  <a:lnTo>
                    <a:pt x="548" y="2930"/>
                  </a:lnTo>
                  <a:lnTo>
                    <a:pt x="513" y="2930"/>
                  </a:lnTo>
                  <a:lnTo>
                    <a:pt x="346" y="346"/>
                  </a:lnTo>
                  <a:close/>
                  <a:moveTo>
                    <a:pt x="167" y="1"/>
                  </a:moveTo>
                  <a:cubicBezTo>
                    <a:pt x="120" y="1"/>
                    <a:pt x="72" y="25"/>
                    <a:pt x="48" y="60"/>
                  </a:cubicBezTo>
                  <a:cubicBezTo>
                    <a:pt x="12" y="96"/>
                    <a:pt x="1" y="144"/>
                    <a:pt x="1" y="203"/>
                  </a:cubicBezTo>
                  <a:lnTo>
                    <a:pt x="179" y="3132"/>
                  </a:lnTo>
                  <a:cubicBezTo>
                    <a:pt x="179" y="3216"/>
                    <a:pt x="251" y="3299"/>
                    <a:pt x="346" y="3299"/>
                  </a:cubicBezTo>
                  <a:lnTo>
                    <a:pt x="715" y="3299"/>
                  </a:lnTo>
                  <a:cubicBezTo>
                    <a:pt x="798" y="3299"/>
                    <a:pt x="882" y="3216"/>
                    <a:pt x="882" y="3132"/>
                  </a:cubicBezTo>
                  <a:lnTo>
                    <a:pt x="1060" y="203"/>
                  </a:lnTo>
                  <a:cubicBezTo>
                    <a:pt x="1072" y="144"/>
                    <a:pt x="1048" y="96"/>
                    <a:pt x="1013" y="60"/>
                  </a:cubicBezTo>
                  <a:cubicBezTo>
                    <a:pt x="989" y="37"/>
                    <a:pt x="941" y="1"/>
                    <a:pt x="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9" name="Google Shape;11079;p60"/>
            <p:cNvSpPr/>
            <p:nvPr/>
          </p:nvSpPr>
          <p:spPr>
            <a:xfrm>
              <a:off x="6898081" y="3028548"/>
              <a:ext cx="34151" cy="34119"/>
            </a:xfrm>
            <a:custGeom>
              <a:avLst/>
              <a:gdLst/>
              <a:ahLst/>
              <a:cxnLst/>
              <a:rect l="l" t="t" r="r" b="b"/>
              <a:pathLst>
                <a:path w="1073" h="1072" extrusionOk="0">
                  <a:moveTo>
                    <a:pt x="536" y="346"/>
                  </a:moveTo>
                  <a:cubicBezTo>
                    <a:pt x="644" y="346"/>
                    <a:pt x="727" y="429"/>
                    <a:pt x="727" y="536"/>
                  </a:cubicBezTo>
                  <a:cubicBezTo>
                    <a:pt x="727" y="631"/>
                    <a:pt x="655" y="727"/>
                    <a:pt x="536" y="727"/>
                  </a:cubicBezTo>
                  <a:cubicBezTo>
                    <a:pt x="429" y="727"/>
                    <a:pt x="346" y="631"/>
                    <a:pt x="346" y="536"/>
                  </a:cubicBezTo>
                  <a:cubicBezTo>
                    <a:pt x="346" y="429"/>
                    <a:pt x="429" y="346"/>
                    <a:pt x="536" y="346"/>
                  </a:cubicBezTo>
                  <a:close/>
                  <a:moveTo>
                    <a:pt x="536" y="0"/>
                  </a:moveTo>
                  <a:cubicBezTo>
                    <a:pt x="239" y="0"/>
                    <a:pt x="1" y="239"/>
                    <a:pt x="1" y="536"/>
                  </a:cubicBezTo>
                  <a:cubicBezTo>
                    <a:pt x="1" y="834"/>
                    <a:pt x="239" y="1072"/>
                    <a:pt x="536" y="1072"/>
                  </a:cubicBezTo>
                  <a:cubicBezTo>
                    <a:pt x="834" y="1072"/>
                    <a:pt x="1072" y="834"/>
                    <a:pt x="1072" y="536"/>
                  </a:cubicBezTo>
                  <a:cubicBezTo>
                    <a:pt x="1072" y="239"/>
                    <a:pt x="834" y="0"/>
                    <a:pt x="5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0" name="Google Shape;11080;p60"/>
          <p:cNvGrpSpPr/>
          <p:nvPr/>
        </p:nvGrpSpPr>
        <p:grpSpPr>
          <a:xfrm>
            <a:off x="2171474" y="3369229"/>
            <a:ext cx="408156" cy="343737"/>
            <a:chOff x="2171474" y="3369229"/>
            <a:chExt cx="408156" cy="343737"/>
          </a:xfrm>
        </p:grpSpPr>
        <p:sp>
          <p:nvSpPr>
            <p:cNvPr id="11081" name="Google Shape;11081;p60"/>
            <p:cNvSpPr/>
            <p:nvPr/>
          </p:nvSpPr>
          <p:spPr>
            <a:xfrm>
              <a:off x="2171474" y="3369229"/>
              <a:ext cx="408156" cy="343737"/>
            </a:xfrm>
            <a:custGeom>
              <a:avLst/>
              <a:gdLst/>
              <a:ahLst/>
              <a:cxnLst/>
              <a:rect l="l" t="t" r="r" b="b"/>
              <a:pathLst>
                <a:path w="12824" h="10800" extrusionOk="0">
                  <a:moveTo>
                    <a:pt x="5395" y="345"/>
                  </a:moveTo>
                  <a:cubicBezTo>
                    <a:pt x="5561" y="345"/>
                    <a:pt x="5704" y="405"/>
                    <a:pt x="5823" y="536"/>
                  </a:cubicBezTo>
                  <a:lnTo>
                    <a:pt x="6478" y="1191"/>
                  </a:lnTo>
                  <a:lnTo>
                    <a:pt x="5645" y="1191"/>
                  </a:lnTo>
                  <a:cubicBezTo>
                    <a:pt x="5537" y="1191"/>
                    <a:pt x="5442" y="1143"/>
                    <a:pt x="5347" y="1072"/>
                  </a:cubicBezTo>
                  <a:lnTo>
                    <a:pt x="4633" y="357"/>
                  </a:lnTo>
                  <a:lnTo>
                    <a:pt x="5395" y="357"/>
                  </a:lnTo>
                  <a:lnTo>
                    <a:pt x="5395" y="345"/>
                  </a:lnTo>
                  <a:close/>
                  <a:moveTo>
                    <a:pt x="6883" y="357"/>
                  </a:moveTo>
                  <a:cubicBezTo>
                    <a:pt x="7049" y="357"/>
                    <a:pt x="7192" y="417"/>
                    <a:pt x="7311" y="536"/>
                  </a:cubicBezTo>
                  <a:lnTo>
                    <a:pt x="7966" y="1191"/>
                  </a:lnTo>
                  <a:lnTo>
                    <a:pt x="7823" y="1191"/>
                  </a:lnTo>
                  <a:cubicBezTo>
                    <a:pt x="7716" y="1191"/>
                    <a:pt x="7621" y="1274"/>
                    <a:pt x="7621" y="1381"/>
                  </a:cubicBezTo>
                  <a:cubicBezTo>
                    <a:pt x="7621" y="1488"/>
                    <a:pt x="7716" y="1572"/>
                    <a:pt x="7823" y="1572"/>
                  </a:cubicBezTo>
                  <a:lnTo>
                    <a:pt x="12026" y="1572"/>
                  </a:lnTo>
                  <a:cubicBezTo>
                    <a:pt x="12253" y="1572"/>
                    <a:pt x="12443" y="1750"/>
                    <a:pt x="12443" y="1988"/>
                  </a:cubicBezTo>
                  <a:lnTo>
                    <a:pt x="12431" y="10001"/>
                  </a:lnTo>
                  <a:cubicBezTo>
                    <a:pt x="12431" y="10216"/>
                    <a:pt x="12253" y="10418"/>
                    <a:pt x="12014" y="10418"/>
                  </a:cubicBezTo>
                  <a:lnTo>
                    <a:pt x="775" y="10418"/>
                  </a:lnTo>
                  <a:cubicBezTo>
                    <a:pt x="561" y="10418"/>
                    <a:pt x="358" y="10239"/>
                    <a:pt x="358" y="10001"/>
                  </a:cubicBezTo>
                  <a:lnTo>
                    <a:pt x="358" y="774"/>
                  </a:lnTo>
                  <a:cubicBezTo>
                    <a:pt x="358" y="548"/>
                    <a:pt x="537" y="357"/>
                    <a:pt x="775" y="357"/>
                  </a:cubicBezTo>
                  <a:lnTo>
                    <a:pt x="3859" y="357"/>
                  </a:lnTo>
                  <a:cubicBezTo>
                    <a:pt x="4025" y="357"/>
                    <a:pt x="4168" y="417"/>
                    <a:pt x="4287" y="536"/>
                  </a:cubicBezTo>
                  <a:lnTo>
                    <a:pt x="5085" y="1322"/>
                  </a:lnTo>
                  <a:cubicBezTo>
                    <a:pt x="5228" y="1465"/>
                    <a:pt x="5418" y="1560"/>
                    <a:pt x="5645" y="1560"/>
                  </a:cubicBezTo>
                  <a:lnTo>
                    <a:pt x="6942" y="1560"/>
                  </a:lnTo>
                  <a:cubicBezTo>
                    <a:pt x="7014" y="1560"/>
                    <a:pt x="7085" y="1512"/>
                    <a:pt x="7121" y="1441"/>
                  </a:cubicBezTo>
                  <a:cubicBezTo>
                    <a:pt x="7145" y="1369"/>
                    <a:pt x="7133" y="1286"/>
                    <a:pt x="7073" y="1226"/>
                  </a:cubicBezTo>
                  <a:lnTo>
                    <a:pt x="6192" y="357"/>
                  </a:lnTo>
                  <a:close/>
                  <a:moveTo>
                    <a:pt x="799" y="0"/>
                  </a:moveTo>
                  <a:cubicBezTo>
                    <a:pt x="358" y="0"/>
                    <a:pt x="1" y="345"/>
                    <a:pt x="1" y="786"/>
                  </a:cubicBezTo>
                  <a:lnTo>
                    <a:pt x="1" y="10013"/>
                  </a:lnTo>
                  <a:cubicBezTo>
                    <a:pt x="1" y="10442"/>
                    <a:pt x="358" y="10799"/>
                    <a:pt x="799" y="10799"/>
                  </a:cubicBezTo>
                  <a:lnTo>
                    <a:pt x="12026" y="10799"/>
                  </a:lnTo>
                  <a:cubicBezTo>
                    <a:pt x="12467" y="10799"/>
                    <a:pt x="12824" y="10442"/>
                    <a:pt x="12824" y="10013"/>
                  </a:cubicBezTo>
                  <a:lnTo>
                    <a:pt x="12824" y="1988"/>
                  </a:lnTo>
                  <a:cubicBezTo>
                    <a:pt x="12824" y="1524"/>
                    <a:pt x="12467" y="1191"/>
                    <a:pt x="12026" y="1191"/>
                  </a:cubicBezTo>
                  <a:lnTo>
                    <a:pt x="8490" y="1191"/>
                  </a:lnTo>
                  <a:lnTo>
                    <a:pt x="7585" y="274"/>
                  </a:lnTo>
                  <a:cubicBezTo>
                    <a:pt x="7383" y="83"/>
                    <a:pt x="7145" y="0"/>
                    <a:pt x="6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2" name="Google Shape;11082;p60"/>
            <p:cNvSpPr/>
            <p:nvPr/>
          </p:nvSpPr>
          <p:spPr>
            <a:xfrm>
              <a:off x="2292737" y="3477220"/>
              <a:ext cx="164898" cy="164866"/>
            </a:xfrm>
            <a:custGeom>
              <a:avLst/>
              <a:gdLst/>
              <a:ahLst/>
              <a:cxnLst/>
              <a:rect l="l" t="t" r="r" b="b"/>
              <a:pathLst>
                <a:path w="5181" h="5180" extrusionOk="0">
                  <a:moveTo>
                    <a:pt x="2799" y="1382"/>
                  </a:moveTo>
                  <a:cubicBezTo>
                    <a:pt x="3025" y="1382"/>
                    <a:pt x="3216" y="1560"/>
                    <a:pt x="3216" y="1798"/>
                  </a:cubicBezTo>
                  <a:lnTo>
                    <a:pt x="3216" y="2203"/>
                  </a:lnTo>
                  <a:cubicBezTo>
                    <a:pt x="3204" y="2525"/>
                    <a:pt x="2942" y="2810"/>
                    <a:pt x="2597" y="2810"/>
                  </a:cubicBezTo>
                  <a:cubicBezTo>
                    <a:pt x="2251" y="2810"/>
                    <a:pt x="1977" y="2525"/>
                    <a:pt x="1977" y="2203"/>
                  </a:cubicBezTo>
                  <a:lnTo>
                    <a:pt x="1977" y="1798"/>
                  </a:lnTo>
                  <a:cubicBezTo>
                    <a:pt x="1977" y="1572"/>
                    <a:pt x="2156" y="1382"/>
                    <a:pt x="2406" y="1382"/>
                  </a:cubicBezTo>
                  <a:close/>
                  <a:moveTo>
                    <a:pt x="2799" y="3156"/>
                  </a:moveTo>
                  <a:lnTo>
                    <a:pt x="2799" y="3275"/>
                  </a:lnTo>
                  <a:cubicBezTo>
                    <a:pt x="2799" y="3346"/>
                    <a:pt x="2835" y="3406"/>
                    <a:pt x="2858" y="3465"/>
                  </a:cubicBezTo>
                  <a:lnTo>
                    <a:pt x="2608" y="3715"/>
                  </a:lnTo>
                  <a:lnTo>
                    <a:pt x="2573" y="3715"/>
                  </a:lnTo>
                  <a:lnTo>
                    <a:pt x="2323" y="3465"/>
                  </a:lnTo>
                  <a:cubicBezTo>
                    <a:pt x="2358" y="3406"/>
                    <a:pt x="2382" y="3346"/>
                    <a:pt x="2382" y="3275"/>
                  </a:cubicBezTo>
                  <a:lnTo>
                    <a:pt x="2382" y="3156"/>
                  </a:lnTo>
                  <a:cubicBezTo>
                    <a:pt x="2454" y="3167"/>
                    <a:pt x="2513" y="3179"/>
                    <a:pt x="2597" y="3179"/>
                  </a:cubicBezTo>
                  <a:cubicBezTo>
                    <a:pt x="2668" y="3179"/>
                    <a:pt x="2739" y="3167"/>
                    <a:pt x="2799" y="3156"/>
                  </a:cubicBezTo>
                  <a:close/>
                  <a:moveTo>
                    <a:pt x="2573" y="381"/>
                  </a:moveTo>
                  <a:cubicBezTo>
                    <a:pt x="3799" y="381"/>
                    <a:pt x="4799" y="1382"/>
                    <a:pt x="4799" y="2596"/>
                  </a:cubicBezTo>
                  <a:cubicBezTo>
                    <a:pt x="4811" y="3287"/>
                    <a:pt x="4490" y="3906"/>
                    <a:pt x="3978" y="4322"/>
                  </a:cubicBezTo>
                  <a:lnTo>
                    <a:pt x="3978" y="4049"/>
                  </a:lnTo>
                  <a:cubicBezTo>
                    <a:pt x="3978" y="3822"/>
                    <a:pt x="3859" y="3608"/>
                    <a:pt x="3656" y="3525"/>
                  </a:cubicBezTo>
                  <a:lnTo>
                    <a:pt x="3180" y="3287"/>
                  </a:lnTo>
                  <a:lnTo>
                    <a:pt x="3180" y="3275"/>
                  </a:lnTo>
                  <a:lnTo>
                    <a:pt x="3180" y="2989"/>
                  </a:lnTo>
                  <a:cubicBezTo>
                    <a:pt x="3418" y="2810"/>
                    <a:pt x="3573" y="2513"/>
                    <a:pt x="3573" y="2203"/>
                  </a:cubicBezTo>
                  <a:lnTo>
                    <a:pt x="3573" y="1798"/>
                  </a:lnTo>
                  <a:cubicBezTo>
                    <a:pt x="3573" y="1370"/>
                    <a:pt x="3216" y="1012"/>
                    <a:pt x="2787" y="1012"/>
                  </a:cubicBezTo>
                  <a:lnTo>
                    <a:pt x="2382" y="1012"/>
                  </a:lnTo>
                  <a:cubicBezTo>
                    <a:pt x="1954" y="1012"/>
                    <a:pt x="1596" y="1370"/>
                    <a:pt x="1596" y="1798"/>
                  </a:cubicBezTo>
                  <a:lnTo>
                    <a:pt x="1596" y="2203"/>
                  </a:lnTo>
                  <a:cubicBezTo>
                    <a:pt x="1596" y="2525"/>
                    <a:pt x="1763" y="2810"/>
                    <a:pt x="2001" y="2989"/>
                  </a:cubicBezTo>
                  <a:lnTo>
                    <a:pt x="2001" y="3275"/>
                  </a:lnTo>
                  <a:lnTo>
                    <a:pt x="2001" y="3287"/>
                  </a:lnTo>
                  <a:lnTo>
                    <a:pt x="1525" y="3525"/>
                  </a:lnTo>
                  <a:cubicBezTo>
                    <a:pt x="1334" y="3632"/>
                    <a:pt x="1192" y="3822"/>
                    <a:pt x="1192" y="4049"/>
                  </a:cubicBezTo>
                  <a:lnTo>
                    <a:pt x="1192" y="4322"/>
                  </a:lnTo>
                  <a:cubicBezTo>
                    <a:pt x="692" y="3918"/>
                    <a:pt x="358" y="3298"/>
                    <a:pt x="358" y="2596"/>
                  </a:cubicBezTo>
                  <a:cubicBezTo>
                    <a:pt x="358" y="1382"/>
                    <a:pt x="1358" y="381"/>
                    <a:pt x="2573" y="381"/>
                  </a:cubicBezTo>
                  <a:close/>
                  <a:moveTo>
                    <a:pt x="3156" y="3691"/>
                  </a:moveTo>
                  <a:lnTo>
                    <a:pt x="3490" y="3846"/>
                  </a:lnTo>
                  <a:cubicBezTo>
                    <a:pt x="3561" y="3882"/>
                    <a:pt x="3609" y="3953"/>
                    <a:pt x="3609" y="4049"/>
                  </a:cubicBezTo>
                  <a:lnTo>
                    <a:pt x="3609" y="4560"/>
                  </a:lnTo>
                  <a:cubicBezTo>
                    <a:pt x="3311" y="4727"/>
                    <a:pt x="2954" y="4822"/>
                    <a:pt x="2597" y="4822"/>
                  </a:cubicBezTo>
                  <a:cubicBezTo>
                    <a:pt x="2227" y="4822"/>
                    <a:pt x="1882" y="4727"/>
                    <a:pt x="1585" y="4560"/>
                  </a:cubicBezTo>
                  <a:lnTo>
                    <a:pt x="1585" y="4049"/>
                  </a:lnTo>
                  <a:cubicBezTo>
                    <a:pt x="1585" y="3965"/>
                    <a:pt x="1632" y="3894"/>
                    <a:pt x="1704" y="3846"/>
                  </a:cubicBezTo>
                  <a:lnTo>
                    <a:pt x="2025" y="3691"/>
                  </a:lnTo>
                  <a:lnTo>
                    <a:pt x="2323" y="3989"/>
                  </a:lnTo>
                  <a:cubicBezTo>
                    <a:pt x="2406" y="4060"/>
                    <a:pt x="2489" y="4108"/>
                    <a:pt x="2597" y="4108"/>
                  </a:cubicBezTo>
                  <a:cubicBezTo>
                    <a:pt x="2704" y="4108"/>
                    <a:pt x="2799" y="4060"/>
                    <a:pt x="2858" y="3989"/>
                  </a:cubicBezTo>
                  <a:lnTo>
                    <a:pt x="3156" y="3691"/>
                  </a:lnTo>
                  <a:close/>
                  <a:moveTo>
                    <a:pt x="2597" y="0"/>
                  </a:moveTo>
                  <a:cubicBezTo>
                    <a:pt x="1168" y="0"/>
                    <a:pt x="1" y="1155"/>
                    <a:pt x="1" y="2584"/>
                  </a:cubicBezTo>
                  <a:cubicBezTo>
                    <a:pt x="1" y="4013"/>
                    <a:pt x="1168" y="5180"/>
                    <a:pt x="2597" y="5180"/>
                  </a:cubicBezTo>
                  <a:cubicBezTo>
                    <a:pt x="4025" y="5180"/>
                    <a:pt x="5180" y="4013"/>
                    <a:pt x="5180" y="2584"/>
                  </a:cubicBezTo>
                  <a:cubicBezTo>
                    <a:pt x="5180" y="1155"/>
                    <a:pt x="4025" y="0"/>
                    <a:pt x="2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3" name="Google Shape;11083;p60"/>
            <p:cNvSpPr/>
            <p:nvPr/>
          </p:nvSpPr>
          <p:spPr>
            <a:xfrm>
              <a:off x="2256358" y="3451503"/>
              <a:ext cx="188769" cy="177311"/>
            </a:xfrm>
            <a:custGeom>
              <a:avLst/>
              <a:gdLst/>
              <a:ahLst/>
              <a:cxnLst/>
              <a:rect l="l" t="t" r="r" b="b"/>
              <a:pathLst>
                <a:path w="5931" h="5571" extrusionOk="0">
                  <a:moveTo>
                    <a:pt x="3751" y="0"/>
                  </a:moveTo>
                  <a:cubicBezTo>
                    <a:pt x="2872" y="0"/>
                    <a:pt x="1994" y="341"/>
                    <a:pt x="1323" y="999"/>
                  </a:cubicBezTo>
                  <a:cubicBezTo>
                    <a:pt x="120" y="2201"/>
                    <a:pt x="1" y="4142"/>
                    <a:pt x="1049" y="5488"/>
                  </a:cubicBezTo>
                  <a:cubicBezTo>
                    <a:pt x="1073" y="5535"/>
                    <a:pt x="1132" y="5571"/>
                    <a:pt x="1192" y="5571"/>
                  </a:cubicBezTo>
                  <a:cubicBezTo>
                    <a:pt x="1239" y="5571"/>
                    <a:pt x="1263" y="5547"/>
                    <a:pt x="1311" y="5523"/>
                  </a:cubicBezTo>
                  <a:cubicBezTo>
                    <a:pt x="1382" y="5464"/>
                    <a:pt x="1406" y="5345"/>
                    <a:pt x="1346" y="5249"/>
                  </a:cubicBezTo>
                  <a:cubicBezTo>
                    <a:pt x="406" y="4047"/>
                    <a:pt x="525" y="2332"/>
                    <a:pt x="1596" y="1261"/>
                  </a:cubicBezTo>
                  <a:cubicBezTo>
                    <a:pt x="2181" y="676"/>
                    <a:pt x="2961" y="375"/>
                    <a:pt x="3742" y="375"/>
                  </a:cubicBezTo>
                  <a:cubicBezTo>
                    <a:pt x="4393" y="375"/>
                    <a:pt x="5044" y="584"/>
                    <a:pt x="5585" y="1011"/>
                  </a:cubicBezTo>
                  <a:cubicBezTo>
                    <a:pt x="5616" y="1037"/>
                    <a:pt x="5656" y="1049"/>
                    <a:pt x="5697" y="1049"/>
                  </a:cubicBezTo>
                  <a:cubicBezTo>
                    <a:pt x="5750" y="1049"/>
                    <a:pt x="5806" y="1028"/>
                    <a:pt x="5847" y="987"/>
                  </a:cubicBezTo>
                  <a:cubicBezTo>
                    <a:pt x="5930" y="904"/>
                    <a:pt x="5895" y="773"/>
                    <a:pt x="5823" y="713"/>
                  </a:cubicBezTo>
                  <a:cubicBezTo>
                    <a:pt x="5209" y="233"/>
                    <a:pt x="4479"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4" name="Google Shape;11084;p60"/>
            <p:cNvSpPr/>
            <p:nvPr/>
          </p:nvSpPr>
          <p:spPr>
            <a:xfrm>
              <a:off x="2305245" y="3491160"/>
              <a:ext cx="189151" cy="176706"/>
            </a:xfrm>
            <a:custGeom>
              <a:avLst/>
              <a:gdLst/>
              <a:ahLst/>
              <a:cxnLst/>
              <a:rect l="l" t="t" r="r" b="b"/>
              <a:pathLst>
                <a:path w="5943" h="5552" extrusionOk="0">
                  <a:moveTo>
                    <a:pt x="4739" y="1"/>
                  </a:moveTo>
                  <a:cubicBezTo>
                    <a:pt x="4695" y="1"/>
                    <a:pt x="4650" y="13"/>
                    <a:pt x="4609" y="39"/>
                  </a:cubicBezTo>
                  <a:cubicBezTo>
                    <a:pt x="4537" y="98"/>
                    <a:pt x="4525" y="217"/>
                    <a:pt x="4585" y="301"/>
                  </a:cubicBezTo>
                  <a:cubicBezTo>
                    <a:pt x="5513" y="1503"/>
                    <a:pt x="5406" y="3218"/>
                    <a:pt x="4335" y="4289"/>
                  </a:cubicBezTo>
                  <a:cubicBezTo>
                    <a:pt x="3750" y="4874"/>
                    <a:pt x="2970" y="5175"/>
                    <a:pt x="2189" y="5175"/>
                  </a:cubicBezTo>
                  <a:cubicBezTo>
                    <a:pt x="1538" y="5175"/>
                    <a:pt x="887" y="4966"/>
                    <a:pt x="346" y="4539"/>
                  </a:cubicBezTo>
                  <a:cubicBezTo>
                    <a:pt x="314" y="4516"/>
                    <a:pt x="276" y="4505"/>
                    <a:pt x="237" y="4505"/>
                  </a:cubicBezTo>
                  <a:cubicBezTo>
                    <a:pt x="177" y="4505"/>
                    <a:pt x="116" y="4531"/>
                    <a:pt x="72" y="4575"/>
                  </a:cubicBezTo>
                  <a:cubicBezTo>
                    <a:pt x="1" y="4646"/>
                    <a:pt x="25" y="4765"/>
                    <a:pt x="96" y="4837"/>
                  </a:cubicBezTo>
                  <a:cubicBezTo>
                    <a:pt x="715" y="5313"/>
                    <a:pt x="1453" y="5551"/>
                    <a:pt x="2180" y="5551"/>
                  </a:cubicBezTo>
                  <a:cubicBezTo>
                    <a:pt x="3061" y="5551"/>
                    <a:pt x="3930" y="5218"/>
                    <a:pt x="4597" y="4551"/>
                  </a:cubicBezTo>
                  <a:cubicBezTo>
                    <a:pt x="5823" y="3349"/>
                    <a:pt x="5942" y="1420"/>
                    <a:pt x="4882" y="62"/>
                  </a:cubicBezTo>
                  <a:cubicBezTo>
                    <a:pt x="4849" y="22"/>
                    <a:pt x="4796" y="1"/>
                    <a:pt x="4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85" name="Google Shape;11085;p60"/>
          <p:cNvGrpSpPr/>
          <p:nvPr/>
        </p:nvGrpSpPr>
        <p:grpSpPr>
          <a:xfrm>
            <a:off x="4891198" y="2925108"/>
            <a:ext cx="334634" cy="334634"/>
            <a:chOff x="4891198" y="2925108"/>
            <a:chExt cx="334634" cy="334634"/>
          </a:xfrm>
        </p:grpSpPr>
        <p:sp>
          <p:nvSpPr>
            <p:cNvPr id="11086" name="Google Shape;11086;p60"/>
            <p:cNvSpPr/>
            <p:nvPr/>
          </p:nvSpPr>
          <p:spPr>
            <a:xfrm>
              <a:off x="5001830" y="2925108"/>
              <a:ext cx="113338" cy="150831"/>
            </a:xfrm>
            <a:custGeom>
              <a:avLst/>
              <a:gdLst/>
              <a:ahLst/>
              <a:cxnLst/>
              <a:rect l="l" t="t" r="r" b="b"/>
              <a:pathLst>
                <a:path w="3561" h="4739" extrusionOk="0">
                  <a:moveTo>
                    <a:pt x="1822" y="333"/>
                  </a:moveTo>
                  <a:cubicBezTo>
                    <a:pt x="2251" y="333"/>
                    <a:pt x="2596" y="691"/>
                    <a:pt x="2596" y="1107"/>
                  </a:cubicBezTo>
                  <a:lnTo>
                    <a:pt x="2596" y="1214"/>
                  </a:lnTo>
                  <a:lnTo>
                    <a:pt x="2573" y="1214"/>
                  </a:lnTo>
                  <a:cubicBezTo>
                    <a:pt x="2358" y="1155"/>
                    <a:pt x="2275" y="857"/>
                    <a:pt x="2263" y="857"/>
                  </a:cubicBezTo>
                  <a:cubicBezTo>
                    <a:pt x="2251" y="798"/>
                    <a:pt x="2203" y="738"/>
                    <a:pt x="2132" y="738"/>
                  </a:cubicBezTo>
                  <a:cubicBezTo>
                    <a:pt x="2119" y="733"/>
                    <a:pt x="2105" y="731"/>
                    <a:pt x="2092" y="731"/>
                  </a:cubicBezTo>
                  <a:cubicBezTo>
                    <a:pt x="2043" y="731"/>
                    <a:pt x="1993" y="761"/>
                    <a:pt x="1965" y="798"/>
                  </a:cubicBezTo>
                  <a:cubicBezTo>
                    <a:pt x="1668" y="1214"/>
                    <a:pt x="1001" y="1214"/>
                    <a:pt x="1001" y="1214"/>
                  </a:cubicBezTo>
                  <a:lnTo>
                    <a:pt x="953" y="1214"/>
                  </a:lnTo>
                  <a:lnTo>
                    <a:pt x="965" y="1107"/>
                  </a:lnTo>
                  <a:cubicBezTo>
                    <a:pt x="965" y="679"/>
                    <a:pt x="1322" y="333"/>
                    <a:pt x="1739" y="333"/>
                  </a:cubicBezTo>
                  <a:close/>
                  <a:moveTo>
                    <a:pt x="2739" y="1655"/>
                  </a:moveTo>
                  <a:cubicBezTo>
                    <a:pt x="2775" y="1691"/>
                    <a:pt x="2775" y="1715"/>
                    <a:pt x="2775" y="1750"/>
                  </a:cubicBezTo>
                  <a:cubicBezTo>
                    <a:pt x="2775" y="1786"/>
                    <a:pt x="2751" y="1834"/>
                    <a:pt x="2703" y="1845"/>
                  </a:cubicBezTo>
                  <a:lnTo>
                    <a:pt x="2703" y="1655"/>
                  </a:lnTo>
                  <a:close/>
                  <a:moveTo>
                    <a:pt x="846" y="1667"/>
                  </a:moveTo>
                  <a:lnTo>
                    <a:pt x="846" y="1881"/>
                  </a:lnTo>
                  <a:cubicBezTo>
                    <a:pt x="822" y="1845"/>
                    <a:pt x="787" y="1822"/>
                    <a:pt x="787" y="1762"/>
                  </a:cubicBezTo>
                  <a:cubicBezTo>
                    <a:pt x="787" y="1715"/>
                    <a:pt x="810" y="1691"/>
                    <a:pt x="822" y="1667"/>
                  </a:cubicBezTo>
                  <a:close/>
                  <a:moveTo>
                    <a:pt x="2084" y="1179"/>
                  </a:moveTo>
                  <a:cubicBezTo>
                    <a:pt x="2144" y="1298"/>
                    <a:pt x="2251" y="1417"/>
                    <a:pt x="2394" y="1476"/>
                  </a:cubicBezTo>
                  <a:lnTo>
                    <a:pt x="2382" y="1953"/>
                  </a:lnTo>
                  <a:cubicBezTo>
                    <a:pt x="2382" y="2250"/>
                    <a:pt x="2144" y="2477"/>
                    <a:pt x="1858" y="2477"/>
                  </a:cubicBezTo>
                  <a:lnTo>
                    <a:pt x="1715" y="2477"/>
                  </a:lnTo>
                  <a:cubicBezTo>
                    <a:pt x="1418" y="2477"/>
                    <a:pt x="1191" y="2238"/>
                    <a:pt x="1191" y="1953"/>
                  </a:cubicBezTo>
                  <a:lnTo>
                    <a:pt x="1191" y="1524"/>
                  </a:lnTo>
                  <a:cubicBezTo>
                    <a:pt x="1406" y="1488"/>
                    <a:pt x="1787" y="1417"/>
                    <a:pt x="2084" y="1179"/>
                  </a:cubicBezTo>
                  <a:close/>
                  <a:moveTo>
                    <a:pt x="1965" y="2798"/>
                  </a:moveTo>
                  <a:lnTo>
                    <a:pt x="1965" y="2893"/>
                  </a:lnTo>
                  <a:lnTo>
                    <a:pt x="1787" y="3084"/>
                  </a:lnTo>
                  <a:lnTo>
                    <a:pt x="1608" y="2917"/>
                  </a:lnTo>
                  <a:lnTo>
                    <a:pt x="1608" y="2798"/>
                  </a:lnTo>
                  <a:close/>
                  <a:moveTo>
                    <a:pt x="1751" y="0"/>
                  </a:moveTo>
                  <a:cubicBezTo>
                    <a:pt x="1144" y="0"/>
                    <a:pt x="644" y="512"/>
                    <a:pt x="644" y="1119"/>
                  </a:cubicBezTo>
                  <a:lnTo>
                    <a:pt x="644" y="1417"/>
                  </a:lnTo>
                  <a:cubicBezTo>
                    <a:pt x="537" y="1512"/>
                    <a:pt x="465" y="1643"/>
                    <a:pt x="465" y="1774"/>
                  </a:cubicBezTo>
                  <a:cubicBezTo>
                    <a:pt x="465" y="2000"/>
                    <a:pt x="656" y="2203"/>
                    <a:pt x="894" y="2226"/>
                  </a:cubicBezTo>
                  <a:cubicBezTo>
                    <a:pt x="953" y="2429"/>
                    <a:pt x="1108" y="2596"/>
                    <a:pt x="1287" y="2703"/>
                  </a:cubicBezTo>
                  <a:lnTo>
                    <a:pt x="1287" y="2786"/>
                  </a:lnTo>
                  <a:lnTo>
                    <a:pt x="596" y="3060"/>
                  </a:lnTo>
                  <a:cubicBezTo>
                    <a:pt x="537" y="3084"/>
                    <a:pt x="1" y="3298"/>
                    <a:pt x="1" y="3965"/>
                  </a:cubicBezTo>
                  <a:lnTo>
                    <a:pt x="1" y="4560"/>
                  </a:lnTo>
                  <a:cubicBezTo>
                    <a:pt x="1" y="4643"/>
                    <a:pt x="72" y="4727"/>
                    <a:pt x="167" y="4727"/>
                  </a:cubicBezTo>
                  <a:lnTo>
                    <a:pt x="584" y="4727"/>
                  </a:lnTo>
                  <a:cubicBezTo>
                    <a:pt x="668" y="4727"/>
                    <a:pt x="739" y="4643"/>
                    <a:pt x="739" y="4560"/>
                  </a:cubicBezTo>
                  <a:cubicBezTo>
                    <a:pt x="739" y="4465"/>
                    <a:pt x="668" y="4393"/>
                    <a:pt x="584" y="4393"/>
                  </a:cubicBezTo>
                  <a:lnTo>
                    <a:pt x="322" y="4393"/>
                  </a:lnTo>
                  <a:lnTo>
                    <a:pt x="322" y="3965"/>
                  </a:lnTo>
                  <a:cubicBezTo>
                    <a:pt x="322" y="3500"/>
                    <a:pt x="691" y="3369"/>
                    <a:pt x="703" y="3369"/>
                  </a:cubicBezTo>
                  <a:lnTo>
                    <a:pt x="715" y="3369"/>
                  </a:lnTo>
                  <a:lnTo>
                    <a:pt x="1334" y="3131"/>
                  </a:lnTo>
                  <a:lnTo>
                    <a:pt x="1668" y="3453"/>
                  </a:lnTo>
                  <a:cubicBezTo>
                    <a:pt x="1703" y="3489"/>
                    <a:pt x="1739" y="3500"/>
                    <a:pt x="1787" y="3500"/>
                  </a:cubicBezTo>
                  <a:cubicBezTo>
                    <a:pt x="1834" y="3500"/>
                    <a:pt x="1870" y="3489"/>
                    <a:pt x="1906" y="3453"/>
                  </a:cubicBezTo>
                  <a:lnTo>
                    <a:pt x="2215" y="3131"/>
                  </a:lnTo>
                  <a:lnTo>
                    <a:pt x="2846" y="3381"/>
                  </a:lnTo>
                  <a:lnTo>
                    <a:pt x="2858" y="3381"/>
                  </a:lnTo>
                  <a:cubicBezTo>
                    <a:pt x="2858" y="3381"/>
                    <a:pt x="3227" y="3512"/>
                    <a:pt x="3227" y="3977"/>
                  </a:cubicBezTo>
                  <a:lnTo>
                    <a:pt x="3227" y="4405"/>
                  </a:lnTo>
                  <a:lnTo>
                    <a:pt x="1120" y="4405"/>
                  </a:lnTo>
                  <a:cubicBezTo>
                    <a:pt x="1025" y="4405"/>
                    <a:pt x="953" y="4489"/>
                    <a:pt x="953" y="4572"/>
                  </a:cubicBezTo>
                  <a:cubicBezTo>
                    <a:pt x="953" y="4667"/>
                    <a:pt x="1025" y="4739"/>
                    <a:pt x="1120" y="4739"/>
                  </a:cubicBezTo>
                  <a:lnTo>
                    <a:pt x="3394" y="4739"/>
                  </a:lnTo>
                  <a:cubicBezTo>
                    <a:pt x="3477" y="4739"/>
                    <a:pt x="3561" y="4667"/>
                    <a:pt x="3561" y="4572"/>
                  </a:cubicBezTo>
                  <a:lnTo>
                    <a:pt x="3561" y="3977"/>
                  </a:lnTo>
                  <a:cubicBezTo>
                    <a:pt x="3561" y="3310"/>
                    <a:pt x="3037" y="3084"/>
                    <a:pt x="2965" y="3072"/>
                  </a:cubicBezTo>
                  <a:lnTo>
                    <a:pt x="2311" y="2798"/>
                  </a:lnTo>
                  <a:lnTo>
                    <a:pt x="2311" y="2715"/>
                  </a:lnTo>
                  <a:cubicBezTo>
                    <a:pt x="2489" y="2607"/>
                    <a:pt x="2620" y="2441"/>
                    <a:pt x="2692" y="2238"/>
                  </a:cubicBezTo>
                  <a:cubicBezTo>
                    <a:pt x="2930" y="2226"/>
                    <a:pt x="3120" y="2012"/>
                    <a:pt x="3120" y="1774"/>
                  </a:cubicBezTo>
                  <a:cubicBezTo>
                    <a:pt x="3120" y="1631"/>
                    <a:pt x="3049" y="1488"/>
                    <a:pt x="2942" y="1417"/>
                  </a:cubicBezTo>
                  <a:lnTo>
                    <a:pt x="2942" y="1119"/>
                  </a:lnTo>
                  <a:cubicBezTo>
                    <a:pt x="2942" y="512"/>
                    <a:pt x="2442"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7" name="Google Shape;11087;p60"/>
            <p:cNvSpPr/>
            <p:nvPr/>
          </p:nvSpPr>
          <p:spPr>
            <a:xfrm>
              <a:off x="5102628" y="2933033"/>
              <a:ext cx="98188" cy="76991"/>
            </a:xfrm>
            <a:custGeom>
              <a:avLst/>
              <a:gdLst/>
              <a:ahLst/>
              <a:cxnLst/>
              <a:rect l="l" t="t" r="r" b="b"/>
              <a:pathLst>
                <a:path w="3085" h="2419" extrusionOk="0">
                  <a:moveTo>
                    <a:pt x="181" y="1"/>
                  </a:moveTo>
                  <a:cubicBezTo>
                    <a:pt x="116" y="1"/>
                    <a:pt x="55" y="44"/>
                    <a:pt x="37" y="108"/>
                  </a:cubicBezTo>
                  <a:cubicBezTo>
                    <a:pt x="1" y="192"/>
                    <a:pt x="48" y="287"/>
                    <a:pt x="132" y="323"/>
                  </a:cubicBezTo>
                  <a:cubicBezTo>
                    <a:pt x="1215" y="680"/>
                    <a:pt x="2132" y="1394"/>
                    <a:pt x="2751" y="2347"/>
                  </a:cubicBezTo>
                  <a:cubicBezTo>
                    <a:pt x="2787" y="2394"/>
                    <a:pt x="2846" y="2418"/>
                    <a:pt x="2894" y="2418"/>
                  </a:cubicBezTo>
                  <a:cubicBezTo>
                    <a:pt x="2918" y="2418"/>
                    <a:pt x="2954" y="2406"/>
                    <a:pt x="2977" y="2394"/>
                  </a:cubicBezTo>
                  <a:cubicBezTo>
                    <a:pt x="3049" y="2347"/>
                    <a:pt x="3085" y="2239"/>
                    <a:pt x="3025" y="2168"/>
                  </a:cubicBezTo>
                  <a:cubicBezTo>
                    <a:pt x="2370" y="1156"/>
                    <a:pt x="1382" y="382"/>
                    <a:pt x="239" y="13"/>
                  </a:cubicBezTo>
                  <a:cubicBezTo>
                    <a:pt x="220" y="5"/>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8" name="Google Shape;11088;p60"/>
            <p:cNvSpPr/>
            <p:nvPr/>
          </p:nvSpPr>
          <p:spPr>
            <a:xfrm>
              <a:off x="4915832" y="2932492"/>
              <a:ext cx="98920" cy="77532"/>
            </a:xfrm>
            <a:custGeom>
              <a:avLst/>
              <a:gdLst/>
              <a:ahLst/>
              <a:cxnLst/>
              <a:rect l="l" t="t" r="r" b="b"/>
              <a:pathLst>
                <a:path w="3108" h="2436" extrusionOk="0">
                  <a:moveTo>
                    <a:pt x="2914" y="0"/>
                  </a:moveTo>
                  <a:cubicBezTo>
                    <a:pt x="2899" y="0"/>
                    <a:pt x="2884" y="2"/>
                    <a:pt x="2869" y="6"/>
                  </a:cubicBezTo>
                  <a:cubicBezTo>
                    <a:pt x="1703" y="375"/>
                    <a:pt x="714" y="1161"/>
                    <a:pt x="36" y="2185"/>
                  </a:cubicBezTo>
                  <a:cubicBezTo>
                    <a:pt x="0" y="2256"/>
                    <a:pt x="24" y="2364"/>
                    <a:pt x="95" y="2411"/>
                  </a:cubicBezTo>
                  <a:cubicBezTo>
                    <a:pt x="131" y="2423"/>
                    <a:pt x="155" y="2435"/>
                    <a:pt x="191" y="2435"/>
                  </a:cubicBezTo>
                  <a:cubicBezTo>
                    <a:pt x="250" y="2435"/>
                    <a:pt x="298" y="2411"/>
                    <a:pt x="322" y="2364"/>
                  </a:cubicBezTo>
                  <a:cubicBezTo>
                    <a:pt x="953" y="1399"/>
                    <a:pt x="1881" y="685"/>
                    <a:pt x="2977" y="328"/>
                  </a:cubicBezTo>
                  <a:cubicBezTo>
                    <a:pt x="3060" y="292"/>
                    <a:pt x="3108" y="209"/>
                    <a:pt x="3072" y="113"/>
                  </a:cubicBezTo>
                  <a:cubicBezTo>
                    <a:pt x="3052" y="44"/>
                    <a:pt x="2984" y="0"/>
                    <a:pt x="29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9" name="Google Shape;11089;p60"/>
            <p:cNvSpPr/>
            <p:nvPr/>
          </p:nvSpPr>
          <p:spPr>
            <a:xfrm>
              <a:off x="4915832" y="3174254"/>
              <a:ext cx="80746" cy="70689"/>
            </a:xfrm>
            <a:custGeom>
              <a:avLst/>
              <a:gdLst/>
              <a:ahLst/>
              <a:cxnLst/>
              <a:rect l="l" t="t" r="r" b="b"/>
              <a:pathLst>
                <a:path w="2537" h="2221" extrusionOk="0">
                  <a:moveTo>
                    <a:pt x="185" y="0"/>
                  </a:moveTo>
                  <a:cubicBezTo>
                    <a:pt x="155" y="0"/>
                    <a:pt x="125" y="9"/>
                    <a:pt x="95" y="30"/>
                  </a:cubicBezTo>
                  <a:cubicBezTo>
                    <a:pt x="24" y="78"/>
                    <a:pt x="0" y="185"/>
                    <a:pt x="60" y="256"/>
                  </a:cubicBezTo>
                  <a:cubicBezTo>
                    <a:pt x="607" y="1102"/>
                    <a:pt x="1381" y="1780"/>
                    <a:pt x="2286" y="2209"/>
                  </a:cubicBezTo>
                  <a:cubicBezTo>
                    <a:pt x="2322" y="2221"/>
                    <a:pt x="2334" y="2221"/>
                    <a:pt x="2357" y="2221"/>
                  </a:cubicBezTo>
                  <a:cubicBezTo>
                    <a:pt x="2417" y="2221"/>
                    <a:pt x="2477" y="2197"/>
                    <a:pt x="2512" y="2138"/>
                  </a:cubicBezTo>
                  <a:cubicBezTo>
                    <a:pt x="2536" y="2030"/>
                    <a:pt x="2512" y="1923"/>
                    <a:pt x="2417" y="1899"/>
                  </a:cubicBezTo>
                  <a:cubicBezTo>
                    <a:pt x="1560" y="1495"/>
                    <a:pt x="845" y="864"/>
                    <a:pt x="322" y="78"/>
                  </a:cubicBezTo>
                  <a:cubicBezTo>
                    <a:pt x="291" y="31"/>
                    <a:pt x="240"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0" name="Google Shape;11090;p60"/>
            <p:cNvSpPr/>
            <p:nvPr/>
          </p:nvSpPr>
          <p:spPr>
            <a:xfrm>
              <a:off x="5121215" y="3173936"/>
              <a:ext cx="79601" cy="69511"/>
            </a:xfrm>
            <a:custGeom>
              <a:avLst/>
              <a:gdLst/>
              <a:ahLst/>
              <a:cxnLst/>
              <a:rect l="l" t="t" r="r" b="b"/>
              <a:pathLst>
                <a:path w="2501" h="2184" extrusionOk="0">
                  <a:moveTo>
                    <a:pt x="2301" y="0"/>
                  </a:moveTo>
                  <a:cubicBezTo>
                    <a:pt x="2250" y="0"/>
                    <a:pt x="2201" y="25"/>
                    <a:pt x="2179" y="76"/>
                  </a:cubicBezTo>
                  <a:cubicBezTo>
                    <a:pt x="1667" y="862"/>
                    <a:pt x="953" y="1481"/>
                    <a:pt x="119" y="1874"/>
                  </a:cubicBezTo>
                  <a:cubicBezTo>
                    <a:pt x="36" y="1921"/>
                    <a:pt x="0" y="2005"/>
                    <a:pt x="48" y="2100"/>
                  </a:cubicBezTo>
                  <a:cubicBezTo>
                    <a:pt x="72" y="2159"/>
                    <a:pt x="131" y="2183"/>
                    <a:pt x="191" y="2183"/>
                  </a:cubicBezTo>
                  <a:cubicBezTo>
                    <a:pt x="226" y="2183"/>
                    <a:pt x="238" y="2183"/>
                    <a:pt x="274" y="2171"/>
                  </a:cubicBezTo>
                  <a:cubicBezTo>
                    <a:pt x="1167" y="1755"/>
                    <a:pt x="1941" y="1088"/>
                    <a:pt x="2477" y="231"/>
                  </a:cubicBezTo>
                  <a:cubicBezTo>
                    <a:pt x="2501" y="183"/>
                    <a:pt x="2489" y="76"/>
                    <a:pt x="2393" y="28"/>
                  </a:cubicBezTo>
                  <a:cubicBezTo>
                    <a:pt x="2366" y="10"/>
                    <a:pt x="2333" y="0"/>
                    <a:pt x="23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1" name="Google Shape;11091;p60"/>
            <p:cNvSpPr/>
            <p:nvPr/>
          </p:nvSpPr>
          <p:spPr>
            <a:xfrm>
              <a:off x="4891198"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6" y="1203"/>
                  </a:lnTo>
                  <a:lnTo>
                    <a:pt x="976" y="1096"/>
                  </a:lnTo>
                  <a:cubicBezTo>
                    <a:pt x="976" y="667"/>
                    <a:pt x="1334" y="322"/>
                    <a:pt x="1750" y="322"/>
                  </a:cubicBezTo>
                  <a:close/>
                  <a:moveTo>
                    <a:pt x="2727" y="1667"/>
                  </a:moveTo>
                  <a:cubicBezTo>
                    <a:pt x="2762" y="1691"/>
                    <a:pt x="2762" y="1727"/>
                    <a:pt x="2762" y="1751"/>
                  </a:cubicBezTo>
                  <a:cubicBezTo>
                    <a:pt x="2762" y="1798"/>
                    <a:pt x="2750" y="1846"/>
                    <a:pt x="2703" y="1858"/>
                  </a:cubicBezTo>
                  <a:lnTo>
                    <a:pt x="2703" y="1667"/>
                  </a:lnTo>
                  <a:close/>
                  <a:moveTo>
                    <a:pt x="845" y="1667"/>
                  </a:moveTo>
                  <a:lnTo>
                    <a:pt x="845" y="1870"/>
                  </a:lnTo>
                  <a:cubicBezTo>
                    <a:pt x="810" y="1846"/>
                    <a:pt x="786" y="1810"/>
                    <a:pt x="786" y="1751"/>
                  </a:cubicBezTo>
                  <a:cubicBezTo>
                    <a:pt x="786" y="1727"/>
                    <a:pt x="798" y="1691"/>
                    <a:pt x="810"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607" y="2941"/>
                  </a:lnTo>
                  <a:lnTo>
                    <a:pt x="1607" y="2822"/>
                  </a:lnTo>
                  <a:close/>
                  <a:moveTo>
                    <a:pt x="1750"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5"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8" y="3513"/>
                    <a:pt x="1774" y="3513"/>
                  </a:cubicBezTo>
                  <a:cubicBezTo>
                    <a:pt x="1822" y="3513"/>
                    <a:pt x="1869" y="3489"/>
                    <a:pt x="1893" y="3465"/>
                  </a:cubicBezTo>
                  <a:lnTo>
                    <a:pt x="2215" y="3132"/>
                  </a:lnTo>
                  <a:lnTo>
                    <a:pt x="2834" y="3394"/>
                  </a:lnTo>
                  <a:lnTo>
                    <a:pt x="2846" y="3394"/>
                  </a:lnTo>
                  <a:cubicBezTo>
                    <a:pt x="2870" y="3394"/>
                    <a:pt x="3227" y="3525"/>
                    <a:pt x="3227" y="3989"/>
                  </a:cubicBezTo>
                  <a:lnTo>
                    <a:pt x="3227" y="4418"/>
                  </a:lnTo>
                  <a:lnTo>
                    <a:pt x="1107" y="4418"/>
                  </a:lnTo>
                  <a:cubicBezTo>
                    <a:pt x="1024" y="4418"/>
                    <a:pt x="941" y="4489"/>
                    <a:pt x="941" y="4584"/>
                  </a:cubicBezTo>
                  <a:cubicBezTo>
                    <a:pt x="941" y="4668"/>
                    <a:pt x="1024" y="4739"/>
                    <a:pt x="1107" y="4739"/>
                  </a:cubicBezTo>
                  <a:lnTo>
                    <a:pt x="3382" y="4739"/>
                  </a:lnTo>
                  <a:cubicBezTo>
                    <a:pt x="3477" y="4727"/>
                    <a:pt x="3548" y="4656"/>
                    <a:pt x="3548" y="4560"/>
                  </a:cubicBezTo>
                  <a:lnTo>
                    <a:pt x="3548" y="3965"/>
                  </a:lnTo>
                  <a:cubicBezTo>
                    <a:pt x="3548" y="3298"/>
                    <a:pt x="3036" y="3072"/>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2" name="Google Shape;11092;p60"/>
            <p:cNvSpPr/>
            <p:nvPr/>
          </p:nvSpPr>
          <p:spPr>
            <a:xfrm>
              <a:off x="5112876" y="3016803"/>
              <a:ext cx="112956" cy="150831"/>
            </a:xfrm>
            <a:custGeom>
              <a:avLst/>
              <a:gdLst/>
              <a:ahLst/>
              <a:cxnLst/>
              <a:rect l="l" t="t" r="r" b="b"/>
              <a:pathLst>
                <a:path w="3549" h="4739" extrusionOk="0">
                  <a:moveTo>
                    <a:pt x="1822" y="322"/>
                  </a:moveTo>
                  <a:cubicBezTo>
                    <a:pt x="2262" y="322"/>
                    <a:pt x="2596" y="679"/>
                    <a:pt x="2596" y="1096"/>
                  </a:cubicBezTo>
                  <a:lnTo>
                    <a:pt x="2596" y="1203"/>
                  </a:lnTo>
                  <a:lnTo>
                    <a:pt x="2584" y="1203"/>
                  </a:lnTo>
                  <a:cubicBezTo>
                    <a:pt x="2358" y="1143"/>
                    <a:pt x="2286" y="846"/>
                    <a:pt x="2274" y="846"/>
                  </a:cubicBezTo>
                  <a:cubicBezTo>
                    <a:pt x="2262" y="786"/>
                    <a:pt x="2215" y="727"/>
                    <a:pt x="2143" y="727"/>
                  </a:cubicBezTo>
                  <a:cubicBezTo>
                    <a:pt x="2133" y="725"/>
                    <a:pt x="2122" y="724"/>
                    <a:pt x="2111" y="724"/>
                  </a:cubicBezTo>
                  <a:cubicBezTo>
                    <a:pt x="2057" y="724"/>
                    <a:pt x="1996" y="747"/>
                    <a:pt x="1977" y="786"/>
                  </a:cubicBezTo>
                  <a:cubicBezTo>
                    <a:pt x="1691" y="1203"/>
                    <a:pt x="1024" y="1203"/>
                    <a:pt x="1024" y="1203"/>
                  </a:cubicBezTo>
                  <a:lnTo>
                    <a:pt x="977" y="1203"/>
                  </a:lnTo>
                  <a:lnTo>
                    <a:pt x="977" y="1096"/>
                  </a:lnTo>
                  <a:cubicBezTo>
                    <a:pt x="977" y="667"/>
                    <a:pt x="1334" y="322"/>
                    <a:pt x="1751" y="322"/>
                  </a:cubicBezTo>
                  <a:close/>
                  <a:moveTo>
                    <a:pt x="2727" y="1667"/>
                  </a:moveTo>
                  <a:cubicBezTo>
                    <a:pt x="2763" y="1691"/>
                    <a:pt x="2763" y="1727"/>
                    <a:pt x="2763" y="1751"/>
                  </a:cubicBezTo>
                  <a:cubicBezTo>
                    <a:pt x="2763" y="1798"/>
                    <a:pt x="2751" y="1846"/>
                    <a:pt x="2703" y="1858"/>
                  </a:cubicBezTo>
                  <a:lnTo>
                    <a:pt x="2703" y="1667"/>
                  </a:lnTo>
                  <a:close/>
                  <a:moveTo>
                    <a:pt x="858" y="1667"/>
                  </a:moveTo>
                  <a:lnTo>
                    <a:pt x="858" y="1870"/>
                  </a:lnTo>
                  <a:cubicBezTo>
                    <a:pt x="822" y="1846"/>
                    <a:pt x="798" y="1810"/>
                    <a:pt x="798" y="1751"/>
                  </a:cubicBezTo>
                  <a:cubicBezTo>
                    <a:pt x="798" y="1727"/>
                    <a:pt x="810" y="1691"/>
                    <a:pt x="822" y="1667"/>
                  </a:cubicBezTo>
                  <a:close/>
                  <a:moveTo>
                    <a:pt x="2084" y="1203"/>
                  </a:moveTo>
                  <a:cubicBezTo>
                    <a:pt x="2143" y="1322"/>
                    <a:pt x="2239" y="1441"/>
                    <a:pt x="2393" y="1501"/>
                  </a:cubicBezTo>
                  <a:lnTo>
                    <a:pt x="2393" y="1977"/>
                  </a:lnTo>
                  <a:cubicBezTo>
                    <a:pt x="2393" y="2263"/>
                    <a:pt x="2155" y="2489"/>
                    <a:pt x="1858" y="2489"/>
                  </a:cubicBezTo>
                  <a:lnTo>
                    <a:pt x="1703" y="2489"/>
                  </a:lnTo>
                  <a:cubicBezTo>
                    <a:pt x="1405" y="2489"/>
                    <a:pt x="1191" y="2251"/>
                    <a:pt x="1191" y="1977"/>
                  </a:cubicBezTo>
                  <a:lnTo>
                    <a:pt x="1191" y="1548"/>
                  </a:lnTo>
                  <a:cubicBezTo>
                    <a:pt x="1393" y="1512"/>
                    <a:pt x="1786" y="1441"/>
                    <a:pt x="2084" y="1203"/>
                  </a:cubicBezTo>
                  <a:close/>
                  <a:moveTo>
                    <a:pt x="1965" y="2822"/>
                  </a:moveTo>
                  <a:lnTo>
                    <a:pt x="1965" y="2917"/>
                  </a:lnTo>
                  <a:lnTo>
                    <a:pt x="1786" y="3108"/>
                  </a:lnTo>
                  <a:lnTo>
                    <a:pt x="1596" y="2941"/>
                  </a:lnTo>
                  <a:lnTo>
                    <a:pt x="1596" y="2822"/>
                  </a:lnTo>
                  <a:close/>
                  <a:moveTo>
                    <a:pt x="1751" y="0"/>
                  </a:moveTo>
                  <a:cubicBezTo>
                    <a:pt x="1143" y="0"/>
                    <a:pt x="631" y="500"/>
                    <a:pt x="631" y="1108"/>
                  </a:cubicBezTo>
                  <a:lnTo>
                    <a:pt x="631" y="1405"/>
                  </a:lnTo>
                  <a:cubicBezTo>
                    <a:pt x="524" y="1501"/>
                    <a:pt x="453" y="1631"/>
                    <a:pt x="453" y="1762"/>
                  </a:cubicBezTo>
                  <a:cubicBezTo>
                    <a:pt x="453" y="2024"/>
                    <a:pt x="643" y="2215"/>
                    <a:pt x="893" y="2227"/>
                  </a:cubicBezTo>
                  <a:cubicBezTo>
                    <a:pt x="953" y="2441"/>
                    <a:pt x="1096" y="2596"/>
                    <a:pt x="1274" y="2703"/>
                  </a:cubicBezTo>
                  <a:lnTo>
                    <a:pt x="1274" y="2798"/>
                  </a:lnTo>
                  <a:lnTo>
                    <a:pt x="596" y="3060"/>
                  </a:lnTo>
                  <a:cubicBezTo>
                    <a:pt x="524" y="3096"/>
                    <a:pt x="0" y="3298"/>
                    <a:pt x="0" y="3965"/>
                  </a:cubicBezTo>
                  <a:lnTo>
                    <a:pt x="0" y="4560"/>
                  </a:lnTo>
                  <a:cubicBezTo>
                    <a:pt x="0" y="4656"/>
                    <a:pt x="72" y="4727"/>
                    <a:pt x="155" y="4727"/>
                  </a:cubicBezTo>
                  <a:lnTo>
                    <a:pt x="572" y="4727"/>
                  </a:lnTo>
                  <a:cubicBezTo>
                    <a:pt x="667" y="4727"/>
                    <a:pt x="738" y="4656"/>
                    <a:pt x="738" y="4560"/>
                  </a:cubicBezTo>
                  <a:cubicBezTo>
                    <a:pt x="738" y="4477"/>
                    <a:pt x="667" y="4406"/>
                    <a:pt x="572" y="4406"/>
                  </a:cubicBezTo>
                  <a:lnTo>
                    <a:pt x="322" y="4406"/>
                  </a:lnTo>
                  <a:lnTo>
                    <a:pt x="322" y="3965"/>
                  </a:lnTo>
                  <a:cubicBezTo>
                    <a:pt x="322" y="3513"/>
                    <a:pt x="679" y="3370"/>
                    <a:pt x="691" y="3370"/>
                  </a:cubicBezTo>
                  <a:lnTo>
                    <a:pt x="703" y="3370"/>
                  </a:lnTo>
                  <a:lnTo>
                    <a:pt x="1334" y="3132"/>
                  </a:lnTo>
                  <a:lnTo>
                    <a:pt x="1655" y="3465"/>
                  </a:lnTo>
                  <a:cubicBezTo>
                    <a:pt x="1691" y="3489"/>
                    <a:pt x="1739" y="3513"/>
                    <a:pt x="1774" y="3513"/>
                  </a:cubicBezTo>
                  <a:cubicBezTo>
                    <a:pt x="1822" y="3513"/>
                    <a:pt x="1870" y="3489"/>
                    <a:pt x="1893" y="3465"/>
                  </a:cubicBezTo>
                  <a:lnTo>
                    <a:pt x="2215" y="3132"/>
                  </a:lnTo>
                  <a:lnTo>
                    <a:pt x="2834" y="3394"/>
                  </a:lnTo>
                  <a:lnTo>
                    <a:pt x="2846" y="3394"/>
                  </a:lnTo>
                  <a:cubicBezTo>
                    <a:pt x="2870" y="3394"/>
                    <a:pt x="3227" y="3525"/>
                    <a:pt x="3227" y="3989"/>
                  </a:cubicBezTo>
                  <a:lnTo>
                    <a:pt x="3227" y="4418"/>
                  </a:lnTo>
                  <a:lnTo>
                    <a:pt x="1108" y="4418"/>
                  </a:lnTo>
                  <a:cubicBezTo>
                    <a:pt x="1024" y="4418"/>
                    <a:pt x="941" y="4489"/>
                    <a:pt x="941" y="4584"/>
                  </a:cubicBezTo>
                  <a:cubicBezTo>
                    <a:pt x="941" y="4668"/>
                    <a:pt x="1024" y="4739"/>
                    <a:pt x="1108" y="4739"/>
                  </a:cubicBezTo>
                  <a:lnTo>
                    <a:pt x="3382" y="4739"/>
                  </a:lnTo>
                  <a:cubicBezTo>
                    <a:pt x="3477" y="4739"/>
                    <a:pt x="3548" y="4668"/>
                    <a:pt x="3548" y="4584"/>
                  </a:cubicBezTo>
                  <a:lnTo>
                    <a:pt x="3548" y="3989"/>
                  </a:lnTo>
                  <a:cubicBezTo>
                    <a:pt x="3548" y="3298"/>
                    <a:pt x="3013" y="3084"/>
                    <a:pt x="2953" y="3060"/>
                  </a:cubicBezTo>
                  <a:lnTo>
                    <a:pt x="2298" y="2798"/>
                  </a:lnTo>
                  <a:lnTo>
                    <a:pt x="2298" y="2703"/>
                  </a:lnTo>
                  <a:cubicBezTo>
                    <a:pt x="2477" y="2596"/>
                    <a:pt x="2608" y="2441"/>
                    <a:pt x="2691" y="2227"/>
                  </a:cubicBezTo>
                  <a:cubicBezTo>
                    <a:pt x="2929" y="2215"/>
                    <a:pt x="3120" y="2001"/>
                    <a:pt x="3120" y="1762"/>
                  </a:cubicBezTo>
                  <a:cubicBezTo>
                    <a:pt x="3120" y="1620"/>
                    <a:pt x="3048" y="1489"/>
                    <a:pt x="2941" y="1405"/>
                  </a:cubicBezTo>
                  <a:lnTo>
                    <a:pt x="2941" y="1108"/>
                  </a:lnTo>
                  <a:cubicBezTo>
                    <a:pt x="2941" y="500"/>
                    <a:pt x="242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3" name="Google Shape;11093;p60"/>
            <p:cNvSpPr/>
            <p:nvPr/>
          </p:nvSpPr>
          <p:spPr>
            <a:xfrm>
              <a:off x="5001448" y="3108498"/>
              <a:ext cx="113338" cy="151244"/>
            </a:xfrm>
            <a:custGeom>
              <a:avLst/>
              <a:gdLst/>
              <a:ahLst/>
              <a:cxnLst/>
              <a:rect l="l" t="t" r="r" b="b"/>
              <a:pathLst>
                <a:path w="3561" h="4752" extrusionOk="0">
                  <a:moveTo>
                    <a:pt x="1811" y="322"/>
                  </a:moveTo>
                  <a:cubicBezTo>
                    <a:pt x="2251" y="322"/>
                    <a:pt x="2585" y="679"/>
                    <a:pt x="2585" y="1096"/>
                  </a:cubicBezTo>
                  <a:lnTo>
                    <a:pt x="2585" y="1203"/>
                  </a:lnTo>
                  <a:lnTo>
                    <a:pt x="2573" y="1203"/>
                  </a:lnTo>
                  <a:cubicBezTo>
                    <a:pt x="2346" y="1144"/>
                    <a:pt x="2275" y="846"/>
                    <a:pt x="2263" y="846"/>
                  </a:cubicBezTo>
                  <a:cubicBezTo>
                    <a:pt x="2251" y="786"/>
                    <a:pt x="2204" y="727"/>
                    <a:pt x="2132" y="727"/>
                  </a:cubicBezTo>
                  <a:cubicBezTo>
                    <a:pt x="2124" y="725"/>
                    <a:pt x="2116" y="725"/>
                    <a:pt x="2107" y="725"/>
                  </a:cubicBezTo>
                  <a:cubicBezTo>
                    <a:pt x="2051" y="725"/>
                    <a:pt x="1986" y="756"/>
                    <a:pt x="1965" y="786"/>
                  </a:cubicBezTo>
                  <a:cubicBezTo>
                    <a:pt x="1692" y="1203"/>
                    <a:pt x="1037" y="1203"/>
                    <a:pt x="1025" y="1203"/>
                  </a:cubicBezTo>
                  <a:lnTo>
                    <a:pt x="965" y="1203"/>
                  </a:lnTo>
                  <a:lnTo>
                    <a:pt x="965" y="1096"/>
                  </a:lnTo>
                  <a:cubicBezTo>
                    <a:pt x="965" y="667"/>
                    <a:pt x="1322" y="322"/>
                    <a:pt x="1739" y="322"/>
                  </a:cubicBezTo>
                  <a:close/>
                  <a:moveTo>
                    <a:pt x="2751" y="1668"/>
                  </a:moveTo>
                  <a:cubicBezTo>
                    <a:pt x="2787" y="1703"/>
                    <a:pt x="2787" y="1727"/>
                    <a:pt x="2787" y="1763"/>
                  </a:cubicBezTo>
                  <a:cubicBezTo>
                    <a:pt x="2787" y="1798"/>
                    <a:pt x="2763" y="1846"/>
                    <a:pt x="2715" y="1858"/>
                  </a:cubicBezTo>
                  <a:lnTo>
                    <a:pt x="2715" y="1668"/>
                  </a:lnTo>
                  <a:close/>
                  <a:moveTo>
                    <a:pt x="858" y="1679"/>
                  </a:moveTo>
                  <a:lnTo>
                    <a:pt x="858" y="1894"/>
                  </a:lnTo>
                  <a:cubicBezTo>
                    <a:pt x="834" y="1858"/>
                    <a:pt x="799" y="1834"/>
                    <a:pt x="799" y="1775"/>
                  </a:cubicBezTo>
                  <a:cubicBezTo>
                    <a:pt x="799" y="1739"/>
                    <a:pt x="810" y="1715"/>
                    <a:pt x="834" y="1679"/>
                  </a:cubicBezTo>
                  <a:close/>
                  <a:moveTo>
                    <a:pt x="2096" y="1203"/>
                  </a:moveTo>
                  <a:cubicBezTo>
                    <a:pt x="2156" y="1322"/>
                    <a:pt x="2263" y="1441"/>
                    <a:pt x="2406" y="1501"/>
                  </a:cubicBezTo>
                  <a:lnTo>
                    <a:pt x="2406" y="1977"/>
                  </a:lnTo>
                  <a:cubicBezTo>
                    <a:pt x="2394" y="2263"/>
                    <a:pt x="2156" y="2501"/>
                    <a:pt x="1870" y="2501"/>
                  </a:cubicBezTo>
                  <a:lnTo>
                    <a:pt x="1727" y="2501"/>
                  </a:lnTo>
                  <a:cubicBezTo>
                    <a:pt x="1430" y="2501"/>
                    <a:pt x="1203" y="2263"/>
                    <a:pt x="1203" y="1977"/>
                  </a:cubicBezTo>
                  <a:lnTo>
                    <a:pt x="1203" y="1548"/>
                  </a:lnTo>
                  <a:cubicBezTo>
                    <a:pt x="1418" y="1525"/>
                    <a:pt x="1799" y="1441"/>
                    <a:pt x="2096" y="1203"/>
                  </a:cubicBezTo>
                  <a:close/>
                  <a:moveTo>
                    <a:pt x="1977" y="2834"/>
                  </a:moveTo>
                  <a:lnTo>
                    <a:pt x="1977" y="2918"/>
                  </a:lnTo>
                  <a:lnTo>
                    <a:pt x="1799" y="3108"/>
                  </a:lnTo>
                  <a:lnTo>
                    <a:pt x="1620" y="2941"/>
                  </a:lnTo>
                  <a:lnTo>
                    <a:pt x="1620" y="2834"/>
                  </a:lnTo>
                  <a:close/>
                  <a:moveTo>
                    <a:pt x="1751" y="1"/>
                  </a:moveTo>
                  <a:cubicBezTo>
                    <a:pt x="1144" y="1"/>
                    <a:pt x="632" y="501"/>
                    <a:pt x="632" y="1120"/>
                  </a:cubicBezTo>
                  <a:lnTo>
                    <a:pt x="632" y="1417"/>
                  </a:lnTo>
                  <a:cubicBezTo>
                    <a:pt x="537" y="1501"/>
                    <a:pt x="453" y="1644"/>
                    <a:pt x="453" y="1775"/>
                  </a:cubicBezTo>
                  <a:cubicBezTo>
                    <a:pt x="453" y="2025"/>
                    <a:pt x="656" y="2215"/>
                    <a:pt x="894" y="2239"/>
                  </a:cubicBezTo>
                  <a:cubicBezTo>
                    <a:pt x="953" y="2441"/>
                    <a:pt x="1096" y="2608"/>
                    <a:pt x="1275" y="2715"/>
                  </a:cubicBezTo>
                  <a:lnTo>
                    <a:pt x="1275" y="2799"/>
                  </a:lnTo>
                  <a:lnTo>
                    <a:pt x="596" y="3072"/>
                  </a:lnTo>
                  <a:cubicBezTo>
                    <a:pt x="537" y="3096"/>
                    <a:pt x="1" y="3311"/>
                    <a:pt x="1" y="3977"/>
                  </a:cubicBezTo>
                  <a:lnTo>
                    <a:pt x="1" y="4573"/>
                  </a:lnTo>
                  <a:cubicBezTo>
                    <a:pt x="1" y="4656"/>
                    <a:pt x="72" y="4739"/>
                    <a:pt x="156" y="4739"/>
                  </a:cubicBezTo>
                  <a:lnTo>
                    <a:pt x="572" y="4739"/>
                  </a:lnTo>
                  <a:cubicBezTo>
                    <a:pt x="668" y="4739"/>
                    <a:pt x="739" y="4656"/>
                    <a:pt x="739" y="4573"/>
                  </a:cubicBezTo>
                  <a:cubicBezTo>
                    <a:pt x="739" y="4477"/>
                    <a:pt x="668" y="4406"/>
                    <a:pt x="572" y="4406"/>
                  </a:cubicBezTo>
                  <a:lnTo>
                    <a:pt x="322" y="4406"/>
                  </a:lnTo>
                  <a:lnTo>
                    <a:pt x="322" y="3977"/>
                  </a:lnTo>
                  <a:cubicBezTo>
                    <a:pt x="322" y="3513"/>
                    <a:pt x="680" y="3382"/>
                    <a:pt x="691" y="3382"/>
                  </a:cubicBezTo>
                  <a:lnTo>
                    <a:pt x="715" y="3382"/>
                  </a:lnTo>
                  <a:lnTo>
                    <a:pt x="1334" y="3144"/>
                  </a:lnTo>
                  <a:lnTo>
                    <a:pt x="1668" y="3465"/>
                  </a:lnTo>
                  <a:cubicBezTo>
                    <a:pt x="1692" y="3501"/>
                    <a:pt x="1739" y="3513"/>
                    <a:pt x="1787" y="3513"/>
                  </a:cubicBezTo>
                  <a:cubicBezTo>
                    <a:pt x="1823" y="3513"/>
                    <a:pt x="1870" y="3501"/>
                    <a:pt x="1906" y="3465"/>
                  </a:cubicBezTo>
                  <a:lnTo>
                    <a:pt x="2215" y="3144"/>
                  </a:lnTo>
                  <a:lnTo>
                    <a:pt x="2835" y="3394"/>
                  </a:lnTo>
                  <a:lnTo>
                    <a:pt x="2858" y="3394"/>
                  </a:lnTo>
                  <a:cubicBezTo>
                    <a:pt x="2870" y="3394"/>
                    <a:pt x="3227" y="3525"/>
                    <a:pt x="3227" y="3989"/>
                  </a:cubicBezTo>
                  <a:lnTo>
                    <a:pt x="3227" y="4418"/>
                  </a:lnTo>
                  <a:lnTo>
                    <a:pt x="1108" y="4418"/>
                  </a:lnTo>
                  <a:cubicBezTo>
                    <a:pt x="1025" y="4418"/>
                    <a:pt x="953" y="4501"/>
                    <a:pt x="953" y="4585"/>
                  </a:cubicBezTo>
                  <a:cubicBezTo>
                    <a:pt x="953" y="4680"/>
                    <a:pt x="1025" y="4751"/>
                    <a:pt x="1108" y="4751"/>
                  </a:cubicBezTo>
                  <a:lnTo>
                    <a:pt x="3394" y="4751"/>
                  </a:lnTo>
                  <a:cubicBezTo>
                    <a:pt x="3477" y="4751"/>
                    <a:pt x="3549" y="4680"/>
                    <a:pt x="3549" y="4585"/>
                  </a:cubicBezTo>
                  <a:lnTo>
                    <a:pt x="3549" y="3989"/>
                  </a:lnTo>
                  <a:cubicBezTo>
                    <a:pt x="3561" y="3311"/>
                    <a:pt x="3037" y="3096"/>
                    <a:pt x="2966" y="3072"/>
                  </a:cubicBezTo>
                  <a:lnTo>
                    <a:pt x="2311" y="2799"/>
                  </a:lnTo>
                  <a:lnTo>
                    <a:pt x="2311" y="2715"/>
                  </a:lnTo>
                  <a:cubicBezTo>
                    <a:pt x="2489" y="2608"/>
                    <a:pt x="2620" y="2441"/>
                    <a:pt x="2692" y="2239"/>
                  </a:cubicBezTo>
                  <a:cubicBezTo>
                    <a:pt x="2930" y="2215"/>
                    <a:pt x="3120" y="2013"/>
                    <a:pt x="3120" y="1775"/>
                  </a:cubicBezTo>
                  <a:cubicBezTo>
                    <a:pt x="3120" y="1620"/>
                    <a:pt x="3049" y="1489"/>
                    <a:pt x="2942" y="1417"/>
                  </a:cubicBezTo>
                  <a:lnTo>
                    <a:pt x="2942" y="1120"/>
                  </a:lnTo>
                  <a:cubicBezTo>
                    <a:pt x="2942" y="501"/>
                    <a:pt x="2442"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94" name="Google Shape;11094;p60"/>
          <p:cNvGrpSpPr/>
          <p:nvPr/>
        </p:nvGrpSpPr>
        <p:grpSpPr>
          <a:xfrm>
            <a:off x="7976174" y="2925108"/>
            <a:ext cx="334666" cy="334634"/>
            <a:chOff x="7976174" y="2925108"/>
            <a:chExt cx="334666" cy="334634"/>
          </a:xfrm>
        </p:grpSpPr>
        <p:sp>
          <p:nvSpPr>
            <p:cNvPr id="11095" name="Google Shape;11095;p60"/>
            <p:cNvSpPr/>
            <p:nvPr/>
          </p:nvSpPr>
          <p:spPr>
            <a:xfrm>
              <a:off x="8003100" y="3064545"/>
              <a:ext cx="10630" cy="14068"/>
            </a:xfrm>
            <a:custGeom>
              <a:avLst/>
              <a:gdLst/>
              <a:ahLst/>
              <a:cxnLst/>
              <a:rect l="l" t="t" r="r" b="b"/>
              <a:pathLst>
                <a:path w="334" h="442" extrusionOk="0">
                  <a:moveTo>
                    <a:pt x="167" y="1"/>
                  </a:moveTo>
                  <a:cubicBezTo>
                    <a:pt x="72" y="1"/>
                    <a:pt x="0" y="72"/>
                    <a:pt x="0" y="167"/>
                  </a:cubicBezTo>
                  <a:lnTo>
                    <a:pt x="0" y="286"/>
                  </a:lnTo>
                  <a:cubicBezTo>
                    <a:pt x="0" y="370"/>
                    <a:pt x="72" y="441"/>
                    <a:pt x="167" y="441"/>
                  </a:cubicBezTo>
                  <a:cubicBezTo>
                    <a:pt x="250" y="441"/>
                    <a:pt x="322" y="370"/>
                    <a:pt x="322" y="286"/>
                  </a:cubicBezTo>
                  <a:lnTo>
                    <a:pt x="322"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6" name="Google Shape;11096;p60"/>
            <p:cNvSpPr/>
            <p:nvPr/>
          </p:nvSpPr>
          <p:spPr>
            <a:xfrm>
              <a:off x="8003100" y="3046371"/>
              <a:ext cx="10630" cy="14418"/>
            </a:xfrm>
            <a:custGeom>
              <a:avLst/>
              <a:gdLst/>
              <a:ahLst/>
              <a:cxnLst/>
              <a:rect l="l" t="t" r="r" b="b"/>
              <a:pathLst>
                <a:path w="334" h="453" extrusionOk="0">
                  <a:moveTo>
                    <a:pt x="167" y="0"/>
                  </a:moveTo>
                  <a:cubicBezTo>
                    <a:pt x="72" y="0"/>
                    <a:pt x="0" y="71"/>
                    <a:pt x="0" y="167"/>
                  </a:cubicBezTo>
                  <a:lnTo>
                    <a:pt x="0" y="286"/>
                  </a:lnTo>
                  <a:cubicBezTo>
                    <a:pt x="0" y="369"/>
                    <a:pt x="72" y="452"/>
                    <a:pt x="167" y="452"/>
                  </a:cubicBezTo>
                  <a:cubicBezTo>
                    <a:pt x="250" y="452"/>
                    <a:pt x="322" y="369"/>
                    <a:pt x="322" y="286"/>
                  </a:cubicBezTo>
                  <a:lnTo>
                    <a:pt x="322"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7" name="Google Shape;11097;p60"/>
            <p:cNvSpPr/>
            <p:nvPr/>
          </p:nvSpPr>
          <p:spPr>
            <a:xfrm>
              <a:off x="8272519" y="3105093"/>
              <a:ext cx="10630" cy="14418"/>
            </a:xfrm>
            <a:custGeom>
              <a:avLst/>
              <a:gdLst/>
              <a:ahLst/>
              <a:cxnLst/>
              <a:rect l="l" t="t" r="r" b="b"/>
              <a:pathLst>
                <a:path w="334" h="453" extrusionOk="0">
                  <a:moveTo>
                    <a:pt x="167" y="0"/>
                  </a:moveTo>
                  <a:cubicBezTo>
                    <a:pt x="84" y="0"/>
                    <a:pt x="1" y="72"/>
                    <a:pt x="1" y="167"/>
                  </a:cubicBezTo>
                  <a:lnTo>
                    <a:pt x="1" y="286"/>
                  </a:lnTo>
                  <a:cubicBezTo>
                    <a:pt x="1" y="370"/>
                    <a:pt x="84" y="453"/>
                    <a:pt x="167" y="453"/>
                  </a:cubicBezTo>
                  <a:cubicBezTo>
                    <a:pt x="263" y="453"/>
                    <a:pt x="334" y="370"/>
                    <a:pt x="334" y="28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8" name="Google Shape;11098;p60"/>
            <p:cNvSpPr/>
            <p:nvPr/>
          </p:nvSpPr>
          <p:spPr>
            <a:xfrm>
              <a:off x="8272519" y="3123266"/>
              <a:ext cx="10630" cy="14068"/>
            </a:xfrm>
            <a:custGeom>
              <a:avLst/>
              <a:gdLst/>
              <a:ahLst/>
              <a:cxnLst/>
              <a:rect l="l" t="t" r="r" b="b"/>
              <a:pathLst>
                <a:path w="334" h="442" extrusionOk="0">
                  <a:moveTo>
                    <a:pt x="167" y="1"/>
                  </a:moveTo>
                  <a:cubicBezTo>
                    <a:pt x="84" y="1"/>
                    <a:pt x="1" y="72"/>
                    <a:pt x="1" y="168"/>
                  </a:cubicBezTo>
                  <a:lnTo>
                    <a:pt x="1" y="287"/>
                  </a:lnTo>
                  <a:cubicBezTo>
                    <a:pt x="1" y="370"/>
                    <a:pt x="84" y="442"/>
                    <a:pt x="167" y="442"/>
                  </a:cubicBezTo>
                  <a:cubicBezTo>
                    <a:pt x="263" y="442"/>
                    <a:pt x="334" y="370"/>
                    <a:pt x="334" y="287"/>
                  </a:cubicBezTo>
                  <a:lnTo>
                    <a:pt x="334" y="168"/>
                  </a:lnTo>
                  <a:cubicBezTo>
                    <a:pt x="334" y="72"/>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99" name="Google Shape;11099;p60"/>
            <p:cNvSpPr/>
            <p:nvPr/>
          </p:nvSpPr>
          <p:spPr>
            <a:xfrm>
              <a:off x="7976174" y="2925108"/>
              <a:ext cx="334666" cy="334634"/>
            </a:xfrm>
            <a:custGeom>
              <a:avLst/>
              <a:gdLst/>
              <a:ahLst/>
              <a:cxnLst/>
              <a:rect l="l" t="t" r="r" b="b"/>
              <a:pathLst>
                <a:path w="10515" h="10514" extrusionOk="0">
                  <a:moveTo>
                    <a:pt x="5109" y="655"/>
                  </a:moveTo>
                  <a:lnTo>
                    <a:pt x="5109" y="2762"/>
                  </a:lnTo>
                  <a:lnTo>
                    <a:pt x="4704" y="2762"/>
                  </a:lnTo>
                  <a:lnTo>
                    <a:pt x="4704" y="655"/>
                  </a:lnTo>
                  <a:close/>
                  <a:moveTo>
                    <a:pt x="7549" y="655"/>
                  </a:moveTo>
                  <a:lnTo>
                    <a:pt x="7549" y="738"/>
                  </a:lnTo>
                  <a:lnTo>
                    <a:pt x="7549" y="750"/>
                  </a:lnTo>
                  <a:lnTo>
                    <a:pt x="7549" y="1584"/>
                  </a:lnTo>
                  <a:lnTo>
                    <a:pt x="7549" y="1774"/>
                  </a:lnTo>
                  <a:cubicBezTo>
                    <a:pt x="7442" y="1667"/>
                    <a:pt x="7311" y="1572"/>
                    <a:pt x="7157" y="1536"/>
                  </a:cubicBezTo>
                  <a:cubicBezTo>
                    <a:pt x="7122" y="1527"/>
                    <a:pt x="7085" y="1523"/>
                    <a:pt x="7048" y="1523"/>
                  </a:cubicBezTo>
                  <a:cubicBezTo>
                    <a:pt x="6935" y="1523"/>
                    <a:pt x="6818" y="1565"/>
                    <a:pt x="6728" y="1655"/>
                  </a:cubicBezTo>
                  <a:cubicBezTo>
                    <a:pt x="6716" y="1667"/>
                    <a:pt x="6371" y="1965"/>
                    <a:pt x="6811" y="2584"/>
                  </a:cubicBezTo>
                  <a:cubicBezTo>
                    <a:pt x="6859" y="2643"/>
                    <a:pt x="6907" y="2691"/>
                    <a:pt x="6918" y="2762"/>
                  </a:cubicBezTo>
                  <a:lnTo>
                    <a:pt x="5430" y="2762"/>
                  </a:lnTo>
                  <a:lnTo>
                    <a:pt x="5430" y="655"/>
                  </a:lnTo>
                  <a:close/>
                  <a:moveTo>
                    <a:pt x="2359" y="523"/>
                  </a:moveTo>
                  <a:cubicBezTo>
                    <a:pt x="2823" y="523"/>
                    <a:pt x="3485" y="630"/>
                    <a:pt x="3620" y="833"/>
                  </a:cubicBezTo>
                  <a:cubicBezTo>
                    <a:pt x="3644" y="881"/>
                    <a:pt x="3704" y="917"/>
                    <a:pt x="3763" y="917"/>
                  </a:cubicBezTo>
                  <a:lnTo>
                    <a:pt x="4359" y="917"/>
                  </a:lnTo>
                  <a:lnTo>
                    <a:pt x="4359" y="2500"/>
                  </a:lnTo>
                  <a:lnTo>
                    <a:pt x="3954" y="2500"/>
                  </a:lnTo>
                  <a:cubicBezTo>
                    <a:pt x="3894" y="2500"/>
                    <a:pt x="3847" y="2536"/>
                    <a:pt x="3823" y="2560"/>
                  </a:cubicBezTo>
                  <a:cubicBezTo>
                    <a:pt x="3466" y="3024"/>
                    <a:pt x="3275" y="3072"/>
                    <a:pt x="3037" y="3119"/>
                  </a:cubicBezTo>
                  <a:cubicBezTo>
                    <a:pt x="2858" y="3143"/>
                    <a:pt x="2644" y="3191"/>
                    <a:pt x="2358" y="3381"/>
                  </a:cubicBezTo>
                  <a:cubicBezTo>
                    <a:pt x="2174" y="3515"/>
                    <a:pt x="2037" y="3549"/>
                    <a:pt x="1955" y="3549"/>
                  </a:cubicBezTo>
                  <a:cubicBezTo>
                    <a:pt x="1921" y="3549"/>
                    <a:pt x="1896" y="3543"/>
                    <a:pt x="1882" y="3536"/>
                  </a:cubicBezTo>
                  <a:cubicBezTo>
                    <a:pt x="1846" y="3477"/>
                    <a:pt x="1846" y="3417"/>
                    <a:pt x="1846" y="3381"/>
                  </a:cubicBezTo>
                  <a:cubicBezTo>
                    <a:pt x="1882" y="3203"/>
                    <a:pt x="2168" y="3000"/>
                    <a:pt x="2346" y="2905"/>
                  </a:cubicBezTo>
                  <a:cubicBezTo>
                    <a:pt x="2442" y="2858"/>
                    <a:pt x="2466" y="2762"/>
                    <a:pt x="2430" y="2679"/>
                  </a:cubicBezTo>
                  <a:cubicBezTo>
                    <a:pt x="2394" y="2619"/>
                    <a:pt x="2335" y="2596"/>
                    <a:pt x="2263" y="2596"/>
                  </a:cubicBezTo>
                  <a:lnTo>
                    <a:pt x="715" y="2596"/>
                  </a:lnTo>
                  <a:cubicBezTo>
                    <a:pt x="644" y="2596"/>
                    <a:pt x="584" y="2536"/>
                    <a:pt x="584" y="2465"/>
                  </a:cubicBezTo>
                  <a:lnTo>
                    <a:pt x="584" y="2441"/>
                  </a:lnTo>
                  <a:cubicBezTo>
                    <a:pt x="584" y="2369"/>
                    <a:pt x="644" y="2310"/>
                    <a:pt x="715" y="2310"/>
                  </a:cubicBezTo>
                  <a:lnTo>
                    <a:pt x="2132" y="2310"/>
                  </a:lnTo>
                  <a:cubicBezTo>
                    <a:pt x="2215" y="2310"/>
                    <a:pt x="2287" y="2238"/>
                    <a:pt x="2287" y="2143"/>
                  </a:cubicBezTo>
                  <a:cubicBezTo>
                    <a:pt x="2287" y="2060"/>
                    <a:pt x="2215" y="1988"/>
                    <a:pt x="2132" y="1988"/>
                  </a:cubicBezTo>
                  <a:lnTo>
                    <a:pt x="715" y="1988"/>
                  </a:lnTo>
                  <a:lnTo>
                    <a:pt x="441" y="2012"/>
                  </a:lnTo>
                  <a:cubicBezTo>
                    <a:pt x="370" y="2012"/>
                    <a:pt x="310" y="1953"/>
                    <a:pt x="310" y="1881"/>
                  </a:cubicBezTo>
                  <a:lnTo>
                    <a:pt x="310" y="1869"/>
                  </a:lnTo>
                  <a:cubicBezTo>
                    <a:pt x="310" y="1786"/>
                    <a:pt x="370" y="1726"/>
                    <a:pt x="441" y="1726"/>
                  </a:cubicBezTo>
                  <a:lnTo>
                    <a:pt x="2156" y="1726"/>
                  </a:lnTo>
                  <a:cubicBezTo>
                    <a:pt x="2251" y="1726"/>
                    <a:pt x="2323" y="1655"/>
                    <a:pt x="2323" y="1572"/>
                  </a:cubicBezTo>
                  <a:cubicBezTo>
                    <a:pt x="2323" y="1476"/>
                    <a:pt x="2251" y="1405"/>
                    <a:pt x="2156" y="1405"/>
                  </a:cubicBezTo>
                  <a:lnTo>
                    <a:pt x="691" y="1405"/>
                  </a:lnTo>
                  <a:cubicBezTo>
                    <a:pt x="632" y="1393"/>
                    <a:pt x="596" y="1345"/>
                    <a:pt x="596" y="1286"/>
                  </a:cubicBezTo>
                  <a:lnTo>
                    <a:pt x="596" y="1274"/>
                  </a:lnTo>
                  <a:cubicBezTo>
                    <a:pt x="596" y="1191"/>
                    <a:pt x="656" y="1131"/>
                    <a:pt x="727" y="1131"/>
                  </a:cubicBezTo>
                  <a:lnTo>
                    <a:pt x="2156" y="1131"/>
                  </a:lnTo>
                  <a:cubicBezTo>
                    <a:pt x="2239" y="1131"/>
                    <a:pt x="2323" y="1060"/>
                    <a:pt x="2323" y="976"/>
                  </a:cubicBezTo>
                  <a:cubicBezTo>
                    <a:pt x="2323" y="881"/>
                    <a:pt x="2239" y="810"/>
                    <a:pt x="2156" y="810"/>
                  </a:cubicBezTo>
                  <a:lnTo>
                    <a:pt x="1442" y="810"/>
                  </a:lnTo>
                  <a:cubicBezTo>
                    <a:pt x="1370" y="810"/>
                    <a:pt x="1311" y="750"/>
                    <a:pt x="1311" y="679"/>
                  </a:cubicBezTo>
                  <a:lnTo>
                    <a:pt x="1311" y="655"/>
                  </a:lnTo>
                  <a:cubicBezTo>
                    <a:pt x="1311" y="583"/>
                    <a:pt x="1370" y="524"/>
                    <a:pt x="1442" y="524"/>
                  </a:cubicBezTo>
                  <a:lnTo>
                    <a:pt x="2287" y="524"/>
                  </a:lnTo>
                  <a:cubicBezTo>
                    <a:pt x="2310" y="523"/>
                    <a:pt x="2334" y="523"/>
                    <a:pt x="2359" y="523"/>
                  </a:cubicBezTo>
                  <a:close/>
                  <a:moveTo>
                    <a:pt x="8633" y="310"/>
                  </a:moveTo>
                  <a:cubicBezTo>
                    <a:pt x="8704" y="310"/>
                    <a:pt x="8764" y="369"/>
                    <a:pt x="8764" y="452"/>
                  </a:cubicBezTo>
                  <a:lnTo>
                    <a:pt x="8764" y="691"/>
                  </a:lnTo>
                  <a:lnTo>
                    <a:pt x="8764" y="726"/>
                  </a:lnTo>
                  <a:lnTo>
                    <a:pt x="8764" y="1107"/>
                  </a:lnTo>
                  <a:lnTo>
                    <a:pt x="8764" y="1131"/>
                  </a:lnTo>
                  <a:lnTo>
                    <a:pt x="8764" y="2155"/>
                  </a:lnTo>
                  <a:cubicBezTo>
                    <a:pt x="8764" y="2250"/>
                    <a:pt x="8835" y="2322"/>
                    <a:pt x="8931" y="2322"/>
                  </a:cubicBezTo>
                  <a:cubicBezTo>
                    <a:pt x="9014" y="2322"/>
                    <a:pt x="9085" y="2250"/>
                    <a:pt x="9085" y="2155"/>
                  </a:cubicBezTo>
                  <a:lnTo>
                    <a:pt x="9085" y="1012"/>
                  </a:lnTo>
                  <a:lnTo>
                    <a:pt x="9085" y="988"/>
                  </a:lnTo>
                  <a:lnTo>
                    <a:pt x="9085" y="953"/>
                  </a:lnTo>
                  <a:lnTo>
                    <a:pt x="9085" y="702"/>
                  </a:lnTo>
                  <a:cubicBezTo>
                    <a:pt x="9109" y="643"/>
                    <a:pt x="9145" y="595"/>
                    <a:pt x="9204" y="595"/>
                  </a:cubicBezTo>
                  <a:lnTo>
                    <a:pt x="9228" y="595"/>
                  </a:lnTo>
                  <a:cubicBezTo>
                    <a:pt x="9300" y="595"/>
                    <a:pt x="9359" y="655"/>
                    <a:pt x="9359" y="726"/>
                  </a:cubicBezTo>
                  <a:lnTo>
                    <a:pt x="9359" y="1322"/>
                  </a:lnTo>
                  <a:lnTo>
                    <a:pt x="9359" y="1441"/>
                  </a:lnTo>
                  <a:lnTo>
                    <a:pt x="9359" y="2155"/>
                  </a:lnTo>
                  <a:cubicBezTo>
                    <a:pt x="9359" y="2250"/>
                    <a:pt x="9431" y="2322"/>
                    <a:pt x="9526" y="2322"/>
                  </a:cubicBezTo>
                  <a:cubicBezTo>
                    <a:pt x="9609" y="2322"/>
                    <a:pt x="9681" y="2250"/>
                    <a:pt x="9681" y="2155"/>
                  </a:cubicBezTo>
                  <a:lnTo>
                    <a:pt x="9681" y="1441"/>
                  </a:lnTo>
                  <a:cubicBezTo>
                    <a:pt x="9681" y="1369"/>
                    <a:pt x="9740" y="1310"/>
                    <a:pt x="9824" y="1310"/>
                  </a:cubicBezTo>
                  <a:lnTo>
                    <a:pt x="9835" y="1310"/>
                  </a:lnTo>
                  <a:cubicBezTo>
                    <a:pt x="9907" y="1310"/>
                    <a:pt x="9966" y="1369"/>
                    <a:pt x="9966" y="1441"/>
                  </a:cubicBezTo>
                  <a:lnTo>
                    <a:pt x="9966" y="2298"/>
                  </a:lnTo>
                  <a:cubicBezTo>
                    <a:pt x="9978" y="2750"/>
                    <a:pt x="9883" y="3489"/>
                    <a:pt x="9657" y="3620"/>
                  </a:cubicBezTo>
                  <a:cubicBezTo>
                    <a:pt x="9609" y="3643"/>
                    <a:pt x="9585" y="3703"/>
                    <a:pt x="9585" y="3762"/>
                  </a:cubicBezTo>
                  <a:lnTo>
                    <a:pt x="9585" y="4358"/>
                  </a:lnTo>
                  <a:lnTo>
                    <a:pt x="7990" y="4358"/>
                  </a:lnTo>
                  <a:lnTo>
                    <a:pt x="7990" y="3965"/>
                  </a:lnTo>
                  <a:cubicBezTo>
                    <a:pt x="7990" y="3905"/>
                    <a:pt x="7954" y="3858"/>
                    <a:pt x="7930" y="3822"/>
                  </a:cubicBezTo>
                  <a:cubicBezTo>
                    <a:pt x="7466" y="3465"/>
                    <a:pt x="7419" y="3274"/>
                    <a:pt x="7383" y="3036"/>
                  </a:cubicBezTo>
                  <a:cubicBezTo>
                    <a:pt x="7347" y="2858"/>
                    <a:pt x="7299" y="2655"/>
                    <a:pt x="7109" y="2369"/>
                  </a:cubicBezTo>
                  <a:cubicBezTo>
                    <a:pt x="6918" y="2096"/>
                    <a:pt x="6930" y="1941"/>
                    <a:pt x="6966" y="1893"/>
                  </a:cubicBezTo>
                  <a:cubicBezTo>
                    <a:pt x="7026" y="1845"/>
                    <a:pt x="7085" y="1845"/>
                    <a:pt x="7109" y="1845"/>
                  </a:cubicBezTo>
                  <a:cubicBezTo>
                    <a:pt x="7288" y="1893"/>
                    <a:pt x="7502" y="2179"/>
                    <a:pt x="7585" y="2357"/>
                  </a:cubicBezTo>
                  <a:cubicBezTo>
                    <a:pt x="7603" y="2418"/>
                    <a:pt x="7658" y="2460"/>
                    <a:pt x="7718" y="2460"/>
                  </a:cubicBezTo>
                  <a:cubicBezTo>
                    <a:pt x="7741" y="2460"/>
                    <a:pt x="7765" y="2454"/>
                    <a:pt x="7788" y="2441"/>
                  </a:cubicBezTo>
                  <a:cubicBezTo>
                    <a:pt x="7847" y="2417"/>
                    <a:pt x="7871" y="2357"/>
                    <a:pt x="7871" y="2286"/>
                  </a:cubicBezTo>
                  <a:lnTo>
                    <a:pt x="7871" y="2262"/>
                  </a:lnTo>
                  <a:lnTo>
                    <a:pt x="7871" y="1584"/>
                  </a:lnTo>
                  <a:lnTo>
                    <a:pt x="7871" y="750"/>
                  </a:lnTo>
                  <a:lnTo>
                    <a:pt x="7871" y="726"/>
                  </a:lnTo>
                  <a:cubicBezTo>
                    <a:pt x="7871" y="655"/>
                    <a:pt x="7930" y="595"/>
                    <a:pt x="8002" y="595"/>
                  </a:cubicBezTo>
                  <a:lnTo>
                    <a:pt x="8014" y="595"/>
                  </a:lnTo>
                  <a:cubicBezTo>
                    <a:pt x="8097" y="595"/>
                    <a:pt x="8157" y="655"/>
                    <a:pt x="8157" y="726"/>
                  </a:cubicBezTo>
                  <a:lnTo>
                    <a:pt x="8157" y="2143"/>
                  </a:lnTo>
                  <a:cubicBezTo>
                    <a:pt x="8157" y="2238"/>
                    <a:pt x="8228" y="2310"/>
                    <a:pt x="8311" y="2310"/>
                  </a:cubicBezTo>
                  <a:cubicBezTo>
                    <a:pt x="8407" y="2310"/>
                    <a:pt x="8478" y="2238"/>
                    <a:pt x="8478" y="2143"/>
                  </a:cubicBezTo>
                  <a:lnTo>
                    <a:pt x="8478" y="726"/>
                  </a:lnTo>
                  <a:lnTo>
                    <a:pt x="8478" y="452"/>
                  </a:lnTo>
                  <a:cubicBezTo>
                    <a:pt x="8478" y="369"/>
                    <a:pt x="8538" y="310"/>
                    <a:pt x="8609" y="310"/>
                  </a:cubicBezTo>
                  <a:close/>
                  <a:moveTo>
                    <a:pt x="1763" y="2941"/>
                  </a:moveTo>
                  <a:cubicBezTo>
                    <a:pt x="1668" y="3036"/>
                    <a:pt x="1561" y="3179"/>
                    <a:pt x="1537" y="3322"/>
                  </a:cubicBezTo>
                  <a:cubicBezTo>
                    <a:pt x="1501" y="3477"/>
                    <a:pt x="1537" y="3631"/>
                    <a:pt x="1656" y="3750"/>
                  </a:cubicBezTo>
                  <a:cubicBezTo>
                    <a:pt x="1668" y="3774"/>
                    <a:pt x="1763" y="3881"/>
                    <a:pt x="1989" y="3881"/>
                  </a:cubicBezTo>
                  <a:cubicBezTo>
                    <a:pt x="2144" y="3881"/>
                    <a:pt x="2335" y="3834"/>
                    <a:pt x="2573" y="3667"/>
                  </a:cubicBezTo>
                  <a:cubicBezTo>
                    <a:pt x="2632" y="3620"/>
                    <a:pt x="2692" y="3572"/>
                    <a:pt x="2751" y="3560"/>
                  </a:cubicBezTo>
                  <a:lnTo>
                    <a:pt x="2751" y="5048"/>
                  </a:lnTo>
                  <a:lnTo>
                    <a:pt x="656" y="5048"/>
                  </a:lnTo>
                  <a:lnTo>
                    <a:pt x="656" y="2941"/>
                  </a:lnTo>
                  <a:close/>
                  <a:moveTo>
                    <a:pt x="9824" y="4703"/>
                  </a:moveTo>
                  <a:lnTo>
                    <a:pt x="9824" y="5108"/>
                  </a:lnTo>
                  <a:lnTo>
                    <a:pt x="7728" y="5108"/>
                  </a:lnTo>
                  <a:lnTo>
                    <a:pt x="7728" y="4703"/>
                  </a:lnTo>
                  <a:close/>
                  <a:moveTo>
                    <a:pt x="2751" y="5370"/>
                  </a:moveTo>
                  <a:lnTo>
                    <a:pt x="2751" y="5775"/>
                  </a:lnTo>
                  <a:lnTo>
                    <a:pt x="656" y="5775"/>
                  </a:lnTo>
                  <a:lnTo>
                    <a:pt x="656" y="5370"/>
                  </a:lnTo>
                  <a:close/>
                  <a:moveTo>
                    <a:pt x="4359" y="2858"/>
                  </a:moveTo>
                  <a:lnTo>
                    <a:pt x="4359" y="2917"/>
                  </a:lnTo>
                  <a:cubicBezTo>
                    <a:pt x="4359" y="3012"/>
                    <a:pt x="4430" y="3084"/>
                    <a:pt x="4525" y="3084"/>
                  </a:cubicBezTo>
                  <a:lnTo>
                    <a:pt x="7014" y="3084"/>
                  </a:lnTo>
                  <a:lnTo>
                    <a:pt x="7014" y="3096"/>
                  </a:lnTo>
                  <a:cubicBezTo>
                    <a:pt x="7049" y="3369"/>
                    <a:pt x="7109" y="3655"/>
                    <a:pt x="7621" y="4048"/>
                  </a:cubicBezTo>
                  <a:lnTo>
                    <a:pt x="7621" y="4370"/>
                  </a:lnTo>
                  <a:lnTo>
                    <a:pt x="7561" y="4370"/>
                  </a:lnTo>
                  <a:cubicBezTo>
                    <a:pt x="7466" y="4370"/>
                    <a:pt x="7395" y="4441"/>
                    <a:pt x="7395" y="4524"/>
                  </a:cubicBezTo>
                  <a:lnTo>
                    <a:pt x="7395" y="7013"/>
                  </a:lnTo>
                  <a:lnTo>
                    <a:pt x="7383" y="7013"/>
                  </a:lnTo>
                  <a:cubicBezTo>
                    <a:pt x="7109" y="7060"/>
                    <a:pt x="6823" y="7120"/>
                    <a:pt x="6430" y="7620"/>
                  </a:cubicBezTo>
                  <a:lnTo>
                    <a:pt x="6121" y="7620"/>
                  </a:lnTo>
                  <a:lnTo>
                    <a:pt x="6121" y="7560"/>
                  </a:lnTo>
                  <a:cubicBezTo>
                    <a:pt x="6121" y="7477"/>
                    <a:pt x="6037" y="7406"/>
                    <a:pt x="5954" y="7406"/>
                  </a:cubicBezTo>
                  <a:lnTo>
                    <a:pt x="3466" y="7406"/>
                  </a:lnTo>
                  <a:lnTo>
                    <a:pt x="3466" y="7382"/>
                  </a:lnTo>
                  <a:cubicBezTo>
                    <a:pt x="3418" y="7120"/>
                    <a:pt x="3358" y="6834"/>
                    <a:pt x="2858" y="6429"/>
                  </a:cubicBezTo>
                  <a:lnTo>
                    <a:pt x="2858" y="6120"/>
                  </a:lnTo>
                  <a:lnTo>
                    <a:pt x="2918" y="6120"/>
                  </a:lnTo>
                  <a:cubicBezTo>
                    <a:pt x="3001" y="6120"/>
                    <a:pt x="3085" y="6048"/>
                    <a:pt x="3085" y="5953"/>
                  </a:cubicBezTo>
                  <a:lnTo>
                    <a:pt x="3085" y="3477"/>
                  </a:lnTo>
                  <a:lnTo>
                    <a:pt x="3097" y="3477"/>
                  </a:lnTo>
                  <a:cubicBezTo>
                    <a:pt x="3358" y="3429"/>
                    <a:pt x="3644" y="3369"/>
                    <a:pt x="4049" y="2858"/>
                  </a:cubicBezTo>
                  <a:close/>
                  <a:moveTo>
                    <a:pt x="5787" y="7727"/>
                  </a:moveTo>
                  <a:lnTo>
                    <a:pt x="5787" y="9823"/>
                  </a:lnTo>
                  <a:lnTo>
                    <a:pt x="5383" y="9823"/>
                  </a:lnTo>
                  <a:lnTo>
                    <a:pt x="5383" y="7727"/>
                  </a:lnTo>
                  <a:close/>
                  <a:moveTo>
                    <a:pt x="8490" y="6933"/>
                  </a:moveTo>
                  <a:cubicBezTo>
                    <a:pt x="8530" y="6933"/>
                    <a:pt x="8558" y="6942"/>
                    <a:pt x="8573" y="6953"/>
                  </a:cubicBezTo>
                  <a:cubicBezTo>
                    <a:pt x="8621" y="7013"/>
                    <a:pt x="8621" y="7072"/>
                    <a:pt x="8621" y="7108"/>
                  </a:cubicBezTo>
                  <a:cubicBezTo>
                    <a:pt x="8573" y="7287"/>
                    <a:pt x="8288" y="7489"/>
                    <a:pt x="8109" y="7584"/>
                  </a:cubicBezTo>
                  <a:cubicBezTo>
                    <a:pt x="8026" y="7620"/>
                    <a:pt x="7990" y="7727"/>
                    <a:pt x="8038" y="7799"/>
                  </a:cubicBezTo>
                  <a:cubicBezTo>
                    <a:pt x="8061" y="7858"/>
                    <a:pt x="8121" y="7894"/>
                    <a:pt x="8204" y="7894"/>
                  </a:cubicBezTo>
                  <a:lnTo>
                    <a:pt x="9740" y="7894"/>
                  </a:lnTo>
                  <a:cubicBezTo>
                    <a:pt x="9824" y="7894"/>
                    <a:pt x="9883" y="7953"/>
                    <a:pt x="9883" y="8025"/>
                  </a:cubicBezTo>
                  <a:lnTo>
                    <a:pt x="9883" y="8037"/>
                  </a:lnTo>
                  <a:cubicBezTo>
                    <a:pt x="9883" y="8120"/>
                    <a:pt x="9824" y="8180"/>
                    <a:pt x="9740" y="8180"/>
                  </a:cubicBezTo>
                  <a:lnTo>
                    <a:pt x="8335" y="8180"/>
                  </a:lnTo>
                  <a:cubicBezTo>
                    <a:pt x="8240" y="8180"/>
                    <a:pt x="8169" y="8251"/>
                    <a:pt x="8169" y="8334"/>
                  </a:cubicBezTo>
                  <a:cubicBezTo>
                    <a:pt x="8169" y="8430"/>
                    <a:pt x="8240" y="8501"/>
                    <a:pt x="8335" y="8501"/>
                  </a:cubicBezTo>
                  <a:lnTo>
                    <a:pt x="10026" y="8501"/>
                  </a:lnTo>
                  <a:cubicBezTo>
                    <a:pt x="10034" y="8500"/>
                    <a:pt x="10043" y="8499"/>
                    <a:pt x="10051" y="8499"/>
                  </a:cubicBezTo>
                  <a:cubicBezTo>
                    <a:pt x="10121" y="8499"/>
                    <a:pt x="10169" y="8545"/>
                    <a:pt x="10169" y="8620"/>
                  </a:cubicBezTo>
                  <a:cubicBezTo>
                    <a:pt x="10169" y="8692"/>
                    <a:pt x="10097" y="8751"/>
                    <a:pt x="10026" y="8751"/>
                  </a:cubicBezTo>
                  <a:lnTo>
                    <a:pt x="8311" y="8751"/>
                  </a:lnTo>
                  <a:cubicBezTo>
                    <a:pt x="8228" y="8751"/>
                    <a:pt x="8157" y="8834"/>
                    <a:pt x="8157" y="8918"/>
                  </a:cubicBezTo>
                  <a:cubicBezTo>
                    <a:pt x="8157" y="9013"/>
                    <a:pt x="8228" y="9084"/>
                    <a:pt x="8311" y="9084"/>
                  </a:cubicBezTo>
                  <a:lnTo>
                    <a:pt x="9776" y="9084"/>
                  </a:lnTo>
                  <a:cubicBezTo>
                    <a:pt x="9835" y="9096"/>
                    <a:pt x="9883" y="9144"/>
                    <a:pt x="9883" y="9204"/>
                  </a:cubicBezTo>
                  <a:lnTo>
                    <a:pt x="9883" y="9215"/>
                  </a:lnTo>
                  <a:cubicBezTo>
                    <a:pt x="9883" y="9287"/>
                    <a:pt x="9824" y="9346"/>
                    <a:pt x="9752" y="9346"/>
                  </a:cubicBezTo>
                  <a:lnTo>
                    <a:pt x="8323" y="9346"/>
                  </a:lnTo>
                  <a:cubicBezTo>
                    <a:pt x="8228" y="9346"/>
                    <a:pt x="8157" y="9430"/>
                    <a:pt x="8157" y="9513"/>
                  </a:cubicBezTo>
                  <a:cubicBezTo>
                    <a:pt x="8157" y="9608"/>
                    <a:pt x="8228" y="9680"/>
                    <a:pt x="8323" y="9680"/>
                  </a:cubicBezTo>
                  <a:lnTo>
                    <a:pt x="9038" y="9680"/>
                  </a:lnTo>
                  <a:cubicBezTo>
                    <a:pt x="9109" y="9680"/>
                    <a:pt x="9169" y="9739"/>
                    <a:pt x="9169" y="9811"/>
                  </a:cubicBezTo>
                  <a:lnTo>
                    <a:pt x="9169" y="9823"/>
                  </a:lnTo>
                  <a:cubicBezTo>
                    <a:pt x="9169" y="9906"/>
                    <a:pt x="9109" y="9966"/>
                    <a:pt x="9038" y="9966"/>
                  </a:cubicBezTo>
                  <a:lnTo>
                    <a:pt x="8181" y="9966"/>
                  </a:lnTo>
                  <a:cubicBezTo>
                    <a:pt x="8151" y="9967"/>
                    <a:pt x="8120" y="9967"/>
                    <a:pt x="8088" y="9967"/>
                  </a:cubicBezTo>
                  <a:cubicBezTo>
                    <a:pt x="7740" y="9967"/>
                    <a:pt x="7288" y="9907"/>
                    <a:pt x="7026" y="9787"/>
                  </a:cubicBezTo>
                  <a:lnTo>
                    <a:pt x="7014" y="9763"/>
                  </a:lnTo>
                  <a:cubicBezTo>
                    <a:pt x="6978" y="9727"/>
                    <a:pt x="6930" y="9704"/>
                    <a:pt x="6895" y="9704"/>
                  </a:cubicBezTo>
                  <a:cubicBezTo>
                    <a:pt x="6871" y="9692"/>
                    <a:pt x="6859" y="9680"/>
                    <a:pt x="6847" y="9644"/>
                  </a:cubicBezTo>
                  <a:cubicBezTo>
                    <a:pt x="6811" y="9608"/>
                    <a:pt x="6752" y="9573"/>
                    <a:pt x="6692" y="9573"/>
                  </a:cubicBezTo>
                  <a:lnTo>
                    <a:pt x="6097" y="9573"/>
                  </a:lnTo>
                  <a:lnTo>
                    <a:pt x="6097" y="7977"/>
                  </a:lnTo>
                  <a:lnTo>
                    <a:pt x="6502" y="7977"/>
                  </a:lnTo>
                  <a:cubicBezTo>
                    <a:pt x="6561" y="7977"/>
                    <a:pt x="6609" y="7953"/>
                    <a:pt x="6633" y="7918"/>
                  </a:cubicBezTo>
                  <a:cubicBezTo>
                    <a:pt x="6990" y="7453"/>
                    <a:pt x="7192" y="7418"/>
                    <a:pt x="7430" y="7370"/>
                  </a:cubicBezTo>
                  <a:cubicBezTo>
                    <a:pt x="7609" y="7334"/>
                    <a:pt x="7811" y="7299"/>
                    <a:pt x="8097" y="7108"/>
                  </a:cubicBezTo>
                  <a:cubicBezTo>
                    <a:pt x="8274" y="6972"/>
                    <a:pt x="8407" y="6933"/>
                    <a:pt x="8490" y="6933"/>
                  </a:cubicBezTo>
                  <a:close/>
                  <a:moveTo>
                    <a:pt x="2501" y="6132"/>
                  </a:moveTo>
                  <a:lnTo>
                    <a:pt x="2501" y="6537"/>
                  </a:lnTo>
                  <a:cubicBezTo>
                    <a:pt x="2501" y="6596"/>
                    <a:pt x="2525" y="6644"/>
                    <a:pt x="2561" y="6668"/>
                  </a:cubicBezTo>
                  <a:cubicBezTo>
                    <a:pt x="3025" y="7025"/>
                    <a:pt x="3061" y="7227"/>
                    <a:pt x="3108" y="7465"/>
                  </a:cubicBezTo>
                  <a:cubicBezTo>
                    <a:pt x="3120" y="7501"/>
                    <a:pt x="3120" y="7560"/>
                    <a:pt x="3144" y="7608"/>
                  </a:cubicBezTo>
                  <a:cubicBezTo>
                    <a:pt x="3168" y="7763"/>
                    <a:pt x="3228" y="7918"/>
                    <a:pt x="3382" y="8120"/>
                  </a:cubicBezTo>
                  <a:cubicBezTo>
                    <a:pt x="3597" y="8382"/>
                    <a:pt x="3585" y="8537"/>
                    <a:pt x="3561" y="8596"/>
                  </a:cubicBezTo>
                  <a:cubicBezTo>
                    <a:pt x="3501" y="8632"/>
                    <a:pt x="3442" y="8632"/>
                    <a:pt x="3406" y="8632"/>
                  </a:cubicBezTo>
                  <a:cubicBezTo>
                    <a:pt x="3228" y="8596"/>
                    <a:pt x="3025" y="8311"/>
                    <a:pt x="2930" y="8132"/>
                  </a:cubicBezTo>
                  <a:cubicBezTo>
                    <a:pt x="2896" y="8064"/>
                    <a:pt x="2838" y="8033"/>
                    <a:pt x="2778" y="8033"/>
                  </a:cubicBezTo>
                  <a:cubicBezTo>
                    <a:pt x="2753" y="8033"/>
                    <a:pt x="2728" y="8038"/>
                    <a:pt x="2704" y="8049"/>
                  </a:cubicBezTo>
                  <a:cubicBezTo>
                    <a:pt x="2644" y="8084"/>
                    <a:pt x="2620" y="8144"/>
                    <a:pt x="2620" y="8215"/>
                  </a:cubicBezTo>
                  <a:lnTo>
                    <a:pt x="2620" y="8239"/>
                  </a:lnTo>
                  <a:lnTo>
                    <a:pt x="2620" y="8918"/>
                  </a:lnTo>
                  <a:lnTo>
                    <a:pt x="2620" y="9751"/>
                  </a:lnTo>
                  <a:lnTo>
                    <a:pt x="2620" y="9763"/>
                  </a:lnTo>
                  <a:cubicBezTo>
                    <a:pt x="2620" y="9846"/>
                    <a:pt x="2561" y="9906"/>
                    <a:pt x="2489" y="9906"/>
                  </a:cubicBezTo>
                  <a:lnTo>
                    <a:pt x="2466" y="9906"/>
                  </a:lnTo>
                  <a:cubicBezTo>
                    <a:pt x="2394" y="9906"/>
                    <a:pt x="2335" y="9846"/>
                    <a:pt x="2335" y="9763"/>
                  </a:cubicBezTo>
                  <a:lnTo>
                    <a:pt x="2335" y="8358"/>
                  </a:lnTo>
                  <a:cubicBezTo>
                    <a:pt x="2335" y="8263"/>
                    <a:pt x="2263" y="8191"/>
                    <a:pt x="2168" y="8191"/>
                  </a:cubicBezTo>
                  <a:cubicBezTo>
                    <a:pt x="2085" y="8191"/>
                    <a:pt x="2013" y="8263"/>
                    <a:pt x="2013" y="8358"/>
                  </a:cubicBezTo>
                  <a:lnTo>
                    <a:pt x="2013" y="9763"/>
                  </a:lnTo>
                  <a:lnTo>
                    <a:pt x="2013" y="10049"/>
                  </a:lnTo>
                  <a:cubicBezTo>
                    <a:pt x="2013" y="10120"/>
                    <a:pt x="1954" y="10180"/>
                    <a:pt x="1870" y="10180"/>
                  </a:cubicBezTo>
                  <a:lnTo>
                    <a:pt x="1858" y="10180"/>
                  </a:lnTo>
                  <a:cubicBezTo>
                    <a:pt x="1787" y="10180"/>
                    <a:pt x="1727" y="10120"/>
                    <a:pt x="1727" y="10049"/>
                  </a:cubicBezTo>
                  <a:lnTo>
                    <a:pt x="1727" y="9811"/>
                  </a:lnTo>
                  <a:lnTo>
                    <a:pt x="1727" y="9763"/>
                  </a:lnTo>
                  <a:lnTo>
                    <a:pt x="1727" y="9394"/>
                  </a:lnTo>
                  <a:lnTo>
                    <a:pt x="1727" y="9370"/>
                  </a:lnTo>
                  <a:lnTo>
                    <a:pt x="1727" y="8334"/>
                  </a:lnTo>
                  <a:cubicBezTo>
                    <a:pt x="1727" y="8251"/>
                    <a:pt x="1656" y="8180"/>
                    <a:pt x="1561" y="8180"/>
                  </a:cubicBezTo>
                  <a:cubicBezTo>
                    <a:pt x="1477" y="8180"/>
                    <a:pt x="1394" y="8251"/>
                    <a:pt x="1394" y="8334"/>
                  </a:cubicBezTo>
                  <a:lnTo>
                    <a:pt x="1394" y="9489"/>
                  </a:lnTo>
                  <a:lnTo>
                    <a:pt x="1394" y="9513"/>
                  </a:lnTo>
                  <a:lnTo>
                    <a:pt x="1394" y="9549"/>
                  </a:lnTo>
                  <a:lnTo>
                    <a:pt x="1394" y="9799"/>
                  </a:lnTo>
                  <a:cubicBezTo>
                    <a:pt x="1382" y="9858"/>
                    <a:pt x="1334" y="9906"/>
                    <a:pt x="1275" y="9906"/>
                  </a:cubicBezTo>
                  <a:lnTo>
                    <a:pt x="1263" y="9906"/>
                  </a:lnTo>
                  <a:cubicBezTo>
                    <a:pt x="1192" y="9906"/>
                    <a:pt x="1132" y="9846"/>
                    <a:pt x="1132" y="9763"/>
                  </a:cubicBezTo>
                  <a:lnTo>
                    <a:pt x="1132" y="9168"/>
                  </a:lnTo>
                  <a:lnTo>
                    <a:pt x="1132" y="9049"/>
                  </a:lnTo>
                  <a:lnTo>
                    <a:pt x="1132" y="8334"/>
                  </a:lnTo>
                  <a:cubicBezTo>
                    <a:pt x="1132" y="8251"/>
                    <a:pt x="1061" y="8180"/>
                    <a:pt x="965" y="8180"/>
                  </a:cubicBezTo>
                  <a:cubicBezTo>
                    <a:pt x="882" y="8180"/>
                    <a:pt x="799" y="8251"/>
                    <a:pt x="799" y="8334"/>
                  </a:cubicBezTo>
                  <a:lnTo>
                    <a:pt x="799" y="9049"/>
                  </a:lnTo>
                  <a:cubicBezTo>
                    <a:pt x="799" y="9132"/>
                    <a:pt x="739" y="9192"/>
                    <a:pt x="668" y="9192"/>
                  </a:cubicBezTo>
                  <a:lnTo>
                    <a:pt x="656" y="9192"/>
                  </a:lnTo>
                  <a:cubicBezTo>
                    <a:pt x="584" y="9192"/>
                    <a:pt x="525" y="9132"/>
                    <a:pt x="525" y="9049"/>
                  </a:cubicBezTo>
                  <a:lnTo>
                    <a:pt x="525" y="8203"/>
                  </a:lnTo>
                  <a:cubicBezTo>
                    <a:pt x="501" y="7739"/>
                    <a:pt x="608" y="7013"/>
                    <a:pt x="834" y="6882"/>
                  </a:cubicBezTo>
                  <a:cubicBezTo>
                    <a:pt x="882" y="6846"/>
                    <a:pt x="906" y="6787"/>
                    <a:pt x="906" y="6727"/>
                  </a:cubicBezTo>
                  <a:lnTo>
                    <a:pt x="906" y="6132"/>
                  </a:lnTo>
                  <a:close/>
                  <a:moveTo>
                    <a:pt x="8621" y="0"/>
                  </a:moveTo>
                  <a:cubicBezTo>
                    <a:pt x="8407" y="0"/>
                    <a:pt x="8240" y="143"/>
                    <a:pt x="8181" y="321"/>
                  </a:cubicBezTo>
                  <a:cubicBezTo>
                    <a:pt x="8145" y="298"/>
                    <a:pt x="8085" y="286"/>
                    <a:pt x="8038" y="286"/>
                  </a:cubicBezTo>
                  <a:lnTo>
                    <a:pt x="8026" y="286"/>
                  </a:lnTo>
                  <a:cubicBezTo>
                    <a:pt x="7942" y="286"/>
                    <a:pt x="7859" y="298"/>
                    <a:pt x="7800" y="345"/>
                  </a:cubicBezTo>
                  <a:lnTo>
                    <a:pt x="4549" y="345"/>
                  </a:lnTo>
                  <a:cubicBezTo>
                    <a:pt x="4466" y="345"/>
                    <a:pt x="4394" y="417"/>
                    <a:pt x="4394" y="512"/>
                  </a:cubicBezTo>
                  <a:lnTo>
                    <a:pt x="4394" y="619"/>
                  </a:lnTo>
                  <a:lnTo>
                    <a:pt x="3870" y="619"/>
                  </a:lnTo>
                  <a:cubicBezTo>
                    <a:pt x="3704" y="441"/>
                    <a:pt x="3418" y="321"/>
                    <a:pt x="2977" y="262"/>
                  </a:cubicBezTo>
                  <a:cubicBezTo>
                    <a:pt x="2632" y="214"/>
                    <a:pt x="2335" y="214"/>
                    <a:pt x="2311" y="214"/>
                  </a:cubicBezTo>
                  <a:lnTo>
                    <a:pt x="1453" y="214"/>
                  </a:lnTo>
                  <a:cubicBezTo>
                    <a:pt x="1203" y="214"/>
                    <a:pt x="1001" y="417"/>
                    <a:pt x="1001" y="679"/>
                  </a:cubicBezTo>
                  <a:lnTo>
                    <a:pt x="1001" y="691"/>
                  </a:lnTo>
                  <a:cubicBezTo>
                    <a:pt x="1001" y="738"/>
                    <a:pt x="1001" y="774"/>
                    <a:pt x="1013" y="822"/>
                  </a:cubicBezTo>
                  <a:lnTo>
                    <a:pt x="739" y="822"/>
                  </a:lnTo>
                  <a:cubicBezTo>
                    <a:pt x="489" y="822"/>
                    <a:pt x="287" y="1036"/>
                    <a:pt x="287" y="1286"/>
                  </a:cubicBezTo>
                  <a:lnTo>
                    <a:pt x="287" y="1298"/>
                  </a:lnTo>
                  <a:cubicBezTo>
                    <a:pt x="287" y="1357"/>
                    <a:pt x="299" y="1405"/>
                    <a:pt x="310" y="1453"/>
                  </a:cubicBezTo>
                  <a:cubicBezTo>
                    <a:pt x="132" y="1512"/>
                    <a:pt x="1" y="1691"/>
                    <a:pt x="1" y="1881"/>
                  </a:cubicBezTo>
                  <a:lnTo>
                    <a:pt x="1" y="1893"/>
                  </a:lnTo>
                  <a:cubicBezTo>
                    <a:pt x="1" y="2107"/>
                    <a:pt x="132" y="2262"/>
                    <a:pt x="310" y="2322"/>
                  </a:cubicBezTo>
                  <a:cubicBezTo>
                    <a:pt x="299" y="2369"/>
                    <a:pt x="287" y="2429"/>
                    <a:pt x="287" y="2477"/>
                  </a:cubicBezTo>
                  <a:lnTo>
                    <a:pt x="287" y="2488"/>
                  </a:lnTo>
                  <a:cubicBezTo>
                    <a:pt x="287" y="2560"/>
                    <a:pt x="299" y="2655"/>
                    <a:pt x="346" y="2715"/>
                  </a:cubicBezTo>
                  <a:lnTo>
                    <a:pt x="346" y="5953"/>
                  </a:lnTo>
                  <a:cubicBezTo>
                    <a:pt x="346" y="6048"/>
                    <a:pt x="418" y="6120"/>
                    <a:pt x="501" y="6120"/>
                  </a:cubicBezTo>
                  <a:lnTo>
                    <a:pt x="608" y="6120"/>
                  </a:lnTo>
                  <a:lnTo>
                    <a:pt x="608" y="6644"/>
                  </a:lnTo>
                  <a:cubicBezTo>
                    <a:pt x="430" y="6810"/>
                    <a:pt x="310" y="7084"/>
                    <a:pt x="251" y="7537"/>
                  </a:cubicBezTo>
                  <a:cubicBezTo>
                    <a:pt x="203" y="7882"/>
                    <a:pt x="203" y="8180"/>
                    <a:pt x="203" y="8203"/>
                  </a:cubicBezTo>
                  <a:lnTo>
                    <a:pt x="203" y="9049"/>
                  </a:lnTo>
                  <a:cubicBezTo>
                    <a:pt x="203" y="9311"/>
                    <a:pt x="418" y="9513"/>
                    <a:pt x="668" y="9513"/>
                  </a:cubicBezTo>
                  <a:lnTo>
                    <a:pt x="680" y="9513"/>
                  </a:lnTo>
                  <a:cubicBezTo>
                    <a:pt x="727" y="9513"/>
                    <a:pt x="775" y="9513"/>
                    <a:pt x="822" y="9501"/>
                  </a:cubicBezTo>
                  <a:lnTo>
                    <a:pt x="822" y="9763"/>
                  </a:lnTo>
                  <a:cubicBezTo>
                    <a:pt x="822" y="10025"/>
                    <a:pt x="1025" y="10227"/>
                    <a:pt x="1275" y="10227"/>
                  </a:cubicBezTo>
                  <a:lnTo>
                    <a:pt x="1299" y="10227"/>
                  </a:lnTo>
                  <a:cubicBezTo>
                    <a:pt x="1358" y="10227"/>
                    <a:pt x="1394" y="10216"/>
                    <a:pt x="1442" y="10204"/>
                  </a:cubicBezTo>
                  <a:cubicBezTo>
                    <a:pt x="1501" y="10382"/>
                    <a:pt x="1680" y="10513"/>
                    <a:pt x="1870" y="10513"/>
                  </a:cubicBezTo>
                  <a:lnTo>
                    <a:pt x="1894" y="10513"/>
                  </a:lnTo>
                  <a:cubicBezTo>
                    <a:pt x="2096" y="10513"/>
                    <a:pt x="2263" y="10382"/>
                    <a:pt x="2323" y="10204"/>
                  </a:cubicBezTo>
                  <a:cubicBezTo>
                    <a:pt x="2370" y="10216"/>
                    <a:pt x="2430" y="10227"/>
                    <a:pt x="2466" y="10227"/>
                  </a:cubicBezTo>
                  <a:lnTo>
                    <a:pt x="2489" y="10227"/>
                  </a:lnTo>
                  <a:cubicBezTo>
                    <a:pt x="2561" y="10227"/>
                    <a:pt x="2644" y="10216"/>
                    <a:pt x="2704" y="10168"/>
                  </a:cubicBezTo>
                  <a:lnTo>
                    <a:pt x="3323" y="10168"/>
                  </a:lnTo>
                  <a:cubicBezTo>
                    <a:pt x="3406" y="10168"/>
                    <a:pt x="3478" y="10096"/>
                    <a:pt x="3478" y="10001"/>
                  </a:cubicBezTo>
                  <a:cubicBezTo>
                    <a:pt x="3478" y="9918"/>
                    <a:pt x="3406" y="9846"/>
                    <a:pt x="3323" y="9846"/>
                  </a:cubicBezTo>
                  <a:lnTo>
                    <a:pt x="2942" y="9846"/>
                  </a:lnTo>
                  <a:lnTo>
                    <a:pt x="2942" y="9763"/>
                  </a:lnTo>
                  <a:lnTo>
                    <a:pt x="2942" y="9751"/>
                  </a:lnTo>
                  <a:lnTo>
                    <a:pt x="2942" y="8918"/>
                  </a:lnTo>
                  <a:lnTo>
                    <a:pt x="2942" y="8727"/>
                  </a:lnTo>
                  <a:cubicBezTo>
                    <a:pt x="3049" y="8834"/>
                    <a:pt x="3180" y="8930"/>
                    <a:pt x="3335" y="8965"/>
                  </a:cubicBezTo>
                  <a:cubicBezTo>
                    <a:pt x="3358" y="8977"/>
                    <a:pt x="3406" y="8977"/>
                    <a:pt x="3442" y="8977"/>
                  </a:cubicBezTo>
                  <a:cubicBezTo>
                    <a:pt x="3561" y="8977"/>
                    <a:pt x="3656" y="8930"/>
                    <a:pt x="3763" y="8858"/>
                  </a:cubicBezTo>
                  <a:cubicBezTo>
                    <a:pt x="3775" y="8846"/>
                    <a:pt x="4120" y="8549"/>
                    <a:pt x="3680" y="7941"/>
                  </a:cubicBezTo>
                  <a:cubicBezTo>
                    <a:pt x="3632" y="7882"/>
                    <a:pt x="3585" y="7822"/>
                    <a:pt x="3573" y="7763"/>
                  </a:cubicBezTo>
                  <a:lnTo>
                    <a:pt x="5061" y="7763"/>
                  </a:lnTo>
                  <a:lnTo>
                    <a:pt x="5061" y="9858"/>
                  </a:lnTo>
                  <a:lnTo>
                    <a:pt x="3835" y="9858"/>
                  </a:lnTo>
                  <a:cubicBezTo>
                    <a:pt x="3751" y="9858"/>
                    <a:pt x="3680" y="9930"/>
                    <a:pt x="3680" y="10025"/>
                  </a:cubicBezTo>
                  <a:cubicBezTo>
                    <a:pt x="3680" y="10108"/>
                    <a:pt x="3751" y="10180"/>
                    <a:pt x="3835" y="10180"/>
                  </a:cubicBezTo>
                  <a:lnTo>
                    <a:pt x="5966" y="10180"/>
                  </a:lnTo>
                  <a:cubicBezTo>
                    <a:pt x="6061" y="10180"/>
                    <a:pt x="6133" y="10108"/>
                    <a:pt x="6133" y="10025"/>
                  </a:cubicBezTo>
                  <a:lnTo>
                    <a:pt x="6133" y="9918"/>
                  </a:lnTo>
                  <a:lnTo>
                    <a:pt x="6657" y="9918"/>
                  </a:lnTo>
                  <a:cubicBezTo>
                    <a:pt x="6811" y="10096"/>
                    <a:pt x="7097" y="10216"/>
                    <a:pt x="7549" y="10275"/>
                  </a:cubicBezTo>
                  <a:cubicBezTo>
                    <a:pt x="7811" y="10323"/>
                    <a:pt x="8061" y="10323"/>
                    <a:pt x="8169" y="10323"/>
                  </a:cubicBezTo>
                  <a:lnTo>
                    <a:pt x="9062" y="10323"/>
                  </a:lnTo>
                  <a:cubicBezTo>
                    <a:pt x="9312" y="10323"/>
                    <a:pt x="9526" y="10108"/>
                    <a:pt x="9526" y="9858"/>
                  </a:cubicBezTo>
                  <a:lnTo>
                    <a:pt x="9526" y="9846"/>
                  </a:lnTo>
                  <a:cubicBezTo>
                    <a:pt x="9526" y="9799"/>
                    <a:pt x="9526" y="9751"/>
                    <a:pt x="9514" y="9704"/>
                  </a:cubicBezTo>
                  <a:lnTo>
                    <a:pt x="9776" y="9704"/>
                  </a:lnTo>
                  <a:cubicBezTo>
                    <a:pt x="10026" y="9704"/>
                    <a:pt x="10240" y="9501"/>
                    <a:pt x="10240" y="9251"/>
                  </a:cubicBezTo>
                  <a:lnTo>
                    <a:pt x="10240" y="9227"/>
                  </a:lnTo>
                  <a:cubicBezTo>
                    <a:pt x="10240" y="9168"/>
                    <a:pt x="10228" y="9132"/>
                    <a:pt x="10205" y="9084"/>
                  </a:cubicBezTo>
                  <a:cubicBezTo>
                    <a:pt x="10383" y="9025"/>
                    <a:pt x="10514" y="8846"/>
                    <a:pt x="10514" y="8656"/>
                  </a:cubicBezTo>
                  <a:lnTo>
                    <a:pt x="10514" y="8632"/>
                  </a:lnTo>
                  <a:cubicBezTo>
                    <a:pt x="10502" y="8418"/>
                    <a:pt x="10371" y="8239"/>
                    <a:pt x="10193" y="8180"/>
                  </a:cubicBezTo>
                  <a:cubicBezTo>
                    <a:pt x="10205" y="8132"/>
                    <a:pt x="10228" y="8072"/>
                    <a:pt x="10228" y="8025"/>
                  </a:cubicBezTo>
                  <a:lnTo>
                    <a:pt x="10228" y="8013"/>
                  </a:lnTo>
                  <a:cubicBezTo>
                    <a:pt x="10228" y="7941"/>
                    <a:pt x="10205" y="7846"/>
                    <a:pt x="10169" y="7787"/>
                  </a:cubicBezTo>
                  <a:lnTo>
                    <a:pt x="10169" y="6263"/>
                  </a:lnTo>
                  <a:cubicBezTo>
                    <a:pt x="10169" y="6179"/>
                    <a:pt x="10086" y="6108"/>
                    <a:pt x="10002" y="6108"/>
                  </a:cubicBezTo>
                  <a:cubicBezTo>
                    <a:pt x="9907" y="6108"/>
                    <a:pt x="9835" y="6179"/>
                    <a:pt x="9835" y="6263"/>
                  </a:cubicBezTo>
                  <a:lnTo>
                    <a:pt x="9835" y="7560"/>
                  </a:lnTo>
                  <a:lnTo>
                    <a:pt x="8716" y="7560"/>
                  </a:lnTo>
                  <a:cubicBezTo>
                    <a:pt x="8823" y="7453"/>
                    <a:pt x="8931" y="7322"/>
                    <a:pt x="8954" y="7179"/>
                  </a:cubicBezTo>
                  <a:cubicBezTo>
                    <a:pt x="8990" y="7025"/>
                    <a:pt x="8954" y="6858"/>
                    <a:pt x="8835" y="6751"/>
                  </a:cubicBezTo>
                  <a:cubicBezTo>
                    <a:pt x="8828" y="6736"/>
                    <a:pt x="8715" y="6608"/>
                    <a:pt x="8492" y="6608"/>
                  </a:cubicBezTo>
                  <a:cubicBezTo>
                    <a:pt x="8347" y="6608"/>
                    <a:pt x="8157" y="6661"/>
                    <a:pt x="7919" y="6834"/>
                  </a:cubicBezTo>
                  <a:cubicBezTo>
                    <a:pt x="7859" y="6882"/>
                    <a:pt x="7800" y="6929"/>
                    <a:pt x="7740" y="6941"/>
                  </a:cubicBezTo>
                  <a:lnTo>
                    <a:pt x="7740" y="5453"/>
                  </a:lnTo>
                  <a:lnTo>
                    <a:pt x="9835" y="5453"/>
                  </a:lnTo>
                  <a:lnTo>
                    <a:pt x="9835" y="5703"/>
                  </a:lnTo>
                  <a:cubicBezTo>
                    <a:pt x="9835" y="5798"/>
                    <a:pt x="9907" y="5870"/>
                    <a:pt x="10002" y="5870"/>
                  </a:cubicBezTo>
                  <a:cubicBezTo>
                    <a:pt x="10086" y="5870"/>
                    <a:pt x="10169" y="5798"/>
                    <a:pt x="10169" y="5703"/>
                  </a:cubicBezTo>
                  <a:lnTo>
                    <a:pt x="10169" y="4560"/>
                  </a:lnTo>
                  <a:cubicBezTo>
                    <a:pt x="10169" y="4465"/>
                    <a:pt x="10086" y="4393"/>
                    <a:pt x="10002" y="4393"/>
                  </a:cubicBezTo>
                  <a:lnTo>
                    <a:pt x="9895" y="4393"/>
                  </a:lnTo>
                  <a:lnTo>
                    <a:pt x="9895" y="3870"/>
                  </a:lnTo>
                  <a:cubicBezTo>
                    <a:pt x="10074" y="3715"/>
                    <a:pt x="10193" y="3429"/>
                    <a:pt x="10252" y="2977"/>
                  </a:cubicBezTo>
                  <a:cubicBezTo>
                    <a:pt x="10300" y="2643"/>
                    <a:pt x="10300" y="2346"/>
                    <a:pt x="10300" y="2310"/>
                  </a:cubicBezTo>
                  <a:lnTo>
                    <a:pt x="10300" y="1464"/>
                  </a:lnTo>
                  <a:cubicBezTo>
                    <a:pt x="10300" y="1203"/>
                    <a:pt x="10086" y="1000"/>
                    <a:pt x="9835" y="1000"/>
                  </a:cubicBezTo>
                  <a:lnTo>
                    <a:pt x="9824" y="1000"/>
                  </a:lnTo>
                  <a:cubicBezTo>
                    <a:pt x="9776" y="1000"/>
                    <a:pt x="9728" y="1000"/>
                    <a:pt x="9693" y="1012"/>
                  </a:cubicBezTo>
                  <a:lnTo>
                    <a:pt x="9693" y="750"/>
                  </a:lnTo>
                  <a:cubicBezTo>
                    <a:pt x="9693" y="500"/>
                    <a:pt x="9478" y="286"/>
                    <a:pt x="9228" y="286"/>
                  </a:cubicBezTo>
                  <a:lnTo>
                    <a:pt x="9216" y="286"/>
                  </a:lnTo>
                  <a:cubicBezTo>
                    <a:pt x="9157" y="286"/>
                    <a:pt x="9109" y="298"/>
                    <a:pt x="9062" y="321"/>
                  </a:cubicBezTo>
                  <a:cubicBezTo>
                    <a:pt x="9002" y="143"/>
                    <a:pt x="8823" y="0"/>
                    <a:pt x="86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0" name="Google Shape;11100;p60"/>
            <p:cNvSpPr/>
            <p:nvPr/>
          </p:nvSpPr>
          <p:spPr>
            <a:xfrm>
              <a:off x="8116024" y="3221804"/>
              <a:ext cx="14036" cy="10280"/>
            </a:xfrm>
            <a:custGeom>
              <a:avLst/>
              <a:gdLst/>
              <a:ahLst/>
              <a:cxnLst/>
              <a:rect l="l" t="t" r="r" b="b"/>
              <a:pathLst>
                <a:path w="441" h="323" extrusionOk="0">
                  <a:moveTo>
                    <a:pt x="155" y="1"/>
                  </a:moveTo>
                  <a:cubicBezTo>
                    <a:pt x="72" y="1"/>
                    <a:pt x="0" y="72"/>
                    <a:pt x="0" y="167"/>
                  </a:cubicBezTo>
                  <a:cubicBezTo>
                    <a:pt x="0" y="251"/>
                    <a:pt x="72" y="322"/>
                    <a:pt x="155" y="322"/>
                  </a:cubicBezTo>
                  <a:lnTo>
                    <a:pt x="274" y="322"/>
                  </a:lnTo>
                  <a:cubicBezTo>
                    <a:pt x="369" y="322"/>
                    <a:pt x="441" y="251"/>
                    <a:pt x="441" y="167"/>
                  </a:cubicBezTo>
                  <a:cubicBezTo>
                    <a:pt x="441" y="72"/>
                    <a:pt x="369"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1" name="Google Shape;11101;p60"/>
            <p:cNvSpPr/>
            <p:nvPr/>
          </p:nvSpPr>
          <p:spPr>
            <a:xfrm>
              <a:off x="8097818" y="3221804"/>
              <a:ext cx="14068" cy="10280"/>
            </a:xfrm>
            <a:custGeom>
              <a:avLst/>
              <a:gdLst/>
              <a:ahLst/>
              <a:cxnLst/>
              <a:rect l="l" t="t" r="r" b="b"/>
              <a:pathLst>
                <a:path w="442" h="323" extrusionOk="0">
                  <a:moveTo>
                    <a:pt x="168" y="1"/>
                  </a:moveTo>
                  <a:cubicBezTo>
                    <a:pt x="72" y="1"/>
                    <a:pt x="1" y="72"/>
                    <a:pt x="1" y="167"/>
                  </a:cubicBezTo>
                  <a:cubicBezTo>
                    <a:pt x="1" y="251"/>
                    <a:pt x="72" y="322"/>
                    <a:pt x="168" y="322"/>
                  </a:cubicBezTo>
                  <a:lnTo>
                    <a:pt x="287" y="322"/>
                  </a:lnTo>
                  <a:cubicBezTo>
                    <a:pt x="370" y="322"/>
                    <a:pt x="441" y="251"/>
                    <a:pt x="441" y="167"/>
                  </a:cubicBezTo>
                  <a:cubicBezTo>
                    <a:pt x="441" y="72"/>
                    <a:pt x="370" y="1"/>
                    <a:pt x="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2" name="Google Shape;11102;p60"/>
            <p:cNvSpPr/>
            <p:nvPr/>
          </p:nvSpPr>
          <p:spPr>
            <a:xfrm>
              <a:off x="8156190" y="2951621"/>
              <a:ext cx="14036" cy="10630"/>
            </a:xfrm>
            <a:custGeom>
              <a:avLst/>
              <a:gdLst/>
              <a:ahLst/>
              <a:cxnLst/>
              <a:rect l="l" t="t" r="r" b="b"/>
              <a:pathLst>
                <a:path w="441" h="334" extrusionOk="0">
                  <a:moveTo>
                    <a:pt x="167" y="0"/>
                  </a:moveTo>
                  <a:cubicBezTo>
                    <a:pt x="72" y="0"/>
                    <a:pt x="0" y="72"/>
                    <a:pt x="0" y="167"/>
                  </a:cubicBezTo>
                  <a:cubicBezTo>
                    <a:pt x="0" y="262"/>
                    <a:pt x="72" y="334"/>
                    <a:pt x="167" y="334"/>
                  </a:cubicBezTo>
                  <a:lnTo>
                    <a:pt x="286" y="334"/>
                  </a:lnTo>
                  <a:cubicBezTo>
                    <a:pt x="369" y="334"/>
                    <a:pt x="441" y="262"/>
                    <a:pt x="441" y="167"/>
                  </a:cubicBezTo>
                  <a:cubicBezTo>
                    <a:pt x="441" y="72"/>
                    <a:pt x="369" y="0"/>
                    <a:pt x="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3" name="Google Shape;11103;p60"/>
            <p:cNvSpPr/>
            <p:nvPr/>
          </p:nvSpPr>
          <p:spPr>
            <a:xfrm>
              <a:off x="8173982" y="2952385"/>
              <a:ext cx="14450" cy="10248"/>
            </a:xfrm>
            <a:custGeom>
              <a:avLst/>
              <a:gdLst/>
              <a:ahLst/>
              <a:cxnLst/>
              <a:rect l="l" t="t" r="r" b="b"/>
              <a:pathLst>
                <a:path w="454" h="322" extrusionOk="0">
                  <a:moveTo>
                    <a:pt x="168" y="0"/>
                  </a:moveTo>
                  <a:cubicBezTo>
                    <a:pt x="84" y="0"/>
                    <a:pt x="1" y="72"/>
                    <a:pt x="1" y="155"/>
                  </a:cubicBezTo>
                  <a:cubicBezTo>
                    <a:pt x="1" y="250"/>
                    <a:pt x="84" y="322"/>
                    <a:pt x="168" y="322"/>
                  </a:cubicBezTo>
                  <a:lnTo>
                    <a:pt x="287" y="322"/>
                  </a:lnTo>
                  <a:cubicBezTo>
                    <a:pt x="382" y="322"/>
                    <a:pt x="453" y="250"/>
                    <a:pt x="453" y="155"/>
                  </a:cubicBezTo>
                  <a:cubicBezTo>
                    <a:pt x="453" y="72"/>
                    <a:pt x="382" y="0"/>
                    <a:pt x="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04" name="Google Shape;11104;p60"/>
          <p:cNvGrpSpPr/>
          <p:nvPr/>
        </p:nvGrpSpPr>
        <p:grpSpPr>
          <a:xfrm>
            <a:off x="3091957" y="3374131"/>
            <a:ext cx="354717" cy="332757"/>
            <a:chOff x="3091957" y="3374131"/>
            <a:chExt cx="354717" cy="332757"/>
          </a:xfrm>
        </p:grpSpPr>
        <p:sp>
          <p:nvSpPr>
            <p:cNvPr id="11105" name="Google Shape;11105;p60"/>
            <p:cNvSpPr/>
            <p:nvPr/>
          </p:nvSpPr>
          <p:spPr>
            <a:xfrm>
              <a:off x="3091957" y="3374131"/>
              <a:ext cx="354717" cy="332757"/>
            </a:xfrm>
            <a:custGeom>
              <a:avLst/>
              <a:gdLst/>
              <a:ahLst/>
              <a:cxnLst/>
              <a:rect l="l" t="t" r="r" b="b"/>
              <a:pathLst>
                <a:path w="11145" h="10455" extrusionOk="0">
                  <a:moveTo>
                    <a:pt x="5882" y="358"/>
                  </a:moveTo>
                  <a:cubicBezTo>
                    <a:pt x="6251" y="358"/>
                    <a:pt x="6549" y="656"/>
                    <a:pt x="6549" y="1037"/>
                  </a:cubicBezTo>
                  <a:lnTo>
                    <a:pt x="6549" y="1430"/>
                  </a:lnTo>
                  <a:cubicBezTo>
                    <a:pt x="6549" y="1751"/>
                    <a:pt x="6799" y="2001"/>
                    <a:pt x="7108" y="2001"/>
                  </a:cubicBezTo>
                  <a:lnTo>
                    <a:pt x="7275" y="2001"/>
                  </a:lnTo>
                  <a:cubicBezTo>
                    <a:pt x="7394" y="2001"/>
                    <a:pt x="7489" y="2084"/>
                    <a:pt x="7489" y="2204"/>
                  </a:cubicBezTo>
                  <a:lnTo>
                    <a:pt x="7489" y="3311"/>
                  </a:lnTo>
                  <a:cubicBezTo>
                    <a:pt x="7489" y="3430"/>
                    <a:pt x="7394" y="3513"/>
                    <a:pt x="7275" y="3513"/>
                  </a:cubicBezTo>
                  <a:lnTo>
                    <a:pt x="3846" y="3513"/>
                  </a:lnTo>
                  <a:cubicBezTo>
                    <a:pt x="3727" y="3513"/>
                    <a:pt x="3632" y="3430"/>
                    <a:pt x="3632" y="3311"/>
                  </a:cubicBezTo>
                  <a:lnTo>
                    <a:pt x="3632" y="2204"/>
                  </a:lnTo>
                  <a:cubicBezTo>
                    <a:pt x="3632" y="2084"/>
                    <a:pt x="3727" y="2001"/>
                    <a:pt x="3846" y="2001"/>
                  </a:cubicBezTo>
                  <a:lnTo>
                    <a:pt x="4001" y="2001"/>
                  </a:lnTo>
                  <a:cubicBezTo>
                    <a:pt x="4322" y="2001"/>
                    <a:pt x="4572" y="1739"/>
                    <a:pt x="4572" y="1430"/>
                  </a:cubicBezTo>
                  <a:lnTo>
                    <a:pt x="4572" y="1037"/>
                  </a:lnTo>
                  <a:cubicBezTo>
                    <a:pt x="4572" y="656"/>
                    <a:pt x="4870" y="358"/>
                    <a:pt x="5239" y="358"/>
                  </a:cubicBezTo>
                  <a:close/>
                  <a:moveTo>
                    <a:pt x="10132" y="2477"/>
                  </a:moveTo>
                  <a:cubicBezTo>
                    <a:pt x="10478" y="2477"/>
                    <a:pt x="10764" y="2763"/>
                    <a:pt x="10764" y="3097"/>
                  </a:cubicBezTo>
                  <a:lnTo>
                    <a:pt x="10764" y="9466"/>
                  </a:lnTo>
                  <a:lnTo>
                    <a:pt x="10775" y="9466"/>
                  </a:lnTo>
                  <a:cubicBezTo>
                    <a:pt x="10775" y="9812"/>
                    <a:pt x="10490" y="10097"/>
                    <a:pt x="10156" y="10097"/>
                  </a:cubicBezTo>
                  <a:lnTo>
                    <a:pt x="965" y="10097"/>
                  </a:lnTo>
                  <a:cubicBezTo>
                    <a:pt x="631" y="10097"/>
                    <a:pt x="346" y="9812"/>
                    <a:pt x="346" y="9466"/>
                  </a:cubicBezTo>
                  <a:lnTo>
                    <a:pt x="346" y="3097"/>
                  </a:lnTo>
                  <a:cubicBezTo>
                    <a:pt x="346" y="2763"/>
                    <a:pt x="619" y="2477"/>
                    <a:pt x="965" y="2477"/>
                  </a:cubicBezTo>
                  <a:lnTo>
                    <a:pt x="3274" y="2477"/>
                  </a:lnTo>
                  <a:lnTo>
                    <a:pt x="3274" y="3061"/>
                  </a:lnTo>
                  <a:lnTo>
                    <a:pt x="1096" y="3061"/>
                  </a:lnTo>
                  <a:cubicBezTo>
                    <a:pt x="1000" y="3061"/>
                    <a:pt x="917" y="3132"/>
                    <a:pt x="917" y="3239"/>
                  </a:cubicBezTo>
                  <a:lnTo>
                    <a:pt x="917" y="9335"/>
                  </a:lnTo>
                  <a:cubicBezTo>
                    <a:pt x="917" y="9443"/>
                    <a:pt x="1000" y="9514"/>
                    <a:pt x="1096" y="9514"/>
                  </a:cubicBezTo>
                  <a:lnTo>
                    <a:pt x="7037" y="9514"/>
                  </a:lnTo>
                  <a:cubicBezTo>
                    <a:pt x="7144" y="9514"/>
                    <a:pt x="7215" y="9443"/>
                    <a:pt x="7215" y="9335"/>
                  </a:cubicBezTo>
                  <a:cubicBezTo>
                    <a:pt x="7215" y="9228"/>
                    <a:pt x="7144" y="9157"/>
                    <a:pt x="7037" y="9157"/>
                  </a:cubicBezTo>
                  <a:lnTo>
                    <a:pt x="1274" y="9157"/>
                  </a:lnTo>
                  <a:lnTo>
                    <a:pt x="1274" y="3418"/>
                  </a:lnTo>
                  <a:lnTo>
                    <a:pt x="3274" y="3418"/>
                  </a:lnTo>
                  <a:cubicBezTo>
                    <a:pt x="3322" y="3680"/>
                    <a:pt x="3560" y="3894"/>
                    <a:pt x="3822" y="3894"/>
                  </a:cubicBezTo>
                  <a:lnTo>
                    <a:pt x="7275" y="3894"/>
                  </a:lnTo>
                  <a:cubicBezTo>
                    <a:pt x="7561" y="3894"/>
                    <a:pt x="7787" y="3680"/>
                    <a:pt x="7835" y="3418"/>
                  </a:cubicBezTo>
                  <a:lnTo>
                    <a:pt x="9823" y="3418"/>
                  </a:lnTo>
                  <a:lnTo>
                    <a:pt x="9823" y="9157"/>
                  </a:lnTo>
                  <a:lnTo>
                    <a:pt x="7894" y="9157"/>
                  </a:lnTo>
                  <a:cubicBezTo>
                    <a:pt x="7787" y="9157"/>
                    <a:pt x="7704" y="9228"/>
                    <a:pt x="7704" y="9335"/>
                  </a:cubicBezTo>
                  <a:cubicBezTo>
                    <a:pt x="7704" y="9443"/>
                    <a:pt x="7787" y="9514"/>
                    <a:pt x="7894" y="9514"/>
                  </a:cubicBezTo>
                  <a:lnTo>
                    <a:pt x="10002" y="9514"/>
                  </a:lnTo>
                  <a:cubicBezTo>
                    <a:pt x="10109" y="9514"/>
                    <a:pt x="10180" y="9443"/>
                    <a:pt x="10180" y="9335"/>
                  </a:cubicBezTo>
                  <a:lnTo>
                    <a:pt x="10180" y="3239"/>
                  </a:lnTo>
                  <a:cubicBezTo>
                    <a:pt x="10180" y="3132"/>
                    <a:pt x="10109" y="3061"/>
                    <a:pt x="10002" y="3061"/>
                  </a:cubicBezTo>
                  <a:lnTo>
                    <a:pt x="7835" y="3061"/>
                  </a:lnTo>
                  <a:lnTo>
                    <a:pt x="7835" y="2477"/>
                  </a:lnTo>
                  <a:close/>
                  <a:moveTo>
                    <a:pt x="5239" y="1"/>
                  </a:moveTo>
                  <a:cubicBezTo>
                    <a:pt x="4679" y="1"/>
                    <a:pt x="4215" y="465"/>
                    <a:pt x="4215" y="1037"/>
                  </a:cubicBezTo>
                  <a:lnTo>
                    <a:pt x="4215" y="1430"/>
                  </a:lnTo>
                  <a:cubicBezTo>
                    <a:pt x="4215" y="1549"/>
                    <a:pt x="4120" y="1644"/>
                    <a:pt x="4001" y="1644"/>
                  </a:cubicBezTo>
                  <a:lnTo>
                    <a:pt x="3846" y="1644"/>
                  </a:lnTo>
                  <a:cubicBezTo>
                    <a:pt x="3560" y="1644"/>
                    <a:pt x="3334" y="1846"/>
                    <a:pt x="3286" y="2120"/>
                  </a:cubicBezTo>
                  <a:lnTo>
                    <a:pt x="977" y="2120"/>
                  </a:lnTo>
                  <a:cubicBezTo>
                    <a:pt x="441" y="2120"/>
                    <a:pt x="0" y="2561"/>
                    <a:pt x="0" y="3097"/>
                  </a:cubicBezTo>
                  <a:lnTo>
                    <a:pt x="0" y="9466"/>
                  </a:lnTo>
                  <a:cubicBezTo>
                    <a:pt x="0" y="10002"/>
                    <a:pt x="441" y="10455"/>
                    <a:pt x="977" y="10455"/>
                  </a:cubicBezTo>
                  <a:lnTo>
                    <a:pt x="10168" y="10455"/>
                  </a:lnTo>
                  <a:cubicBezTo>
                    <a:pt x="10704" y="10455"/>
                    <a:pt x="11145" y="10002"/>
                    <a:pt x="11145" y="9466"/>
                  </a:cubicBezTo>
                  <a:lnTo>
                    <a:pt x="11145" y="3097"/>
                  </a:lnTo>
                  <a:cubicBezTo>
                    <a:pt x="11133" y="2561"/>
                    <a:pt x="10692" y="2120"/>
                    <a:pt x="10156" y="2120"/>
                  </a:cubicBezTo>
                  <a:lnTo>
                    <a:pt x="7846" y="2120"/>
                  </a:lnTo>
                  <a:cubicBezTo>
                    <a:pt x="7799" y="1846"/>
                    <a:pt x="7561" y="1644"/>
                    <a:pt x="7299" y="1644"/>
                  </a:cubicBezTo>
                  <a:lnTo>
                    <a:pt x="7120" y="1644"/>
                  </a:lnTo>
                  <a:cubicBezTo>
                    <a:pt x="7001" y="1644"/>
                    <a:pt x="6906" y="1549"/>
                    <a:pt x="6906" y="1430"/>
                  </a:cubicBezTo>
                  <a:lnTo>
                    <a:pt x="6906" y="1037"/>
                  </a:lnTo>
                  <a:cubicBezTo>
                    <a:pt x="6906" y="465"/>
                    <a:pt x="644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6" name="Google Shape;11106;p60"/>
            <p:cNvSpPr/>
            <p:nvPr/>
          </p:nvSpPr>
          <p:spPr>
            <a:xfrm>
              <a:off x="3248835" y="3434380"/>
              <a:ext cx="40580" cy="40962"/>
            </a:xfrm>
            <a:custGeom>
              <a:avLst/>
              <a:gdLst/>
              <a:ahLst/>
              <a:cxnLst/>
              <a:rect l="l" t="t" r="r" b="b"/>
              <a:pathLst>
                <a:path w="1275" h="1287" extrusionOk="0">
                  <a:moveTo>
                    <a:pt x="643" y="346"/>
                  </a:moveTo>
                  <a:cubicBezTo>
                    <a:pt x="798" y="346"/>
                    <a:pt x="941" y="477"/>
                    <a:pt x="941" y="644"/>
                  </a:cubicBezTo>
                  <a:cubicBezTo>
                    <a:pt x="941" y="811"/>
                    <a:pt x="798" y="942"/>
                    <a:pt x="643" y="942"/>
                  </a:cubicBezTo>
                  <a:cubicBezTo>
                    <a:pt x="477" y="942"/>
                    <a:pt x="346" y="811"/>
                    <a:pt x="346" y="644"/>
                  </a:cubicBezTo>
                  <a:cubicBezTo>
                    <a:pt x="346" y="477"/>
                    <a:pt x="477" y="346"/>
                    <a:pt x="643" y="346"/>
                  </a:cubicBezTo>
                  <a:close/>
                  <a:moveTo>
                    <a:pt x="643" y="1"/>
                  </a:moveTo>
                  <a:cubicBezTo>
                    <a:pt x="286" y="1"/>
                    <a:pt x="0" y="287"/>
                    <a:pt x="0" y="644"/>
                  </a:cubicBezTo>
                  <a:cubicBezTo>
                    <a:pt x="0" y="1001"/>
                    <a:pt x="286" y="1287"/>
                    <a:pt x="643" y="1287"/>
                  </a:cubicBezTo>
                  <a:cubicBezTo>
                    <a:pt x="1001" y="1287"/>
                    <a:pt x="1274" y="1001"/>
                    <a:pt x="1274" y="644"/>
                  </a:cubicBezTo>
                  <a:cubicBezTo>
                    <a:pt x="1274" y="287"/>
                    <a:pt x="1001" y="1"/>
                    <a:pt x="6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7" name="Google Shape;11107;p60"/>
            <p:cNvSpPr/>
            <p:nvPr/>
          </p:nvSpPr>
          <p:spPr>
            <a:xfrm>
              <a:off x="3183270" y="3524197"/>
              <a:ext cx="181544" cy="115629"/>
            </a:xfrm>
            <a:custGeom>
              <a:avLst/>
              <a:gdLst/>
              <a:ahLst/>
              <a:cxnLst/>
              <a:rect l="l" t="t" r="r" b="b"/>
              <a:pathLst>
                <a:path w="5704" h="3633" extrusionOk="0">
                  <a:moveTo>
                    <a:pt x="822" y="2227"/>
                  </a:moveTo>
                  <a:cubicBezTo>
                    <a:pt x="1108" y="2227"/>
                    <a:pt x="1346" y="2465"/>
                    <a:pt x="1346" y="2751"/>
                  </a:cubicBezTo>
                  <a:cubicBezTo>
                    <a:pt x="1346" y="3025"/>
                    <a:pt x="1108" y="3263"/>
                    <a:pt x="822" y="3263"/>
                  </a:cubicBezTo>
                  <a:cubicBezTo>
                    <a:pt x="525" y="3263"/>
                    <a:pt x="298" y="3025"/>
                    <a:pt x="298" y="2751"/>
                  </a:cubicBezTo>
                  <a:cubicBezTo>
                    <a:pt x="298" y="2453"/>
                    <a:pt x="536" y="2227"/>
                    <a:pt x="822" y="2227"/>
                  </a:cubicBezTo>
                  <a:close/>
                  <a:moveTo>
                    <a:pt x="5275" y="1"/>
                  </a:moveTo>
                  <a:cubicBezTo>
                    <a:pt x="5275" y="1"/>
                    <a:pt x="5251" y="1"/>
                    <a:pt x="5251" y="25"/>
                  </a:cubicBezTo>
                  <a:lnTo>
                    <a:pt x="4775" y="263"/>
                  </a:lnTo>
                  <a:cubicBezTo>
                    <a:pt x="4692" y="298"/>
                    <a:pt x="4656" y="406"/>
                    <a:pt x="4704" y="501"/>
                  </a:cubicBezTo>
                  <a:cubicBezTo>
                    <a:pt x="4737" y="559"/>
                    <a:pt x="4798" y="594"/>
                    <a:pt x="4861" y="594"/>
                  </a:cubicBezTo>
                  <a:cubicBezTo>
                    <a:pt x="4889" y="594"/>
                    <a:pt x="4916" y="587"/>
                    <a:pt x="4942" y="572"/>
                  </a:cubicBezTo>
                  <a:lnTo>
                    <a:pt x="5061" y="513"/>
                  </a:lnTo>
                  <a:lnTo>
                    <a:pt x="5061" y="513"/>
                  </a:lnTo>
                  <a:cubicBezTo>
                    <a:pt x="4835" y="1287"/>
                    <a:pt x="4442" y="1846"/>
                    <a:pt x="3870" y="2203"/>
                  </a:cubicBezTo>
                  <a:cubicBezTo>
                    <a:pt x="3312" y="2563"/>
                    <a:pt x="2694" y="2644"/>
                    <a:pt x="2247" y="2644"/>
                  </a:cubicBezTo>
                  <a:cubicBezTo>
                    <a:pt x="2027" y="2644"/>
                    <a:pt x="1849" y="2624"/>
                    <a:pt x="1739" y="2608"/>
                  </a:cubicBezTo>
                  <a:cubicBezTo>
                    <a:pt x="1668" y="2192"/>
                    <a:pt x="1310" y="1882"/>
                    <a:pt x="882" y="1882"/>
                  </a:cubicBezTo>
                  <a:cubicBezTo>
                    <a:pt x="394" y="1882"/>
                    <a:pt x="1" y="2287"/>
                    <a:pt x="1" y="2763"/>
                  </a:cubicBezTo>
                  <a:cubicBezTo>
                    <a:pt x="1" y="3239"/>
                    <a:pt x="405" y="3632"/>
                    <a:pt x="882" y="3632"/>
                  </a:cubicBezTo>
                  <a:cubicBezTo>
                    <a:pt x="1298" y="3632"/>
                    <a:pt x="1644" y="3358"/>
                    <a:pt x="1727" y="2965"/>
                  </a:cubicBezTo>
                  <a:cubicBezTo>
                    <a:pt x="1858" y="2989"/>
                    <a:pt x="2037" y="3001"/>
                    <a:pt x="2263" y="3001"/>
                  </a:cubicBezTo>
                  <a:cubicBezTo>
                    <a:pt x="2751" y="3001"/>
                    <a:pt x="3442" y="2906"/>
                    <a:pt x="4061" y="2513"/>
                  </a:cubicBezTo>
                  <a:cubicBezTo>
                    <a:pt x="4692" y="2108"/>
                    <a:pt x="5120" y="1501"/>
                    <a:pt x="5394" y="679"/>
                  </a:cubicBezTo>
                  <a:lnTo>
                    <a:pt x="5418" y="727"/>
                  </a:lnTo>
                  <a:cubicBezTo>
                    <a:pt x="5454" y="787"/>
                    <a:pt x="5513" y="822"/>
                    <a:pt x="5585" y="822"/>
                  </a:cubicBezTo>
                  <a:cubicBezTo>
                    <a:pt x="5620" y="822"/>
                    <a:pt x="5644" y="822"/>
                    <a:pt x="5656" y="810"/>
                  </a:cubicBezTo>
                  <a:cubicBezTo>
                    <a:pt x="5680" y="751"/>
                    <a:pt x="5704" y="632"/>
                    <a:pt x="5656" y="560"/>
                  </a:cubicBezTo>
                  <a:lnTo>
                    <a:pt x="5418" y="84"/>
                  </a:lnTo>
                  <a:cubicBezTo>
                    <a:pt x="5418" y="84"/>
                    <a:pt x="5418" y="60"/>
                    <a:pt x="5406" y="60"/>
                  </a:cubicBezTo>
                  <a:cubicBezTo>
                    <a:pt x="5394" y="48"/>
                    <a:pt x="5394" y="36"/>
                    <a:pt x="5370" y="36"/>
                  </a:cubicBezTo>
                  <a:lnTo>
                    <a:pt x="5358" y="25"/>
                  </a:lnTo>
                  <a:cubicBezTo>
                    <a:pt x="5358" y="25"/>
                    <a:pt x="5347" y="25"/>
                    <a:pt x="5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8" name="Google Shape;11108;p60"/>
            <p:cNvSpPr/>
            <p:nvPr/>
          </p:nvSpPr>
          <p:spPr>
            <a:xfrm>
              <a:off x="3157872" y="3516050"/>
              <a:ext cx="34915" cy="33578"/>
            </a:xfrm>
            <a:custGeom>
              <a:avLst/>
              <a:gdLst/>
              <a:ahLst/>
              <a:cxnLst/>
              <a:rect l="l" t="t" r="r" b="b"/>
              <a:pathLst>
                <a:path w="1097" h="1055" extrusionOk="0">
                  <a:moveTo>
                    <a:pt x="197" y="1"/>
                  </a:moveTo>
                  <a:cubicBezTo>
                    <a:pt x="153" y="1"/>
                    <a:pt x="108" y="19"/>
                    <a:pt x="72" y="54"/>
                  </a:cubicBezTo>
                  <a:cubicBezTo>
                    <a:pt x="1" y="126"/>
                    <a:pt x="1" y="233"/>
                    <a:pt x="72" y="304"/>
                  </a:cubicBezTo>
                  <a:lnTo>
                    <a:pt x="299" y="531"/>
                  </a:lnTo>
                  <a:lnTo>
                    <a:pt x="72" y="757"/>
                  </a:lnTo>
                  <a:cubicBezTo>
                    <a:pt x="1" y="828"/>
                    <a:pt x="1" y="935"/>
                    <a:pt x="72" y="1007"/>
                  </a:cubicBezTo>
                  <a:cubicBezTo>
                    <a:pt x="108" y="1043"/>
                    <a:pt x="144" y="1054"/>
                    <a:pt x="191" y="1054"/>
                  </a:cubicBezTo>
                  <a:cubicBezTo>
                    <a:pt x="239" y="1054"/>
                    <a:pt x="275" y="1043"/>
                    <a:pt x="311" y="1007"/>
                  </a:cubicBezTo>
                  <a:lnTo>
                    <a:pt x="537" y="781"/>
                  </a:lnTo>
                  <a:lnTo>
                    <a:pt x="751" y="1007"/>
                  </a:lnTo>
                  <a:cubicBezTo>
                    <a:pt x="787" y="1043"/>
                    <a:pt x="834" y="1054"/>
                    <a:pt x="870" y="1054"/>
                  </a:cubicBezTo>
                  <a:cubicBezTo>
                    <a:pt x="918" y="1054"/>
                    <a:pt x="965" y="1043"/>
                    <a:pt x="989" y="1007"/>
                  </a:cubicBezTo>
                  <a:cubicBezTo>
                    <a:pt x="1073" y="935"/>
                    <a:pt x="1073" y="828"/>
                    <a:pt x="989" y="757"/>
                  </a:cubicBezTo>
                  <a:lnTo>
                    <a:pt x="799" y="531"/>
                  </a:lnTo>
                  <a:lnTo>
                    <a:pt x="1025" y="304"/>
                  </a:lnTo>
                  <a:cubicBezTo>
                    <a:pt x="1096" y="233"/>
                    <a:pt x="1096" y="126"/>
                    <a:pt x="1025" y="54"/>
                  </a:cubicBezTo>
                  <a:cubicBezTo>
                    <a:pt x="989" y="19"/>
                    <a:pt x="945" y="1"/>
                    <a:pt x="900" y="1"/>
                  </a:cubicBezTo>
                  <a:cubicBezTo>
                    <a:pt x="855" y="1"/>
                    <a:pt x="811" y="19"/>
                    <a:pt x="775" y="54"/>
                  </a:cubicBezTo>
                  <a:lnTo>
                    <a:pt x="549" y="281"/>
                  </a:lnTo>
                  <a:lnTo>
                    <a:pt x="322" y="54"/>
                  </a:lnTo>
                  <a:cubicBezTo>
                    <a:pt x="287" y="19"/>
                    <a:pt x="242" y="1"/>
                    <a:pt x="1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09" name="Google Shape;11109;p60"/>
            <p:cNvSpPr/>
            <p:nvPr/>
          </p:nvSpPr>
          <p:spPr>
            <a:xfrm>
              <a:off x="3351892" y="3605485"/>
              <a:ext cx="35297" cy="33578"/>
            </a:xfrm>
            <a:custGeom>
              <a:avLst/>
              <a:gdLst/>
              <a:ahLst/>
              <a:cxnLst/>
              <a:rect l="l" t="t" r="r" b="b"/>
              <a:pathLst>
                <a:path w="1109" h="1055" extrusionOk="0">
                  <a:moveTo>
                    <a:pt x="208" y="1"/>
                  </a:moveTo>
                  <a:cubicBezTo>
                    <a:pt x="162" y="1"/>
                    <a:pt x="114" y="19"/>
                    <a:pt x="72" y="54"/>
                  </a:cubicBezTo>
                  <a:cubicBezTo>
                    <a:pt x="1" y="138"/>
                    <a:pt x="1" y="233"/>
                    <a:pt x="72" y="316"/>
                  </a:cubicBezTo>
                  <a:lnTo>
                    <a:pt x="299" y="530"/>
                  </a:lnTo>
                  <a:lnTo>
                    <a:pt x="72" y="757"/>
                  </a:lnTo>
                  <a:cubicBezTo>
                    <a:pt x="1" y="828"/>
                    <a:pt x="1" y="935"/>
                    <a:pt x="72" y="1007"/>
                  </a:cubicBezTo>
                  <a:cubicBezTo>
                    <a:pt x="108" y="1042"/>
                    <a:pt x="156" y="1054"/>
                    <a:pt x="191" y="1054"/>
                  </a:cubicBezTo>
                  <a:cubicBezTo>
                    <a:pt x="239" y="1054"/>
                    <a:pt x="287" y="1042"/>
                    <a:pt x="311" y="1007"/>
                  </a:cubicBezTo>
                  <a:lnTo>
                    <a:pt x="537" y="792"/>
                  </a:lnTo>
                  <a:lnTo>
                    <a:pt x="763" y="1007"/>
                  </a:lnTo>
                  <a:cubicBezTo>
                    <a:pt x="787" y="1042"/>
                    <a:pt x="834" y="1054"/>
                    <a:pt x="882" y="1054"/>
                  </a:cubicBezTo>
                  <a:cubicBezTo>
                    <a:pt x="930" y="1054"/>
                    <a:pt x="965" y="1042"/>
                    <a:pt x="1001" y="1007"/>
                  </a:cubicBezTo>
                  <a:cubicBezTo>
                    <a:pt x="1073" y="935"/>
                    <a:pt x="1073" y="828"/>
                    <a:pt x="1001" y="757"/>
                  </a:cubicBezTo>
                  <a:lnTo>
                    <a:pt x="811" y="530"/>
                  </a:lnTo>
                  <a:lnTo>
                    <a:pt x="1037" y="316"/>
                  </a:lnTo>
                  <a:cubicBezTo>
                    <a:pt x="1108" y="233"/>
                    <a:pt x="1108" y="138"/>
                    <a:pt x="1037" y="54"/>
                  </a:cubicBezTo>
                  <a:cubicBezTo>
                    <a:pt x="995" y="19"/>
                    <a:pt x="950" y="1"/>
                    <a:pt x="906" y="1"/>
                  </a:cubicBezTo>
                  <a:cubicBezTo>
                    <a:pt x="861" y="1"/>
                    <a:pt x="817" y="19"/>
                    <a:pt x="775" y="54"/>
                  </a:cubicBezTo>
                  <a:lnTo>
                    <a:pt x="561" y="280"/>
                  </a:lnTo>
                  <a:lnTo>
                    <a:pt x="334" y="54"/>
                  </a:lnTo>
                  <a:cubicBezTo>
                    <a:pt x="299" y="19"/>
                    <a:pt x="254"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0" name="Google Shape;11110;p60"/>
            <p:cNvSpPr/>
            <p:nvPr/>
          </p:nvSpPr>
          <p:spPr>
            <a:xfrm>
              <a:off x="3254882" y="3531231"/>
              <a:ext cx="35297" cy="33546"/>
            </a:xfrm>
            <a:custGeom>
              <a:avLst/>
              <a:gdLst/>
              <a:ahLst/>
              <a:cxnLst/>
              <a:rect l="l" t="t" r="r" b="b"/>
              <a:pathLst>
                <a:path w="1109" h="1054" extrusionOk="0">
                  <a:moveTo>
                    <a:pt x="199" y="0"/>
                  </a:moveTo>
                  <a:cubicBezTo>
                    <a:pt x="153" y="0"/>
                    <a:pt x="108" y="18"/>
                    <a:pt x="72" y="54"/>
                  </a:cubicBezTo>
                  <a:cubicBezTo>
                    <a:pt x="1" y="125"/>
                    <a:pt x="1" y="232"/>
                    <a:pt x="72" y="304"/>
                  </a:cubicBezTo>
                  <a:lnTo>
                    <a:pt x="299" y="530"/>
                  </a:lnTo>
                  <a:lnTo>
                    <a:pt x="72" y="756"/>
                  </a:lnTo>
                  <a:cubicBezTo>
                    <a:pt x="1" y="828"/>
                    <a:pt x="1" y="935"/>
                    <a:pt x="72" y="1006"/>
                  </a:cubicBezTo>
                  <a:cubicBezTo>
                    <a:pt x="108" y="1042"/>
                    <a:pt x="144" y="1054"/>
                    <a:pt x="191" y="1054"/>
                  </a:cubicBezTo>
                  <a:cubicBezTo>
                    <a:pt x="239" y="1054"/>
                    <a:pt x="287" y="1042"/>
                    <a:pt x="311" y="1006"/>
                  </a:cubicBezTo>
                  <a:lnTo>
                    <a:pt x="537" y="780"/>
                  </a:lnTo>
                  <a:lnTo>
                    <a:pt x="763" y="1006"/>
                  </a:lnTo>
                  <a:cubicBezTo>
                    <a:pt x="787" y="1042"/>
                    <a:pt x="834" y="1054"/>
                    <a:pt x="882" y="1054"/>
                  </a:cubicBezTo>
                  <a:cubicBezTo>
                    <a:pt x="918" y="1054"/>
                    <a:pt x="965" y="1042"/>
                    <a:pt x="1001" y="1006"/>
                  </a:cubicBezTo>
                  <a:cubicBezTo>
                    <a:pt x="1073" y="935"/>
                    <a:pt x="1073" y="828"/>
                    <a:pt x="1001" y="756"/>
                  </a:cubicBezTo>
                  <a:lnTo>
                    <a:pt x="811" y="530"/>
                  </a:lnTo>
                  <a:lnTo>
                    <a:pt x="1025" y="304"/>
                  </a:lnTo>
                  <a:cubicBezTo>
                    <a:pt x="1108" y="232"/>
                    <a:pt x="1108" y="125"/>
                    <a:pt x="1025" y="54"/>
                  </a:cubicBezTo>
                  <a:cubicBezTo>
                    <a:pt x="989" y="18"/>
                    <a:pt x="945" y="0"/>
                    <a:pt x="900" y="0"/>
                  </a:cubicBezTo>
                  <a:cubicBezTo>
                    <a:pt x="855" y="0"/>
                    <a:pt x="811" y="18"/>
                    <a:pt x="775" y="54"/>
                  </a:cubicBezTo>
                  <a:lnTo>
                    <a:pt x="549" y="280"/>
                  </a:lnTo>
                  <a:lnTo>
                    <a:pt x="334" y="54"/>
                  </a:lnTo>
                  <a:cubicBezTo>
                    <a:pt x="293" y="18"/>
                    <a:pt x="245"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1" name="Google Shape;11111;p60"/>
          <p:cNvGrpSpPr/>
          <p:nvPr/>
        </p:nvGrpSpPr>
        <p:grpSpPr>
          <a:xfrm>
            <a:off x="3988156" y="3380210"/>
            <a:ext cx="353954" cy="318880"/>
            <a:chOff x="3988156" y="3380210"/>
            <a:chExt cx="353954" cy="318880"/>
          </a:xfrm>
        </p:grpSpPr>
        <p:sp>
          <p:nvSpPr>
            <p:cNvPr id="11112" name="Google Shape;11112;p60"/>
            <p:cNvSpPr/>
            <p:nvPr/>
          </p:nvSpPr>
          <p:spPr>
            <a:xfrm>
              <a:off x="4134053" y="3446156"/>
              <a:ext cx="28454" cy="49269"/>
            </a:xfrm>
            <a:custGeom>
              <a:avLst/>
              <a:gdLst/>
              <a:ahLst/>
              <a:cxnLst/>
              <a:rect l="l" t="t" r="r" b="b"/>
              <a:pathLst>
                <a:path w="894" h="1548" extrusionOk="0">
                  <a:moveTo>
                    <a:pt x="417" y="286"/>
                  </a:moveTo>
                  <a:lnTo>
                    <a:pt x="417" y="572"/>
                  </a:lnTo>
                  <a:cubicBezTo>
                    <a:pt x="298" y="524"/>
                    <a:pt x="274" y="500"/>
                    <a:pt x="274" y="417"/>
                  </a:cubicBezTo>
                  <a:cubicBezTo>
                    <a:pt x="274" y="345"/>
                    <a:pt x="346" y="298"/>
                    <a:pt x="417" y="286"/>
                  </a:cubicBezTo>
                  <a:close/>
                  <a:moveTo>
                    <a:pt x="524" y="869"/>
                  </a:moveTo>
                  <a:cubicBezTo>
                    <a:pt x="643" y="917"/>
                    <a:pt x="655" y="976"/>
                    <a:pt x="655" y="1048"/>
                  </a:cubicBezTo>
                  <a:cubicBezTo>
                    <a:pt x="655" y="1119"/>
                    <a:pt x="596" y="1179"/>
                    <a:pt x="524" y="1191"/>
                  </a:cubicBezTo>
                  <a:lnTo>
                    <a:pt x="524" y="869"/>
                  </a:lnTo>
                  <a:close/>
                  <a:moveTo>
                    <a:pt x="477" y="0"/>
                  </a:moveTo>
                  <a:cubicBezTo>
                    <a:pt x="453" y="0"/>
                    <a:pt x="417" y="24"/>
                    <a:pt x="417" y="48"/>
                  </a:cubicBezTo>
                  <a:lnTo>
                    <a:pt x="417" y="107"/>
                  </a:lnTo>
                  <a:cubicBezTo>
                    <a:pt x="191" y="131"/>
                    <a:pt x="60" y="250"/>
                    <a:pt x="60" y="476"/>
                  </a:cubicBezTo>
                  <a:cubicBezTo>
                    <a:pt x="60" y="703"/>
                    <a:pt x="227" y="774"/>
                    <a:pt x="417" y="845"/>
                  </a:cubicBezTo>
                  <a:lnTo>
                    <a:pt x="417" y="1226"/>
                  </a:lnTo>
                  <a:cubicBezTo>
                    <a:pt x="310" y="1203"/>
                    <a:pt x="274" y="1179"/>
                    <a:pt x="179" y="1107"/>
                  </a:cubicBezTo>
                  <a:cubicBezTo>
                    <a:pt x="160" y="1093"/>
                    <a:pt x="143" y="1087"/>
                    <a:pt x="127" y="1087"/>
                  </a:cubicBezTo>
                  <a:cubicBezTo>
                    <a:pt x="101" y="1087"/>
                    <a:pt x="77" y="1102"/>
                    <a:pt x="48" y="1131"/>
                  </a:cubicBezTo>
                  <a:cubicBezTo>
                    <a:pt x="0" y="1191"/>
                    <a:pt x="0" y="1250"/>
                    <a:pt x="48" y="1298"/>
                  </a:cubicBezTo>
                  <a:cubicBezTo>
                    <a:pt x="120" y="1405"/>
                    <a:pt x="274" y="1453"/>
                    <a:pt x="417" y="1453"/>
                  </a:cubicBezTo>
                  <a:lnTo>
                    <a:pt x="417" y="1512"/>
                  </a:lnTo>
                  <a:cubicBezTo>
                    <a:pt x="417" y="1536"/>
                    <a:pt x="453" y="1548"/>
                    <a:pt x="477" y="1548"/>
                  </a:cubicBezTo>
                  <a:cubicBezTo>
                    <a:pt x="512" y="1548"/>
                    <a:pt x="536" y="1536"/>
                    <a:pt x="536" y="1512"/>
                  </a:cubicBezTo>
                  <a:lnTo>
                    <a:pt x="536" y="1453"/>
                  </a:lnTo>
                  <a:cubicBezTo>
                    <a:pt x="727" y="1417"/>
                    <a:pt x="893" y="1298"/>
                    <a:pt x="893" y="1048"/>
                  </a:cubicBezTo>
                  <a:cubicBezTo>
                    <a:pt x="893" y="798"/>
                    <a:pt x="751" y="691"/>
                    <a:pt x="536" y="619"/>
                  </a:cubicBezTo>
                  <a:lnTo>
                    <a:pt x="536" y="286"/>
                  </a:lnTo>
                  <a:cubicBezTo>
                    <a:pt x="584" y="286"/>
                    <a:pt x="631" y="298"/>
                    <a:pt x="667" y="333"/>
                  </a:cubicBezTo>
                  <a:cubicBezTo>
                    <a:pt x="694" y="340"/>
                    <a:pt x="726" y="363"/>
                    <a:pt x="759" y="363"/>
                  </a:cubicBezTo>
                  <a:cubicBezTo>
                    <a:pt x="783" y="363"/>
                    <a:pt x="808" y="350"/>
                    <a:pt x="834" y="310"/>
                  </a:cubicBezTo>
                  <a:cubicBezTo>
                    <a:pt x="870" y="274"/>
                    <a:pt x="882" y="214"/>
                    <a:pt x="822" y="167"/>
                  </a:cubicBezTo>
                  <a:cubicBezTo>
                    <a:pt x="751" y="107"/>
                    <a:pt x="631" y="95"/>
                    <a:pt x="536" y="95"/>
                  </a:cubicBezTo>
                  <a:lnTo>
                    <a:pt x="536" y="48"/>
                  </a:lnTo>
                  <a:cubicBezTo>
                    <a:pt x="536" y="12"/>
                    <a:pt x="501"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3" name="Google Shape;11113;p60"/>
            <p:cNvSpPr/>
            <p:nvPr/>
          </p:nvSpPr>
          <p:spPr>
            <a:xfrm>
              <a:off x="4188988" y="3398001"/>
              <a:ext cx="81510" cy="81510"/>
            </a:xfrm>
            <a:custGeom>
              <a:avLst/>
              <a:gdLst/>
              <a:ahLst/>
              <a:cxnLst/>
              <a:rect l="l" t="t" r="r" b="b"/>
              <a:pathLst>
                <a:path w="2561" h="2561" extrusionOk="0">
                  <a:moveTo>
                    <a:pt x="1287" y="311"/>
                  </a:moveTo>
                  <a:cubicBezTo>
                    <a:pt x="1823" y="311"/>
                    <a:pt x="2251" y="739"/>
                    <a:pt x="2251" y="1275"/>
                  </a:cubicBezTo>
                  <a:cubicBezTo>
                    <a:pt x="2251" y="1811"/>
                    <a:pt x="1823" y="2251"/>
                    <a:pt x="1287" y="2251"/>
                  </a:cubicBezTo>
                  <a:cubicBezTo>
                    <a:pt x="751" y="2251"/>
                    <a:pt x="310" y="1811"/>
                    <a:pt x="310" y="1275"/>
                  </a:cubicBezTo>
                  <a:cubicBezTo>
                    <a:pt x="310" y="739"/>
                    <a:pt x="751" y="311"/>
                    <a:pt x="1287" y="311"/>
                  </a:cubicBezTo>
                  <a:close/>
                  <a:moveTo>
                    <a:pt x="1287" y="1"/>
                  </a:moveTo>
                  <a:cubicBezTo>
                    <a:pt x="572" y="1"/>
                    <a:pt x="1" y="584"/>
                    <a:pt x="1" y="1275"/>
                  </a:cubicBezTo>
                  <a:cubicBezTo>
                    <a:pt x="1" y="1989"/>
                    <a:pt x="584" y="2561"/>
                    <a:pt x="1287" y="2561"/>
                  </a:cubicBezTo>
                  <a:cubicBezTo>
                    <a:pt x="2001" y="2561"/>
                    <a:pt x="2561" y="1977"/>
                    <a:pt x="2561" y="1275"/>
                  </a:cubicBezTo>
                  <a:cubicBezTo>
                    <a:pt x="2561"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4" name="Google Shape;11114;p60"/>
            <p:cNvSpPr/>
            <p:nvPr/>
          </p:nvSpPr>
          <p:spPr>
            <a:xfrm>
              <a:off x="4090863" y="3380210"/>
              <a:ext cx="195930" cy="146311"/>
            </a:xfrm>
            <a:custGeom>
              <a:avLst/>
              <a:gdLst/>
              <a:ahLst/>
              <a:cxnLst/>
              <a:rect l="l" t="t" r="r" b="b"/>
              <a:pathLst>
                <a:path w="6156" h="4597" extrusionOk="0">
                  <a:moveTo>
                    <a:pt x="1810" y="1834"/>
                  </a:moveTo>
                  <a:cubicBezTo>
                    <a:pt x="2131" y="1834"/>
                    <a:pt x="2429" y="2001"/>
                    <a:pt x="2608" y="2274"/>
                  </a:cubicBezTo>
                  <a:cubicBezTo>
                    <a:pt x="2643" y="2405"/>
                    <a:pt x="2703" y="2536"/>
                    <a:pt x="2762" y="2667"/>
                  </a:cubicBezTo>
                  <a:cubicBezTo>
                    <a:pt x="2762" y="2715"/>
                    <a:pt x="2774" y="2763"/>
                    <a:pt x="2774" y="2810"/>
                  </a:cubicBezTo>
                  <a:cubicBezTo>
                    <a:pt x="2774" y="3346"/>
                    <a:pt x="2346" y="3775"/>
                    <a:pt x="1810" y="3775"/>
                  </a:cubicBezTo>
                  <a:cubicBezTo>
                    <a:pt x="1274" y="3775"/>
                    <a:pt x="834" y="3346"/>
                    <a:pt x="834" y="2810"/>
                  </a:cubicBezTo>
                  <a:cubicBezTo>
                    <a:pt x="834" y="2274"/>
                    <a:pt x="1274" y="1834"/>
                    <a:pt x="1810" y="1834"/>
                  </a:cubicBezTo>
                  <a:close/>
                  <a:moveTo>
                    <a:pt x="1810" y="1322"/>
                  </a:moveTo>
                  <a:cubicBezTo>
                    <a:pt x="2084" y="1322"/>
                    <a:pt x="2346" y="1393"/>
                    <a:pt x="2584" y="1536"/>
                  </a:cubicBezTo>
                  <a:cubicBezTo>
                    <a:pt x="2560" y="1620"/>
                    <a:pt x="2560" y="1703"/>
                    <a:pt x="2548" y="1774"/>
                  </a:cubicBezTo>
                  <a:cubicBezTo>
                    <a:pt x="2346" y="1632"/>
                    <a:pt x="2072" y="1536"/>
                    <a:pt x="1810" y="1536"/>
                  </a:cubicBezTo>
                  <a:cubicBezTo>
                    <a:pt x="1096" y="1536"/>
                    <a:pt x="524" y="2120"/>
                    <a:pt x="524" y="2822"/>
                  </a:cubicBezTo>
                  <a:cubicBezTo>
                    <a:pt x="524" y="3537"/>
                    <a:pt x="1107" y="4096"/>
                    <a:pt x="1810" y="4096"/>
                  </a:cubicBezTo>
                  <a:cubicBezTo>
                    <a:pt x="2417" y="4096"/>
                    <a:pt x="2917" y="3668"/>
                    <a:pt x="3060" y="3108"/>
                  </a:cubicBezTo>
                  <a:cubicBezTo>
                    <a:pt x="3120" y="3167"/>
                    <a:pt x="3155" y="3203"/>
                    <a:pt x="3239" y="3263"/>
                  </a:cubicBezTo>
                  <a:cubicBezTo>
                    <a:pt x="3036" y="3882"/>
                    <a:pt x="2477" y="4299"/>
                    <a:pt x="1810" y="4299"/>
                  </a:cubicBezTo>
                  <a:cubicBezTo>
                    <a:pt x="988" y="4299"/>
                    <a:pt x="322" y="3620"/>
                    <a:pt x="322" y="2810"/>
                  </a:cubicBezTo>
                  <a:cubicBezTo>
                    <a:pt x="322" y="1989"/>
                    <a:pt x="988" y="1322"/>
                    <a:pt x="1810" y="1322"/>
                  </a:cubicBezTo>
                  <a:close/>
                  <a:moveTo>
                    <a:pt x="4382" y="0"/>
                  </a:moveTo>
                  <a:cubicBezTo>
                    <a:pt x="3608" y="0"/>
                    <a:pt x="2929" y="500"/>
                    <a:pt x="2679" y="1179"/>
                  </a:cubicBezTo>
                  <a:cubicBezTo>
                    <a:pt x="2417" y="1036"/>
                    <a:pt x="2131" y="953"/>
                    <a:pt x="1822" y="953"/>
                  </a:cubicBezTo>
                  <a:cubicBezTo>
                    <a:pt x="822" y="953"/>
                    <a:pt x="0" y="1774"/>
                    <a:pt x="0" y="2775"/>
                  </a:cubicBezTo>
                  <a:cubicBezTo>
                    <a:pt x="0" y="3775"/>
                    <a:pt x="822" y="4596"/>
                    <a:pt x="1822" y="4596"/>
                  </a:cubicBezTo>
                  <a:cubicBezTo>
                    <a:pt x="2596" y="4596"/>
                    <a:pt x="3262" y="4120"/>
                    <a:pt x="3512" y="3417"/>
                  </a:cubicBezTo>
                  <a:cubicBezTo>
                    <a:pt x="3763" y="3548"/>
                    <a:pt x="4060" y="3644"/>
                    <a:pt x="4382" y="3644"/>
                  </a:cubicBezTo>
                  <a:cubicBezTo>
                    <a:pt x="4798" y="3644"/>
                    <a:pt x="5191" y="3489"/>
                    <a:pt x="5513" y="3239"/>
                  </a:cubicBezTo>
                  <a:cubicBezTo>
                    <a:pt x="5822" y="2989"/>
                    <a:pt x="6049" y="2632"/>
                    <a:pt x="6132" y="2239"/>
                  </a:cubicBezTo>
                  <a:cubicBezTo>
                    <a:pt x="6156" y="2167"/>
                    <a:pt x="6096" y="2072"/>
                    <a:pt x="6013" y="2060"/>
                  </a:cubicBezTo>
                  <a:cubicBezTo>
                    <a:pt x="6004" y="2059"/>
                    <a:pt x="5996" y="2058"/>
                    <a:pt x="5987" y="2058"/>
                  </a:cubicBezTo>
                  <a:cubicBezTo>
                    <a:pt x="5911" y="2058"/>
                    <a:pt x="5833" y="2104"/>
                    <a:pt x="5822" y="2179"/>
                  </a:cubicBezTo>
                  <a:cubicBezTo>
                    <a:pt x="5656" y="2870"/>
                    <a:pt x="5060" y="3322"/>
                    <a:pt x="4370" y="3322"/>
                  </a:cubicBezTo>
                  <a:cubicBezTo>
                    <a:pt x="3834" y="3322"/>
                    <a:pt x="3334" y="3048"/>
                    <a:pt x="3072" y="2572"/>
                  </a:cubicBezTo>
                  <a:cubicBezTo>
                    <a:pt x="3036" y="2417"/>
                    <a:pt x="2977" y="2274"/>
                    <a:pt x="2905" y="2132"/>
                  </a:cubicBezTo>
                  <a:cubicBezTo>
                    <a:pt x="2715" y="1215"/>
                    <a:pt x="3429" y="334"/>
                    <a:pt x="4370" y="334"/>
                  </a:cubicBezTo>
                  <a:cubicBezTo>
                    <a:pt x="5060" y="334"/>
                    <a:pt x="5656" y="810"/>
                    <a:pt x="5822" y="1477"/>
                  </a:cubicBezTo>
                  <a:cubicBezTo>
                    <a:pt x="5832" y="1556"/>
                    <a:pt x="5899" y="1602"/>
                    <a:pt x="5969" y="1602"/>
                  </a:cubicBezTo>
                  <a:cubicBezTo>
                    <a:pt x="5984" y="1602"/>
                    <a:pt x="5998" y="1600"/>
                    <a:pt x="6013" y="1596"/>
                  </a:cubicBezTo>
                  <a:cubicBezTo>
                    <a:pt x="6108" y="1584"/>
                    <a:pt x="6144" y="1489"/>
                    <a:pt x="6132" y="1405"/>
                  </a:cubicBezTo>
                  <a:cubicBezTo>
                    <a:pt x="6049" y="1024"/>
                    <a:pt x="5822" y="667"/>
                    <a:pt x="5513" y="405"/>
                  </a:cubicBezTo>
                  <a:cubicBezTo>
                    <a:pt x="5191" y="155"/>
                    <a:pt x="4775" y="0"/>
                    <a:pt x="4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5" name="Google Shape;11115;p60"/>
            <p:cNvSpPr/>
            <p:nvPr/>
          </p:nvSpPr>
          <p:spPr>
            <a:xfrm>
              <a:off x="4215914" y="3415061"/>
              <a:ext cx="28072" cy="49301"/>
            </a:xfrm>
            <a:custGeom>
              <a:avLst/>
              <a:gdLst/>
              <a:ahLst/>
              <a:cxnLst/>
              <a:rect l="l" t="t" r="r" b="b"/>
              <a:pathLst>
                <a:path w="882" h="1549" extrusionOk="0">
                  <a:moveTo>
                    <a:pt x="405" y="298"/>
                  </a:moveTo>
                  <a:lnTo>
                    <a:pt x="405" y="584"/>
                  </a:lnTo>
                  <a:cubicBezTo>
                    <a:pt x="286" y="537"/>
                    <a:pt x="262" y="501"/>
                    <a:pt x="262" y="429"/>
                  </a:cubicBezTo>
                  <a:cubicBezTo>
                    <a:pt x="262" y="358"/>
                    <a:pt x="334" y="310"/>
                    <a:pt x="405" y="298"/>
                  </a:cubicBezTo>
                  <a:close/>
                  <a:moveTo>
                    <a:pt x="512" y="882"/>
                  </a:moveTo>
                  <a:cubicBezTo>
                    <a:pt x="631" y="918"/>
                    <a:pt x="643" y="977"/>
                    <a:pt x="643" y="1060"/>
                  </a:cubicBezTo>
                  <a:cubicBezTo>
                    <a:pt x="643" y="1144"/>
                    <a:pt x="584" y="1191"/>
                    <a:pt x="512" y="1203"/>
                  </a:cubicBezTo>
                  <a:lnTo>
                    <a:pt x="512" y="882"/>
                  </a:lnTo>
                  <a:close/>
                  <a:moveTo>
                    <a:pt x="465" y="1"/>
                  </a:moveTo>
                  <a:cubicBezTo>
                    <a:pt x="441" y="1"/>
                    <a:pt x="405" y="13"/>
                    <a:pt x="405" y="48"/>
                  </a:cubicBezTo>
                  <a:lnTo>
                    <a:pt x="405" y="96"/>
                  </a:lnTo>
                  <a:cubicBezTo>
                    <a:pt x="179" y="132"/>
                    <a:pt x="48" y="251"/>
                    <a:pt x="48" y="477"/>
                  </a:cubicBezTo>
                  <a:cubicBezTo>
                    <a:pt x="48" y="715"/>
                    <a:pt x="226" y="787"/>
                    <a:pt x="405" y="846"/>
                  </a:cubicBezTo>
                  <a:lnTo>
                    <a:pt x="405" y="1215"/>
                  </a:lnTo>
                  <a:cubicBezTo>
                    <a:pt x="298" y="1203"/>
                    <a:pt x="262" y="1156"/>
                    <a:pt x="167" y="1096"/>
                  </a:cubicBezTo>
                  <a:cubicBezTo>
                    <a:pt x="150" y="1084"/>
                    <a:pt x="133" y="1079"/>
                    <a:pt x="117" y="1079"/>
                  </a:cubicBezTo>
                  <a:cubicBezTo>
                    <a:pt x="53" y="1079"/>
                    <a:pt x="0" y="1158"/>
                    <a:pt x="0" y="1215"/>
                  </a:cubicBezTo>
                  <a:cubicBezTo>
                    <a:pt x="0" y="1251"/>
                    <a:pt x="24" y="1275"/>
                    <a:pt x="36" y="1299"/>
                  </a:cubicBezTo>
                  <a:cubicBezTo>
                    <a:pt x="107" y="1394"/>
                    <a:pt x="274" y="1441"/>
                    <a:pt x="405" y="1441"/>
                  </a:cubicBezTo>
                  <a:lnTo>
                    <a:pt x="405" y="1501"/>
                  </a:lnTo>
                  <a:cubicBezTo>
                    <a:pt x="405" y="1537"/>
                    <a:pt x="441" y="1549"/>
                    <a:pt x="465" y="1549"/>
                  </a:cubicBezTo>
                  <a:cubicBezTo>
                    <a:pt x="500" y="1549"/>
                    <a:pt x="524" y="1525"/>
                    <a:pt x="524" y="1501"/>
                  </a:cubicBezTo>
                  <a:lnTo>
                    <a:pt x="524" y="1441"/>
                  </a:lnTo>
                  <a:cubicBezTo>
                    <a:pt x="715" y="1406"/>
                    <a:pt x="881" y="1299"/>
                    <a:pt x="881" y="1037"/>
                  </a:cubicBezTo>
                  <a:cubicBezTo>
                    <a:pt x="881" y="787"/>
                    <a:pt x="715" y="703"/>
                    <a:pt x="524" y="620"/>
                  </a:cubicBezTo>
                  <a:lnTo>
                    <a:pt x="524" y="298"/>
                  </a:lnTo>
                  <a:cubicBezTo>
                    <a:pt x="596" y="298"/>
                    <a:pt x="631" y="310"/>
                    <a:pt x="703" y="358"/>
                  </a:cubicBezTo>
                  <a:cubicBezTo>
                    <a:pt x="717" y="362"/>
                    <a:pt x="732" y="364"/>
                    <a:pt x="746" y="364"/>
                  </a:cubicBezTo>
                  <a:cubicBezTo>
                    <a:pt x="777" y="364"/>
                    <a:pt x="805" y="351"/>
                    <a:pt x="822" y="310"/>
                  </a:cubicBezTo>
                  <a:cubicBezTo>
                    <a:pt x="857" y="263"/>
                    <a:pt x="869" y="203"/>
                    <a:pt x="810" y="156"/>
                  </a:cubicBezTo>
                  <a:cubicBezTo>
                    <a:pt x="738" y="96"/>
                    <a:pt x="619" y="84"/>
                    <a:pt x="524" y="84"/>
                  </a:cubicBezTo>
                  <a:lnTo>
                    <a:pt x="524" y="48"/>
                  </a:lnTo>
                  <a:cubicBezTo>
                    <a:pt x="524" y="13"/>
                    <a:pt x="500"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6" name="Google Shape;11116;p60"/>
            <p:cNvSpPr/>
            <p:nvPr/>
          </p:nvSpPr>
          <p:spPr>
            <a:xfrm>
              <a:off x="3988156" y="3495935"/>
              <a:ext cx="353954" cy="203155"/>
            </a:xfrm>
            <a:custGeom>
              <a:avLst/>
              <a:gdLst/>
              <a:ahLst/>
              <a:cxnLst/>
              <a:rect l="l" t="t" r="r" b="b"/>
              <a:pathLst>
                <a:path w="11121" h="6383" extrusionOk="0">
                  <a:moveTo>
                    <a:pt x="3525" y="1884"/>
                  </a:moveTo>
                  <a:cubicBezTo>
                    <a:pt x="3540" y="1884"/>
                    <a:pt x="3561" y="1898"/>
                    <a:pt x="3561" y="1925"/>
                  </a:cubicBezTo>
                  <a:cubicBezTo>
                    <a:pt x="3632" y="2103"/>
                    <a:pt x="4632" y="4770"/>
                    <a:pt x="4680" y="4854"/>
                  </a:cubicBezTo>
                  <a:cubicBezTo>
                    <a:pt x="4692" y="4865"/>
                    <a:pt x="4680" y="4901"/>
                    <a:pt x="4644" y="4901"/>
                  </a:cubicBezTo>
                  <a:lnTo>
                    <a:pt x="3930" y="5163"/>
                  </a:lnTo>
                  <a:cubicBezTo>
                    <a:pt x="3882" y="5032"/>
                    <a:pt x="2870" y="2341"/>
                    <a:pt x="2799" y="2163"/>
                  </a:cubicBezTo>
                  <a:lnTo>
                    <a:pt x="3513" y="1889"/>
                  </a:lnTo>
                  <a:cubicBezTo>
                    <a:pt x="3516" y="1886"/>
                    <a:pt x="3520" y="1884"/>
                    <a:pt x="3525" y="1884"/>
                  </a:cubicBezTo>
                  <a:close/>
                  <a:moveTo>
                    <a:pt x="2501" y="2294"/>
                  </a:moveTo>
                  <a:lnTo>
                    <a:pt x="3632" y="5306"/>
                  </a:lnTo>
                  <a:cubicBezTo>
                    <a:pt x="3096" y="5496"/>
                    <a:pt x="1763" y="5997"/>
                    <a:pt x="1536" y="6092"/>
                  </a:cubicBezTo>
                  <a:cubicBezTo>
                    <a:pt x="1528" y="6095"/>
                    <a:pt x="1520" y="6096"/>
                    <a:pt x="1511" y="6096"/>
                  </a:cubicBezTo>
                  <a:cubicBezTo>
                    <a:pt x="1485" y="6096"/>
                    <a:pt x="1459" y="6081"/>
                    <a:pt x="1441" y="6044"/>
                  </a:cubicBezTo>
                  <a:lnTo>
                    <a:pt x="358" y="3175"/>
                  </a:lnTo>
                  <a:cubicBezTo>
                    <a:pt x="346" y="3139"/>
                    <a:pt x="358" y="3103"/>
                    <a:pt x="405" y="3080"/>
                  </a:cubicBezTo>
                  <a:cubicBezTo>
                    <a:pt x="1084" y="2829"/>
                    <a:pt x="2025" y="2472"/>
                    <a:pt x="2501" y="2294"/>
                  </a:cubicBezTo>
                  <a:close/>
                  <a:moveTo>
                    <a:pt x="10195" y="0"/>
                  </a:moveTo>
                  <a:cubicBezTo>
                    <a:pt x="9949" y="0"/>
                    <a:pt x="9714" y="126"/>
                    <a:pt x="9537" y="282"/>
                  </a:cubicBezTo>
                  <a:lnTo>
                    <a:pt x="7835" y="1698"/>
                  </a:lnTo>
                  <a:cubicBezTo>
                    <a:pt x="7740" y="1496"/>
                    <a:pt x="7537" y="1282"/>
                    <a:pt x="7144" y="1282"/>
                  </a:cubicBezTo>
                  <a:cubicBezTo>
                    <a:pt x="6745" y="1282"/>
                    <a:pt x="6434" y="1280"/>
                    <a:pt x="6185" y="1280"/>
                  </a:cubicBezTo>
                  <a:cubicBezTo>
                    <a:pt x="5437" y="1280"/>
                    <a:pt x="5254" y="1294"/>
                    <a:pt x="4977" y="1401"/>
                  </a:cubicBezTo>
                  <a:lnTo>
                    <a:pt x="3882" y="1853"/>
                  </a:lnTo>
                  <a:lnTo>
                    <a:pt x="3870" y="1806"/>
                  </a:lnTo>
                  <a:cubicBezTo>
                    <a:pt x="3814" y="1665"/>
                    <a:pt x="3669" y="1569"/>
                    <a:pt x="3523" y="1569"/>
                  </a:cubicBezTo>
                  <a:cubicBezTo>
                    <a:pt x="3484" y="1569"/>
                    <a:pt x="3444" y="1576"/>
                    <a:pt x="3406" y="1591"/>
                  </a:cubicBezTo>
                  <a:lnTo>
                    <a:pt x="2596" y="1913"/>
                  </a:lnTo>
                  <a:cubicBezTo>
                    <a:pt x="2239" y="2044"/>
                    <a:pt x="1084" y="2472"/>
                    <a:pt x="298" y="2770"/>
                  </a:cubicBezTo>
                  <a:cubicBezTo>
                    <a:pt x="108" y="2841"/>
                    <a:pt x="1" y="3068"/>
                    <a:pt x="72" y="3258"/>
                  </a:cubicBezTo>
                  <a:lnTo>
                    <a:pt x="1167" y="6139"/>
                  </a:lnTo>
                  <a:cubicBezTo>
                    <a:pt x="1222" y="6285"/>
                    <a:pt x="1368" y="6382"/>
                    <a:pt x="1518" y="6382"/>
                  </a:cubicBezTo>
                  <a:cubicBezTo>
                    <a:pt x="1564" y="6382"/>
                    <a:pt x="1611" y="6373"/>
                    <a:pt x="1656" y="6354"/>
                  </a:cubicBezTo>
                  <a:cubicBezTo>
                    <a:pt x="1906" y="6270"/>
                    <a:pt x="3549" y="5639"/>
                    <a:pt x="3894" y="5508"/>
                  </a:cubicBezTo>
                  <a:lnTo>
                    <a:pt x="4763" y="5175"/>
                  </a:lnTo>
                  <a:cubicBezTo>
                    <a:pt x="4942" y="5104"/>
                    <a:pt x="5049" y="4901"/>
                    <a:pt x="4965" y="4723"/>
                  </a:cubicBezTo>
                  <a:lnTo>
                    <a:pt x="4954" y="4675"/>
                  </a:lnTo>
                  <a:cubicBezTo>
                    <a:pt x="5525" y="4437"/>
                    <a:pt x="5537" y="4413"/>
                    <a:pt x="6120" y="4413"/>
                  </a:cubicBezTo>
                  <a:cubicBezTo>
                    <a:pt x="6204" y="4413"/>
                    <a:pt x="6275" y="4330"/>
                    <a:pt x="6275" y="4246"/>
                  </a:cubicBezTo>
                  <a:cubicBezTo>
                    <a:pt x="6275" y="4151"/>
                    <a:pt x="6204" y="4080"/>
                    <a:pt x="6120" y="4080"/>
                  </a:cubicBezTo>
                  <a:cubicBezTo>
                    <a:pt x="5477" y="4080"/>
                    <a:pt x="5418" y="4127"/>
                    <a:pt x="4834" y="4377"/>
                  </a:cubicBezTo>
                  <a:lnTo>
                    <a:pt x="3989" y="2127"/>
                  </a:lnTo>
                  <a:lnTo>
                    <a:pt x="5073" y="1686"/>
                  </a:lnTo>
                  <a:cubicBezTo>
                    <a:pt x="5294" y="1601"/>
                    <a:pt x="5460" y="1589"/>
                    <a:pt x="6106" y="1589"/>
                  </a:cubicBezTo>
                  <a:cubicBezTo>
                    <a:pt x="6364" y="1589"/>
                    <a:pt x="6699" y="1591"/>
                    <a:pt x="7144" y="1591"/>
                  </a:cubicBezTo>
                  <a:cubicBezTo>
                    <a:pt x="7323" y="1591"/>
                    <a:pt x="7442" y="1651"/>
                    <a:pt x="7513" y="1770"/>
                  </a:cubicBezTo>
                  <a:cubicBezTo>
                    <a:pt x="7573" y="1865"/>
                    <a:pt x="7573" y="1948"/>
                    <a:pt x="7585" y="1984"/>
                  </a:cubicBezTo>
                  <a:cubicBezTo>
                    <a:pt x="7585" y="2044"/>
                    <a:pt x="7549" y="2341"/>
                    <a:pt x="7263" y="2389"/>
                  </a:cubicBezTo>
                  <a:cubicBezTo>
                    <a:pt x="6835" y="2460"/>
                    <a:pt x="5882" y="2591"/>
                    <a:pt x="5882" y="2591"/>
                  </a:cubicBezTo>
                  <a:cubicBezTo>
                    <a:pt x="5787" y="2603"/>
                    <a:pt x="5727" y="2687"/>
                    <a:pt x="5739" y="2770"/>
                  </a:cubicBezTo>
                  <a:cubicBezTo>
                    <a:pt x="5763" y="2841"/>
                    <a:pt x="5823" y="2901"/>
                    <a:pt x="5906" y="2901"/>
                  </a:cubicBezTo>
                  <a:lnTo>
                    <a:pt x="5942" y="2901"/>
                  </a:lnTo>
                  <a:cubicBezTo>
                    <a:pt x="5954" y="2901"/>
                    <a:pt x="6894" y="2770"/>
                    <a:pt x="7335" y="2699"/>
                  </a:cubicBezTo>
                  <a:cubicBezTo>
                    <a:pt x="7740" y="2627"/>
                    <a:pt x="7882" y="2282"/>
                    <a:pt x="7918" y="2056"/>
                  </a:cubicBezTo>
                  <a:lnTo>
                    <a:pt x="9764" y="520"/>
                  </a:lnTo>
                  <a:cubicBezTo>
                    <a:pt x="9875" y="408"/>
                    <a:pt x="10028" y="311"/>
                    <a:pt x="10188" y="311"/>
                  </a:cubicBezTo>
                  <a:cubicBezTo>
                    <a:pt x="10285" y="311"/>
                    <a:pt x="10384" y="347"/>
                    <a:pt x="10478" y="436"/>
                  </a:cubicBezTo>
                  <a:cubicBezTo>
                    <a:pt x="10776" y="734"/>
                    <a:pt x="10502" y="1091"/>
                    <a:pt x="10430" y="1151"/>
                  </a:cubicBezTo>
                  <a:cubicBezTo>
                    <a:pt x="10359" y="1222"/>
                    <a:pt x="8097" y="3651"/>
                    <a:pt x="8097" y="3651"/>
                  </a:cubicBezTo>
                  <a:cubicBezTo>
                    <a:pt x="7763" y="4020"/>
                    <a:pt x="7323" y="4080"/>
                    <a:pt x="7144" y="4092"/>
                  </a:cubicBezTo>
                  <a:lnTo>
                    <a:pt x="6847" y="4092"/>
                  </a:lnTo>
                  <a:cubicBezTo>
                    <a:pt x="6751" y="4092"/>
                    <a:pt x="6680" y="4175"/>
                    <a:pt x="6680" y="4258"/>
                  </a:cubicBezTo>
                  <a:cubicBezTo>
                    <a:pt x="6680" y="4353"/>
                    <a:pt x="6751" y="4425"/>
                    <a:pt x="6847" y="4425"/>
                  </a:cubicBezTo>
                  <a:lnTo>
                    <a:pt x="7156" y="4425"/>
                  </a:lnTo>
                  <a:cubicBezTo>
                    <a:pt x="7382" y="4413"/>
                    <a:pt x="7918" y="4330"/>
                    <a:pt x="8335" y="3877"/>
                  </a:cubicBezTo>
                  <a:cubicBezTo>
                    <a:pt x="10669" y="1377"/>
                    <a:pt x="10669" y="1377"/>
                    <a:pt x="10669" y="1353"/>
                  </a:cubicBezTo>
                  <a:cubicBezTo>
                    <a:pt x="10883" y="1151"/>
                    <a:pt x="11121" y="627"/>
                    <a:pt x="10704" y="210"/>
                  </a:cubicBezTo>
                  <a:cubicBezTo>
                    <a:pt x="10539" y="60"/>
                    <a:pt x="10365" y="0"/>
                    <a:pt x="10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17" name="Google Shape;11117;p60"/>
          <p:cNvGrpSpPr/>
          <p:nvPr/>
        </p:nvGrpSpPr>
        <p:grpSpPr>
          <a:xfrm>
            <a:off x="3541011" y="3367320"/>
            <a:ext cx="348257" cy="346188"/>
            <a:chOff x="3541011" y="3367320"/>
            <a:chExt cx="348257" cy="346188"/>
          </a:xfrm>
        </p:grpSpPr>
        <p:sp>
          <p:nvSpPr>
            <p:cNvPr id="11118" name="Google Shape;11118;p60"/>
            <p:cNvSpPr/>
            <p:nvPr/>
          </p:nvSpPr>
          <p:spPr>
            <a:xfrm>
              <a:off x="3541011" y="3367320"/>
              <a:ext cx="347906" cy="346188"/>
            </a:xfrm>
            <a:custGeom>
              <a:avLst/>
              <a:gdLst/>
              <a:ahLst/>
              <a:cxnLst/>
              <a:rect l="l" t="t" r="r" b="b"/>
              <a:pathLst>
                <a:path w="10931" h="10877" extrusionOk="0">
                  <a:moveTo>
                    <a:pt x="4203" y="6323"/>
                  </a:moveTo>
                  <a:cubicBezTo>
                    <a:pt x="4322" y="6454"/>
                    <a:pt x="4465" y="6609"/>
                    <a:pt x="4620" y="6740"/>
                  </a:cubicBezTo>
                  <a:lnTo>
                    <a:pt x="4024" y="7335"/>
                  </a:lnTo>
                  <a:lnTo>
                    <a:pt x="3977" y="7287"/>
                  </a:lnTo>
                  <a:lnTo>
                    <a:pt x="3632" y="6942"/>
                  </a:lnTo>
                  <a:lnTo>
                    <a:pt x="3584" y="6906"/>
                  </a:lnTo>
                  <a:lnTo>
                    <a:pt x="4203" y="6323"/>
                  </a:lnTo>
                  <a:close/>
                  <a:moveTo>
                    <a:pt x="3239" y="7123"/>
                  </a:moveTo>
                  <a:cubicBezTo>
                    <a:pt x="3307" y="7123"/>
                    <a:pt x="3376" y="7150"/>
                    <a:pt x="3429" y="7204"/>
                  </a:cubicBezTo>
                  <a:lnTo>
                    <a:pt x="3763" y="7537"/>
                  </a:lnTo>
                  <a:cubicBezTo>
                    <a:pt x="3858" y="7632"/>
                    <a:pt x="3858" y="7799"/>
                    <a:pt x="3751" y="7894"/>
                  </a:cubicBezTo>
                  <a:lnTo>
                    <a:pt x="3560" y="8097"/>
                  </a:lnTo>
                  <a:lnTo>
                    <a:pt x="2858" y="7394"/>
                  </a:lnTo>
                  <a:lnTo>
                    <a:pt x="3048" y="7204"/>
                  </a:lnTo>
                  <a:cubicBezTo>
                    <a:pt x="3102" y="7150"/>
                    <a:pt x="3170" y="7123"/>
                    <a:pt x="3239" y="7123"/>
                  </a:cubicBezTo>
                  <a:close/>
                  <a:moveTo>
                    <a:pt x="2631" y="7597"/>
                  </a:moveTo>
                  <a:lnTo>
                    <a:pt x="3334" y="8299"/>
                  </a:lnTo>
                  <a:lnTo>
                    <a:pt x="1167" y="10478"/>
                  </a:lnTo>
                  <a:cubicBezTo>
                    <a:pt x="1113" y="10526"/>
                    <a:pt x="1045" y="10550"/>
                    <a:pt x="976" y="10550"/>
                  </a:cubicBezTo>
                  <a:cubicBezTo>
                    <a:pt x="908" y="10550"/>
                    <a:pt x="840" y="10526"/>
                    <a:pt x="786" y="10478"/>
                  </a:cubicBezTo>
                  <a:lnTo>
                    <a:pt x="453" y="10133"/>
                  </a:lnTo>
                  <a:cubicBezTo>
                    <a:pt x="357" y="10038"/>
                    <a:pt x="357" y="9883"/>
                    <a:pt x="465" y="9776"/>
                  </a:cubicBezTo>
                  <a:lnTo>
                    <a:pt x="2631" y="7597"/>
                  </a:lnTo>
                  <a:close/>
                  <a:moveTo>
                    <a:pt x="7120" y="1"/>
                  </a:moveTo>
                  <a:cubicBezTo>
                    <a:pt x="3989" y="1"/>
                    <a:pt x="2191" y="3537"/>
                    <a:pt x="4001" y="6073"/>
                  </a:cubicBezTo>
                  <a:lnTo>
                    <a:pt x="3274" y="6799"/>
                  </a:lnTo>
                  <a:cubicBezTo>
                    <a:pt x="3249" y="6796"/>
                    <a:pt x="3223" y="6794"/>
                    <a:pt x="3198" y="6794"/>
                  </a:cubicBezTo>
                  <a:cubicBezTo>
                    <a:pt x="3049" y="6794"/>
                    <a:pt x="2912" y="6854"/>
                    <a:pt x="2810" y="6966"/>
                  </a:cubicBezTo>
                  <a:lnTo>
                    <a:pt x="226" y="9549"/>
                  </a:lnTo>
                  <a:cubicBezTo>
                    <a:pt x="0" y="9776"/>
                    <a:pt x="0" y="10145"/>
                    <a:pt x="226" y="10371"/>
                  </a:cubicBezTo>
                  <a:lnTo>
                    <a:pt x="572" y="10716"/>
                  </a:lnTo>
                  <a:cubicBezTo>
                    <a:pt x="679" y="10823"/>
                    <a:pt x="828" y="10877"/>
                    <a:pt x="976" y="10877"/>
                  </a:cubicBezTo>
                  <a:cubicBezTo>
                    <a:pt x="1125" y="10877"/>
                    <a:pt x="1274" y="10823"/>
                    <a:pt x="1381" y="10716"/>
                  </a:cubicBezTo>
                  <a:lnTo>
                    <a:pt x="3655" y="8430"/>
                  </a:lnTo>
                  <a:lnTo>
                    <a:pt x="3977" y="8121"/>
                  </a:lnTo>
                  <a:cubicBezTo>
                    <a:pt x="4096" y="8002"/>
                    <a:pt x="4155" y="7835"/>
                    <a:pt x="4144" y="7656"/>
                  </a:cubicBezTo>
                  <a:lnTo>
                    <a:pt x="4870" y="6930"/>
                  </a:lnTo>
                  <a:cubicBezTo>
                    <a:pt x="5406" y="7323"/>
                    <a:pt x="6037" y="7573"/>
                    <a:pt x="6715" y="7632"/>
                  </a:cubicBezTo>
                  <a:lnTo>
                    <a:pt x="6727" y="7632"/>
                  </a:lnTo>
                  <a:cubicBezTo>
                    <a:pt x="6799" y="7632"/>
                    <a:pt x="6882" y="7573"/>
                    <a:pt x="6894" y="7478"/>
                  </a:cubicBezTo>
                  <a:cubicBezTo>
                    <a:pt x="6906" y="7394"/>
                    <a:pt x="6834" y="7323"/>
                    <a:pt x="6739" y="7299"/>
                  </a:cubicBezTo>
                  <a:cubicBezTo>
                    <a:pt x="6037" y="7228"/>
                    <a:pt x="5406" y="6966"/>
                    <a:pt x="4882" y="6549"/>
                  </a:cubicBezTo>
                  <a:cubicBezTo>
                    <a:pt x="2298" y="4465"/>
                    <a:pt x="3822" y="310"/>
                    <a:pt x="7096" y="310"/>
                  </a:cubicBezTo>
                  <a:cubicBezTo>
                    <a:pt x="8942" y="310"/>
                    <a:pt x="10418" y="1703"/>
                    <a:pt x="10597" y="3465"/>
                  </a:cubicBezTo>
                  <a:cubicBezTo>
                    <a:pt x="10609" y="3549"/>
                    <a:pt x="10692" y="3608"/>
                    <a:pt x="10775" y="3608"/>
                  </a:cubicBezTo>
                  <a:cubicBezTo>
                    <a:pt x="10871" y="3596"/>
                    <a:pt x="10930" y="3525"/>
                    <a:pt x="10930" y="3430"/>
                  </a:cubicBezTo>
                  <a:cubicBezTo>
                    <a:pt x="10728" y="1525"/>
                    <a:pt x="9120" y="1"/>
                    <a:pt x="7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19" name="Google Shape;11119;p60"/>
            <p:cNvSpPr/>
            <p:nvPr/>
          </p:nvSpPr>
          <p:spPr>
            <a:xfrm>
              <a:off x="3658105" y="3389599"/>
              <a:ext cx="208820" cy="199431"/>
            </a:xfrm>
            <a:custGeom>
              <a:avLst/>
              <a:gdLst/>
              <a:ahLst/>
              <a:cxnLst/>
              <a:rect l="l" t="t" r="r" b="b"/>
              <a:pathLst>
                <a:path w="6561" h="6266" extrusionOk="0">
                  <a:moveTo>
                    <a:pt x="3441" y="336"/>
                  </a:moveTo>
                  <a:cubicBezTo>
                    <a:pt x="4989" y="336"/>
                    <a:pt x="6251" y="1587"/>
                    <a:pt x="6251" y="3146"/>
                  </a:cubicBezTo>
                  <a:cubicBezTo>
                    <a:pt x="6251" y="4694"/>
                    <a:pt x="4989" y="5944"/>
                    <a:pt x="3441" y="5944"/>
                  </a:cubicBezTo>
                  <a:cubicBezTo>
                    <a:pt x="2727" y="5944"/>
                    <a:pt x="1989" y="5682"/>
                    <a:pt x="1441" y="5135"/>
                  </a:cubicBezTo>
                  <a:cubicBezTo>
                    <a:pt x="345" y="4027"/>
                    <a:pt x="345" y="2241"/>
                    <a:pt x="1441" y="1158"/>
                  </a:cubicBezTo>
                  <a:cubicBezTo>
                    <a:pt x="1989" y="598"/>
                    <a:pt x="2703" y="336"/>
                    <a:pt x="3441" y="336"/>
                  </a:cubicBezTo>
                  <a:close/>
                  <a:moveTo>
                    <a:pt x="3428" y="0"/>
                  </a:moveTo>
                  <a:cubicBezTo>
                    <a:pt x="2628" y="0"/>
                    <a:pt x="1828" y="307"/>
                    <a:pt x="1215" y="920"/>
                  </a:cubicBezTo>
                  <a:cubicBezTo>
                    <a:pt x="0" y="2134"/>
                    <a:pt x="0" y="4123"/>
                    <a:pt x="1215" y="5337"/>
                  </a:cubicBezTo>
                  <a:cubicBezTo>
                    <a:pt x="1822" y="5944"/>
                    <a:pt x="2631" y="6266"/>
                    <a:pt x="3429" y="6266"/>
                  </a:cubicBezTo>
                  <a:cubicBezTo>
                    <a:pt x="5144" y="6266"/>
                    <a:pt x="6561" y="4873"/>
                    <a:pt x="6561" y="3134"/>
                  </a:cubicBezTo>
                  <a:cubicBezTo>
                    <a:pt x="6561" y="2301"/>
                    <a:pt x="6227" y="1515"/>
                    <a:pt x="5632" y="920"/>
                  </a:cubicBezTo>
                  <a:cubicBezTo>
                    <a:pt x="5025" y="307"/>
                    <a:pt x="4227" y="0"/>
                    <a:pt x="34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0" name="Google Shape;11120;p60"/>
            <p:cNvSpPr/>
            <p:nvPr/>
          </p:nvSpPr>
          <p:spPr>
            <a:xfrm>
              <a:off x="3720614" y="3426805"/>
              <a:ext cx="95164" cy="116011"/>
            </a:xfrm>
            <a:custGeom>
              <a:avLst/>
              <a:gdLst/>
              <a:ahLst/>
              <a:cxnLst/>
              <a:rect l="l" t="t" r="r" b="b"/>
              <a:pathLst>
                <a:path w="2990" h="3645" extrusionOk="0">
                  <a:moveTo>
                    <a:pt x="1477" y="334"/>
                  </a:moveTo>
                  <a:cubicBezTo>
                    <a:pt x="1834" y="334"/>
                    <a:pt x="2132" y="632"/>
                    <a:pt x="2132" y="989"/>
                  </a:cubicBezTo>
                  <a:cubicBezTo>
                    <a:pt x="2132" y="1334"/>
                    <a:pt x="1834" y="1632"/>
                    <a:pt x="1477" y="1632"/>
                  </a:cubicBezTo>
                  <a:cubicBezTo>
                    <a:pt x="1120" y="1632"/>
                    <a:pt x="822" y="1334"/>
                    <a:pt x="822" y="989"/>
                  </a:cubicBezTo>
                  <a:cubicBezTo>
                    <a:pt x="822" y="608"/>
                    <a:pt x="1120" y="334"/>
                    <a:pt x="1477" y="334"/>
                  </a:cubicBezTo>
                  <a:close/>
                  <a:moveTo>
                    <a:pt x="1906" y="1953"/>
                  </a:moveTo>
                  <a:cubicBezTo>
                    <a:pt x="2287" y="1953"/>
                    <a:pt x="2620" y="2263"/>
                    <a:pt x="2620" y="2668"/>
                  </a:cubicBezTo>
                  <a:lnTo>
                    <a:pt x="2620" y="3335"/>
                  </a:lnTo>
                  <a:lnTo>
                    <a:pt x="2275" y="3335"/>
                  </a:lnTo>
                  <a:lnTo>
                    <a:pt x="2275" y="2632"/>
                  </a:lnTo>
                  <a:cubicBezTo>
                    <a:pt x="2275" y="2549"/>
                    <a:pt x="2203" y="2477"/>
                    <a:pt x="2108" y="2477"/>
                  </a:cubicBezTo>
                  <a:cubicBezTo>
                    <a:pt x="2025" y="2477"/>
                    <a:pt x="1953" y="2549"/>
                    <a:pt x="1953" y="2632"/>
                  </a:cubicBezTo>
                  <a:lnTo>
                    <a:pt x="1953" y="3335"/>
                  </a:lnTo>
                  <a:lnTo>
                    <a:pt x="953" y="3335"/>
                  </a:lnTo>
                  <a:lnTo>
                    <a:pt x="953" y="2632"/>
                  </a:lnTo>
                  <a:cubicBezTo>
                    <a:pt x="953" y="2549"/>
                    <a:pt x="882" y="2477"/>
                    <a:pt x="787" y="2477"/>
                  </a:cubicBezTo>
                  <a:cubicBezTo>
                    <a:pt x="691" y="2477"/>
                    <a:pt x="620" y="2549"/>
                    <a:pt x="620" y="2632"/>
                  </a:cubicBezTo>
                  <a:lnTo>
                    <a:pt x="620" y="3335"/>
                  </a:lnTo>
                  <a:lnTo>
                    <a:pt x="263" y="3335"/>
                  </a:lnTo>
                  <a:lnTo>
                    <a:pt x="263" y="2668"/>
                  </a:lnTo>
                  <a:cubicBezTo>
                    <a:pt x="263" y="2275"/>
                    <a:pt x="584" y="1953"/>
                    <a:pt x="977" y="1953"/>
                  </a:cubicBezTo>
                  <a:close/>
                  <a:moveTo>
                    <a:pt x="1477" y="1"/>
                  </a:moveTo>
                  <a:cubicBezTo>
                    <a:pt x="941" y="1"/>
                    <a:pt x="501" y="429"/>
                    <a:pt x="501" y="965"/>
                  </a:cubicBezTo>
                  <a:cubicBezTo>
                    <a:pt x="501" y="1239"/>
                    <a:pt x="608" y="1477"/>
                    <a:pt x="787" y="1656"/>
                  </a:cubicBezTo>
                  <a:cubicBezTo>
                    <a:pt x="322" y="1763"/>
                    <a:pt x="1" y="2180"/>
                    <a:pt x="1" y="2656"/>
                  </a:cubicBezTo>
                  <a:lnTo>
                    <a:pt x="1" y="3335"/>
                  </a:lnTo>
                  <a:cubicBezTo>
                    <a:pt x="1" y="3501"/>
                    <a:pt x="132" y="3644"/>
                    <a:pt x="310" y="3644"/>
                  </a:cubicBezTo>
                  <a:lnTo>
                    <a:pt x="2680" y="3644"/>
                  </a:lnTo>
                  <a:cubicBezTo>
                    <a:pt x="2846" y="3644"/>
                    <a:pt x="2989" y="3513"/>
                    <a:pt x="2989" y="3335"/>
                  </a:cubicBezTo>
                  <a:lnTo>
                    <a:pt x="2989" y="2656"/>
                  </a:lnTo>
                  <a:cubicBezTo>
                    <a:pt x="2965" y="2180"/>
                    <a:pt x="2620" y="1763"/>
                    <a:pt x="2156" y="1656"/>
                  </a:cubicBezTo>
                  <a:cubicBezTo>
                    <a:pt x="2334" y="1477"/>
                    <a:pt x="2442" y="1239"/>
                    <a:pt x="2442" y="965"/>
                  </a:cubicBezTo>
                  <a:cubicBezTo>
                    <a:pt x="2442" y="429"/>
                    <a:pt x="2013"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1" name="Google Shape;11121;p60"/>
            <p:cNvSpPr/>
            <p:nvPr/>
          </p:nvSpPr>
          <p:spPr>
            <a:xfrm>
              <a:off x="3773671" y="3496030"/>
              <a:ext cx="115597" cy="114993"/>
            </a:xfrm>
            <a:custGeom>
              <a:avLst/>
              <a:gdLst/>
              <a:ahLst/>
              <a:cxnLst/>
              <a:rect l="l" t="t" r="r" b="b"/>
              <a:pathLst>
                <a:path w="3632" h="3613" extrusionOk="0">
                  <a:moveTo>
                    <a:pt x="3433" y="0"/>
                  </a:moveTo>
                  <a:cubicBezTo>
                    <a:pt x="3361" y="0"/>
                    <a:pt x="3297" y="65"/>
                    <a:pt x="3287" y="148"/>
                  </a:cubicBezTo>
                  <a:cubicBezTo>
                    <a:pt x="3120" y="1803"/>
                    <a:pt x="1810" y="3112"/>
                    <a:pt x="143" y="3291"/>
                  </a:cubicBezTo>
                  <a:cubicBezTo>
                    <a:pt x="60" y="3303"/>
                    <a:pt x="1" y="3374"/>
                    <a:pt x="1" y="3469"/>
                  </a:cubicBezTo>
                  <a:cubicBezTo>
                    <a:pt x="13" y="3553"/>
                    <a:pt x="72" y="3612"/>
                    <a:pt x="167" y="3612"/>
                  </a:cubicBezTo>
                  <a:lnTo>
                    <a:pt x="179" y="3612"/>
                  </a:lnTo>
                  <a:cubicBezTo>
                    <a:pt x="1989" y="3422"/>
                    <a:pt x="3442" y="1993"/>
                    <a:pt x="3620" y="183"/>
                  </a:cubicBezTo>
                  <a:cubicBezTo>
                    <a:pt x="3632" y="88"/>
                    <a:pt x="3561" y="17"/>
                    <a:pt x="3465" y="5"/>
                  </a:cubicBezTo>
                  <a:cubicBezTo>
                    <a:pt x="3454" y="2"/>
                    <a:pt x="3443" y="0"/>
                    <a:pt x="34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2" name="Google Shape;11122;p60"/>
          <p:cNvGrpSpPr/>
          <p:nvPr/>
        </p:nvGrpSpPr>
        <p:grpSpPr>
          <a:xfrm>
            <a:off x="850092" y="3352934"/>
            <a:ext cx="369517" cy="375660"/>
            <a:chOff x="850092" y="3352934"/>
            <a:chExt cx="369517" cy="375660"/>
          </a:xfrm>
        </p:grpSpPr>
        <p:sp>
          <p:nvSpPr>
            <p:cNvPr id="11123" name="Google Shape;11123;p60"/>
            <p:cNvSpPr/>
            <p:nvPr/>
          </p:nvSpPr>
          <p:spPr>
            <a:xfrm>
              <a:off x="969859" y="3475692"/>
              <a:ext cx="53088" cy="53088"/>
            </a:xfrm>
            <a:custGeom>
              <a:avLst/>
              <a:gdLst/>
              <a:ahLst/>
              <a:cxnLst/>
              <a:rect l="l" t="t" r="r" b="b"/>
              <a:pathLst>
                <a:path w="1668" h="1668" extrusionOk="0">
                  <a:moveTo>
                    <a:pt x="834" y="346"/>
                  </a:moveTo>
                  <a:cubicBezTo>
                    <a:pt x="1108" y="346"/>
                    <a:pt x="1322" y="560"/>
                    <a:pt x="1322" y="834"/>
                  </a:cubicBezTo>
                  <a:cubicBezTo>
                    <a:pt x="1322" y="1096"/>
                    <a:pt x="1108" y="1322"/>
                    <a:pt x="834" y="1322"/>
                  </a:cubicBezTo>
                  <a:cubicBezTo>
                    <a:pt x="548" y="1322"/>
                    <a:pt x="346" y="1096"/>
                    <a:pt x="346" y="834"/>
                  </a:cubicBezTo>
                  <a:cubicBezTo>
                    <a:pt x="346" y="560"/>
                    <a:pt x="572" y="346"/>
                    <a:pt x="834" y="346"/>
                  </a:cubicBezTo>
                  <a:close/>
                  <a:moveTo>
                    <a:pt x="834" y="1"/>
                  </a:moveTo>
                  <a:cubicBezTo>
                    <a:pt x="369" y="1"/>
                    <a:pt x="0" y="370"/>
                    <a:pt x="0" y="834"/>
                  </a:cubicBezTo>
                  <a:cubicBezTo>
                    <a:pt x="0" y="1299"/>
                    <a:pt x="369" y="1668"/>
                    <a:pt x="834" y="1668"/>
                  </a:cubicBezTo>
                  <a:cubicBezTo>
                    <a:pt x="1298" y="1668"/>
                    <a:pt x="1667" y="1299"/>
                    <a:pt x="1667" y="834"/>
                  </a:cubicBezTo>
                  <a:cubicBezTo>
                    <a:pt x="1667" y="370"/>
                    <a:pt x="1298"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4" name="Google Shape;11124;p60"/>
            <p:cNvSpPr/>
            <p:nvPr/>
          </p:nvSpPr>
          <p:spPr>
            <a:xfrm>
              <a:off x="1046786" y="3552237"/>
              <a:ext cx="53088" cy="53088"/>
            </a:xfrm>
            <a:custGeom>
              <a:avLst/>
              <a:gdLst/>
              <a:ahLst/>
              <a:cxnLst/>
              <a:rect l="l" t="t" r="r" b="b"/>
              <a:pathLst>
                <a:path w="1668" h="1668" extrusionOk="0">
                  <a:moveTo>
                    <a:pt x="834" y="346"/>
                  </a:moveTo>
                  <a:cubicBezTo>
                    <a:pt x="1096" y="346"/>
                    <a:pt x="1322" y="572"/>
                    <a:pt x="1322" y="834"/>
                  </a:cubicBezTo>
                  <a:cubicBezTo>
                    <a:pt x="1322" y="1108"/>
                    <a:pt x="1096" y="1334"/>
                    <a:pt x="834" y="1334"/>
                  </a:cubicBezTo>
                  <a:cubicBezTo>
                    <a:pt x="560" y="1334"/>
                    <a:pt x="334" y="1108"/>
                    <a:pt x="334" y="834"/>
                  </a:cubicBezTo>
                  <a:cubicBezTo>
                    <a:pt x="334" y="572"/>
                    <a:pt x="560" y="346"/>
                    <a:pt x="834" y="346"/>
                  </a:cubicBezTo>
                  <a:close/>
                  <a:moveTo>
                    <a:pt x="834" y="1"/>
                  </a:moveTo>
                  <a:cubicBezTo>
                    <a:pt x="369" y="1"/>
                    <a:pt x="0" y="382"/>
                    <a:pt x="0" y="834"/>
                  </a:cubicBezTo>
                  <a:cubicBezTo>
                    <a:pt x="0" y="1299"/>
                    <a:pt x="369" y="1668"/>
                    <a:pt x="834" y="1668"/>
                  </a:cubicBezTo>
                  <a:cubicBezTo>
                    <a:pt x="1286" y="1668"/>
                    <a:pt x="1667" y="1299"/>
                    <a:pt x="1667" y="834"/>
                  </a:cubicBezTo>
                  <a:cubicBezTo>
                    <a:pt x="1667" y="382"/>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5" name="Google Shape;11125;p60"/>
            <p:cNvSpPr/>
            <p:nvPr/>
          </p:nvSpPr>
          <p:spPr>
            <a:xfrm>
              <a:off x="984245" y="3485272"/>
              <a:ext cx="106527" cy="104999"/>
            </a:xfrm>
            <a:custGeom>
              <a:avLst/>
              <a:gdLst/>
              <a:ahLst/>
              <a:cxnLst/>
              <a:rect l="l" t="t" r="r" b="b"/>
              <a:pathLst>
                <a:path w="3347" h="3299" extrusionOk="0">
                  <a:moveTo>
                    <a:pt x="3160" y="0"/>
                  </a:moveTo>
                  <a:cubicBezTo>
                    <a:pt x="3117" y="0"/>
                    <a:pt x="3073" y="15"/>
                    <a:pt x="3037" y="45"/>
                  </a:cubicBezTo>
                  <a:lnTo>
                    <a:pt x="72" y="2998"/>
                  </a:lnTo>
                  <a:cubicBezTo>
                    <a:pt x="1" y="3081"/>
                    <a:pt x="1" y="3176"/>
                    <a:pt x="72" y="3236"/>
                  </a:cubicBezTo>
                  <a:cubicBezTo>
                    <a:pt x="108" y="3278"/>
                    <a:pt x="152" y="3298"/>
                    <a:pt x="196" y="3298"/>
                  </a:cubicBezTo>
                  <a:cubicBezTo>
                    <a:pt x="239" y="3298"/>
                    <a:pt x="280" y="3278"/>
                    <a:pt x="310" y="3236"/>
                  </a:cubicBezTo>
                  <a:lnTo>
                    <a:pt x="3275" y="283"/>
                  </a:lnTo>
                  <a:cubicBezTo>
                    <a:pt x="3346" y="200"/>
                    <a:pt x="3346" y="105"/>
                    <a:pt x="3275" y="45"/>
                  </a:cubicBezTo>
                  <a:cubicBezTo>
                    <a:pt x="3245" y="15"/>
                    <a:pt x="3203" y="0"/>
                    <a:pt x="31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6" name="Google Shape;11126;p60"/>
            <p:cNvSpPr/>
            <p:nvPr/>
          </p:nvSpPr>
          <p:spPr>
            <a:xfrm>
              <a:off x="922850" y="3428715"/>
              <a:ext cx="223620" cy="223620"/>
            </a:xfrm>
            <a:custGeom>
              <a:avLst/>
              <a:gdLst/>
              <a:ahLst/>
              <a:cxnLst/>
              <a:rect l="l" t="t" r="r" b="b"/>
              <a:pathLst>
                <a:path w="7026" h="7026" extrusionOk="0">
                  <a:moveTo>
                    <a:pt x="3513" y="0"/>
                  </a:moveTo>
                  <a:cubicBezTo>
                    <a:pt x="1584" y="0"/>
                    <a:pt x="1" y="1584"/>
                    <a:pt x="1" y="3513"/>
                  </a:cubicBezTo>
                  <a:cubicBezTo>
                    <a:pt x="1" y="5453"/>
                    <a:pt x="1584" y="7025"/>
                    <a:pt x="3513" y="7025"/>
                  </a:cubicBezTo>
                  <a:cubicBezTo>
                    <a:pt x="5454" y="7025"/>
                    <a:pt x="7026" y="5453"/>
                    <a:pt x="7026" y="3513"/>
                  </a:cubicBezTo>
                  <a:cubicBezTo>
                    <a:pt x="7026" y="1834"/>
                    <a:pt x="5835" y="393"/>
                    <a:pt x="4204" y="60"/>
                  </a:cubicBezTo>
                  <a:cubicBezTo>
                    <a:pt x="4196" y="59"/>
                    <a:pt x="4188" y="58"/>
                    <a:pt x="4180" y="58"/>
                  </a:cubicBezTo>
                  <a:cubicBezTo>
                    <a:pt x="4095" y="58"/>
                    <a:pt x="4022" y="115"/>
                    <a:pt x="3989" y="191"/>
                  </a:cubicBezTo>
                  <a:cubicBezTo>
                    <a:pt x="3978" y="286"/>
                    <a:pt x="4037" y="369"/>
                    <a:pt x="4132" y="405"/>
                  </a:cubicBezTo>
                  <a:cubicBezTo>
                    <a:pt x="5597" y="703"/>
                    <a:pt x="6692" y="2001"/>
                    <a:pt x="6692" y="3513"/>
                  </a:cubicBezTo>
                  <a:cubicBezTo>
                    <a:pt x="6692" y="5251"/>
                    <a:pt x="5263" y="6680"/>
                    <a:pt x="3513" y="6680"/>
                  </a:cubicBezTo>
                  <a:cubicBezTo>
                    <a:pt x="1775" y="6680"/>
                    <a:pt x="346" y="5251"/>
                    <a:pt x="346" y="3513"/>
                  </a:cubicBezTo>
                  <a:cubicBezTo>
                    <a:pt x="346" y="1774"/>
                    <a:pt x="1775" y="346"/>
                    <a:pt x="3513" y="346"/>
                  </a:cubicBezTo>
                  <a:cubicBezTo>
                    <a:pt x="3608" y="346"/>
                    <a:pt x="3692" y="274"/>
                    <a:pt x="3692" y="167"/>
                  </a:cubicBezTo>
                  <a:cubicBezTo>
                    <a:pt x="3680" y="72"/>
                    <a:pt x="3608"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7" name="Google Shape;11127;p60"/>
            <p:cNvSpPr/>
            <p:nvPr/>
          </p:nvSpPr>
          <p:spPr>
            <a:xfrm>
              <a:off x="850092" y="3352934"/>
              <a:ext cx="369517" cy="375660"/>
            </a:xfrm>
            <a:custGeom>
              <a:avLst/>
              <a:gdLst/>
              <a:ahLst/>
              <a:cxnLst/>
              <a:rect l="l" t="t" r="r" b="b"/>
              <a:pathLst>
                <a:path w="11610" h="11803" extrusionOk="0">
                  <a:moveTo>
                    <a:pt x="5804" y="0"/>
                  </a:moveTo>
                  <a:cubicBezTo>
                    <a:pt x="5801" y="0"/>
                    <a:pt x="5799" y="0"/>
                    <a:pt x="5799" y="0"/>
                  </a:cubicBezTo>
                  <a:cubicBezTo>
                    <a:pt x="5585" y="0"/>
                    <a:pt x="5371" y="119"/>
                    <a:pt x="5252" y="310"/>
                  </a:cubicBezTo>
                  <a:lnTo>
                    <a:pt x="4573" y="1453"/>
                  </a:lnTo>
                  <a:cubicBezTo>
                    <a:pt x="4515" y="1551"/>
                    <a:pt x="4424" y="1605"/>
                    <a:pt x="4326" y="1605"/>
                  </a:cubicBezTo>
                  <a:cubicBezTo>
                    <a:pt x="4281" y="1605"/>
                    <a:pt x="4236" y="1594"/>
                    <a:pt x="4192" y="1572"/>
                  </a:cubicBezTo>
                  <a:lnTo>
                    <a:pt x="2977" y="1060"/>
                  </a:lnTo>
                  <a:cubicBezTo>
                    <a:pt x="2889" y="1020"/>
                    <a:pt x="2800" y="1002"/>
                    <a:pt x="2713" y="1002"/>
                  </a:cubicBezTo>
                  <a:cubicBezTo>
                    <a:pt x="2355" y="1002"/>
                    <a:pt x="2046" y="1312"/>
                    <a:pt x="2084" y="1715"/>
                  </a:cubicBezTo>
                  <a:lnTo>
                    <a:pt x="2204" y="3036"/>
                  </a:lnTo>
                  <a:cubicBezTo>
                    <a:pt x="2215" y="3179"/>
                    <a:pt x="2108" y="3322"/>
                    <a:pt x="1965" y="3346"/>
                  </a:cubicBezTo>
                  <a:lnTo>
                    <a:pt x="668" y="3643"/>
                  </a:lnTo>
                  <a:cubicBezTo>
                    <a:pt x="191" y="3751"/>
                    <a:pt x="1" y="4334"/>
                    <a:pt x="322" y="4703"/>
                  </a:cubicBezTo>
                  <a:lnTo>
                    <a:pt x="1203" y="5703"/>
                  </a:lnTo>
                  <a:cubicBezTo>
                    <a:pt x="1311" y="5822"/>
                    <a:pt x="1311" y="5989"/>
                    <a:pt x="1203" y="6084"/>
                  </a:cubicBezTo>
                  <a:lnTo>
                    <a:pt x="322" y="7084"/>
                  </a:lnTo>
                  <a:cubicBezTo>
                    <a:pt x="179" y="7263"/>
                    <a:pt x="132" y="7489"/>
                    <a:pt x="191" y="7715"/>
                  </a:cubicBezTo>
                  <a:cubicBezTo>
                    <a:pt x="263" y="7930"/>
                    <a:pt x="441" y="8084"/>
                    <a:pt x="668" y="8144"/>
                  </a:cubicBezTo>
                  <a:lnTo>
                    <a:pt x="1025" y="8215"/>
                  </a:lnTo>
                  <a:cubicBezTo>
                    <a:pt x="1033" y="8216"/>
                    <a:pt x="1041" y="8217"/>
                    <a:pt x="1049" y="8217"/>
                  </a:cubicBezTo>
                  <a:cubicBezTo>
                    <a:pt x="1136" y="8217"/>
                    <a:pt x="1217" y="8161"/>
                    <a:pt x="1239" y="8084"/>
                  </a:cubicBezTo>
                  <a:cubicBezTo>
                    <a:pt x="1251" y="7989"/>
                    <a:pt x="1192" y="7894"/>
                    <a:pt x="1096" y="7870"/>
                  </a:cubicBezTo>
                  <a:lnTo>
                    <a:pt x="739" y="7799"/>
                  </a:lnTo>
                  <a:cubicBezTo>
                    <a:pt x="644" y="7775"/>
                    <a:pt x="560" y="7692"/>
                    <a:pt x="525" y="7608"/>
                  </a:cubicBezTo>
                  <a:cubicBezTo>
                    <a:pt x="489" y="7501"/>
                    <a:pt x="501" y="7394"/>
                    <a:pt x="584" y="7322"/>
                  </a:cubicBezTo>
                  <a:lnTo>
                    <a:pt x="1453" y="6322"/>
                  </a:lnTo>
                  <a:cubicBezTo>
                    <a:pt x="1668" y="6084"/>
                    <a:pt x="1668" y="5715"/>
                    <a:pt x="1453" y="5477"/>
                  </a:cubicBezTo>
                  <a:lnTo>
                    <a:pt x="584" y="4477"/>
                  </a:lnTo>
                  <a:cubicBezTo>
                    <a:pt x="430" y="4322"/>
                    <a:pt x="525" y="4048"/>
                    <a:pt x="739" y="3989"/>
                  </a:cubicBezTo>
                  <a:lnTo>
                    <a:pt x="2037" y="3691"/>
                  </a:lnTo>
                  <a:cubicBezTo>
                    <a:pt x="2346" y="3620"/>
                    <a:pt x="2573" y="3322"/>
                    <a:pt x="2549" y="3012"/>
                  </a:cubicBezTo>
                  <a:lnTo>
                    <a:pt x="2430" y="1679"/>
                  </a:lnTo>
                  <a:cubicBezTo>
                    <a:pt x="2410" y="1503"/>
                    <a:pt x="2559" y="1359"/>
                    <a:pt x="2731" y="1359"/>
                  </a:cubicBezTo>
                  <a:cubicBezTo>
                    <a:pt x="2769" y="1359"/>
                    <a:pt x="2808" y="1366"/>
                    <a:pt x="2846" y="1381"/>
                  </a:cubicBezTo>
                  <a:lnTo>
                    <a:pt x="4061" y="1905"/>
                  </a:lnTo>
                  <a:cubicBezTo>
                    <a:pt x="4143" y="1941"/>
                    <a:pt x="4229" y="1958"/>
                    <a:pt x="4314" y="1958"/>
                  </a:cubicBezTo>
                  <a:cubicBezTo>
                    <a:pt x="4536" y="1958"/>
                    <a:pt x="4750" y="1841"/>
                    <a:pt x="4871" y="1643"/>
                  </a:cubicBezTo>
                  <a:lnTo>
                    <a:pt x="5549" y="488"/>
                  </a:lnTo>
                  <a:cubicBezTo>
                    <a:pt x="5609" y="393"/>
                    <a:pt x="5710" y="345"/>
                    <a:pt x="5810" y="345"/>
                  </a:cubicBezTo>
                  <a:cubicBezTo>
                    <a:pt x="5909" y="345"/>
                    <a:pt x="6008" y="393"/>
                    <a:pt x="6061" y="488"/>
                  </a:cubicBezTo>
                  <a:lnTo>
                    <a:pt x="6740" y="1643"/>
                  </a:lnTo>
                  <a:cubicBezTo>
                    <a:pt x="6861" y="1842"/>
                    <a:pt x="7077" y="1953"/>
                    <a:pt x="7300" y="1953"/>
                  </a:cubicBezTo>
                  <a:cubicBezTo>
                    <a:pt x="7383" y="1953"/>
                    <a:pt x="7468" y="1938"/>
                    <a:pt x="7549" y="1905"/>
                  </a:cubicBezTo>
                  <a:lnTo>
                    <a:pt x="8764" y="1381"/>
                  </a:lnTo>
                  <a:cubicBezTo>
                    <a:pt x="8802" y="1366"/>
                    <a:pt x="8841" y="1359"/>
                    <a:pt x="8878" y="1359"/>
                  </a:cubicBezTo>
                  <a:cubicBezTo>
                    <a:pt x="9048" y="1359"/>
                    <a:pt x="9190" y="1503"/>
                    <a:pt x="9181" y="1679"/>
                  </a:cubicBezTo>
                  <a:lnTo>
                    <a:pt x="9062" y="3012"/>
                  </a:lnTo>
                  <a:cubicBezTo>
                    <a:pt x="9038" y="3334"/>
                    <a:pt x="9240" y="3620"/>
                    <a:pt x="9574" y="3691"/>
                  </a:cubicBezTo>
                  <a:lnTo>
                    <a:pt x="10859" y="3989"/>
                  </a:lnTo>
                  <a:cubicBezTo>
                    <a:pt x="11086" y="4036"/>
                    <a:pt x="11181" y="4298"/>
                    <a:pt x="11026" y="4477"/>
                  </a:cubicBezTo>
                  <a:lnTo>
                    <a:pt x="10145" y="5477"/>
                  </a:lnTo>
                  <a:cubicBezTo>
                    <a:pt x="9943" y="5715"/>
                    <a:pt x="9943" y="6084"/>
                    <a:pt x="10145" y="6322"/>
                  </a:cubicBezTo>
                  <a:lnTo>
                    <a:pt x="11026" y="7322"/>
                  </a:lnTo>
                  <a:cubicBezTo>
                    <a:pt x="11181" y="7489"/>
                    <a:pt x="11086" y="7751"/>
                    <a:pt x="10859" y="7811"/>
                  </a:cubicBezTo>
                  <a:lnTo>
                    <a:pt x="9574" y="8108"/>
                  </a:lnTo>
                  <a:cubicBezTo>
                    <a:pt x="9252" y="8192"/>
                    <a:pt x="9038" y="8489"/>
                    <a:pt x="9062" y="8799"/>
                  </a:cubicBezTo>
                  <a:lnTo>
                    <a:pt x="9181" y="10120"/>
                  </a:lnTo>
                  <a:cubicBezTo>
                    <a:pt x="9190" y="10302"/>
                    <a:pt x="9054" y="10445"/>
                    <a:pt x="8889" y="10445"/>
                  </a:cubicBezTo>
                  <a:cubicBezTo>
                    <a:pt x="8848" y="10445"/>
                    <a:pt x="8806" y="10437"/>
                    <a:pt x="8764" y="10418"/>
                  </a:cubicBezTo>
                  <a:lnTo>
                    <a:pt x="7549" y="9894"/>
                  </a:lnTo>
                  <a:cubicBezTo>
                    <a:pt x="7468" y="9858"/>
                    <a:pt x="7382" y="9841"/>
                    <a:pt x="7298" y="9841"/>
                  </a:cubicBezTo>
                  <a:cubicBezTo>
                    <a:pt x="7076" y="9841"/>
                    <a:pt x="6861" y="9961"/>
                    <a:pt x="6740" y="10168"/>
                  </a:cubicBezTo>
                  <a:lnTo>
                    <a:pt x="6061" y="11311"/>
                  </a:lnTo>
                  <a:cubicBezTo>
                    <a:pt x="6002" y="11406"/>
                    <a:pt x="5900" y="11454"/>
                    <a:pt x="5801" y="11454"/>
                  </a:cubicBezTo>
                  <a:cubicBezTo>
                    <a:pt x="5701" y="11454"/>
                    <a:pt x="5603" y="11406"/>
                    <a:pt x="5549" y="11311"/>
                  </a:cubicBezTo>
                  <a:lnTo>
                    <a:pt x="4871" y="10168"/>
                  </a:lnTo>
                  <a:cubicBezTo>
                    <a:pt x="4749" y="9960"/>
                    <a:pt x="4533" y="9846"/>
                    <a:pt x="4309" y="9846"/>
                  </a:cubicBezTo>
                  <a:cubicBezTo>
                    <a:pt x="4226" y="9846"/>
                    <a:pt x="4142" y="9862"/>
                    <a:pt x="4061" y="9894"/>
                  </a:cubicBezTo>
                  <a:lnTo>
                    <a:pt x="2846" y="10418"/>
                  </a:lnTo>
                  <a:cubicBezTo>
                    <a:pt x="2804" y="10437"/>
                    <a:pt x="2762" y="10445"/>
                    <a:pt x="2721" y="10445"/>
                  </a:cubicBezTo>
                  <a:cubicBezTo>
                    <a:pt x="2553" y="10445"/>
                    <a:pt x="2411" y="10302"/>
                    <a:pt x="2430" y="10120"/>
                  </a:cubicBezTo>
                  <a:lnTo>
                    <a:pt x="2549" y="8799"/>
                  </a:lnTo>
                  <a:cubicBezTo>
                    <a:pt x="2573" y="8465"/>
                    <a:pt x="2370" y="8192"/>
                    <a:pt x="2037" y="8108"/>
                  </a:cubicBezTo>
                  <a:lnTo>
                    <a:pt x="1727" y="8037"/>
                  </a:lnTo>
                  <a:cubicBezTo>
                    <a:pt x="1719" y="8036"/>
                    <a:pt x="1711" y="8035"/>
                    <a:pt x="1703" y="8035"/>
                  </a:cubicBezTo>
                  <a:cubicBezTo>
                    <a:pt x="1616" y="8035"/>
                    <a:pt x="1535" y="8092"/>
                    <a:pt x="1513" y="8168"/>
                  </a:cubicBezTo>
                  <a:cubicBezTo>
                    <a:pt x="1501" y="8263"/>
                    <a:pt x="1561" y="8370"/>
                    <a:pt x="1656" y="8382"/>
                  </a:cubicBezTo>
                  <a:lnTo>
                    <a:pt x="1965" y="8454"/>
                  </a:lnTo>
                  <a:cubicBezTo>
                    <a:pt x="2108" y="8489"/>
                    <a:pt x="2204" y="8620"/>
                    <a:pt x="2204" y="8763"/>
                  </a:cubicBezTo>
                  <a:lnTo>
                    <a:pt x="2084" y="10097"/>
                  </a:lnTo>
                  <a:cubicBezTo>
                    <a:pt x="2046" y="10493"/>
                    <a:pt x="2361" y="10804"/>
                    <a:pt x="2723" y="10804"/>
                  </a:cubicBezTo>
                  <a:cubicBezTo>
                    <a:pt x="2807" y="10804"/>
                    <a:pt x="2893" y="10787"/>
                    <a:pt x="2977" y="10751"/>
                  </a:cubicBezTo>
                  <a:lnTo>
                    <a:pt x="4192" y="10228"/>
                  </a:lnTo>
                  <a:cubicBezTo>
                    <a:pt x="4230" y="10212"/>
                    <a:pt x="4269" y="10204"/>
                    <a:pt x="4308" y="10204"/>
                  </a:cubicBezTo>
                  <a:cubicBezTo>
                    <a:pt x="4413" y="10204"/>
                    <a:pt x="4512" y="10259"/>
                    <a:pt x="4573" y="10347"/>
                  </a:cubicBezTo>
                  <a:lnTo>
                    <a:pt x="5252" y="11490"/>
                  </a:lnTo>
                  <a:cubicBezTo>
                    <a:pt x="5377" y="11698"/>
                    <a:pt x="5594" y="11802"/>
                    <a:pt x="5810" y="11802"/>
                  </a:cubicBezTo>
                  <a:cubicBezTo>
                    <a:pt x="6025" y="11802"/>
                    <a:pt x="6240" y="11698"/>
                    <a:pt x="6359" y="11490"/>
                  </a:cubicBezTo>
                  <a:lnTo>
                    <a:pt x="7037" y="10347"/>
                  </a:lnTo>
                  <a:cubicBezTo>
                    <a:pt x="7088" y="10253"/>
                    <a:pt x="7188" y="10202"/>
                    <a:pt x="7288" y="10202"/>
                  </a:cubicBezTo>
                  <a:cubicBezTo>
                    <a:pt x="7328" y="10202"/>
                    <a:pt x="7369" y="10211"/>
                    <a:pt x="7407" y="10228"/>
                  </a:cubicBezTo>
                  <a:lnTo>
                    <a:pt x="8633" y="10751"/>
                  </a:lnTo>
                  <a:cubicBezTo>
                    <a:pt x="8715" y="10787"/>
                    <a:pt x="8800" y="10804"/>
                    <a:pt x="8883" y="10804"/>
                  </a:cubicBezTo>
                  <a:cubicBezTo>
                    <a:pt x="9242" y="10804"/>
                    <a:pt x="9565" y="10493"/>
                    <a:pt x="9526" y="10097"/>
                  </a:cubicBezTo>
                  <a:lnTo>
                    <a:pt x="9407" y="8763"/>
                  </a:lnTo>
                  <a:cubicBezTo>
                    <a:pt x="9395" y="8620"/>
                    <a:pt x="9490" y="8489"/>
                    <a:pt x="9645" y="8454"/>
                  </a:cubicBezTo>
                  <a:lnTo>
                    <a:pt x="10943" y="8156"/>
                  </a:lnTo>
                  <a:cubicBezTo>
                    <a:pt x="11419" y="8049"/>
                    <a:pt x="11609" y="7477"/>
                    <a:pt x="11276" y="7096"/>
                  </a:cubicBezTo>
                  <a:lnTo>
                    <a:pt x="10407" y="6084"/>
                  </a:lnTo>
                  <a:cubicBezTo>
                    <a:pt x="10300" y="5965"/>
                    <a:pt x="10300" y="5810"/>
                    <a:pt x="10407" y="5703"/>
                  </a:cubicBezTo>
                  <a:lnTo>
                    <a:pt x="11276" y="4703"/>
                  </a:lnTo>
                  <a:cubicBezTo>
                    <a:pt x="11609" y="4334"/>
                    <a:pt x="11419" y="3751"/>
                    <a:pt x="10943" y="3643"/>
                  </a:cubicBezTo>
                  <a:lnTo>
                    <a:pt x="9645" y="3346"/>
                  </a:lnTo>
                  <a:cubicBezTo>
                    <a:pt x="9490" y="3322"/>
                    <a:pt x="9407" y="3179"/>
                    <a:pt x="9407" y="3036"/>
                  </a:cubicBezTo>
                  <a:lnTo>
                    <a:pt x="9526" y="1715"/>
                  </a:lnTo>
                  <a:cubicBezTo>
                    <a:pt x="9564" y="1312"/>
                    <a:pt x="9248" y="1002"/>
                    <a:pt x="8893" y="1002"/>
                  </a:cubicBezTo>
                  <a:cubicBezTo>
                    <a:pt x="8807" y="1002"/>
                    <a:pt x="8719" y="1020"/>
                    <a:pt x="8633" y="1060"/>
                  </a:cubicBezTo>
                  <a:lnTo>
                    <a:pt x="7407" y="1572"/>
                  </a:lnTo>
                  <a:cubicBezTo>
                    <a:pt x="7371" y="1588"/>
                    <a:pt x="7334" y="1595"/>
                    <a:pt x="7296" y="1595"/>
                  </a:cubicBezTo>
                  <a:cubicBezTo>
                    <a:pt x="7193" y="1595"/>
                    <a:pt x="7090" y="1540"/>
                    <a:pt x="7037" y="1453"/>
                  </a:cubicBezTo>
                  <a:lnTo>
                    <a:pt x="6359" y="310"/>
                  </a:lnTo>
                  <a:cubicBezTo>
                    <a:pt x="6170" y="10"/>
                    <a:pt x="5848" y="0"/>
                    <a:pt x="58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28" name="Google Shape;11128;p60"/>
          <p:cNvGrpSpPr/>
          <p:nvPr/>
        </p:nvGrpSpPr>
        <p:grpSpPr>
          <a:xfrm>
            <a:off x="1314678" y="3358217"/>
            <a:ext cx="334666" cy="365348"/>
            <a:chOff x="1314678" y="3358217"/>
            <a:chExt cx="334666" cy="365348"/>
          </a:xfrm>
        </p:grpSpPr>
        <p:sp>
          <p:nvSpPr>
            <p:cNvPr id="11129" name="Google Shape;11129;p60"/>
            <p:cNvSpPr/>
            <p:nvPr/>
          </p:nvSpPr>
          <p:spPr>
            <a:xfrm>
              <a:off x="1316588" y="3358217"/>
              <a:ext cx="332757" cy="365348"/>
            </a:xfrm>
            <a:custGeom>
              <a:avLst/>
              <a:gdLst/>
              <a:ahLst/>
              <a:cxnLst/>
              <a:rect l="l" t="t" r="r" b="b"/>
              <a:pathLst>
                <a:path w="10455" h="11479" extrusionOk="0">
                  <a:moveTo>
                    <a:pt x="1501" y="9300"/>
                  </a:moveTo>
                  <a:cubicBezTo>
                    <a:pt x="1655" y="9300"/>
                    <a:pt x="1786" y="9419"/>
                    <a:pt x="1786" y="9585"/>
                  </a:cubicBezTo>
                  <a:cubicBezTo>
                    <a:pt x="1786" y="9752"/>
                    <a:pt x="1667" y="9871"/>
                    <a:pt x="1501" y="9871"/>
                  </a:cubicBezTo>
                  <a:lnTo>
                    <a:pt x="584" y="9871"/>
                  </a:lnTo>
                  <a:cubicBezTo>
                    <a:pt x="429" y="9871"/>
                    <a:pt x="298" y="9752"/>
                    <a:pt x="298" y="9585"/>
                  </a:cubicBezTo>
                  <a:cubicBezTo>
                    <a:pt x="298" y="9431"/>
                    <a:pt x="417" y="9300"/>
                    <a:pt x="584" y="9300"/>
                  </a:cubicBezTo>
                  <a:close/>
                  <a:moveTo>
                    <a:pt x="9359" y="1013"/>
                  </a:moveTo>
                  <a:lnTo>
                    <a:pt x="9359" y="10443"/>
                  </a:lnTo>
                  <a:lnTo>
                    <a:pt x="9037" y="10443"/>
                  </a:lnTo>
                  <a:lnTo>
                    <a:pt x="9037" y="1013"/>
                  </a:lnTo>
                  <a:close/>
                  <a:moveTo>
                    <a:pt x="3048" y="1"/>
                  </a:moveTo>
                  <a:cubicBezTo>
                    <a:pt x="2965" y="1"/>
                    <a:pt x="2894" y="72"/>
                    <a:pt x="2894" y="156"/>
                  </a:cubicBezTo>
                  <a:cubicBezTo>
                    <a:pt x="2894" y="251"/>
                    <a:pt x="2965" y="322"/>
                    <a:pt x="3048" y="322"/>
                  </a:cubicBezTo>
                  <a:lnTo>
                    <a:pt x="8347" y="322"/>
                  </a:lnTo>
                  <a:cubicBezTo>
                    <a:pt x="8561" y="322"/>
                    <a:pt x="8728" y="489"/>
                    <a:pt x="8728" y="691"/>
                  </a:cubicBezTo>
                  <a:lnTo>
                    <a:pt x="8728" y="10776"/>
                  </a:lnTo>
                  <a:cubicBezTo>
                    <a:pt x="8728" y="10978"/>
                    <a:pt x="8561" y="11145"/>
                    <a:pt x="8347" y="11145"/>
                  </a:cubicBezTo>
                  <a:lnTo>
                    <a:pt x="1584" y="11145"/>
                  </a:lnTo>
                  <a:cubicBezTo>
                    <a:pt x="1370" y="11145"/>
                    <a:pt x="1203" y="10978"/>
                    <a:pt x="1203" y="10776"/>
                  </a:cubicBezTo>
                  <a:lnTo>
                    <a:pt x="1203" y="10204"/>
                  </a:lnTo>
                  <a:lnTo>
                    <a:pt x="1524" y="10204"/>
                  </a:lnTo>
                  <a:cubicBezTo>
                    <a:pt x="1858" y="10204"/>
                    <a:pt x="2132" y="9931"/>
                    <a:pt x="2132" y="9597"/>
                  </a:cubicBezTo>
                  <a:cubicBezTo>
                    <a:pt x="2132" y="9276"/>
                    <a:pt x="1846" y="8990"/>
                    <a:pt x="1524" y="8990"/>
                  </a:cubicBezTo>
                  <a:lnTo>
                    <a:pt x="1203" y="8990"/>
                  </a:lnTo>
                  <a:lnTo>
                    <a:pt x="1203" y="8621"/>
                  </a:lnTo>
                  <a:cubicBezTo>
                    <a:pt x="1203" y="8526"/>
                    <a:pt x="1132" y="8454"/>
                    <a:pt x="1048" y="8454"/>
                  </a:cubicBezTo>
                  <a:cubicBezTo>
                    <a:pt x="953" y="8454"/>
                    <a:pt x="882" y="8526"/>
                    <a:pt x="882" y="8621"/>
                  </a:cubicBezTo>
                  <a:lnTo>
                    <a:pt x="882" y="8990"/>
                  </a:lnTo>
                  <a:lnTo>
                    <a:pt x="608" y="8990"/>
                  </a:lnTo>
                  <a:cubicBezTo>
                    <a:pt x="274" y="8990"/>
                    <a:pt x="0" y="9276"/>
                    <a:pt x="0" y="9597"/>
                  </a:cubicBezTo>
                  <a:cubicBezTo>
                    <a:pt x="0" y="9931"/>
                    <a:pt x="286" y="10204"/>
                    <a:pt x="608" y="10204"/>
                  </a:cubicBezTo>
                  <a:lnTo>
                    <a:pt x="882" y="10204"/>
                  </a:lnTo>
                  <a:lnTo>
                    <a:pt x="882" y="10776"/>
                  </a:lnTo>
                  <a:cubicBezTo>
                    <a:pt x="882" y="11157"/>
                    <a:pt x="1191" y="11478"/>
                    <a:pt x="1584" y="11478"/>
                  </a:cubicBezTo>
                  <a:lnTo>
                    <a:pt x="9752" y="11478"/>
                  </a:lnTo>
                  <a:cubicBezTo>
                    <a:pt x="10133" y="11478"/>
                    <a:pt x="10454" y="11157"/>
                    <a:pt x="10454" y="10776"/>
                  </a:cubicBezTo>
                  <a:lnTo>
                    <a:pt x="10454" y="2156"/>
                  </a:lnTo>
                  <a:cubicBezTo>
                    <a:pt x="10454" y="2073"/>
                    <a:pt x="10371" y="1989"/>
                    <a:pt x="10287" y="1989"/>
                  </a:cubicBezTo>
                  <a:cubicBezTo>
                    <a:pt x="10192" y="1989"/>
                    <a:pt x="10121" y="2073"/>
                    <a:pt x="10121" y="2156"/>
                  </a:cubicBezTo>
                  <a:lnTo>
                    <a:pt x="10121" y="10776"/>
                  </a:lnTo>
                  <a:cubicBezTo>
                    <a:pt x="10121" y="10978"/>
                    <a:pt x="9954" y="11145"/>
                    <a:pt x="9752" y="11145"/>
                  </a:cubicBezTo>
                  <a:lnTo>
                    <a:pt x="8954" y="11145"/>
                  </a:lnTo>
                  <a:cubicBezTo>
                    <a:pt x="9014" y="11038"/>
                    <a:pt x="9061" y="10919"/>
                    <a:pt x="9061" y="10800"/>
                  </a:cubicBezTo>
                  <a:lnTo>
                    <a:pt x="9549" y="10800"/>
                  </a:lnTo>
                  <a:cubicBezTo>
                    <a:pt x="9645" y="10800"/>
                    <a:pt x="9716" y="10728"/>
                    <a:pt x="9716" y="10645"/>
                  </a:cubicBezTo>
                  <a:lnTo>
                    <a:pt x="9716" y="858"/>
                  </a:lnTo>
                  <a:cubicBezTo>
                    <a:pt x="9716" y="775"/>
                    <a:pt x="9645" y="691"/>
                    <a:pt x="9549" y="691"/>
                  </a:cubicBezTo>
                  <a:lnTo>
                    <a:pt x="9061" y="691"/>
                  </a:lnTo>
                  <a:cubicBezTo>
                    <a:pt x="9061" y="560"/>
                    <a:pt x="9014" y="441"/>
                    <a:pt x="8954" y="358"/>
                  </a:cubicBezTo>
                  <a:lnTo>
                    <a:pt x="9752" y="358"/>
                  </a:lnTo>
                  <a:cubicBezTo>
                    <a:pt x="9954" y="358"/>
                    <a:pt x="10121" y="525"/>
                    <a:pt x="10121" y="727"/>
                  </a:cubicBezTo>
                  <a:lnTo>
                    <a:pt x="10121" y="1430"/>
                  </a:lnTo>
                  <a:cubicBezTo>
                    <a:pt x="10097" y="1489"/>
                    <a:pt x="10168" y="1561"/>
                    <a:pt x="10276" y="1561"/>
                  </a:cubicBezTo>
                  <a:cubicBezTo>
                    <a:pt x="10359" y="1561"/>
                    <a:pt x="10430" y="1489"/>
                    <a:pt x="10430" y="1394"/>
                  </a:cubicBezTo>
                  <a:lnTo>
                    <a:pt x="10430" y="691"/>
                  </a:lnTo>
                  <a:cubicBezTo>
                    <a:pt x="10430" y="310"/>
                    <a:pt x="10121" y="1"/>
                    <a:pt x="97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0" name="Google Shape;11130;p60"/>
            <p:cNvSpPr/>
            <p:nvPr/>
          </p:nvSpPr>
          <p:spPr>
            <a:xfrm>
              <a:off x="1314678" y="3358981"/>
              <a:ext cx="79632" cy="254684"/>
            </a:xfrm>
            <a:custGeom>
              <a:avLst/>
              <a:gdLst/>
              <a:ahLst/>
              <a:cxnLst/>
              <a:rect l="l" t="t" r="r" b="b"/>
              <a:pathLst>
                <a:path w="2502" h="8002" extrusionOk="0">
                  <a:moveTo>
                    <a:pt x="1537" y="1537"/>
                  </a:moveTo>
                  <a:cubicBezTo>
                    <a:pt x="1680" y="1537"/>
                    <a:pt x="1811" y="1656"/>
                    <a:pt x="1811" y="1822"/>
                  </a:cubicBezTo>
                  <a:cubicBezTo>
                    <a:pt x="1811" y="1989"/>
                    <a:pt x="1692" y="2108"/>
                    <a:pt x="1537" y="2108"/>
                  </a:cubicBezTo>
                  <a:lnTo>
                    <a:pt x="608" y="2108"/>
                  </a:lnTo>
                  <a:cubicBezTo>
                    <a:pt x="465" y="2108"/>
                    <a:pt x="334" y="1989"/>
                    <a:pt x="334" y="1822"/>
                  </a:cubicBezTo>
                  <a:cubicBezTo>
                    <a:pt x="334" y="1668"/>
                    <a:pt x="453" y="1537"/>
                    <a:pt x="608" y="1537"/>
                  </a:cubicBezTo>
                  <a:close/>
                  <a:moveTo>
                    <a:pt x="1549" y="4132"/>
                  </a:moveTo>
                  <a:cubicBezTo>
                    <a:pt x="1692" y="4132"/>
                    <a:pt x="1835" y="4251"/>
                    <a:pt x="1835" y="4406"/>
                  </a:cubicBezTo>
                  <a:cubicBezTo>
                    <a:pt x="1835" y="4573"/>
                    <a:pt x="1715" y="4692"/>
                    <a:pt x="1549" y="4692"/>
                  </a:cubicBezTo>
                  <a:lnTo>
                    <a:pt x="632" y="4692"/>
                  </a:lnTo>
                  <a:cubicBezTo>
                    <a:pt x="465" y="4680"/>
                    <a:pt x="346" y="4561"/>
                    <a:pt x="346" y="4406"/>
                  </a:cubicBezTo>
                  <a:cubicBezTo>
                    <a:pt x="346" y="4263"/>
                    <a:pt x="465" y="4132"/>
                    <a:pt x="632" y="4132"/>
                  </a:cubicBezTo>
                  <a:close/>
                  <a:moveTo>
                    <a:pt x="1549" y="6704"/>
                  </a:moveTo>
                  <a:cubicBezTo>
                    <a:pt x="1715" y="6704"/>
                    <a:pt x="1835" y="6835"/>
                    <a:pt x="1835" y="6990"/>
                  </a:cubicBezTo>
                  <a:cubicBezTo>
                    <a:pt x="1835" y="7132"/>
                    <a:pt x="1715" y="7263"/>
                    <a:pt x="1549" y="7263"/>
                  </a:cubicBezTo>
                  <a:lnTo>
                    <a:pt x="632" y="7263"/>
                  </a:lnTo>
                  <a:cubicBezTo>
                    <a:pt x="477" y="7263"/>
                    <a:pt x="346" y="7144"/>
                    <a:pt x="346" y="6990"/>
                  </a:cubicBezTo>
                  <a:cubicBezTo>
                    <a:pt x="346" y="6823"/>
                    <a:pt x="465" y="6704"/>
                    <a:pt x="632" y="6704"/>
                  </a:cubicBezTo>
                  <a:close/>
                  <a:moveTo>
                    <a:pt x="1608" y="1"/>
                  </a:moveTo>
                  <a:cubicBezTo>
                    <a:pt x="1227" y="1"/>
                    <a:pt x="906" y="310"/>
                    <a:pt x="906" y="703"/>
                  </a:cubicBezTo>
                  <a:lnTo>
                    <a:pt x="906" y="1239"/>
                  </a:lnTo>
                  <a:lnTo>
                    <a:pt x="608" y="1239"/>
                  </a:lnTo>
                  <a:cubicBezTo>
                    <a:pt x="275" y="1239"/>
                    <a:pt x="1" y="1525"/>
                    <a:pt x="1" y="1846"/>
                  </a:cubicBezTo>
                  <a:cubicBezTo>
                    <a:pt x="1" y="2179"/>
                    <a:pt x="287" y="2465"/>
                    <a:pt x="608" y="2465"/>
                  </a:cubicBezTo>
                  <a:lnTo>
                    <a:pt x="906" y="2465"/>
                  </a:lnTo>
                  <a:lnTo>
                    <a:pt x="906" y="3799"/>
                  </a:lnTo>
                  <a:lnTo>
                    <a:pt x="608" y="3799"/>
                  </a:lnTo>
                  <a:cubicBezTo>
                    <a:pt x="275" y="3799"/>
                    <a:pt x="1" y="4084"/>
                    <a:pt x="1" y="4406"/>
                  </a:cubicBezTo>
                  <a:cubicBezTo>
                    <a:pt x="1" y="4739"/>
                    <a:pt x="287" y="5025"/>
                    <a:pt x="608" y="5025"/>
                  </a:cubicBezTo>
                  <a:lnTo>
                    <a:pt x="906" y="5025"/>
                  </a:lnTo>
                  <a:lnTo>
                    <a:pt x="906" y="6359"/>
                  </a:lnTo>
                  <a:lnTo>
                    <a:pt x="632" y="6359"/>
                  </a:lnTo>
                  <a:cubicBezTo>
                    <a:pt x="287" y="6359"/>
                    <a:pt x="13" y="6644"/>
                    <a:pt x="13" y="6966"/>
                  </a:cubicBezTo>
                  <a:cubicBezTo>
                    <a:pt x="13" y="7299"/>
                    <a:pt x="299" y="7585"/>
                    <a:pt x="632" y="7585"/>
                  </a:cubicBezTo>
                  <a:lnTo>
                    <a:pt x="906" y="7585"/>
                  </a:lnTo>
                  <a:lnTo>
                    <a:pt x="906" y="7835"/>
                  </a:lnTo>
                  <a:cubicBezTo>
                    <a:pt x="906" y="7918"/>
                    <a:pt x="977" y="8002"/>
                    <a:pt x="1073" y="8002"/>
                  </a:cubicBezTo>
                  <a:cubicBezTo>
                    <a:pt x="1168" y="8002"/>
                    <a:pt x="1239" y="7918"/>
                    <a:pt x="1239" y="7835"/>
                  </a:cubicBezTo>
                  <a:lnTo>
                    <a:pt x="1239" y="7585"/>
                  </a:lnTo>
                  <a:lnTo>
                    <a:pt x="1537" y="7585"/>
                  </a:lnTo>
                  <a:cubicBezTo>
                    <a:pt x="1882" y="7585"/>
                    <a:pt x="2144" y="7299"/>
                    <a:pt x="2144" y="6966"/>
                  </a:cubicBezTo>
                  <a:cubicBezTo>
                    <a:pt x="2144" y="6644"/>
                    <a:pt x="1858" y="6359"/>
                    <a:pt x="1537" y="6359"/>
                  </a:cubicBezTo>
                  <a:lnTo>
                    <a:pt x="1239" y="6359"/>
                  </a:lnTo>
                  <a:lnTo>
                    <a:pt x="1239" y="5025"/>
                  </a:lnTo>
                  <a:lnTo>
                    <a:pt x="1537" y="5025"/>
                  </a:lnTo>
                  <a:cubicBezTo>
                    <a:pt x="1882" y="5025"/>
                    <a:pt x="2144" y="4739"/>
                    <a:pt x="2144" y="4406"/>
                  </a:cubicBezTo>
                  <a:cubicBezTo>
                    <a:pt x="2144" y="4084"/>
                    <a:pt x="1858" y="3799"/>
                    <a:pt x="1537" y="3799"/>
                  </a:cubicBezTo>
                  <a:lnTo>
                    <a:pt x="1239" y="3799"/>
                  </a:lnTo>
                  <a:lnTo>
                    <a:pt x="1239" y="2465"/>
                  </a:lnTo>
                  <a:lnTo>
                    <a:pt x="1525" y="2465"/>
                  </a:lnTo>
                  <a:cubicBezTo>
                    <a:pt x="1858" y="2465"/>
                    <a:pt x="2132" y="2179"/>
                    <a:pt x="2132" y="1846"/>
                  </a:cubicBezTo>
                  <a:cubicBezTo>
                    <a:pt x="2132" y="1525"/>
                    <a:pt x="1846" y="1239"/>
                    <a:pt x="1525" y="1239"/>
                  </a:cubicBezTo>
                  <a:lnTo>
                    <a:pt x="1239" y="1239"/>
                  </a:lnTo>
                  <a:lnTo>
                    <a:pt x="1239" y="703"/>
                  </a:lnTo>
                  <a:cubicBezTo>
                    <a:pt x="1239" y="489"/>
                    <a:pt x="1406" y="334"/>
                    <a:pt x="1608" y="334"/>
                  </a:cubicBezTo>
                  <a:lnTo>
                    <a:pt x="2335" y="334"/>
                  </a:lnTo>
                  <a:cubicBezTo>
                    <a:pt x="2430" y="334"/>
                    <a:pt x="2501" y="251"/>
                    <a:pt x="2501" y="167"/>
                  </a:cubicBezTo>
                  <a:cubicBezTo>
                    <a:pt x="2501" y="72"/>
                    <a:pt x="2430"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1" name="Google Shape;11131;p60"/>
            <p:cNvSpPr/>
            <p:nvPr/>
          </p:nvSpPr>
          <p:spPr>
            <a:xfrm>
              <a:off x="1411688" y="3629546"/>
              <a:ext cx="139118" cy="10662"/>
            </a:xfrm>
            <a:custGeom>
              <a:avLst/>
              <a:gdLst/>
              <a:ahLst/>
              <a:cxnLst/>
              <a:rect l="l" t="t" r="r" b="b"/>
              <a:pathLst>
                <a:path w="4371" h="335" extrusionOk="0">
                  <a:moveTo>
                    <a:pt x="168" y="1"/>
                  </a:moveTo>
                  <a:cubicBezTo>
                    <a:pt x="84" y="1"/>
                    <a:pt x="1" y="72"/>
                    <a:pt x="1" y="167"/>
                  </a:cubicBezTo>
                  <a:cubicBezTo>
                    <a:pt x="1" y="251"/>
                    <a:pt x="84" y="334"/>
                    <a:pt x="168" y="334"/>
                  </a:cubicBezTo>
                  <a:lnTo>
                    <a:pt x="4204" y="334"/>
                  </a:lnTo>
                  <a:cubicBezTo>
                    <a:pt x="4287" y="334"/>
                    <a:pt x="4371" y="251"/>
                    <a:pt x="4371" y="167"/>
                  </a:cubicBezTo>
                  <a:cubicBezTo>
                    <a:pt x="4371" y="72"/>
                    <a:pt x="4287" y="1"/>
                    <a:pt x="42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2" name="Google Shape;11132;p60"/>
            <p:cNvSpPr/>
            <p:nvPr/>
          </p:nvSpPr>
          <p:spPr>
            <a:xfrm>
              <a:off x="1412070" y="3652303"/>
              <a:ext cx="139118" cy="10630"/>
            </a:xfrm>
            <a:custGeom>
              <a:avLst/>
              <a:gdLst/>
              <a:ahLst/>
              <a:cxnLst/>
              <a:rect l="l" t="t" r="r" b="b"/>
              <a:pathLst>
                <a:path w="4371" h="334" extrusionOk="0">
                  <a:moveTo>
                    <a:pt x="168" y="0"/>
                  </a:moveTo>
                  <a:cubicBezTo>
                    <a:pt x="84" y="0"/>
                    <a:pt x="1" y="72"/>
                    <a:pt x="1" y="167"/>
                  </a:cubicBezTo>
                  <a:cubicBezTo>
                    <a:pt x="1" y="250"/>
                    <a:pt x="72" y="333"/>
                    <a:pt x="168" y="333"/>
                  </a:cubicBezTo>
                  <a:lnTo>
                    <a:pt x="4204" y="333"/>
                  </a:lnTo>
                  <a:cubicBezTo>
                    <a:pt x="4299" y="333"/>
                    <a:pt x="4370" y="250"/>
                    <a:pt x="4370" y="167"/>
                  </a:cubicBezTo>
                  <a:cubicBezTo>
                    <a:pt x="4370" y="72"/>
                    <a:pt x="4299"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3" name="Google Shape;11133;p60"/>
            <p:cNvSpPr/>
            <p:nvPr/>
          </p:nvSpPr>
          <p:spPr>
            <a:xfrm>
              <a:off x="1432153" y="3417352"/>
              <a:ext cx="83802" cy="191379"/>
            </a:xfrm>
            <a:custGeom>
              <a:avLst/>
              <a:gdLst/>
              <a:ahLst/>
              <a:cxnLst/>
              <a:rect l="l" t="t" r="r" b="b"/>
              <a:pathLst>
                <a:path w="2633" h="6013" extrusionOk="0">
                  <a:moveTo>
                    <a:pt x="1763" y="357"/>
                  </a:moveTo>
                  <a:cubicBezTo>
                    <a:pt x="1882" y="357"/>
                    <a:pt x="2037" y="405"/>
                    <a:pt x="2251" y="488"/>
                  </a:cubicBezTo>
                  <a:lnTo>
                    <a:pt x="2263" y="512"/>
                  </a:lnTo>
                  <a:lnTo>
                    <a:pt x="2096" y="1488"/>
                  </a:lnTo>
                  <a:cubicBezTo>
                    <a:pt x="2096" y="1500"/>
                    <a:pt x="2084" y="1500"/>
                    <a:pt x="2084" y="1500"/>
                  </a:cubicBezTo>
                  <a:lnTo>
                    <a:pt x="1596" y="1441"/>
                  </a:lnTo>
                  <a:lnTo>
                    <a:pt x="1561" y="1441"/>
                  </a:lnTo>
                  <a:cubicBezTo>
                    <a:pt x="965" y="1477"/>
                    <a:pt x="751" y="2143"/>
                    <a:pt x="751" y="2691"/>
                  </a:cubicBezTo>
                  <a:lnTo>
                    <a:pt x="751" y="3382"/>
                  </a:lnTo>
                  <a:cubicBezTo>
                    <a:pt x="751" y="3501"/>
                    <a:pt x="763" y="3822"/>
                    <a:pt x="894" y="4120"/>
                  </a:cubicBezTo>
                  <a:cubicBezTo>
                    <a:pt x="1025" y="4441"/>
                    <a:pt x="1263" y="4608"/>
                    <a:pt x="1561" y="4632"/>
                  </a:cubicBezTo>
                  <a:lnTo>
                    <a:pt x="1596" y="4632"/>
                  </a:lnTo>
                  <a:lnTo>
                    <a:pt x="2084" y="4572"/>
                  </a:lnTo>
                  <a:cubicBezTo>
                    <a:pt x="2096" y="4572"/>
                    <a:pt x="2096" y="4572"/>
                    <a:pt x="2096" y="4584"/>
                  </a:cubicBezTo>
                  <a:lnTo>
                    <a:pt x="2263" y="5572"/>
                  </a:lnTo>
                  <a:cubicBezTo>
                    <a:pt x="2263" y="5572"/>
                    <a:pt x="2263" y="5584"/>
                    <a:pt x="2251" y="5584"/>
                  </a:cubicBezTo>
                  <a:cubicBezTo>
                    <a:pt x="2037" y="5668"/>
                    <a:pt x="1882" y="5715"/>
                    <a:pt x="1763" y="5715"/>
                  </a:cubicBezTo>
                  <a:cubicBezTo>
                    <a:pt x="1608" y="5715"/>
                    <a:pt x="1251" y="5632"/>
                    <a:pt x="941" y="5298"/>
                  </a:cubicBezTo>
                  <a:cubicBezTo>
                    <a:pt x="537" y="4882"/>
                    <a:pt x="334" y="4227"/>
                    <a:pt x="334" y="3393"/>
                  </a:cubicBezTo>
                  <a:lnTo>
                    <a:pt x="334" y="2679"/>
                  </a:lnTo>
                  <a:cubicBezTo>
                    <a:pt x="334" y="1846"/>
                    <a:pt x="537" y="1191"/>
                    <a:pt x="941" y="774"/>
                  </a:cubicBezTo>
                  <a:cubicBezTo>
                    <a:pt x="1263" y="453"/>
                    <a:pt x="1620" y="357"/>
                    <a:pt x="1763" y="357"/>
                  </a:cubicBezTo>
                  <a:close/>
                  <a:moveTo>
                    <a:pt x="1775" y="0"/>
                  </a:moveTo>
                  <a:cubicBezTo>
                    <a:pt x="1525" y="0"/>
                    <a:pt x="1084" y="131"/>
                    <a:pt x="715" y="500"/>
                  </a:cubicBezTo>
                  <a:cubicBezTo>
                    <a:pt x="239" y="988"/>
                    <a:pt x="1" y="1715"/>
                    <a:pt x="1" y="2643"/>
                  </a:cubicBezTo>
                  <a:lnTo>
                    <a:pt x="1" y="3358"/>
                  </a:lnTo>
                  <a:cubicBezTo>
                    <a:pt x="1" y="4298"/>
                    <a:pt x="239" y="5013"/>
                    <a:pt x="715" y="5501"/>
                  </a:cubicBezTo>
                  <a:cubicBezTo>
                    <a:pt x="1084" y="5882"/>
                    <a:pt x="1525" y="6013"/>
                    <a:pt x="1775" y="6013"/>
                  </a:cubicBezTo>
                  <a:cubicBezTo>
                    <a:pt x="1965" y="6013"/>
                    <a:pt x="2215" y="5918"/>
                    <a:pt x="2394" y="5858"/>
                  </a:cubicBezTo>
                  <a:cubicBezTo>
                    <a:pt x="2549" y="5799"/>
                    <a:pt x="2632" y="5644"/>
                    <a:pt x="2608" y="5477"/>
                  </a:cubicBezTo>
                  <a:lnTo>
                    <a:pt x="2442" y="4489"/>
                  </a:lnTo>
                  <a:cubicBezTo>
                    <a:pt x="2419" y="4307"/>
                    <a:pt x="2255" y="4190"/>
                    <a:pt x="2075" y="4190"/>
                  </a:cubicBezTo>
                  <a:cubicBezTo>
                    <a:pt x="2066" y="4190"/>
                    <a:pt x="2058" y="4191"/>
                    <a:pt x="2049" y="4191"/>
                  </a:cubicBezTo>
                  <a:lnTo>
                    <a:pt x="1573" y="4251"/>
                  </a:lnTo>
                  <a:cubicBezTo>
                    <a:pt x="1108" y="4215"/>
                    <a:pt x="1108" y="3382"/>
                    <a:pt x="1108" y="3334"/>
                  </a:cubicBezTo>
                  <a:lnTo>
                    <a:pt x="1108" y="2643"/>
                  </a:lnTo>
                  <a:cubicBezTo>
                    <a:pt x="1108" y="2643"/>
                    <a:pt x="1108" y="2644"/>
                    <a:pt x="1108" y="2644"/>
                  </a:cubicBezTo>
                  <a:cubicBezTo>
                    <a:pt x="1084" y="2644"/>
                    <a:pt x="1088" y="1798"/>
                    <a:pt x="1561" y="1762"/>
                  </a:cubicBezTo>
                  <a:lnTo>
                    <a:pt x="2037" y="1822"/>
                  </a:lnTo>
                  <a:cubicBezTo>
                    <a:pt x="2053" y="1824"/>
                    <a:pt x="2068" y="1825"/>
                    <a:pt x="2084" y="1825"/>
                  </a:cubicBezTo>
                  <a:cubicBezTo>
                    <a:pt x="2263" y="1825"/>
                    <a:pt x="2397" y="1700"/>
                    <a:pt x="2430" y="1524"/>
                  </a:cubicBezTo>
                  <a:lnTo>
                    <a:pt x="2596" y="536"/>
                  </a:lnTo>
                  <a:cubicBezTo>
                    <a:pt x="2620" y="369"/>
                    <a:pt x="2537" y="203"/>
                    <a:pt x="2382" y="143"/>
                  </a:cubicBezTo>
                  <a:cubicBezTo>
                    <a:pt x="2215" y="72"/>
                    <a:pt x="1965"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4" name="Google Shape;11134;p60"/>
          <p:cNvGrpSpPr/>
          <p:nvPr/>
        </p:nvGrpSpPr>
        <p:grpSpPr>
          <a:xfrm>
            <a:off x="1748582" y="3372635"/>
            <a:ext cx="359269" cy="335780"/>
            <a:chOff x="1748582" y="3372635"/>
            <a:chExt cx="359269" cy="335780"/>
          </a:xfrm>
        </p:grpSpPr>
        <p:sp>
          <p:nvSpPr>
            <p:cNvPr id="11135" name="Google Shape;11135;p60"/>
            <p:cNvSpPr/>
            <p:nvPr/>
          </p:nvSpPr>
          <p:spPr>
            <a:xfrm>
              <a:off x="2080161" y="3535210"/>
              <a:ext cx="27690" cy="10630"/>
            </a:xfrm>
            <a:custGeom>
              <a:avLst/>
              <a:gdLst/>
              <a:ahLst/>
              <a:cxnLst/>
              <a:rect l="l" t="t" r="r" b="b"/>
              <a:pathLst>
                <a:path w="870" h="334" extrusionOk="0">
                  <a:moveTo>
                    <a:pt x="167" y="0"/>
                  </a:moveTo>
                  <a:cubicBezTo>
                    <a:pt x="72" y="0"/>
                    <a:pt x="1" y="83"/>
                    <a:pt x="1" y="167"/>
                  </a:cubicBezTo>
                  <a:cubicBezTo>
                    <a:pt x="1" y="262"/>
                    <a:pt x="72" y="333"/>
                    <a:pt x="167" y="333"/>
                  </a:cubicBezTo>
                  <a:lnTo>
                    <a:pt x="703" y="333"/>
                  </a:lnTo>
                  <a:cubicBezTo>
                    <a:pt x="786" y="333"/>
                    <a:pt x="870" y="262"/>
                    <a:pt x="870" y="167"/>
                  </a:cubicBezTo>
                  <a:cubicBezTo>
                    <a:pt x="870" y="83"/>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36" name="Google Shape;11136;p60"/>
            <p:cNvGrpSpPr/>
            <p:nvPr/>
          </p:nvGrpSpPr>
          <p:grpSpPr>
            <a:xfrm>
              <a:off x="1748582" y="3372635"/>
              <a:ext cx="333520" cy="335780"/>
              <a:chOff x="1748582" y="3372635"/>
              <a:chExt cx="333520" cy="335780"/>
            </a:xfrm>
          </p:grpSpPr>
          <p:sp>
            <p:nvSpPr>
              <p:cNvPr id="11137" name="Google Shape;11137;p60"/>
              <p:cNvSpPr/>
              <p:nvPr/>
            </p:nvSpPr>
            <p:spPr>
              <a:xfrm>
                <a:off x="1748582" y="3372635"/>
                <a:ext cx="308504" cy="335780"/>
              </a:xfrm>
              <a:custGeom>
                <a:avLst/>
                <a:gdLst/>
                <a:ahLst/>
                <a:cxnLst/>
                <a:rect l="l" t="t" r="r" b="b"/>
                <a:pathLst>
                  <a:path w="9693" h="10550" extrusionOk="0">
                    <a:moveTo>
                      <a:pt x="8454" y="4215"/>
                    </a:moveTo>
                    <a:cubicBezTo>
                      <a:pt x="8978" y="4298"/>
                      <a:pt x="9359" y="4739"/>
                      <a:pt x="9359" y="5275"/>
                    </a:cubicBezTo>
                    <a:cubicBezTo>
                      <a:pt x="9359" y="5811"/>
                      <a:pt x="8978" y="6263"/>
                      <a:pt x="8454" y="6334"/>
                    </a:cubicBezTo>
                    <a:lnTo>
                      <a:pt x="8454" y="4215"/>
                    </a:lnTo>
                    <a:close/>
                    <a:moveTo>
                      <a:pt x="1251" y="4036"/>
                    </a:moveTo>
                    <a:lnTo>
                      <a:pt x="1251" y="6525"/>
                    </a:lnTo>
                    <a:lnTo>
                      <a:pt x="894" y="6525"/>
                    </a:lnTo>
                    <a:cubicBezTo>
                      <a:pt x="596" y="6525"/>
                      <a:pt x="358" y="6287"/>
                      <a:pt x="358" y="5989"/>
                    </a:cubicBezTo>
                    <a:lnTo>
                      <a:pt x="358" y="4572"/>
                    </a:lnTo>
                    <a:cubicBezTo>
                      <a:pt x="358" y="4275"/>
                      <a:pt x="596" y="4036"/>
                      <a:pt x="894" y="4036"/>
                    </a:cubicBezTo>
                    <a:close/>
                    <a:moveTo>
                      <a:pt x="2668" y="4025"/>
                    </a:moveTo>
                    <a:lnTo>
                      <a:pt x="2668" y="6525"/>
                    </a:lnTo>
                    <a:lnTo>
                      <a:pt x="1584" y="6525"/>
                    </a:lnTo>
                    <a:lnTo>
                      <a:pt x="1584" y="4025"/>
                    </a:lnTo>
                    <a:close/>
                    <a:moveTo>
                      <a:pt x="2846" y="7727"/>
                    </a:moveTo>
                    <a:lnTo>
                      <a:pt x="2846" y="8466"/>
                    </a:lnTo>
                    <a:lnTo>
                      <a:pt x="2537" y="8466"/>
                    </a:lnTo>
                    <a:lnTo>
                      <a:pt x="2727" y="7727"/>
                    </a:lnTo>
                    <a:close/>
                    <a:moveTo>
                      <a:pt x="2608" y="6834"/>
                    </a:moveTo>
                    <a:lnTo>
                      <a:pt x="2001" y="9156"/>
                    </a:lnTo>
                    <a:lnTo>
                      <a:pt x="1584" y="9156"/>
                    </a:lnTo>
                    <a:lnTo>
                      <a:pt x="1584" y="6834"/>
                    </a:lnTo>
                    <a:close/>
                    <a:moveTo>
                      <a:pt x="8133" y="357"/>
                    </a:moveTo>
                    <a:lnTo>
                      <a:pt x="8133" y="10228"/>
                    </a:lnTo>
                    <a:lnTo>
                      <a:pt x="7394" y="10228"/>
                    </a:lnTo>
                    <a:lnTo>
                      <a:pt x="7394" y="3251"/>
                    </a:lnTo>
                    <a:cubicBezTo>
                      <a:pt x="7394" y="3167"/>
                      <a:pt x="7323" y="3084"/>
                      <a:pt x="7240" y="3084"/>
                    </a:cubicBezTo>
                    <a:cubicBezTo>
                      <a:pt x="7144" y="3084"/>
                      <a:pt x="7073" y="3167"/>
                      <a:pt x="7073" y="3251"/>
                    </a:cubicBezTo>
                    <a:lnTo>
                      <a:pt x="7073" y="9144"/>
                    </a:lnTo>
                    <a:cubicBezTo>
                      <a:pt x="6859" y="8859"/>
                      <a:pt x="6549" y="8466"/>
                      <a:pt x="6132" y="8073"/>
                    </a:cubicBezTo>
                    <a:cubicBezTo>
                      <a:pt x="5668" y="7632"/>
                      <a:pt x="5192" y="7275"/>
                      <a:pt x="4704" y="7013"/>
                    </a:cubicBezTo>
                    <a:cubicBezTo>
                      <a:pt x="4132" y="6715"/>
                      <a:pt x="3561" y="6561"/>
                      <a:pt x="2989" y="6537"/>
                    </a:cubicBezTo>
                    <a:lnTo>
                      <a:pt x="2989" y="4036"/>
                    </a:lnTo>
                    <a:cubicBezTo>
                      <a:pt x="3572" y="4013"/>
                      <a:pt x="4132" y="3846"/>
                      <a:pt x="4704" y="3560"/>
                    </a:cubicBezTo>
                    <a:cubicBezTo>
                      <a:pt x="5192" y="3310"/>
                      <a:pt x="5668" y="2953"/>
                      <a:pt x="6132" y="2501"/>
                    </a:cubicBezTo>
                    <a:cubicBezTo>
                      <a:pt x="6537" y="2108"/>
                      <a:pt x="6847" y="1715"/>
                      <a:pt x="7073" y="1429"/>
                    </a:cubicBezTo>
                    <a:lnTo>
                      <a:pt x="7073" y="2489"/>
                    </a:lnTo>
                    <a:cubicBezTo>
                      <a:pt x="7073" y="2584"/>
                      <a:pt x="7144" y="2655"/>
                      <a:pt x="7240" y="2655"/>
                    </a:cubicBezTo>
                    <a:cubicBezTo>
                      <a:pt x="7323" y="2655"/>
                      <a:pt x="7394" y="2584"/>
                      <a:pt x="7394" y="2489"/>
                    </a:cubicBezTo>
                    <a:lnTo>
                      <a:pt x="7394" y="357"/>
                    </a:lnTo>
                    <a:close/>
                    <a:moveTo>
                      <a:pt x="7228" y="0"/>
                    </a:moveTo>
                    <a:cubicBezTo>
                      <a:pt x="7144" y="0"/>
                      <a:pt x="7073" y="84"/>
                      <a:pt x="7073" y="167"/>
                    </a:cubicBezTo>
                    <a:lnTo>
                      <a:pt x="7073" y="822"/>
                    </a:lnTo>
                    <a:cubicBezTo>
                      <a:pt x="6966" y="988"/>
                      <a:pt x="6549" y="1631"/>
                      <a:pt x="5906" y="2251"/>
                    </a:cubicBezTo>
                    <a:cubicBezTo>
                      <a:pt x="5227" y="2905"/>
                      <a:pt x="4132" y="3703"/>
                      <a:pt x="2822" y="3703"/>
                    </a:cubicBezTo>
                    <a:lnTo>
                      <a:pt x="882" y="3703"/>
                    </a:lnTo>
                    <a:cubicBezTo>
                      <a:pt x="405" y="3703"/>
                      <a:pt x="1" y="4084"/>
                      <a:pt x="1" y="4572"/>
                    </a:cubicBezTo>
                    <a:lnTo>
                      <a:pt x="1" y="5989"/>
                    </a:lnTo>
                    <a:cubicBezTo>
                      <a:pt x="1" y="6465"/>
                      <a:pt x="382" y="6870"/>
                      <a:pt x="882" y="6870"/>
                    </a:cubicBezTo>
                    <a:lnTo>
                      <a:pt x="1239" y="6870"/>
                    </a:lnTo>
                    <a:lnTo>
                      <a:pt x="1239" y="9359"/>
                    </a:lnTo>
                    <a:cubicBezTo>
                      <a:pt x="1239" y="9442"/>
                      <a:pt x="1310" y="9513"/>
                      <a:pt x="1394" y="9513"/>
                    </a:cubicBezTo>
                    <a:lnTo>
                      <a:pt x="2096" y="9513"/>
                    </a:lnTo>
                    <a:cubicBezTo>
                      <a:pt x="2168" y="9513"/>
                      <a:pt x="2227" y="9478"/>
                      <a:pt x="2263" y="9394"/>
                    </a:cubicBezTo>
                    <a:lnTo>
                      <a:pt x="2406" y="8823"/>
                    </a:lnTo>
                    <a:lnTo>
                      <a:pt x="2977" y="8823"/>
                    </a:lnTo>
                    <a:cubicBezTo>
                      <a:pt x="3061" y="8823"/>
                      <a:pt x="3144" y="8739"/>
                      <a:pt x="3144" y="8656"/>
                    </a:cubicBezTo>
                    <a:lnTo>
                      <a:pt x="3144" y="7573"/>
                    </a:lnTo>
                    <a:cubicBezTo>
                      <a:pt x="3144" y="7477"/>
                      <a:pt x="3061" y="7406"/>
                      <a:pt x="2977" y="7406"/>
                    </a:cubicBezTo>
                    <a:lnTo>
                      <a:pt x="2787" y="7406"/>
                    </a:lnTo>
                    <a:lnTo>
                      <a:pt x="2930" y="6858"/>
                    </a:lnTo>
                    <a:cubicBezTo>
                      <a:pt x="4180" y="6894"/>
                      <a:pt x="5227" y="7656"/>
                      <a:pt x="5882" y="8299"/>
                    </a:cubicBezTo>
                    <a:cubicBezTo>
                      <a:pt x="6537" y="8942"/>
                      <a:pt x="6954" y="9573"/>
                      <a:pt x="7037" y="9728"/>
                    </a:cubicBezTo>
                    <a:lnTo>
                      <a:pt x="7037" y="10383"/>
                    </a:lnTo>
                    <a:cubicBezTo>
                      <a:pt x="7037" y="10466"/>
                      <a:pt x="7109" y="10549"/>
                      <a:pt x="7204" y="10549"/>
                    </a:cubicBezTo>
                    <a:lnTo>
                      <a:pt x="8264" y="10549"/>
                    </a:lnTo>
                    <a:cubicBezTo>
                      <a:pt x="8347" y="10549"/>
                      <a:pt x="8430" y="10466"/>
                      <a:pt x="8430" y="10383"/>
                    </a:cubicBezTo>
                    <a:lnTo>
                      <a:pt x="8430" y="6656"/>
                    </a:lnTo>
                    <a:cubicBezTo>
                      <a:pt x="9121" y="6573"/>
                      <a:pt x="9657" y="5989"/>
                      <a:pt x="9657" y="5275"/>
                    </a:cubicBezTo>
                    <a:cubicBezTo>
                      <a:pt x="9692" y="4560"/>
                      <a:pt x="9168" y="3965"/>
                      <a:pt x="8454" y="3894"/>
                    </a:cubicBezTo>
                    <a:lnTo>
                      <a:pt x="8454" y="167"/>
                    </a:lnTo>
                    <a:cubicBezTo>
                      <a:pt x="8454" y="84"/>
                      <a:pt x="8383" y="0"/>
                      <a:pt x="8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8" name="Google Shape;11138;p60"/>
              <p:cNvSpPr/>
              <p:nvPr/>
            </p:nvSpPr>
            <p:spPr>
              <a:xfrm>
                <a:off x="2057054" y="3472000"/>
                <a:ext cx="25048" cy="22311"/>
              </a:xfrm>
              <a:custGeom>
                <a:avLst/>
                <a:gdLst/>
                <a:ahLst/>
                <a:cxnLst/>
                <a:rect l="l" t="t" r="r" b="b"/>
                <a:pathLst>
                  <a:path w="787" h="701" extrusionOk="0">
                    <a:moveTo>
                      <a:pt x="600" y="1"/>
                    </a:moveTo>
                    <a:cubicBezTo>
                      <a:pt x="557" y="1"/>
                      <a:pt x="512" y="16"/>
                      <a:pt x="477" y="45"/>
                    </a:cubicBezTo>
                    <a:lnTo>
                      <a:pt x="107" y="414"/>
                    </a:lnTo>
                    <a:cubicBezTo>
                      <a:pt x="0" y="522"/>
                      <a:pt x="72" y="700"/>
                      <a:pt x="227" y="700"/>
                    </a:cubicBezTo>
                    <a:cubicBezTo>
                      <a:pt x="262" y="700"/>
                      <a:pt x="310" y="676"/>
                      <a:pt x="346" y="653"/>
                    </a:cubicBezTo>
                    <a:lnTo>
                      <a:pt x="715" y="283"/>
                    </a:lnTo>
                    <a:cubicBezTo>
                      <a:pt x="786" y="200"/>
                      <a:pt x="786" y="105"/>
                      <a:pt x="715" y="45"/>
                    </a:cubicBezTo>
                    <a:cubicBezTo>
                      <a:pt x="685" y="16"/>
                      <a:pt x="643" y="1"/>
                      <a:pt x="6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9" name="Google Shape;11139;p60"/>
              <p:cNvSpPr/>
              <p:nvPr/>
            </p:nvSpPr>
            <p:spPr>
              <a:xfrm>
                <a:off x="2058550" y="3586834"/>
                <a:ext cx="23552" cy="22629"/>
              </a:xfrm>
              <a:custGeom>
                <a:avLst/>
                <a:gdLst/>
                <a:ahLst/>
                <a:cxnLst/>
                <a:rect l="l" t="t" r="r" b="b"/>
                <a:pathLst>
                  <a:path w="740" h="711" extrusionOk="0">
                    <a:moveTo>
                      <a:pt x="184" y="0"/>
                    </a:moveTo>
                    <a:cubicBezTo>
                      <a:pt x="141" y="0"/>
                      <a:pt x="96" y="15"/>
                      <a:pt x="60" y="45"/>
                    </a:cubicBezTo>
                    <a:cubicBezTo>
                      <a:pt x="1" y="104"/>
                      <a:pt x="1" y="212"/>
                      <a:pt x="60" y="283"/>
                    </a:cubicBezTo>
                    <a:lnTo>
                      <a:pt x="430" y="664"/>
                    </a:lnTo>
                    <a:cubicBezTo>
                      <a:pt x="461" y="696"/>
                      <a:pt x="500" y="711"/>
                      <a:pt x="538" y="711"/>
                    </a:cubicBezTo>
                    <a:cubicBezTo>
                      <a:pt x="586" y="711"/>
                      <a:pt x="634" y="687"/>
                      <a:pt x="668" y="640"/>
                    </a:cubicBezTo>
                    <a:cubicBezTo>
                      <a:pt x="739" y="581"/>
                      <a:pt x="727" y="485"/>
                      <a:pt x="668" y="426"/>
                    </a:cubicBez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140" name="Google Shape;11140;p60"/>
          <p:cNvGrpSpPr/>
          <p:nvPr/>
        </p:nvGrpSpPr>
        <p:grpSpPr>
          <a:xfrm>
            <a:off x="2640993" y="3357835"/>
            <a:ext cx="365348" cy="364966"/>
            <a:chOff x="2640993" y="3357835"/>
            <a:chExt cx="365348" cy="364966"/>
          </a:xfrm>
        </p:grpSpPr>
        <p:sp>
          <p:nvSpPr>
            <p:cNvPr id="11141" name="Google Shape;11141;p60"/>
            <p:cNvSpPr/>
            <p:nvPr/>
          </p:nvSpPr>
          <p:spPr>
            <a:xfrm>
              <a:off x="2640993" y="3455227"/>
              <a:ext cx="365348" cy="267574"/>
            </a:xfrm>
            <a:custGeom>
              <a:avLst/>
              <a:gdLst/>
              <a:ahLst/>
              <a:cxnLst/>
              <a:rect l="l" t="t" r="r" b="b"/>
              <a:pathLst>
                <a:path w="11479" h="8407" extrusionOk="0">
                  <a:moveTo>
                    <a:pt x="5168" y="2311"/>
                  </a:moveTo>
                  <a:lnTo>
                    <a:pt x="5335" y="4859"/>
                  </a:lnTo>
                  <a:lnTo>
                    <a:pt x="4620" y="4859"/>
                  </a:lnTo>
                  <a:lnTo>
                    <a:pt x="4763" y="2311"/>
                  </a:lnTo>
                  <a:close/>
                  <a:moveTo>
                    <a:pt x="6966" y="2311"/>
                  </a:moveTo>
                  <a:lnTo>
                    <a:pt x="7133" y="4859"/>
                  </a:lnTo>
                  <a:lnTo>
                    <a:pt x="6418" y="4859"/>
                  </a:lnTo>
                  <a:lnTo>
                    <a:pt x="6561" y="2311"/>
                  </a:lnTo>
                  <a:close/>
                  <a:moveTo>
                    <a:pt x="8764" y="2311"/>
                  </a:moveTo>
                  <a:lnTo>
                    <a:pt x="8931" y="4859"/>
                  </a:lnTo>
                  <a:lnTo>
                    <a:pt x="8216" y="4859"/>
                  </a:lnTo>
                  <a:lnTo>
                    <a:pt x="8371" y="2311"/>
                  </a:lnTo>
                  <a:close/>
                  <a:moveTo>
                    <a:pt x="2156" y="5894"/>
                  </a:moveTo>
                  <a:lnTo>
                    <a:pt x="2144" y="6287"/>
                  </a:lnTo>
                  <a:lnTo>
                    <a:pt x="1549" y="6287"/>
                  </a:lnTo>
                  <a:cubicBezTo>
                    <a:pt x="1453" y="6287"/>
                    <a:pt x="1382" y="6359"/>
                    <a:pt x="1382" y="6442"/>
                  </a:cubicBezTo>
                  <a:cubicBezTo>
                    <a:pt x="1382" y="6537"/>
                    <a:pt x="1453" y="6609"/>
                    <a:pt x="1549" y="6609"/>
                  </a:cubicBezTo>
                  <a:lnTo>
                    <a:pt x="2132" y="6609"/>
                  </a:lnTo>
                  <a:lnTo>
                    <a:pt x="2096" y="8073"/>
                  </a:lnTo>
                  <a:lnTo>
                    <a:pt x="822" y="8073"/>
                  </a:lnTo>
                  <a:lnTo>
                    <a:pt x="822" y="6609"/>
                  </a:lnTo>
                  <a:lnTo>
                    <a:pt x="834" y="6609"/>
                  </a:lnTo>
                  <a:cubicBezTo>
                    <a:pt x="918" y="6609"/>
                    <a:pt x="1001" y="6537"/>
                    <a:pt x="1001" y="6442"/>
                  </a:cubicBezTo>
                  <a:cubicBezTo>
                    <a:pt x="1001" y="6359"/>
                    <a:pt x="918" y="6287"/>
                    <a:pt x="834" y="6287"/>
                  </a:cubicBezTo>
                  <a:cubicBezTo>
                    <a:pt x="727" y="6287"/>
                    <a:pt x="644" y="6192"/>
                    <a:pt x="644" y="6085"/>
                  </a:cubicBezTo>
                  <a:cubicBezTo>
                    <a:pt x="644" y="5990"/>
                    <a:pt x="727" y="5894"/>
                    <a:pt x="834" y="5894"/>
                  </a:cubicBezTo>
                  <a:close/>
                  <a:moveTo>
                    <a:pt x="3382" y="334"/>
                  </a:moveTo>
                  <a:lnTo>
                    <a:pt x="3489" y="4859"/>
                  </a:lnTo>
                  <a:lnTo>
                    <a:pt x="3192" y="4859"/>
                  </a:lnTo>
                  <a:cubicBezTo>
                    <a:pt x="2894" y="4859"/>
                    <a:pt x="2668" y="5097"/>
                    <a:pt x="2668" y="5371"/>
                  </a:cubicBezTo>
                  <a:cubicBezTo>
                    <a:pt x="2668" y="5537"/>
                    <a:pt x="2739" y="5668"/>
                    <a:pt x="2846" y="5775"/>
                  </a:cubicBezTo>
                  <a:lnTo>
                    <a:pt x="2846" y="8085"/>
                  </a:lnTo>
                  <a:lnTo>
                    <a:pt x="2454" y="8085"/>
                  </a:lnTo>
                  <a:lnTo>
                    <a:pt x="2632" y="334"/>
                  </a:lnTo>
                  <a:close/>
                  <a:moveTo>
                    <a:pt x="10359" y="5180"/>
                  </a:moveTo>
                  <a:cubicBezTo>
                    <a:pt x="10466" y="5180"/>
                    <a:pt x="10550" y="5275"/>
                    <a:pt x="10550" y="5371"/>
                  </a:cubicBezTo>
                  <a:cubicBezTo>
                    <a:pt x="10550" y="5478"/>
                    <a:pt x="10466" y="5573"/>
                    <a:pt x="10359" y="5573"/>
                  </a:cubicBezTo>
                  <a:lnTo>
                    <a:pt x="10002" y="5573"/>
                  </a:lnTo>
                  <a:cubicBezTo>
                    <a:pt x="9919" y="5573"/>
                    <a:pt x="9835" y="5644"/>
                    <a:pt x="9835" y="5728"/>
                  </a:cubicBezTo>
                  <a:cubicBezTo>
                    <a:pt x="9835" y="5823"/>
                    <a:pt x="9919" y="5894"/>
                    <a:pt x="10002" y="5894"/>
                  </a:cubicBezTo>
                  <a:lnTo>
                    <a:pt x="10371" y="5894"/>
                  </a:lnTo>
                  <a:lnTo>
                    <a:pt x="10371" y="8085"/>
                  </a:lnTo>
                  <a:lnTo>
                    <a:pt x="3156" y="8085"/>
                  </a:lnTo>
                  <a:lnTo>
                    <a:pt x="3156" y="5894"/>
                  </a:lnTo>
                  <a:lnTo>
                    <a:pt x="9288" y="5894"/>
                  </a:lnTo>
                  <a:cubicBezTo>
                    <a:pt x="9383" y="5894"/>
                    <a:pt x="9454" y="5823"/>
                    <a:pt x="9454" y="5728"/>
                  </a:cubicBezTo>
                  <a:cubicBezTo>
                    <a:pt x="9454" y="5644"/>
                    <a:pt x="9383" y="5573"/>
                    <a:pt x="9288" y="5573"/>
                  </a:cubicBezTo>
                  <a:lnTo>
                    <a:pt x="3168" y="5573"/>
                  </a:lnTo>
                  <a:cubicBezTo>
                    <a:pt x="3073" y="5573"/>
                    <a:pt x="2977" y="5478"/>
                    <a:pt x="2977" y="5371"/>
                  </a:cubicBezTo>
                  <a:cubicBezTo>
                    <a:pt x="2977" y="5275"/>
                    <a:pt x="3073" y="5180"/>
                    <a:pt x="3168" y="5180"/>
                  </a:cubicBezTo>
                  <a:close/>
                  <a:moveTo>
                    <a:pt x="2489" y="1"/>
                  </a:moveTo>
                  <a:cubicBezTo>
                    <a:pt x="2394" y="1"/>
                    <a:pt x="2323" y="72"/>
                    <a:pt x="2323" y="168"/>
                  </a:cubicBezTo>
                  <a:lnTo>
                    <a:pt x="2203" y="5561"/>
                  </a:lnTo>
                  <a:lnTo>
                    <a:pt x="882" y="5561"/>
                  </a:lnTo>
                  <a:cubicBezTo>
                    <a:pt x="584" y="5561"/>
                    <a:pt x="358" y="5799"/>
                    <a:pt x="358" y="6085"/>
                  </a:cubicBezTo>
                  <a:cubicBezTo>
                    <a:pt x="358" y="6252"/>
                    <a:pt x="429" y="6383"/>
                    <a:pt x="537" y="6490"/>
                  </a:cubicBezTo>
                  <a:lnTo>
                    <a:pt x="537" y="8085"/>
                  </a:lnTo>
                  <a:lnTo>
                    <a:pt x="168" y="8085"/>
                  </a:lnTo>
                  <a:cubicBezTo>
                    <a:pt x="72" y="8085"/>
                    <a:pt x="1" y="8157"/>
                    <a:pt x="1" y="8252"/>
                  </a:cubicBezTo>
                  <a:cubicBezTo>
                    <a:pt x="1" y="8335"/>
                    <a:pt x="72" y="8407"/>
                    <a:pt x="168" y="8407"/>
                  </a:cubicBezTo>
                  <a:lnTo>
                    <a:pt x="11312" y="8407"/>
                  </a:lnTo>
                  <a:cubicBezTo>
                    <a:pt x="11395" y="8407"/>
                    <a:pt x="11478" y="8335"/>
                    <a:pt x="11478" y="8252"/>
                  </a:cubicBezTo>
                  <a:cubicBezTo>
                    <a:pt x="11431" y="8157"/>
                    <a:pt x="11359" y="8085"/>
                    <a:pt x="11264" y="8085"/>
                  </a:cubicBezTo>
                  <a:lnTo>
                    <a:pt x="10716" y="8085"/>
                  </a:lnTo>
                  <a:lnTo>
                    <a:pt x="10716" y="5775"/>
                  </a:lnTo>
                  <a:cubicBezTo>
                    <a:pt x="10824" y="5668"/>
                    <a:pt x="10895" y="5537"/>
                    <a:pt x="10895" y="5371"/>
                  </a:cubicBezTo>
                  <a:cubicBezTo>
                    <a:pt x="10895" y="5073"/>
                    <a:pt x="10657" y="4859"/>
                    <a:pt x="10371" y="4859"/>
                  </a:cubicBezTo>
                  <a:lnTo>
                    <a:pt x="9276" y="4859"/>
                  </a:lnTo>
                  <a:lnTo>
                    <a:pt x="9109" y="2132"/>
                  </a:lnTo>
                  <a:cubicBezTo>
                    <a:pt x="9109" y="2037"/>
                    <a:pt x="9038" y="1965"/>
                    <a:pt x="8942" y="1965"/>
                  </a:cubicBezTo>
                  <a:lnTo>
                    <a:pt x="8228" y="1965"/>
                  </a:lnTo>
                  <a:cubicBezTo>
                    <a:pt x="8145" y="1965"/>
                    <a:pt x="8073" y="2037"/>
                    <a:pt x="8073" y="2132"/>
                  </a:cubicBezTo>
                  <a:lnTo>
                    <a:pt x="7907" y="4859"/>
                  </a:lnTo>
                  <a:lnTo>
                    <a:pt x="7502" y="4859"/>
                  </a:lnTo>
                  <a:lnTo>
                    <a:pt x="7335" y="2132"/>
                  </a:lnTo>
                  <a:cubicBezTo>
                    <a:pt x="7335" y="2037"/>
                    <a:pt x="7264" y="1965"/>
                    <a:pt x="7168" y="1965"/>
                  </a:cubicBezTo>
                  <a:lnTo>
                    <a:pt x="6466" y="1965"/>
                  </a:lnTo>
                  <a:cubicBezTo>
                    <a:pt x="6371" y="1965"/>
                    <a:pt x="6299" y="2037"/>
                    <a:pt x="6299" y="2132"/>
                  </a:cubicBezTo>
                  <a:lnTo>
                    <a:pt x="6133" y="4859"/>
                  </a:lnTo>
                  <a:lnTo>
                    <a:pt x="5728" y="4859"/>
                  </a:lnTo>
                  <a:lnTo>
                    <a:pt x="5561" y="2132"/>
                  </a:lnTo>
                  <a:cubicBezTo>
                    <a:pt x="5561" y="2037"/>
                    <a:pt x="5490" y="1965"/>
                    <a:pt x="5406" y="1965"/>
                  </a:cubicBezTo>
                  <a:lnTo>
                    <a:pt x="4620" y="1965"/>
                  </a:lnTo>
                  <a:cubicBezTo>
                    <a:pt x="4525" y="1965"/>
                    <a:pt x="4454" y="2037"/>
                    <a:pt x="4454" y="2132"/>
                  </a:cubicBezTo>
                  <a:lnTo>
                    <a:pt x="4287" y="4859"/>
                  </a:lnTo>
                  <a:lnTo>
                    <a:pt x="3823" y="4859"/>
                  </a:lnTo>
                  <a:lnTo>
                    <a:pt x="3716" y="168"/>
                  </a:lnTo>
                  <a:cubicBezTo>
                    <a:pt x="3716" y="72"/>
                    <a:pt x="3644" y="1"/>
                    <a:pt x="3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2" name="Google Shape;11142;p60"/>
            <p:cNvSpPr/>
            <p:nvPr/>
          </p:nvSpPr>
          <p:spPr>
            <a:xfrm>
              <a:off x="2724763" y="3357835"/>
              <a:ext cx="280050" cy="136476"/>
            </a:xfrm>
            <a:custGeom>
              <a:avLst/>
              <a:gdLst/>
              <a:ahLst/>
              <a:cxnLst/>
              <a:rect l="l" t="t" r="r" b="b"/>
              <a:pathLst>
                <a:path w="8799" h="4288" extrusionOk="0">
                  <a:moveTo>
                    <a:pt x="6656" y="1"/>
                  </a:moveTo>
                  <a:cubicBezTo>
                    <a:pt x="6156" y="1"/>
                    <a:pt x="5656" y="180"/>
                    <a:pt x="5286" y="501"/>
                  </a:cubicBezTo>
                  <a:cubicBezTo>
                    <a:pt x="5001" y="299"/>
                    <a:pt x="4679" y="168"/>
                    <a:pt x="4322" y="168"/>
                  </a:cubicBezTo>
                  <a:cubicBezTo>
                    <a:pt x="3905" y="168"/>
                    <a:pt x="3501" y="334"/>
                    <a:pt x="3191" y="632"/>
                  </a:cubicBezTo>
                  <a:cubicBezTo>
                    <a:pt x="3036" y="561"/>
                    <a:pt x="2858" y="525"/>
                    <a:pt x="2691" y="525"/>
                  </a:cubicBezTo>
                  <a:cubicBezTo>
                    <a:pt x="2191" y="525"/>
                    <a:pt x="1750" y="822"/>
                    <a:pt x="1548" y="1275"/>
                  </a:cubicBezTo>
                  <a:cubicBezTo>
                    <a:pt x="1476" y="1263"/>
                    <a:pt x="1417" y="1239"/>
                    <a:pt x="1346" y="1239"/>
                  </a:cubicBezTo>
                  <a:cubicBezTo>
                    <a:pt x="1000" y="1239"/>
                    <a:pt x="703" y="1465"/>
                    <a:pt x="584" y="1775"/>
                  </a:cubicBezTo>
                  <a:lnTo>
                    <a:pt x="524" y="1775"/>
                  </a:lnTo>
                  <a:cubicBezTo>
                    <a:pt x="226" y="1775"/>
                    <a:pt x="0" y="2013"/>
                    <a:pt x="0" y="2299"/>
                  </a:cubicBezTo>
                  <a:cubicBezTo>
                    <a:pt x="0" y="2394"/>
                    <a:pt x="72" y="2466"/>
                    <a:pt x="167" y="2466"/>
                  </a:cubicBezTo>
                  <a:cubicBezTo>
                    <a:pt x="262" y="2466"/>
                    <a:pt x="333" y="2394"/>
                    <a:pt x="333" y="2299"/>
                  </a:cubicBezTo>
                  <a:cubicBezTo>
                    <a:pt x="333" y="2192"/>
                    <a:pt x="417" y="2108"/>
                    <a:pt x="524" y="2108"/>
                  </a:cubicBezTo>
                  <a:cubicBezTo>
                    <a:pt x="560" y="2108"/>
                    <a:pt x="584" y="2120"/>
                    <a:pt x="631" y="2144"/>
                  </a:cubicBezTo>
                  <a:cubicBezTo>
                    <a:pt x="649" y="2156"/>
                    <a:pt x="679" y="2162"/>
                    <a:pt x="710" y="2162"/>
                  </a:cubicBezTo>
                  <a:cubicBezTo>
                    <a:pt x="741" y="2162"/>
                    <a:pt x="774" y="2156"/>
                    <a:pt x="798" y="2144"/>
                  </a:cubicBezTo>
                  <a:cubicBezTo>
                    <a:pt x="834" y="2108"/>
                    <a:pt x="881" y="2061"/>
                    <a:pt x="881" y="2001"/>
                  </a:cubicBezTo>
                  <a:cubicBezTo>
                    <a:pt x="893" y="1763"/>
                    <a:pt x="1095" y="1573"/>
                    <a:pt x="1346" y="1573"/>
                  </a:cubicBezTo>
                  <a:cubicBezTo>
                    <a:pt x="1417" y="1573"/>
                    <a:pt x="1488" y="1584"/>
                    <a:pt x="1572" y="1632"/>
                  </a:cubicBezTo>
                  <a:cubicBezTo>
                    <a:pt x="1591" y="1652"/>
                    <a:pt x="1618" y="1661"/>
                    <a:pt x="1646" y="1661"/>
                  </a:cubicBezTo>
                  <a:cubicBezTo>
                    <a:pt x="1669" y="1661"/>
                    <a:pt x="1693" y="1655"/>
                    <a:pt x="1715" y="1644"/>
                  </a:cubicBezTo>
                  <a:cubicBezTo>
                    <a:pt x="1762" y="1632"/>
                    <a:pt x="1810" y="1584"/>
                    <a:pt x="1822" y="1525"/>
                  </a:cubicBezTo>
                  <a:cubicBezTo>
                    <a:pt x="1929" y="1132"/>
                    <a:pt x="2286" y="858"/>
                    <a:pt x="2703" y="858"/>
                  </a:cubicBezTo>
                  <a:cubicBezTo>
                    <a:pt x="2846" y="858"/>
                    <a:pt x="3012" y="906"/>
                    <a:pt x="3143" y="977"/>
                  </a:cubicBezTo>
                  <a:cubicBezTo>
                    <a:pt x="3173" y="997"/>
                    <a:pt x="3207" y="1007"/>
                    <a:pt x="3240" y="1007"/>
                  </a:cubicBezTo>
                  <a:cubicBezTo>
                    <a:pt x="3286" y="1007"/>
                    <a:pt x="3330" y="988"/>
                    <a:pt x="3358" y="953"/>
                  </a:cubicBezTo>
                  <a:cubicBezTo>
                    <a:pt x="3596" y="668"/>
                    <a:pt x="3953" y="501"/>
                    <a:pt x="4322" y="501"/>
                  </a:cubicBezTo>
                  <a:cubicBezTo>
                    <a:pt x="4632" y="501"/>
                    <a:pt x="4941" y="620"/>
                    <a:pt x="5167" y="834"/>
                  </a:cubicBezTo>
                  <a:cubicBezTo>
                    <a:pt x="5197" y="864"/>
                    <a:pt x="5239" y="879"/>
                    <a:pt x="5281" y="879"/>
                  </a:cubicBezTo>
                  <a:cubicBezTo>
                    <a:pt x="5322" y="879"/>
                    <a:pt x="5364" y="864"/>
                    <a:pt x="5394" y="834"/>
                  </a:cubicBezTo>
                  <a:cubicBezTo>
                    <a:pt x="5739" y="501"/>
                    <a:pt x="6179" y="322"/>
                    <a:pt x="6644" y="322"/>
                  </a:cubicBezTo>
                  <a:cubicBezTo>
                    <a:pt x="7644" y="322"/>
                    <a:pt x="8454" y="1144"/>
                    <a:pt x="8454" y="2144"/>
                  </a:cubicBezTo>
                  <a:cubicBezTo>
                    <a:pt x="8454" y="3132"/>
                    <a:pt x="7644" y="3954"/>
                    <a:pt x="6644" y="3954"/>
                  </a:cubicBezTo>
                  <a:cubicBezTo>
                    <a:pt x="5977" y="3954"/>
                    <a:pt x="5382" y="3597"/>
                    <a:pt x="5048" y="3013"/>
                  </a:cubicBezTo>
                  <a:cubicBezTo>
                    <a:pt x="5013" y="2960"/>
                    <a:pt x="4957" y="2933"/>
                    <a:pt x="4891" y="2933"/>
                  </a:cubicBezTo>
                  <a:cubicBezTo>
                    <a:pt x="4869" y="2933"/>
                    <a:pt x="4846" y="2936"/>
                    <a:pt x="4822" y="2942"/>
                  </a:cubicBezTo>
                  <a:cubicBezTo>
                    <a:pt x="4667" y="3013"/>
                    <a:pt x="4489" y="3061"/>
                    <a:pt x="4286" y="3061"/>
                  </a:cubicBezTo>
                  <a:cubicBezTo>
                    <a:pt x="3917" y="3061"/>
                    <a:pt x="3572" y="2894"/>
                    <a:pt x="3322" y="2620"/>
                  </a:cubicBezTo>
                  <a:cubicBezTo>
                    <a:pt x="3284" y="2583"/>
                    <a:pt x="3242" y="2559"/>
                    <a:pt x="3198" y="2559"/>
                  </a:cubicBezTo>
                  <a:cubicBezTo>
                    <a:pt x="3172" y="2559"/>
                    <a:pt x="3146" y="2567"/>
                    <a:pt x="3120" y="2585"/>
                  </a:cubicBezTo>
                  <a:cubicBezTo>
                    <a:pt x="2977" y="2656"/>
                    <a:pt x="2822" y="2704"/>
                    <a:pt x="2667" y="2704"/>
                  </a:cubicBezTo>
                  <a:cubicBezTo>
                    <a:pt x="2381" y="2704"/>
                    <a:pt x="2119" y="2573"/>
                    <a:pt x="1953" y="2346"/>
                  </a:cubicBezTo>
                  <a:cubicBezTo>
                    <a:pt x="1929" y="2299"/>
                    <a:pt x="1881" y="2287"/>
                    <a:pt x="1822" y="2287"/>
                  </a:cubicBezTo>
                  <a:cubicBezTo>
                    <a:pt x="1774" y="2287"/>
                    <a:pt x="1715" y="2323"/>
                    <a:pt x="1691" y="2346"/>
                  </a:cubicBezTo>
                  <a:cubicBezTo>
                    <a:pt x="1596" y="2466"/>
                    <a:pt x="1465" y="2525"/>
                    <a:pt x="1334" y="2525"/>
                  </a:cubicBezTo>
                  <a:cubicBezTo>
                    <a:pt x="1238" y="2525"/>
                    <a:pt x="1167" y="2596"/>
                    <a:pt x="1167" y="2692"/>
                  </a:cubicBezTo>
                  <a:cubicBezTo>
                    <a:pt x="1167" y="2775"/>
                    <a:pt x="1238" y="2858"/>
                    <a:pt x="1334" y="2858"/>
                  </a:cubicBezTo>
                  <a:cubicBezTo>
                    <a:pt x="1512" y="2858"/>
                    <a:pt x="1667" y="2799"/>
                    <a:pt x="1822" y="2692"/>
                  </a:cubicBezTo>
                  <a:cubicBezTo>
                    <a:pt x="2060" y="2918"/>
                    <a:pt x="2358" y="3037"/>
                    <a:pt x="2679" y="3037"/>
                  </a:cubicBezTo>
                  <a:cubicBezTo>
                    <a:pt x="2846" y="3037"/>
                    <a:pt x="3024" y="3001"/>
                    <a:pt x="3179" y="2930"/>
                  </a:cubicBezTo>
                  <a:cubicBezTo>
                    <a:pt x="3477" y="3228"/>
                    <a:pt x="3870" y="3394"/>
                    <a:pt x="4310" y="3394"/>
                  </a:cubicBezTo>
                  <a:cubicBezTo>
                    <a:pt x="4489" y="3394"/>
                    <a:pt x="4667" y="3358"/>
                    <a:pt x="4846" y="3299"/>
                  </a:cubicBezTo>
                  <a:cubicBezTo>
                    <a:pt x="5227" y="3906"/>
                    <a:pt x="5918" y="4287"/>
                    <a:pt x="6644" y="4287"/>
                  </a:cubicBezTo>
                  <a:cubicBezTo>
                    <a:pt x="7834" y="4287"/>
                    <a:pt x="8787" y="3311"/>
                    <a:pt x="8787" y="2144"/>
                  </a:cubicBezTo>
                  <a:cubicBezTo>
                    <a:pt x="8799" y="965"/>
                    <a:pt x="7834" y="1"/>
                    <a:pt x="6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3" name="Google Shape;11143;p60"/>
            <p:cNvSpPr/>
            <p:nvPr/>
          </p:nvSpPr>
          <p:spPr>
            <a:xfrm>
              <a:off x="2771359" y="3655327"/>
              <a:ext cx="10280" cy="21611"/>
            </a:xfrm>
            <a:custGeom>
              <a:avLst/>
              <a:gdLst/>
              <a:ahLst/>
              <a:cxnLst/>
              <a:rect l="l" t="t" r="r" b="b"/>
              <a:pathLst>
                <a:path w="323" h="679" extrusionOk="0">
                  <a:moveTo>
                    <a:pt x="167" y="0"/>
                  </a:moveTo>
                  <a:cubicBezTo>
                    <a:pt x="72" y="0"/>
                    <a:pt x="1" y="72"/>
                    <a:pt x="1" y="155"/>
                  </a:cubicBezTo>
                  <a:lnTo>
                    <a:pt x="1" y="512"/>
                  </a:lnTo>
                  <a:cubicBezTo>
                    <a:pt x="1" y="608"/>
                    <a:pt x="72" y="679"/>
                    <a:pt x="167" y="679"/>
                  </a:cubicBezTo>
                  <a:cubicBezTo>
                    <a:pt x="251" y="679"/>
                    <a:pt x="322" y="608"/>
                    <a:pt x="322" y="512"/>
                  </a:cubicBezTo>
                  <a:lnTo>
                    <a:pt x="322" y="179"/>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4" name="Google Shape;11144;p60"/>
            <p:cNvSpPr/>
            <p:nvPr/>
          </p:nvSpPr>
          <p:spPr>
            <a:xfrm>
              <a:off x="2794084" y="3655327"/>
              <a:ext cx="10280" cy="21611"/>
            </a:xfrm>
            <a:custGeom>
              <a:avLst/>
              <a:gdLst/>
              <a:ahLst/>
              <a:cxnLst/>
              <a:rect l="l" t="t" r="r" b="b"/>
              <a:pathLst>
                <a:path w="323" h="679" extrusionOk="0">
                  <a:moveTo>
                    <a:pt x="168" y="0"/>
                  </a:moveTo>
                  <a:cubicBezTo>
                    <a:pt x="72" y="0"/>
                    <a:pt x="1" y="72"/>
                    <a:pt x="1" y="155"/>
                  </a:cubicBezTo>
                  <a:lnTo>
                    <a:pt x="1" y="512"/>
                  </a:lnTo>
                  <a:cubicBezTo>
                    <a:pt x="1" y="608"/>
                    <a:pt x="72" y="679"/>
                    <a:pt x="168" y="679"/>
                  </a:cubicBezTo>
                  <a:cubicBezTo>
                    <a:pt x="251" y="679"/>
                    <a:pt x="322" y="608"/>
                    <a:pt x="322" y="512"/>
                  </a:cubicBezTo>
                  <a:lnTo>
                    <a:pt x="322" y="179"/>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5" name="Google Shape;11145;p60"/>
            <p:cNvSpPr/>
            <p:nvPr/>
          </p:nvSpPr>
          <p:spPr>
            <a:xfrm>
              <a:off x="2816840"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22" y="608"/>
                    <a:pt x="322" y="512"/>
                  </a:cubicBezTo>
                  <a:lnTo>
                    <a:pt x="322" y="179"/>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6" name="Google Shape;11146;p60"/>
            <p:cNvSpPr/>
            <p:nvPr/>
          </p:nvSpPr>
          <p:spPr>
            <a:xfrm>
              <a:off x="2839947" y="3655327"/>
              <a:ext cx="10630" cy="21611"/>
            </a:xfrm>
            <a:custGeom>
              <a:avLst/>
              <a:gdLst/>
              <a:ahLst/>
              <a:cxnLst/>
              <a:rect l="l" t="t" r="r" b="b"/>
              <a:pathLst>
                <a:path w="334" h="679" extrusionOk="0">
                  <a:moveTo>
                    <a:pt x="167" y="0"/>
                  </a:moveTo>
                  <a:cubicBezTo>
                    <a:pt x="72" y="0"/>
                    <a:pt x="1" y="72"/>
                    <a:pt x="1" y="155"/>
                  </a:cubicBezTo>
                  <a:lnTo>
                    <a:pt x="1" y="512"/>
                  </a:lnTo>
                  <a:cubicBezTo>
                    <a:pt x="1" y="608"/>
                    <a:pt x="72" y="679"/>
                    <a:pt x="167" y="679"/>
                  </a:cubicBezTo>
                  <a:cubicBezTo>
                    <a:pt x="251" y="679"/>
                    <a:pt x="334" y="608"/>
                    <a:pt x="334" y="512"/>
                  </a:cubicBezTo>
                  <a:lnTo>
                    <a:pt x="334" y="179"/>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7" name="Google Shape;11147;p60"/>
            <p:cNvSpPr/>
            <p:nvPr/>
          </p:nvSpPr>
          <p:spPr>
            <a:xfrm>
              <a:off x="2862672" y="3655327"/>
              <a:ext cx="10662" cy="21611"/>
            </a:xfrm>
            <a:custGeom>
              <a:avLst/>
              <a:gdLst/>
              <a:ahLst/>
              <a:cxnLst/>
              <a:rect l="l" t="t" r="r" b="b"/>
              <a:pathLst>
                <a:path w="335" h="679" extrusionOk="0">
                  <a:moveTo>
                    <a:pt x="168" y="0"/>
                  </a:moveTo>
                  <a:cubicBezTo>
                    <a:pt x="72" y="0"/>
                    <a:pt x="1" y="72"/>
                    <a:pt x="1" y="155"/>
                  </a:cubicBezTo>
                  <a:lnTo>
                    <a:pt x="1" y="512"/>
                  </a:lnTo>
                  <a:cubicBezTo>
                    <a:pt x="1" y="608"/>
                    <a:pt x="72" y="679"/>
                    <a:pt x="168" y="679"/>
                  </a:cubicBezTo>
                  <a:cubicBezTo>
                    <a:pt x="251" y="679"/>
                    <a:pt x="334" y="608"/>
                    <a:pt x="334" y="512"/>
                  </a:cubicBezTo>
                  <a:lnTo>
                    <a:pt x="334" y="179"/>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8" name="Google Shape;11148;p60"/>
            <p:cNvSpPr/>
            <p:nvPr/>
          </p:nvSpPr>
          <p:spPr>
            <a:xfrm>
              <a:off x="2885429" y="3655327"/>
              <a:ext cx="11012" cy="21611"/>
            </a:xfrm>
            <a:custGeom>
              <a:avLst/>
              <a:gdLst/>
              <a:ahLst/>
              <a:cxnLst/>
              <a:rect l="l" t="t" r="r" b="b"/>
              <a:pathLst>
                <a:path w="346" h="679" extrusionOk="0">
                  <a:moveTo>
                    <a:pt x="167" y="0"/>
                  </a:moveTo>
                  <a:cubicBezTo>
                    <a:pt x="72" y="0"/>
                    <a:pt x="0" y="72"/>
                    <a:pt x="0" y="155"/>
                  </a:cubicBezTo>
                  <a:lnTo>
                    <a:pt x="0" y="512"/>
                  </a:lnTo>
                  <a:cubicBezTo>
                    <a:pt x="0" y="608"/>
                    <a:pt x="72" y="679"/>
                    <a:pt x="167" y="679"/>
                  </a:cubicBezTo>
                  <a:cubicBezTo>
                    <a:pt x="250" y="679"/>
                    <a:pt x="334" y="608"/>
                    <a:pt x="334" y="512"/>
                  </a:cubicBezTo>
                  <a:lnTo>
                    <a:pt x="334" y="179"/>
                  </a:lnTo>
                  <a:cubicBezTo>
                    <a:pt x="346"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9" name="Google Shape;11149;p60"/>
            <p:cNvSpPr/>
            <p:nvPr/>
          </p:nvSpPr>
          <p:spPr>
            <a:xfrm>
              <a:off x="2908535" y="3655327"/>
              <a:ext cx="10630" cy="21611"/>
            </a:xfrm>
            <a:custGeom>
              <a:avLst/>
              <a:gdLst/>
              <a:ahLst/>
              <a:cxnLst/>
              <a:rect l="l" t="t" r="r" b="b"/>
              <a:pathLst>
                <a:path w="334" h="679" extrusionOk="0">
                  <a:moveTo>
                    <a:pt x="167" y="0"/>
                  </a:moveTo>
                  <a:cubicBezTo>
                    <a:pt x="84" y="0"/>
                    <a:pt x="1" y="72"/>
                    <a:pt x="1" y="155"/>
                  </a:cubicBezTo>
                  <a:lnTo>
                    <a:pt x="1" y="512"/>
                  </a:lnTo>
                  <a:cubicBezTo>
                    <a:pt x="1" y="608"/>
                    <a:pt x="84" y="679"/>
                    <a:pt x="167" y="679"/>
                  </a:cubicBezTo>
                  <a:cubicBezTo>
                    <a:pt x="263" y="679"/>
                    <a:pt x="334" y="608"/>
                    <a:pt x="334" y="512"/>
                  </a:cubicBezTo>
                  <a:lnTo>
                    <a:pt x="334" y="179"/>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0" name="Google Shape;11150;p60"/>
            <p:cNvSpPr/>
            <p:nvPr/>
          </p:nvSpPr>
          <p:spPr>
            <a:xfrm>
              <a:off x="2931292" y="3655327"/>
              <a:ext cx="10630" cy="21611"/>
            </a:xfrm>
            <a:custGeom>
              <a:avLst/>
              <a:gdLst/>
              <a:ahLst/>
              <a:cxnLst/>
              <a:rect l="l" t="t" r="r" b="b"/>
              <a:pathLst>
                <a:path w="334" h="679" extrusionOk="0">
                  <a:moveTo>
                    <a:pt x="167" y="0"/>
                  </a:moveTo>
                  <a:cubicBezTo>
                    <a:pt x="71" y="0"/>
                    <a:pt x="0" y="72"/>
                    <a:pt x="0" y="155"/>
                  </a:cubicBezTo>
                  <a:lnTo>
                    <a:pt x="0" y="512"/>
                  </a:lnTo>
                  <a:cubicBezTo>
                    <a:pt x="0" y="608"/>
                    <a:pt x="71" y="679"/>
                    <a:pt x="167" y="679"/>
                  </a:cubicBezTo>
                  <a:cubicBezTo>
                    <a:pt x="262" y="679"/>
                    <a:pt x="333" y="608"/>
                    <a:pt x="333" y="512"/>
                  </a:cubicBezTo>
                  <a:lnTo>
                    <a:pt x="333" y="179"/>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51" name="Google Shape;11151;p60"/>
          <p:cNvGrpSpPr/>
          <p:nvPr/>
        </p:nvGrpSpPr>
        <p:grpSpPr>
          <a:xfrm>
            <a:off x="4886264" y="3366174"/>
            <a:ext cx="350548" cy="350198"/>
            <a:chOff x="4886264" y="3366174"/>
            <a:chExt cx="350548" cy="350198"/>
          </a:xfrm>
        </p:grpSpPr>
        <p:sp>
          <p:nvSpPr>
            <p:cNvPr id="11152" name="Google Shape;11152;p60"/>
            <p:cNvSpPr/>
            <p:nvPr/>
          </p:nvSpPr>
          <p:spPr>
            <a:xfrm>
              <a:off x="4946132" y="3426614"/>
              <a:ext cx="230431" cy="289758"/>
            </a:xfrm>
            <a:custGeom>
              <a:avLst/>
              <a:gdLst/>
              <a:ahLst/>
              <a:cxnLst/>
              <a:rect l="l" t="t" r="r" b="b"/>
              <a:pathLst>
                <a:path w="7240" h="9104" extrusionOk="0">
                  <a:moveTo>
                    <a:pt x="3811" y="3793"/>
                  </a:moveTo>
                  <a:cubicBezTo>
                    <a:pt x="4001" y="3793"/>
                    <a:pt x="4168" y="3948"/>
                    <a:pt x="4168" y="4150"/>
                  </a:cubicBezTo>
                  <a:lnTo>
                    <a:pt x="4168" y="4484"/>
                  </a:lnTo>
                  <a:cubicBezTo>
                    <a:pt x="4156" y="4769"/>
                    <a:pt x="3930" y="5007"/>
                    <a:pt x="3632" y="5007"/>
                  </a:cubicBezTo>
                  <a:cubicBezTo>
                    <a:pt x="3334" y="5007"/>
                    <a:pt x="3108" y="4769"/>
                    <a:pt x="3108" y="4484"/>
                  </a:cubicBezTo>
                  <a:lnTo>
                    <a:pt x="3108" y="4150"/>
                  </a:lnTo>
                  <a:cubicBezTo>
                    <a:pt x="3108" y="3948"/>
                    <a:pt x="3263" y="3793"/>
                    <a:pt x="3465" y="3793"/>
                  </a:cubicBezTo>
                  <a:close/>
                  <a:moveTo>
                    <a:pt x="3787" y="5341"/>
                  </a:moveTo>
                  <a:lnTo>
                    <a:pt x="3787" y="5412"/>
                  </a:lnTo>
                  <a:cubicBezTo>
                    <a:pt x="3811" y="5472"/>
                    <a:pt x="3822" y="5531"/>
                    <a:pt x="3846" y="5579"/>
                  </a:cubicBezTo>
                  <a:lnTo>
                    <a:pt x="3632" y="5793"/>
                  </a:lnTo>
                  <a:lnTo>
                    <a:pt x="3596" y="5793"/>
                  </a:lnTo>
                  <a:lnTo>
                    <a:pt x="3370" y="5579"/>
                  </a:lnTo>
                  <a:cubicBezTo>
                    <a:pt x="3406" y="5531"/>
                    <a:pt x="3418" y="5472"/>
                    <a:pt x="3418" y="5412"/>
                  </a:cubicBezTo>
                  <a:lnTo>
                    <a:pt x="3418" y="5341"/>
                  </a:lnTo>
                  <a:close/>
                  <a:moveTo>
                    <a:pt x="3630" y="314"/>
                  </a:moveTo>
                  <a:cubicBezTo>
                    <a:pt x="4485" y="314"/>
                    <a:pt x="5309" y="622"/>
                    <a:pt x="5930" y="1209"/>
                  </a:cubicBezTo>
                  <a:cubicBezTo>
                    <a:pt x="6585" y="1840"/>
                    <a:pt x="6954" y="2686"/>
                    <a:pt x="6954" y="3591"/>
                  </a:cubicBezTo>
                  <a:cubicBezTo>
                    <a:pt x="6918" y="4293"/>
                    <a:pt x="6704" y="4936"/>
                    <a:pt x="6323" y="5484"/>
                  </a:cubicBezTo>
                  <a:cubicBezTo>
                    <a:pt x="5942" y="6020"/>
                    <a:pt x="5430" y="6436"/>
                    <a:pt x="4823" y="6674"/>
                  </a:cubicBezTo>
                  <a:cubicBezTo>
                    <a:pt x="4620" y="6746"/>
                    <a:pt x="4501" y="6948"/>
                    <a:pt x="4501" y="7151"/>
                  </a:cubicBezTo>
                  <a:lnTo>
                    <a:pt x="4501" y="7603"/>
                  </a:lnTo>
                  <a:cubicBezTo>
                    <a:pt x="4501" y="7674"/>
                    <a:pt x="4489" y="7734"/>
                    <a:pt x="4442" y="7794"/>
                  </a:cubicBezTo>
                  <a:lnTo>
                    <a:pt x="4287" y="8044"/>
                  </a:lnTo>
                  <a:cubicBezTo>
                    <a:pt x="4263" y="8055"/>
                    <a:pt x="4251" y="8091"/>
                    <a:pt x="4251" y="8103"/>
                  </a:cubicBezTo>
                  <a:lnTo>
                    <a:pt x="3037" y="8103"/>
                  </a:lnTo>
                  <a:cubicBezTo>
                    <a:pt x="3013" y="8091"/>
                    <a:pt x="3013" y="8055"/>
                    <a:pt x="3001" y="8044"/>
                  </a:cubicBezTo>
                  <a:lnTo>
                    <a:pt x="2834" y="7794"/>
                  </a:lnTo>
                  <a:cubicBezTo>
                    <a:pt x="2799" y="7734"/>
                    <a:pt x="2775" y="7663"/>
                    <a:pt x="2775" y="7603"/>
                  </a:cubicBezTo>
                  <a:lnTo>
                    <a:pt x="2775" y="6067"/>
                  </a:lnTo>
                  <a:cubicBezTo>
                    <a:pt x="2775" y="5996"/>
                    <a:pt x="2822" y="5936"/>
                    <a:pt x="2882" y="5900"/>
                  </a:cubicBezTo>
                  <a:lnTo>
                    <a:pt x="3168" y="5769"/>
                  </a:lnTo>
                  <a:lnTo>
                    <a:pt x="3418" y="6020"/>
                  </a:lnTo>
                  <a:cubicBezTo>
                    <a:pt x="3477" y="6079"/>
                    <a:pt x="3572" y="6127"/>
                    <a:pt x="3656" y="6127"/>
                  </a:cubicBezTo>
                  <a:cubicBezTo>
                    <a:pt x="3751" y="6127"/>
                    <a:pt x="3834" y="6091"/>
                    <a:pt x="3894" y="6020"/>
                  </a:cubicBezTo>
                  <a:lnTo>
                    <a:pt x="4144" y="5769"/>
                  </a:lnTo>
                  <a:lnTo>
                    <a:pt x="4430" y="5900"/>
                  </a:lnTo>
                  <a:cubicBezTo>
                    <a:pt x="4489" y="5936"/>
                    <a:pt x="4537" y="5996"/>
                    <a:pt x="4537" y="6067"/>
                  </a:cubicBezTo>
                  <a:lnTo>
                    <a:pt x="4537" y="6198"/>
                  </a:lnTo>
                  <a:cubicBezTo>
                    <a:pt x="4537" y="6293"/>
                    <a:pt x="4608" y="6365"/>
                    <a:pt x="4704" y="6365"/>
                  </a:cubicBezTo>
                  <a:cubicBezTo>
                    <a:pt x="4787" y="6365"/>
                    <a:pt x="4858" y="6293"/>
                    <a:pt x="4858" y="6198"/>
                  </a:cubicBezTo>
                  <a:lnTo>
                    <a:pt x="4858" y="6067"/>
                  </a:lnTo>
                  <a:cubicBezTo>
                    <a:pt x="4858" y="5877"/>
                    <a:pt x="4751" y="5698"/>
                    <a:pt x="4573" y="5615"/>
                  </a:cubicBezTo>
                  <a:lnTo>
                    <a:pt x="4180" y="5412"/>
                  </a:lnTo>
                  <a:lnTo>
                    <a:pt x="4180" y="5400"/>
                  </a:lnTo>
                  <a:lnTo>
                    <a:pt x="4180" y="5162"/>
                  </a:lnTo>
                  <a:cubicBezTo>
                    <a:pt x="4382" y="5007"/>
                    <a:pt x="4513" y="4757"/>
                    <a:pt x="4513" y="4472"/>
                  </a:cubicBezTo>
                  <a:lnTo>
                    <a:pt x="4513" y="4126"/>
                  </a:lnTo>
                  <a:cubicBezTo>
                    <a:pt x="4513" y="3757"/>
                    <a:pt x="4215" y="3448"/>
                    <a:pt x="3834" y="3448"/>
                  </a:cubicBezTo>
                  <a:lnTo>
                    <a:pt x="3489" y="3448"/>
                  </a:lnTo>
                  <a:cubicBezTo>
                    <a:pt x="3120" y="3448"/>
                    <a:pt x="2810" y="3745"/>
                    <a:pt x="2810" y="4126"/>
                  </a:cubicBezTo>
                  <a:lnTo>
                    <a:pt x="2810" y="4472"/>
                  </a:lnTo>
                  <a:cubicBezTo>
                    <a:pt x="2810" y="4757"/>
                    <a:pt x="2941" y="5007"/>
                    <a:pt x="3156" y="5162"/>
                  </a:cubicBezTo>
                  <a:lnTo>
                    <a:pt x="3156" y="5400"/>
                  </a:lnTo>
                  <a:lnTo>
                    <a:pt x="3156" y="5412"/>
                  </a:lnTo>
                  <a:lnTo>
                    <a:pt x="2751" y="5615"/>
                  </a:lnTo>
                  <a:cubicBezTo>
                    <a:pt x="2572" y="5710"/>
                    <a:pt x="2465" y="5877"/>
                    <a:pt x="2465" y="6067"/>
                  </a:cubicBezTo>
                  <a:lnTo>
                    <a:pt x="2465" y="6674"/>
                  </a:lnTo>
                  <a:cubicBezTo>
                    <a:pt x="1882" y="6448"/>
                    <a:pt x="1382" y="6055"/>
                    <a:pt x="1001" y="5543"/>
                  </a:cubicBezTo>
                  <a:cubicBezTo>
                    <a:pt x="572" y="4960"/>
                    <a:pt x="370" y="4269"/>
                    <a:pt x="382" y="3531"/>
                  </a:cubicBezTo>
                  <a:cubicBezTo>
                    <a:pt x="393" y="2721"/>
                    <a:pt x="727" y="1924"/>
                    <a:pt x="1322" y="1317"/>
                  </a:cubicBezTo>
                  <a:cubicBezTo>
                    <a:pt x="1894" y="709"/>
                    <a:pt x="2668" y="364"/>
                    <a:pt x="3489" y="316"/>
                  </a:cubicBezTo>
                  <a:cubicBezTo>
                    <a:pt x="3536" y="315"/>
                    <a:pt x="3583" y="314"/>
                    <a:pt x="3630" y="314"/>
                  </a:cubicBezTo>
                  <a:close/>
                  <a:moveTo>
                    <a:pt x="4156" y="8436"/>
                  </a:moveTo>
                  <a:lnTo>
                    <a:pt x="4156" y="8794"/>
                  </a:lnTo>
                  <a:lnTo>
                    <a:pt x="3120" y="8806"/>
                  </a:lnTo>
                  <a:cubicBezTo>
                    <a:pt x="3120" y="8806"/>
                    <a:pt x="3108" y="8806"/>
                    <a:pt x="3108" y="8794"/>
                  </a:cubicBezTo>
                  <a:lnTo>
                    <a:pt x="3108" y="8436"/>
                  </a:lnTo>
                  <a:close/>
                  <a:moveTo>
                    <a:pt x="3645" y="0"/>
                  </a:moveTo>
                  <a:cubicBezTo>
                    <a:pt x="3573" y="0"/>
                    <a:pt x="3501" y="3"/>
                    <a:pt x="3430" y="7"/>
                  </a:cubicBezTo>
                  <a:cubicBezTo>
                    <a:pt x="2525" y="54"/>
                    <a:pt x="1679" y="435"/>
                    <a:pt x="1036" y="1114"/>
                  </a:cubicBezTo>
                  <a:cubicBezTo>
                    <a:pt x="393" y="1769"/>
                    <a:pt x="36" y="2626"/>
                    <a:pt x="12" y="3531"/>
                  </a:cubicBezTo>
                  <a:cubicBezTo>
                    <a:pt x="1" y="4341"/>
                    <a:pt x="239" y="5103"/>
                    <a:pt x="715" y="5734"/>
                  </a:cubicBezTo>
                  <a:cubicBezTo>
                    <a:pt x="1144" y="6317"/>
                    <a:pt x="1751" y="6782"/>
                    <a:pt x="2441" y="7020"/>
                  </a:cubicBezTo>
                  <a:lnTo>
                    <a:pt x="2441" y="7591"/>
                  </a:lnTo>
                  <a:cubicBezTo>
                    <a:pt x="2441" y="7734"/>
                    <a:pt x="2477" y="7865"/>
                    <a:pt x="2560" y="7972"/>
                  </a:cubicBezTo>
                  <a:lnTo>
                    <a:pt x="2715" y="8222"/>
                  </a:lnTo>
                  <a:cubicBezTo>
                    <a:pt x="2763" y="8282"/>
                    <a:pt x="2775" y="8353"/>
                    <a:pt x="2775" y="8413"/>
                  </a:cubicBezTo>
                  <a:lnTo>
                    <a:pt x="2775" y="8770"/>
                  </a:lnTo>
                  <a:cubicBezTo>
                    <a:pt x="2775" y="8948"/>
                    <a:pt x="2929" y="9103"/>
                    <a:pt x="3108" y="9103"/>
                  </a:cubicBezTo>
                  <a:lnTo>
                    <a:pt x="4144" y="9103"/>
                  </a:lnTo>
                  <a:cubicBezTo>
                    <a:pt x="4323" y="9103"/>
                    <a:pt x="4477" y="8948"/>
                    <a:pt x="4477" y="8770"/>
                  </a:cubicBezTo>
                  <a:lnTo>
                    <a:pt x="4477" y="8413"/>
                  </a:lnTo>
                  <a:cubicBezTo>
                    <a:pt x="4477" y="8341"/>
                    <a:pt x="4489" y="8282"/>
                    <a:pt x="4537" y="8222"/>
                  </a:cubicBezTo>
                  <a:lnTo>
                    <a:pt x="4704" y="7972"/>
                  </a:lnTo>
                  <a:cubicBezTo>
                    <a:pt x="4775" y="7853"/>
                    <a:pt x="4823" y="7734"/>
                    <a:pt x="4823" y="7591"/>
                  </a:cubicBezTo>
                  <a:lnTo>
                    <a:pt x="4823" y="7151"/>
                  </a:lnTo>
                  <a:cubicBezTo>
                    <a:pt x="4823" y="7079"/>
                    <a:pt x="4858" y="6996"/>
                    <a:pt x="4942" y="6984"/>
                  </a:cubicBezTo>
                  <a:cubicBezTo>
                    <a:pt x="5608" y="6722"/>
                    <a:pt x="6168" y="6270"/>
                    <a:pt x="6585" y="5674"/>
                  </a:cubicBezTo>
                  <a:cubicBezTo>
                    <a:pt x="7001" y="5067"/>
                    <a:pt x="7228" y="4353"/>
                    <a:pt x="7228" y="3626"/>
                  </a:cubicBezTo>
                  <a:cubicBezTo>
                    <a:pt x="7240" y="2614"/>
                    <a:pt x="6835" y="1686"/>
                    <a:pt x="6108" y="995"/>
                  </a:cubicBezTo>
                  <a:cubicBezTo>
                    <a:pt x="5434" y="354"/>
                    <a:pt x="4566" y="0"/>
                    <a:pt x="36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3" name="Google Shape;11153;p60"/>
            <p:cNvSpPr/>
            <p:nvPr/>
          </p:nvSpPr>
          <p:spPr>
            <a:xfrm>
              <a:off x="4886264" y="3536706"/>
              <a:ext cx="48919" cy="10662"/>
            </a:xfrm>
            <a:custGeom>
              <a:avLst/>
              <a:gdLst/>
              <a:ahLst/>
              <a:cxnLst/>
              <a:rect l="l" t="t" r="r" b="b"/>
              <a:pathLst>
                <a:path w="1537" h="335" extrusionOk="0">
                  <a:moveTo>
                    <a:pt x="167" y="1"/>
                  </a:moveTo>
                  <a:cubicBezTo>
                    <a:pt x="72" y="1"/>
                    <a:pt x="0" y="72"/>
                    <a:pt x="0" y="167"/>
                  </a:cubicBezTo>
                  <a:cubicBezTo>
                    <a:pt x="0" y="251"/>
                    <a:pt x="72" y="334"/>
                    <a:pt x="167" y="334"/>
                  </a:cubicBezTo>
                  <a:lnTo>
                    <a:pt x="1370" y="334"/>
                  </a:lnTo>
                  <a:cubicBezTo>
                    <a:pt x="1465" y="334"/>
                    <a:pt x="1536" y="251"/>
                    <a:pt x="1536" y="167"/>
                  </a:cubicBezTo>
                  <a:cubicBezTo>
                    <a:pt x="1536"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4" name="Google Shape;11154;p60"/>
            <p:cNvSpPr/>
            <p:nvPr/>
          </p:nvSpPr>
          <p:spPr>
            <a:xfrm>
              <a:off x="5187894" y="3536706"/>
              <a:ext cx="48919" cy="10662"/>
            </a:xfrm>
            <a:custGeom>
              <a:avLst/>
              <a:gdLst/>
              <a:ahLst/>
              <a:cxnLst/>
              <a:rect l="l" t="t" r="r" b="b"/>
              <a:pathLst>
                <a:path w="1537" h="335" extrusionOk="0">
                  <a:moveTo>
                    <a:pt x="167" y="1"/>
                  </a:moveTo>
                  <a:cubicBezTo>
                    <a:pt x="84" y="1"/>
                    <a:pt x="1" y="72"/>
                    <a:pt x="1" y="167"/>
                  </a:cubicBezTo>
                  <a:cubicBezTo>
                    <a:pt x="1" y="251"/>
                    <a:pt x="84" y="334"/>
                    <a:pt x="167" y="334"/>
                  </a:cubicBezTo>
                  <a:lnTo>
                    <a:pt x="1370" y="334"/>
                  </a:lnTo>
                  <a:cubicBezTo>
                    <a:pt x="1465" y="334"/>
                    <a:pt x="1537" y="251"/>
                    <a:pt x="1537" y="167"/>
                  </a:cubicBezTo>
                  <a:cubicBezTo>
                    <a:pt x="1537" y="60"/>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5" name="Google Shape;11155;p60"/>
            <p:cNvSpPr/>
            <p:nvPr/>
          </p:nvSpPr>
          <p:spPr>
            <a:xfrm>
              <a:off x="5056414" y="3366174"/>
              <a:ext cx="10248" cy="48919"/>
            </a:xfrm>
            <a:custGeom>
              <a:avLst/>
              <a:gdLst/>
              <a:ahLst/>
              <a:cxnLst/>
              <a:rect l="l" t="t" r="r" b="b"/>
              <a:pathLst>
                <a:path w="322" h="1537" extrusionOk="0">
                  <a:moveTo>
                    <a:pt x="167" y="1"/>
                  </a:moveTo>
                  <a:cubicBezTo>
                    <a:pt x="72" y="1"/>
                    <a:pt x="0" y="72"/>
                    <a:pt x="0" y="168"/>
                  </a:cubicBezTo>
                  <a:lnTo>
                    <a:pt x="0" y="1370"/>
                  </a:lnTo>
                  <a:cubicBezTo>
                    <a:pt x="0" y="1465"/>
                    <a:pt x="72" y="1537"/>
                    <a:pt x="167" y="1537"/>
                  </a:cubicBezTo>
                  <a:cubicBezTo>
                    <a:pt x="250" y="1537"/>
                    <a:pt x="322" y="1465"/>
                    <a:pt x="322" y="1370"/>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6" name="Google Shape;11156;p60"/>
            <p:cNvSpPr/>
            <p:nvPr/>
          </p:nvSpPr>
          <p:spPr>
            <a:xfrm>
              <a:off x="4978723" y="3650744"/>
              <a:ext cx="22757" cy="29249"/>
            </a:xfrm>
            <a:custGeom>
              <a:avLst/>
              <a:gdLst/>
              <a:ahLst/>
              <a:cxnLst/>
              <a:rect l="l" t="t" r="r" b="b"/>
              <a:pathLst>
                <a:path w="715" h="919" extrusionOk="0">
                  <a:moveTo>
                    <a:pt x="525" y="1"/>
                  </a:moveTo>
                  <a:cubicBezTo>
                    <a:pt x="470" y="1"/>
                    <a:pt x="413" y="30"/>
                    <a:pt x="381" y="85"/>
                  </a:cubicBezTo>
                  <a:lnTo>
                    <a:pt x="48" y="680"/>
                  </a:lnTo>
                  <a:cubicBezTo>
                    <a:pt x="0" y="752"/>
                    <a:pt x="24" y="859"/>
                    <a:pt x="108" y="894"/>
                  </a:cubicBezTo>
                  <a:cubicBezTo>
                    <a:pt x="131" y="918"/>
                    <a:pt x="167" y="918"/>
                    <a:pt x="179" y="918"/>
                  </a:cubicBezTo>
                  <a:cubicBezTo>
                    <a:pt x="239" y="918"/>
                    <a:pt x="286" y="883"/>
                    <a:pt x="310" y="835"/>
                  </a:cubicBezTo>
                  <a:lnTo>
                    <a:pt x="655" y="240"/>
                  </a:lnTo>
                  <a:cubicBezTo>
                    <a:pt x="715" y="156"/>
                    <a:pt x="703" y="61"/>
                    <a:pt x="608" y="25"/>
                  </a:cubicBezTo>
                  <a:cubicBezTo>
                    <a:pt x="583" y="9"/>
                    <a:pt x="554"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7" name="Google Shape;11157;p60"/>
            <p:cNvSpPr/>
            <p:nvPr/>
          </p:nvSpPr>
          <p:spPr>
            <a:xfrm>
              <a:off x="5121597" y="3403380"/>
              <a:ext cx="22757" cy="29154"/>
            </a:xfrm>
            <a:custGeom>
              <a:avLst/>
              <a:gdLst/>
              <a:ahLst/>
              <a:cxnLst/>
              <a:rect l="l" t="t" r="r" b="b"/>
              <a:pathLst>
                <a:path w="715" h="916" extrusionOk="0">
                  <a:moveTo>
                    <a:pt x="537" y="1"/>
                  </a:moveTo>
                  <a:cubicBezTo>
                    <a:pt x="476" y="1"/>
                    <a:pt x="418" y="33"/>
                    <a:pt x="393" y="82"/>
                  </a:cubicBezTo>
                  <a:lnTo>
                    <a:pt x="48" y="677"/>
                  </a:lnTo>
                  <a:cubicBezTo>
                    <a:pt x="0" y="749"/>
                    <a:pt x="36" y="856"/>
                    <a:pt x="107" y="904"/>
                  </a:cubicBezTo>
                  <a:cubicBezTo>
                    <a:pt x="143" y="915"/>
                    <a:pt x="167" y="915"/>
                    <a:pt x="179" y="915"/>
                  </a:cubicBezTo>
                  <a:cubicBezTo>
                    <a:pt x="238" y="915"/>
                    <a:pt x="286" y="880"/>
                    <a:pt x="322" y="844"/>
                  </a:cubicBezTo>
                  <a:lnTo>
                    <a:pt x="655" y="249"/>
                  </a:lnTo>
                  <a:cubicBezTo>
                    <a:pt x="715" y="165"/>
                    <a:pt x="691" y="70"/>
                    <a:pt x="619" y="22"/>
                  </a:cubicBezTo>
                  <a:cubicBezTo>
                    <a:pt x="593" y="8"/>
                    <a:pt x="565"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8" name="Google Shape;11158;p60"/>
            <p:cNvSpPr/>
            <p:nvPr/>
          </p:nvSpPr>
          <p:spPr>
            <a:xfrm>
              <a:off x="4922643" y="3459842"/>
              <a:ext cx="31095" cy="21197"/>
            </a:xfrm>
            <a:custGeom>
              <a:avLst/>
              <a:gdLst/>
              <a:ahLst/>
              <a:cxnLst/>
              <a:rect l="l" t="t" r="r" b="b"/>
              <a:pathLst>
                <a:path w="977" h="666" extrusionOk="0">
                  <a:moveTo>
                    <a:pt x="199" y="1"/>
                  </a:moveTo>
                  <a:cubicBezTo>
                    <a:pt x="141" y="1"/>
                    <a:pt x="81" y="33"/>
                    <a:pt x="48" y="82"/>
                  </a:cubicBezTo>
                  <a:cubicBezTo>
                    <a:pt x="0" y="153"/>
                    <a:pt x="36" y="261"/>
                    <a:pt x="108" y="308"/>
                  </a:cubicBezTo>
                  <a:lnTo>
                    <a:pt x="703" y="642"/>
                  </a:lnTo>
                  <a:cubicBezTo>
                    <a:pt x="739" y="665"/>
                    <a:pt x="762" y="665"/>
                    <a:pt x="774" y="665"/>
                  </a:cubicBezTo>
                  <a:cubicBezTo>
                    <a:pt x="834" y="665"/>
                    <a:pt x="881" y="630"/>
                    <a:pt x="917" y="582"/>
                  </a:cubicBezTo>
                  <a:cubicBezTo>
                    <a:pt x="977" y="511"/>
                    <a:pt x="941" y="404"/>
                    <a:pt x="870" y="368"/>
                  </a:cubicBezTo>
                  <a:lnTo>
                    <a:pt x="274" y="23"/>
                  </a:lnTo>
                  <a:cubicBezTo>
                    <a:pt x="252"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9" name="Google Shape;11159;p60"/>
            <p:cNvSpPr/>
            <p:nvPr/>
          </p:nvSpPr>
          <p:spPr>
            <a:xfrm>
              <a:off x="5169720" y="3602334"/>
              <a:ext cx="30714" cy="21197"/>
            </a:xfrm>
            <a:custGeom>
              <a:avLst/>
              <a:gdLst/>
              <a:ahLst/>
              <a:cxnLst/>
              <a:rect l="l" t="t" r="r" b="b"/>
              <a:pathLst>
                <a:path w="965" h="666" extrusionOk="0">
                  <a:moveTo>
                    <a:pt x="187" y="1"/>
                  </a:moveTo>
                  <a:cubicBezTo>
                    <a:pt x="129" y="1"/>
                    <a:pt x="69" y="33"/>
                    <a:pt x="36" y="82"/>
                  </a:cubicBezTo>
                  <a:cubicBezTo>
                    <a:pt x="0" y="153"/>
                    <a:pt x="24" y="260"/>
                    <a:pt x="95" y="308"/>
                  </a:cubicBezTo>
                  <a:lnTo>
                    <a:pt x="691" y="653"/>
                  </a:lnTo>
                  <a:cubicBezTo>
                    <a:pt x="727" y="665"/>
                    <a:pt x="750" y="665"/>
                    <a:pt x="774" y="665"/>
                  </a:cubicBezTo>
                  <a:cubicBezTo>
                    <a:pt x="834" y="665"/>
                    <a:pt x="869" y="629"/>
                    <a:pt x="905" y="594"/>
                  </a:cubicBezTo>
                  <a:cubicBezTo>
                    <a:pt x="965" y="510"/>
                    <a:pt x="953" y="415"/>
                    <a:pt x="857" y="368"/>
                  </a:cubicBezTo>
                  <a:lnTo>
                    <a:pt x="262" y="22"/>
                  </a:lnTo>
                  <a:cubicBezTo>
                    <a:pt x="240" y="7"/>
                    <a:pt x="214"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0" name="Google Shape;11160;p60"/>
            <p:cNvSpPr/>
            <p:nvPr/>
          </p:nvSpPr>
          <p:spPr>
            <a:xfrm>
              <a:off x="5121597" y="3650744"/>
              <a:ext cx="22757" cy="29249"/>
            </a:xfrm>
            <a:custGeom>
              <a:avLst/>
              <a:gdLst/>
              <a:ahLst/>
              <a:cxnLst/>
              <a:rect l="l" t="t" r="r" b="b"/>
              <a:pathLst>
                <a:path w="715" h="919" extrusionOk="0">
                  <a:moveTo>
                    <a:pt x="190" y="1"/>
                  </a:moveTo>
                  <a:cubicBezTo>
                    <a:pt x="161" y="1"/>
                    <a:pt x="132" y="9"/>
                    <a:pt x="107" y="25"/>
                  </a:cubicBezTo>
                  <a:cubicBezTo>
                    <a:pt x="36" y="61"/>
                    <a:pt x="0" y="168"/>
                    <a:pt x="48" y="240"/>
                  </a:cubicBezTo>
                  <a:lnTo>
                    <a:pt x="393" y="835"/>
                  </a:lnTo>
                  <a:cubicBezTo>
                    <a:pt x="417" y="883"/>
                    <a:pt x="476" y="918"/>
                    <a:pt x="524" y="918"/>
                  </a:cubicBezTo>
                  <a:cubicBezTo>
                    <a:pt x="560" y="918"/>
                    <a:pt x="584" y="918"/>
                    <a:pt x="595" y="894"/>
                  </a:cubicBezTo>
                  <a:cubicBezTo>
                    <a:pt x="691" y="859"/>
                    <a:pt x="715" y="752"/>
                    <a:pt x="679" y="680"/>
                  </a:cubicBezTo>
                  <a:lnTo>
                    <a:pt x="334" y="85"/>
                  </a:lnTo>
                  <a:cubicBezTo>
                    <a:pt x="302" y="30"/>
                    <a:pt x="245"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1" name="Google Shape;11161;p60"/>
            <p:cNvSpPr/>
            <p:nvPr/>
          </p:nvSpPr>
          <p:spPr>
            <a:xfrm>
              <a:off x="4978723" y="3403380"/>
              <a:ext cx="22757" cy="29154"/>
            </a:xfrm>
            <a:custGeom>
              <a:avLst/>
              <a:gdLst/>
              <a:ahLst/>
              <a:cxnLst/>
              <a:rect l="l" t="t" r="r" b="b"/>
              <a:pathLst>
                <a:path w="715" h="916" extrusionOk="0">
                  <a:moveTo>
                    <a:pt x="182" y="1"/>
                  </a:moveTo>
                  <a:cubicBezTo>
                    <a:pt x="156" y="1"/>
                    <a:pt x="130" y="8"/>
                    <a:pt x="108" y="22"/>
                  </a:cubicBezTo>
                  <a:cubicBezTo>
                    <a:pt x="24" y="70"/>
                    <a:pt x="0" y="177"/>
                    <a:pt x="48" y="249"/>
                  </a:cubicBezTo>
                  <a:lnTo>
                    <a:pt x="381" y="844"/>
                  </a:lnTo>
                  <a:cubicBezTo>
                    <a:pt x="417" y="892"/>
                    <a:pt x="477" y="915"/>
                    <a:pt x="524" y="915"/>
                  </a:cubicBezTo>
                  <a:cubicBezTo>
                    <a:pt x="548" y="915"/>
                    <a:pt x="584" y="915"/>
                    <a:pt x="596" y="904"/>
                  </a:cubicBezTo>
                  <a:cubicBezTo>
                    <a:pt x="703" y="856"/>
                    <a:pt x="715" y="749"/>
                    <a:pt x="667" y="677"/>
                  </a:cubicBezTo>
                  <a:lnTo>
                    <a:pt x="322" y="82"/>
                  </a:lnTo>
                  <a:cubicBezTo>
                    <a:pt x="297" y="33"/>
                    <a:pt x="239"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2" name="Google Shape;11162;p60"/>
            <p:cNvSpPr/>
            <p:nvPr/>
          </p:nvSpPr>
          <p:spPr>
            <a:xfrm>
              <a:off x="5169720" y="3459842"/>
              <a:ext cx="30714" cy="21197"/>
            </a:xfrm>
            <a:custGeom>
              <a:avLst/>
              <a:gdLst/>
              <a:ahLst/>
              <a:cxnLst/>
              <a:rect l="l" t="t" r="r" b="b"/>
              <a:pathLst>
                <a:path w="965" h="666" extrusionOk="0">
                  <a:moveTo>
                    <a:pt x="771" y="1"/>
                  </a:moveTo>
                  <a:cubicBezTo>
                    <a:pt x="744" y="1"/>
                    <a:pt x="717" y="8"/>
                    <a:pt x="691" y="23"/>
                  </a:cubicBezTo>
                  <a:lnTo>
                    <a:pt x="95" y="368"/>
                  </a:lnTo>
                  <a:cubicBezTo>
                    <a:pt x="24" y="404"/>
                    <a:pt x="0" y="511"/>
                    <a:pt x="36" y="582"/>
                  </a:cubicBezTo>
                  <a:cubicBezTo>
                    <a:pt x="72" y="630"/>
                    <a:pt x="131" y="665"/>
                    <a:pt x="179" y="665"/>
                  </a:cubicBezTo>
                  <a:cubicBezTo>
                    <a:pt x="203" y="665"/>
                    <a:pt x="238" y="665"/>
                    <a:pt x="250" y="642"/>
                  </a:cubicBezTo>
                  <a:lnTo>
                    <a:pt x="846" y="308"/>
                  </a:lnTo>
                  <a:cubicBezTo>
                    <a:pt x="953" y="261"/>
                    <a:pt x="965" y="153"/>
                    <a:pt x="917" y="82"/>
                  </a:cubicBezTo>
                  <a:cubicBezTo>
                    <a:pt x="884" y="33"/>
                    <a:pt x="829"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3" name="Google Shape;11163;p60"/>
            <p:cNvSpPr/>
            <p:nvPr/>
          </p:nvSpPr>
          <p:spPr>
            <a:xfrm>
              <a:off x="4922643" y="3602334"/>
              <a:ext cx="31095" cy="21197"/>
            </a:xfrm>
            <a:custGeom>
              <a:avLst/>
              <a:gdLst/>
              <a:ahLst/>
              <a:cxnLst/>
              <a:rect l="l" t="t" r="r" b="b"/>
              <a:pathLst>
                <a:path w="977" h="666" extrusionOk="0">
                  <a:moveTo>
                    <a:pt x="778" y="1"/>
                  </a:moveTo>
                  <a:cubicBezTo>
                    <a:pt x="751" y="1"/>
                    <a:pt x="725" y="7"/>
                    <a:pt x="703" y="22"/>
                  </a:cubicBezTo>
                  <a:lnTo>
                    <a:pt x="108" y="368"/>
                  </a:lnTo>
                  <a:cubicBezTo>
                    <a:pt x="36" y="415"/>
                    <a:pt x="0" y="510"/>
                    <a:pt x="48" y="594"/>
                  </a:cubicBezTo>
                  <a:cubicBezTo>
                    <a:pt x="84" y="629"/>
                    <a:pt x="131" y="665"/>
                    <a:pt x="179" y="665"/>
                  </a:cubicBezTo>
                  <a:cubicBezTo>
                    <a:pt x="215" y="665"/>
                    <a:pt x="238" y="665"/>
                    <a:pt x="262" y="653"/>
                  </a:cubicBezTo>
                  <a:lnTo>
                    <a:pt x="858" y="308"/>
                  </a:lnTo>
                  <a:cubicBezTo>
                    <a:pt x="941" y="260"/>
                    <a:pt x="977" y="153"/>
                    <a:pt x="929" y="82"/>
                  </a:cubicBezTo>
                  <a:cubicBezTo>
                    <a:pt x="896" y="33"/>
                    <a:pt x="836" y="1"/>
                    <a:pt x="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4" name="Google Shape;11164;p60"/>
            <p:cNvSpPr/>
            <p:nvPr/>
          </p:nvSpPr>
          <p:spPr>
            <a:xfrm>
              <a:off x="5077993" y="3451758"/>
              <a:ext cx="70912" cy="62637"/>
            </a:xfrm>
            <a:custGeom>
              <a:avLst/>
              <a:gdLst/>
              <a:ahLst/>
              <a:cxnLst/>
              <a:rect l="l" t="t" r="r" b="b"/>
              <a:pathLst>
                <a:path w="2228" h="1968" extrusionOk="0">
                  <a:moveTo>
                    <a:pt x="186" y="1"/>
                  </a:moveTo>
                  <a:cubicBezTo>
                    <a:pt x="104" y="1"/>
                    <a:pt x="35" y="47"/>
                    <a:pt x="25" y="122"/>
                  </a:cubicBezTo>
                  <a:cubicBezTo>
                    <a:pt x="1" y="217"/>
                    <a:pt x="49" y="300"/>
                    <a:pt x="144" y="312"/>
                  </a:cubicBezTo>
                  <a:cubicBezTo>
                    <a:pt x="930" y="527"/>
                    <a:pt x="1584" y="1098"/>
                    <a:pt x="1894" y="1860"/>
                  </a:cubicBezTo>
                  <a:cubicBezTo>
                    <a:pt x="1930" y="1920"/>
                    <a:pt x="1989" y="1967"/>
                    <a:pt x="2049" y="1967"/>
                  </a:cubicBezTo>
                  <a:cubicBezTo>
                    <a:pt x="2061" y="1967"/>
                    <a:pt x="2085" y="1967"/>
                    <a:pt x="2108" y="1955"/>
                  </a:cubicBezTo>
                  <a:cubicBezTo>
                    <a:pt x="2192" y="1908"/>
                    <a:pt x="2227" y="1812"/>
                    <a:pt x="2192" y="1729"/>
                  </a:cubicBezTo>
                  <a:cubicBezTo>
                    <a:pt x="1846" y="884"/>
                    <a:pt x="1108" y="229"/>
                    <a:pt x="215" y="3"/>
                  </a:cubicBezTo>
                  <a:cubicBezTo>
                    <a:pt x="206" y="1"/>
                    <a:pt x="19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65" name="Google Shape;11165;p60"/>
          <p:cNvGrpSpPr/>
          <p:nvPr/>
        </p:nvGrpSpPr>
        <p:grpSpPr>
          <a:xfrm>
            <a:off x="5331913" y="3413947"/>
            <a:ext cx="347143" cy="254684"/>
            <a:chOff x="5331913" y="3413947"/>
            <a:chExt cx="347143" cy="254684"/>
          </a:xfrm>
        </p:grpSpPr>
        <p:sp>
          <p:nvSpPr>
            <p:cNvPr id="11166" name="Google Shape;11166;p60"/>
            <p:cNvSpPr/>
            <p:nvPr/>
          </p:nvSpPr>
          <p:spPr>
            <a:xfrm>
              <a:off x="5597163" y="3523083"/>
              <a:ext cx="43222" cy="15564"/>
            </a:xfrm>
            <a:custGeom>
              <a:avLst/>
              <a:gdLst/>
              <a:ahLst/>
              <a:cxnLst/>
              <a:rect l="l" t="t" r="r" b="b"/>
              <a:pathLst>
                <a:path w="1358" h="489" extrusionOk="0">
                  <a:moveTo>
                    <a:pt x="167" y="0"/>
                  </a:moveTo>
                  <a:cubicBezTo>
                    <a:pt x="84" y="0"/>
                    <a:pt x="0" y="71"/>
                    <a:pt x="0" y="167"/>
                  </a:cubicBezTo>
                  <a:cubicBezTo>
                    <a:pt x="0" y="250"/>
                    <a:pt x="84" y="322"/>
                    <a:pt x="167" y="322"/>
                  </a:cubicBezTo>
                  <a:cubicBezTo>
                    <a:pt x="346" y="322"/>
                    <a:pt x="870" y="357"/>
                    <a:pt x="1120" y="476"/>
                  </a:cubicBezTo>
                  <a:cubicBezTo>
                    <a:pt x="1155" y="488"/>
                    <a:pt x="1167" y="488"/>
                    <a:pt x="1191" y="488"/>
                  </a:cubicBezTo>
                  <a:cubicBezTo>
                    <a:pt x="1251" y="488"/>
                    <a:pt x="1310" y="464"/>
                    <a:pt x="1346" y="405"/>
                  </a:cubicBezTo>
                  <a:cubicBezTo>
                    <a:pt x="1358" y="322"/>
                    <a:pt x="1334" y="226"/>
                    <a:pt x="1251" y="191"/>
                  </a:cubicBezTo>
                  <a:cubicBezTo>
                    <a:pt x="882" y="12"/>
                    <a:pt x="20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7" name="Google Shape;11167;p60"/>
            <p:cNvSpPr/>
            <p:nvPr/>
          </p:nvSpPr>
          <p:spPr>
            <a:xfrm>
              <a:off x="5331913" y="3413947"/>
              <a:ext cx="347143" cy="253538"/>
            </a:xfrm>
            <a:custGeom>
              <a:avLst/>
              <a:gdLst/>
              <a:ahLst/>
              <a:cxnLst/>
              <a:rect l="l" t="t" r="r" b="b"/>
              <a:pathLst>
                <a:path w="10907" h="7966" extrusionOk="0">
                  <a:moveTo>
                    <a:pt x="7168" y="357"/>
                  </a:moveTo>
                  <a:lnTo>
                    <a:pt x="7168" y="1893"/>
                  </a:lnTo>
                  <a:cubicBezTo>
                    <a:pt x="7168" y="2131"/>
                    <a:pt x="7120" y="2357"/>
                    <a:pt x="7013" y="2560"/>
                  </a:cubicBezTo>
                  <a:cubicBezTo>
                    <a:pt x="7001" y="2584"/>
                    <a:pt x="7001" y="2608"/>
                    <a:pt x="7001" y="2643"/>
                  </a:cubicBezTo>
                  <a:lnTo>
                    <a:pt x="7001" y="3084"/>
                  </a:lnTo>
                  <a:cubicBezTo>
                    <a:pt x="7001" y="3512"/>
                    <a:pt x="6822" y="3917"/>
                    <a:pt x="6513" y="4203"/>
                  </a:cubicBezTo>
                  <a:cubicBezTo>
                    <a:pt x="6465" y="4227"/>
                    <a:pt x="6429" y="4274"/>
                    <a:pt x="6394" y="4310"/>
                  </a:cubicBezTo>
                  <a:cubicBezTo>
                    <a:pt x="6111" y="4514"/>
                    <a:pt x="5775" y="4621"/>
                    <a:pt x="5415" y="4621"/>
                  </a:cubicBezTo>
                  <a:cubicBezTo>
                    <a:pt x="5396" y="4621"/>
                    <a:pt x="5377" y="4620"/>
                    <a:pt x="5358" y="4620"/>
                  </a:cubicBezTo>
                  <a:cubicBezTo>
                    <a:pt x="4536" y="4560"/>
                    <a:pt x="3917" y="3858"/>
                    <a:pt x="3917" y="3024"/>
                  </a:cubicBezTo>
                  <a:lnTo>
                    <a:pt x="3917" y="2643"/>
                  </a:lnTo>
                  <a:cubicBezTo>
                    <a:pt x="3917" y="2608"/>
                    <a:pt x="3917" y="2596"/>
                    <a:pt x="3905" y="2560"/>
                  </a:cubicBezTo>
                  <a:cubicBezTo>
                    <a:pt x="3798" y="2357"/>
                    <a:pt x="3751" y="2131"/>
                    <a:pt x="3751" y="1893"/>
                  </a:cubicBezTo>
                  <a:lnTo>
                    <a:pt x="3751" y="1548"/>
                  </a:lnTo>
                  <a:cubicBezTo>
                    <a:pt x="3751" y="893"/>
                    <a:pt x="4286" y="357"/>
                    <a:pt x="4941" y="357"/>
                  </a:cubicBezTo>
                  <a:close/>
                  <a:moveTo>
                    <a:pt x="10013" y="2905"/>
                  </a:moveTo>
                  <a:lnTo>
                    <a:pt x="10013" y="3560"/>
                  </a:lnTo>
                  <a:cubicBezTo>
                    <a:pt x="10013" y="3667"/>
                    <a:pt x="9989" y="3774"/>
                    <a:pt x="9942" y="3870"/>
                  </a:cubicBezTo>
                  <a:lnTo>
                    <a:pt x="9870" y="4036"/>
                  </a:lnTo>
                  <a:cubicBezTo>
                    <a:pt x="9858" y="4048"/>
                    <a:pt x="9858" y="4084"/>
                    <a:pt x="9858" y="4108"/>
                  </a:cubicBezTo>
                  <a:lnTo>
                    <a:pt x="9858" y="4453"/>
                  </a:lnTo>
                  <a:cubicBezTo>
                    <a:pt x="9870" y="4679"/>
                    <a:pt x="9763" y="4882"/>
                    <a:pt x="9597" y="5048"/>
                  </a:cubicBezTo>
                  <a:cubicBezTo>
                    <a:pt x="9451" y="5205"/>
                    <a:pt x="9244" y="5288"/>
                    <a:pt x="9022" y="5288"/>
                  </a:cubicBezTo>
                  <a:cubicBezTo>
                    <a:pt x="9007" y="5288"/>
                    <a:pt x="8992" y="5287"/>
                    <a:pt x="8977" y="5286"/>
                  </a:cubicBezTo>
                  <a:cubicBezTo>
                    <a:pt x="8513" y="5275"/>
                    <a:pt x="8144" y="4870"/>
                    <a:pt x="8144" y="4382"/>
                  </a:cubicBezTo>
                  <a:lnTo>
                    <a:pt x="8144" y="4084"/>
                  </a:lnTo>
                  <a:cubicBezTo>
                    <a:pt x="8144" y="4048"/>
                    <a:pt x="8144" y="4036"/>
                    <a:pt x="8132" y="4012"/>
                  </a:cubicBezTo>
                  <a:lnTo>
                    <a:pt x="8025" y="3810"/>
                  </a:lnTo>
                  <a:cubicBezTo>
                    <a:pt x="8002" y="3741"/>
                    <a:pt x="7968" y="3672"/>
                    <a:pt x="7966" y="3582"/>
                  </a:cubicBezTo>
                  <a:lnTo>
                    <a:pt x="7966" y="3582"/>
                  </a:lnTo>
                  <a:cubicBezTo>
                    <a:pt x="7973" y="3196"/>
                    <a:pt x="8279" y="2905"/>
                    <a:pt x="8644" y="2905"/>
                  </a:cubicBezTo>
                  <a:close/>
                  <a:moveTo>
                    <a:pt x="1727" y="2893"/>
                  </a:moveTo>
                  <a:cubicBezTo>
                    <a:pt x="2000" y="2893"/>
                    <a:pt x="2250" y="3000"/>
                    <a:pt x="2441" y="3191"/>
                  </a:cubicBezTo>
                  <a:cubicBezTo>
                    <a:pt x="2643" y="3381"/>
                    <a:pt x="2739" y="3655"/>
                    <a:pt x="2774" y="3929"/>
                  </a:cubicBezTo>
                  <a:cubicBezTo>
                    <a:pt x="2774" y="4024"/>
                    <a:pt x="2786" y="4132"/>
                    <a:pt x="2786" y="4227"/>
                  </a:cubicBezTo>
                  <a:lnTo>
                    <a:pt x="2786" y="4262"/>
                  </a:lnTo>
                  <a:cubicBezTo>
                    <a:pt x="2608" y="3989"/>
                    <a:pt x="2358" y="3798"/>
                    <a:pt x="2000" y="3691"/>
                  </a:cubicBezTo>
                  <a:cubicBezTo>
                    <a:pt x="1753" y="3615"/>
                    <a:pt x="1520" y="3607"/>
                    <a:pt x="1431" y="3607"/>
                  </a:cubicBezTo>
                  <a:cubicBezTo>
                    <a:pt x="1409" y="3607"/>
                    <a:pt x="1396" y="3608"/>
                    <a:pt x="1393" y="3608"/>
                  </a:cubicBezTo>
                  <a:cubicBezTo>
                    <a:pt x="1346" y="3608"/>
                    <a:pt x="1310" y="3620"/>
                    <a:pt x="1286" y="3655"/>
                  </a:cubicBezTo>
                  <a:lnTo>
                    <a:pt x="1000" y="3953"/>
                  </a:lnTo>
                  <a:cubicBezTo>
                    <a:pt x="941" y="4012"/>
                    <a:pt x="941" y="4108"/>
                    <a:pt x="1000" y="4167"/>
                  </a:cubicBezTo>
                  <a:cubicBezTo>
                    <a:pt x="1030" y="4197"/>
                    <a:pt x="1072" y="4212"/>
                    <a:pt x="1113" y="4212"/>
                  </a:cubicBezTo>
                  <a:cubicBezTo>
                    <a:pt x="1155" y="4212"/>
                    <a:pt x="1197" y="4197"/>
                    <a:pt x="1226" y="4167"/>
                  </a:cubicBezTo>
                  <a:lnTo>
                    <a:pt x="1465" y="3917"/>
                  </a:lnTo>
                  <a:cubicBezTo>
                    <a:pt x="1667" y="3929"/>
                    <a:pt x="2322" y="4012"/>
                    <a:pt x="2572" y="4572"/>
                  </a:cubicBezTo>
                  <a:cubicBezTo>
                    <a:pt x="2500" y="4989"/>
                    <a:pt x="2143" y="5298"/>
                    <a:pt x="1727" y="5298"/>
                  </a:cubicBezTo>
                  <a:cubicBezTo>
                    <a:pt x="1250" y="5298"/>
                    <a:pt x="869" y="4917"/>
                    <a:pt x="869" y="4441"/>
                  </a:cubicBezTo>
                  <a:cubicBezTo>
                    <a:pt x="869" y="4346"/>
                    <a:pt x="798" y="4274"/>
                    <a:pt x="703" y="4274"/>
                  </a:cubicBezTo>
                  <a:lnTo>
                    <a:pt x="679" y="4274"/>
                  </a:lnTo>
                  <a:lnTo>
                    <a:pt x="679" y="4227"/>
                  </a:lnTo>
                  <a:cubicBezTo>
                    <a:pt x="679" y="4132"/>
                    <a:pt x="679" y="4024"/>
                    <a:pt x="691" y="3929"/>
                  </a:cubicBezTo>
                  <a:cubicBezTo>
                    <a:pt x="703" y="3655"/>
                    <a:pt x="822" y="3381"/>
                    <a:pt x="1012" y="3191"/>
                  </a:cubicBezTo>
                  <a:cubicBezTo>
                    <a:pt x="1215" y="3000"/>
                    <a:pt x="1465" y="2893"/>
                    <a:pt x="1727" y="2893"/>
                  </a:cubicBezTo>
                  <a:close/>
                  <a:moveTo>
                    <a:pt x="643" y="4882"/>
                  </a:moveTo>
                  <a:cubicBezTo>
                    <a:pt x="726" y="5096"/>
                    <a:pt x="881" y="5275"/>
                    <a:pt x="1060" y="5405"/>
                  </a:cubicBezTo>
                  <a:lnTo>
                    <a:pt x="1060" y="5596"/>
                  </a:lnTo>
                  <a:cubicBezTo>
                    <a:pt x="762" y="5501"/>
                    <a:pt x="619" y="5346"/>
                    <a:pt x="560" y="5275"/>
                  </a:cubicBezTo>
                  <a:cubicBezTo>
                    <a:pt x="595" y="5155"/>
                    <a:pt x="631" y="5036"/>
                    <a:pt x="643" y="4882"/>
                  </a:cubicBezTo>
                  <a:close/>
                  <a:moveTo>
                    <a:pt x="2798" y="4882"/>
                  </a:moveTo>
                  <a:cubicBezTo>
                    <a:pt x="2810" y="5024"/>
                    <a:pt x="2846" y="5155"/>
                    <a:pt x="2893" y="5263"/>
                  </a:cubicBezTo>
                  <a:cubicBezTo>
                    <a:pt x="2834" y="5346"/>
                    <a:pt x="2679" y="5477"/>
                    <a:pt x="2381" y="5596"/>
                  </a:cubicBezTo>
                  <a:lnTo>
                    <a:pt x="2381" y="5405"/>
                  </a:lnTo>
                  <a:cubicBezTo>
                    <a:pt x="2560" y="5275"/>
                    <a:pt x="2715" y="5096"/>
                    <a:pt x="2798" y="4882"/>
                  </a:cubicBezTo>
                  <a:close/>
                  <a:moveTo>
                    <a:pt x="6299" y="4727"/>
                  </a:moveTo>
                  <a:lnTo>
                    <a:pt x="6299" y="5001"/>
                  </a:lnTo>
                  <a:lnTo>
                    <a:pt x="5453" y="5596"/>
                  </a:lnTo>
                  <a:lnTo>
                    <a:pt x="4584" y="5024"/>
                  </a:lnTo>
                  <a:lnTo>
                    <a:pt x="4584" y="4727"/>
                  </a:lnTo>
                  <a:cubicBezTo>
                    <a:pt x="4810" y="4846"/>
                    <a:pt x="5060" y="4917"/>
                    <a:pt x="5322" y="4929"/>
                  </a:cubicBezTo>
                  <a:lnTo>
                    <a:pt x="5441" y="4929"/>
                  </a:lnTo>
                  <a:cubicBezTo>
                    <a:pt x="5739" y="4929"/>
                    <a:pt x="6037" y="4858"/>
                    <a:pt x="6299" y="4727"/>
                  </a:cubicBezTo>
                  <a:close/>
                  <a:moveTo>
                    <a:pt x="9347" y="5572"/>
                  </a:moveTo>
                  <a:lnTo>
                    <a:pt x="9347" y="5632"/>
                  </a:lnTo>
                  <a:cubicBezTo>
                    <a:pt x="9347" y="5656"/>
                    <a:pt x="9347" y="5691"/>
                    <a:pt x="9358" y="5715"/>
                  </a:cubicBezTo>
                  <a:lnTo>
                    <a:pt x="9001" y="6072"/>
                  </a:lnTo>
                  <a:lnTo>
                    <a:pt x="8644" y="5715"/>
                  </a:lnTo>
                  <a:cubicBezTo>
                    <a:pt x="8644" y="5691"/>
                    <a:pt x="8668" y="5656"/>
                    <a:pt x="8668" y="5632"/>
                  </a:cubicBezTo>
                  <a:lnTo>
                    <a:pt x="8668" y="5572"/>
                  </a:lnTo>
                  <a:cubicBezTo>
                    <a:pt x="8763" y="5596"/>
                    <a:pt x="8870" y="5632"/>
                    <a:pt x="8977" y="5632"/>
                  </a:cubicBezTo>
                  <a:lnTo>
                    <a:pt x="9001" y="5632"/>
                  </a:lnTo>
                  <a:cubicBezTo>
                    <a:pt x="9120" y="5632"/>
                    <a:pt x="9239" y="5620"/>
                    <a:pt x="9347" y="5572"/>
                  </a:cubicBezTo>
                  <a:close/>
                  <a:moveTo>
                    <a:pt x="2108" y="5572"/>
                  </a:moveTo>
                  <a:lnTo>
                    <a:pt x="2108" y="5739"/>
                  </a:lnTo>
                  <a:cubicBezTo>
                    <a:pt x="2108" y="5798"/>
                    <a:pt x="2119" y="5834"/>
                    <a:pt x="2143" y="5882"/>
                  </a:cubicBezTo>
                  <a:lnTo>
                    <a:pt x="1965" y="6013"/>
                  </a:lnTo>
                  <a:cubicBezTo>
                    <a:pt x="1899" y="6084"/>
                    <a:pt x="1816" y="6120"/>
                    <a:pt x="1731" y="6120"/>
                  </a:cubicBezTo>
                  <a:cubicBezTo>
                    <a:pt x="1646" y="6120"/>
                    <a:pt x="1560" y="6084"/>
                    <a:pt x="1488" y="6013"/>
                  </a:cubicBezTo>
                  <a:lnTo>
                    <a:pt x="1346" y="5882"/>
                  </a:lnTo>
                  <a:cubicBezTo>
                    <a:pt x="1369" y="5834"/>
                    <a:pt x="1381" y="5775"/>
                    <a:pt x="1381" y="5739"/>
                  </a:cubicBezTo>
                  <a:lnTo>
                    <a:pt x="1381" y="5572"/>
                  </a:lnTo>
                  <a:cubicBezTo>
                    <a:pt x="1488" y="5596"/>
                    <a:pt x="1607" y="5632"/>
                    <a:pt x="1750" y="5632"/>
                  </a:cubicBezTo>
                  <a:cubicBezTo>
                    <a:pt x="1857" y="5632"/>
                    <a:pt x="1977" y="5608"/>
                    <a:pt x="2108" y="5572"/>
                  </a:cubicBezTo>
                  <a:close/>
                  <a:moveTo>
                    <a:pt x="4465" y="5298"/>
                  </a:moveTo>
                  <a:lnTo>
                    <a:pt x="5215" y="5810"/>
                  </a:lnTo>
                  <a:lnTo>
                    <a:pt x="4810" y="6215"/>
                  </a:lnTo>
                  <a:lnTo>
                    <a:pt x="4798" y="6215"/>
                  </a:lnTo>
                  <a:lnTo>
                    <a:pt x="4310" y="5465"/>
                  </a:lnTo>
                  <a:lnTo>
                    <a:pt x="4465" y="5298"/>
                  </a:lnTo>
                  <a:close/>
                  <a:moveTo>
                    <a:pt x="6429" y="5298"/>
                  </a:moveTo>
                  <a:lnTo>
                    <a:pt x="6596" y="5465"/>
                  </a:lnTo>
                  <a:lnTo>
                    <a:pt x="6108" y="6215"/>
                  </a:lnTo>
                  <a:lnTo>
                    <a:pt x="6096" y="6215"/>
                  </a:lnTo>
                  <a:lnTo>
                    <a:pt x="5691" y="5810"/>
                  </a:lnTo>
                  <a:lnTo>
                    <a:pt x="6429" y="5298"/>
                  </a:lnTo>
                  <a:close/>
                  <a:moveTo>
                    <a:pt x="4905" y="0"/>
                  </a:moveTo>
                  <a:cubicBezTo>
                    <a:pt x="4072" y="0"/>
                    <a:pt x="3381" y="691"/>
                    <a:pt x="3381" y="1524"/>
                  </a:cubicBezTo>
                  <a:lnTo>
                    <a:pt x="3381" y="1869"/>
                  </a:lnTo>
                  <a:cubicBezTo>
                    <a:pt x="3381" y="2131"/>
                    <a:pt x="3441" y="2381"/>
                    <a:pt x="3548" y="2643"/>
                  </a:cubicBezTo>
                  <a:lnTo>
                    <a:pt x="3548" y="3000"/>
                  </a:lnTo>
                  <a:cubicBezTo>
                    <a:pt x="3548" y="3596"/>
                    <a:pt x="3810" y="4132"/>
                    <a:pt x="4227" y="4465"/>
                  </a:cubicBezTo>
                  <a:lnTo>
                    <a:pt x="4227" y="5001"/>
                  </a:lnTo>
                  <a:lnTo>
                    <a:pt x="3929" y="5322"/>
                  </a:lnTo>
                  <a:cubicBezTo>
                    <a:pt x="3905" y="5346"/>
                    <a:pt x="3893" y="5394"/>
                    <a:pt x="3893" y="5441"/>
                  </a:cubicBezTo>
                  <a:lnTo>
                    <a:pt x="2905" y="5798"/>
                  </a:lnTo>
                  <a:cubicBezTo>
                    <a:pt x="2834" y="5822"/>
                    <a:pt x="2774" y="5858"/>
                    <a:pt x="2715" y="5894"/>
                  </a:cubicBezTo>
                  <a:lnTo>
                    <a:pt x="2560" y="5822"/>
                  </a:lnTo>
                  <a:cubicBezTo>
                    <a:pt x="3024" y="5632"/>
                    <a:pt x="3155" y="5346"/>
                    <a:pt x="3179" y="5334"/>
                  </a:cubicBezTo>
                  <a:cubicBezTo>
                    <a:pt x="3203" y="5286"/>
                    <a:pt x="3203" y="5227"/>
                    <a:pt x="3179" y="5179"/>
                  </a:cubicBezTo>
                  <a:cubicBezTo>
                    <a:pt x="3060" y="4965"/>
                    <a:pt x="3036" y="4524"/>
                    <a:pt x="3036" y="4203"/>
                  </a:cubicBezTo>
                  <a:cubicBezTo>
                    <a:pt x="3036" y="4084"/>
                    <a:pt x="3036" y="3977"/>
                    <a:pt x="3024" y="3893"/>
                  </a:cubicBezTo>
                  <a:cubicBezTo>
                    <a:pt x="2965" y="3131"/>
                    <a:pt x="2405" y="2548"/>
                    <a:pt x="1691" y="2548"/>
                  </a:cubicBezTo>
                  <a:cubicBezTo>
                    <a:pt x="976" y="2548"/>
                    <a:pt x="393" y="3131"/>
                    <a:pt x="345" y="3893"/>
                  </a:cubicBezTo>
                  <a:cubicBezTo>
                    <a:pt x="345" y="3977"/>
                    <a:pt x="333" y="4084"/>
                    <a:pt x="333" y="4203"/>
                  </a:cubicBezTo>
                  <a:cubicBezTo>
                    <a:pt x="322" y="4548"/>
                    <a:pt x="298" y="4965"/>
                    <a:pt x="203" y="5179"/>
                  </a:cubicBezTo>
                  <a:cubicBezTo>
                    <a:pt x="167" y="5227"/>
                    <a:pt x="167" y="5286"/>
                    <a:pt x="203" y="5334"/>
                  </a:cubicBezTo>
                  <a:cubicBezTo>
                    <a:pt x="203" y="5346"/>
                    <a:pt x="345" y="5632"/>
                    <a:pt x="810" y="5822"/>
                  </a:cubicBezTo>
                  <a:lnTo>
                    <a:pt x="369" y="6037"/>
                  </a:lnTo>
                  <a:cubicBezTo>
                    <a:pt x="155" y="6156"/>
                    <a:pt x="0" y="6370"/>
                    <a:pt x="0" y="6632"/>
                  </a:cubicBezTo>
                  <a:lnTo>
                    <a:pt x="0" y="7799"/>
                  </a:lnTo>
                  <a:cubicBezTo>
                    <a:pt x="0" y="7894"/>
                    <a:pt x="72" y="7965"/>
                    <a:pt x="167" y="7965"/>
                  </a:cubicBezTo>
                  <a:cubicBezTo>
                    <a:pt x="250" y="7965"/>
                    <a:pt x="333" y="7894"/>
                    <a:pt x="333" y="7799"/>
                  </a:cubicBezTo>
                  <a:lnTo>
                    <a:pt x="333" y="6632"/>
                  </a:lnTo>
                  <a:cubicBezTo>
                    <a:pt x="333" y="6489"/>
                    <a:pt x="405" y="6370"/>
                    <a:pt x="524" y="6310"/>
                  </a:cubicBezTo>
                  <a:lnTo>
                    <a:pt x="1060" y="6048"/>
                  </a:lnTo>
                  <a:lnTo>
                    <a:pt x="1238" y="6227"/>
                  </a:lnTo>
                  <a:cubicBezTo>
                    <a:pt x="1369" y="6346"/>
                    <a:pt x="1536" y="6406"/>
                    <a:pt x="1703" y="6406"/>
                  </a:cubicBezTo>
                  <a:cubicBezTo>
                    <a:pt x="1857" y="6406"/>
                    <a:pt x="2024" y="6346"/>
                    <a:pt x="2155" y="6227"/>
                  </a:cubicBezTo>
                  <a:lnTo>
                    <a:pt x="2334" y="6048"/>
                  </a:lnTo>
                  <a:lnTo>
                    <a:pt x="2512" y="6132"/>
                  </a:lnTo>
                  <a:cubicBezTo>
                    <a:pt x="2441" y="6275"/>
                    <a:pt x="2381" y="6418"/>
                    <a:pt x="2381" y="6584"/>
                  </a:cubicBezTo>
                  <a:lnTo>
                    <a:pt x="2381" y="7799"/>
                  </a:lnTo>
                  <a:cubicBezTo>
                    <a:pt x="2381" y="7894"/>
                    <a:pt x="2453" y="7965"/>
                    <a:pt x="2548" y="7965"/>
                  </a:cubicBezTo>
                  <a:cubicBezTo>
                    <a:pt x="2631" y="7965"/>
                    <a:pt x="2715" y="7894"/>
                    <a:pt x="2715" y="7799"/>
                  </a:cubicBezTo>
                  <a:lnTo>
                    <a:pt x="2715" y="6584"/>
                  </a:lnTo>
                  <a:cubicBezTo>
                    <a:pt x="2715" y="6358"/>
                    <a:pt x="2846" y="6167"/>
                    <a:pt x="3048" y="6096"/>
                  </a:cubicBezTo>
                  <a:lnTo>
                    <a:pt x="4084" y="5715"/>
                  </a:lnTo>
                  <a:lnTo>
                    <a:pt x="4513" y="6358"/>
                  </a:lnTo>
                  <a:cubicBezTo>
                    <a:pt x="4572" y="6453"/>
                    <a:pt x="4655" y="6489"/>
                    <a:pt x="4751" y="6513"/>
                  </a:cubicBezTo>
                  <a:lnTo>
                    <a:pt x="4775" y="6513"/>
                  </a:lnTo>
                  <a:cubicBezTo>
                    <a:pt x="4870" y="6513"/>
                    <a:pt x="4941" y="6477"/>
                    <a:pt x="5013" y="6418"/>
                  </a:cubicBezTo>
                  <a:lnTo>
                    <a:pt x="5286" y="6156"/>
                  </a:lnTo>
                  <a:lnTo>
                    <a:pt x="5286" y="7799"/>
                  </a:lnTo>
                  <a:cubicBezTo>
                    <a:pt x="5286" y="7894"/>
                    <a:pt x="5358" y="7965"/>
                    <a:pt x="5453" y="7965"/>
                  </a:cubicBezTo>
                  <a:cubicBezTo>
                    <a:pt x="5537" y="7965"/>
                    <a:pt x="5608" y="7894"/>
                    <a:pt x="5608" y="7799"/>
                  </a:cubicBezTo>
                  <a:lnTo>
                    <a:pt x="5608" y="6156"/>
                  </a:lnTo>
                  <a:lnTo>
                    <a:pt x="5882" y="6418"/>
                  </a:lnTo>
                  <a:cubicBezTo>
                    <a:pt x="5941" y="6477"/>
                    <a:pt x="6025" y="6513"/>
                    <a:pt x="6120" y="6513"/>
                  </a:cubicBezTo>
                  <a:lnTo>
                    <a:pt x="6144" y="6513"/>
                  </a:lnTo>
                  <a:cubicBezTo>
                    <a:pt x="6251" y="6489"/>
                    <a:pt x="6322" y="6453"/>
                    <a:pt x="6382" y="6358"/>
                  </a:cubicBezTo>
                  <a:lnTo>
                    <a:pt x="6822" y="5715"/>
                  </a:lnTo>
                  <a:lnTo>
                    <a:pt x="7846" y="6096"/>
                  </a:lnTo>
                  <a:cubicBezTo>
                    <a:pt x="8049" y="6167"/>
                    <a:pt x="8192" y="6358"/>
                    <a:pt x="8192" y="6584"/>
                  </a:cubicBezTo>
                  <a:lnTo>
                    <a:pt x="8192" y="7799"/>
                  </a:lnTo>
                  <a:cubicBezTo>
                    <a:pt x="8192" y="7894"/>
                    <a:pt x="8263" y="7965"/>
                    <a:pt x="8346" y="7965"/>
                  </a:cubicBezTo>
                  <a:cubicBezTo>
                    <a:pt x="8442" y="7965"/>
                    <a:pt x="8513" y="7894"/>
                    <a:pt x="8513" y="7799"/>
                  </a:cubicBezTo>
                  <a:lnTo>
                    <a:pt x="8513" y="6584"/>
                  </a:lnTo>
                  <a:cubicBezTo>
                    <a:pt x="8513" y="6358"/>
                    <a:pt x="8430" y="6156"/>
                    <a:pt x="8275" y="6001"/>
                  </a:cubicBezTo>
                  <a:lnTo>
                    <a:pt x="8323" y="5989"/>
                  </a:lnTo>
                  <a:cubicBezTo>
                    <a:pt x="8370" y="5977"/>
                    <a:pt x="8406" y="5953"/>
                    <a:pt x="8465" y="5929"/>
                  </a:cubicBezTo>
                  <a:lnTo>
                    <a:pt x="8870" y="6334"/>
                  </a:lnTo>
                  <a:lnTo>
                    <a:pt x="8870" y="7787"/>
                  </a:lnTo>
                  <a:cubicBezTo>
                    <a:pt x="8870" y="7882"/>
                    <a:pt x="8942" y="7953"/>
                    <a:pt x="9037" y="7953"/>
                  </a:cubicBezTo>
                  <a:cubicBezTo>
                    <a:pt x="9120" y="7953"/>
                    <a:pt x="9204" y="7882"/>
                    <a:pt x="9204" y="7787"/>
                  </a:cubicBezTo>
                  <a:lnTo>
                    <a:pt x="9204" y="6334"/>
                  </a:lnTo>
                  <a:lnTo>
                    <a:pt x="9597" y="5929"/>
                  </a:lnTo>
                  <a:cubicBezTo>
                    <a:pt x="9620" y="5941"/>
                    <a:pt x="9644" y="5941"/>
                    <a:pt x="9680" y="5953"/>
                  </a:cubicBezTo>
                  <a:lnTo>
                    <a:pt x="10335" y="6156"/>
                  </a:lnTo>
                  <a:cubicBezTo>
                    <a:pt x="10478" y="6191"/>
                    <a:pt x="10585" y="6334"/>
                    <a:pt x="10585" y="6489"/>
                  </a:cubicBezTo>
                  <a:lnTo>
                    <a:pt x="10585" y="7799"/>
                  </a:lnTo>
                  <a:cubicBezTo>
                    <a:pt x="10585" y="7894"/>
                    <a:pt x="10656" y="7965"/>
                    <a:pt x="10751" y="7965"/>
                  </a:cubicBezTo>
                  <a:cubicBezTo>
                    <a:pt x="10835" y="7965"/>
                    <a:pt x="10906" y="7894"/>
                    <a:pt x="10906" y="7799"/>
                  </a:cubicBezTo>
                  <a:lnTo>
                    <a:pt x="10906" y="6489"/>
                  </a:lnTo>
                  <a:cubicBezTo>
                    <a:pt x="10871" y="6227"/>
                    <a:pt x="10656" y="5953"/>
                    <a:pt x="10382" y="5870"/>
                  </a:cubicBezTo>
                  <a:lnTo>
                    <a:pt x="9716" y="5679"/>
                  </a:lnTo>
                  <a:cubicBezTo>
                    <a:pt x="9692" y="5656"/>
                    <a:pt x="9680" y="5644"/>
                    <a:pt x="9680" y="5620"/>
                  </a:cubicBezTo>
                  <a:lnTo>
                    <a:pt x="9680" y="5394"/>
                  </a:lnTo>
                  <a:cubicBezTo>
                    <a:pt x="9739" y="5358"/>
                    <a:pt x="9787" y="5322"/>
                    <a:pt x="9823" y="5275"/>
                  </a:cubicBezTo>
                  <a:cubicBezTo>
                    <a:pt x="10049" y="5048"/>
                    <a:pt x="10180" y="4751"/>
                    <a:pt x="10180" y="4429"/>
                  </a:cubicBezTo>
                  <a:lnTo>
                    <a:pt x="10180" y="4132"/>
                  </a:lnTo>
                  <a:lnTo>
                    <a:pt x="10239" y="3989"/>
                  </a:lnTo>
                  <a:cubicBezTo>
                    <a:pt x="10323" y="3858"/>
                    <a:pt x="10347" y="3691"/>
                    <a:pt x="10347" y="3548"/>
                  </a:cubicBezTo>
                  <a:lnTo>
                    <a:pt x="10347" y="2727"/>
                  </a:lnTo>
                  <a:cubicBezTo>
                    <a:pt x="10347" y="2643"/>
                    <a:pt x="10275" y="2560"/>
                    <a:pt x="10180" y="2560"/>
                  </a:cubicBezTo>
                  <a:lnTo>
                    <a:pt x="8656" y="2560"/>
                  </a:lnTo>
                  <a:cubicBezTo>
                    <a:pt x="8096" y="2560"/>
                    <a:pt x="7644" y="3012"/>
                    <a:pt x="7644" y="3572"/>
                  </a:cubicBezTo>
                  <a:lnTo>
                    <a:pt x="7644" y="3596"/>
                  </a:lnTo>
                  <a:cubicBezTo>
                    <a:pt x="7644" y="3727"/>
                    <a:pt x="7668" y="3846"/>
                    <a:pt x="7727" y="3965"/>
                  </a:cubicBezTo>
                  <a:lnTo>
                    <a:pt x="7799" y="4132"/>
                  </a:lnTo>
                  <a:lnTo>
                    <a:pt x="7799" y="4382"/>
                  </a:lnTo>
                  <a:cubicBezTo>
                    <a:pt x="7799" y="4798"/>
                    <a:pt x="8013" y="5155"/>
                    <a:pt x="8311" y="5382"/>
                  </a:cubicBezTo>
                  <a:lnTo>
                    <a:pt x="8311" y="5596"/>
                  </a:lnTo>
                  <a:cubicBezTo>
                    <a:pt x="8311" y="5632"/>
                    <a:pt x="8311" y="5644"/>
                    <a:pt x="8180" y="5691"/>
                  </a:cubicBezTo>
                  <a:lnTo>
                    <a:pt x="7858" y="5775"/>
                  </a:lnTo>
                  <a:lnTo>
                    <a:pt x="6941" y="5441"/>
                  </a:lnTo>
                  <a:cubicBezTo>
                    <a:pt x="6941" y="5394"/>
                    <a:pt x="6930" y="5346"/>
                    <a:pt x="6894" y="5322"/>
                  </a:cubicBezTo>
                  <a:lnTo>
                    <a:pt x="6596" y="5001"/>
                  </a:lnTo>
                  <a:lnTo>
                    <a:pt x="6596" y="4489"/>
                  </a:lnTo>
                  <a:cubicBezTo>
                    <a:pt x="6632" y="4453"/>
                    <a:pt x="6656" y="4429"/>
                    <a:pt x="6691" y="4405"/>
                  </a:cubicBezTo>
                  <a:cubicBezTo>
                    <a:pt x="7061" y="4072"/>
                    <a:pt x="7263" y="3560"/>
                    <a:pt x="7263" y="3060"/>
                  </a:cubicBezTo>
                  <a:lnTo>
                    <a:pt x="7263" y="2643"/>
                  </a:lnTo>
                  <a:cubicBezTo>
                    <a:pt x="7382" y="2405"/>
                    <a:pt x="7430" y="2131"/>
                    <a:pt x="7430" y="1869"/>
                  </a:cubicBezTo>
                  <a:lnTo>
                    <a:pt x="7430" y="167"/>
                  </a:lnTo>
                  <a:cubicBezTo>
                    <a:pt x="7430" y="83"/>
                    <a:pt x="7358" y="0"/>
                    <a:pt x="7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8" name="Google Shape;11168;p60"/>
            <p:cNvSpPr/>
            <p:nvPr/>
          </p:nvSpPr>
          <p:spPr>
            <a:xfrm>
              <a:off x="5645669" y="3625759"/>
              <a:ext cx="10248" cy="42872"/>
            </a:xfrm>
            <a:custGeom>
              <a:avLst/>
              <a:gdLst/>
              <a:ahLst/>
              <a:cxnLst/>
              <a:rect l="l" t="t" r="r" b="b"/>
              <a:pathLst>
                <a:path w="322" h="1347" extrusionOk="0">
                  <a:moveTo>
                    <a:pt x="167" y="1"/>
                  </a:moveTo>
                  <a:cubicBezTo>
                    <a:pt x="72" y="1"/>
                    <a:pt x="0" y="72"/>
                    <a:pt x="0" y="167"/>
                  </a:cubicBezTo>
                  <a:lnTo>
                    <a:pt x="0" y="1179"/>
                  </a:lnTo>
                  <a:cubicBezTo>
                    <a:pt x="0" y="1263"/>
                    <a:pt x="72" y="1346"/>
                    <a:pt x="167" y="1346"/>
                  </a:cubicBezTo>
                  <a:cubicBezTo>
                    <a:pt x="251" y="1346"/>
                    <a:pt x="322" y="1263"/>
                    <a:pt x="322" y="1179"/>
                  </a:cubicBezTo>
                  <a:lnTo>
                    <a:pt x="322" y="167"/>
                  </a:ln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9" name="Google Shape;11169;p60"/>
            <p:cNvSpPr/>
            <p:nvPr/>
          </p:nvSpPr>
          <p:spPr>
            <a:xfrm>
              <a:off x="5462247" y="3461115"/>
              <a:ext cx="86825" cy="29759"/>
            </a:xfrm>
            <a:custGeom>
              <a:avLst/>
              <a:gdLst/>
              <a:ahLst/>
              <a:cxnLst/>
              <a:rect l="l" t="t" r="r" b="b"/>
              <a:pathLst>
                <a:path w="2728" h="935" extrusionOk="0">
                  <a:moveTo>
                    <a:pt x="1094" y="0"/>
                  </a:moveTo>
                  <a:cubicBezTo>
                    <a:pt x="768" y="0"/>
                    <a:pt x="473" y="35"/>
                    <a:pt x="287" y="66"/>
                  </a:cubicBezTo>
                  <a:cubicBezTo>
                    <a:pt x="120" y="102"/>
                    <a:pt x="1" y="233"/>
                    <a:pt x="1" y="399"/>
                  </a:cubicBezTo>
                  <a:lnTo>
                    <a:pt x="1" y="768"/>
                  </a:lnTo>
                  <a:cubicBezTo>
                    <a:pt x="1" y="864"/>
                    <a:pt x="72" y="935"/>
                    <a:pt x="168" y="935"/>
                  </a:cubicBezTo>
                  <a:cubicBezTo>
                    <a:pt x="251" y="935"/>
                    <a:pt x="322" y="864"/>
                    <a:pt x="322" y="768"/>
                  </a:cubicBezTo>
                  <a:lnTo>
                    <a:pt x="322" y="399"/>
                  </a:lnTo>
                  <a:cubicBezTo>
                    <a:pt x="322" y="399"/>
                    <a:pt x="322" y="387"/>
                    <a:pt x="346" y="387"/>
                  </a:cubicBezTo>
                  <a:cubicBezTo>
                    <a:pt x="498" y="361"/>
                    <a:pt x="764" y="327"/>
                    <a:pt x="1063" y="327"/>
                  </a:cubicBezTo>
                  <a:cubicBezTo>
                    <a:pt x="1162" y="327"/>
                    <a:pt x="1266" y="331"/>
                    <a:pt x="1370" y="340"/>
                  </a:cubicBezTo>
                  <a:cubicBezTo>
                    <a:pt x="1858" y="364"/>
                    <a:pt x="2215" y="506"/>
                    <a:pt x="2442" y="709"/>
                  </a:cubicBezTo>
                  <a:cubicBezTo>
                    <a:pt x="2471" y="739"/>
                    <a:pt x="2513" y="753"/>
                    <a:pt x="2555" y="753"/>
                  </a:cubicBezTo>
                  <a:cubicBezTo>
                    <a:pt x="2596" y="753"/>
                    <a:pt x="2638" y="739"/>
                    <a:pt x="2668" y="709"/>
                  </a:cubicBezTo>
                  <a:cubicBezTo>
                    <a:pt x="2727" y="637"/>
                    <a:pt x="2727" y="530"/>
                    <a:pt x="2656" y="471"/>
                  </a:cubicBezTo>
                  <a:cubicBezTo>
                    <a:pt x="2283" y="97"/>
                    <a:pt x="1643" y="0"/>
                    <a:pt x="10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0" name="Google Shape;11170;p60"/>
            <p:cNvSpPr/>
            <p:nvPr/>
          </p:nvSpPr>
          <p:spPr>
            <a:xfrm>
              <a:off x="5441050" y="3636389"/>
              <a:ext cx="10248" cy="32241"/>
            </a:xfrm>
            <a:custGeom>
              <a:avLst/>
              <a:gdLst/>
              <a:ahLst/>
              <a:cxnLst/>
              <a:rect l="l" t="t" r="r" b="b"/>
              <a:pathLst>
                <a:path w="322" h="1013" extrusionOk="0">
                  <a:moveTo>
                    <a:pt x="167" y="0"/>
                  </a:moveTo>
                  <a:cubicBezTo>
                    <a:pt x="72" y="0"/>
                    <a:pt x="0" y="71"/>
                    <a:pt x="0" y="155"/>
                  </a:cubicBezTo>
                  <a:lnTo>
                    <a:pt x="0" y="845"/>
                  </a:lnTo>
                  <a:cubicBezTo>
                    <a:pt x="0" y="929"/>
                    <a:pt x="72" y="1012"/>
                    <a:pt x="167" y="1012"/>
                  </a:cubicBezTo>
                  <a:cubicBezTo>
                    <a:pt x="250" y="1012"/>
                    <a:pt x="322" y="929"/>
                    <a:pt x="322" y="845"/>
                  </a:cubicBezTo>
                  <a:lnTo>
                    <a:pt x="322" y="155"/>
                  </a:lnTo>
                  <a:cubicBezTo>
                    <a:pt x="310"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1" name="Google Shape;11171;p60"/>
            <p:cNvSpPr/>
            <p:nvPr/>
          </p:nvSpPr>
          <p:spPr>
            <a:xfrm>
              <a:off x="5559257" y="3636389"/>
              <a:ext cx="10662" cy="32241"/>
            </a:xfrm>
            <a:custGeom>
              <a:avLst/>
              <a:gdLst/>
              <a:ahLst/>
              <a:cxnLst/>
              <a:rect l="l" t="t" r="r" b="b"/>
              <a:pathLst>
                <a:path w="335" h="1013" extrusionOk="0">
                  <a:moveTo>
                    <a:pt x="168" y="0"/>
                  </a:moveTo>
                  <a:cubicBezTo>
                    <a:pt x="84" y="0"/>
                    <a:pt x="1" y="71"/>
                    <a:pt x="1" y="155"/>
                  </a:cubicBezTo>
                  <a:lnTo>
                    <a:pt x="1" y="845"/>
                  </a:lnTo>
                  <a:cubicBezTo>
                    <a:pt x="1" y="929"/>
                    <a:pt x="84" y="1012"/>
                    <a:pt x="168" y="1012"/>
                  </a:cubicBezTo>
                  <a:cubicBezTo>
                    <a:pt x="263" y="1012"/>
                    <a:pt x="334" y="929"/>
                    <a:pt x="334" y="845"/>
                  </a:cubicBezTo>
                  <a:lnTo>
                    <a:pt x="334" y="155"/>
                  </a:lnTo>
                  <a:cubicBezTo>
                    <a:pt x="334" y="71"/>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2" name="Google Shape;11172;p60"/>
          <p:cNvGrpSpPr/>
          <p:nvPr/>
        </p:nvGrpSpPr>
        <p:grpSpPr>
          <a:xfrm>
            <a:off x="5776798" y="3409778"/>
            <a:ext cx="346379" cy="264518"/>
            <a:chOff x="5776798" y="3409778"/>
            <a:chExt cx="346379" cy="264518"/>
          </a:xfrm>
        </p:grpSpPr>
        <p:sp>
          <p:nvSpPr>
            <p:cNvPr id="11173" name="Google Shape;11173;p60"/>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4" name="Google Shape;11174;p60"/>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5" name="Google Shape;11175;p60"/>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6" name="Google Shape;11176;p60"/>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7" name="Google Shape;11177;p60"/>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8" name="Google Shape;11178;p60"/>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79" name="Google Shape;11179;p60"/>
          <p:cNvGrpSpPr/>
          <p:nvPr/>
        </p:nvGrpSpPr>
        <p:grpSpPr>
          <a:xfrm>
            <a:off x="7108015" y="3396505"/>
            <a:ext cx="344883" cy="290299"/>
            <a:chOff x="7108015" y="3396505"/>
            <a:chExt cx="344883" cy="290299"/>
          </a:xfrm>
        </p:grpSpPr>
        <p:sp>
          <p:nvSpPr>
            <p:cNvPr id="11180" name="Google Shape;11180;p60"/>
            <p:cNvSpPr/>
            <p:nvPr/>
          </p:nvSpPr>
          <p:spPr>
            <a:xfrm>
              <a:off x="7108015" y="3396505"/>
              <a:ext cx="344883" cy="290299"/>
            </a:xfrm>
            <a:custGeom>
              <a:avLst/>
              <a:gdLst/>
              <a:ahLst/>
              <a:cxnLst/>
              <a:rect l="l" t="t" r="r" b="b"/>
              <a:pathLst>
                <a:path w="10836" h="9121" extrusionOk="0">
                  <a:moveTo>
                    <a:pt x="4585" y="310"/>
                  </a:moveTo>
                  <a:cubicBezTo>
                    <a:pt x="4716" y="310"/>
                    <a:pt x="4847" y="369"/>
                    <a:pt x="4954" y="465"/>
                  </a:cubicBezTo>
                  <a:lnTo>
                    <a:pt x="5501" y="1012"/>
                  </a:lnTo>
                  <a:lnTo>
                    <a:pt x="4799" y="1012"/>
                  </a:lnTo>
                  <a:cubicBezTo>
                    <a:pt x="4716" y="1012"/>
                    <a:pt x="4620" y="977"/>
                    <a:pt x="4549" y="905"/>
                  </a:cubicBezTo>
                  <a:lnTo>
                    <a:pt x="3954" y="310"/>
                  </a:lnTo>
                  <a:close/>
                  <a:moveTo>
                    <a:pt x="5835" y="286"/>
                  </a:moveTo>
                  <a:cubicBezTo>
                    <a:pt x="5966" y="286"/>
                    <a:pt x="6097" y="346"/>
                    <a:pt x="6204" y="429"/>
                  </a:cubicBezTo>
                  <a:lnTo>
                    <a:pt x="6752" y="977"/>
                  </a:lnTo>
                  <a:lnTo>
                    <a:pt x="6632" y="977"/>
                  </a:lnTo>
                  <a:cubicBezTo>
                    <a:pt x="6549" y="977"/>
                    <a:pt x="6466" y="1060"/>
                    <a:pt x="6466" y="1143"/>
                  </a:cubicBezTo>
                  <a:cubicBezTo>
                    <a:pt x="6466" y="1239"/>
                    <a:pt x="6549" y="1310"/>
                    <a:pt x="6632" y="1310"/>
                  </a:cubicBezTo>
                  <a:lnTo>
                    <a:pt x="10192" y="1310"/>
                  </a:lnTo>
                  <a:cubicBezTo>
                    <a:pt x="10383" y="1310"/>
                    <a:pt x="10550" y="1477"/>
                    <a:pt x="10550" y="1667"/>
                  </a:cubicBezTo>
                  <a:lnTo>
                    <a:pt x="10550" y="8454"/>
                  </a:lnTo>
                  <a:lnTo>
                    <a:pt x="10514" y="8454"/>
                  </a:lnTo>
                  <a:cubicBezTo>
                    <a:pt x="10514" y="8644"/>
                    <a:pt x="10359" y="8811"/>
                    <a:pt x="10157" y="8811"/>
                  </a:cubicBezTo>
                  <a:lnTo>
                    <a:pt x="667" y="8811"/>
                  </a:lnTo>
                  <a:cubicBezTo>
                    <a:pt x="477" y="8811"/>
                    <a:pt x="310" y="8644"/>
                    <a:pt x="310" y="8454"/>
                  </a:cubicBezTo>
                  <a:lnTo>
                    <a:pt x="310" y="655"/>
                  </a:lnTo>
                  <a:cubicBezTo>
                    <a:pt x="310" y="465"/>
                    <a:pt x="465" y="298"/>
                    <a:pt x="667" y="298"/>
                  </a:cubicBezTo>
                  <a:lnTo>
                    <a:pt x="3275" y="298"/>
                  </a:lnTo>
                  <a:cubicBezTo>
                    <a:pt x="3406" y="298"/>
                    <a:pt x="3537" y="358"/>
                    <a:pt x="3644" y="453"/>
                  </a:cubicBezTo>
                  <a:lnTo>
                    <a:pt x="4311" y="1120"/>
                  </a:lnTo>
                  <a:cubicBezTo>
                    <a:pt x="4430" y="1239"/>
                    <a:pt x="4608" y="1310"/>
                    <a:pt x="4787" y="1310"/>
                  </a:cubicBezTo>
                  <a:lnTo>
                    <a:pt x="5870" y="1310"/>
                  </a:lnTo>
                  <a:cubicBezTo>
                    <a:pt x="5930" y="1310"/>
                    <a:pt x="5990" y="1262"/>
                    <a:pt x="6025" y="1203"/>
                  </a:cubicBezTo>
                  <a:cubicBezTo>
                    <a:pt x="6049" y="1143"/>
                    <a:pt x="6037" y="1072"/>
                    <a:pt x="5990" y="1024"/>
                  </a:cubicBezTo>
                  <a:lnTo>
                    <a:pt x="5251" y="286"/>
                  </a:lnTo>
                  <a:close/>
                  <a:moveTo>
                    <a:pt x="667" y="0"/>
                  </a:moveTo>
                  <a:cubicBezTo>
                    <a:pt x="298" y="0"/>
                    <a:pt x="1" y="298"/>
                    <a:pt x="1" y="667"/>
                  </a:cubicBezTo>
                  <a:lnTo>
                    <a:pt x="1" y="8454"/>
                  </a:lnTo>
                  <a:cubicBezTo>
                    <a:pt x="1" y="8823"/>
                    <a:pt x="298" y="9121"/>
                    <a:pt x="667" y="9121"/>
                  </a:cubicBezTo>
                  <a:lnTo>
                    <a:pt x="10157" y="9121"/>
                  </a:lnTo>
                  <a:cubicBezTo>
                    <a:pt x="10538" y="9121"/>
                    <a:pt x="10835" y="8823"/>
                    <a:pt x="10835" y="8454"/>
                  </a:cubicBezTo>
                  <a:lnTo>
                    <a:pt x="10835" y="1679"/>
                  </a:lnTo>
                  <a:cubicBezTo>
                    <a:pt x="10835" y="1310"/>
                    <a:pt x="10538" y="1012"/>
                    <a:pt x="10157" y="1012"/>
                  </a:cubicBezTo>
                  <a:lnTo>
                    <a:pt x="7168" y="1012"/>
                  </a:lnTo>
                  <a:lnTo>
                    <a:pt x="6394" y="238"/>
                  </a:lnTo>
                  <a:cubicBezTo>
                    <a:pt x="6228" y="72"/>
                    <a:pt x="6025" y="0"/>
                    <a:pt x="5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1" name="Google Shape;11181;p60"/>
            <p:cNvSpPr/>
            <p:nvPr/>
          </p:nvSpPr>
          <p:spPr>
            <a:xfrm>
              <a:off x="7211104" y="3487819"/>
              <a:ext cx="139468" cy="139500"/>
            </a:xfrm>
            <a:custGeom>
              <a:avLst/>
              <a:gdLst/>
              <a:ahLst/>
              <a:cxnLst/>
              <a:rect l="l" t="t" r="r" b="b"/>
              <a:pathLst>
                <a:path w="4382" h="4383" extrusionOk="0">
                  <a:moveTo>
                    <a:pt x="2370" y="1168"/>
                  </a:moveTo>
                  <a:cubicBezTo>
                    <a:pt x="2560" y="1168"/>
                    <a:pt x="2727" y="1334"/>
                    <a:pt x="2727" y="1525"/>
                  </a:cubicBezTo>
                  <a:lnTo>
                    <a:pt x="2727" y="1870"/>
                  </a:lnTo>
                  <a:cubicBezTo>
                    <a:pt x="2691" y="2144"/>
                    <a:pt x="2477" y="2382"/>
                    <a:pt x="2191" y="2382"/>
                  </a:cubicBezTo>
                  <a:cubicBezTo>
                    <a:pt x="1905" y="2382"/>
                    <a:pt x="1667" y="2144"/>
                    <a:pt x="1667" y="1870"/>
                  </a:cubicBezTo>
                  <a:lnTo>
                    <a:pt x="1667" y="1525"/>
                  </a:lnTo>
                  <a:cubicBezTo>
                    <a:pt x="1667" y="1334"/>
                    <a:pt x="1834" y="1168"/>
                    <a:pt x="2024" y="1168"/>
                  </a:cubicBezTo>
                  <a:close/>
                  <a:moveTo>
                    <a:pt x="2334" y="2680"/>
                  </a:moveTo>
                  <a:lnTo>
                    <a:pt x="2334" y="2775"/>
                  </a:lnTo>
                  <a:cubicBezTo>
                    <a:pt x="2370" y="2834"/>
                    <a:pt x="2381" y="2894"/>
                    <a:pt x="2417" y="2942"/>
                  </a:cubicBezTo>
                  <a:lnTo>
                    <a:pt x="2191" y="3156"/>
                  </a:lnTo>
                  <a:lnTo>
                    <a:pt x="2155" y="3156"/>
                  </a:lnTo>
                  <a:lnTo>
                    <a:pt x="1941" y="2942"/>
                  </a:lnTo>
                  <a:cubicBezTo>
                    <a:pt x="1965" y="2894"/>
                    <a:pt x="1977" y="2834"/>
                    <a:pt x="1977" y="2775"/>
                  </a:cubicBezTo>
                  <a:lnTo>
                    <a:pt x="1977" y="2680"/>
                  </a:lnTo>
                  <a:cubicBezTo>
                    <a:pt x="2036" y="2703"/>
                    <a:pt x="2096" y="2703"/>
                    <a:pt x="2155" y="2703"/>
                  </a:cubicBezTo>
                  <a:cubicBezTo>
                    <a:pt x="2215" y="2703"/>
                    <a:pt x="2274" y="2703"/>
                    <a:pt x="2334" y="2680"/>
                  </a:cubicBezTo>
                  <a:close/>
                  <a:moveTo>
                    <a:pt x="2203" y="334"/>
                  </a:moveTo>
                  <a:cubicBezTo>
                    <a:pt x="3227" y="334"/>
                    <a:pt x="4072" y="1179"/>
                    <a:pt x="4072" y="2203"/>
                  </a:cubicBezTo>
                  <a:cubicBezTo>
                    <a:pt x="4060" y="2787"/>
                    <a:pt x="3786" y="3311"/>
                    <a:pt x="3370" y="3668"/>
                  </a:cubicBezTo>
                  <a:lnTo>
                    <a:pt x="3370" y="3430"/>
                  </a:lnTo>
                  <a:cubicBezTo>
                    <a:pt x="3370" y="3239"/>
                    <a:pt x="3263" y="3073"/>
                    <a:pt x="3096" y="2977"/>
                  </a:cubicBezTo>
                  <a:lnTo>
                    <a:pt x="2691" y="2787"/>
                  </a:lnTo>
                  <a:lnTo>
                    <a:pt x="2691" y="2775"/>
                  </a:lnTo>
                  <a:lnTo>
                    <a:pt x="2691" y="2537"/>
                  </a:lnTo>
                  <a:cubicBezTo>
                    <a:pt x="2905" y="2382"/>
                    <a:pt x="3036" y="2132"/>
                    <a:pt x="3036" y="1870"/>
                  </a:cubicBezTo>
                  <a:lnTo>
                    <a:pt x="3036" y="1525"/>
                  </a:lnTo>
                  <a:cubicBezTo>
                    <a:pt x="3036" y="1156"/>
                    <a:pt x="2739" y="858"/>
                    <a:pt x="2370" y="858"/>
                  </a:cubicBezTo>
                  <a:lnTo>
                    <a:pt x="2024" y="858"/>
                  </a:lnTo>
                  <a:cubicBezTo>
                    <a:pt x="1655" y="858"/>
                    <a:pt x="1358" y="1156"/>
                    <a:pt x="1358" y="1525"/>
                  </a:cubicBezTo>
                  <a:lnTo>
                    <a:pt x="1358" y="1870"/>
                  </a:lnTo>
                  <a:cubicBezTo>
                    <a:pt x="1358" y="2132"/>
                    <a:pt x="1488" y="2382"/>
                    <a:pt x="1703" y="2537"/>
                  </a:cubicBezTo>
                  <a:lnTo>
                    <a:pt x="1703" y="2775"/>
                  </a:lnTo>
                  <a:lnTo>
                    <a:pt x="1703" y="2787"/>
                  </a:lnTo>
                  <a:lnTo>
                    <a:pt x="1298" y="2977"/>
                  </a:lnTo>
                  <a:cubicBezTo>
                    <a:pt x="1131" y="3073"/>
                    <a:pt x="1024" y="3239"/>
                    <a:pt x="1024" y="3430"/>
                  </a:cubicBezTo>
                  <a:lnTo>
                    <a:pt x="1024" y="3668"/>
                  </a:lnTo>
                  <a:cubicBezTo>
                    <a:pt x="596" y="3323"/>
                    <a:pt x="334" y="2799"/>
                    <a:pt x="334" y="2203"/>
                  </a:cubicBezTo>
                  <a:cubicBezTo>
                    <a:pt x="334" y="1179"/>
                    <a:pt x="1179" y="334"/>
                    <a:pt x="2203" y="334"/>
                  </a:cubicBezTo>
                  <a:close/>
                  <a:moveTo>
                    <a:pt x="2667" y="3120"/>
                  </a:moveTo>
                  <a:lnTo>
                    <a:pt x="2929" y="3251"/>
                  </a:lnTo>
                  <a:cubicBezTo>
                    <a:pt x="2989" y="3275"/>
                    <a:pt x="3036" y="3335"/>
                    <a:pt x="3036" y="3418"/>
                  </a:cubicBezTo>
                  <a:lnTo>
                    <a:pt x="3036" y="3858"/>
                  </a:lnTo>
                  <a:cubicBezTo>
                    <a:pt x="2786" y="3989"/>
                    <a:pt x="2489" y="4073"/>
                    <a:pt x="2179" y="4073"/>
                  </a:cubicBezTo>
                  <a:cubicBezTo>
                    <a:pt x="1858" y="4073"/>
                    <a:pt x="1584" y="3989"/>
                    <a:pt x="1310" y="3858"/>
                  </a:cubicBezTo>
                  <a:lnTo>
                    <a:pt x="1310" y="3418"/>
                  </a:lnTo>
                  <a:cubicBezTo>
                    <a:pt x="1310" y="3335"/>
                    <a:pt x="1358" y="3275"/>
                    <a:pt x="1417" y="3251"/>
                  </a:cubicBezTo>
                  <a:lnTo>
                    <a:pt x="1679" y="3120"/>
                  </a:lnTo>
                  <a:lnTo>
                    <a:pt x="1941" y="3370"/>
                  </a:lnTo>
                  <a:cubicBezTo>
                    <a:pt x="2000" y="3430"/>
                    <a:pt x="2084" y="3454"/>
                    <a:pt x="2179" y="3454"/>
                  </a:cubicBezTo>
                  <a:cubicBezTo>
                    <a:pt x="2262" y="3454"/>
                    <a:pt x="2334" y="3430"/>
                    <a:pt x="2417" y="3370"/>
                  </a:cubicBezTo>
                  <a:lnTo>
                    <a:pt x="2667" y="3120"/>
                  </a:lnTo>
                  <a:close/>
                  <a:moveTo>
                    <a:pt x="2191" y="1"/>
                  </a:moveTo>
                  <a:cubicBezTo>
                    <a:pt x="988" y="1"/>
                    <a:pt x="0" y="989"/>
                    <a:pt x="0" y="2192"/>
                  </a:cubicBezTo>
                  <a:cubicBezTo>
                    <a:pt x="0" y="3394"/>
                    <a:pt x="988" y="4382"/>
                    <a:pt x="2191" y="4382"/>
                  </a:cubicBezTo>
                  <a:cubicBezTo>
                    <a:pt x="3393" y="4382"/>
                    <a:pt x="4382" y="3394"/>
                    <a:pt x="4382" y="2192"/>
                  </a:cubicBezTo>
                  <a:cubicBezTo>
                    <a:pt x="4382" y="989"/>
                    <a:pt x="3393" y="1"/>
                    <a:pt x="2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2" name="Google Shape;11182;p60"/>
            <p:cNvSpPr/>
            <p:nvPr/>
          </p:nvSpPr>
          <p:spPr>
            <a:xfrm>
              <a:off x="7180009" y="3466271"/>
              <a:ext cx="159201" cy="149685"/>
            </a:xfrm>
            <a:custGeom>
              <a:avLst/>
              <a:gdLst/>
              <a:ahLst/>
              <a:cxnLst/>
              <a:rect l="l" t="t" r="r" b="b"/>
              <a:pathLst>
                <a:path w="5002" h="4703" extrusionOk="0">
                  <a:moveTo>
                    <a:pt x="3163" y="1"/>
                  </a:moveTo>
                  <a:cubicBezTo>
                    <a:pt x="2425" y="1"/>
                    <a:pt x="1690" y="286"/>
                    <a:pt x="1132" y="844"/>
                  </a:cubicBezTo>
                  <a:cubicBezTo>
                    <a:pt x="96" y="1868"/>
                    <a:pt x="1" y="3500"/>
                    <a:pt x="894" y="4643"/>
                  </a:cubicBezTo>
                  <a:cubicBezTo>
                    <a:pt x="918" y="4690"/>
                    <a:pt x="965" y="4702"/>
                    <a:pt x="1013" y="4702"/>
                  </a:cubicBezTo>
                  <a:cubicBezTo>
                    <a:pt x="1037" y="4702"/>
                    <a:pt x="1084" y="4690"/>
                    <a:pt x="1108" y="4666"/>
                  </a:cubicBezTo>
                  <a:cubicBezTo>
                    <a:pt x="1192" y="4607"/>
                    <a:pt x="1192" y="4523"/>
                    <a:pt x="1144" y="4452"/>
                  </a:cubicBezTo>
                  <a:cubicBezTo>
                    <a:pt x="358" y="3440"/>
                    <a:pt x="441" y="1987"/>
                    <a:pt x="1346" y="1083"/>
                  </a:cubicBezTo>
                  <a:cubicBezTo>
                    <a:pt x="1845" y="591"/>
                    <a:pt x="2498" y="338"/>
                    <a:pt x="3153" y="338"/>
                  </a:cubicBezTo>
                  <a:cubicBezTo>
                    <a:pt x="3703" y="338"/>
                    <a:pt x="4254" y="516"/>
                    <a:pt x="4716" y="880"/>
                  </a:cubicBezTo>
                  <a:cubicBezTo>
                    <a:pt x="4744" y="903"/>
                    <a:pt x="4775" y="914"/>
                    <a:pt x="4807" y="914"/>
                  </a:cubicBezTo>
                  <a:cubicBezTo>
                    <a:pt x="4856" y="914"/>
                    <a:pt x="4906" y="888"/>
                    <a:pt x="4942" y="844"/>
                  </a:cubicBezTo>
                  <a:cubicBezTo>
                    <a:pt x="5002" y="773"/>
                    <a:pt x="4978" y="666"/>
                    <a:pt x="4918" y="606"/>
                  </a:cubicBezTo>
                  <a:cubicBezTo>
                    <a:pt x="4398" y="200"/>
                    <a:pt x="3779" y="1"/>
                    <a:pt x="3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3" name="Google Shape;11183;p60"/>
            <p:cNvSpPr/>
            <p:nvPr/>
          </p:nvSpPr>
          <p:spPr>
            <a:xfrm>
              <a:off x="7222085" y="3499690"/>
              <a:ext cx="158819" cy="148825"/>
            </a:xfrm>
            <a:custGeom>
              <a:avLst/>
              <a:gdLst/>
              <a:ahLst/>
              <a:cxnLst/>
              <a:rect l="l" t="t" r="r" b="b"/>
              <a:pathLst>
                <a:path w="4990" h="4676" extrusionOk="0">
                  <a:moveTo>
                    <a:pt x="3983" y="0"/>
                  </a:moveTo>
                  <a:cubicBezTo>
                    <a:pt x="3948" y="0"/>
                    <a:pt x="3913" y="12"/>
                    <a:pt x="3882" y="33"/>
                  </a:cubicBezTo>
                  <a:cubicBezTo>
                    <a:pt x="3810" y="92"/>
                    <a:pt x="3810" y="187"/>
                    <a:pt x="3858" y="259"/>
                  </a:cubicBezTo>
                  <a:cubicBezTo>
                    <a:pt x="4644" y="1271"/>
                    <a:pt x="4549" y="2711"/>
                    <a:pt x="3644" y="3616"/>
                  </a:cubicBezTo>
                  <a:cubicBezTo>
                    <a:pt x="3152" y="4115"/>
                    <a:pt x="2502" y="4367"/>
                    <a:pt x="1848" y="4367"/>
                  </a:cubicBezTo>
                  <a:cubicBezTo>
                    <a:pt x="1299" y="4367"/>
                    <a:pt x="748" y="4189"/>
                    <a:pt x="286" y="3831"/>
                  </a:cubicBezTo>
                  <a:cubicBezTo>
                    <a:pt x="250" y="3805"/>
                    <a:pt x="214" y="3793"/>
                    <a:pt x="180" y="3793"/>
                  </a:cubicBezTo>
                  <a:cubicBezTo>
                    <a:pt x="135" y="3793"/>
                    <a:pt x="94" y="3814"/>
                    <a:pt x="60" y="3854"/>
                  </a:cubicBezTo>
                  <a:cubicBezTo>
                    <a:pt x="0" y="3938"/>
                    <a:pt x="12" y="4021"/>
                    <a:pt x="84" y="4081"/>
                  </a:cubicBezTo>
                  <a:cubicBezTo>
                    <a:pt x="608" y="4486"/>
                    <a:pt x="1239" y="4676"/>
                    <a:pt x="1846" y="4676"/>
                  </a:cubicBezTo>
                  <a:cubicBezTo>
                    <a:pt x="2584" y="4676"/>
                    <a:pt x="3322" y="4390"/>
                    <a:pt x="3882" y="3843"/>
                  </a:cubicBezTo>
                  <a:cubicBezTo>
                    <a:pt x="4894" y="2831"/>
                    <a:pt x="4989" y="1211"/>
                    <a:pt x="4108" y="68"/>
                  </a:cubicBezTo>
                  <a:cubicBezTo>
                    <a:pt x="4074" y="21"/>
                    <a:pt x="4029" y="0"/>
                    <a:pt x="39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84" name="Google Shape;11184;p60"/>
          <p:cNvGrpSpPr/>
          <p:nvPr/>
        </p:nvGrpSpPr>
        <p:grpSpPr>
          <a:xfrm>
            <a:off x="7551754" y="3390808"/>
            <a:ext cx="344883" cy="301311"/>
            <a:chOff x="7551754" y="3390808"/>
            <a:chExt cx="344883" cy="301311"/>
          </a:xfrm>
        </p:grpSpPr>
        <p:sp>
          <p:nvSpPr>
            <p:cNvPr id="11185" name="Google Shape;11185;p60"/>
            <p:cNvSpPr/>
            <p:nvPr/>
          </p:nvSpPr>
          <p:spPr>
            <a:xfrm>
              <a:off x="7551754" y="3390808"/>
              <a:ext cx="344883" cy="301311"/>
            </a:xfrm>
            <a:custGeom>
              <a:avLst/>
              <a:gdLst/>
              <a:ahLst/>
              <a:cxnLst/>
              <a:rect l="l" t="t" r="r" b="b"/>
              <a:pathLst>
                <a:path w="10836" h="9467" extrusionOk="0">
                  <a:moveTo>
                    <a:pt x="6097" y="334"/>
                  </a:moveTo>
                  <a:lnTo>
                    <a:pt x="5799" y="3049"/>
                  </a:lnTo>
                  <a:cubicBezTo>
                    <a:pt x="5799" y="3049"/>
                    <a:pt x="5799" y="3073"/>
                    <a:pt x="5787" y="3073"/>
                  </a:cubicBezTo>
                  <a:lnTo>
                    <a:pt x="5073" y="3073"/>
                  </a:lnTo>
                  <a:cubicBezTo>
                    <a:pt x="5073" y="3073"/>
                    <a:pt x="5061" y="3073"/>
                    <a:pt x="5061" y="3049"/>
                  </a:cubicBezTo>
                  <a:lnTo>
                    <a:pt x="4763" y="334"/>
                  </a:lnTo>
                  <a:close/>
                  <a:moveTo>
                    <a:pt x="10336" y="2692"/>
                  </a:moveTo>
                  <a:cubicBezTo>
                    <a:pt x="10443" y="2692"/>
                    <a:pt x="10526" y="2763"/>
                    <a:pt x="10526" y="2870"/>
                  </a:cubicBezTo>
                  <a:lnTo>
                    <a:pt x="10526" y="8978"/>
                  </a:lnTo>
                  <a:cubicBezTo>
                    <a:pt x="10526" y="9085"/>
                    <a:pt x="10443" y="9157"/>
                    <a:pt x="10347" y="9157"/>
                  </a:cubicBezTo>
                  <a:lnTo>
                    <a:pt x="525" y="9157"/>
                  </a:lnTo>
                  <a:cubicBezTo>
                    <a:pt x="418" y="9157"/>
                    <a:pt x="346" y="9085"/>
                    <a:pt x="346" y="8978"/>
                  </a:cubicBezTo>
                  <a:lnTo>
                    <a:pt x="346" y="2870"/>
                  </a:lnTo>
                  <a:cubicBezTo>
                    <a:pt x="346" y="2763"/>
                    <a:pt x="418" y="2692"/>
                    <a:pt x="525" y="2692"/>
                  </a:cubicBezTo>
                  <a:lnTo>
                    <a:pt x="4704" y="2692"/>
                  </a:lnTo>
                  <a:lnTo>
                    <a:pt x="4752" y="3084"/>
                  </a:lnTo>
                  <a:cubicBezTo>
                    <a:pt x="4763" y="3251"/>
                    <a:pt x="4906" y="3382"/>
                    <a:pt x="5073" y="3382"/>
                  </a:cubicBezTo>
                  <a:lnTo>
                    <a:pt x="5787" y="3382"/>
                  </a:lnTo>
                  <a:cubicBezTo>
                    <a:pt x="5954" y="3382"/>
                    <a:pt x="6097" y="3263"/>
                    <a:pt x="6121" y="3084"/>
                  </a:cubicBezTo>
                  <a:lnTo>
                    <a:pt x="6156" y="2692"/>
                  </a:lnTo>
                  <a:close/>
                  <a:moveTo>
                    <a:pt x="4573" y="1"/>
                  </a:moveTo>
                  <a:cubicBezTo>
                    <a:pt x="4525" y="1"/>
                    <a:pt x="4478" y="13"/>
                    <a:pt x="4454" y="60"/>
                  </a:cubicBezTo>
                  <a:cubicBezTo>
                    <a:pt x="4418" y="96"/>
                    <a:pt x="4406" y="132"/>
                    <a:pt x="4406" y="179"/>
                  </a:cubicBezTo>
                  <a:lnTo>
                    <a:pt x="4644" y="2382"/>
                  </a:lnTo>
                  <a:lnTo>
                    <a:pt x="489" y="2382"/>
                  </a:lnTo>
                  <a:cubicBezTo>
                    <a:pt x="215" y="2382"/>
                    <a:pt x="1" y="2608"/>
                    <a:pt x="1" y="2870"/>
                  </a:cubicBezTo>
                  <a:lnTo>
                    <a:pt x="1" y="8978"/>
                  </a:lnTo>
                  <a:cubicBezTo>
                    <a:pt x="1" y="9240"/>
                    <a:pt x="215" y="9466"/>
                    <a:pt x="489" y="9466"/>
                  </a:cubicBezTo>
                  <a:lnTo>
                    <a:pt x="10312" y="9466"/>
                  </a:lnTo>
                  <a:cubicBezTo>
                    <a:pt x="10574" y="9466"/>
                    <a:pt x="10800" y="9240"/>
                    <a:pt x="10800" y="8978"/>
                  </a:cubicBezTo>
                  <a:lnTo>
                    <a:pt x="10800" y="2870"/>
                  </a:lnTo>
                  <a:cubicBezTo>
                    <a:pt x="10836" y="2608"/>
                    <a:pt x="10609" y="2382"/>
                    <a:pt x="10347" y="2382"/>
                  </a:cubicBezTo>
                  <a:lnTo>
                    <a:pt x="6192" y="2382"/>
                  </a:lnTo>
                  <a:lnTo>
                    <a:pt x="6430" y="179"/>
                  </a:lnTo>
                  <a:cubicBezTo>
                    <a:pt x="6430" y="132"/>
                    <a:pt x="6418" y="96"/>
                    <a:pt x="6383" y="60"/>
                  </a:cubicBezTo>
                  <a:cubicBezTo>
                    <a:pt x="6359" y="36"/>
                    <a:pt x="6311" y="1"/>
                    <a:pt x="6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6" name="Google Shape;11186;p60"/>
            <p:cNvSpPr/>
            <p:nvPr/>
          </p:nvSpPr>
          <p:spPr>
            <a:xfrm>
              <a:off x="7584345" y="3509811"/>
              <a:ext cx="117889" cy="150098"/>
            </a:xfrm>
            <a:custGeom>
              <a:avLst/>
              <a:gdLst/>
              <a:ahLst/>
              <a:cxnLst/>
              <a:rect l="l" t="t" r="r" b="b"/>
              <a:pathLst>
                <a:path w="3704" h="4716" extrusionOk="0">
                  <a:moveTo>
                    <a:pt x="2037" y="1143"/>
                  </a:moveTo>
                  <a:cubicBezTo>
                    <a:pt x="2239" y="1143"/>
                    <a:pt x="2394" y="1310"/>
                    <a:pt x="2394" y="1501"/>
                  </a:cubicBezTo>
                  <a:lnTo>
                    <a:pt x="2394" y="1846"/>
                  </a:lnTo>
                  <a:cubicBezTo>
                    <a:pt x="2382" y="2143"/>
                    <a:pt x="2144" y="2370"/>
                    <a:pt x="1858" y="2370"/>
                  </a:cubicBezTo>
                  <a:cubicBezTo>
                    <a:pt x="1572" y="2370"/>
                    <a:pt x="1346" y="2132"/>
                    <a:pt x="1346" y="1846"/>
                  </a:cubicBezTo>
                  <a:lnTo>
                    <a:pt x="1346" y="1501"/>
                  </a:lnTo>
                  <a:cubicBezTo>
                    <a:pt x="1346" y="1310"/>
                    <a:pt x="1501" y="1143"/>
                    <a:pt x="1703" y="1143"/>
                  </a:cubicBezTo>
                  <a:close/>
                  <a:moveTo>
                    <a:pt x="2025" y="2667"/>
                  </a:moveTo>
                  <a:lnTo>
                    <a:pt x="2025" y="2751"/>
                  </a:lnTo>
                  <a:cubicBezTo>
                    <a:pt x="2037" y="2822"/>
                    <a:pt x="2061" y="2870"/>
                    <a:pt x="2084" y="2929"/>
                  </a:cubicBezTo>
                  <a:lnTo>
                    <a:pt x="1858" y="3155"/>
                  </a:lnTo>
                  <a:lnTo>
                    <a:pt x="1846" y="3155"/>
                  </a:lnTo>
                  <a:lnTo>
                    <a:pt x="1620" y="2929"/>
                  </a:lnTo>
                  <a:cubicBezTo>
                    <a:pt x="1656" y="2882"/>
                    <a:pt x="1668" y="2822"/>
                    <a:pt x="1668" y="2763"/>
                  </a:cubicBezTo>
                  <a:lnTo>
                    <a:pt x="1668" y="2667"/>
                  </a:lnTo>
                  <a:cubicBezTo>
                    <a:pt x="1727" y="2679"/>
                    <a:pt x="1787" y="2679"/>
                    <a:pt x="1846" y="2679"/>
                  </a:cubicBezTo>
                  <a:cubicBezTo>
                    <a:pt x="1906" y="2679"/>
                    <a:pt x="1965" y="2679"/>
                    <a:pt x="2025" y="2667"/>
                  </a:cubicBezTo>
                  <a:close/>
                  <a:moveTo>
                    <a:pt x="2358" y="3108"/>
                  </a:moveTo>
                  <a:lnTo>
                    <a:pt x="2620" y="3239"/>
                  </a:lnTo>
                  <a:cubicBezTo>
                    <a:pt x="2680" y="3275"/>
                    <a:pt x="2727" y="3334"/>
                    <a:pt x="2727" y="3406"/>
                  </a:cubicBezTo>
                  <a:lnTo>
                    <a:pt x="2727" y="4406"/>
                  </a:lnTo>
                  <a:lnTo>
                    <a:pt x="1001" y="4406"/>
                  </a:lnTo>
                  <a:lnTo>
                    <a:pt x="1001" y="3406"/>
                  </a:lnTo>
                  <a:cubicBezTo>
                    <a:pt x="1001" y="3334"/>
                    <a:pt x="1049" y="3275"/>
                    <a:pt x="1108" y="3239"/>
                  </a:cubicBezTo>
                  <a:lnTo>
                    <a:pt x="1370" y="3108"/>
                  </a:lnTo>
                  <a:lnTo>
                    <a:pt x="1620" y="3358"/>
                  </a:lnTo>
                  <a:cubicBezTo>
                    <a:pt x="1680" y="3417"/>
                    <a:pt x="1775" y="3453"/>
                    <a:pt x="1858" y="3453"/>
                  </a:cubicBezTo>
                  <a:cubicBezTo>
                    <a:pt x="1953" y="3453"/>
                    <a:pt x="2025" y="3417"/>
                    <a:pt x="2096" y="3358"/>
                  </a:cubicBezTo>
                  <a:lnTo>
                    <a:pt x="2358" y="3108"/>
                  </a:lnTo>
                  <a:close/>
                  <a:moveTo>
                    <a:pt x="3394" y="298"/>
                  </a:moveTo>
                  <a:cubicBezTo>
                    <a:pt x="3394" y="298"/>
                    <a:pt x="3406" y="298"/>
                    <a:pt x="3406" y="310"/>
                  </a:cubicBezTo>
                  <a:lnTo>
                    <a:pt x="3406" y="4394"/>
                  </a:lnTo>
                  <a:lnTo>
                    <a:pt x="3394" y="4394"/>
                  </a:lnTo>
                  <a:lnTo>
                    <a:pt x="3037" y="4406"/>
                  </a:lnTo>
                  <a:lnTo>
                    <a:pt x="3037" y="3406"/>
                  </a:lnTo>
                  <a:cubicBezTo>
                    <a:pt x="3037" y="3215"/>
                    <a:pt x="2930" y="3048"/>
                    <a:pt x="2775" y="2965"/>
                  </a:cubicBezTo>
                  <a:lnTo>
                    <a:pt x="2370" y="2763"/>
                  </a:lnTo>
                  <a:lnTo>
                    <a:pt x="2370" y="2751"/>
                  </a:lnTo>
                  <a:lnTo>
                    <a:pt x="2370" y="2513"/>
                  </a:lnTo>
                  <a:cubicBezTo>
                    <a:pt x="2573" y="2370"/>
                    <a:pt x="2715" y="2108"/>
                    <a:pt x="2715" y="1846"/>
                  </a:cubicBezTo>
                  <a:lnTo>
                    <a:pt x="2715" y="1501"/>
                  </a:lnTo>
                  <a:cubicBezTo>
                    <a:pt x="2715" y="1131"/>
                    <a:pt x="2418" y="834"/>
                    <a:pt x="2037" y="834"/>
                  </a:cubicBezTo>
                  <a:lnTo>
                    <a:pt x="1703" y="834"/>
                  </a:lnTo>
                  <a:cubicBezTo>
                    <a:pt x="1322" y="834"/>
                    <a:pt x="1025" y="1131"/>
                    <a:pt x="1025" y="1501"/>
                  </a:cubicBezTo>
                  <a:lnTo>
                    <a:pt x="1025" y="1846"/>
                  </a:lnTo>
                  <a:cubicBezTo>
                    <a:pt x="1025" y="2108"/>
                    <a:pt x="1168" y="2370"/>
                    <a:pt x="1370" y="2513"/>
                  </a:cubicBezTo>
                  <a:lnTo>
                    <a:pt x="1370" y="2751"/>
                  </a:lnTo>
                  <a:lnTo>
                    <a:pt x="1370" y="2763"/>
                  </a:lnTo>
                  <a:lnTo>
                    <a:pt x="965" y="2965"/>
                  </a:lnTo>
                  <a:cubicBezTo>
                    <a:pt x="810" y="3048"/>
                    <a:pt x="703" y="3215"/>
                    <a:pt x="703" y="3406"/>
                  </a:cubicBezTo>
                  <a:lnTo>
                    <a:pt x="703" y="4394"/>
                  </a:lnTo>
                  <a:lnTo>
                    <a:pt x="346" y="4394"/>
                  </a:lnTo>
                  <a:cubicBezTo>
                    <a:pt x="346" y="4394"/>
                    <a:pt x="334" y="4394"/>
                    <a:pt x="334" y="4370"/>
                  </a:cubicBezTo>
                  <a:lnTo>
                    <a:pt x="334" y="310"/>
                  </a:lnTo>
                  <a:cubicBezTo>
                    <a:pt x="334" y="310"/>
                    <a:pt x="334" y="298"/>
                    <a:pt x="346" y="298"/>
                  </a:cubicBezTo>
                  <a:close/>
                  <a:moveTo>
                    <a:pt x="334" y="0"/>
                  </a:moveTo>
                  <a:cubicBezTo>
                    <a:pt x="156" y="0"/>
                    <a:pt x="1" y="143"/>
                    <a:pt x="1" y="322"/>
                  </a:cubicBezTo>
                  <a:lnTo>
                    <a:pt x="1" y="4394"/>
                  </a:lnTo>
                  <a:cubicBezTo>
                    <a:pt x="1" y="4572"/>
                    <a:pt x="156" y="4715"/>
                    <a:pt x="334" y="4715"/>
                  </a:cubicBezTo>
                  <a:lnTo>
                    <a:pt x="3382" y="4715"/>
                  </a:lnTo>
                  <a:cubicBezTo>
                    <a:pt x="3561" y="4715"/>
                    <a:pt x="3704" y="4572"/>
                    <a:pt x="3704" y="4394"/>
                  </a:cubicBezTo>
                  <a:lnTo>
                    <a:pt x="3704" y="322"/>
                  </a:lnTo>
                  <a:cubicBezTo>
                    <a:pt x="3704" y="143"/>
                    <a:pt x="3561"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7" name="Google Shape;11187;p60"/>
            <p:cNvSpPr/>
            <p:nvPr/>
          </p:nvSpPr>
          <p:spPr>
            <a:xfrm>
              <a:off x="7724959" y="3509811"/>
              <a:ext cx="139468" cy="31859"/>
            </a:xfrm>
            <a:custGeom>
              <a:avLst/>
              <a:gdLst/>
              <a:ahLst/>
              <a:cxnLst/>
              <a:rect l="l" t="t" r="r" b="b"/>
              <a:pathLst>
                <a:path w="4382" h="1001" extrusionOk="0">
                  <a:moveTo>
                    <a:pt x="4048" y="310"/>
                  </a:moveTo>
                  <a:cubicBezTo>
                    <a:pt x="4048" y="310"/>
                    <a:pt x="4072" y="310"/>
                    <a:pt x="4072" y="322"/>
                  </a:cubicBezTo>
                  <a:lnTo>
                    <a:pt x="4072" y="667"/>
                  </a:lnTo>
                  <a:lnTo>
                    <a:pt x="333" y="679"/>
                  </a:lnTo>
                  <a:cubicBezTo>
                    <a:pt x="333" y="679"/>
                    <a:pt x="322" y="679"/>
                    <a:pt x="322" y="667"/>
                  </a:cubicBezTo>
                  <a:lnTo>
                    <a:pt x="322" y="322"/>
                  </a:lnTo>
                  <a:cubicBezTo>
                    <a:pt x="322" y="322"/>
                    <a:pt x="322" y="310"/>
                    <a:pt x="333" y="310"/>
                  </a:cubicBezTo>
                  <a:close/>
                  <a:moveTo>
                    <a:pt x="333" y="0"/>
                  </a:moveTo>
                  <a:cubicBezTo>
                    <a:pt x="155" y="0"/>
                    <a:pt x="0" y="143"/>
                    <a:pt x="0" y="322"/>
                  </a:cubicBezTo>
                  <a:lnTo>
                    <a:pt x="0" y="667"/>
                  </a:lnTo>
                  <a:cubicBezTo>
                    <a:pt x="0" y="846"/>
                    <a:pt x="155" y="1000"/>
                    <a:pt x="333" y="1000"/>
                  </a:cubicBezTo>
                  <a:lnTo>
                    <a:pt x="4048" y="1000"/>
                  </a:lnTo>
                  <a:cubicBezTo>
                    <a:pt x="4227" y="1000"/>
                    <a:pt x="4382" y="846"/>
                    <a:pt x="4382" y="667"/>
                  </a:cubicBezTo>
                  <a:lnTo>
                    <a:pt x="4382" y="322"/>
                  </a:lnTo>
                  <a:cubicBezTo>
                    <a:pt x="4382" y="143"/>
                    <a:pt x="4227" y="0"/>
                    <a:pt x="4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8" name="Google Shape;11188;p60"/>
            <p:cNvSpPr/>
            <p:nvPr/>
          </p:nvSpPr>
          <p:spPr>
            <a:xfrm>
              <a:off x="7724577" y="3553001"/>
              <a:ext cx="107259" cy="31477"/>
            </a:xfrm>
            <a:custGeom>
              <a:avLst/>
              <a:gdLst/>
              <a:ahLst/>
              <a:cxnLst/>
              <a:rect l="l" t="t" r="r" b="b"/>
              <a:pathLst>
                <a:path w="3370" h="989" extrusionOk="0">
                  <a:moveTo>
                    <a:pt x="3036" y="310"/>
                  </a:moveTo>
                  <a:cubicBezTo>
                    <a:pt x="3036" y="310"/>
                    <a:pt x="3048" y="310"/>
                    <a:pt x="3048" y="322"/>
                  </a:cubicBezTo>
                  <a:lnTo>
                    <a:pt x="3048" y="667"/>
                  </a:lnTo>
                  <a:lnTo>
                    <a:pt x="334" y="679"/>
                  </a:lnTo>
                  <a:cubicBezTo>
                    <a:pt x="334" y="679"/>
                    <a:pt x="310" y="679"/>
                    <a:pt x="310" y="667"/>
                  </a:cubicBezTo>
                  <a:lnTo>
                    <a:pt x="310" y="322"/>
                  </a:lnTo>
                  <a:cubicBezTo>
                    <a:pt x="310" y="322"/>
                    <a:pt x="310" y="310"/>
                    <a:pt x="334" y="310"/>
                  </a:cubicBezTo>
                  <a:close/>
                  <a:moveTo>
                    <a:pt x="334" y="1"/>
                  </a:moveTo>
                  <a:cubicBezTo>
                    <a:pt x="143" y="1"/>
                    <a:pt x="0" y="144"/>
                    <a:pt x="0" y="322"/>
                  </a:cubicBezTo>
                  <a:lnTo>
                    <a:pt x="0" y="667"/>
                  </a:lnTo>
                  <a:cubicBezTo>
                    <a:pt x="0" y="846"/>
                    <a:pt x="143" y="989"/>
                    <a:pt x="334" y="989"/>
                  </a:cubicBezTo>
                  <a:lnTo>
                    <a:pt x="3036" y="989"/>
                  </a:lnTo>
                  <a:cubicBezTo>
                    <a:pt x="3215" y="989"/>
                    <a:pt x="3370" y="846"/>
                    <a:pt x="3370" y="667"/>
                  </a:cubicBezTo>
                  <a:lnTo>
                    <a:pt x="3370" y="322"/>
                  </a:lnTo>
                  <a:cubicBezTo>
                    <a:pt x="3370" y="144"/>
                    <a:pt x="3227" y="1"/>
                    <a:pt x="3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9" name="Google Shape;11189;p60"/>
            <p:cNvSpPr/>
            <p:nvPr/>
          </p:nvSpPr>
          <p:spPr>
            <a:xfrm>
              <a:off x="7724577" y="3595841"/>
              <a:ext cx="64451" cy="10630"/>
            </a:xfrm>
            <a:custGeom>
              <a:avLst/>
              <a:gdLst/>
              <a:ahLst/>
              <a:cxnLst/>
              <a:rect l="l" t="t" r="r" b="b"/>
              <a:pathLst>
                <a:path w="2025" h="334" extrusionOk="0">
                  <a:moveTo>
                    <a:pt x="167" y="0"/>
                  </a:moveTo>
                  <a:cubicBezTo>
                    <a:pt x="72" y="0"/>
                    <a:pt x="0" y="83"/>
                    <a:pt x="0" y="167"/>
                  </a:cubicBezTo>
                  <a:cubicBezTo>
                    <a:pt x="0" y="262"/>
                    <a:pt x="72" y="333"/>
                    <a:pt x="167" y="333"/>
                  </a:cubicBezTo>
                  <a:lnTo>
                    <a:pt x="1858" y="333"/>
                  </a:lnTo>
                  <a:cubicBezTo>
                    <a:pt x="1953" y="333"/>
                    <a:pt x="2024" y="262"/>
                    <a:pt x="2024" y="167"/>
                  </a:cubicBezTo>
                  <a:cubicBezTo>
                    <a:pt x="2012" y="83"/>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0" name="Google Shape;11190;p60"/>
            <p:cNvSpPr/>
            <p:nvPr/>
          </p:nvSpPr>
          <p:spPr>
            <a:xfrm>
              <a:off x="7799977" y="3595841"/>
              <a:ext cx="32241" cy="10630"/>
            </a:xfrm>
            <a:custGeom>
              <a:avLst/>
              <a:gdLst/>
              <a:ahLst/>
              <a:cxnLst/>
              <a:rect l="l" t="t" r="r" b="b"/>
              <a:pathLst>
                <a:path w="1013" h="334" extrusionOk="0">
                  <a:moveTo>
                    <a:pt x="167" y="0"/>
                  </a:moveTo>
                  <a:cubicBezTo>
                    <a:pt x="72" y="0"/>
                    <a:pt x="1" y="83"/>
                    <a:pt x="1" y="167"/>
                  </a:cubicBezTo>
                  <a:cubicBezTo>
                    <a:pt x="1" y="262"/>
                    <a:pt x="72" y="333"/>
                    <a:pt x="167" y="333"/>
                  </a:cubicBezTo>
                  <a:lnTo>
                    <a:pt x="846" y="333"/>
                  </a:lnTo>
                  <a:cubicBezTo>
                    <a:pt x="941" y="333"/>
                    <a:pt x="1013" y="262"/>
                    <a:pt x="1013" y="167"/>
                  </a:cubicBezTo>
                  <a:cubicBezTo>
                    <a:pt x="1001" y="83"/>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1" name="Google Shape;11191;p60"/>
            <p:cNvSpPr/>
            <p:nvPr/>
          </p:nvSpPr>
          <p:spPr>
            <a:xfrm>
              <a:off x="7724577" y="3628051"/>
              <a:ext cx="21229" cy="10630"/>
            </a:xfrm>
            <a:custGeom>
              <a:avLst/>
              <a:gdLst/>
              <a:ahLst/>
              <a:cxnLst/>
              <a:rect l="l" t="t" r="r" b="b"/>
              <a:pathLst>
                <a:path w="667" h="334" extrusionOk="0">
                  <a:moveTo>
                    <a:pt x="167" y="0"/>
                  </a:moveTo>
                  <a:cubicBezTo>
                    <a:pt x="72" y="0"/>
                    <a:pt x="0" y="83"/>
                    <a:pt x="0" y="167"/>
                  </a:cubicBezTo>
                  <a:cubicBezTo>
                    <a:pt x="0" y="262"/>
                    <a:pt x="72" y="333"/>
                    <a:pt x="167" y="333"/>
                  </a:cubicBezTo>
                  <a:lnTo>
                    <a:pt x="512" y="333"/>
                  </a:lnTo>
                  <a:cubicBezTo>
                    <a:pt x="595" y="333"/>
                    <a:pt x="667" y="262"/>
                    <a:pt x="667" y="167"/>
                  </a:cubicBezTo>
                  <a:cubicBezTo>
                    <a:pt x="667" y="83"/>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2" name="Google Shape;11192;p60"/>
            <p:cNvSpPr/>
            <p:nvPr/>
          </p:nvSpPr>
          <p:spPr>
            <a:xfrm>
              <a:off x="7756787" y="3628051"/>
              <a:ext cx="53438" cy="10630"/>
            </a:xfrm>
            <a:custGeom>
              <a:avLst/>
              <a:gdLst/>
              <a:ahLst/>
              <a:cxnLst/>
              <a:rect l="l" t="t" r="r" b="b"/>
              <a:pathLst>
                <a:path w="1679" h="334" extrusionOk="0">
                  <a:moveTo>
                    <a:pt x="167" y="0"/>
                  </a:moveTo>
                  <a:cubicBezTo>
                    <a:pt x="72" y="0"/>
                    <a:pt x="0" y="83"/>
                    <a:pt x="0" y="167"/>
                  </a:cubicBezTo>
                  <a:cubicBezTo>
                    <a:pt x="0" y="262"/>
                    <a:pt x="72" y="333"/>
                    <a:pt x="167" y="333"/>
                  </a:cubicBezTo>
                  <a:lnTo>
                    <a:pt x="1524" y="333"/>
                  </a:lnTo>
                  <a:cubicBezTo>
                    <a:pt x="1608" y="333"/>
                    <a:pt x="1679" y="262"/>
                    <a:pt x="1679" y="167"/>
                  </a:cubicBezTo>
                  <a:cubicBezTo>
                    <a:pt x="1679" y="83"/>
                    <a:pt x="1608" y="0"/>
                    <a:pt x="1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3" name="Google Shape;11193;p60"/>
            <p:cNvSpPr/>
            <p:nvPr/>
          </p:nvSpPr>
          <p:spPr>
            <a:xfrm>
              <a:off x="7724577" y="3650012"/>
              <a:ext cx="21229" cy="10280"/>
            </a:xfrm>
            <a:custGeom>
              <a:avLst/>
              <a:gdLst/>
              <a:ahLst/>
              <a:cxnLst/>
              <a:rect l="l" t="t" r="r" b="b"/>
              <a:pathLst>
                <a:path w="667" h="323" extrusionOk="0">
                  <a:moveTo>
                    <a:pt x="167" y="1"/>
                  </a:moveTo>
                  <a:cubicBezTo>
                    <a:pt x="72" y="1"/>
                    <a:pt x="0" y="72"/>
                    <a:pt x="0" y="167"/>
                  </a:cubicBezTo>
                  <a:cubicBezTo>
                    <a:pt x="0" y="251"/>
                    <a:pt x="72" y="322"/>
                    <a:pt x="167" y="322"/>
                  </a:cubicBezTo>
                  <a:lnTo>
                    <a:pt x="512" y="322"/>
                  </a:lnTo>
                  <a:cubicBezTo>
                    <a:pt x="595" y="322"/>
                    <a:pt x="667" y="251"/>
                    <a:pt x="667" y="167"/>
                  </a:cubicBezTo>
                  <a:cubicBezTo>
                    <a:pt x="655"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4" name="Google Shape;11194;p60"/>
            <p:cNvSpPr/>
            <p:nvPr/>
          </p:nvSpPr>
          <p:spPr>
            <a:xfrm>
              <a:off x="7756787" y="3650012"/>
              <a:ext cx="53438" cy="10280"/>
            </a:xfrm>
            <a:custGeom>
              <a:avLst/>
              <a:gdLst/>
              <a:ahLst/>
              <a:cxnLst/>
              <a:rect l="l" t="t" r="r" b="b"/>
              <a:pathLst>
                <a:path w="1679" h="323" extrusionOk="0">
                  <a:moveTo>
                    <a:pt x="167" y="1"/>
                  </a:moveTo>
                  <a:cubicBezTo>
                    <a:pt x="72" y="1"/>
                    <a:pt x="0" y="72"/>
                    <a:pt x="0" y="167"/>
                  </a:cubicBezTo>
                  <a:cubicBezTo>
                    <a:pt x="0" y="251"/>
                    <a:pt x="72" y="322"/>
                    <a:pt x="167" y="322"/>
                  </a:cubicBezTo>
                  <a:lnTo>
                    <a:pt x="1524" y="322"/>
                  </a:lnTo>
                  <a:cubicBezTo>
                    <a:pt x="1608" y="322"/>
                    <a:pt x="1679" y="251"/>
                    <a:pt x="1679" y="167"/>
                  </a:cubicBezTo>
                  <a:cubicBezTo>
                    <a:pt x="1679" y="72"/>
                    <a:pt x="1608" y="1"/>
                    <a:pt x="1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5" name="Google Shape;11195;p60"/>
            <p:cNvSpPr/>
            <p:nvPr/>
          </p:nvSpPr>
          <p:spPr>
            <a:xfrm>
              <a:off x="7719262" y="3466621"/>
              <a:ext cx="10630" cy="10630"/>
            </a:xfrm>
            <a:custGeom>
              <a:avLst/>
              <a:gdLst/>
              <a:ahLst/>
              <a:cxnLst/>
              <a:rect l="l" t="t" r="r" b="b"/>
              <a:pathLst>
                <a:path w="334" h="334" extrusionOk="0">
                  <a:moveTo>
                    <a:pt x="167" y="0"/>
                  </a:moveTo>
                  <a:cubicBezTo>
                    <a:pt x="84" y="0"/>
                    <a:pt x="0" y="71"/>
                    <a:pt x="0" y="167"/>
                  </a:cubicBezTo>
                  <a:cubicBezTo>
                    <a:pt x="0" y="250"/>
                    <a:pt x="84" y="333"/>
                    <a:pt x="167" y="333"/>
                  </a:cubicBezTo>
                  <a:cubicBezTo>
                    <a:pt x="262" y="333"/>
                    <a:pt x="334" y="250"/>
                    <a:pt x="334" y="167"/>
                  </a:cubicBezTo>
                  <a:cubicBezTo>
                    <a:pt x="322" y="60"/>
                    <a:pt x="239"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96" name="Google Shape;11196;p60"/>
          <p:cNvGrpSpPr/>
          <p:nvPr/>
        </p:nvGrpSpPr>
        <p:grpSpPr>
          <a:xfrm>
            <a:off x="6707084" y="3387403"/>
            <a:ext cx="261145" cy="308504"/>
            <a:chOff x="6707084" y="3387403"/>
            <a:chExt cx="261145" cy="308504"/>
          </a:xfrm>
        </p:grpSpPr>
        <p:sp>
          <p:nvSpPr>
            <p:cNvPr id="11197" name="Google Shape;11197;p60"/>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8" name="Google Shape;11198;p60"/>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9" name="Google Shape;11199;p60"/>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0" name="Google Shape;11200;p60"/>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1" name="Google Shape;11201;p60"/>
          <p:cNvGrpSpPr/>
          <p:nvPr/>
        </p:nvGrpSpPr>
        <p:grpSpPr>
          <a:xfrm>
            <a:off x="848978" y="4297637"/>
            <a:ext cx="377824" cy="324418"/>
            <a:chOff x="848978" y="4297637"/>
            <a:chExt cx="377824" cy="324418"/>
          </a:xfrm>
        </p:grpSpPr>
        <p:sp>
          <p:nvSpPr>
            <p:cNvPr id="11202" name="Google Shape;11202;p60"/>
            <p:cNvSpPr/>
            <p:nvPr/>
          </p:nvSpPr>
          <p:spPr>
            <a:xfrm>
              <a:off x="848978" y="4297637"/>
              <a:ext cx="377824" cy="324418"/>
            </a:xfrm>
            <a:custGeom>
              <a:avLst/>
              <a:gdLst/>
              <a:ahLst/>
              <a:cxnLst/>
              <a:rect l="l" t="t" r="r" b="b"/>
              <a:pathLst>
                <a:path w="11871" h="10193" extrusionOk="0">
                  <a:moveTo>
                    <a:pt x="6787" y="358"/>
                  </a:moveTo>
                  <a:cubicBezTo>
                    <a:pt x="6965" y="358"/>
                    <a:pt x="7132" y="465"/>
                    <a:pt x="7168" y="655"/>
                  </a:cubicBezTo>
                  <a:lnTo>
                    <a:pt x="7382" y="1679"/>
                  </a:lnTo>
                  <a:lnTo>
                    <a:pt x="4465" y="1679"/>
                  </a:lnTo>
                  <a:lnTo>
                    <a:pt x="4703" y="655"/>
                  </a:lnTo>
                  <a:cubicBezTo>
                    <a:pt x="4751" y="465"/>
                    <a:pt x="4906" y="358"/>
                    <a:pt x="5084" y="358"/>
                  </a:cubicBezTo>
                  <a:close/>
                  <a:moveTo>
                    <a:pt x="2786" y="2024"/>
                  </a:moveTo>
                  <a:lnTo>
                    <a:pt x="2786" y="5751"/>
                  </a:lnTo>
                  <a:lnTo>
                    <a:pt x="2381" y="5751"/>
                  </a:lnTo>
                  <a:lnTo>
                    <a:pt x="2381" y="2024"/>
                  </a:lnTo>
                  <a:close/>
                  <a:moveTo>
                    <a:pt x="9478" y="2024"/>
                  </a:moveTo>
                  <a:lnTo>
                    <a:pt x="9478" y="5751"/>
                  </a:lnTo>
                  <a:lnTo>
                    <a:pt x="9085" y="5751"/>
                  </a:lnTo>
                  <a:lnTo>
                    <a:pt x="9085" y="2024"/>
                  </a:lnTo>
                  <a:close/>
                  <a:moveTo>
                    <a:pt x="2048" y="2024"/>
                  </a:moveTo>
                  <a:lnTo>
                    <a:pt x="2048" y="5751"/>
                  </a:lnTo>
                  <a:lnTo>
                    <a:pt x="2024" y="5751"/>
                  </a:lnTo>
                  <a:cubicBezTo>
                    <a:pt x="1834" y="5751"/>
                    <a:pt x="1667" y="5918"/>
                    <a:pt x="1667" y="6108"/>
                  </a:cubicBezTo>
                  <a:lnTo>
                    <a:pt x="1667" y="6501"/>
                  </a:lnTo>
                  <a:lnTo>
                    <a:pt x="1655" y="6501"/>
                  </a:lnTo>
                  <a:cubicBezTo>
                    <a:pt x="929" y="6501"/>
                    <a:pt x="345" y="5906"/>
                    <a:pt x="345" y="5191"/>
                  </a:cubicBezTo>
                  <a:lnTo>
                    <a:pt x="345" y="2584"/>
                  </a:lnTo>
                  <a:cubicBezTo>
                    <a:pt x="345" y="2274"/>
                    <a:pt x="595" y="2024"/>
                    <a:pt x="917" y="2024"/>
                  </a:cubicBezTo>
                  <a:close/>
                  <a:moveTo>
                    <a:pt x="8727" y="2024"/>
                  </a:moveTo>
                  <a:lnTo>
                    <a:pt x="8727" y="5751"/>
                  </a:lnTo>
                  <a:lnTo>
                    <a:pt x="8716" y="5751"/>
                  </a:lnTo>
                  <a:cubicBezTo>
                    <a:pt x="8513" y="5751"/>
                    <a:pt x="8358" y="5918"/>
                    <a:pt x="8358" y="6108"/>
                  </a:cubicBezTo>
                  <a:lnTo>
                    <a:pt x="8358" y="6501"/>
                  </a:lnTo>
                  <a:lnTo>
                    <a:pt x="3501" y="6501"/>
                  </a:lnTo>
                  <a:lnTo>
                    <a:pt x="3501" y="6108"/>
                  </a:lnTo>
                  <a:cubicBezTo>
                    <a:pt x="3501" y="5918"/>
                    <a:pt x="3334" y="5751"/>
                    <a:pt x="3143" y="5751"/>
                  </a:cubicBezTo>
                  <a:lnTo>
                    <a:pt x="3132" y="5751"/>
                  </a:lnTo>
                  <a:lnTo>
                    <a:pt x="3132" y="2024"/>
                  </a:lnTo>
                  <a:close/>
                  <a:moveTo>
                    <a:pt x="10942" y="2024"/>
                  </a:moveTo>
                  <a:cubicBezTo>
                    <a:pt x="11252" y="2024"/>
                    <a:pt x="11514" y="2274"/>
                    <a:pt x="11514" y="2584"/>
                  </a:cubicBezTo>
                  <a:lnTo>
                    <a:pt x="11514" y="5191"/>
                  </a:lnTo>
                  <a:cubicBezTo>
                    <a:pt x="11514" y="5906"/>
                    <a:pt x="10930" y="6501"/>
                    <a:pt x="10204" y="6501"/>
                  </a:cubicBezTo>
                  <a:lnTo>
                    <a:pt x="10180" y="6108"/>
                  </a:lnTo>
                  <a:cubicBezTo>
                    <a:pt x="10180" y="5918"/>
                    <a:pt x="10025" y="5751"/>
                    <a:pt x="9823" y="5751"/>
                  </a:cubicBezTo>
                  <a:lnTo>
                    <a:pt x="9811" y="5751"/>
                  </a:lnTo>
                  <a:lnTo>
                    <a:pt x="9811" y="2024"/>
                  </a:lnTo>
                  <a:close/>
                  <a:moveTo>
                    <a:pt x="3143" y="6096"/>
                  </a:moveTo>
                  <a:cubicBezTo>
                    <a:pt x="3143" y="6096"/>
                    <a:pt x="3155" y="6096"/>
                    <a:pt x="3155" y="6108"/>
                  </a:cubicBezTo>
                  <a:lnTo>
                    <a:pt x="3155" y="7037"/>
                  </a:lnTo>
                  <a:cubicBezTo>
                    <a:pt x="3155" y="7037"/>
                    <a:pt x="3155" y="7049"/>
                    <a:pt x="3143" y="7049"/>
                  </a:cubicBezTo>
                  <a:lnTo>
                    <a:pt x="2024" y="7049"/>
                  </a:lnTo>
                  <a:cubicBezTo>
                    <a:pt x="2024" y="7049"/>
                    <a:pt x="2012" y="7049"/>
                    <a:pt x="2012" y="7037"/>
                  </a:cubicBezTo>
                  <a:lnTo>
                    <a:pt x="2012" y="6108"/>
                  </a:lnTo>
                  <a:cubicBezTo>
                    <a:pt x="2012" y="6108"/>
                    <a:pt x="2012" y="6096"/>
                    <a:pt x="2024" y="6096"/>
                  </a:cubicBezTo>
                  <a:lnTo>
                    <a:pt x="2417" y="6096"/>
                  </a:lnTo>
                  <a:lnTo>
                    <a:pt x="2417" y="6489"/>
                  </a:lnTo>
                  <a:cubicBezTo>
                    <a:pt x="2417" y="6585"/>
                    <a:pt x="2489" y="6668"/>
                    <a:pt x="2584" y="6668"/>
                  </a:cubicBezTo>
                  <a:cubicBezTo>
                    <a:pt x="2667" y="6668"/>
                    <a:pt x="2762" y="6585"/>
                    <a:pt x="2762" y="6489"/>
                  </a:cubicBezTo>
                  <a:lnTo>
                    <a:pt x="2762" y="6096"/>
                  </a:lnTo>
                  <a:close/>
                  <a:moveTo>
                    <a:pt x="9847" y="6108"/>
                  </a:moveTo>
                  <a:cubicBezTo>
                    <a:pt x="9847" y="6108"/>
                    <a:pt x="9859" y="6108"/>
                    <a:pt x="9859" y="6120"/>
                  </a:cubicBezTo>
                  <a:lnTo>
                    <a:pt x="9847" y="7049"/>
                  </a:lnTo>
                  <a:lnTo>
                    <a:pt x="8716" y="7061"/>
                  </a:lnTo>
                  <a:cubicBezTo>
                    <a:pt x="8716" y="7061"/>
                    <a:pt x="8692" y="7061"/>
                    <a:pt x="8692" y="7049"/>
                  </a:cubicBezTo>
                  <a:lnTo>
                    <a:pt x="8692" y="6120"/>
                  </a:lnTo>
                  <a:cubicBezTo>
                    <a:pt x="8692" y="6120"/>
                    <a:pt x="8692" y="6108"/>
                    <a:pt x="8716" y="6108"/>
                  </a:cubicBezTo>
                  <a:lnTo>
                    <a:pt x="9097" y="6108"/>
                  </a:lnTo>
                  <a:lnTo>
                    <a:pt x="9097" y="6501"/>
                  </a:lnTo>
                  <a:cubicBezTo>
                    <a:pt x="9097" y="6585"/>
                    <a:pt x="9168" y="6680"/>
                    <a:pt x="9275" y="6680"/>
                  </a:cubicBezTo>
                  <a:cubicBezTo>
                    <a:pt x="9370" y="6680"/>
                    <a:pt x="9454" y="6608"/>
                    <a:pt x="9454" y="6501"/>
                  </a:cubicBezTo>
                  <a:lnTo>
                    <a:pt x="9454" y="6108"/>
                  </a:lnTo>
                  <a:close/>
                  <a:moveTo>
                    <a:pt x="703" y="6561"/>
                  </a:moveTo>
                  <a:cubicBezTo>
                    <a:pt x="976" y="6739"/>
                    <a:pt x="1298" y="6858"/>
                    <a:pt x="1643" y="6858"/>
                  </a:cubicBezTo>
                  <a:lnTo>
                    <a:pt x="1655" y="6858"/>
                  </a:lnTo>
                  <a:lnTo>
                    <a:pt x="1655" y="7049"/>
                  </a:lnTo>
                  <a:cubicBezTo>
                    <a:pt x="1655" y="7239"/>
                    <a:pt x="1822" y="7406"/>
                    <a:pt x="2012" y="7406"/>
                  </a:cubicBezTo>
                  <a:lnTo>
                    <a:pt x="2774" y="7406"/>
                  </a:lnTo>
                  <a:lnTo>
                    <a:pt x="2774" y="9847"/>
                  </a:lnTo>
                  <a:lnTo>
                    <a:pt x="2381" y="9847"/>
                  </a:lnTo>
                  <a:lnTo>
                    <a:pt x="2381" y="7978"/>
                  </a:lnTo>
                  <a:cubicBezTo>
                    <a:pt x="2381" y="7882"/>
                    <a:pt x="2310" y="7799"/>
                    <a:pt x="2203" y="7799"/>
                  </a:cubicBezTo>
                  <a:cubicBezTo>
                    <a:pt x="2108" y="7799"/>
                    <a:pt x="2024" y="7870"/>
                    <a:pt x="2024" y="7978"/>
                  </a:cubicBezTo>
                  <a:lnTo>
                    <a:pt x="2024" y="9847"/>
                  </a:lnTo>
                  <a:lnTo>
                    <a:pt x="1096" y="9847"/>
                  </a:lnTo>
                  <a:cubicBezTo>
                    <a:pt x="881" y="9847"/>
                    <a:pt x="703" y="9668"/>
                    <a:pt x="703" y="9466"/>
                  </a:cubicBezTo>
                  <a:lnTo>
                    <a:pt x="703" y="6561"/>
                  </a:lnTo>
                  <a:close/>
                  <a:moveTo>
                    <a:pt x="8335" y="6858"/>
                  </a:moveTo>
                  <a:lnTo>
                    <a:pt x="8335" y="7049"/>
                  </a:lnTo>
                  <a:cubicBezTo>
                    <a:pt x="8335" y="7239"/>
                    <a:pt x="8501" y="7406"/>
                    <a:pt x="8692" y="7406"/>
                  </a:cubicBezTo>
                  <a:lnTo>
                    <a:pt x="9454" y="7406"/>
                  </a:lnTo>
                  <a:lnTo>
                    <a:pt x="9466" y="9847"/>
                  </a:lnTo>
                  <a:lnTo>
                    <a:pt x="9073" y="9847"/>
                  </a:lnTo>
                  <a:lnTo>
                    <a:pt x="9073" y="7978"/>
                  </a:lnTo>
                  <a:cubicBezTo>
                    <a:pt x="9073" y="7882"/>
                    <a:pt x="8989" y="7799"/>
                    <a:pt x="8894" y="7799"/>
                  </a:cubicBezTo>
                  <a:cubicBezTo>
                    <a:pt x="8787" y="7799"/>
                    <a:pt x="8716" y="7870"/>
                    <a:pt x="8716" y="7978"/>
                  </a:cubicBezTo>
                  <a:lnTo>
                    <a:pt x="8716" y="9847"/>
                  </a:lnTo>
                  <a:lnTo>
                    <a:pt x="3120" y="9847"/>
                  </a:lnTo>
                  <a:lnTo>
                    <a:pt x="3120" y="7406"/>
                  </a:lnTo>
                  <a:lnTo>
                    <a:pt x="3132" y="7406"/>
                  </a:lnTo>
                  <a:cubicBezTo>
                    <a:pt x="3322" y="7406"/>
                    <a:pt x="3489" y="7239"/>
                    <a:pt x="3489" y="7049"/>
                  </a:cubicBezTo>
                  <a:lnTo>
                    <a:pt x="3489" y="6858"/>
                  </a:lnTo>
                  <a:close/>
                  <a:moveTo>
                    <a:pt x="11133" y="6561"/>
                  </a:moveTo>
                  <a:lnTo>
                    <a:pt x="11133" y="9466"/>
                  </a:lnTo>
                  <a:cubicBezTo>
                    <a:pt x="11133" y="9668"/>
                    <a:pt x="10954" y="9847"/>
                    <a:pt x="10752" y="9847"/>
                  </a:cubicBezTo>
                  <a:lnTo>
                    <a:pt x="9811" y="9847"/>
                  </a:lnTo>
                  <a:lnTo>
                    <a:pt x="9811" y="7406"/>
                  </a:lnTo>
                  <a:lnTo>
                    <a:pt x="9823" y="7406"/>
                  </a:lnTo>
                  <a:cubicBezTo>
                    <a:pt x="10025" y="7406"/>
                    <a:pt x="10180" y="7239"/>
                    <a:pt x="10180" y="7049"/>
                  </a:cubicBezTo>
                  <a:lnTo>
                    <a:pt x="10180" y="6858"/>
                  </a:lnTo>
                  <a:lnTo>
                    <a:pt x="10204" y="6858"/>
                  </a:lnTo>
                  <a:cubicBezTo>
                    <a:pt x="10537" y="6858"/>
                    <a:pt x="10871" y="6751"/>
                    <a:pt x="11133" y="6561"/>
                  </a:cubicBezTo>
                  <a:close/>
                  <a:moveTo>
                    <a:pt x="5084" y="0"/>
                  </a:moveTo>
                  <a:cubicBezTo>
                    <a:pt x="4739" y="0"/>
                    <a:pt x="4441" y="238"/>
                    <a:pt x="4358" y="560"/>
                  </a:cubicBezTo>
                  <a:lnTo>
                    <a:pt x="4120" y="1667"/>
                  </a:lnTo>
                  <a:lnTo>
                    <a:pt x="929" y="1667"/>
                  </a:lnTo>
                  <a:cubicBezTo>
                    <a:pt x="417" y="1667"/>
                    <a:pt x="0" y="2084"/>
                    <a:pt x="0" y="2584"/>
                  </a:cubicBezTo>
                  <a:lnTo>
                    <a:pt x="0" y="5191"/>
                  </a:lnTo>
                  <a:cubicBezTo>
                    <a:pt x="0" y="5596"/>
                    <a:pt x="143" y="5953"/>
                    <a:pt x="381" y="6227"/>
                  </a:cubicBezTo>
                  <a:lnTo>
                    <a:pt x="381" y="9466"/>
                  </a:lnTo>
                  <a:cubicBezTo>
                    <a:pt x="381" y="9859"/>
                    <a:pt x="703" y="10192"/>
                    <a:pt x="1107" y="10192"/>
                  </a:cubicBezTo>
                  <a:lnTo>
                    <a:pt x="10763" y="10192"/>
                  </a:lnTo>
                  <a:cubicBezTo>
                    <a:pt x="11168" y="10192"/>
                    <a:pt x="11490" y="9859"/>
                    <a:pt x="11490" y="9466"/>
                  </a:cubicBezTo>
                  <a:lnTo>
                    <a:pt x="11490" y="6227"/>
                  </a:lnTo>
                  <a:cubicBezTo>
                    <a:pt x="11728" y="5953"/>
                    <a:pt x="11871" y="5572"/>
                    <a:pt x="11871" y="5191"/>
                  </a:cubicBezTo>
                  <a:lnTo>
                    <a:pt x="11871" y="2584"/>
                  </a:lnTo>
                  <a:cubicBezTo>
                    <a:pt x="11871" y="2084"/>
                    <a:pt x="11454" y="1667"/>
                    <a:pt x="10942" y="1667"/>
                  </a:cubicBezTo>
                  <a:lnTo>
                    <a:pt x="7739" y="1667"/>
                  </a:lnTo>
                  <a:lnTo>
                    <a:pt x="7501" y="560"/>
                  </a:lnTo>
                  <a:cubicBezTo>
                    <a:pt x="7430" y="215"/>
                    <a:pt x="7132" y="0"/>
                    <a:pt x="6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3" name="Google Shape;11203;p60"/>
            <p:cNvSpPr/>
            <p:nvPr/>
          </p:nvSpPr>
          <p:spPr>
            <a:xfrm>
              <a:off x="1002450" y="4457157"/>
              <a:ext cx="70116" cy="34533"/>
            </a:xfrm>
            <a:custGeom>
              <a:avLst/>
              <a:gdLst/>
              <a:ahLst/>
              <a:cxnLst/>
              <a:rect l="l" t="t" r="r" b="b"/>
              <a:pathLst>
                <a:path w="2203" h="1085" extrusionOk="0">
                  <a:moveTo>
                    <a:pt x="357" y="1"/>
                  </a:moveTo>
                  <a:cubicBezTo>
                    <a:pt x="167" y="1"/>
                    <a:pt x="0" y="168"/>
                    <a:pt x="0" y="358"/>
                  </a:cubicBezTo>
                  <a:lnTo>
                    <a:pt x="0" y="727"/>
                  </a:lnTo>
                  <a:cubicBezTo>
                    <a:pt x="0" y="918"/>
                    <a:pt x="167" y="1084"/>
                    <a:pt x="357" y="1084"/>
                  </a:cubicBezTo>
                  <a:lnTo>
                    <a:pt x="1846" y="1084"/>
                  </a:lnTo>
                  <a:cubicBezTo>
                    <a:pt x="2048" y="1084"/>
                    <a:pt x="2203" y="918"/>
                    <a:pt x="2203" y="727"/>
                  </a:cubicBezTo>
                  <a:lnTo>
                    <a:pt x="2203" y="358"/>
                  </a:lnTo>
                  <a:cubicBezTo>
                    <a:pt x="2203" y="168"/>
                    <a:pt x="2048" y="1"/>
                    <a:pt x="1846" y="1"/>
                  </a:cubicBezTo>
                  <a:lnTo>
                    <a:pt x="1667" y="1"/>
                  </a:lnTo>
                  <a:cubicBezTo>
                    <a:pt x="1584" y="1"/>
                    <a:pt x="1488" y="72"/>
                    <a:pt x="1488" y="179"/>
                  </a:cubicBezTo>
                  <a:cubicBezTo>
                    <a:pt x="1488" y="287"/>
                    <a:pt x="1572" y="358"/>
                    <a:pt x="1667" y="358"/>
                  </a:cubicBezTo>
                  <a:lnTo>
                    <a:pt x="1846" y="358"/>
                  </a:lnTo>
                  <a:cubicBezTo>
                    <a:pt x="1846" y="358"/>
                    <a:pt x="1869" y="358"/>
                    <a:pt x="1869" y="370"/>
                  </a:cubicBezTo>
                  <a:lnTo>
                    <a:pt x="1869" y="739"/>
                  </a:lnTo>
                  <a:cubicBezTo>
                    <a:pt x="1869" y="739"/>
                    <a:pt x="1869" y="763"/>
                    <a:pt x="1846" y="763"/>
                  </a:cubicBezTo>
                  <a:lnTo>
                    <a:pt x="357" y="763"/>
                  </a:lnTo>
                  <a:cubicBezTo>
                    <a:pt x="357" y="763"/>
                    <a:pt x="345" y="763"/>
                    <a:pt x="345" y="739"/>
                  </a:cubicBezTo>
                  <a:lnTo>
                    <a:pt x="345" y="370"/>
                  </a:lnTo>
                  <a:cubicBezTo>
                    <a:pt x="345" y="370"/>
                    <a:pt x="345" y="358"/>
                    <a:pt x="357" y="358"/>
                  </a:cubicBezTo>
                  <a:lnTo>
                    <a:pt x="917" y="358"/>
                  </a:lnTo>
                  <a:cubicBezTo>
                    <a:pt x="1000" y="358"/>
                    <a:pt x="1084" y="287"/>
                    <a:pt x="1084" y="179"/>
                  </a:cubicBezTo>
                  <a:cubicBezTo>
                    <a:pt x="1084" y="72"/>
                    <a:pt x="1012"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04" name="Google Shape;11204;p60"/>
          <p:cNvGrpSpPr/>
          <p:nvPr/>
        </p:nvGrpSpPr>
        <p:grpSpPr>
          <a:xfrm>
            <a:off x="1754279" y="4286593"/>
            <a:ext cx="351439" cy="345965"/>
            <a:chOff x="1754279" y="4286593"/>
            <a:chExt cx="351439" cy="345965"/>
          </a:xfrm>
        </p:grpSpPr>
        <p:sp>
          <p:nvSpPr>
            <p:cNvPr id="11205" name="Google Shape;11205;p60"/>
            <p:cNvSpPr/>
            <p:nvPr/>
          </p:nvSpPr>
          <p:spPr>
            <a:xfrm>
              <a:off x="1799379" y="4550857"/>
              <a:ext cx="28422" cy="27117"/>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6" name="Google Shape;11206;p60"/>
            <p:cNvSpPr/>
            <p:nvPr/>
          </p:nvSpPr>
          <p:spPr>
            <a:xfrm>
              <a:off x="1833084" y="4584594"/>
              <a:ext cx="27690" cy="27117"/>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7" name="Google Shape;11207;p60"/>
            <p:cNvSpPr/>
            <p:nvPr/>
          </p:nvSpPr>
          <p:spPr>
            <a:xfrm>
              <a:off x="1816407" y="4567917"/>
              <a:ext cx="28072" cy="27117"/>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8" name="Google Shape;11208;p60"/>
            <p:cNvSpPr/>
            <p:nvPr/>
          </p:nvSpPr>
          <p:spPr>
            <a:xfrm>
              <a:off x="1754279" y="4286593"/>
              <a:ext cx="351439" cy="345965"/>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9" name="Google Shape;11209;p60"/>
            <p:cNvSpPr/>
            <p:nvPr/>
          </p:nvSpPr>
          <p:spPr>
            <a:xfrm>
              <a:off x="1951705" y="4367117"/>
              <a:ext cx="86062" cy="65437"/>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0" name="Google Shape;11210;p60"/>
          <p:cNvGrpSpPr/>
          <p:nvPr/>
        </p:nvGrpSpPr>
        <p:grpSpPr>
          <a:xfrm>
            <a:off x="3996113" y="4291176"/>
            <a:ext cx="336512" cy="335048"/>
            <a:chOff x="3996113" y="4291176"/>
            <a:chExt cx="336512" cy="335048"/>
          </a:xfrm>
        </p:grpSpPr>
        <p:sp>
          <p:nvSpPr>
            <p:cNvPr id="11211" name="Google Shape;11211;p60"/>
            <p:cNvSpPr/>
            <p:nvPr/>
          </p:nvSpPr>
          <p:spPr>
            <a:xfrm>
              <a:off x="4082143" y="4323386"/>
              <a:ext cx="111810" cy="219833"/>
            </a:xfrm>
            <a:custGeom>
              <a:avLst/>
              <a:gdLst/>
              <a:ahLst/>
              <a:cxnLst/>
              <a:rect l="l" t="t" r="r" b="b"/>
              <a:pathLst>
                <a:path w="3513" h="6907" extrusionOk="0">
                  <a:moveTo>
                    <a:pt x="1751" y="322"/>
                  </a:moveTo>
                  <a:cubicBezTo>
                    <a:pt x="1846" y="322"/>
                    <a:pt x="1929" y="394"/>
                    <a:pt x="1929" y="501"/>
                  </a:cubicBezTo>
                  <a:lnTo>
                    <a:pt x="1929" y="942"/>
                  </a:lnTo>
                  <a:cubicBezTo>
                    <a:pt x="1929" y="1037"/>
                    <a:pt x="2001" y="1096"/>
                    <a:pt x="2084" y="1096"/>
                  </a:cubicBezTo>
                  <a:cubicBezTo>
                    <a:pt x="2691" y="1108"/>
                    <a:pt x="3179" y="1596"/>
                    <a:pt x="3179" y="2204"/>
                  </a:cubicBezTo>
                  <a:lnTo>
                    <a:pt x="3179" y="2525"/>
                  </a:lnTo>
                  <a:cubicBezTo>
                    <a:pt x="3179" y="2608"/>
                    <a:pt x="3108" y="2704"/>
                    <a:pt x="3001" y="2704"/>
                  </a:cubicBezTo>
                  <a:cubicBezTo>
                    <a:pt x="2917" y="2704"/>
                    <a:pt x="2822" y="2620"/>
                    <a:pt x="2822" y="2525"/>
                  </a:cubicBezTo>
                  <a:lnTo>
                    <a:pt x="2822" y="2204"/>
                  </a:lnTo>
                  <a:cubicBezTo>
                    <a:pt x="2834" y="1787"/>
                    <a:pt x="2501" y="1454"/>
                    <a:pt x="2060" y="1454"/>
                  </a:cubicBezTo>
                  <a:lnTo>
                    <a:pt x="1608" y="1454"/>
                  </a:lnTo>
                  <a:cubicBezTo>
                    <a:pt x="1096" y="1454"/>
                    <a:pt x="679" y="1870"/>
                    <a:pt x="679" y="2370"/>
                  </a:cubicBezTo>
                  <a:cubicBezTo>
                    <a:pt x="679" y="2882"/>
                    <a:pt x="1096" y="3299"/>
                    <a:pt x="1608" y="3299"/>
                  </a:cubicBezTo>
                  <a:lnTo>
                    <a:pt x="1917" y="3299"/>
                  </a:lnTo>
                  <a:cubicBezTo>
                    <a:pt x="2620" y="3299"/>
                    <a:pt x="3191" y="3859"/>
                    <a:pt x="3191" y="4573"/>
                  </a:cubicBezTo>
                  <a:cubicBezTo>
                    <a:pt x="3191" y="5216"/>
                    <a:pt x="2715" y="5764"/>
                    <a:pt x="2084" y="5835"/>
                  </a:cubicBezTo>
                  <a:cubicBezTo>
                    <a:pt x="2001" y="5859"/>
                    <a:pt x="1941" y="5918"/>
                    <a:pt x="1941" y="5990"/>
                  </a:cubicBezTo>
                  <a:lnTo>
                    <a:pt x="1941" y="6454"/>
                  </a:lnTo>
                  <a:cubicBezTo>
                    <a:pt x="1941" y="6538"/>
                    <a:pt x="1870" y="6633"/>
                    <a:pt x="1762" y="6633"/>
                  </a:cubicBezTo>
                  <a:cubicBezTo>
                    <a:pt x="1667" y="6633"/>
                    <a:pt x="1584" y="6549"/>
                    <a:pt x="1584" y="6454"/>
                  </a:cubicBezTo>
                  <a:lnTo>
                    <a:pt x="1584" y="6002"/>
                  </a:lnTo>
                  <a:cubicBezTo>
                    <a:pt x="1584" y="5918"/>
                    <a:pt x="1512" y="5859"/>
                    <a:pt x="1441" y="5859"/>
                  </a:cubicBezTo>
                  <a:cubicBezTo>
                    <a:pt x="834" y="5835"/>
                    <a:pt x="334" y="5347"/>
                    <a:pt x="334" y="4740"/>
                  </a:cubicBezTo>
                  <a:cubicBezTo>
                    <a:pt x="334" y="4644"/>
                    <a:pt x="417" y="4561"/>
                    <a:pt x="512" y="4561"/>
                  </a:cubicBezTo>
                  <a:cubicBezTo>
                    <a:pt x="608" y="4561"/>
                    <a:pt x="691" y="4633"/>
                    <a:pt x="691" y="4740"/>
                  </a:cubicBezTo>
                  <a:cubicBezTo>
                    <a:pt x="691" y="5156"/>
                    <a:pt x="1036" y="5502"/>
                    <a:pt x="1453" y="5502"/>
                  </a:cubicBezTo>
                  <a:lnTo>
                    <a:pt x="1929" y="5502"/>
                  </a:lnTo>
                  <a:cubicBezTo>
                    <a:pt x="2441" y="5502"/>
                    <a:pt x="2858" y="5085"/>
                    <a:pt x="2858" y="4573"/>
                  </a:cubicBezTo>
                  <a:cubicBezTo>
                    <a:pt x="2858" y="4073"/>
                    <a:pt x="2441" y="3656"/>
                    <a:pt x="1929" y="3656"/>
                  </a:cubicBezTo>
                  <a:lnTo>
                    <a:pt x="1608" y="3656"/>
                  </a:lnTo>
                  <a:cubicBezTo>
                    <a:pt x="905" y="3656"/>
                    <a:pt x="322" y="3085"/>
                    <a:pt x="322" y="2370"/>
                  </a:cubicBezTo>
                  <a:cubicBezTo>
                    <a:pt x="322" y="1727"/>
                    <a:pt x="798" y="1180"/>
                    <a:pt x="1441" y="1108"/>
                  </a:cubicBezTo>
                  <a:cubicBezTo>
                    <a:pt x="1512" y="1096"/>
                    <a:pt x="1572" y="1037"/>
                    <a:pt x="1572" y="953"/>
                  </a:cubicBezTo>
                  <a:lnTo>
                    <a:pt x="1572" y="501"/>
                  </a:lnTo>
                  <a:cubicBezTo>
                    <a:pt x="1572" y="406"/>
                    <a:pt x="1643" y="322"/>
                    <a:pt x="1751" y="322"/>
                  </a:cubicBezTo>
                  <a:close/>
                  <a:moveTo>
                    <a:pt x="1762" y="1"/>
                  </a:moveTo>
                  <a:cubicBezTo>
                    <a:pt x="1500" y="1"/>
                    <a:pt x="1274" y="227"/>
                    <a:pt x="1274" y="501"/>
                  </a:cubicBezTo>
                  <a:lnTo>
                    <a:pt x="1274" y="823"/>
                  </a:lnTo>
                  <a:cubicBezTo>
                    <a:pt x="548" y="977"/>
                    <a:pt x="24" y="1608"/>
                    <a:pt x="24" y="2370"/>
                  </a:cubicBezTo>
                  <a:cubicBezTo>
                    <a:pt x="24" y="3251"/>
                    <a:pt x="738" y="3954"/>
                    <a:pt x="1608" y="3954"/>
                  </a:cubicBezTo>
                  <a:lnTo>
                    <a:pt x="1917" y="3954"/>
                  </a:lnTo>
                  <a:cubicBezTo>
                    <a:pt x="2262" y="3954"/>
                    <a:pt x="2524" y="4216"/>
                    <a:pt x="2524" y="4561"/>
                  </a:cubicBezTo>
                  <a:cubicBezTo>
                    <a:pt x="2524" y="4906"/>
                    <a:pt x="2262" y="5168"/>
                    <a:pt x="1917" y="5168"/>
                  </a:cubicBezTo>
                  <a:lnTo>
                    <a:pt x="1441" y="5168"/>
                  </a:lnTo>
                  <a:cubicBezTo>
                    <a:pt x="1191" y="5168"/>
                    <a:pt x="977" y="4966"/>
                    <a:pt x="977" y="4704"/>
                  </a:cubicBezTo>
                  <a:cubicBezTo>
                    <a:pt x="977" y="4442"/>
                    <a:pt x="750" y="4216"/>
                    <a:pt x="488" y="4216"/>
                  </a:cubicBezTo>
                  <a:cubicBezTo>
                    <a:pt x="215" y="4216"/>
                    <a:pt x="0" y="4442"/>
                    <a:pt x="0" y="4704"/>
                  </a:cubicBezTo>
                  <a:cubicBezTo>
                    <a:pt x="0" y="5442"/>
                    <a:pt x="548" y="6037"/>
                    <a:pt x="1250" y="6121"/>
                  </a:cubicBezTo>
                  <a:lnTo>
                    <a:pt x="1250" y="6418"/>
                  </a:lnTo>
                  <a:cubicBezTo>
                    <a:pt x="1250" y="6692"/>
                    <a:pt x="1465" y="6907"/>
                    <a:pt x="1739" y="6907"/>
                  </a:cubicBezTo>
                  <a:cubicBezTo>
                    <a:pt x="2001" y="6907"/>
                    <a:pt x="2227" y="6692"/>
                    <a:pt x="2227" y="6418"/>
                  </a:cubicBezTo>
                  <a:lnTo>
                    <a:pt x="2227" y="6121"/>
                  </a:lnTo>
                  <a:cubicBezTo>
                    <a:pt x="2953" y="5978"/>
                    <a:pt x="3477" y="5335"/>
                    <a:pt x="3477" y="4573"/>
                  </a:cubicBezTo>
                  <a:cubicBezTo>
                    <a:pt x="3477" y="3692"/>
                    <a:pt x="2763" y="3001"/>
                    <a:pt x="1905" y="3001"/>
                  </a:cubicBezTo>
                  <a:lnTo>
                    <a:pt x="1608" y="3001"/>
                  </a:lnTo>
                  <a:cubicBezTo>
                    <a:pt x="1262" y="3001"/>
                    <a:pt x="989" y="2728"/>
                    <a:pt x="989" y="2382"/>
                  </a:cubicBezTo>
                  <a:cubicBezTo>
                    <a:pt x="989" y="2037"/>
                    <a:pt x="1262" y="1775"/>
                    <a:pt x="1608" y="1775"/>
                  </a:cubicBezTo>
                  <a:lnTo>
                    <a:pt x="2084" y="1775"/>
                  </a:lnTo>
                  <a:cubicBezTo>
                    <a:pt x="2334" y="1775"/>
                    <a:pt x="2536" y="1989"/>
                    <a:pt x="2536" y="2239"/>
                  </a:cubicBezTo>
                  <a:lnTo>
                    <a:pt x="2536" y="2549"/>
                  </a:lnTo>
                  <a:cubicBezTo>
                    <a:pt x="2524" y="2799"/>
                    <a:pt x="2751" y="3013"/>
                    <a:pt x="3013" y="3013"/>
                  </a:cubicBezTo>
                  <a:cubicBezTo>
                    <a:pt x="3286" y="3013"/>
                    <a:pt x="3513" y="2787"/>
                    <a:pt x="3513" y="2525"/>
                  </a:cubicBezTo>
                  <a:lnTo>
                    <a:pt x="3513" y="2204"/>
                  </a:lnTo>
                  <a:cubicBezTo>
                    <a:pt x="3513" y="1477"/>
                    <a:pt x="2953" y="882"/>
                    <a:pt x="2262" y="799"/>
                  </a:cubicBezTo>
                  <a:lnTo>
                    <a:pt x="2262" y="501"/>
                  </a:lnTo>
                  <a:cubicBezTo>
                    <a:pt x="2262" y="227"/>
                    <a:pt x="2036" y="1"/>
                    <a:pt x="1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2" name="Google Shape;11212;p60"/>
            <p:cNvSpPr/>
            <p:nvPr/>
          </p:nvSpPr>
          <p:spPr>
            <a:xfrm>
              <a:off x="4226894" y="4523485"/>
              <a:ext cx="52324" cy="51942"/>
            </a:xfrm>
            <a:custGeom>
              <a:avLst/>
              <a:gdLst/>
              <a:ahLst/>
              <a:cxnLst/>
              <a:rect l="l" t="t" r="r" b="b"/>
              <a:pathLst>
                <a:path w="1644" h="1632" extrusionOk="0">
                  <a:moveTo>
                    <a:pt x="822" y="310"/>
                  </a:moveTo>
                  <a:cubicBezTo>
                    <a:pt x="1108" y="310"/>
                    <a:pt x="1322" y="536"/>
                    <a:pt x="1322" y="822"/>
                  </a:cubicBezTo>
                  <a:cubicBezTo>
                    <a:pt x="1322" y="1096"/>
                    <a:pt x="1108" y="1322"/>
                    <a:pt x="822" y="1322"/>
                  </a:cubicBezTo>
                  <a:cubicBezTo>
                    <a:pt x="536" y="1322"/>
                    <a:pt x="310" y="1096"/>
                    <a:pt x="310" y="822"/>
                  </a:cubicBezTo>
                  <a:cubicBezTo>
                    <a:pt x="310" y="536"/>
                    <a:pt x="536" y="310"/>
                    <a:pt x="822" y="310"/>
                  </a:cubicBezTo>
                  <a:close/>
                  <a:moveTo>
                    <a:pt x="822" y="0"/>
                  </a:moveTo>
                  <a:cubicBezTo>
                    <a:pt x="370" y="0"/>
                    <a:pt x="0" y="370"/>
                    <a:pt x="0" y="822"/>
                  </a:cubicBezTo>
                  <a:cubicBezTo>
                    <a:pt x="0" y="1263"/>
                    <a:pt x="370" y="1632"/>
                    <a:pt x="822" y="1632"/>
                  </a:cubicBezTo>
                  <a:cubicBezTo>
                    <a:pt x="1263" y="1632"/>
                    <a:pt x="1644" y="1263"/>
                    <a:pt x="1644" y="822"/>
                  </a:cubicBezTo>
                  <a:cubicBezTo>
                    <a:pt x="1644" y="370"/>
                    <a:pt x="1263"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3" name="Google Shape;11213;p60"/>
            <p:cNvSpPr/>
            <p:nvPr/>
          </p:nvSpPr>
          <p:spPr>
            <a:xfrm>
              <a:off x="3996113" y="4291176"/>
              <a:ext cx="336512" cy="335048"/>
            </a:xfrm>
            <a:custGeom>
              <a:avLst/>
              <a:gdLst/>
              <a:ahLst/>
              <a:cxnLst/>
              <a:rect l="l" t="t" r="r" b="b"/>
              <a:pathLst>
                <a:path w="10573" h="10527" extrusionOk="0">
                  <a:moveTo>
                    <a:pt x="8216" y="5930"/>
                  </a:moveTo>
                  <a:lnTo>
                    <a:pt x="8335" y="6537"/>
                  </a:lnTo>
                  <a:cubicBezTo>
                    <a:pt x="8359" y="6597"/>
                    <a:pt x="8394" y="6645"/>
                    <a:pt x="8442" y="6657"/>
                  </a:cubicBezTo>
                  <a:cubicBezTo>
                    <a:pt x="8502" y="6668"/>
                    <a:pt x="8549" y="6692"/>
                    <a:pt x="8609" y="6716"/>
                  </a:cubicBezTo>
                  <a:cubicBezTo>
                    <a:pt x="8631" y="6729"/>
                    <a:pt x="8653" y="6734"/>
                    <a:pt x="8674" y="6734"/>
                  </a:cubicBezTo>
                  <a:cubicBezTo>
                    <a:pt x="8710" y="6734"/>
                    <a:pt x="8745" y="6719"/>
                    <a:pt x="8775" y="6704"/>
                  </a:cubicBezTo>
                  <a:lnTo>
                    <a:pt x="9252" y="6311"/>
                  </a:lnTo>
                  <a:lnTo>
                    <a:pt x="9561" y="6585"/>
                  </a:lnTo>
                  <a:lnTo>
                    <a:pt x="9264" y="7121"/>
                  </a:lnTo>
                  <a:cubicBezTo>
                    <a:pt x="9228" y="7157"/>
                    <a:pt x="9228" y="7216"/>
                    <a:pt x="9264" y="7276"/>
                  </a:cubicBezTo>
                  <a:cubicBezTo>
                    <a:pt x="9287" y="7323"/>
                    <a:pt x="9323" y="7371"/>
                    <a:pt x="9347" y="7430"/>
                  </a:cubicBezTo>
                  <a:cubicBezTo>
                    <a:pt x="9383" y="7478"/>
                    <a:pt x="9430" y="7514"/>
                    <a:pt x="9490" y="7514"/>
                  </a:cubicBezTo>
                  <a:lnTo>
                    <a:pt x="10109" y="7538"/>
                  </a:lnTo>
                  <a:lnTo>
                    <a:pt x="10180" y="7942"/>
                  </a:lnTo>
                  <a:lnTo>
                    <a:pt x="9645" y="8157"/>
                  </a:lnTo>
                  <a:cubicBezTo>
                    <a:pt x="9585" y="8181"/>
                    <a:pt x="9561" y="8240"/>
                    <a:pt x="9549" y="8276"/>
                  </a:cubicBezTo>
                  <a:cubicBezTo>
                    <a:pt x="9549" y="8335"/>
                    <a:pt x="9526" y="8383"/>
                    <a:pt x="9514" y="8442"/>
                  </a:cubicBezTo>
                  <a:cubicBezTo>
                    <a:pt x="9502" y="8502"/>
                    <a:pt x="9514" y="8562"/>
                    <a:pt x="9561" y="8597"/>
                  </a:cubicBezTo>
                  <a:lnTo>
                    <a:pt x="10014" y="8990"/>
                  </a:lnTo>
                  <a:lnTo>
                    <a:pt x="9811" y="9347"/>
                  </a:lnTo>
                  <a:lnTo>
                    <a:pt x="9228" y="9157"/>
                  </a:lnTo>
                  <a:cubicBezTo>
                    <a:pt x="9213" y="9154"/>
                    <a:pt x="9198" y="9152"/>
                    <a:pt x="9184" y="9152"/>
                  </a:cubicBezTo>
                  <a:cubicBezTo>
                    <a:pt x="9141" y="9152"/>
                    <a:pt x="9103" y="9166"/>
                    <a:pt x="9085" y="9193"/>
                  </a:cubicBezTo>
                  <a:cubicBezTo>
                    <a:pt x="9037" y="9228"/>
                    <a:pt x="8990" y="9264"/>
                    <a:pt x="8954" y="9288"/>
                  </a:cubicBezTo>
                  <a:cubicBezTo>
                    <a:pt x="8906" y="9324"/>
                    <a:pt x="8871" y="9383"/>
                    <a:pt x="8895" y="9443"/>
                  </a:cubicBezTo>
                  <a:lnTo>
                    <a:pt x="8978" y="10050"/>
                  </a:lnTo>
                  <a:lnTo>
                    <a:pt x="8597" y="10181"/>
                  </a:lnTo>
                  <a:lnTo>
                    <a:pt x="8264" y="9669"/>
                  </a:lnTo>
                  <a:cubicBezTo>
                    <a:pt x="8228" y="9621"/>
                    <a:pt x="8192" y="9585"/>
                    <a:pt x="8133" y="9585"/>
                  </a:cubicBezTo>
                  <a:lnTo>
                    <a:pt x="7954" y="9585"/>
                  </a:lnTo>
                  <a:cubicBezTo>
                    <a:pt x="7894" y="9585"/>
                    <a:pt x="7847" y="9621"/>
                    <a:pt x="7811" y="9669"/>
                  </a:cubicBezTo>
                  <a:lnTo>
                    <a:pt x="7490" y="10181"/>
                  </a:lnTo>
                  <a:lnTo>
                    <a:pt x="7097" y="10050"/>
                  </a:lnTo>
                  <a:lnTo>
                    <a:pt x="7192" y="9443"/>
                  </a:lnTo>
                  <a:cubicBezTo>
                    <a:pt x="7204" y="9383"/>
                    <a:pt x="7180" y="9324"/>
                    <a:pt x="7132" y="9288"/>
                  </a:cubicBezTo>
                  <a:cubicBezTo>
                    <a:pt x="7085" y="9264"/>
                    <a:pt x="7037" y="9216"/>
                    <a:pt x="7001" y="9193"/>
                  </a:cubicBezTo>
                  <a:cubicBezTo>
                    <a:pt x="6970" y="9161"/>
                    <a:pt x="6933" y="9145"/>
                    <a:pt x="6897" y="9145"/>
                  </a:cubicBezTo>
                  <a:cubicBezTo>
                    <a:pt x="6880" y="9145"/>
                    <a:pt x="6863" y="9149"/>
                    <a:pt x="6847" y="9157"/>
                  </a:cubicBezTo>
                  <a:lnTo>
                    <a:pt x="6275" y="9347"/>
                  </a:lnTo>
                  <a:lnTo>
                    <a:pt x="6061" y="8990"/>
                  </a:lnTo>
                  <a:lnTo>
                    <a:pt x="6525" y="8597"/>
                  </a:lnTo>
                  <a:cubicBezTo>
                    <a:pt x="6573" y="8550"/>
                    <a:pt x="6585" y="8502"/>
                    <a:pt x="6573" y="8442"/>
                  </a:cubicBezTo>
                  <a:cubicBezTo>
                    <a:pt x="6549" y="8383"/>
                    <a:pt x="6537" y="8335"/>
                    <a:pt x="6537" y="8276"/>
                  </a:cubicBezTo>
                  <a:cubicBezTo>
                    <a:pt x="6537" y="8216"/>
                    <a:pt x="6489" y="8169"/>
                    <a:pt x="6430" y="8157"/>
                  </a:cubicBezTo>
                  <a:lnTo>
                    <a:pt x="5847" y="7942"/>
                  </a:lnTo>
                  <a:lnTo>
                    <a:pt x="5930" y="7538"/>
                  </a:lnTo>
                  <a:lnTo>
                    <a:pt x="6549" y="7514"/>
                  </a:lnTo>
                  <a:cubicBezTo>
                    <a:pt x="6609" y="7514"/>
                    <a:pt x="6656" y="7490"/>
                    <a:pt x="6680" y="7430"/>
                  </a:cubicBezTo>
                  <a:cubicBezTo>
                    <a:pt x="6716" y="7383"/>
                    <a:pt x="6740" y="7323"/>
                    <a:pt x="6775" y="7276"/>
                  </a:cubicBezTo>
                  <a:cubicBezTo>
                    <a:pt x="6811" y="7240"/>
                    <a:pt x="6811" y="7180"/>
                    <a:pt x="6775" y="7121"/>
                  </a:cubicBezTo>
                  <a:lnTo>
                    <a:pt x="6478" y="6585"/>
                  </a:lnTo>
                  <a:lnTo>
                    <a:pt x="6787" y="6311"/>
                  </a:lnTo>
                  <a:lnTo>
                    <a:pt x="7263" y="6704"/>
                  </a:lnTo>
                  <a:cubicBezTo>
                    <a:pt x="7293" y="6719"/>
                    <a:pt x="7327" y="6729"/>
                    <a:pt x="7363" y="6729"/>
                  </a:cubicBezTo>
                  <a:cubicBezTo>
                    <a:pt x="7385" y="6729"/>
                    <a:pt x="7407" y="6725"/>
                    <a:pt x="7430" y="6716"/>
                  </a:cubicBezTo>
                  <a:cubicBezTo>
                    <a:pt x="7478" y="6704"/>
                    <a:pt x="7537" y="6668"/>
                    <a:pt x="7597" y="6657"/>
                  </a:cubicBezTo>
                  <a:cubicBezTo>
                    <a:pt x="7656" y="6645"/>
                    <a:pt x="7680" y="6597"/>
                    <a:pt x="7704" y="6537"/>
                  </a:cubicBezTo>
                  <a:lnTo>
                    <a:pt x="7823" y="5930"/>
                  </a:lnTo>
                  <a:close/>
                  <a:moveTo>
                    <a:pt x="4454" y="1"/>
                  </a:moveTo>
                  <a:cubicBezTo>
                    <a:pt x="3739" y="1"/>
                    <a:pt x="3025" y="180"/>
                    <a:pt x="2382" y="513"/>
                  </a:cubicBezTo>
                  <a:cubicBezTo>
                    <a:pt x="2310" y="561"/>
                    <a:pt x="2287" y="644"/>
                    <a:pt x="2322" y="715"/>
                  </a:cubicBezTo>
                  <a:cubicBezTo>
                    <a:pt x="2354" y="770"/>
                    <a:pt x="2405" y="799"/>
                    <a:pt x="2458" y="799"/>
                  </a:cubicBezTo>
                  <a:cubicBezTo>
                    <a:pt x="2485" y="799"/>
                    <a:pt x="2512" y="791"/>
                    <a:pt x="2537" y="775"/>
                  </a:cubicBezTo>
                  <a:cubicBezTo>
                    <a:pt x="3132" y="465"/>
                    <a:pt x="3787" y="299"/>
                    <a:pt x="4454" y="299"/>
                  </a:cubicBezTo>
                  <a:cubicBezTo>
                    <a:pt x="6728" y="299"/>
                    <a:pt x="8597" y="2168"/>
                    <a:pt x="8597" y="4442"/>
                  </a:cubicBezTo>
                  <a:cubicBezTo>
                    <a:pt x="8597" y="4847"/>
                    <a:pt x="8537" y="5228"/>
                    <a:pt x="8430" y="5621"/>
                  </a:cubicBezTo>
                  <a:lnTo>
                    <a:pt x="7740" y="5621"/>
                  </a:lnTo>
                  <a:cubicBezTo>
                    <a:pt x="7668" y="5621"/>
                    <a:pt x="7609" y="5656"/>
                    <a:pt x="7597" y="5728"/>
                  </a:cubicBezTo>
                  <a:lnTo>
                    <a:pt x="7466" y="6371"/>
                  </a:lnTo>
                  <a:lnTo>
                    <a:pt x="7442" y="6371"/>
                  </a:lnTo>
                  <a:lnTo>
                    <a:pt x="6942" y="5966"/>
                  </a:lnTo>
                  <a:cubicBezTo>
                    <a:pt x="6912" y="5948"/>
                    <a:pt x="6879" y="5939"/>
                    <a:pt x="6847" y="5939"/>
                  </a:cubicBezTo>
                  <a:cubicBezTo>
                    <a:pt x="6814" y="5939"/>
                    <a:pt x="6781" y="5948"/>
                    <a:pt x="6751" y="5966"/>
                  </a:cubicBezTo>
                  <a:lnTo>
                    <a:pt x="6239" y="6407"/>
                  </a:lnTo>
                  <a:cubicBezTo>
                    <a:pt x="6180" y="6442"/>
                    <a:pt x="6168" y="6537"/>
                    <a:pt x="6216" y="6597"/>
                  </a:cubicBezTo>
                  <a:lnTo>
                    <a:pt x="6525" y="7180"/>
                  </a:lnTo>
                  <a:cubicBezTo>
                    <a:pt x="6525" y="7180"/>
                    <a:pt x="6525" y="7192"/>
                    <a:pt x="6513" y="7192"/>
                  </a:cubicBezTo>
                  <a:lnTo>
                    <a:pt x="5858" y="7204"/>
                  </a:lnTo>
                  <a:cubicBezTo>
                    <a:pt x="5775" y="7204"/>
                    <a:pt x="5716" y="7264"/>
                    <a:pt x="5704" y="7335"/>
                  </a:cubicBezTo>
                  <a:lnTo>
                    <a:pt x="5585" y="7990"/>
                  </a:lnTo>
                  <a:cubicBezTo>
                    <a:pt x="5573" y="8073"/>
                    <a:pt x="5620" y="8145"/>
                    <a:pt x="5680" y="8157"/>
                  </a:cubicBezTo>
                  <a:lnTo>
                    <a:pt x="6013" y="8288"/>
                  </a:lnTo>
                  <a:cubicBezTo>
                    <a:pt x="5525" y="8502"/>
                    <a:pt x="5001" y="8585"/>
                    <a:pt x="4454" y="8585"/>
                  </a:cubicBezTo>
                  <a:cubicBezTo>
                    <a:pt x="2179" y="8585"/>
                    <a:pt x="322" y="6728"/>
                    <a:pt x="322" y="4454"/>
                  </a:cubicBezTo>
                  <a:cubicBezTo>
                    <a:pt x="322" y="3168"/>
                    <a:pt x="894" y="2001"/>
                    <a:pt x="1894" y="1203"/>
                  </a:cubicBezTo>
                  <a:cubicBezTo>
                    <a:pt x="1965" y="1144"/>
                    <a:pt x="1965" y="1061"/>
                    <a:pt x="1929" y="989"/>
                  </a:cubicBezTo>
                  <a:cubicBezTo>
                    <a:pt x="1895" y="942"/>
                    <a:pt x="1850" y="921"/>
                    <a:pt x="1804" y="921"/>
                  </a:cubicBezTo>
                  <a:cubicBezTo>
                    <a:pt x="1769" y="921"/>
                    <a:pt x="1734" y="933"/>
                    <a:pt x="1703" y="953"/>
                  </a:cubicBezTo>
                  <a:cubicBezTo>
                    <a:pt x="632" y="1799"/>
                    <a:pt x="1" y="3085"/>
                    <a:pt x="1" y="4454"/>
                  </a:cubicBezTo>
                  <a:cubicBezTo>
                    <a:pt x="1" y="5645"/>
                    <a:pt x="465" y="6764"/>
                    <a:pt x="1298" y="7597"/>
                  </a:cubicBezTo>
                  <a:cubicBezTo>
                    <a:pt x="2132" y="8431"/>
                    <a:pt x="3251" y="8883"/>
                    <a:pt x="4442" y="8883"/>
                  </a:cubicBezTo>
                  <a:cubicBezTo>
                    <a:pt x="5001" y="8883"/>
                    <a:pt x="5537" y="8788"/>
                    <a:pt x="6049" y="8585"/>
                  </a:cubicBezTo>
                  <a:lnTo>
                    <a:pt x="6049" y="8585"/>
                  </a:lnTo>
                  <a:lnTo>
                    <a:pt x="5775" y="8823"/>
                  </a:lnTo>
                  <a:cubicBezTo>
                    <a:pt x="5716" y="8871"/>
                    <a:pt x="5704" y="8966"/>
                    <a:pt x="5751" y="9026"/>
                  </a:cubicBezTo>
                  <a:lnTo>
                    <a:pt x="6073" y="9585"/>
                  </a:lnTo>
                  <a:cubicBezTo>
                    <a:pt x="6101" y="9632"/>
                    <a:pt x="6158" y="9664"/>
                    <a:pt x="6211" y="9664"/>
                  </a:cubicBezTo>
                  <a:cubicBezTo>
                    <a:pt x="6225" y="9664"/>
                    <a:pt x="6239" y="9662"/>
                    <a:pt x="6251" y="9657"/>
                  </a:cubicBezTo>
                  <a:lnTo>
                    <a:pt x="6882" y="9455"/>
                  </a:lnTo>
                  <a:cubicBezTo>
                    <a:pt x="6882" y="9455"/>
                    <a:pt x="6894" y="9455"/>
                    <a:pt x="6894" y="9466"/>
                  </a:cubicBezTo>
                  <a:lnTo>
                    <a:pt x="6787" y="10121"/>
                  </a:lnTo>
                  <a:cubicBezTo>
                    <a:pt x="6775" y="10193"/>
                    <a:pt x="6823" y="10276"/>
                    <a:pt x="6894" y="10288"/>
                  </a:cubicBezTo>
                  <a:lnTo>
                    <a:pt x="7525" y="10514"/>
                  </a:lnTo>
                  <a:cubicBezTo>
                    <a:pt x="7537" y="10514"/>
                    <a:pt x="7549" y="10526"/>
                    <a:pt x="7585" y="10526"/>
                  </a:cubicBezTo>
                  <a:cubicBezTo>
                    <a:pt x="7644" y="10526"/>
                    <a:pt x="7680" y="10490"/>
                    <a:pt x="7716" y="10455"/>
                  </a:cubicBezTo>
                  <a:lnTo>
                    <a:pt x="8061" y="9883"/>
                  </a:lnTo>
                  <a:lnTo>
                    <a:pt x="8073" y="9883"/>
                  </a:lnTo>
                  <a:lnTo>
                    <a:pt x="8418" y="10455"/>
                  </a:lnTo>
                  <a:cubicBezTo>
                    <a:pt x="8445" y="10499"/>
                    <a:pt x="8497" y="10523"/>
                    <a:pt x="8547" y="10523"/>
                  </a:cubicBezTo>
                  <a:cubicBezTo>
                    <a:pt x="8565" y="10523"/>
                    <a:pt x="8582" y="10520"/>
                    <a:pt x="8597" y="10514"/>
                  </a:cubicBezTo>
                  <a:lnTo>
                    <a:pt x="9216" y="10288"/>
                  </a:lnTo>
                  <a:cubicBezTo>
                    <a:pt x="9287" y="10252"/>
                    <a:pt x="9323" y="10193"/>
                    <a:pt x="9323" y="10121"/>
                  </a:cubicBezTo>
                  <a:lnTo>
                    <a:pt x="9216" y="9466"/>
                  </a:lnTo>
                  <a:cubicBezTo>
                    <a:pt x="9216" y="9466"/>
                    <a:pt x="9228" y="9466"/>
                    <a:pt x="9228" y="9455"/>
                  </a:cubicBezTo>
                  <a:lnTo>
                    <a:pt x="9859" y="9657"/>
                  </a:lnTo>
                  <a:cubicBezTo>
                    <a:pt x="9878" y="9666"/>
                    <a:pt x="9897" y="9671"/>
                    <a:pt x="9916" y="9671"/>
                  </a:cubicBezTo>
                  <a:cubicBezTo>
                    <a:pt x="9966" y="9671"/>
                    <a:pt x="10011" y="9638"/>
                    <a:pt x="10038" y="9585"/>
                  </a:cubicBezTo>
                  <a:lnTo>
                    <a:pt x="10359" y="9026"/>
                  </a:lnTo>
                  <a:cubicBezTo>
                    <a:pt x="10395" y="8966"/>
                    <a:pt x="10395" y="8871"/>
                    <a:pt x="10335" y="8823"/>
                  </a:cubicBezTo>
                  <a:lnTo>
                    <a:pt x="9847" y="8395"/>
                  </a:lnTo>
                  <a:lnTo>
                    <a:pt x="9847" y="8383"/>
                  </a:lnTo>
                  <a:lnTo>
                    <a:pt x="10454" y="8145"/>
                  </a:lnTo>
                  <a:cubicBezTo>
                    <a:pt x="10460" y="8146"/>
                    <a:pt x="10465" y="8146"/>
                    <a:pt x="10470" y="8146"/>
                  </a:cubicBezTo>
                  <a:cubicBezTo>
                    <a:pt x="10532" y="8146"/>
                    <a:pt x="10572" y="8080"/>
                    <a:pt x="10561" y="8014"/>
                  </a:cubicBezTo>
                  <a:lnTo>
                    <a:pt x="10442" y="7359"/>
                  </a:lnTo>
                  <a:cubicBezTo>
                    <a:pt x="10419" y="7288"/>
                    <a:pt x="10359" y="7240"/>
                    <a:pt x="10288" y="7228"/>
                  </a:cubicBezTo>
                  <a:lnTo>
                    <a:pt x="9633" y="7204"/>
                  </a:lnTo>
                  <a:cubicBezTo>
                    <a:pt x="9633" y="7204"/>
                    <a:pt x="9633" y="7192"/>
                    <a:pt x="9621" y="7192"/>
                  </a:cubicBezTo>
                  <a:lnTo>
                    <a:pt x="9930" y="6609"/>
                  </a:lnTo>
                  <a:cubicBezTo>
                    <a:pt x="9966" y="6549"/>
                    <a:pt x="9942" y="6466"/>
                    <a:pt x="9907" y="6418"/>
                  </a:cubicBezTo>
                  <a:lnTo>
                    <a:pt x="9395" y="5990"/>
                  </a:lnTo>
                  <a:cubicBezTo>
                    <a:pt x="9365" y="5966"/>
                    <a:pt x="9332" y="5954"/>
                    <a:pt x="9299" y="5954"/>
                  </a:cubicBezTo>
                  <a:cubicBezTo>
                    <a:pt x="9267" y="5954"/>
                    <a:pt x="9234" y="5966"/>
                    <a:pt x="9204" y="5990"/>
                  </a:cubicBezTo>
                  <a:lnTo>
                    <a:pt x="8692" y="6395"/>
                  </a:lnTo>
                  <a:lnTo>
                    <a:pt x="8680" y="6395"/>
                  </a:lnTo>
                  <a:lnTo>
                    <a:pt x="8609" y="6049"/>
                  </a:lnTo>
                  <a:lnTo>
                    <a:pt x="8609" y="6037"/>
                  </a:lnTo>
                  <a:cubicBezTo>
                    <a:pt x="8799" y="5525"/>
                    <a:pt x="8895" y="5002"/>
                    <a:pt x="8895" y="4454"/>
                  </a:cubicBezTo>
                  <a:cubicBezTo>
                    <a:pt x="8895" y="3263"/>
                    <a:pt x="8430" y="2144"/>
                    <a:pt x="7597" y="1311"/>
                  </a:cubicBezTo>
                  <a:cubicBezTo>
                    <a:pt x="6763" y="477"/>
                    <a:pt x="5644"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14" name="Google Shape;11214;p60"/>
          <p:cNvSpPr/>
          <p:nvPr/>
        </p:nvSpPr>
        <p:spPr>
          <a:xfrm>
            <a:off x="1331737" y="4307377"/>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15" name="Google Shape;11215;p60"/>
          <p:cNvGrpSpPr/>
          <p:nvPr/>
        </p:nvGrpSpPr>
        <p:grpSpPr>
          <a:xfrm>
            <a:off x="2179081" y="4285511"/>
            <a:ext cx="397525" cy="348670"/>
            <a:chOff x="2179081" y="4285511"/>
            <a:chExt cx="397525" cy="348670"/>
          </a:xfrm>
        </p:grpSpPr>
        <p:sp>
          <p:nvSpPr>
            <p:cNvPr id="11216" name="Google Shape;11216;p60"/>
            <p:cNvSpPr/>
            <p:nvPr/>
          </p:nvSpPr>
          <p:spPr>
            <a:xfrm>
              <a:off x="2262437" y="4354322"/>
              <a:ext cx="230813" cy="210507"/>
            </a:xfrm>
            <a:custGeom>
              <a:avLst/>
              <a:gdLst/>
              <a:ahLst/>
              <a:cxnLst/>
              <a:rect l="l" t="t" r="r" b="b"/>
              <a:pathLst>
                <a:path w="7252" h="6614" extrusionOk="0">
                  <a:moveTo>
                    <a:pt x="3627" y="376"/>
                  </a:moveTo>
                  <a:cubicBezTo>
                    <a:pt x="4070" y="376"/>
                    <a:pt x="4516" y="477"/>
                    <a:pt x="4930" y="684"/>
                  </a:cubicBezTo>
                  <a:lnTo>
                    <a:pt x="4132" y="2065"/>
                  </a:lnTo>
                  <a:cubicBezTo>
                    <a:pt x="3965" y="2006"/>
                    <a:pt x="3799" y="1958"/>
                    <a:pt x="3620" y="1958"/>
                  </a:cubicBezTo>
                  <a:cubicBezTo>
                    <a:pt x="3441" y="1958"/>
                    <a:pt x="3263" y="1994"/>
                    <a:pt x="3120" y="2065"/>
                  </a:cubicBezTo>
                  <a:lnTo>
                    <a:pt x="2322" y="684"/>
                  </a:lnTo>
                  <a:cubicBezTo>
                    <a:pt x="2730" y="480"/>
                    <a:pt x="3177" y="376"/>
                    <a:pt x="3627" y="376"/>
                  </a:cubicBezTo>
                  <a:close/>
                  <a:moveTo>
                    <a:pt x="1989" y="863"/>
                  </a:moveTo>
                  <a:lnTo>
                    <a:pt x="2787" y="2244"/>
                  </a:lnTo>
                  <a:cubicBezTo>
                    <a:pt x="2513" y="2458"/>
                    <a:pt x="2322" y="2768"/>
                    <a:pt x="2286" y="3137"/>
                  </a:cubicBezTo>
                  <a:lnTo>
                    <a:pt x="691" y="3137"/>
                  </a:lnTo>
                  <a:lnTo>
                    <a:pt x="691" y="3125"/>
                  </a:lnTo>
                  <a:cubicBezTo>
                    <a:pt x="739" y="2422"/>
                    <a:pt x="1013" y="1756"/>
                    <a:pt x="1536" y="1232"/>
                  </a:cubicBezTo>
                  <a:cubicBezTo>
                    <a:pt x="1667" y="1101"/>
                    <a:pt x="1834" y="970"/>
                    <a:pt x="1989" y="863"/>
                  </a:cubicBezTo>
                  <a:close/>
                  <a:moveTo>
                    <a:pt x="3620" y="2339"/>
                  </a:moveTo>
                  <a:cubicBezTo>
                    <a:pt x="4156" y="2339"/>
                    <a:pt x="4608" y="2779"/>
                    <a:pt x="4608" y="3315"/>
                  </a:cubicBezTo>
                  <a:cubicBezTo>
                    <a:pt x="4608" y="3851"/>
                    <a:pt x="4156" y="4303"/>
                    <a:pt x="3620" y="4303"/>
                  </a:cubicBezTo>
                  <a:cubicBezTo>
                    <a:pt x="3072" y="4303"/>
                    <a:pt x="2644" y="3851"/>
                    <a:pt x="2644" y="3315"/>
                  </a:cubicBezTo>
                  <a:cubicBezTo>
                    <a:pt x="2644" y="2768"/>
                    <a:pt x="3084" y="2339"/>
                    <a:pt x="3620" y="2339"/>
                  </a:cubicBezTo>
                  <a:close/>
                  <a:moveTo>
                    <a:pt x="6549" y="3482"/>
                  </a:moveTo>
                  <a:cubicBezTo>
                    <a:pt x="6513" y="4184"/>
                    <a:pt x="6227" y="4863"/>
                    <a:pt x="5704" y="5387"/>
                  </a:cubicBezTo>
                  <a:cubicBezTo>
                    <a:pt x="5573" y="5518"/>
                    <a:pt x="5406" y="5661"/>
                    <a:pt x="5263" y="5756"/>
                  </a:cubicBezTo>
                  <a:lnTo>
                    <a:pt x="4453" y="4375"/>
                  </a:lnTo>
                  <a:cubicBezTo>
                    <a:pt x="4727" y="4172"/>
                    <a:pt x="4918" y="3851"/>
                    <a:pt x="4965" y="3482"/>
                  </a:cubicBezTo>
                  <a:close/>
                  <a:moveTo>
                    <a:pt x="4120" y="4553"/>
                  </a:moveTo>
                  <a:lnTo>
                    <a:pt x="4918" y="5935"/>
                  </a:lnTo>
                  <a:cubicBezTo>
                    <a:pt x="4510" y="6138"/>
                    <a:pt x="4063" y="6243"/>
                    <a:pt x="3613" y="6243"/>
                  </a:cubicBezTo>
                  <a:cubicBezTo>
                    <a:pt x="3170" y="6243"/>
                    <a:pt x="2724" y="6141"/>
                    <a:pt x="2310" y="5935"/>
                  </a:cubicBezTo>
                  <a:lnTo>
                    <a:pt x="3120" y="4553"/>
                  </a:lnTo>
                  <a:cubicBezTo>
                    <a:pt x="3275" y="4613"/>
                    <a:pt x="3441" y="4661"/>
                    <a:pt x="3620" y="4661"/>
                  </a:cubicBezTo>
                  <a:cubicBezTo>
                    <a:pt x="3799" y="4661"/>
                    <a:pt x="3977" y="4625"/>
                    <a:pt x="4120" y="4553"/>
                  </a:cubicBezTo>
                  <a:close/>
                  <a:moveTo>
                    <a:pt x="3636" y="0"/>
                  </a:moveTo>
                  <a:cubicBezTo>
                    <a:pt x="2787" y="0"/>
                    <a:pt x="1940" y="328"/>
                    <a:pt x="1298" y="970"/>
                  </a:cubicBezTo>
                  <a:cubicBezTo>
                    <a:pt x="120" y="2137"/>
                    <a:pt x="0" y="4018"/>
                    <a:pt x="1036" y="5327"/>
                  </a:cubicBezTo>
                  <a:cubicBezTo>
                    <a:pt x="1060" y="5375"/>
                    <a:pt x="1120" y="5399"/>
                    <a:pt x="1179" y="5399"/>
                  </a:cubicBezTo>
                  <a:cubicBezTo>
                    <a:pt x="1227" y="5399"/>
                    <a:pt x="1251" y="5387"/>
                    <a:pt x="1298" y="5351"/>
                  </a:cubicBezTo>
                  <a:cubicBezTo>
                    <a:pt x="1370" y="5292"/>
                    <a:pt x="1394" y="5173"/>
                    <a:pt x="1334" y="5101"/>
                  </a:cubicBezTo>
                  <a:cubicBezTo>
                    <a:pt x="953" y="4625"/>
                    <a:pt x="751" y="4065"/>
                    <a:pt x="715" y="3482"/>
                  </a:cubicBezTo>
                  <a:lnTo>
                    <a:pt x="2310" y="3482"/>
                  </a:lnTo>
                  <a:cubicBezTo>
                    <a:pt x="2358" y="3839"/>
                    <a:pt x="2548" y="4149"/>
                    <a:pt x="2810" y="4375"/>
                  </a:cubicBezTo>
                  <a:lnTo>
                    <a:pt x="2013" y="5756"/>
                  </a:lnTo>
                  <a:lnTo>
                    <a:pt x="1834" y="5625"/>
                  </a:lnTo>
                  <a:cubicBezTo>
                    <a:pt x="1803" y="5599"/>
                    <a:pt x="1763" y="5587"/>
                    <a:pt x="1723" y="5587"/>
                  </a:cubicBezTo>
                  <a:cubicBezTo>
                    <a:pt x="1671" y="5587"/>
                    <a:pt x="1618" y="5608"/>
                    <a:pt x="1584" y="5649"/>
                  </a:cubicBezTo>
                  <a:cubicBezTo>
                    <a:pt x="1524" y="5732"/>
                    <a:pt x="1536" y="5851"/>
                    <a:pt x="1608" y="5911"/>
                  </a:cubicBezTo>
                  <a:cubicBezTo>
                    <a:pt x="2203" y="6375"/>
                    <a:pt x="2918" y="6613"/>
                    <a:pt x="3632" y="6613"/>
                  </a:cubicBezTo>
                  <a:cubicBezTo>
                    <a:pt x="4489" y="6613"/>
                    <a:pt x="5334" y="6280"/>
                    <a:pt x="5977" y="5637"/>
                  </a:cubicBezTo>
                  <a:cubicBezTo>
                    <a:pt x="7132" y="4470"/>
                    <a:pt x="7251" y="2589"/>
                    <a:pt x="6227" y="1279"/>
                  </a:cubicBezTo>
                  <a:cubicBezTo>
                    <a:pt x="6194" y="1239"/>
                    <a:pt x="6141" y="1217"/>
                    <a:pt x="6088" y="1217"/>
                  </a:cubicBezTo>
                  <a:cubicBezTo>
                    <a:pt x="6048" y="1217"/>
                    <a:pt x="6008" y="1230"/>
                    <a:pt x="5977" y="1255"/>
                  </a:cubicBezTo>
                  <a:cubicBezTo>
                    <a:pt x="5894" y="1315"/>
                    <a:pt x="5882" y="1434"/>
                    <a:pt x="5942" y="1505"/>
                  </a:cubicBezTo>
                  <a:cubicBezTo>
                    <a:pt x="6311" y="1982"/>
                    <a:pt x="6525" y="2541"/>
                    <a:pt x="6549" y="3125"/>
                  </a:cubicBezTo>
                  <a:lnTo>
                    <a:pt x="4965" y="3125"/>
                  </a:lnTo>
                  <a:cubicBezTo>
                    <a:pt x="4918" y="2768"/>
                    <a:pt x="4727" y="2458"/>
                    <a:pt x="4453" y="2232"/>
                  </a:cubicBezTo>
                  <a:lnTo>
                    <a:pt x="5263" y="851"/>
                  </a:lnTo>
                  <a:lnTo>
                    <a:pt x="5442" y="982"/>
                  </a:lnTo>
                  <a:cubicBezTo>
                    <a:pt x="5473" y="1007"/>
                    <a:pt x="5512" y="1020"/>
                    <a:pt x="5552" y="1020"/>
                  </a:cubicBezTo>
                  <a:cubicBezTo>
                    <a:pt x="5605" y="1020"/>
                    <a:pt x="5658" y="998"/>
                    <a:pt x="5692" y="958"/>
                  </a:cubicBezTo>
                  <a:cubicBezTo>
                    <a:pt x="5751" y="874"/>
                    <a:pt x="5739" y="755"/>
                    <a:pt x="5656" y="696"/>
                  </a:cubicBezTo>
                  <a:cubicBezTo>
                    <a:pt x="5059" y="229"/>
                    <a:pt x="4347" y="0"/>
                    <a:pt x="36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7" name="Google Shape;11217;p60"/>
            <p:cNvSpPr/>
            <p:nvPr/>
          </p:nvSpPr>
          <p:spPr>
            <a:xfrm>
              <a:off x="2179081" y="4285511"/>
              <a:ext cx="397525" cy="348670"/>
            </a:xfrm>
            <a:custGeom>
              <a:avLst/>
              <a:gdLst/>
              <a:ahLst/>
              <a:cxnLst/>
              <a:rect l="l" t="t" r="r" b="b"/>
              <a:pathLst>
                <a:path w="12490" h="10955" extrusionOk="0">
                  <a:moveTo>
                    <a:pt x="3493" y="346"/>
                  </a:moveTo>
                  <a:cubicBezTo>
                    <a:pt x="3526" y="346"/>
                    <a:pt x="3560" y="350"/>
                    <a:pt x="3596" y="358"/>
                  </a:cubicBezTo>
                  <a:cubicBezTo>
                    <a:pt x="3679" y="393"/>
                    <a:pt x="3751" y="465"/>
                    <a:pt x="3798" y="548"/>
                  </a:cubicBezTo>
                  <a:lnTo>
                    <a:pt x="4310" y="1655"/>
                  </a:lnTo>
                  <a:cubicBezTo>
                    <a:pt x="4167" y="1727"/>
                    <a:pt x="4036" y="1798"/>
                    <a:pt x="3917" y="1882"/>
                  </a:cubicBezTo>
                  <a:lnTo>
                    <a:pt x="3203" y="893"/>
                  </a:lnTo>
                  <a:cubicBezTo>
                    <a:pt x="3143" y="822"/>
                    <a:pt x="3131" y="715"/>
                    <a:pt x="3143" y="619"/>
                  </a:cubicBezTo>
                  <a:cubicBezTo>
                    <a:pt x="3155" y="512"/>
                    <a:pt x="3215" y="441"/>
                    <a:pt x="3310" y="393"/>
                  </a:cubicBezTo>
                  <a:cubicBezTo>
                    <a:pt x="3366" y="362"/>
                    <a:pt x="3426" y="346"/>
                    <a:pt x="3493" y="346"/>
                  </a:cubicBezTo>
                  <a:close/>
                  <a:moveTo>
                    <a:pt x="8984" y="346"/>
                  </a:moveTo>
                  <a:cubicBezTo>
                    <a:pt x="9046" y="346"/>
                    <a:pt x="9112" y="362"/>
                    <a:pt x="9168" y="393"/>
                  </a:cubicBezTo>
                  <a:cubicBezTo>
                    <a:pt x="9263" y="441"/>
                    <a:pt x="9323" y="524"/>
                    <a:pt x="9335" y="619"/>
                  </a:cubicBezTo>
                  <a:cubicBezTo>
                    <a:pt x="9347" y="715"/>
                    <a:pt x="9335" y="810"/>
                    <a:pt x="9275" y="893"/>
                  </a:cubicBezTo>
                  <a:lnTo>
                    <a:pt x="8561" y="1882"/>
                  </a:lnTo>
                  <a:cubicBezTo>
                    <a:pt x="8442" y="1810"/>
                    <a:pt x="8311" y="1715"/>
                    <a:pt x="8180" y="1655"/>
                  </a:cubicBezTo>
                  <a:lnTo>
                    <a:pt x="8680" y="560"/>
                  </a:lnTo>
                  <a:cubicBezTo>
                    <a:pt x="8727" y="465"/>
                    <a:pt x="8799" y="393"/>
                    <a:pt x="8894" y="358"/>
                  </a:cubicBezTo>
                  <a:cubicBezTo>
                    <a:pt x="8922" y="350"/>
                    <a:pt x="8952" y="346"/>
                    <a:pt x="8984" y="346"/>
                  </a:cubicBezTo>
                  <a:close/>
                  <a:moveTo>
                    <a:pt x="11780" y="5137"/>
                  </a:moveTo>
                  <a:cubicBezTo>
                    <a:pt x="11858" y="5137"/>
                    <a:pt x="11924" y="5171"/>
                    <a:pt x="11990" y="5227"/>
                  </a:cubicBezTo>
                  <a:cubicBezTo>
                    <a:pt x="12061" y="5287"/>
                    <a:pt x="12097" y="5394"/>
                    <a:pt x="12097" y="5477"/>
                  </a:cubicBezTo>
                  <a:cubicBezTo>
                    <a:pt x="12097" y="5572"/>
                    <a:pt x="12061" y="5656"/>
                    <a:pt x="11990" y="5739"/>
                  </a:cubicBezTo>
                  <a:cubicBezTo>
                    <a:pt x="11917" y="5791"/>
                    <a:pt x="11845" y="5825"/>
                    <a:pt x="11756" y="5825"/>
                  </a:cubicBezTo>
                  <a:cubicBezTo>
                    <a:pt x="11743" y="5825"/>
                    <a:pt x="11730" y="5824"/>
                    <a:pt x="11716" y="5823"/>
                  </a:cubicBezTo>
                  <a:lnTo>
                    <a:pt x="10513" y="5703"/>
                  </a:lnTo>
                  <a:lnTo>
                    <a:pt x="10513" y="5477"/>
                  </a:lnTo>
                  <a:lnTo>
                    <a:pt x="10513" y="5263"/>
                  </a:lnTo>
                  <a:lnTo>
                    <a:pt x="11716" y="5144"/>
                  </a:lnTo>
                  <a:cubicBezTo>
                    <a:pt x="11738" y="5139"/>
                    <a:pt x="11760" y="5137"/>
                    <a:pt x="11780" y="5137"/>
                  </a:cubicBezTo>
                  <a:close/>
                  <a:moveTo>
                    <a:pt x="729" y="5130"/>
                  </a:moveTo>
                  <a:cubicBezTo>
                    <a:pt x="740" y="5130"/>
                    <a:pt x="751" y="5131"/>
                    <a:pt x="762" y="5132"/>
                  </a:cubicBezTo>
                  <a:lnTo>
                    <a:pt x="1965" y="5251"/>
                  </a:lnTo>
                  <a:lnTo>
                    <a:pt x="1965" y="5477"/>
                  </a:lnTo>
                  <a:lnTo>
                    <a:pt x="1965" y="5703"/>
                  </a:lnTo>
                  <a:lnTo>
                    <a:pt x="762" y="5823"/>
                  </a:lnTo>
                  <a:cubicBezTo>
                    <a:pt x="745" y="5824"/>
                    <a:pt x="728" y="5825"/>
                    <a:pt x="712" y="5825"/>
                  </a:cubicBezTo>
                  <a:cubicBezTo>
                    <a:pt x="628" y="5825"/>
                    <a:pt x="558" y="5799"/>
                    <a:pt x="488" y="5739"/>
                  </a:cubicBezTo>
                  <a:cubicBezTo>
                    <a:pt x="417" y="5680"/>
                    <a:pt x="369" y="5572"/>
                    <a:pt x="369" y="5477"/>
                  </a:cubicBezTo>
                  <a:cubicBezTo>
                    <a:pt x="369" y="5370"/>
                    <a:pt x="417" y="5287"/>
                    <a:pt x="488" y="5227"/>
                  </a:cubicBezTo>
                  <a:cubicBezTo>
                    <a:pt x="563" y="5174"/>
                    <a:pt x="638" y="5130"/>
                    <a:pt x="729" y="5130"/>
                  </a:cubicBezTo>
                  <a:close/>
                  <a:moveTo>
                    <a:pt x="6239" y="1548"/>
                  </a:moveTo>
                  <a:cubicBezTo>
                    <a:pt x="8394" y="1548"/>
                    <a:pt x="10156" y="3310"/>
                    <a:pt x="10156" y="5465"/>
                  </a:cubicBezTo>
                  <a:cubicBezTo>
                    <a:pt x="10156" y="7620"/>
                    <a:pt x="8394" y="9382"/>
                    <a:pt x="6239" y="9382"/>
                  </a:cubicBezTo>
                  <a:cubicBezTo>
                    <a:pt x="4084" y="9382"/>
                    <a:pt x="2322" y="7620"/>
                    <a:pt x="2322" y="5465"/>
                  </a:cubicBezTo>
                  <a:cubicBezTo>
                    <a:pt x="2322" y="3310"/>
                    <a:pt x="4084" y="1548"/>
                    <a:pt x="6239" y="1548"/>
                  </a:cubicBezTo>
                  <a:close/>
                  <a:moveTo>
                    <a:pt x="3917" y="9073"/>
                  </a:moveTo>
                  <a:cubicBezTo>
                    <a:pt x="4036" y="9144"/>
                    <a:pt x="4167" y="9228"/>
                    <a:pt x="4310" y="9287"/>
                  </a:cubicBezTo>
                  <a:lnTo>
                    <a:pt x="3798" y="10395"/>
                  </a:lnTo>
                  <a:cubicBezTo>
                    <a:pt x="3751" y="10478"/>
                    <a:pt x="3679" y="10561"/>
                    <a:pt x="3596" y="10585"/>
                  </a:cubicBezTo>
                  <a:cubicBezTo>
                    <a:pt x="3563" y="10597"/>
                    <a:pt x="3528" y="10603"/>
                    <a:pt x="3493" y="10603"/>
                  </a:cubicBezTo>
                  <a:cubicBezTo>
                    <a:pt x="3429" y="10603"/>
                    <a:pt x="3364" y="10584"/>
                    <a:pt x="3310" y="10561"/>
                  </a:cubicBezTo>
                  <a:cubicBezTo>
                    <a:pt x="3215" y="10514"/>
                    <a:pt x="3155" y="10418"/>
                    <a:pt x="3143" y="10335"/>
                  </a:cubicBezTo>
                  <a:cubicBezTo>
                    <a:pt x="3131" y="10228"/>
                    <a:pt x="3143" y="10144"/>
                    <a:pt x="3203" y="10049"/>
                  </a:cubicBezTo>
                  <a:lnTo>
                    <a:pt x="3917" y="9073"/>
                  </a:lnTo>
                  <a:close/>
                  <a:moveTo>
                    <a:pt x="8561" y="9073"/>
                  </a:moveTo>
                  <a:lnTo>
                    <a:pt x="9275" y="10049"/>
                  </a:lnTo>
                  <a:cubicBezTo>
                    <a:pt x="9335" y="10121"/>
                    <a:pt x="9347" y="10228"/>
                    <a:pt x="9335" y="10335"/>
                  </a:cubicBezTo>
                  <a:cubicBezTo>
                    <a:pt x="9323" y="10442"/>
                    <a:pt x="9263" y="10514"/>
                    <a:pt x="9168" y="10561"/>
                  </a:cubicBezTo>
                  <a:cubicBezTo>
                    <a:pt x="9114" y="10584"/>
                    <a:pt x="9054" y="10603"/>
                    <a:pt x="8990" y="10603"/>
                  </a:cubicBezTo>
                  <a:cubicBezTo>
                    <a:pt x="8955" y="10603"/>
                    <a:pt x="8920" y="10597"/>
                    <a:pt x="8882" y="10585"/>
                  </a:cubicBezTo>
                  <a:cubicBezTo>
                    <a:pt x="8799" y="10561"/>
                    <a:pt x="8727" y="10478"/>
                    <a:pt x="8680" y="10395"/>
                  </a:cubicBezTo>
                  <a:lnTo>
                    <a:pt x="8180" y="9287"/>
                  </a:lnTo>
                  <a:cubicBezTo>
                    <a:pt x="8311" y="9216"/>
                    <a:pt x="8442" y="9144"/>
                    <a:pt x="8561" y="9073"/>
                  </a:cubicBezTo>
                  <a:close/>
                  <a:moveTo>
                    <a:pt x="3464" y="0"/>
                  </a:moveTo>
                  <a:cubicBezTo>
                    <a:pt x="3346" y="0"/>
                    <a:pt x="3228" y="30"/>
                    <a:pt x="3120" y="96"/>
                  </a:cubicBezTo>
                  <a:cubicBezTo>
                    <a:pt x="2941" y="203"/>
                    <a:pt x="2822" y="358"/>
                    <a:pt x="2774" y="548"/>
                  </a:cubicBezTo>
                  <a:cubicBezTo>
                    <a:pt x="2727" y="750"/>
                    <a:pt x="2774" y="953"/>
                    <a:pt x="2893" y="1120"/>
                  </a:cubicBezTo>
                  <a:lnTo>
                    <a:pt x="3608" y="2096"/>
                  </a:lnTo>
                  <a:cubicBezTo>
                    <a:pt x="2739" y="2775"/>
                    <a:pt x="2143" y="3751"/>
                    <a:pt x="2000" y="4882"/>
                  </a:cubicBezTo>
                  <a:lnTo>
                    <a:pt x="798" y="4763"/>
                  </a:lnTo>
                  <a:cubicBezTo>
                    <a:pt x="781" y="4762"/>
                    <a:pt x="764" y="4761"/>
                    <a:pt x="747" y="4761"/>
                  </a:cubicBezTo>
                  <a:cubicBezTo>
                    <a:pt x="562" y="4761"/>
                    <a:pt x="380" y="4821"/>
                    <a:pt x="238" y="4941"/>
                  </a:cubicBezTo>
                  <a:cubicBezTo>
                    <a:pt x="95" y="5084"/>
                    <a:pt x="0" y="5275"/>
                    <a:pt x="0" y="5465"/>
                  </a:cubicBezTo>
                  <a:cubicBezTo>
                    <a:pt x="0" y="5656"/>
                    <a:pt x="95" y="5858"/>
                    <a:pt x="238" y="5989"/>
                  </a:cubicBezTo>
                  <a:cubicBezTo>
                    <a:pt x="381" y="6108"/>
                    <a:pt x="536" y="6168"/>
                    <a:pt x="714" y="6168"/>
                  </a:cubicBezTo>
                  <a:lnTo>
                    <a:pt x="798" y="6168"/>
                  </a:lnTo>
                  <a:lnTo>
                    <a:pt x="2000" y="6049"/>
                  </a:lnTo>
                  <a:cubicBezTo>
                    <a:pt x="2143" y="7180"/>
                    <a:pt x="2762" y="8156"/>
                    <a:pt x="3608" y="8835"/>
                  </a:cubicBezTo>
                  <a:lnTo>
                    <a:pt x="2905" y="9847"/>
                  </a:lnTo>
                  <a:cubicBezTo>
                    <a:pt x="2786" y="10002"/>
                    <a:pt x="2739" y="10216"/>
                    <a:pt x="2786" y="10406"/>
                  </a:cubicBezTo>
                  <a:cubicBezTo>
                    <a:pt x="2834" y="10597"/>
                    <a:pt x="2953" y="10776"/>
                    <a:pt x="3131" y="10871"/>
                  </a:cubicBezTo>
                  <a:cubicBezTo>
                    <a:pt x="3239" y="10930"/>
                    <a:pt x="3370" y="10954"/>
                    <a:pt x="3489" y="10954"/>
                  </a:cubicBezTo>
                  <a:cubicBezTo>
                    <a:pt x="3560" y="10954"/>
                    <a:pt x="3632" y="10942"/>
                    <a:pt x="3715" y="10930"/>
                  </a:cubicBezTo>
                  <a:cubicBezTo>
                    <a:pt x="3905" y="10871"/>
                    <a:pt x="4048" y="10716"/>
                    <a:pt x="4143" y="10537"/>
                  </a:cubicBezTo>
                  <a:lnTo>
                    <a:pt x="4644" y="9442"/>
                  </a:lnTo>
                  <a:cubicBezTo>
                    <a:pt x="5132" y="9644"/>
                    <a:pt x="5691" y="9752"/>
                    <a:pt x="6251" y="9752"/>
                  </a:cubicBezTo>
                  <a:cubicBezTo>
                    <a:pt x="6822" y="9752"/>
                    <a:pt x="7370" y="9633"/>
                    <a:pt x="7858" y="9442"/>
                  </a:cubicBezTo>
                  <a:lnTo>
                    <a:pt x="8370" y="10537"/>
                  </a:lnTo>
                  <a:cubicBezTo>
                    <a:pt x="8454" y="10716"/>
                    <a:pt x="8608" y="10871"/>
                    <a:pt x="8799" y="10930"/>
                  </a:cubicBezTo>
                  <a:cubicBezTo>
                    <a:pt x="8870" y="10954"/>
                    <a:pt x="8942" y="10954"/>
                    <a:pt x="9025" y="10954"/>
                  </a:cubicBezTo>
                  <a:cubicBezTo>
                    <a:pt x="9144" y="10954"/>
                    <a:pt x="9275" y="10930"/>
                    <a:pt x="9382" y="10871"/>
                  </a:cubicBezTo>
                  <a:cubicBezTo>
                    <a:pt x="9561" y="10764"/>
                    <a:pt x="9680" y="10597"/>
                    <a:pt x="9716" y="10406"/>
                  </a:cubicBezTo>
                  <a:cubicBezTo>
                    <a:pt x="9763" y="10216"/>
                    <a:pt x="9716" y="10002"/>
                    <a:pt x="9597" y="9847"/>
                  </a:cubicBezTo>
                  <a:lnTo>
                    <a:pt x="8882" y="8859"/>
                  </a:lnTo>
                  <a:cubicBezTo>
                    <a:pt x="9751" y="8192"/>
                    <a:pt x="10347" y="7204"/>
                    <a:pt x="10490" y="6073"/>
                  </a:cubicBezTo>
                  <a:lnTo>
                    <a:pt x="11704" y="6192"/>
                  </a:lnTo>
                  <a:lnTo>
                    <a:pt x="11775" y="6192"/>
                  </a:lnTo>
                  <a:cubicBezTo>
                    <a:pt x="11954" y="6192"/>
                    <a:pt x="12121" y="6132"/>
                    <a:pt x="12252" y="6013"/>
                  </a:cubicBezTo>
                  <a:cubicBezTo>
                    <a:pt x="12395" y="5882"/>
                    <a:pt x="12490" y="5692"/>
                    <a:pt x="12490" y="5489"/>
                  </a:cubicBezTo>
                  <a:cubicBezTo>
                    <a:pt x="12490" y="5299"/>
                    <a:pt x="12383" y="5084"/>
                    <a:pt x="12240" y="4941"/>
                  </a:cubicBezTo>
                  <a:cubicBezTo>
                    <a:pt x="12098" y="4821"/>
                    <a:pt x="11926" y="4761"/>
                    <a:pt x="11742" y="4761"/>
                  </a:cubicBezTo>
                  <a:cubicBezTo>
                    <a:pt x="11726" y="4761"/>
                    <a:pt x="11709" y="4762"/>
                    <a:pt x="11692" y="4763"/>
                  </a:cubicBezTo>
                  <a:lnTo>
                    <a:pt x="10478" y="4882"/>
                  </a:lnTo>
                  <a:cubicBezTo>
                    <a:pt x="10335" y="3751"/>
                    <a:pt x="9716" y="2775"/>
                    <a:pt x="8870" y="2096"/>
                  </a:cubicBezTo>
                  <a:lnTo>
                    <a:pt x="9585" y="1120"/>
                  </a:lnTo>
                  <a:cubicBezTo>
                    <a:pt x="9704" y="953"/>
                    <a:pt x="9751" y="750"/>
                    <a:pt x="9704" y="548"/>
                  </a:cubicBezTo>
                  <a:cubicBezTo>
                    <a:pt x="9668" y="358"/>
                    <a:pt x="9537" y="179"/>
                    <a:pt x="9370" y="96"/>
                  </a:cubicBezTo>
                  <a:cubicBezTo>
                    <a:pt x="9254" y="30"/>
                    <a:pt x="9134" y="0"/>
                    <a:pt x="9015" y="0"/>
                  </a:cubicBezTo>
                  <a:cubicBezTo>
                    <a:pt x="8938" y="0"/>
                    <a:pt x="8861" y="13"/>
                    <a:pt x="8787" y="36"/>
                  </a:cubicBezTo>
                  <a:cubicBezTo>
                    <a:pt x="8596" y="96"/>
                    <a:pt x="8442" y="238"/>
                    <a:pt x="8358" y="417"/>
                  </a:cubicBezTo>
                  <a:lnTo>
                    <a:pt x="7846" y="1524"/>
                  </a:lnTo>
                  <a:cubicBezTo>
                    <a:pt x="7358" y="1310"/>
                    <a:pt x="6810" y="1203"/>
                    <a:pt x="6239" y="1203"/>
                  </a:cubicBezTo>
                  <a:cubicBezTo>
                    <a:pt x="5679" y="1203"/>
                    <a:pt x="5120" y="1322"/>
                    <a:pt x="4632" y="1524"/>
                  </a:cubicBezTo>
                  <a:lnTo>
                    <a:pt x="4132" y="417"/>
                  </a:lnTo>
                  <a:cubicBezTo>
                    <a:pt x="4036" y="238"/>
                    <a:pt x="3893" y="96"/>
                    <a:pt x="3691" y="36"/>
                  </a:cubicBezTo>
                  <a:cubicBezTo>
                    <a:pt x="3617" y="13"/>
                    <a:pt x="3540" y="0"/>
                    <a:pt x="34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18" name="Google Shape;11218;p60"/>
          <p:cNvGrpSpPr/>
          <p:nvPr/>
        </p:nvGrpSpPr>
        <p:grpSpPr>
          <a:xfrm>
            <a:off x="3584201" y="4294996"/>
            <a:ext cx="267574" cy="329415"/>
            <a:chOff x="3584201" y="4294996"/>
            <a:chExt cx="267574" cy="329415"/>
          </a:xfrm>
        </p:grpSpPr>
        <p:sp>
          <p:nvSpPr>
            <p:cNvPr id="11219" name="Google Shape;11219;p60"/>
            <p:cNvSpPr/>
            <p:nvPr/>
          </p:nvSpPr>
          <p:spPr>
            <a:xfrm>
              <a:off x="3584201" y="4294996"/>
              <a:ext cx="267574" cy="329415"/>
            </a:xfrm>
            <a:custGeom>
              <a:avLst/>
              <a:gdLst/>
              <a:ahLst/>
              <a:cxnLst/>
              <a:rect l="l" t="t" r="r" b="b"/>
              <a:pathLst>
                <a:path w="8407" h="10350" extrusionOk="0">
                  <a:moveTo>
                    <a:pt x="4191" y="321"/>
                  </a:moveTo>
                  <a:lnTo>
                    <a:pt x="8097" y="1095"/>
                  </a:lnTo>
                  <a:lnTo>
                    <a:pt x="8097" y="6727"/>
                  </a:lnTo>
                  <a:lnTo>
                    <a:pt x="4191" y="10001"/>
                  </a:lnTo>
                  <a:lnTo>
                    <a:pt x="298" y="6727"/>
                  </a:lnTo>
                  <a:lnTo>
                    <a:pt x="298" y="1095"/>
                  </a:lnTo>
                  <a:lnTo>
                    <a:pt x="4191" y="321"/>
                  </a:lnTo>
                  <a:close/>
                  <a:moveTo>
                    <a:pt x="4168" y="0"/>
                  </a:moveTo>
                  <a:lnTo>
                    <a:pt x="120" y="810"/>
                  </a:lnTo>
                  <a:cubicBezTo>
                    <a:pt x="48" y="822"/>
                    <a:pt x="0" y="881"/>
                    <a:pt x="0" y="953"/>
                  </a:cubicBezTo>
                  <a:lnTo>
                    <a:pt x="0" y="6787"/>
                  </a:lnTo>
                  <a:cubicBezTo>
                    <a:pt x="0" y="6834"/>
                    <a:pt x="12" y="6882"/>
                    <a:pt x="60" y="6906"/>
                  </a:cubicBezTo>
                  <a:lnTo>
                    <a:pt x="4108" y="10323"/>
                  </a:lnTo>
                  <a:cubicBezTo>
                    <a:pt x="4138" y="10341"/>
                    <a:pt x="4171" y="10350"/>
                    <a:pt x="4203" y="10350"/>
                  </a:cubicBezTo>
                  <a:cubicBezTo>
                    <a:pt x="4236" y="10350"/>
                    <a:pt x="4269" y="10341"/>
                    <a:pt x="4299" y="10323"/>
                  </a:cubicBezTo>
                  <a:lnTo>
                    <a:pt x="8347" y="6906"/>
                  </a:lnTo>
                  <a:cubicBezTo>
                    <a:pt x="8382" y="6882"/>
                    <a:pt x="8406" y="6834"/>
                    <a:pt x="8406" y="6787"/>
                  </a:cubicBezTo>
                  <a:lnTo>
                    <a:pt x="8406" y="953"/>
                  </a:lnTo>
                  <a:cubicBezTo>
                    <a:pt x="8406" y="881"/>
                    <a:pt x="8347" y="822"/>
                    <a:pt x="8275" y="810"/>
                  </a:cubicBezTo>
                  <a:lnTo>
                    <a:pt x="4227"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0" name="Google Shape;11220;p60"/>
            <p:cNvSpPr/>
            <p:nvPr/>
          </p:nvSpPr>
          <p:spPr>
            <a:xfrm>
              <a:off x="3604666" y="4315811"/>
              <a:ext cx="226644" cy="281610"/>
            </a:xfrm>
            <a:custGeom>
              <a:avLst/>
              <a:gdLst/>
              <a:ahLst/>
              <a:cxnLst/>
              <a:rect l="l" t="t" r="r" b="b"/>
              <a:pathLst>
                <a:path w="7121" h="8848" extrusionOk="0">
                  <a:moveTo>
                    <a:pt x="3525" y="1"/>
                  </a:moveTo>
                  <a:lnTo>
                    <a:pt x="119" y="691"/>
                  </a:lnTo>
                  <a:cubicBezTo>
                    <a:pt x="36" y="703"/>
                    <a:pt x="0" y="763"/>
                    <a:pt x="0" y="834"/>
                  </a:cubicBezTo>
                  <a:lnTo>
                    <a:pt x="0" y="5835"/>
                  </a:lnTo>
                  <a:cubicBezTo>
                    <a:pt x="0" y="5883"/>
                    <a:pt x="12" y="5930"/>
                    <a:pt x="60" y="5954"/>
                  </a:cubicBezTo>
                  <a:lnTo>
                    <a:pt x="3465" y="8811"/>
                  </a:lnTo>
                  <a:cubicBezTo>
                    <a:pt x="3495" y="8835"/>
                    <a:pt x="3528" y="8847"/>
                    <a:pt x="3560" y="8847"/>
                  </a:cubicBezTo>
                  <a:cubicBezTo>
                    <a:pt x="3593" y="8847"/>
                    <a:pt x="3626" y="8835"/>
                    <a:pt x="3656" y="8811"/>
                  </a:cubicBezTo>
                  <a:lnTo>
                    <a:pt x="7061" y="5954"/>
                  </a:lnTo>
                  <a:cubicBezTo>
                    <a:pt x="7097" y="5930"/>
                    <a:pt x="7120" y="5883"/>
                    <a:pt x="7120" y="5835"/>
                  </a:cubicBezTo>
                  <a:lnTo>
                    <a:pt x="7120" y="4609"/>
                  </a:lnTo>
                  <a:cubicBezTo>
                    <a:pt x="7120" y="4513"/>
                    <a:pt x="7049" y="4454"/>
                    <a:pt x="6977" y="4454"/>
                  </a:cubicBezTo>
                  <a:cubicBezTo>
                    <a:pt x="6882" y="4454"/>
                    <a:pt x="6823" y="4525"/>
                    <a:pt x="6823" y="4609"/>
                  </a:cubicBezTo>
                  <a:lnTo>
                    <a:pt x="6823" y="5763"/>
                  </a:lnTo>
                  <a:lnTo>
                    <a:pt x="3572" y="8502"/>
                  </a:lnTo>
                  <a:lnTo>
                    <a:pt x="298" y="5763"/>
                  </a:lnTo>
                  <a:lnTo>
                    <a:pt x="298" y="953"/>
                  </a:lnTo>
                  <a:lnTo>
                    <a:pt x="3548" y="299"/>
                  </a:lnTo>
                  <a:lnTo>
                    <a:pt x="6811" y="953"/>
                  </a:lnTo>
                  <a:lnTo>
                    <a:pt x="6811" y="3847"/>
                  </a:lnTo>
                  <a:cubicBezTo>
                    <a:pt x="6799" y="3930"/>
                    <a:pt x="6870" y="4013"/>
                    <a:pt x="6966" y="4013"/>
                  </a:cubicBezTo>
                  <a:cubicBezTo>
                    <a:pt x="7049" y="4013"/>
                    <a:pt x="7108" y="3930"/>
                    <a:pt x="7108" y="3858"/>
                  </a:cubicBezTo>
                  <a:lnTo>
                    <a:pt x="7108" y="834"/>
                  </a:lnTo>
                  <a:cubicBezTo>
                    <a:pt x="7108" y="763"/>
                    <a:pt x="7061" y="703"/>
                    <a:pt x="6989" y="691"/>
                  </a:cubicBezTo>
                  <a:lnTo>
                    <a:pt x="3584"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1" name="Google Shape;11221;p60"/>
            <p:cNvSpPr/>
            <p:nvPr/>
          </p:nvSpPr>
          <p:spPr>
            <a:xfrm>
              <a:off x="3645597" y="4362056"/>
              <a:ext cx="144019" cy="144019"/>
            </a:xfrm>
            <a:custGeom>
              <a:avLst/>
              <a:gdLst/>
              <a:ahLst/>
              <a:cxnLst/>
              <a:rect l="l" t="t" r="r" b="b"/>
              <a:pathLst>
                <a:path w="4525" h="4525" extrusionOk="0">
                  <a:moveTo>
                    <a:pt x="2262" y="322"/>
                  </a:moveTo>
                  <a:cubicBezTo>
                    <a:pt x="3334" y="322"/>
                    <a:pt x="4215" y="1203"/>
                    <a:pt x="4215" y="2275"/>
                  </a:cubicBezTo>
                  <a:cubicBezTo>
                    <a:pt x="4215" y="3346"/>
                    <a:pt x="3334" y="4227"/>
                    <a:pt x="2262" y="4227"/>
                  </a:cubicBezTo>
                  <a:cubicBezTo>
                    <a:pt x="1191" y="4227"/>
                    <a:pt x="322" y="3346"/>
                    <a:pt x="322" y="2275"/>
                  </a:cubicBezTo>
                  <a:cubicBezTo>
                    <a:pt x="322" y="1203"/>
                    <a:pt x="1191" y="322"/>
                    <a:pt x="2262" y="322"/>
                  </a:cubicBezTo>
                  <a:close/>
                  <a:moveTo>
                    <a:pt x="2262" y="0"/>
                  </a:moveTo>
                  <a:cubicBezTo>
                    <a:pt x="1012" y="0"/>
                    <a:pt x="0" y="1012"/>
                    <a:pt x="0" y="2263"/>
                  </a:cubicBezTo>
                  <a:cubicBezTo>
                    <a:pt x="0" y="3513"/>
                    <a:pt x="1012" y="4525"/>
                    <a:pt x="2262" y="4525"/>
                  </a:cubicBezTo>
                  <a:cubicBezTo>
                    <a:pt x="3513" y="4525"/>
                    <a:pt x="4525" y="3513"/>
                    <a:pt x="4525" y="2263"/>
                  </a:cubicBezTo>
                  <a:cubicBezTo>
                    <a:pt x="4525" y="1012"/>
                    <a:pt x="3513" y="0"/>
                    <a:pt x="2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2" name="Google Shape;11222;p60"/>
            <p:cNvSpPr/>
            <p:nvPr/>
          </p:nvSpPr>
          <p:spPr>
            <a:xfrm>
              <a:off x="3692574" y="4377970"/>
              <a:ext cx="51561" cy="112574"/>
            </a:xfrm>
            <a:custGeom>
              <a:avLst/>
              <a:gdLst/>
              <a:ahLst/>
              <a:cxnLst/>
              <a:rect l="l" t="t" r="r" b="b"/>
              <a:pathLst>
                <a:path w="1620" h="3537" extrusionOk="0">
                  <a:moveTo>
                    <a:pt x="810" y="0"/>
                  </a:moveTo>
                  <a:cubicBezTo>
                    <a:pt x="727" y="0"/>
                    <a:pt x="656" y="72"/>
                    <a:pt x="656" y="155"/>
                  </a:cubicBezTo>
                  <a:lnTo>
                    <a:pt x="656" y="489"/>
                  </a:lnTo>
                  <a:cubicBezTo>
                    <a:pt x="298" y="524"/>
                    <a:pt x="1" y="834"/>
                    <a:pt x="1" y="1203"/>
                  </a:cubicBezTo>
                  <a:cubicBezTo>
                    <a:pt x="1" y="1608"/>
                    <a:pt x="334" y="1917"/>
                    <a:pt x="715" y="1917"/>
                  </a:cubicBezTo>
                  <a:lnTo>
                    <a:pt x="882" y="1917"/>
                  </a:lnTo>
                  <a:cubicBezTo>
                    <a:pt x="1108" y="1917"/>
                    <a:pt x="1298" y="2108"/>
                    <a:pt x="1298" y="2334"/>
                  </a:cubicBezTo>
                  <a:cubicBezTo>
                    <a:pt x="1298" y="2560"/>
                    <a:pt x="1108" y="2751"/>
                    <a:pt x="882" y="2751"/>
                  </a:cubicBezTo>
                  <a:lnTo>
                    <a:pt x="644" y="2751"/>
                  </a:lnTo>
                  <a:cubicBezTo>
                    <a:pt x="465" y="2751"/>
                    <a:pt x="310" y="2608"/>
                    <a:pt x="310" y="2429"/>
                  </a:cubicBezTo>
                  <a:cubicBezTo>
                    <a:pt x="310" y="2334"/>
                    <a:pt x="239" y="2275"/>
                    <a:pt x="167" y="2275"/>
                  </a:cubicBezTo>
                  <a:cubicBezTo>
                    <a:pt x="84" y="2275"/>
                    <a:pt x="13" y="2346"/>
                    <a:pt x="13" y="2429"/>
                  </a:cubicBezTo>
                  <a:cubicBezTo>
                    <a:pt x="13" y="2787"/>
                    <a:pt x="298" y="3060"/>
                    <a:pt x="656" y="3060"/>
                  </a:cubicBezTo>
                  <a:lnTo>
                    <a:pt x="667" y="3060"/>
                  </a:lnTo>
                  <a:lnTo>
                    <a:pt x="667" y="3394"/>
                  </a:lnTo>
                  <a:cubicBezTo>
                    <a:pt x="667" y="3477"/>
                    <a:pt x="739" y="3537"/>
                    <a:pt x="822" y="3537"/>
                  </a:cubicBezTo>
                  <a:cubicBezTo>
                    <a:pt x="894" y="3537"/>
                    <a:pt x="965" y="3465"/>
                    <a:pt x="965" y="3394"/>
                  </a:cubicBezTo>
                  <a:lnTo>
                    <a:pt x="965" y="3048"/>
                  </a:lnTo>
                  <a:cubicBezTo>
                    <a:pt x="1322" y="3025"/>
                    <a:pt x="1620" y="2703"/>
                    <a:pt x="1620" y="2334"/>
                  </a:cubicBezTo>
                  <a:cubicBezTo>
                    <a:pt x="1620" y="1929"/>
                    <a:pt x="1298" y="1620"/>
                    <a:pt x="906" y="1620"/>
                  </a:cubicBezTo>
                  <a:lnTo>
                    <a:pt x="739" y="1620"/>
                  </a:lnTo>
                  <a:cubicBezTo>
                    <a:pt x="525" y="1620"/>
                    <a:pt x="334" y="1429"/>
                    <a:pt x="334" y="1203"/>
                  </a:cubicBezTo>
                  <a:cubicBezTo>
                    <a:pt x="334" y="977"/>
                    <a:pt x="525" y="786"/>
                    <a:pt x="739" y="786"/>
                  </a:cubicBezTo>
                  <a:lnTo>
                    <a:pt x="977" y="786"/>
                  </a:lnTo>
                  <a:cubicBezTo>
                    <a:pt x="1167" y="786"/>
                    <a:pt x="1310" y="941"/>
                    <a:pt x="1310" y="1120"/>
                  </a:cubicBezTo>
                  <a:lnTo>
                    <a:pt x="1310" y="1286"/>
                  </a:lnTo>
                  <a:cubicBezTo>
                    <a:pt x="1310" y="1358"/>
                    <a:pt x="1382" y="1429"/>
                    <a:pt x="1465" y="1429"/>
                  </a:cubicBezTo>
                  <a:cubicBezTo>
                    <a:pt x="1548" y="1429"/>
                    <a:pt x="1608" y="1358"/>
                    <a:pt x="1608" y="1286"/>
                  </a:cubicBezTo>
                  <a:lnTo>
                    <a:pt x="1608" y="1120"/>
                  </a:lnTo>
                  <a:cubicBezTo>
                    <a:pt x="1608" y="762"/>
                    <a:pt x="1322" y="477"/>
                    <a:pt x="965" y="477"/>
                  </a:cubicBezTo>
                  <a:lnTo>
                    <a:pt x="953" y="477"/>
                  </a:lnTo>
                  <a:lnTo>
                    <a:pt x="953" y="155"/>
                  </a:lnTo>
                  <a:cubicBezTo>
                    <a:pt x="953" y="60"/>
                    <a:pt x="882"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3" name="Google Shape;11223;p60"/>
          <p:cNvGrpSpPr/>
          <p:nvPr/>
        </p:nvGrpSpPr>
        <p:grpSpPr>
          <a:xfrm>
            <a:off x="3082855" y="4295728"/>
            <a:ext cx="375946" cy="327823"/>
            <a:chOff x="3082855" y="4295728"/>
            <a:chExt cx="375946" cy="327823"/>
          </a:xfrm>
        </p:grpSpPr>
        <p:sp>
          <p:nvSpPr>
            <p:cNvPr id="11224" name="Google Shape;11224;p60"/>
            <p:cNvSpPr/>
            <p:nvPr/>
          </p:nvSpPr>
          <p:spPr>
            <a:xfrm>
              <a:off x="3082855" y="4295728"/>
              <a:ext cx="375946" cy="327823"/>
            </a:xfrm>
            <a:custGeom>
              <a:avLst/>
              <a:gdLst/>
              <a:ahLst/>
              <a:cxnLst/>
              <a:rect l="l" t="t" r="r" b="b"/>
              <a:pathLst>
                <a:path w="11812" h="10300" extrusionOk="0">
                  <a:moveTo>
                    <a:pt x="6644" y="358"/>
                  </a:moveTo>
                  <a:lnTo>
                    <a:pt x="6311" y="3311"/>
                  </a:lnTo>
                  <a:cubicBezTo>
                    <a:pt x="6311" y="3311"/>
                    <a:pt x="6311" y="3335"/>
                    <a:pt x="6299" y="3335"/>
                  </a:cubicBezTo>
                  <a:lnTo>
                    <a:pt x="5525" y="3335"/>
                  </a:lnTo>
                  <a:cubicBezTo>
                    <a:pt x="5525" y="3335"/>
                    <a:pt x="5513" y="3335"/>
                    <a:pt x="5513" y="3311"/>
                  </a:cubicBezTo>
                  <a:lnTo>
                    <a:pt x="5180" y="358"/>
                  </a:lnTo>
                  <a:close/>
                  <a:moveTo>
                    <a:pt x="11240" y="2930"/>
                  </a:moveTo>
                  <a:cubicBezTo>
                    <a:pt x="11347" y="2930"/>
                    <a:pt x="11431" y="3013"/>
                    <a:pt x="11431" y="3120"/>
                  </a:cubicBezTo>
                  <a:lnTo>
                    <a:pt x="11431" y="9764"/>
                  </a:lnTo>
                  <a:lnTo>
                    <a:pt x="11454" y="9764"/>
                  </a:lnTo>
                  <a:cubicBezTo>
                    <a:pt x="11454" y="9859"/>
                    <a:pt x="11359" y="9954"/>
                    <a:pt x="11252" y="9954"/>
                  </a:cubicBezTo>
                  <a:lnTo>
                    <a:pt x="560" y="9954"/>
                  </a:lnTo>
                  <a:cubicBezTo>
                    <a:pt x="453" y="9954"/>
                    <a:pt x="358" y="9859"/>
                    <a:pt x="358" y="9764"/>
                  </a:cubicBezTo>
                  <a:lnTo>
                    <a:pt x="358" y="3120"/>
                  </a:lnTo>
                  <a:cubicBezTo>
                    <a:pt x="358" y="3013"/>
                    <a:pt x="453" y="2930"/>
                    <a:pt x="560" y="2930"/>
                  </a:cubicBezTo>
                  <a:lnTo>
                    <a:pt x="5108" y="2930"/>
                  </a:lnTo>
                  <a:lnTo>
                    <a:pt x="5156" y="3346"/>
                  </a:lnTo>
                  <a:cubicBezTo>
                    <a:pt x="5168" y="3525"/>
                    <a:pt x="5335" y="3656"/>
                    <a:pt x="5513" y="3656"/>
                  </a:cubicBezTo>
                  <a:lnTo>
                    <a:pt x="6287" y="3656"/>
                  </a:lnTo>
                  <a:cubicBezTo>
                    <a:pt x="6466" y="3656"/>
                    <a:pt x="6608" y="3525"/>
                    <a:pt x="6644" y="3346"/>
                  </a:cubicBezTo>
                  <a:lnTo>
                    <a:pt x="6692" y="2930"/>
                  </a:lnTo>
                  <a:close/>
                  <a:moveTo>
                    <a:pt x="4977" y="1"/>
                  </a:moveTo>
                  <a:cubicBezTo>
                    <a:pt x="4930" y="1"/>
                    <a:pt x="4882" y="13"/>
                    <a:pt x="4846" y="60"/>
                  </a:cubicBezTo>
                  <a:cubicBezTo>
                    <a:pt x="4811" y="84"/>
                    <a:pt x="4799" y="144"/>
                    <a:pt x="4799" y="191"/>
                  </a:cubicBezTo>
                  <a:lnTo>
                    <a:pt x="5061" y="2584"/>
                  </a:lnTo>
                  <a:lnTo>
                    <a:pt x="536" y="2584"/>
                  </a:lnTo>
                  <a:cubicBezTo>
                    <a:pt x="239" y="2584"/>
                    <a:pt x="1" y="2823"/>
                    <a:pt x="1" y="3120"/>
                  </a:cubicBezTo>
                  <a:lnTo>
                    <a:pt x="1" y="9764"/>
                  </a:lnTo>
                  <a:cubicBezTo>
                    <a:pt x="1" y="10062"/>
                    <a:pt x="239" y="10300"/>
                    <a:pt x="536" y="10300"/>
                  </a:cubicBezTo>
                  <a:lnTo>
                    <a:pt x="11240" y="10300"/>
                  </a:lnTo>
                  <a:cubicBezTo>
                    <a:pt x="11538" y="10300"/>
                    <a:pt x="11776" y="10062"/>
                    <a:pt x="11776" y="9764"/>
                  </a:cubicBezTo>
                  <a:lnTo>
                    <a:pt x="11776" y="3120"/>
                  </a:lnTo>
                  <a:cubicBezTo>
                    <a:pt x="11812" y="2823"/>
                    <a:pt x="11550" y="2584"/>
                    <a:pt x="11252" y="2584"/>
                  </a:cubicBezTo>
                  <a:lnTo>
                    <a:pt x="6728" y="2584"/>
                  </a:lnTo>
                  <a:lnTo>
                    <a:pt x="7001" y="191"/>
                  </a:lnTo>
                  <a:cubicBezTo>
                    <a:pt x="7001" y="144"/>
                    <a:pt x="6989" y="84"/>
                    <a:pt x="6954" y="60"/>
                  </a:cubicBezTo>
                  <a:cubicBezTo>
                    <a:pt x="6930" y="25"/>
                    <a:pt x="6882" y="1"/>
                    <a:pt x="6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5" name="Google Shape;11225;p60"/>
            <p:cNvSpPr/>
            <p:nvPr/>
          </p:nvSpPr>
          <p:spPr>
            <a:xfrm>
              <a:off x="3118852" y="4424947"/>
              <a:ext cx="128488" cy="163371"/>
            </a:xfrm>
            <a:custGeom>
              <a:avLst/>
              <a:gdLst/>
              <a:ahLst/>
              <a:cxnLst/>
              <a:rect l="l" t="t" r="r" b="b"/>
              <a:pathLst>
                <a:path w="4037" h="5133" extrusionOk="0">
                  <a:moveTo>
                    <a:pt x="2203" y="1251"/>
                  </a:moveTo>
                  <a:cubicBezTo>
                    <a:pt x="2418" y="1251"/>
                    <a:pt x="2596" y="1418"/>
                    <a:pt x="2596" y="1632"/>
                  </a:cubicBezTo>
                  <a:lnTo>
                    <a:pt x="2596" y="2013"/>
                  </a:lnTo>
                  <a:cubicBezTo>
                    <a:pt x="2584" y="2323"/>
                    <a:pt x="2322" y="2573"/>
                    <a:pt x="2013" y="2573"/>
                  </a:cubicBezTo>
                  <a:cubicBezTo>
                    <a:pt x="1703" y="2573"/>
                    <a:pt x="1453" y="2323"/>
                    <a:pt x="1453" y="2013"/>
                  </a:cubicBezTo>
                  <a:lnTo>
                    <a:pt x="1453" y="1632"/>
                  </a:lnTo>
                  <a:cubicBezTo>
                    <a:pt x="1453" y="1430"/>
                    <a:pt x="1608" y="1251"/>
                    <a:pt x="1834" y="1251"/>
                  </a:cubicBezTo>
                  <a:close/>
                  <a:moveTo>
                    <a:pt x="2191" y="2906"/>
                  </a:moveTo>
                  <a:lnTo>
                    <a:pt x="2191" y="3001"/>
                  </a:lnTo>
                  <a:cubicBezTo>
                    <a:pt x="2203" y="3061"/>
                    <a:pt x="2227" y="3144"/>
                    <a:pt x="2251" y="3180"/>
                  </a:cubicBezTo>
                  <a:lnTo>
                    <a:pt x="2013" y="3418"/>
                  </a:lnTo>
                  <a:lnTo>
                    <a:pt x="2001" y="3418"/>
                  </a:lnTo>
                  <a:lnTo>
                    <a:pt x="1763" y="3180"/>
                  </a:lnTo>
                  <a:cubicBezTo>
                    <a:pt x="1787" y="3120"/>
                    <a:pt x="1798" y="3061"/>
                    <a:pt x="1798" y="3001"/>
                  </a:cubicBezTo>
                  <a:lnTo>
                    <a:pt x="1798" y="2906"/>
                  </a:lnTo>
                  <a:cubicBezTo>
                    <a:pt x="1858" y="2918"/>
                    <a:pt x="1941" y="2918"/>
                    <a:pt x="2001" y="2918"/>
                  </a:cubicBezTo>
                  <a:cubicBezTo>
                    <a:pt x="2060" y="2918"/>
                    <a:pt x="2132" y="2906"/>
                    <a:pt x="2191" y="2906"/>
                  </a:cubicBezTo>
                  <a:close/>
                  <a:moveTo>
                    <a:pt x="2525" y="3394"/>
                  </a:moveTo>
                  <a:lnTo>
                    <a:pt x="2822" y="3537"/>
                  </a:lnTo>
                  <a:cubicBezTo>
                    <a:pt x="2882" y="3573"/>
                    <a:pt x="2918" y="3644"/>
                    <a:pt x="2918" y="3716"/>
                  </a:cubicBezTo>
                  <a:lnTo>
                    <a:pt x="2918" y="4787"/>
                  </a:lnTo>
                  <a:lnTo>
                    <a:pt x="1072" y="4787"/>
                  </a:lnTo>
                  <a:lnTo>
                    <a:pt x="1072" y="3716"/>
                  </a:lnTo>
                  <a:cubicBezTo>
                    <a:pt x="1072" y="3644"/>
                    <a:pt x="1120" y="3573"/>
                    <a:pt x="1179" y="3537"/>
                  </a:cubicBezTo>
                  <a:lnTo>
                    <a:pt x="1477" y="3394"/>
                  </a:lnTo>
                  <a:lnTo>
                    <a:pt x="1751" y="3656"/>
                  </a:lnTo>
                  <a:cubicBezTo>
                    <a:pt x="1822" y="3728"/>
                    <a:pt x="1906" y="3763"/>
                    <a:pt x="2001" y="3763"/>
                  </a:cubicBezTo>
                  <a:cubicBezTo>
                    <a:pt x="2084" y="3763"/>
                    <a:pt x="2179" y="3728"/>
                    <a:pt x="2251" y="3656"/>
                  </a:cubicBezTo>
                  <a:lnTo>
                    <a:pt x="2525" y="3394"/>
                  </a:lnTo>
                  <a:close/>
                  <a:moveTo>
                    <a:pt x="3680" y="334"/>
                  </a:moveTo>
                  <a:cubicBezTo>
                    <a:pt x="3680" y="334"/>
                    <a:pt x="3692" y="334"/>
                    <a:pt x="3692" y="358"/>
                  </a:cubicBezTo>
                  <a:lnTo>
                    <a:pt x="3692" y="4775"/>
                  </a:lnTo>
                  <a:lnTo>
                    <a:pt x="3680" y="4775"/>
                  </a:lnTo>
                  <a:lnTo>
                    <a:pt x="3299" y="4787"/>
                  </a:lnTo>
                  <a:lnTo>
                    <a:pt x="3299" y="3716"/>
                  </a:lnTo>
                  <a:cubicBezTo>
                    <a:pt x="3299" y="3513"/>
                    <a:pt x="3180" y="3335"/>
                    <a:pt x="3001" y="3227"/>
                  </a:cubicBezTo>
                  <a:lnTo>
                    <a:pt x="2560" y="3001"/>
                  </a:lnTo>
                  <a:lnTo>
                    <a:pt x="2560" y="2989"/>
                  </a:lnTo>
                  <a:lnTo>
                    <a:pt x="2560" y="2739"/>
                  </a:lnTo>
                  <a:cubicBezTo>
                    <a:pt x="2787" y="2573"/>
                    <a:pt x="2941" y="2311"/>
                    <a:pt x="2941" y="2013"/>
                  </a:cubicBezTo>
                  <a:lnTo>
                    <a:pt x="2941" y="1632"/>
                  </a:lnTo>
                  <a:cubicBezTo>
                    <a:pt x="2941" y="1227"/>
                    <a:pt x="2608" y="906"/>
                    <a:pt x="2203" y="906"/>
                  </a:cubicBezTo>
                  <a:lnTo>
                    <a:pt x="1834" y="906"/>
                  </a:lnTo>
                  <a:cubicBezTo>
                    <a:pt x="1429" y="906"/>
                    <a:pt x="1108" y="1239"/>
                    <a:pt x="1108" y="1632"/>
                  </a:cubicBezTo>
                  <a:lnTo>
                    <a:pt x="1108" y="2013"/>
                  </a:lnTo>
                  <a:cubicBezTo>
                    <a:pt x="1108" y="2311"/>
                    <a:pt x="1251" y="2573"/>
                    <a:pt x="1477" y="2739"/>
                  </a:cubicBezTo>
                  <a:lnTo>
                    <a:pt x="1477" y="2989"/>
                  </a:lnTo>
                  <a:lnTo>
                    <a:pt x="1477" y="3001"/>
                  </a:lnTo>
                  <a:lnTo>
                    <a:pt x="1048" y="3227"/>
                  </a:lnTo>
                  <a:cubicBezTo>
                    <a:pt x="870" y="3323"/>
                    <a:pt x="751" y="3513"/>
                    <a:pt x="751" y="3716"/>
                  </a:cubicBezTo>
                  <a:lnTo>
                    <a:pt x="751" y="4787"/>
                  </a:lnTo>
                  <a:lnTo>
                    <a:pt x="358" y="4787"/>
                  </a:lnTo>
                  <a:cubicBezTo>
                    <a:pt x="358" y="4787"/>
                    <a:pt x="346" y="4787"/>
                    <a:pt x="346" y="4775"/>
                  </a:cubicBezTo>
                  <a:lnTo>
                    <a:pt x="346" y="358"/>
                  </a:lnTo>
                  <a:cubicBezTo>
                    <a:pt x="346" y="358"/>
                    <a:pt x="346" y="334"/>
                    <a:pt x="358" y="334"/>
                  </a:cubicBezTo>
                  <a:close/>
                  <a:moveTo>
                    <a:pt x="358" y="1"/>
                  </a:moveTo>
                  <a:cubicBezTo>
                    <a:pt x="167" y="1"/>
                    <a:pt x="1" y="168"/>
                    <a:pt x="1" y="358"/>
                  </a:cubicBezTo>
                  <a:lnTo>
                    <a:pt x="1" y="4775"/>
                  </a:lnTo>
                  <a:cubicBezTo>
                    <a:pt x="1" y="4966"/>
                    <a:pt x="167" y="5132"/>
                    <a:pt x="358" y="5132"/>
                  </a:cubicBezTo>
                  <a:lnTo>
                    <a:pt x="3680" y="5132"/>
                  </a:lnTo>
                  <a:cubicBezTo>
                    <a:pt x="3870" y="5132"/>
                    <a:pt x="4037" y="4966"/>
                    <a:pt x="4037" y="4775"/>
                  </a:cubicBezTo>
                  <a:lnTo>
                    <a:pt x="4037" y="358"/>
                  </a:lnTo>
                  <a:cubicBezTo>
                    <a:pt x="4037" y="168"/>
                    <a:pt x="3870"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6" name="Google Shape;11226;p60"/>
            <p:cNvSpPr/>
            <p:nvPr/>
          </p:nvSpPr>
          <p:spPr>
            <a:xfrm>
              <a:off x="3271178" y="4424947"/>
              <a:ext cx="152008" cy="34533"/>
            </a:xfrm>
            <a:custGeom>
              <a:avLst/>
              <a:gdLst/>
              <a:ahLst/>
              <a:cxnLst/>
              <a:rect l="l" t="t" r="r" b="b"/>
              <a:pathLst>
                <a:path w="4776" h="1085" extrusionOk="0">
                  <a:moveTo>
                    <a:pt x="4430" y="346"/>
                  </a:moveTo>
                  <a:cubicBezTo>
                    <a:pt x="4430" y="346"/>
                    <a:pt x="4442" y="346"/>
                    <a:pt x="4442" y="358"/>
                  </a:cubicBezTo>
                  <a:lnTo>
                    <a:pt x="4442" y="727"/>
                  </a:lnTo>
                  <a:lnTo>
                    <a:pt x="4430" y="727"/>
                  </a:lnTo>
                  <a:lnTo>
                    <a:pt x="370" y="739"/>
                  </a:lnTo>
                  <a:cubicBezTo>
                    <a:pt x="370" y="739"/>
                    <a:pt x="358" y="739"/>
                    <a:pt x="358" y="727"/>
                  </a:cubicBezTo>
                  <a:lnTo>
                    <a:pt x="358" y="358"/>
                  </a:lnTo>
                  <a:cubicBezTo>
                    <a:pt x="358" y="358"/>
                    <a:pt x="358" y="346"/>
                    <a:pt x="370" y="346"/>
                  </a:cubicBezTo>
                  <a:close/>
                  <a:moveTo>
                    <a:pt x="358" y="1"/>
                  </a:moveTo>
                  <a:cubicBezTo>
                    <a:pt x="156" y="1"/>
                    <a:pt x="1" y="168"/>
                    <a:pt x="1" y="358"/>
                  </a:cubicBezTo>
                  <a:lnTo>
                    <a:pt x="1" y="727"/>
                  </a:lnTo>
                  <a:cubicBezTo>
                    <a:pt x="1" y="918"/>
                    <a:pt x="156" y="1084"/>
                    <a:pt x="358" y="1084"/>
                  </a:cubicBezTo>
                  <a:lnTo>
                    <a:pt x="4418" y="1084"/>
                  </a:lnTo>
                  <a:cubicBezTo>
                    <a:pt x="4609" y="1084"/>
                    <a:pt x="4775" y="918"/>
                    <a:pt x="4775" y="727"/>
                  </a:cubicBezTo>
                  <a:lnTo>
                    <a:pt x="4775" y="358"/>
                  </a:lnTo>
                  <a:cubicBezTo>
                    <a:pt x="4775" y="168"/>
                    <a:pt x="4621" y="1"/>
                    <a:pt x="4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7" name="Google Shape;11227;p60"/>
            <p:cNvSpPr/>
            <p:nvPr/>
          </p:nvSpPr>
          <p:spPr>
            <a:xfrm>
              <a:off x="3271560" y="4471957"/>
              <a:ext cx="116393" cy="34501"/>
            </a:xfrm>
            <a:custGeom>
              <a:avLst/>
              <a:gdLst/>
              <a:ahLst/>
              <a:cxnLst/>
              <a:rect l="l" t="t" r="r" b="b"/>
              <a:pathLst>
                <a:path w="3657" h="1084" extrusionOk="0">
                  <a:moveTo>
                    <a:pt x="3299" y="334"/>
                  </a:moveTo>
                  <a:cubicBezTo>
                    <a:pt x="3299" y="334"/>
                    <a:pt x="3323" y="334"/>
                    <a:pt x="3323" y="357"/>
                  </a:cubicBezTo>
                  <a:lnTo>
                    <a:pt x="3323" y="727"/>
                  </a:lnTo>
                  <a:lnTo>
                    <a:pt x="358" y="738"/>
                  </a:lnTo>
                  <a:cubicBezTo>
                    <a:pt x="358" y="738"/>
                    <a:pt x="346" y="738"/>
                    <a:pt x="346" y="727"/>
                  </a:cubicBezTo>
                  <a:lnTo>
                    <a:pt x="346" y="357"/>
                  </a:lnTo>
                  <a:cubicBezTo>
                    <a:pt x="346" y="357"/>
                    <a:pt x="346" y="334"/>
                    <a:pt x="358" y="334"/>
                  </a:cubicBezTo>
                  <a:close/>
                  <a:moveTo>
                    <a:pt x="358" y="0"/>
                  </a:moveTo>
                  <a:cubicBezTo>
                    <a:pt x="168" y="0"/>
                    <a:pt x="1" y="155"/>
                    <a:pt x="1" y="357"/>
                  </a:cubicBezTo>
                  <a:lnTo>
                    <a:pt x="1" y="727"/>
                  </a:lnTo>
                  <a:cubicBezTo>
                    <a:pt x="1" y="917"/>
                    <a:pt x="168" y="1084"/>
                    <a:pt x="358" y="1084"/>
                  </a:cubicBezTo>
                  <a:lnTo>
                    <a:pt x="3299" y="1084"/>
                  </a:lnTo>
                  <a:cubicBezTo>
                    <a:pt x="3489" y="1084"/>
                    <a:pt x="3656" y="917"/>
                    <a:pt x="3656" y="727"/>
                  </a:cubicBezTo>
                  <a:lnTo>
                    <a:pt x="3656" y="357"/>
                  </a:lnTo>
                  <a:cubicBezTo>
                    <a:pt x="3656" y="155"/>
                    <a:pt x="3501" y="0"/>
                    <a:pt x="3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8" name="Google Shape;11228;p60"/>
            <p:cNvSpPr/>
            <p:nvPr/>
          </p:nvSpPr>
          <p:spPr>
            <a:xfrm>
              <a:off x="3271178" y="4518552"/>
              <a:ext cx="70148" cy="11394"/>
            </a:xfrm>
            <a:custGeom>
              <a:avLst/>
              <a:gdLst/>
              <a:ahLst/>
              <a:cxnLst/>
              <a:rect l="l" t="t" r="r" b="b"/>
              <a:pathLst>
                <a:path w="2204" h="358" extrusionOk="0">
                  <a:moveTo>
                    <a:pt x="180" y="1"/>
                  </a:moveTo>
                  <a:cubicBezTo>
                    <a:pt x="84" y="1"/>
                    <a:pt x="1" y="84"/>
                    <a:pt x="1" y="179"/>
                  </a:cubicBezTo>
                  <a:cubicBezTo>
                    <a:pt x="1" y="286"/>
                    <a:pt x="72" y="358"/>
                    <a:pt x="180" y="358"/>
                  </a:cubicBezTo>
                  <a:lnTo>
                    <a:pt x="2025" y="358"/>
                  </a:lnTo>
                  <a:cubicBezTo>
                    <a:pt x="2108" y="358"/>
                    <a:pt x="2204" y="286"/>
                    <a:pt x="2204" y="179"/>
                  </a:cubicBezTo>
                  <a:cubicBezTo>
                    <a:pt x="2204" y="84"/>
                    <a:pt x="2120" y="1"/>
                    <a:pt x="2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9" name="Google Shape;11229;p60"/>
            <p:cNvSpPr/>
            <p:nvPr/>
          </p:nvSpPr>
          <p:spPr>
            <a:xfrm>
              <a:off x="3353038" y="4518552"/>
              <a:ext cx="34915" cy="11394"/>
            </a:xfrm>
            <a:custGeom>
              <a:avLst/>
              <a:gdLst/>
              <a:ahLst/>
              <a:cxnLst/>
              <a:rect l="l" t="t" r="r" b="b"/>
              <a:pathLst>
                <a:path w="1097" h="358" extrusionOk="0">
                  <a:moveTo>
                    <a:pt x="179" y="1"/>
                  </a:moveTo>
                  <a:cubicBezTo>
                    <a:pt x="84" y="1"/>
                    <a:pt x="1" y="84"/>
                    <a:pt x="1" y="179"/>
                  </a:cubicBezTo>
                  <a:cubicBezTo>
                    <a:pt x="1" y="286"/>
                    <a:pt x="72" y="358"/>
                    <a:pt x="179" y="358"/>
                  </a:cubicBezTo>
                  <a:lnTo>
                    <a:pt x="917" y="358"/>
                  </a:lnTo>
                  <a:cubicBezTo>
                    <a:pt x="1013" y="358"/>
                    <a:pt x="1096" y="286"/>
                    <a:pt x="1096" y="179"/>
                  </a:cubicBezTo>
                  <a:cubicBezTo>
                    <a:pt x="1096" y="84"/>
                    <a:pt x="1025"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0" name="Google Shape;11230;p60"/>
            <p:cNvSpPr/>
            <p:nvPr/>
          </p:nvSpPr>
          <p:spPr>
            <a:xfrm>
              <a:off x="3271178" y="4554167"/>
              <a:ext cx="23170" cy="11426"/>
            </a:xfrm>
            <a:custGeom>
              <a:avLst/>
              <a:gdLst/>
              <a:ahLst/>
              <a:cxnLst/>
              <a:rect l="l" t="t" r="r" b="b"/>
              <a:pathLst>
                <a:path w="728" h="359" extrusionOk="0">
                  <a:moveTo>
                    <a:pt x="180" y="1"/>
                  </a:moveTo>
                  <a:cubicBezTo>
                    <a:pt x="84" y="1"/>
                    <a:pt x="1" y="72"/>
                    <a:pt x="1" y="179"/>
                  </a:cubicBezTo>
                  <a:cubicBezTo>
                    <a:pt x="1" y="287"/>
                    <a:pt x="72" y="358"/>
                    <a:pt x="180" y="358"/>
                  </a:cubicBezTo>
                  <a:lnTo>
                    <a:pt x="549" y="358"/>
                  </a:lnTo>
                  <a:cubicBezTo>
                    <a:pt x="632" y="358"/>
                    <a:pt x="727" y="287"/>
                    <a:pt x="727" y="179"/>
                  </a:cubicBezTo>
                  <a:cubicBezTo>
                    <a:pt x="727" y="72"/>
                    <a:pt x="632" y="1"/>
                    <a:pt x="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1" name="Google Shape;11231;p60"/>
            <p:cNvSpPr/>
            <p:nvPr/>
          </p:nvSpPr>
          <p:spPr>
            <a:xfrm>
              <a:off x="3306443" y="4554167"/>
              <a:ext cx="58372" cy="11426"/>
            </a:xfrm>
            <a:custGeom>
              <a:avLst/>
              <a:gdLst/>
              <a:ahLst/>
              <a:cxnLst/>
              <a:rect l="l" t="t" r="r" b="b"/>
              <a:pathLst>
                <a:path w="1834" h="359" extrusionOk="0">
                  <a:moveTo>
                    <a:pt x="179" y="1"/>
                  </a:moveTo>
                  <a:cubicBezTo>
                    <a:pt x="95" y="1"/>
                    <a:pt x="0" y="72"/>
                    <a:pt x="0" y="179"/>
                  </a:cubicBezTo>
                  <a:cubicBezTo>
                    <a:pt x="0" y="287"/>
                    <a:pt x="84" y="358"/>
                    <a:pt x="179" y="358"/>
                  </a:cubicBezTo>
                  <a:lnTo>
                    <a:pt x="1655" y="358"/>
                  </a:lnTo>
                  <a:cubicBezTo>
                    <a:pt x="1750" y="358"/>
                    <a:pt x="1834" y="287"/>
                    <a:pt x="1834" y="179"/>
                  </a:cubicBezTo>
                  <a:cubicBezTo>
                    <a:pt x="1834" y="72"/>
                    <a:pt x="1750" y="1"/>
                    <a:pt x="16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2" name="Google Shape;11232;p60"/>
            <p:cNvSpPr/>
            <p:nvPr/>
          </p:nvSpPr>
          <p:spPr>
            <a:xfrm>
              <a:off x="3271178" y="4577306"/>
              <a:ext cx="23170" cy="11394"/>
            </a:xfrm>
            <a:custGeom>
              <a:avLst/>
              <a:gdLst/>
              <a:ahLst/>
              <a:cxnLst/>
              <a:rect l="l" t="t" r="r" b="b"/>
              <a:pathLst>
                <a:path w="728" h="358" extrusionOk="0">
                  <a:moveTo>
                    <a:pt x="180" y="0"/>
                  </a:moveTo>
                  <a:cubicBezTo>
                    <a:pt x="84" y="0"/>
                    <a:pt x="1" y="84"/>
                    <a:pt x="1" y="179"/>
                  </a:cubicBezTo>
                  <a:cubicBezTo>
                    <a:pt x="1" y="286"/>
                    <a:pt x="72" y="357"/>
                    <a:pt x="180" y="357"/>
                  </a:cubicBezTo>
                  <a:lnTo>
                    <a:pt x="549" y="357"/>
                  </a:lnTo>
                  <a:cubicBezTo>
                    <a:pt x="632" y="357"/>
                    <a:pt x="727" y="286"/>
                    <a:pt x="727" y="179"/>
                  </a:cubicBezTo>
                  <a:cubicBezTo>
                    <a:pt x="727" y="84"/>
                    <a:pt x="632" y="0"/>
                    <a:pt x="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3" name="Google Shape;11233;p60"/>
            <p:cNvSpPr/>
            <p:nvPr/>
          </p:nvSpPr>
          <p:spPr>
            <a:xfrm>
              <a:off x="3306443" y="4577306"/>
              <a:ext cx="58372" cy="11394"/>
            </a:xfrm>
            <a:custGeom>
              <a:avLst/>
              <a:gdLst/>
              <a:ahLst/>
              <a:cxnLst/>
              <a:rect l="l" t="t" r="r" b="b"/>
              <a:pathLst>
                <a:path w="1834" h="358" extrusionOk="0">
                  <a:moveTo>
                    <a:pt x="179" y="0"/>
                  </a:moveTo>
                  <a:cubicBezTo>
                    <a:pt x="95" y="0"/>
                    <a:pt x="0" y="84"/>
                    <a:pt x="0" y="179"/>
                  </a:cubicBezTo>
                  <a:cubicBezTo>
                    <a:pt x="0" y="286"/>
                    <a:pt x="84" y="357"/>
                    <a:pt x="179" y="357"/>
                  </a:cubicBezTo>
                  <a:lnTo>
                    <a:pt x="1655" y="357"/>
                  </a:lnTo>
                  <a:cubicBezTo>
                    <a:pt x="1750" y="357"/>
                    <a:pt x="1834" y="286"/>
                    <a:pt x="1834" y="179"/>
                  </a:cubicBezTo>
                  <a:cubicBezTo>
                    <a:pt x="1822" y="84"/>
                    <a:pt x="1750" y="0"/>
                    <a:pt x="1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4" name="Google Shape;11234;p60"/>
            <p:cNvSpPr/>
            <p:nvPr/>
          </p:nvSpPr>
          <p:spPr>
            <a:xfrm>
              <a:off x="3265513" y="4377970"/>
              <a:ext cx="11394" cy="11394"/>
            </a:xfrm>
            <a:custGeom>
              <a:avLst/>
              <a:gdLst/>
              <a:ahLst/>
              <a:cxnLst/>
              <a:rect l="l" t="t" r="r" b="b"/>
              <a:pathLst>
                <a:path w="358" h="358" extrusionOk="0">
                  <a:moveTo>
                    <a:pt x="179" y="0"/>
                  </a:moveTo>
                  <a:cubicBezTo>
                    <a:pt x="72" y="0"/>
                    <a:pt x="0" y="72"/>
                    <a:pt x="0" y="179"/>
                  </a:cubicBezTo>
                  <a:cubicBezTo>
                    <a:pt x="0" y="274"/>
                    <a:pt x="72" y="358"/>
                    <a:pt x="179" y="358"/>
                  </a:cubicBezTo>
                  <a:cubicBezTo>
                    <a:pt x="262" y="358"/>
                    <a:pt x="358" y="286"/>
                    <a:pt x="358" y="179"/>
                  </a:cubicBezTo>
                  <a:cubicBezTo>
                    <a:pt x="358" y="72"/>
                    <a:pt x="262"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35" name="Google Shape;11235;p60"/>
          <p:cNvGrpSpPr/>
          <p:nvPr/>
        </p:nvGrpSpPr>
        <p:grpSpPr>
          <a:xfrm>
            <a:off x="2749016" y="4291176"/>
            <a:ext cx="150831" cy="336926"/>
            <a:chOff x="2749016" y="4291176"/>
            <a:chExt cx="150831" cy="336926"/>
          </a:xfrm>
        </p:grpSpPr>
        <p:sp>
          <p:nvSpPr>
            <p:cNvPr id="11236" name="Google Shape;11236;p60"/>
            <p:cNvSpPr/>
            <p:nvPr/>
          </p:nvSpPr>
          <p:spPr>
            <a:xfrm>
              <a:off x="2799399" y="4307472"/>
              <a:ext cx="51942" cy="114865"/>
            </a:xfrm>
            <a:custGeom>
              <a:avLst/>
              <a:gdLst/>
              <a:ahLst/>
              <a:cxnLst/>
              <a:rect l="l" t="t" r="r" b="b"/>
              <a:pathLst>
                <a:path w="1632" h="3609" extrusionOk="0">
                  <a:moveTo>
                    <a:pt x="810" y="1"/>
                  </a:moveTo>
                  <a:cubicBezTo>
                    <a:pt x="727" y="1"/>
                    <a:pt x="667" y="72"/>
                    <a:pt x="667" y="144"/>
                  </a:cubicBezTo>
                  <a:lnTo>
                    <a:pt x="667" y="489"/>
                  </a:lnTo>
                  <a:cubicBezTo>
                    <a:pt x="298" y="525"/>
                    <a:pt x="1" y="846"/>
                    <a:pt x="1" y="1215"/>
                  </a:cubicBezTo>
                  <a:cubicBezTo>
                    <a:pt x="1" y="1620"/>
                    <a:pt x="322" y="1942"/>
                    <a:pt x="727" y="1942"/>
                  </a:cubicBezTo>
                  <a:lnTo>
                    <a:pt x="894" y="1942"/>
                  </a:lnTo>
                  <a:cubicBezTo>
                    <a:pt x="1132" y="1942"/>
                    <a:pt x="1322" y="2144"/>
                    <a:pt x="1322" y="2382"/>
                  </a:cubicBezTo>
                  <a:cubicBezTo>
                    <a:pt x="1322" y="2620"/>
                    <a:pt x="1132" y="2811"/>
                    <a:pt x="894" y="2811"/>
                  </a:cubicBezTo>
                  <a:lnTo>
                    <a:pt x="632" y="2811"/>
                  </a:lnTo>
                  <a:cubicBezTo>
                    <a:pt x="441" y="2811"/>
                    <a:pt x="298" y="2656"/>
                    <a:pt x="298" y="2466"/>
                  </a:cubicBezTo>
                  <a:cubicBezTo>
                    <a:pt x="298" y="2382"/>
                    <a:pt x="215" y="2323"/>
                    <a:pt x="144" y="2323"/>
                  </a:cubicBezTo>
                  <a:cubicBezTo>
                    <a:pt x="48" y="2323"/>
                    <a:pt x="1" y="2394"/>
                    <a:pt x="1" y="2466"/>
                  </a:cubicBezTo>
                  <a:cubicBezTo>
                    <a:pt x="1" y="2823"/>
                    <a:pt x="298" y="3120"/>
                    <a:pt x="644" y="3120"/>
                  </a:cubicBezTo>
                  <a:lnTo>
                    <a:pt x="667" y="3120"/>
                  </a:lnTo>
                  <a:lnTo>
                    <a:pt x="667" y="3466"/>
                  </a:lnTo>
                  <a:cubicBezTo>
                    <a:pt x="667" y="3549"/>
                    <a:pt x="739" y="3609"/>
                    <a:pt x="810" y="3609"/>
                  </a:cubicBezTo>
                  <a:cubicBezTo>
                    <a:pt x="906" y="3609"/>
                    <a:pt x="965" y="3537"/>
                    <a:pt x="965" y="3466"/>
                  </a:cubicBezTo>
                  <a:lnTo>
                    <a:pt x="965" y="3120"/>
                  </a:lnTo>
                  <a:cubicBezTo>
                    <a:pt x="1334" y="3097"/>
                    <a:pt x="1632" y="2763"/>
                    <a:pt x="1632" y="2394"/>
                  </a:cubicBezTo>
                  <a:cubicBezTo>
                    <a:pt x="1632" y="1989"/>
                    <a:pt x="1298" y="1668"/>
                    <a:pt x="906" y="1668"/>
                  </a:cubicBezTo>
                  <a:lnTo>
                    <a:pt x="739" y="1668"/>
                  </a:lnTo>
                  <a:cubicBezTo>
                    <a:pt x="501" y="1668"/>
                    <a:pt x="310" y="1477"/>
                    <a:pt x="310" y="1239"/>
                  </a:cubicBezTo>
                  <a:cubicBezTo>
                    <a:pt x="310" y="1001"/>
                    <a:pt x="501" y="799"/>
                    <a:pt x="739" y="799"/>
                  </a:cubicBezTo>
                  <a:lnTo>
                    <a:pt x="989" y="799"/>
                  </a:lnTo>
                  <a:cubicBezTo>
                    <a:pt x="1191" y="799"/>
                    <a:pt x="1334" y="953"/>
                    <a:pt x="1334" y="1144"/>
                  </a:cubicBezTo>
                  <a:lnTo>
                    <a:pt x="1334" y="1311"/>
                  </a:lnTo>
                  <a:cubicBezTo>
                    <a:pt x="1322" y="1382"/>
                    <a:pt x="1394" y="1453"/>
                    <a:pt x="1489" y="1453"/>
                  </a:cubicBezTo>
                  <a:cubicBezTo>
                    <a:pt x="1572" y="1453"/>
                    <a:pt x="1632" y="1382"/>
                    <a:pt x="1632" y="1311"/>
                  </a:cubicBezTo>
                  <a:lnTo>
                    <a:pt x="1632" y="1144"/>
                  </a:lnTo>
                  <a:cubicBezTo>
                    <a:pt x="1632" y="787"/>
                    <a:pt x="1334" y="489"/>
                    <a:pt x="977" y="489"/>
                  </a:cubicBezTo>
                  <a:lnTo>
                    <a:pt x="965" y="489"/>
                  </a:lnTo>
                  <a:lnTo>
                    <a:pt x="965" y="144"/>
                  </a:lnTo>
                  <a:cubicBezTo>
                    <a:pt x="965"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7" name="Google Shape;11237;p60"/>
            <p:cNvSpPr/>
            <p:nvPr/>
          </p:nvSpPr>
          <p:spPr>
            <a:xfrm>
              <a:off x="2750894" y="4291176"/>
              <a:ext cx="147075" cy="336926"/>
            </a:xfrm>
            <a:custGeom>
              <a:avLst/>
              <a:gdLst/>
              <a:ahLst/>
              <a:cxnLst/>
              <a:rect l="l" t="t" r="r" b="b"/>
              <a:pathLst>
                <a:path w="4621" h="10586" extrusionOk="0">
                  <a:moveTo>
                    <a:pt x="2310" y="299"/>
                  </a:moveTo>
                  <a:cubicBezTo>
                    <a:pt x="3406" y="299"/>
                    <a:pt x="4323" y="1192"/>
                    <a:pt x="4323" y="2311"/>
                  </a:cubicBezTo>
                  <a:cubicBezTo>
                    <a:pt x="4323" y="3418"/>
                    <a:pt x="3430" y="4323"/>
                    <a:pt x="2310" y="4323"/>
                  </a:cubicBezTo>
                  <a:cubicBezTo>
                    <a:pt x="1203" y="4311"/>
                    <a:pt x="298" y="3418"/>
                    <a:pt x="298" y="2311"/>
                  </a:cubicBezTo>
                  <a:cubicBezTo>
                    <a:pt x="298" y="1215"/>
                    <a:pt x="1191" y="299"/>
                    <a:pt x="2310" y="299"/>
                  </a:cubicBezTo>
                  <a:close/>
                  <a:moveTo>
                    <a:pt x="4299" y="7288"/>
                  </a:moveTo>
                  <a:lnTo>
                    <a:pt x="4299" y="7621"/>
                  </a:lnTo>
                  <a:lnTo>
                    <a:pt x="3620" y="7621"/>
                  </a:lnTo>
                  <a:cubicBezTo>
                    <a:pt x="3525" y="7621"/>
                    <a:pt x="3465" y="7704"/>
                    <a:pt x="3465" y="7776"/>
                  </a:cubicBezTo>
                  <a:cubicBezTo>
                    <a:pt x="3465" y="7859"/>
                    <a:pt x="3549" y="7919"/>
                    <a:pt x="3620" y="7919"/>
                  </a:cubicBezTo>
                  <a:lnTo>
                    <a:pt x="3787" y="7919"/>
                  </a:lnTo>
                  <a:lnTo>
                    <a:pt x="3727" y="8442"/>
                  </a:lnTo>
                  <a:lnTo>
                    <a:pt x="882" y="8442"/>
                  </a:lnTo>
                  <a:lnTo>
                    <a:pt x="822" y="7919"/>
                  </a:lnTo>
                  <a:lnTo>
                    <a:pt x="2894" y="7919"/>
                  </a:lnTo>
                  <a:cubicBezTo>
                    <a:pt x="2977" y="7919"/>
                    <a:pt x="3037" y="7847"/>
                    <a:pt x="3037" y="7776"/>
                  </a:cubicBezTo>
                  <a:cubicBezTo>
                    <a:pt x="3037" y="7680"/>
                    <a:pt x="2965" y="7621"/>
                    <a:pt x="2894" y="7621"/>
                  </a:cubicBezTo>
                  <a:lnTo>
                    <a:pt x="298" y="7621"/>
                  </a:lnTo>
                  <a:lnTo>
                    <a:pt x="298" y="7288"/>
                  </a:lnTo>
                  <a:close/>
                  <a:moveTo>
                    <a:pt x="3692" y="8776"/>
                  </a:moveTo>
                  <a:lnTo>
                    <a:pt x="3608" y="9455"/>
                  </a:lnTo>
                  <a:lnTo>
                    <a:pt x="1013" y="9455"/>
                  </a:lnTo>
                  <a:lnTo>
                    <a:pt x="929" y="8776"/>
                  </a:lnTo>
                  <a:close/>
                  <a:moveTo>
                    <a:pt x="3573" y="9764"/>
                  </a:moveTo>
                  <a:lnTo>
                    <a:pt x="3501" y="10288"/>
                  </a:lnTo>
                  <a:lnTo>
                    <a:pt x="1120" y="10288"/>
                  </a:lnTo>
                  <a:lnTo>
                    <a:pt x="1060" y="9764"/>
                  </a:lnTo>
                  <a:close/>
                  <a:moveTo>
                    <a:pt x="2310" y="1"/>
                  </a:moveTo>
                  <a:cubicBezTo>
                    <a:pt x="1048" y="1"/>
                    <a:pt x="1" y="1049"/>
                    <a:pt x="1" y="2311"/>
                  </a:cubicBezTo>
                  <a:cubicBezTo>
                    <a:pt x="1" y="3537"/>
                    <a:pt x="953" y="4549"/>
                    <a:pt x="2156" y="4621"/>
                  </a:cubicBezTo>
                  <a:lnTo>
                    <a:pt x="2156" y="6966"/>
                  </a:lnTo>
                  <a:lnTo>
                    <a:pt x="155" y="6966"/>
                  </a:lnTo>
                  <a:cubicBezTo>
                    <a:pt x="60" y="6966"/>
                    <a:pt x="1" y="7049"/>
                    <a:pt x="1" y="7121"/>
                  </a:cubicBezTo>
                  <a:lnTo>
                    <a:pt x="1" y="7788"/>
                  </a:lnTo>
                  <a:cubicBezTo>
                    <a:pt x="1" y="7883"/>
                    <a:pt x="72" y="7942"/>
                    <a:pt x="155" y="7942"/>
                  </a:cubicBezTo>
                  <a:lnTo>
                    <a:pt x="513" y="7942"/>
                  </a:lnTo>
                  <a:lnTo>
                    <a:pt x="822" y="10455"/>
                  </a:lnTo>
                  <a:cubicBezTo>
                    <a:pt x="834" y="10526"/>
                    <a:pt x="894" y="10586"/>
                    <a:pt x="965" y="10586"/>
                  </a:cubicBezTo>
                  <a:lnTo>
                    <a:pt x="3620" y="10586"/>
                  </a:lnTo>
                  <a:cubicBezTo>
                    <a:pt x="3692" y="10586"/>
                    <a:pt x="3763" y="10526"/>
                    <a:pt x="3763" y="10455"/>
                  </a:cubicBezTo>
                  <a:lnTo>
                    <a:pt x="4084" y="7942"/>
                  </a:lnTo>
                  <a:lnTo>
                    <a:pt x="4442" y="7942"/>
                  </a:lnTo>
                  <a:cubicBezTo>
                    <a:pt x="4525" y="7942"/>
                    <a:pt x="4585" y="7859"/>
                    <a:pt x="4585" y="7788"/>
                  </a:cubicBezTo>
                  <a:lnTo>
                    <a:pt x="4585" y="7121"/>
                  </a:lnTo>
                  <a:cubicBezTo>
                    <a:pt x="4620" y="7026"/>
                    <a:pt x="4549" y="6966"/>
                    <a:pt x="4465" y="6966"/>
                  </a:cubicBezTo>
                  <a:lnTo>
                    <a:pt x="2453" y="6966"/>
                  </a:lnTo>
                  <a:lnTo>
                    <a:pt x="2453" y="4621"/>
                  </a:lnTo>
                  <a:cubicBezTo>
                    <a:pt x="3668" y="4549"/>
                    <a:pt x="4620" y="3537"/>
                    <a:pt x="4620" y="2311"/>
                  </a:cubicBezTo>
                  <a:cubicBezTo>
                    <a:pt x="4620" y="1037"/>
                    <a:pt x="3573"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8" name="Google Shape;11238;p60"/>
            <p:cNvSpPr/>
            <p:nvPr/>
          </p:nvSpPr>
          <p:spPr>
            <a:xfrm>
              <a:off x="2749016" y="4443917"/>
              <a:ext cx="69734" cy="52706"/>
            </a:xfrm>
            <a:custGeom>
              <a:avLst/>
              <a:gdLst/>
              <a:ahLst/>
              <a:cxnLst/>
              <a:rect l="l" t="t" r="r" b="b"/>
              <a:pathLst>
                <a:path w="2191" h="1656" extrusionOk="0">
                  <a:moveTo>
                    <a:pt x="1107" y="310"/>
                  </a:moveTo>
                  <a:cubicBezTo>
                    <a:pt x="1381" y="310"/>
                    <a:pt x="1643" y="441"/>
                    <a:pt x="1786" y="667"/>
                  </a:cubicBezTo>
                  <a:lnTo>
                    <a:pt x="417" y="667"/>
                  </a:lnTo>
                  <a:cubicBezTo>
                    <a:pt x="572" y="441"/>
                    <a:pt x="822" y="310"/>
                    <a:pt x="1107" y="310"/>
                  </a:cubicBezTo>
                  <a:close/>
                  <a:moveTo>
                    <a:pt x="1786" y="976"/>
                  </a:moveTo>
                  <a:cubicBezTo>
                    <a:pt x="1619" y="1203"/>
                    <a:pt x="1369" y="1334"/>
                    <a:pt x="1107" y="1334"/>
                  </a:cubicBezTo>
                  <a:cubicBezTo>
                    <a:pt x="822" y="1334"/>
                    <a:pt x="572" y="1203"/>
                    <a:pt x="417" y="976"/>
                  </a:cubicBezTo>
                  <a:close/>
                  <a:moveTo>
                    <a:pt x="1107" y="0"/>
                  </a:moveTo>
                  <a:cubicBezTo>
                    <a:pt x="607" y="0"/>
                    <a:pt x="179" y="310"/>
                    <a:pt x="12" y="774"/>
                  </a:cubicBezTo>
                  <a:cubicBezTo>
                    <a:pt x="0" y="798"/>
                    <a:pt x="0" y="846"/>
                    <a:pt x="12" y="881"/>
                  </a:cubicBezTo>
                  <a:cubicBezTo>
                    <a:pt x="179" y="1334"/>
                    <a:pt x="607" y="1655"/>
                    <a:pt x="1107" y="1655"/>
                  </a:cubicBezTo>
                  <a:cubicBezTo>
                    <a:pt x="1596" y="1655"/>
                    <a:pt x="2024" y="1334"/>
                    <a:pt x="2191" y="881"/>
                  </a:cubicBezTo>
                  <a:lnTo>
                    <a:pt x="2191" y="846"/>
                  </a:lnTo>
                  <a:lnTo>
                    <a:pt x="2191" y="822"/>
                  </a:lnTo>
                  <a:lnTo>
                    <a:pt x="2191" y="798"/>
                  </a:lnTo>
                  <a:lnTo>
                    <a:pt x="2191" y="774"/>
                  </a:lnTo>
                  <a:cubicBezTo>
                    <a:pt x="2024" y="310"/>
                    <a:pt x="1596" y="0"/>
                    <a:pt x="11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9" name="Google Shape;11239;p60"/>
            <p:cNvSpPr/>
            <p:nvPr/>
          </p:nvSpPr>
          <p:spPr>
            <a:xfrm>
              <a:off x="2829731" y="4443917"/>
              <a:ext cx="70116" cy="52706"/>
            </a:xfrm>
            <a:custGeom>
              <a:avLst/>
              <a:gdLst/>
              <a:ahLst/>
              <a:cxnLst/>
              <a:rect l="l" t="t" r="r" b="b"/>
              <a:pathLst>
                <a:path w="2203" h="1656" extrusionOk="0">
                  <a:moveTo>
                    <a:pt x="1096" y="310"/>
                  </a:moveTo>
                  <a:cubicBezTo>
                    <a:pt x="1381" y="310"/>
                    <a:pt x="1631" y="441"/>
                    <a:pt x="1786" y="667"/>
                  </a:cubicBezTo>
                  <a:lnTo>
                    <a:pt x="417" y="667"/>
                  </a:lnTo>
                  <a:cubicBezTo>
                    <a:pt x="560" y="441"/>
                    <a:pt x="810" y="310"/>
                    <a:pt x="1096" y="310"/>
                  </a:cubicBezTo>
                  <a:close/>
                  <a:moveTo>
                    <a:pt x="1786" y="976"/>
                  </a:moveTo>
                  <a:cubicBezTo>
                    <a:pt x="1631" y="1203"/>
                    <a:pt x="1381" y="1334"/>
                    <a:pt x="1096" y="1334"/>
                  </a:cubicBezTo>
                  <a:cubicBezTo>
                    <a:pt x="810" y="1334"/>
                    <a:pt x="560" y="1203"/>
                    <a:pt x="417" y="976"/>
                  </a:cubicBezTo>
                  <a:close/>
                  <a:moveTo>
                    <a:pt x="1096" y="0"/>
                  </a:moveTo>
                  <a:cubicBezTo>
                    <a:pt x="607" y="0"/>
                    <a:pt x="179" y="310"/>
                    <a:pt x="12" y="774"/>
                  </a:cubicBezTo>
                  <a:cubicBezTo>
                    <a:pt x="0" y="798"/>
                    <a:pt x="0" y="846"/>
                    <a:pt x="12" y="881"/>
                  </a:cubicBezTo>
                  <a:cubicBezTo>
                    <a:pt x="179" y="1334"/>
                    <a:pt x="607" y="1655"/>
                    <a:pt x="1096" y="1655"/>
                  </a:cubicBezTo>
                  <a:cubicBezTo>
                    <a:pt x="1584" y="1655"/>
                    <a:pt x="2024" y="1334"/>
                    <a:pt x="2179" y="881"/>
                  </a:cubicBezTo>
                  <a:cubicBezTo>
                    <a:pt x="2203" y="846"/>
                    <a:pt x="2203" y="822"/>
                    <a:pt x="2179" y="774"/>
                  </a:cubicBezTo>
                  <a:cubicBezTo>
                    <a:pt x="2024" y="310"/>
                    <a:pt x="1584" y="0"/>
                    <a:pt x="1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40" name="Google Shape;11240;p60"/>
          <p:cNvGrpSpPr/>
          <p:nvPr/>
        </p:nvGrpSpPr>
        <p:grpSpPr>
          <a:xfrm>
            <a:off x="7127716" y="4279432"/>
            <a:ext cx="248254" cy="361942"/>
            <a:chOff x="7127716" y="4279432"/>
            <a:chExt cx="248254" cy="361942"/>
          </a:xfrm>
        </p:grpSpPr>
        <p:sp>
          <p:nvSpPr>
            <p:cNvPr id="11241" name="Google Shape;11241;p60"/>
            <p:cNvSpPr/>
            <p:nvPr/>
          </p:nvSpPr>
          <p:spPr>
            <a:xfrm>
              <a:off x="7167500" y="4279432"/>
              <a:ext cx="169068" cy="226644"/>
            </a:xfrm>
            <a:custGeom>
              <a:avLst/>
              <a:gdLst/>
              <a:ahLst/>
              <a:cxnLst/>
              <a:rect l="l" t="t" r="r" b="b"/>
              <a:pathLst>
                <a:path w="5312" h="7121" extrusionOk="0">
                  <a:moveTo>
                    <a:pt x="4085" y="310"/>
                  </a:moveTo>
                  <a:lnTo>
                    <a:pt x="4085" y="1715"/>
                  </a:lnTo>
                  <a:cubicBezTo>
                    <a:pt x="4085" y="1834"/>
                    <a:pt x="4049" y="1930"/>
                    <a:pt x="4001" y="2037"/>
                  </a:cubicBezTo>
                  <a:lnTo>
                    <a:pt x="3918" y="2204"/>
                  </a:lnTo>
                  <a:cubicBezTo>
                    <a:pt x="3906" y="2239"/>
                    <a:pt x="3906" y="2251"/>
                    <a:pt x="3906" y="2275"/>
                  </a:cubicBezTo>
                  <a:lnTo>
                    <a:pt x="3906" y="2632"/>
                  </a:lnTo>
                  <a:cubicBezTo>
                    <a:pt x="3906" y="2989"/>
                    <a:pt x="3763" y="3311"/>
                    <a:pt x="3501" y="3561"/>
                  </a:cubicBezTo>
                  <a:cubicBezTo>
                    <a:pt x="3283" y="3801"/>
                    <a:pt x="2975" y="3921"/>
                    <a:pt x="2650" y="3921"/>
                  </a:cubicBezTo>
                  <a:cubicBezTo>
                    <a:pt x="2620" y="3921"/>
                    <a:pt x="2591" y="3920"/>
                    <a:pt x="2561" y="3918"/>
                  </a:cubicBezTo>
                  <a:cubicBezTo>
                    <a:pt x="1906" y="3870"/>
                    <a:pt x="1382" y="3311"/>
                    <a:pt x="1382" y="2608"/>
                  </a:cubicBezTo>
                  <a:lnTo>
                    <a:pt x="1382" y="2299"/>
                  </a:lnTo>
                  <a:cubicBezTo>
                    <a:pt x="1382" y="2263"/>
                    <a:pt x="1382" y="2251"/>
                    <a:pt x="1370" y="2215"/>
                  </a:cubicBezTo>
                  <a:lnTo>
                    <a:pt x="1287" y="2061"/>
                  </a:lnTo>
                  <a:cubicBezTo>
                    <a:pt x="1239" y="1953"/>
                    <a:pt x="1204" y="1846"/>
                    <a:pt x="1204" y="1727"/>
                  </a:cubicBezTo>
                  <a:lnTo>
                    <a:pt x="1204" y="1227"/>
                  </a:lnTo>
                  <a:cubicBezTo>
                    <a:pt x="1204" y="727"/>
                    <a:pt x="1608" y="310"/>
                    <a:pt x="2120" y="310"/>
                  </a:cubicBezTo>
                  <a:close/>
                  <a:moveTo>
                    <a:pt x="3204" y="4168"/>
                  </a:moveTo>
                  <a:lnTo>
                    <a:pt x="3204" y="4359"/>
                  </a:lnTo>
                  <a:cubicBezTo>
                    <a:pt x="3204" y="4418"/>
                    <a:pt x="3216" y="4466"/>
                    <a:pt x="3228" y="4525"/>
                  </a:cubicBezTo>
                  <a:lnTo>
                    <a:pt x="2656" y="4942"/>
                  </a:lnTo>
                  <a:lnTo>
                    <a:pt x="2073" y="4525"/>
                  </a:lnTo>
                  <a:cubicBezTo>
                    <a:pt x="2085" y="4478"/>
                    <a:pt x="2096" y="4418"/>
                    <a:pt x="2096" y="4359"/>
                  </a:cubicBezTo>
                  <a:lnTo>
                    <a:pt x="2096" y="4168"/>
                  </a:lnTo>
                  <a:cubicBezTo>
                    <a:pt x="2239" y="4216"/>
                    <a:pt x="2382" y="4263"/>
                    <a:pt x="2549" y="4263"/>
                  </a:cubicBezTo>
                  <a:lnTo>
                    <a:pt x="2656" y="4263"/>
                  </a:lnTo>
                  <a:cubicBezTo>
                    <a:pt x="2847" y="4263"/>
                    <a:pt x="3025" y="4228"/>
                    <a:pt x="3204" y="4168"/>
                  </a:cubicBezTo>
                  <a:close/>
                  <a:moveTo>
                    <a:pt x="2132" y="1"/>
                  </a:moveTo>
                  <a:cubicBezTo>
                    <a:pt x="1442" y="1"/>
                    <a:pt x="894" y="549"/>
                    <a:pt x="894" y="1239"/>
                  </a:cubicBezTo>
                  <a:lnTo>
                    <a:pt x="894" y="1739"/>
                  </a:lnTo>
                  <a:cubicBezTo>
                    <a:pt x="894" y="1906"/>
                    <a:pt x="942" y="2073"/>
                    <a:pt x="1001" y="2215"/>
                  </a:cubicBezTo>
                  <a:lnTo>
                    <a:pt x="1061" y="2346"/>
                  </a:lnTo>
                  <a:lnTo>
                    <a:pt x="1061" y="2620"/>
                  </a:lnTo>
                  <a:cubicBezTo>
                    <a:pt x="1061" y="3180"/>
                    <a:pt x="1346" y="3692"/>
                    <a:pt x="1775" y="3989"/>
                  </a:cubicBezTo>
                  <a:lnTo>
                    <a:pt x="1775" y="4359"/>
                  </a:lnTo>
                  <a:cubicBezTo>
                    <a:pt x="1775" y="4454"/>
                    <a:pt x="1715" y="4525"/>
                    <a:pt x="1644" y="4537"/>
                  </a:cubicBezTo>
                  <a:lnTo>
                    <a:pt x="632" y="4859"/>
                  </a:lnTo>
                  <a:cubicBezTo>
                    <a:pt x="251" y="4966"/>
                    <a:pt x="1" y="5299"/>
                    <a:pt x="1" y="5704"/>
                  </a:cubicBezTo>
                  <a:lnTo>
                    <a:pt x="1" y="6954"/>
                  </a:lnTo>
                  <a:cubicBezTo>
                    <a:pt x="1" y="7037"/>
                    <a:pt x="72" y="7121"/>
                    <a:pt x="168" y="7121"/>
                  </a:cubicBezTo>
                  <a:cubicBezTo>
                    <a:pt x="251" y="7121"/>
                    <a:pt x="334" y="7037"/>
                    <a:pt x="334" y="6954"/>
                  </a:cubicBezTo>
                  <a:lnTo>
                    <a:pt x="334" y="5704"/>
                  </a:lnTo>
                  <a:cubicBezTo>
                    <a:pt x="334" y="5466"/>
                    <a:pt x="477" y="5252"/>
                    <a:pt x="715" y="5180"/>
                  </a:cubicBezTo>
                  <a:lnTo>
                    <a:pt x="1727" y="4871"/>
                  </a:lnTo>
                  <a:cubicBezTo>
                    <a:pt x="1787" y="4859"/>
                    <a:pt x="1835" y="4823"/>
                    <a:pt x="1882" y="4799"/>
                  </a:cubicBezTo>
                  <a:lnTo>
                    <a:pt x="2442" y="5204"/>
                  </a:lnTo>
                  <a:cubicBezTo>
                    <a:pt x="2501" y="5252"/>
                    <a:pt x="2573" y="5287"/>
                    <a:pt x="2656" y="5287"/>
                  </a:cubicBezTo>
                  <a:cubicBezTo>
                    <a:pt x="2728" y="5287"/>
                    <a:pt x="2799" y="5252"/>
                    <a:pt x="2858" y="5204"/>
                  </a:cubicBezTo>
                  <a:lnTo>
                    <a:pt x="3430" y="4799"/>
                  </a:lnTo>
                  <a:cubicBezTo>
                    <a:pt x="3466" y="4823"/>
                    <a:pt x="3513" y="4859"/>
                    <a:pt x="3573" y="4871"/>
                  </a:cubicBezTo>
                  <a:lnTo>
                    <a:pt x="4585" y="5180"/>
                  </a:lnTo>
                  <a:cubicBezTo>
                    <a:pt x="4823" y="5252"/>
                    <a:pt x="4978" y="5466"/>
                    <a:pt x="4978" y="5704"/>
                  </a:cubicBezTo>
                  <a:lnTo>
                    <a:pt x="4978" y="6954"/>
                  </a:lnTo>
                  <a:cubicBezTo>
                    <a:pt x="4978" y="7037"/>
                    <a:pt x="5049" y="7121"/>
                    <a:pt x="5133" y="7121"/>
                  </a:cubicBezTo>
                  <a:cubicBezTo>
                    <a:pt x="5228" y="7121"/>
                    <a:pt x="5299" y="7037"/>
                    <a:pt x="5299" y="6954"/>
                  </a:cubicBezTo>
                  <a:lnTo>
                    <a:pt x="5299" y="5704"/>
                  </a:lnTo>
                  <a:cubicBezTo>
                    <a:pt x="5311" y="5299"/>
                    <a:pt x="5061" y="4954"/>
                    <a:pt x="4692" y="4835"/>
                  </a:cubicBezTo>
                  <a:lnTo>
                    <a:pt x="3680" y="4525"/>
                  </a:lnTo>
                  <a:cubicBezTo>
                    <a:pt x="3609" y="4501"/>
                    <a:pt x="3549" y="4418"/>
                    <a:pt x="3549" y="4347"/>
                  </a:cubicBezTo>
                  <a:lnTo>
                    <a:pt x="3549" y="3978"/>
                  </a:lnTo>
                  <a:cubicBezTo>
                    <a:pt x="3620" y="3930"/>
                    <a:pt x="3692" y="3870"/>
                    <a:pt x="3751" y="3811"/>
                  </a:cubicBezTo>
                  <a:cubicBezTo>
                    <a:pt x="4061" y="3513"/>
                    <a:pt x="4263" y="3085"/>
                    <a:pt x="4263" y="2656"/>
                  </a:cubicBezTo>
                  <a:lnTo>
                    <a:pt x="4263" y="2334"/>
                  </a:lnTo>
                  <a:lnTo>
                    <a:pt x="4323" y="2204"/>
                  </a:lnTo>
                  <a:cubicBezTo>
                    <a:pt x="4394" y="2061"/>
                    <a:pt x="4418" y="1894"/>
                    <a:pt x="4418" y="1727"/>
                  </a:cubicBezTo>
                  <a:lnTo>
                    <a:pt x="4418" y="168"/>
                  </a:lnTo>
                  <a:cubicBezTo>
                    <a:pt x="4418" y="72"/>
                    <a:pt x="4347"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2" name="Google Shape;11242;p60"/>
            <p:cNvSpPr/>
            <p:nvPr/>
          </p:nvSpPr>
          <p:spPr>
            <a:xfrm>
              <a:off x="7246719" y="4455279"/>
              <a:ext cx="10248" cy="50033"/>
            </a:xfrm>
            <a:custGeom>
              <a:avLst/>
              <a:gdLst/>
              <a:ahLst/>
              <a:cxnLst/>
              <a:rect l="l" t="t" r="r" b="b"/>
              <a:pathLst>
                <a:path w="322" h="1572" extrusionOk="0">
                  <a:moveTo>
                    <a:pt x="167" y="0"/>
                  </a:moveTo>
                  <a:cubicBezTo>
                    <a:pt x="72" y="0"/>
                    <a:pt x="0" y="72"/>
                    <a:pt x="0" y="167"/>
                  </a:cubicBezTo>
                  <a:lnTo>
                    <a:pt x="0" y="1417"/>
                  </a:lnTo>
                  <a:cubicBezTo>
                    <a:pt x="0" y="1501"/>
                    <a:pt x="72" y="1572"/>
                    <a:pt x="167" y="1572"/>
                  </a:cubicBezTo>
                  <a:cubicBezTo>
                    <a:pt x="250" y="1572"/>
                    <a:pt x="322" y="1501"/>
                    <a:pt x="322" y="141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3" name="Google Shape;11243;p60"/>
            <p:cNvSpPr/>
            <p:nvPr/>
          </p:nvSpPr>
          <p:spPr>
            <a:xfrm>
              <a:off x="7195572" y="4466642"/>
              <a:ext cx="11012" cy="38670"/>
            </a:xfrm>
            <a:custGeom>
              <a:avLst/>
              <a:gdLst/>
              <a:ahLst/>
              <a:cxnLst/>
              <a:rect l="l" t="t" r="r" b="b"/>
              <a:pathLst>
                <a:path w="346" h="1215" extrusionOk="0">
                  <a:moveTo>
                    <a:pt x="167" y="1"/>
                  </a:moveTo>
                  <a:cubicBezTo>
                    <a:pt x="71" y="1"/>
                    <a:pt x="0" y="72"/>
                    <a:pt x="0" y="167"/>
                  </a:cubicBezTo>
                  <a:lnTo>
                    <a:pt x="0" y="1060"/>
                  </a:lnTo>
                  <a:cubicBezTo>
                    <a:pt x="0" y="1144"/>
                    <a:pt x="71" y="1215"/>
                    <a:pt x="167" y="1215"/>
                  </a:cubicBezTo>
                  <a:cubicBezTo>
                    <a:pt x="250" y="1215"/>
                    <a:pt x="322" y="1144"/>
                    <a:pt x="322" y="1060"/>
                  </a:cubicBezTo>
                  <a:lnTo>
                    <a:pt x="322" y="167"/>
                  </a:lnTo>
                  <a:cubicBezTo>
                    <a:pt x="345"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4" name="Google Shape;11244;p60"/>
            <p:cNvSpPr/>
            <p:nvPr/>
          </p:nvSpPr>
          <p:spPr>
            <a:xfrm>
              <a:off x="7297866" y="4466642"/>
              <a:ext cx="10280" cy="38670"/>
            </a:xfrm>
            <a:custGeom>
              <a:avLst/>
              <a:gdLst/>
              <a:ahLst/>
              <a:cxnLst/>
              <a:rect l="l" t="t" r="r" b="b"/>
              <a:pathLst>
                <a:path w="323" h="1215" extrusionOk="0">
                  <a:moveTo>
                    <a:pt x="167" y="1"/>
                  </a:moveTo>
                  <a:cubicBezTo>
                    <a:pt x="72" y="1"/>
                    <a:pt x="1" y="72"/>
                    <a:pt x="1" y="167"/>
                  </a:cubicBezTo>
                  <a:lnTo>
                    <a:pt x="1" y="1060"/>
                  </a:lnTo>
                  <a:cubicBezTo>
                    <a:pt x="1" y="1144"/>
                    <a:pt x="72" y="1215"/>
                    <a:pt x="167" y="1215"/>
                  </a:cubicBezTo>
                  <a:cubicBezTo>
                    <a:pt x="251" y="1215"/>
                    <a:pt x="322" y="1144"/>
                    <a:pt x="322" y="10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5" name="Google Shape;11245;p60"/>
            <p:cNvSpPr/>
            <p:nvPr/>
          </p:nvSpPr>
          <p:spPr>
            <a:xfrm>
              <a:off x="7235357" y="4608369"/>
              <a:ext cx="33005" cy="33005"/>
            </a:xfrm>
            <a:custGeom>
              <a:avLst/>
              <a:gdLst/>
              <a:ahLst/>
              <a:cxnLst/>
              <a:rect l="l" t="t" r="r" b="b"/>
              <a:pathLst>
                <a:path w="1037" h="1037" extrusionOk="0">
                  <a:moveTo>
                    <a:pt x="524" y="322"/>
                  </a:moveTo>
                  <a:cubicBezTo>
                    <a:pt x="619" y="322"/>
                    <a:pt x="715" y="417"/>
                    <a:pt x="715" y="512"/>
                  </a:cubicBezTo>
                  <a:cubicBezTo>
                    <a:pt x="715" y="620"/>
                    <a:pt x="619" y="715"/>
                    <a:pt x="524" y="715"/>
                  </a:cubicBezTo>
                  <a:cubicBezTo>
                    <a:pt x="417" y="715"/>
                    <a:pt x="322" y="620"/>
                    <a:pt x="322" y="512"/>
                  </a:cubicBezTo>
                  <a:cubicBezTo>
                    <a:pt x="322" y="417"/>
                    <a:pt x="417" y="322"/>
                    <a:pt x="524" y="322"/>
                  </a:cubicBezTo>
                  <a:close/>
                  <a:moveTo>
                    <a:pt x="524" y="0"/>
                  </a:moveTo>
                  <a:cubicBezTo>
                    <a:pt x="238" y="0"/>
                    <a:pt x="0" y="239"/>
                    <a:pt x="0" y="512"/>
                  </a:cubicBezTo>
                  <a:cubicBezTo>
                    <a:pt x="0" y="798"/>
                    <a:pt x="238" y="1036"/>
                    <a:pt x="524" y="1036"/>
                  </a:cubicBezTo>
                  <a:cubicBezTo>
                    <a:pt x="798" y="1036"/>
                    <a:pt x="1036" y="798"/>
                    <a:pt x="1036" y="512"/>
                  </a:cubicBezTo>
                  <a:cubicBezTo>
                    <a:pt x="1036" y="239"/>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6" name="Google Shape;11246;p60"/>
            <p:cNvSpPr/>
            <p:nvPr/>
          </p:nvSpPr>
          <p:spPr>
            <a:xfrm>
              <a:off x="7127716" y="4608369"/>
              <a:ext cx="33387" cy="33005"/>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8" y="715"/>
                    <a:pt x="334" y="620"/>
                    <a:pt x="334" y="512"/>
                  </a:cubicBezTo>
                  <a:cubicBezTo>
                    <a:pt x="334" y="417"/>
                    <a:pt x="418" y="322"/>
                    <a:pt x="525" y="322"/>
                  </a:cubicBezTo>
                  <a:close/>
                  <a:moveTo>
                    <a:pt x="525" y="0"/>
                  </a:moveTo>
                  <a:cubicBezTo>
                    <a:pt x="239" y="0"/>
                    <a:pt x="1" y="239"/>
                    <a:pt x="1" y="512"/>
                  </a:cubicBezTo>
                  <a:cubicBezTo>
                    <a:pt x="1" y="798"/>
                    <a:pt x="239" y="1036"/>
                    <a:pt x="525" y="1036"/>
                  </a:cubicBezTo>
                  <a:cubicBezTo>
                    <a:pt x="810" y="1036"/>
                    <a:pt x="1049" y="798"/>
                    <a:pt x="1049" y="512"/>
                  </a:cubicBezTo>
                  <a:cubicBezTo>
                    <a:pt x="1049" y="239"/>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7" name="Google Shape;11247;p60"/>
            <p:cNvSpPr/>
            <p:nvPr/>
          </p:nvSpPr>
          <p:spPr>
            <a:xfrm>
              <a:off x="7342965" y="4608369"/>
              <a:ext cx="33005" cy="33005"/>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7" y="715"/>
                    <a:pt x="322" y="620"/>
                    <a:pt x="322" y="512"/>
                  </a:cubicBezTo>
                  <a:cubicBezTo>
                    <a:pt x="322" y="417"/>
                    <a:pt x="417" y="322"/>
                    <a:pt x="513" y="322"/>
                  </a:cubicBezTo>
                  <a:close/>
                  <a:moveTo>
                    <a:pt x="513" y="0"/>
                  </a:moveTo>
                  <a:cubicBezTo>
                    <a:pt x="227" y="0"/>
                    <a:pt x="1" y="239"/>
                    <a:pt x="1" y="512"/>
                  </a:cubicBezTo>
                  <a:cubicBezTo>
                    <a:pt x="1" y="798"/>
                    <a:pt x="227" y="1036"/>
                    <a:pt x="513" y="1036"/>
                  </a:cubicBezTo>
                  <a:cubicBezTo>
                    <a:pt x="798" y="1036"/>
                    <a:pt x="1036" y="798"/>
                    <a:pt x="1036" y="512"/>
                  </a:cubicBezTo>
                  <a:cubicBezTo>
                    <a:pt x="1036" y="239"/>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8" name="Google Shape;11248;p60"/>
            <p:cNvSpPr/>
            <p:nvPr/>
          </p:nvSpPr>
          <p:spPr>
            <a:xfrm>
              <a:off x="7159194" y="4517788"/>
              <a:ext cx="186064" cy="84916"/>
            </a:xfrm>
            <a:custGeom>
              <a:avLst/>
              <a:gdLst/>
              <a:ahLst/>
              <a:cxnLst/>
              <a:rect l="l" t="t" r="r" b="b"/>
              <a:pathLst>
                <a:path w="5846" h="2668" extrusionOk="0">
                  <a:moveTo>
                    <a:pt x="2929" y="1"/>
                  </a:moveTo>
                  <a:cubicBezTo>
                    <a:pt x="2834" y="1"/>
                    <a:pt x="2762" y="72"/>
                    <a:pt x="2762" y="168"/>
                  </a:cubicBezTo>
                  <a:lnTo>
                    <a:pt x="2762" y="715"/>
                  </a:lnTo>
                  <a:lnTo>
                    <a:pt x="1607" y="715"/>
                  </a:lnTo>
                  <a:cubicBezTo>
                    <a:pt x="1381" y="715"/>
                    <a:pt x="1167" y="822"/>
                    <a:pt x="1036" y="1013"/>
                  </a:cubicBezTo>
                  <a:lnTo>
                    <a:pt x="60" y="2394"/>
                  </a:lnTo>
                  <a:cubicBezTo>
                    <a:pt x="0" y="2465"/>
                    <a:pt x="24" y="2573"/>
                    <a:pt x="95" y="2632"/>
                  </a:cubicBezTo>
                  <a:cubicBezTo>
                    <a:pt x="127" y="2655"/>
                    <a:pt x="160" y="2665"/>
                    <a:pt x="192" y="2665"/>
                  </a:cubicBezTo>
                  <a:cubicBezTo>
                    <a:pt x="245" y="2665"/>
                    <a:pt x="296" y="2636"/>
                    <a:pt x="333" y="2585"/>
                  </a:cubicBezTo>
                  <a:lnTo>
                    <a:pt x="1322" y="1203"/>
                  </a:lnTo>
                  <a:cubicBezTo>
                    <a:pt x="1393" y="1120"/>
                    <a:pt x="1500" y="1061"/>
                    <a:pt x="1619" y="1061"/>
                  </a:cubicBezTo>
                  <a:lnTo>
                    <a:pt x="2774" y="1061"/>
                  </a:lnTo>
                  <a:lnTo>
                    <a:pt x="2774" y="2311"/>
                  </a:lnTo>
                  <a:cubicBezTo>
                    <a:pt x="2774" y="2394"/>
                    <a:pt x="2858" y="2465"/>
                    <a:pt x="2941" y="2465"/>
                  </a:cubicBezTo>
                  <a:cubicBezTo>
                    <a:pt x="3036" y="2465"/>
                    <a:pt x="3108" y="2394"/>
                    <a:pt x="3108" y="2311"/>
                  </a:cubicBezTo>
                  <a:lnTo>
                    <a:pt x="3108" y="1061"/>
                  </a:lnTo>
                  <a:lnTo>
                    <a:pt x="4262" y="1061"/>
                  </a:lnTo>
                  <a:cubicBezTo>
                    <a:pt x="4382" y="1061"/>
                    <a:pt x="4489" y="1120"/>
                    <a:pt x="4560" y="1203"/>
                  </a:cubicBezTo>
                  <a:lnTo>
                    <a:pt x="5548" y="2585"/>
                  </a:lnTo>
                  <a:cubicBezTo>
                    <a:pt x="5572" y="2632"/>
                    <a:pt x="5632" y="2668"/>
                    <a:pt x="5679" y="2668"/>
                  </a:cubicBezTo>
                  <a:cubicBezTo>
                    <a:pt x="5715" y="2668"/>
                    <a:pt x="5751" y="2644"/>
                    <a:pt x="5775" y="2632"/>
                  </a:cubicBezTo>
                  <a:cubicBezTo>
                    <a:pt x="5834" y="2561"/>
                    <a:pt x="5846" y="2454"/>
                    <a:pt x="5798" y="2382"/>
                  </a:cubicBezTo>
                  <a:lnTo>
                    <a:pt x="4822" y="1001"/>
                  </a:lnTo>
                  <a:cubicBezTo>
                    <a:pt x="4679" y="822"/>
                    <a:pt x="4477" y="703"/>
                    <a:pt x="4251" y="703"/>
                  </a:cubicBezTo>
                  <a:lnTo>
                    <a:pt x="3096" y="703"/>
                  </a:lnTo>
                  <a:lnTo>
                    <a:pt x="3096" y="168"/>
                  </a:lnTo>
                  <a:cubicBezTo>
                    <a:pt x="3096" y="72"/>
                    <a:pt x="3012"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9" name="Google Shape;11249;p60"/>
            <p:cNvSpPr/>
            <p:nvPr/>
          </p:nvSpPr>
          <p:spPr>
            <a:xfrm>
              <a:off x="7217915" y="4321126"/>
              <a:ext cx="68238" cy="25812"/>
            </a:xfrm>
            <a:custGeom>
              <a:avLst/>
              <a:gdLst/>
              <a:ahLst/>
              <a:cxnLst/>
              <a:rect l="l" t="t" r="r" b="b"/>
              <a:pathLst>
                <a:path w="2144" h="811" extrusionOk="0">
                  <a:moveTo>
                    <a:pt x="933" y="1"/>
                  </a:moveTo>
                  <a:cubicBezTo>
                    <a:pt x="491" y="1"/>
                    <a:pt x="139" y="113"/>
                    <a:pt x="120" y="120"/>
                  </a:cubicBezTo>
                  <a:cubicBezTo>
                    <a:pt x="36" y="155"/>
                    <a:pt x="1" y="215"/>
                    <a:pt x="1" y="286"/>
                  </a:cubicBezTo>
                  <a:lnTo>
                    <a:pt x="1" y="643"/>
                  </a:lnTo>
                  <a:cubicBezTo>
                    <a:pt x="1" y="727"/>
                    <a:pt x="72" y="810"/>
                    <a:pt x="155" y="810"/>
                  </a:cubicBezTo>
                  <a:cubicBezTo>
                    <a:pt x="251" y="810"/>
                    <a:pt x="322" y="727"/>
                    <a:pt x="322" y="643"/>
                  </a:cubicBezTo>
                  <a:lnTo>
                    <a:pt x="322" y="417"/>
                  </a:lnTo>
                  <a:cubicBezTo>
                    <a:pt x="455" y="384"/>
                    <a:pt x="683" y="341"/>
                    <a:pt x="940" y="341"/>
                  </a:cubicBezTo>
                  <a:cubicBezTo>
                    <a:pt x="1236" y="341"/>
                    <a:pt x="1572" y="398"/>
                    <a:pt x="1846" y="596"/>
                  </a:cubicBezTo>
                  <a:cubicBezTo>
                    <a:pt x="1877" y="622"/>
                    <a:pt x="1914" y="634"/>
                    <a:pt x="1951" y="634"/>
                  </a:cubicBezTo>
                  <a:cubicBezTo>
                    <a:pt x="1999" y="634"/>
                    <a:pt x="2045" y="613"/>
                    <a:pt x="2072" y="572"/>
                  </a:cubicBezTo>
                  <a:cubicBezTo>
                    <a:pt x="2144" y="489"/>
                    <a:pt x="2120" y="393"/>
                    <a:pt x="2048" y="334"/>
                  </a:cubicBezTo>
                  <a:cubicBezTo>
                    <a:pt x="1703" y="74"/>
                    <a:pt x="1289" y="1"/>
                    <a:pt x="9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0" name="Google Shape;11250;p60"/>
          <p:cNvGrpSpPr/>
          <p:nvPr/>
        </p:nvGrpSpPr>
        <p:grpSpPr>
          <a:xfrm>
            <a:off x="7565408" y="4279432"/>
            <a:ext cx="248255" cy="361942"/>
            <a:chOff x="7565408" y="4279432"/>
            <a:chExt cx="248255" cy="361942"/>
          </a:xfrm>
        </p:grpSpPr>
        <p:sp>
          <p:nvSpPr>
            <p:cNvPr id="11251" name="Google Shape;11251;p60"/>
            <p:cNvSpPr/>
            <p:nvPr/>
          </p:nvSpPr>
          <p:spPr>
            <a:xfrm>
              <a:off x="7610126" y="4279432"/>
              <a:ext cx="158055" cy="236892"/>
            </a:xfrm>
            <a:custGeom>
              <a:avLst/>
              <a:gdLst/>
              <a:ahLst/>
              <a:cxnLst/>
              <a:rect l="l" t="t" r="r" b="b"/>
              <a:pathLst>
                <a:path w="4966" h="7443" extrusionOk="0">
                  <a:moveTo>
                    <a:pt x="2501" y="346"/>
                  </a:moveTo>
                  <a:cubicBezTo>
                    <a:pt x="2882" y="346"/>
                    <a:pt x="3191" y="572"/>
                    <a:pt x="3227" y="870"/>
                  </a:cubicBezTo>
                  <a:cubicBezTo>
                    <a:pt x="3001" y="775"/>
                    <a:pt x="2763" y="727"/>
                    <a:pt x="2501" y="727"/>
                  </a:cubicBezTo>
                  <a:cubicBezTo>
                    <a:pt x="2239" y="727"/>
                    <a:pt x="1989" y="775"/>
                    <a:pt x="1763" y="870"/>
                  </a:cubicBezTo>
                  <a:cubicBezTo>
                    <a:pt x="1798" y="572"/>
                    <a:pt x="2108" y="346"/>
                    <a:pt x="2501" y="346"/>
                  </a:cubicBezTo>
                  <a:close/>
                  <a:moveTo>
                    <a:pt x="2501" y="1061"/>
                  </a:moveTo>
                  <a:cubicBezTo>
                    <a:pt x="3394" y="1061"/>
                    <a:pt x="4108" y="1787"/>
                    <a:pt x="4108" y="2668"/>
                  </a:cubicBezTo>
                  <a:cubicBezTo>
                    <a:pt x="4108" y="2799"/>
                    <a:pt x="4084" y="2918"/>
                    <a:pt x="4061" y="3049"/>
                  </a:cubicBezTo>
                  <a:cubicBezTo>
                    <a:pt x="4025" y="2918"/>
                    <a:pt x="3953" y="2799"/>
                    <a:pt x="3846" y="2715"/>
                  </a:cubicBezTo>
                  <a:cubicBezTo>
                    <a:pt x="3191" y="2132"/>
                    <a:pt x="2036" y="1977"/>
                    <a:pt x="1989" y="1977"/>
                  </a:cubicBezTo>
                  <a:cubicBezTo>
                    <a:pt x="1983" y="1976"/>
                    <a:pt x="1977" y="1976"/>
                    <a:pt x="1970" y="1976"/>
                  </a:cubicBezTo>
                  <a:cubicBezTo>
                    <a:pt x="1892" y="1976"/>
                    <a:pt x="1810" y="2044"/>
                    <a:pt x="1810" y="2132"/>
                  </a:cubicBezTo>
                  <a:cubicBezTo>
                    <a:pt x="1798" y="2215"/>
                    <a:pt x="1870" y="2311"/>
                    <a:pt x="1953" y="2311"/>
                  </a:cubicBezTo>
                  <a:cubicBezTo>
                    <a:pt x="1977" y="2311"/>
                    <a:pt x="3072" y="2454"/>
                    <a:pt x="3644" y="2966"/>
                  </a:cubicBezTo>
                  <a:cubicBezTo>
                    <a:pt x="3715" y="3037"/>
                    <a:pt x="3763" y="3144"/>
                    <a:pt x="3763" y="3251"/>
                  </a:cubicBezTo>
                  <a:lnTo>
                    <a:pt x="3763" y="3394"/>
                  </a:lnTo>
                  <a:cubicBezTo>
                    <a:pt x="3751" y="4061"/>
                    <a:pt x="3179" y="4632"/>
                    <a:pt x="2501" y="4632"/>
                  </a:cubicBezTo>
                  <a:cubicBezTo>
                    <a:pt x="1798" y="4632"/>
                    <a:pt x="1251" y="4061"/>
                    <a:pt x="1251" y="3382"/>
                  </a:cubicBezTo>
                  <a:cubicBezTo>
                    <a:pt x="1251" y="3335"/>
                    <a:pt x="1274" y="3275"/>
                    <a:pt x="1310" y="3251"/>
                  </a:cubicBezTo>
                  <a:cubicBezTo>
                    <a:pt x="1441" y="3144"/>
                    <a:pt x="1632" y="2977"/>
                    <a:pt x="1751" y="2739"/>
                  </a:cubicBezTo>
                  <a:cubicBezTo>
                    <a:pt x="1798" y="2656"/>
                    <a:pt x="1763" y="2561"/>
                    <a:pt x="1679" y="2513"/>
                  </a:cubicBezTo>
                  <a:cubicBezTo>
                    <a:pt x="1651" y="2503"/>
                    <a:pt x="1625" y="2497"/>
                    <a:pt x="1600" y="2497"/>
                  </a:cubicBezTo>
                  <a:cubicBezTo>
                    <a:pt x="1538" y="2497"/>
                    <a:pt x="1487" y="2529"/>
                    <a:pt x="1453" y="2596"/>
                  </a:cubicBezTo>
                  <a:cubicBezTo>
                    <a:pt x="1370" y="2775"/>
                    <a:pt x="1215" y="2906"/>
                    <a:pt x="1108" y="2977"/>
                  </a:cubicBezTo>
                  <a:cubicBezTo>
                    <a:pt x="1048" y="3025"/>
                    <a:pt x="989" y="3085"/>
                    <a:pt x="965" y="3156"/>
                  </a:cubicBezTo>
                  <a:cubicBezTo>
                    <a:pt x="917" y="2989"/>
                    <a:pt x="893" y="2835"/>
                    <a:pt x="893" y="2668"/>
                  </a:cubicBezTo>
                  <a:cubicBezTo>
                    <a:pt x="893" y="1775"/>
                    <a:pt x="1620" y="1061"/>
                    <a:pt x="2501" y="1061"/>
                  </a:cubicBezTo>
                  <a:close/>
                  <a:moveTo>
                    <a:pt x="3048" y="4871"/>
                  </a:moveTo>
                  <a:lnTo>
                    <a:pt x="3048" y="5109"/>
                  </a:lnTo>
                  <a:cubicBezTo>
                    <a:pt x="3048" y="5156"/>
                    <a:pt x="3048" y="5192"/>
                    <a:pt x="3060" y="5240"/>
                  </a:cubicBezTo>
                  <a:lnTo>
                    <a:pt x="2501" y="5656"/>
                  </a:lnTo>
                  <a:lnTo>
                    <a:pt x="1929" y="5240"/>
                  </a:lnTo>
                  <a:cubicBezTo>
                    <a:pt x="1941" y="5192"/>
                    <a:pt x="1941" y="5156"/>
                    <a:pt x="1941" y="5109"/>
                  </a:cubicBezTo>
                  <a:lnTo>
                    <a:pt x="1941" y="4871"/>
                  </a:lnTo>
                  <a:cubicBezTo>
                    <a:pt x="2108" y="4930"/>
                    <a:pt x="2298" y="4954"/>
                    <a:pt x="2501" y="4954"/>
                  </a:cubicBezTo>
                  <a:cubicBezTo>
                    <a:pt x="2691" y="4954"/>
                    <a:pt x="2870" y="4930"/>
                    <a:pt x="3048" y="4871"/>
                  </a:cubicBezTo>
                  <a:close/>
                  <a:moveTo>
                    <a:pt x="2477" y="1"/>
                  </a:moveTo>
                  <a:cubicBezTo>
                    <a:pt x="1905" y="1"/>
                    <a:pt x="1429" y="394"/>
                    <a:pt x="1429" y="882"/>
                  </a:cubicBezTo>
                  <a:cubicBezTo>
                    <a:pt x="1429" y="930"/>
                    <a:pt x="1429" y="965"/>
                    <a:pt x="1441" y="1013"/>
                  </a:cubicBezTo>
                  <a:cubicBezTo>
                    <a:pt x="893" y="1358"/>
                    <a:pt x="536" y="1965"/>
                    <a:pt x="536" y="2656"/>
                  </a:cubicBezTo>
                  <a:cubicBezTo>
                    <a:pt x="536" y="3096"/>
                    <a:pt x="691" y="3549"/>
                    <a:pt x="977" y="3882"/>
                  </a:cubicBezTo>
                  <a:cubicBezTo>
                    <a:pt x="1096" y="4216"/>
                    <a:pt x="1322" y="4501"/>
                    <a:pt x="1608" y="4692"/>
                  </a:cubicBezTo>
                  <a:lnTo>
                    <a:pt x="1608" y="5097"/>
                  </a:lnTo>
                  <a:cubicBezTo>
                    <a:pt x="1608" y="5168"/>
                    <a:pt x="1560" y="5240"/>
                    <a:pt x="1489" y="5275"/>
                  </a:cubicBezTo>
                  <a:lnTo>
                    <a:pt x="417" y="5752"/>
                  </a:lnTo>
                  <a:cubicBezTo>
                    <a:pt x="155" y="5871"/>
                    <a:pt x="0" y="6109"/>
                    <a:pt x="0" y="6383"/>
                  </a:cubicBezTo>
                  <a:lnTo>
                    <a:pt x="0" y="7276"/>
                  </a:lnTo>
                  <a:cubicBezTo>
                    <a:pt x="0" y="7371"/>
                    <a:pt x="72" y="7442"/>
                    <a:pt x="155" y="7442"/>
                  </a:cubicBezTo>
                  <a:cubicBezTo>
                    <a:pt x="251" y="7442"/>
                    <a:pt x="322" y="7371"/>
                    <a:pt x="322" y="7276"/>
                  </a:cubicBezTo>
                  <a:lnTo>
                    <a:pt x="322" y="6383"/>
                  </a:lnTo>
                  <a:cubicBezTo>
                    <a:pt x="322" y="6240"/>
                    <a:pt x="417" y="6109"/>
                    <a:pt x="548" y="6049"/>
                  </a:cubicBezTo>
                  <a:lnTo>
                    <a:pt x="1620" y="5573"/>
                  </a:lnTo>
                  <a:cubicBezTo>
                    <a:pt x="1667" y="5549"/>
                    <a:pt x="1691" y="5525"/>
                    <a:pt x="1727" y="5513"/>
                  </a:cubicBezTo>
                  <a:lnTo>
                    <a:pt x="2263" y="5906"/>
                  </a:lnTo>
                  <a:cubicBezTo>
                    <a:pt x="2322" y="5954"/>
                    <a:pt x="2394" y="5990"/>
                    <a:pt x="2465" y="5990"/>
                  </a:cubicBezTo>
                  <a:cubicBezTo>
                    <a:pt x="2537" y="5990"/>
                    <a:pt x="2620" y="5954"/>
                    <a:pt x="2679" y="5906"/>
                  </a:cubicBezTo>
                  <a:lnTo>
                    <a:pt x="3215" y="5513"/>
                  </a:lnTo>
                  <a:cubicBezTo>
                    <a:pt x="3239" y="5537"/>
                    <a:pt x="3287" y="5549"/>
                    <a:pt x="3310" y="5573"/>
                  </a:cubicBezTo>
                  <a:lnTo>
                    <a:pt x="4382" y="6049"/>
                  </a:lnTo>
                  <a:cubicBezTo>
                    <a:pt x="4525" y="6109"/>
                    <a:pt x="4608" y="6240"/>
                    <a:pt x="4608" y="6383"/>
                  </a:cubicBezTo>
                  <a:lnTo>
                    <a:pt x="4608" y="7276"/>
                  </a:lnTo>
                  <a:cubicBezTo>
                    <a:pt x="4608" y="7371"/>
                    <a:pt x="4680" y="7442"/>
                    <a:pt x="4775" y="7442"/>
                  </a:cubicBezTo>
                  <a:cubicBezTo>
                    <a:pt x="4858" y="7442"/>
                    <a:pt x="4942" y="7371"/>
                    <a:pt x="4942" y="7276"/>
                  </a:cubicBezTo>
                  <a:lnTo>
                    <a:pt x="4942" y="6383"/>
                  </a:lnTo>
                  <a:cubicBezTo>
                    <a:pt x="4965" y="6121"/>
                    <a:pt x="4799" y="5871"/>
                    <a:pt x="4549" y="5752"/>
                  </a:cubicBezTo>
                  <a:lnTo>
                    <a:pt x="3477" y="5275"/>
                  </a:lnTo>
                  <a:cubicBezTo>
                    <a:pt x="3406" y="5240"/>
                    <a:pt x="3358" y="5168"/>
                    <a:pt x="3358" y="5097"/>
                  </a:cubicBezTo>
                  <a:lnTo>
                    <a:pt x="3358" y="4692"/>
                  </a:lnTo>
                  <a:cubicBezTo>
                    <a:pt x="3644" y="4501"/>
                    <a:pt x="3870" y="4216"/>
                    <a:pt x="3989" y="3882"/>
                  </a:cubicBezTo>
                  <a:cubicBezTo>
                    <a:pt x="4263" y="3549"/>
                    <a:pt x="4430" y="3096"/>
                    <a:pt x="4430" y="2656"/>
                  </a:cubicBezTo>
                  <a:cubicBezTo>
                    <a:pt x="4430" y="1965"/>
                    <a:pt x="4072" y="1358"/>
                    <a:pt x="3525" y="1013"/>
                  </a:cubicBezTo>
                  <a:cubicBezTo>
                    <a:pt x="3537" y="965"/>
                    <a:pt x="3537" y="930"/>
                    <a:pt x="3537" y="882"/>
                  </a:cubicBezTo>
                  <a:cubicBezTo>
                    <a:pt x="3537" y="394"/>
                    <a:pt x="30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2" name="Google Shape;11252;p60"/>
            <p:cNvSpPr/>
            <p:nvPr/>
          </p:nvSpPr>
          <p:spPr>
            <a:xfrm>
              <a:off x="7684411" y="4478004"/>
              <a:ext cx="10248" cy="38702"/>
            </a:xfrm>
            <a:custGeom>
              <a:avLst/>
              <a:gdLst/>
              <a:ahLst/>
              <a:cxnLst/>
              <a:rect l="l" t="t" r="r" b="b"/>
              <a:pathLst>
                <a:path w="322" h="1216" extrusionOk="0">
                  <a:moveTo>
                    <a:pt x="167" y="1"/>
                  </a:moveTo>
                  <a:cubicBezTo>
                    <a:pt x="72" y="1"/>
                    <a:pt x="0" y="72"/>
                    <a:pt x="0" y="167"/>
                  </a:cubicBezTo>
                  <a:lnTo>
                    <a:pt x="0" y="1060"/>
                  </a:lnTo>
                  <a:cubicBezTo>
                    <a:pt x="0" y="1144"/>
                    <a:pt x="72" y="1215"/>
                    <a:pt x="167" y="1215"/>
                  </a:cubicBezTo>
                  <a:cubicBezTo>
                    <a:pt x="250" y="1215"/>
                    <a:pt x="322" y="1144"/>
                    <a:pt x="322" y="1060"/>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3" name="Google Shape;11253;p60"/>
            <p:cNvSpPr/>
            <p:nvPr/>
          </p:nvSpPr>
          <p:spPr>
            <a:xfrm>
              <a:off x="7638929" y="4489366"/>
              <a:ext cx="10248" cy="27340"/>
            </a:xfrm>
            <a:custGeom>
              <a:avLst/>
              <a:gdLst/>
              <a:ahLst/>
              <a:cxnLst/>
              <a:rect l="l" t="t" r="r" b="b"/>
              <a:pathLst>
                <a:path w="322" h="859" extrusionOk="0">
                  <a:moveTo>
                    <a:pt x="167" y="1"/>
                  </a:moveTo>
                  <a:cubicBezTo>
                    <a:pt x="72" y="1"/>
                    <a:pt x="0" y="72"/>
                    <a:pt x="0" y="168"/>
                  </a:cubicBezTo>
                  <a:lnTo>
                    <a:pt x="0" y="703"/>
                  </a:lnTo>
                  <a:cubicBezTo>
                    <a:pt x="0" y="787"/>
                    <a:pt x="72" y="858"/>
                    <a:pt x="167" y="858"/>
                  </a:cubicBezTo>
                  <a:cubicBezTo>
                    <a:pt x="250" y="858"/>
                    <a:pt x="322" y="787"/>
                    <a:pt x="322" y="703"/>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4" name="Google Shape;11254;p60"/>
            <p:cNvSpPr/>
            <p:nvPr/>
          </p:nvSpPr>
          <p:spPr>
            <a:xfrm>
              <a:off x="7729479" y="4489366"/>
              <a:ext cx="10662" cy="27340"/>
            </a:xfrm>
            <a:custGeom>
              <a:avLst/>
              <a:gdLst/>
              <a:ahLst/>
              <a:cxnLst/>
              <a:rect l="l" t="t" r="r" b="b"/>
              <a:pathLst>
                <a:path w="335" h="859" extrusionOk="0">
                  <a:moveTo>
                    <a:pt x="156" y="1"/>
                  </a:moveTo>
                  <a:cubicBezTo>
                    <a:pt x="72" y="1"/>
                    <a:pt x="1" y="72"/>
                    <a:pt x="1" y="168"/>
                  </a:cubicBezTo>
                  <a:lnTo>
                    <a:pt x="1" y="703"/>
                  </a:lnTo>
                  <a:cubicBezTo>
                    <a:pt x="1" y="787"/>
                    <a:pt x="72" y="858"/>
                    <a:pt x="156" y="858"/>
                  </a:cubicBezTo>
                  <a:cubicBezTo>
                    <a:pt x="251" y="858"/>
                    <a:pt x="322" y="787"/>
                    <a:pt x="322" y="703"/>
                  </a:cubicBezTo>
                  <a:lnTo>
                    <a:pt x="322" y="168"/>
                  </a:lnTo>
                  <a:cubicBezTo>
                    <a:pt x="334" y="72"/>
                    <a:pt x="263"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5" name="Google Shape;11255;p60"/>
            <p:cNvSpPr/>
            <p:nvPr/>
          </p:nvSpPr>
          <p:spPr>
            <a:xfrm>
              <a:off x="7673017" y="4608369"/>
              <a:ext cx="33005" cy="33005"/>
            </a:xfrm>
            <a:custGeom>
              <a:avLst/>
              <a:gdLst/>
              <a:ahLst/>
              <a:cxnLst/>
              <a:rect l="l" t="t" r="r" b="b"/>
              <a:pathLst>
                <a:path w="1037" h="1037" extrusionOk="0">
                  <a:moveTo>
                    <a:pt x="525" y="322"/>
                  </a:moveTo>
                  <a:cubicBezTo>
                    <a:pt x="620" y="322"/>
                    <a:pt x="715" y="417"/>
                    <a:pt x="715" y="512"/>
                  </a:cubicBezTo>
                  <a:cubicBezTo>
                    <a:pt x="715" y="620"/>
                    <a:pt x="620" y="715"/>
                    <a:pt x="525" y="715"/>
                  </a:cubicBezTo>
                  <a:cubicBezTo>
                    <a:pt x="418" y="715"/>
                    <a:pt x="322" y="620"/>
                    <a:pt x="322" y="512"/>
                  </a:cubicBezTo>
                  <a:cubicBezTo>
                    <a:pt x="322" y="417"/>
                    <a:pt x="418" y="322"/>
                    <a:pt x="525" y="322"/>
                  </a:cubicBezTo>
                  <a:close/>
                  <a:moveTo>
                    <a:pt x="525" y="0"/>
                  </a:moveTo>
                  <a:cubicBezTo>
                    <a:pt x="239" y="0"/>
                    <a:pt x="1" y="239"/>
                    <a:pt x="1" y="512"/>
                  </a:cubicBezTo>
                  <a:cubicBezTo>
                    <a:pt x="1" y="798"/>
                    <a:pt x="239" y="1036"/>
                    <a:pt x="525" y="1036"/>
                  </a:cubicBezTo>
                  <a:cubicBezTo>
                    <a:pt x="799" y="1036"/>
                    <a:pt x="1037" y="798"/>
                    <a:pt x="1037" y="512"/>
                  </a:cubicBezTo>
                  <a:cubicBezTo>
                    <a:pt x="1037" y="239"/>
                    <a:pt x="799"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6" name="Google Shape;11256;p60"/>
            <p:cNvSpPr/>
            <p:nvPr/>
          </p:nvSpPr>
          <p:spPr>
            <a:xfrm>
              <a:off x="7565408" y="4608369"/>
              <a:ext cx="33387" cy="33005"/>
            </a:xfrm>
            <a:custGeom>
              <a:avLst/>
              <a:gdLst/>
              <a:ahLst/>
              <a:cxnLst/>
              <a:rect l="l" t="t" r="r" b="b"/>
              <a:pathLst>
                <a:path w="1049" h="1037" extrusionOk="0">
                  <a:moveTo>
                    <a:pt x="524" y="322"/>
                  </a:moveTo>
                  <a:cubicBezTo>
                    <a:pt x="632" y="322"/>
                    <a:pt x="715" y="417"/>
                    <a:pt x="715" y="512"/>
                  </a:cubicBezTo>
                  <a:cubicBezTo>
                    <a:pt x="715" y="620"/>
                    <a:pt x="632" y="715"/>
                    <a:pt x="524" y="715"/>
                  </a:cubicBezTo>
                  <a:cubicBezTo>
                    <a:pt x="417" y="715"/>
                    <a:pt x="334" y="620"/>
                    <a:pt x="334" y="512"/>
                  </a:cubicBezTo>
                  <a:cubicBezTo>
                    <a:pt x="334" y="417"/>
                    <a:pt x="417" y="322"/>
                    <a:pt x="524" y="322"/>
                  </a:cubicBezTo>
                  <a:close/>
                  <a:moveTo>
                    <a:pt x="524" y="0"/>
                  </a:moveTo>
                  <a:cubicBezTo>
                    <a:pt x="239" y="0"/>
                    <a:pt x="1" y="239"/>
                    <a:pt x="1" y="512"/>
                  </a:cubicBezTo>
                  <a:cubicBezTo>
                    <a:pt x="1" y="798"/>
                    <a:pt x="239" y="1036"/>
                    <a:pt x="524" y="1036"/>
                  </a:cubicBezTo>
                  <a:cubicBezTo>
                    <a:pt x="810" y="1036"/>
                    <a:pt x="1048" y="798"/>
                    <a:pt x="1048" y="512"/>
                  </a:cubicBezTo>
                  <a:cubicBezTo>
                    <a:pt x="1048" y="239"/>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7" name="Google Shape;11257;p60"/>
            <p:cNvSpPr/>
            <p:nvPr/>
          </p:nvSpPr>
          <p:spPr>
            <a:xfrm>
              <a:off x="7780657" y="4608369"/>
              <a:ext cx="33005" cy="33005"/>
            </a:xfrm>
            <a:custGeom>
              <a:avLst/>
              <a:gdLst/>
              <a:ahLst/>
              <a:cxnLst/>
              <a:rect l="l" t="t" r="r" b="b"/>
              <a:pathLst>
                <a:path w="1037" h="1037" extrusionOk="0">
                  <a:moveTo>
                    <a:pt x="512" y="322"/>
                  </a:moveTo>
                  <a:cubicBezTo>
                    <a:pt x="619" y="322"/>
                    <a:pt x="715" y="417"/>
                    <a:pt x="715" y="512"/>
                  </a:cubicBezTo>
                  <a:cubicBezTo>
                    <a:pt x="715" y="620"/>
                    <a:pt x="619" y="715"/>
                    <a:pt x="512" y="715"/>
                  </a:cubicBezTo>
                  <a:cubicBezTo>
                    <a:pt x="417" y="715"/>
                    <a:pt x="322" y="620"/>
                    <a:pt x="322" y="512"/>
                  </a:cubicBezTo>
                  <a:cubicBezTo>
                    <a:pt x="322" y="417"/>
                    <a:pt x="417" y="322"/>
                    <a:pt x="512" y="322"/>
                  </a:cubicBezTo>
                  <a:close/>
                  <a:moveTo>
                    <a:pt x="512" y="0"/>
                  </a:moveTo>
                  <a:cubicBezTo>
                    <a:pt x="238" y="0"/>
                    <a:pt x="0" y="239"/>
                    <a:pt x="0" y="512"/>
                  </a:cubicBezTo>
                  <a:cubicBezTo>
                    <a:pt x="0" y="798"/>
                    <a:pt x="238" y="1036"/>
                    <a:pt x="512" y="1036"/>
                  </a:cubicBezTo>
                  <a:cubicBezTo>
                    <a:pt x="798" y="1036"/>
                    <a:pt x="1036" y="798"/>
                    <a:pt x="1036" y="512"/>
                  </a:cubicBezTo>
                  <a:cubicBezTo>
                    <a:pt x="1036" y="239"/>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8" name="Google Shape;11258;p60"/>
            <p:cNvSpPr/>
            <p:nvPr/>
          </p:nvSpPr>
          <p:spPr>
            <a:xfrm>
              <a:off x="7596090" y="4528801"/>
              <a:ext cx="186859" cy="73362"/>
            </a:xfrm>
            <a:custGeom>
              <a:avLst/>
              <a:gdLst/>
              <a:ahLst/>
              <a:cxnLst/>
              <a:rect l="l" t="t" r="r" b="b"/>
              <a:pathLst>
                <a:path w="5871" h="2305" extrusionOk="0">
                  <a:moveTo>
                    <a:pt x="2942" y="0"/>
                  </a:moveTo>
                  <a:cubicBezTo>
                    <a:pt x="2847" y="0"/>
                    <a:pt x="2775" y="72"/>
                    <a:pt x="2775" y="155"/>
                  </a:cubicBezTo>
                  <a:lnTo>
                    <a:pt x="2775" y="357"/>
                  </a:lnTo>
                  <a:lnTo>
                    <a:pt x="1608" y="357"/>
                  </a:lnTo>
                  <a:cubicBezTo>
                    <a:pt x="1394" y="357"/>
                    <a:pt x="1180" y="453"/>
                    <a:pt x="1049" y="655"/>
                  </a:cubicBezTo>
                  <a:lnTo>
                    <a:pt x="60" y="2036"/>
                  </a:lnTo>
                  <a:cubicBezTo>
                    <a:pt x="1" y="2108"/>
                    <a:pt x="37" y="2215"/>
                    <a:pt x="108" y="2274"/>
                  </a:cubicBezTo>
                  <a:cubicBezTo>
                    <a:pt x="133" y="2295"/>
                    <a:pt x="163" y="2304"/>
                    <a:pt x="193" y="2304"/>
                  </a:cubicBezTo>
                  <a:cubicBezTo>
                    <a:pt x="249" y="2304"/>
                    <a:pt x="308" y="2273"/>
                    <a:pt x="346" y="2227"/>
                  </a:cubicBezTo>
                  <a:lnTo>
                    <a:pt x="1334" y="846"/>
                  </a:lnTo>
                  <a:cubicBezTo>
                    <a:pt x="1406" y="750"/>
                    <a:pt x="1513" y="691"/>
                    <a:pt x="1632" y="691"/>
                  </a:cubicBezTo>
                  <a:lnTo>
                    <a:pt x="2787" y="691"/>
                  </a:lnTo>
                  <a:lnTo>
                    <a:pt x="2787" y="1941"/>
                  </a:lnTo>
                  <a:cubicBezTo>
                    <a:pt x="2787" y="2036"/>
                    <a:pt x="2858" y="2108"/>
                    <a:pt x="2954" y="2108"/>
                  </a:cubicBezTo>
                  <a:cubicBezTo>
                    <a:pt x="3037" y="2108"/>
                    <a:pt x="3120" y="2036"/>
                    <a:pt x="3120" y="1941"/>
                  </a:cubicBezTo>
                  <a:lnTo>
                    <a:pt x="3120" y="691"/>
                  </a:lnTo>
                  <a:lnTo>
                    <a:pt x="4275" y="691"/>
                  </a:lnTo>
                  <a:cubicBezTo>
                    <a:pt x="4394" y="691"/>
                    <a:pt x="4502" y="750"/>
                    <a:pt x="4573" y="846"/>
                  </a:cubicBezTo>
                  <a:lnTo>
                    <a:pt x="5561" y="2227"/>
                  </a:lnTo>
                  <a:cubicBezTo>
                    <a:pt x="5585" y="2274"/>
                    <a:pt x="5645" y="2298"/>
                    <a:pt x="5692" y="2298"/>
                  </a:cubicBezTo>
                  <a:cubicBezTo>
                    <a:pt x="5716" y="2298"/>
                    <a:pt x="5764" y="2286"/>
                    <a:pt x="5775" y="2274"/>
                  </a:cubicBezTo>
                  <a:cubicBezTo>
                    <a:pt x="5859" y="2215"/>
                    <a:pt x="5871" y="2108"/>
                    <a:pt x="5811" y="2036"/>
                  </a:cubicBezTo>
                  <a:lnTo>
                    <a:pt x="4823" y="655"/>
                  </a:lnTo>
                  <a:cubicBezTo>
                    <a:pt x="4692" y="476"/>
                    <a:pt x="4490" y="357"/>
                    <a:pt x="4263" y="357"/>
                  </a:cubicBezTo>
                  <a:lnTo>
                    <a:pt x="3097" y="357"/>
                  </a:lnTo>
                  <a:lnTo>
                    <a:pt x="3097" y="155"/>
                  </a:lnTo>
                  <a:cubicBezTo>
                    <a:pt x="3097" y="72"/>
                    <a:pt x="3025"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59" name="Google Shape;11259;p60"/>
          <p:cNvGrpSpPr/>
          <p:nvPr/>
        </p:nvGrpSpPr>
        <p:grpSpPr>
          <a:xfrm>
            <a:off x="6264109" y="4279432"/>
            <a:ext cx="225498" cy="361560"/>
            <a:chOff x="6264109" y="4279432"/>
            <a:chExt cx="225498" cy="361560"/>
          </a:xfrm>
        </p:grpSpPr>
        <p:sp>
          <p:nvSpPr>
            <p:cNvPr id="11260" name="Google Shape;11260;p60"/>
            <p:cNvSpPr/>
            <p:nvPr/>
          </p:nvSpPr>
          <p:spPr>
            <a:xfrm>
              <a:off x="6264109" y="4279432"/>
              <a:ext cx="225498" cy="361560"/>
            </a:xfrm>
            <a:custGeom>
              <a:avLst/>
              <a:gdLst/>
              <a:ahLst/>
              <a:cxnLst/>
              <a:rect l="l" t="t" r="r" b="b"/>
              <a:pathLst>
                <a:path w="7085" h="11360" extrusionOk="0">
                  <a:moveTo>
                    <a:pt x="6716" y="870"/>
                  </a:moveTo>
                  <a:cubicBezTo>
                    <a:pt x="6716" y="870"/>
                    <a:pt x="6728" y="870"/>
                    <a:pt x="6728" y="882"/>
                  </a:cubicBezTo>
                  <a:lnTo>
                    <a:pt x="6728" y="1239"/>
                  </a:lnTo>
                  <a:lnTo>
                    <a:pt x="6751" y="1239"/>
                  </a:lnTo>
                  <a:lnTo>
                    <a:pt x="6192" y="1251"/>
                  </a:lnTo>
                  <a:cubicBezTo>
                    <a:pt x="6108" y="1251"/>
                    <a:pt x="6037" y="1322"/>
                    <a:pt x="6037" y="1418"/>
                  </a:cubicBezTo>
                  <a:cubicBezTo>
                    <a:pt x="6037" y="1501"/>
                    <a:pt x="6108" y="1584"/>
                    <a:pt x="6192" y="1584"/>
                  </a:cubicBezTo>
                  <a:lnTo>
                    <a:pt x="6394" y="1584"/>
                  </a:lnTo>
                  <a:lnTo>
                    <a:pt x="6394" y="7454"/>
                  </a:lnTo>
                  <a:cubicBezTo>
                    <a:pt x="6394" y="7454"/>
                    <a:pt x="6394" y="7478"/>
                    <a:pt x="6370" y="7478"/>
                  </a:cubicBezTo>
                  <a:lnTo>
                    <a:pt x="679" y="7478"/>
                  </a:lnTo>
                  <a:cubicBezTo>
                    <a:pt x="679" y="7478"/>
                    <a:pt x="655" y="7478"/>
                    <a:pt x="655" y="7454"/>
                  </a:cubicBezTo>
                  <a:lnTo>
                    <a:pt x="655" y="1584"/>
                  </a:lnTo>
                  <a:lnTo>
                    <a:pt x="5477" y="1584"/>
                  </a:lnTo>
                  <a:cubicBezTo>
                    <a:pt x="5573" y="1584"/>
                    <a:pt x="5644" y="1501"/>
                    <a:pt x="5644" y="1418"/>
                  </a:cubicBezTo>
                  <a:cubicBezTo>
                    <a:pt x="5644" y="1322"/>
                    <a:pt x="5573" y="1251"/>
                    <a:pt x="5477" y="1251"/>
                  </a:cubicBezTo>
                  <a:lnTo>
                    <a:pt x="322" y="1251"/>
                  </a:lnTo>
                  <a:cubicBezTo>
                    <a:pt x="322" y="1251"/>
                    <a:pt x="298" y="1251"/>
                    <a:pt x="298" y="1239"/>
                  </a:cubicBezTo>
                  <a:lnTo>
                    <a:pt x="298" y="882"/>
                  </a:lnTo>
                  <a:cubicBezTo>
                    <a:pt x="298" y="882"/>
                    <a:pt x="298" y="870"/>
                    <a:pt x="322" y="870"/>
                  </a:cubicBezTo>
                  <a:close/>
                  <a:moveTo>
                    <a:pt x="5358" y="7811"/>
                  </a:moveTo>
                  <a:lnTo>
                    <a:pt x="5858" y="10335"/>
                  </a:lnTo>
                  <a:lnTo>
                    <a:pt x="3691" y="10335"/>
                  </a:lnTo>
                  <a:lnTo>
                    <a:pt x="3691" y="8371"/>
                  </a:lnTo>
                  <a:cubicBezTo>
                    <a:pt x="3691" y="8276"/>
                    <a:pt x="3620" y="8204"/>
                    <a:pt x="3537" y="8204"/>
                  </a:cubicBezTo>
                  <a:cubicBezTo>
                    <a:pt x="3441" y="8204"/>
                    <a:pt x="3370" y="8276"/>
                    <a:pt x="3370" y="8371"/>
                  </a:cubicBezTo>
                  <a:lnTo>
                    <a:pt x="3370" y="10335"/>
                  </a:lnTo>
                  <a:lnTo>
                    <a:pt x="1215" y="10335"/>
                  </a:lnTo>
                  <a:lnTo>
                    <a:pt x="1715" y="7811"/>
                  </a:lnTo>
                  <a:close/>
                  <a:moveTo>
                    <a:pt x="3549" y="1"/>
                  </a:moveTo>
                  <a:cubicBezTo>
                    <a:pt x="3453" y="1"/>
                    <a:pt x="3382" y="72"/>
                    <a:pt x="3382" y="168"/>
                  </a:cubicBezTo>
                  <a:lnTo>
                    <a:pt x="3382" y="537"/>
                  </a:lnTo>
                  <a:lnTo>
                    <a:pt x="346" y="537"/>
                  </a:lnTo>
                  <a:cubicBezTo>
                    <a:pt x="155" y="537"/>
                    <a:pt x="0" y="691"/>
                    <a:pt x="0" y="882"/>
                  </a:cubicBezTo>
                  <a:lnTo>
                    <a:pt x="0" y="1239"/>
                  </a:lnTo>
                  <a:cubicBezTo>
                    <a:pt x="0" y="1430"/>
                    <a:pt x="155" y="1584"/>
                    <a:pt x="346" y="1584"/>
                  </a:cubicBezTo>
                  <a:lnTo>
                    <a:pt x="358" y="1584"/>
                  </a:lnTo>
                  <a:lnTo>
                    <a:pt x="358" y="7454"/>
                  </a:lnTo>
                  <a:cubicBezTo>
                    <a:pt x="358" y="7645"/>
                    <a:pt x="512" y="7799"/>
                    <a:pt x="703" y="7799"/>
                  </a:cubicBezTo>
                  <a:lnTo>
                    <a:pt x="1382" y="7799"/>
                  </a:lnTo>
                  <a:lnTo>
                    <a:pt x="715" y="11157"/>
                  </a:lnTo>
                  <a:cubicBezTo>
                    <a:pt x="703" y="11252"/>
                    <a:pt x="762" y="11347"/>
                    <a:pt x="858" y="11359"/>
                  </a:cubicBezTo>
                  <a:lnTo>
                    <a:pt x="882" y="11359"/>
                  </a:lnTo>
                  <a:cubicBezTo>
                    <a:pt x="953" y="11359"/>
                    <a:pt x="1036" y="11300"/>
                    <a:pt x="1048" y="11217"/>
                  </a:cubicBezTo>
                  <a:lnTo>
                    <a:pt x="1167" y="10645"/>
                  </a:lnTo>
                  <a:lnTo>
                    <a:pt x="3382" y="10645"/>
                  </a:lnTo>
                  <a:lnTo>
                    <a:pt x="3382" y="11193"/>
                  </a:lnTo>
                  <a:cubicBezTo>
                    <a:pt x="3382" y="11288"/>
                    <a:pt x="3453" y="11359"/>
                    <a:pt x="3549" y="11359"/>
                  </a:cubicBezTo>
                  <a:cubicBezTo>
                    <a:pt x="3632" y="11359"/>
                    <a:pt x="3703" y="11288"/>
                    <a:pt x="3703" y="11193"/>
                  </a:cubicBezTo>
                  <a:lnTo>
                    <a:pt x="3703" y="10645"/>
                  </a:lnTo>
                  <a:lnTo>
                    <a:pt x="5930" y="10645"/>
                  </a:lnTo>
                  <a:lnTo>
                    <a:pt x="6049" y="11217"/>
                  </a:lnTo>
                  <a:cubicBezTo>
                    <a:pt x="6061" y="11300"/>
                    <a:pt x="6132" y="11359"/>
                    <a:pt x="6204" y="11359"/>
                  </a:cubicBezTo>
                  <a:lnTo>
                    <a:pt x="6239" y="11359"/>
                  </a:lnTo>
                  <a:cubicBezTo>
                    <a:pt x="6323" y="11336"/>
                    <a:pt x="6382" y="11252"/>
                    <a:pt x="6370" y="11157"/>
                  </a:cubicBezTo>
                  <a:lnTo>
                    <a:pt x="5704" y="7799"/>
                  </a:lnTo>
                  <a:lnTo>
                    <a:pt x="6382" y="7799"/>
                  </a:lnTo>
                  <a:cubicBezTo>
                    <a:pt x="6585" y="7799"/>
                    <a:pt x="6728" y="7645"/>
                    <a:pt x="6728" y="7454"/>
                  </a:cubicBezTo>
                  <a:lnTo>
                    <a:pt x="6728" y="1584"/>
                  </a:lnTo>
                  <a:lnTo>
                    <a:pt x="6739" y="1584"/>
                  </a:lnTo>
                  <a:cubicBezTo>
                    <a:pt x="6942" y="1584"/>
                    <a:pt x="7085" y="1430"/>
                    <a:pt x="7085" y="1239"/>
                  </a:cubicBezTo>
                  <a:lnTo>
                    <a:pt x="7085" y="882"/>
                  </a:lnTo>
                  <a:cubicBezTo>
                    <a:pt x="7085" y="691"/>
                    <a:pt x="6930" y="537"/>
                    <a:pt x="6751" y="537"/>
                  </a:cubicBezTo>
                  <a:lnTo>
                    <a:pt x="3715" y="537"/>
                  </a:lnTo>
                  <a:lnTo>
                    <a:pt x="3715" y="168"/>
                  </a:lnTo>
                  <a:cubicBezTo>
                    <a:pt x="3715" y="72"/>
                    <a:pt x="3632" y="1"/>
                    <a:pt x="3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1" name="Google Shape;11261;p60"/>
            <p:cNvSpPr/>
            <p:nvPr/>
          </p:nvSpPr>
          <p:spPr>
            <a:xfrm>
              <a:off x="6303129" y="4370395"/>
              <a:ext cx="146693" cy="106495"/>
            </a:xfrm>
            <a:custGeom>
              <a:avLst/>
              <a:gdLst/>
              <a:ahLst/>
              <a:cxnLst/>
              <a:rect l="l" t="t" r="r" b="b"/>
              <a:pathLst>
                <a:path w="4609" h="3346" extrusionOk="0">
                  <a:moveTo>
                    <a:pt x="3561" y="0"/>
                  </a:moveTo>
                  <a:cubicBezTo>
                    <a:pt x="3466" y="0"/>
                    <a:pt x="3394" y="72"/>
                    <a:pt x="3394" y="167"/>
                  </a:cubicBezTo>
                  <a:cubicBezTo>
                    <a:pt x="3394" y="250"/>
                    <a:pt x="3466" y="334"/>
                    <a:pt x="3561" y="334"/>
                  </a:cubicBezTo>
                  <a:lnTo>
                    <a:pt x="4049" y="334"/>
                  </a:lnTo>
                  <a:lnTo>
                    <a:pt x="2406" y="1965"/>
                  </a:lnTo>
                  <a:lnTo>
                    <a:pt x="2394" y="1965"/>
                  </a:lnTo>
                  <a:lnTo>
                    <a:pt x="2025" y="1596"/>
                  </a:lnTo>
                  <a:cubicBezTo>
                    <a:pt x="1959" y="1530"/>
                    <a:pt x="1870" y="1498"/>
                    <a:pt x="1781" y="1498"/>
                  </a:cubicBezTo>
                  <a:cubicBezTo>
                    <a:pt x="1692" y="1498"/>
                    <a:pt x="1602" y="1530"/>
                    <a:pt x="1537" y="1596"/>
                  </a:cubicBezTo>
                  <a:lnTo>
                    <a:pt x="60" y="3072"/>
                  </a:lnTo>
                  <a:cubicBezTo>
                    <a:pt x="1" y="3132"/>
                    <a:pt x="1" y="3227"/>
                    <a:pt x="60" y="3310"/>
                  </a:cubicBezTo>
                  <a:cubicBezTo>
                    <a:pt x="84" y="3334"/>
                    <a:pt x="132" y="3346"/>
                    <a:pt x="179" y="3346"/>
                  </a:cubicBezTo>
                  <a:cubicBezTo>
                    <a:pt x="227" y="3346"/>
                    <a:pt x="263" y="3334"/>
                    <a:pt x="298" y="3310"/>
                  </a:cubicBezTo>
                  <a:lnTo>
                    <a:pt x="1775" y="1834"/>
                  </a:lnTo>
                  <a:lnTo>
                    <a:pt x="1787" y="1834"/>
                  </a:lnTo>
                  <a:lnTo>
                    <a:pt x="2156" y="2203"/>
                  </a:lnTo>
                  <a:cubicBezTo>
                    <a:pt x="2215" y="2263"/>
                    <a:pt x="2311" y="2310"/>
                    <a:pt x="2394" y="2310"/>
                  </a:cubicBezTo>
                  <a:cubicBezTo>
                    <a:pt x="2477" y="2310"/>
                    <a:pt x="2573" y="2274"/>
                    <a:pt x="2632" y="2203"/>
                  </a:cubicBezTo>
                  <a:lnTo>
                    <a:pt x="4263" y="572"/>
                  </a:lnTo>
                  <a:lnTo>
                    <a:pt x="4263" y="1060"/>
                  </a:lnTo>
                  <a:cubicBezTo>
                    <a:pt x="4263" y="1143"/>
                    <a:pt x="4347" y="1227"/>
                    <a:pt x="4430" y="1227"/>
                  </a:cubicBezTo>
                  <a:cubicBezTo>
                    <a:pt x="4525" y="1227"/>
                    <a:pt x="4597" y="1143"/>
                    <a:pt x="4597" y="1060"/>
                  </a:cubicBezTo>
                  <a:lnTo>
                    <a:pt x="4597" y="167"/>
                  </a:lnTo>
                  <a:cubicBezTo>
                    <a:pt x="4609" y="72"/>
                    <a:pt x="4537" y="0"/>
                    <a:pt x="4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2" name="Google Shape;11262;p60"/>
          <p:cNvGrpSpPr/>
          <p:nvPr/>
        </p:nvGrpSpPr>
        <p:grpSpPr>
          <a:xfrm>
            <a:off x="7929578" y="4284365"/>
            <a:ext cx="395266" cy="351312"/>
            <a:chOff x="7929578" y="4284365"/>
            <a:chExt cx="395266" cy="351312"/>
          </a:xfrm>
        </p:grpSpPr>
        <p:sp>
          <p:nvSpPr>
            <p:cNvPr id="11263" name="Google Shape;11263;p60"/>
            <p:cNvSpPr/>
            <p:nvPr/>
          </p:nvSpPr>
          <p:spPr>
            <a:xfrm>
              <a:off x="7954213" y="4588668"/>
              <a:ext cx="11394" cy="47009"/>
            </a:xfrm>
            <a:custGeom>
              <a:avLst/>
              <a:gdLst/>
              <a:ahLst/>
              <a:cxnLst/>
              <a:rect l="l" t="t" r="r" b="b"/>
              <a:pathLst>
                <a:path w="358" h="1477" extrusionOk="0">
                  <a:moveTo>
                    <a:pt x="179" y="0"/>
                  </a:moveTo>
                  <a:cubicBezTo>
                    <a:pt x="84" y="0"/>
                    <a:pt x="0" y="84"/>
                    <a:pt x="0" y="179"/>
                  </a:cubicBezTo>
                  <a:lnTo>
                    <a:pt x="0" y="1298"/>
                  </a:lnTo>
                  <a:cubicBezTo>
                    <a:pt x="0" y="1405"/>
                    <a:pt x="84" y="1477"/>
                    <a:pt x="179" y="1477"/>
                  </a:cubicBezTo>
                  <a:cubicBezTo>
                    <a:pt x="286" y="1477"/>
                    <a:pt x="358" y="1405"/>
                    <a:pt x="358" y="1298"/>
                  </a:cubicBezTo>
                  <a:lnTo>
                    <a:pt x="358" y="179"/>
                  </a:lnTo>
                  <a:cubicBezTo>
                    <a:pt x="358" y="96"/>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4" name="Google Shape;11264;p60"/>
            <p:cNvSpPr/>
            <p:nvPr/>
          </p:nvSpPr>
          <p:spPr>
            <a:xfrm>
              <a:off x="7929578" y="4432522"/>
              <a:ext cx="213372" cy="203155"/>
            </a:xfrm>
            <a:custGeom>
              <a:avLst/>
              <a:gdLst/>
              <a:ahLst/>
              <a:cxnLst/>
              <a:rect l="l" t="t" r="r" b="b"/>
              <a:pathLst>
                <a:path w="6704" h="6383" extrusionOk="0">
                  <a:moveTo>
                    <a:pt x="6192" y="1013"/>
                  </a:moveTo>
                  <a:lnTo>
                    <a:pt x="6275" y="1275"/>
                  </a:lnTo>
                  <a:cubicBezTo>
                    <a:pt x="6287" y="1358"/>
                    <a:pt x="6275" y="1430"/>
                    <a:pt x="6216" y="1489"/>
                  </a:cubicBezTo>
                  <a:lnTo>
                    <a:pt x="6108" y="1596"/>
                  </a:lnTo>
                  <a:lnTo>
                    <a:pt x="5858" y="1334"/>
                  </a:lnTo>
                  <a:lnTo>
                    <a:pt x="6192" y="1013"/>
                  </a:lnTo>
                  <a:close/>
                  <a:moveTo>
                    <a:pt x="1941" y="382"/>
                  </a:moveTo>
                  <a:cubicBezTo>
                    <a:pt x="2251" y="382"/>
                    <a:pt x="2536" y="501"/>
                    <a:pt x="2763" y="727"/>
                  </a:cubicBezTo>
                  <a:cubicBezTo>
                    <a:pt x="2965" y="953"/>
                    <a:pt x="3096" y="1251"/>
                    <a:pt x="3132" y="1573"/>
                  </a:cubicBezTo>
                  <a:cubicBezTo>
                    <a:pt x="3144" y="1692"/>
                    <a:pt x="3156" y="1846"/>
                    <a:pt x="3179" y="2001"/>
                  </a:cubicBezTo>
                  <a:cubicBezTo>
                    <a:pt x="2977" y="1680"/>
                    <a:pt x="2656" y="1430"/>
                    <a:pt x="2239" y="1287"/>
                  </a:cubicBezTo>
                  <a:cubicBezTo>
                    <a:pt x="1947" y="1199"/>
                    <a:pt x="1670" y="1191"/>
                    <a:pt x="1579" y="1191"/>
                  </a:cubicBezTo>
                  <a:cubicBezTo>
                    <a:pt x="1559" y="1191"/>
                    <a:pt x="1548" y="1192"/>
                    <a:pt x="1548" y="1192"/>
                  </a:cubicBezTo>
                  <a:cubicBezTo>
                    <a:pt x="1513" y="1192"/>
                    <a:pt x="1465" y="1204"/>
                    <a:pt x="1429" y="1251"/>
                  </a:cubicBezTo>
                  <a:lnTo>
                    <a:pt x="1108" y="1585"/>
                  </a:lnTo>
                  <a:cubicBezTo>
                    <a:pt x="1036" y="1668"/>
                    <a:pt x="1036" y="1787"/>
                    <a:pt x="1108" y="1846"/>
                  </a:cubicBezTo>
                  <a:cubicBezTo>
                    <a:pt x="1143" y="1882"/>
                    <a:pt x="1191" y="1900"/>
                    <a:pt x="1237" y="1900"/>
                  </a:cubicBezTo>
                  <a:cubicBezTo>
                    <a:pt x="1283" y="1900"/>
                    <a:pt x="1328" y="1882"/>
                    <a:pt x="1358" y="1846"/>
                  </a:cubicBezTo>
                  <a:lnTo>
                    <a:pt x="1632" y="1561"/>
                  </a:lnTo>
                  <a:cubicBezTo>
                    <a:pt x="1870" y="1573"/>
                    <a:pt x="2620" y="1668"/>
                    <a:pt x="2906" y="2299"/>
                  </a:cubicBezTo>
                  <a:cubicBezTo>
                    <a:pt x="2834" y="2763"/>
                    <a:pt x="2417" y="3120"/>
                    <a:pt x="1929" y="3120"/>
                  </a:cubicBezTo>
                  <a:cubicBezTo>
                    <a:pt x="1393" y="3120"/>
                    <a:pt x="941" y="2680"/>
                    <a:pt x="941" y="2144"/>
                  </a:cubicBezTo>
                  <a:cubicBezTo>
                    <a:pt x="941" y="2037"/>
                    <a:pt x="870" y="1966"/>
                    <a:pt x="762" y="1966"/>
                  </a:cubicBezTo>
                  <a:cubicBezTo>
                    <a:pt x="751" y="1966"/>
                    <a:pt x="715" y="1966"/>
                    <a:pt x="703" y="1977"/>
                  </a:cubicBezTo>
                  <a:cubicBezTo>
                    <a:pt x="715" y="1835"/>
                    <a:pt x="751" y="1680"/>
                    <a:pt x="751" y="1573"/>
                  </a:cubicBezTo>
                  <a:cubicBezTo>
                    <a:pt x="774" y="1251"/>
                    <a:pt x="893" y="953"/>
                    <a:pt x="1120" y="727"/>
                  </a:cubicBezTo>
                  <a:cubicBezTo>
                    <a:pt x="1334" y="501"/>
                    <a:pt x="1632" y="382"/>
                    <a:pt x="1941" y="382"/>
                  </a:cubicBezTo>
                  <a:close/>
                  <a:moveTo>
                    <a:pt x="631" y="2442"/>
                  </a:moveTo>
                  <a:cubicBezTo>
                    <a:pt x="703" y="2763"/>
                    <a:pt x="917" y="3049"/>
                    <a:pt x="1179" y="3228"/>
                  </a:cubicBezTo>
                  <a:lnTo>
                    <a:pt x="1179" y="3442"/>
                  </a:lnTo>
                  <a:lnTo>
                    <a:pt x="1167" y="3442"/>
                  </a:lnTo>
                  <a:cubicBezTo>
                    <a:pt x="822" y="3382"/>
                    <a:pt x="572" y="3287"/>
                    <a:pt x="417" y="3216"/>
                  </a:cubicBezTo>
                  <a:cubicBezTo>
                    <a:pt x="405" y="3216"/>
                    <a:pt x="417" y="3204"/>
                    <a:pt x="417" y="3204"/>
                  </a:cubicBezTo>
                  <a:cubicBezTo>
                    <a:pt x="501" y="2989"/>
                    <a:pt x="572" y="2728"/>
                    <a:pt x="631" y="2442"/>
                  </a:cubicBezTo>
                  <a:close/>
                  <a:moveTo>
                    <a:pt x="3239" y="2454"/>
                  </a:moveTo>
                  <a:cubicBezTo>
                    <a:pt x="3275" y="2692"/>
                    <a:pt x="3334" y="2942"/>
                    <a:pt x="3418" y="3144"/>
                  </a:cubicBezTo>
                  <a:lnTo>
                    <a:pt x="3084" y="3454"/>
                  </a:lnTo>
                  <a:cubicBezTo>
                    <a:pt x="3037" y="3478"/>
                    <a:pt x="3001" y="3513"/>
                    <a:pt x="2941" y="3513"/>
                  </a:cubicBezTo>
                  <a:lnTo>
                    <a:pt x="2894" y="3513"/>
                  </a:lnTo>
                  <a:cubicBezTo>
                    <a:pt x="2775" y="3513"/>
                    <a:pt x="2679" y="3418"/>
                    <a:pt x="2679" y="3299"/>
                  </a:cubicBezTo>
                  <a:lnTo>
                    <a:pt x="2679" y="3239"/>
                  </a:lnTo>
                  <a:cubicBezTo>
                    <a:pt x="2953" y="3061"/>
                    <a:pt x="3144" y="2787"/>
                    <a:pt x="3239" y="2454"/>
                  </a:cubicBezTo>
                  <a:close/>
                  <a:moveTo>
                    <a:pt x="2358" y="3418"/>
                  </a:moveTo>
                  <a:cubicBezTo>
                    <a:pt x="2370" y="3525"/>
                    <a:pt x="2429" y="3620"/>
                    <a:pt x="2489" y="3692"/>
                  </a:cubicBezTo>
                  <a:lnTo>
                    <a:pt x="2203" y="3954"/>
                  </a:lnTo>
                  <a:cubicBezTo>
                    <a:pt x="2132" y="4031"/>
                    <a:pt x="2033" y="4070"/>
                    <a:pt x="1934" y="4070"/>
                  </a:cubicBezTo>
                  <a:cubicBezTo>
                    <a:pt x="1834" y="4070"/>
                    <a:pt x="1733" y="4031"/>
                    <a:pt x="1655" y="3954"/>
                  </a:cubicBezTo>
                  <a:lnTo>
                    <a:pt x="1489" y="3799"/>
                  </a:lnTo>
                  <a:cubicBezTo>
                    <a:pt x="1524" y="3740"/>
                    <a:pt x="1536" y="3680"/>
                    <a:pt x="1536" y="3620"/>
                  </a:cubicBezTo>
                  <a:lnTo>
                    <a:pt x="1536" y="3418"/>
                  </a:lnTo>
                  <a:cubicBezTo>
                    <a:pt x="1667" y="3466"/>
                    <a:pt x="1810" y="3478"/>
                    <a:pt x="1941" y="3478"/>
                  </a:cubicBezTo>
                  <a:cubicBezTo>
                    <a:pt x="2084" y="3478"/>
                    <a:pt x="2227" y="3454"/>
                    <a:pt x="2358" y="3418"/>
                  </a:cubicBezTo>
                  <a:close/>
                  <a:moveTo>
                    <a:pt x="1941" y="1"/>
                  </a:moveTo>
                  <a:cubicBezTo>
                    <a:pt x="1120" y="1"/>
                    <a:pt x="465" y="656"/>
                    <a:pt x="393" y="1537"/>
                  </a:cubicBezTo>
                  <a:cubicBezTo>
                    <a:pt x="358" y="1882"/>
                    <a:pt x="239" y="2644"/>
                    <a:pt x="72" y="3061"/>
                  </a:cubicBezTo>
                  <a:cubicBezTo>
                    <a:pt x="0" y="3251"/>
                    <a:pt x="96" y="3454"/>
                    <a:pt x="274" y="3537"/>
                  </a:cubicBezTo>
                  <a:cubicBezTo>
                    <a:pt x="405" y="3597"/>
                    <a:pt x="608" y="3692"/>
                    <a:pt x="893" y="3751"/>
                  </a:cubicBezTo>
                  <a:lnTo>
                    <a:pt x="417" y="3990"/>
                  </a:lnTo>
                  <a:cubicBezTo>
                    <a:pt x="155" y="4121"/>
                    <a:pt x="0" y="4371"/>
                    <a:pt x="0" y="4668"/>
                  </a:cubicBezTo>
                  <a:lnTo>
                    <a:pt x="0" y="6204"/>
                  </a:lnTo>
                  <a:cubicBezTo>
                    <a:pt x="0" y="6311"/>
                    <a:pt x="72" y="6383"/>
                    <a:pt x="179" y="6383"/>
                  </a:cubicBezTo>
                  <a:cubicBezTo>
                    <a:pt x="286" y="6383"/>
                    <a:pt x="358" y="6311"/>
                    <a:pt x="358" y="6204"/>
                  </a:cubicBezTo>
                  <a:lnTo>
                    <a:pt x="358" y="4668"/>
                  </a:lnTo>
                  <a:cubicBezTo>
                    <a:pt x="358" y="4525"/>
                    <a:pt x="453" y="4371"/>
                    <a:pt x="584" y="4311"/>
                  </a:cubicBezTo>
                  <a:lnTo>
                    <a:pt x="1191" y="4013"/>
                  </a:lnTo>
                  <a:lnTo>
                    <a:pt x="1405" y="4216"/>
                  </a:lnTo>
                  <a:cubicBezTo>
                    <a:pt x="1548" y="4347"/>
                    <a:pt x="1739" y="4418"/>
                    <a:pt x="1929" y="4418"/>
                  </a:cubicBezTo>
                  <a:cubicBezTo>
                    <a:pt x="2120" y="4418"/>
                    <a:pt x="2310" y="4347"/>
                    <a:pt x="2453" y="4216"/>
                  </a:cubicBezTo>
                  <a:lnTo>
                    <a:pt x="2822" y="3859"/>
                  </a:lnTo>
                  <a:lnTo>
                    <a:pt x="2929" y="3859"/>
                  </a:lnTo>
                  <a:cubicBezTo>
                    <a:pt x="3084" y="3859"/>
                    <a:pt x="3215" y="3799"/>
                    <a:pt x="3322" y="3692"/>
                  </a:cubicBezTo>
                  <a:lnTo>
                    <a:pt x="5584" y="1561"/>
                  </a:lnTo>
                  <a:lnTo>
                    <a:pt x="5835" y="1811"/>
                  </a:lnTo>
                  <a:lnTo>
                    <a:pt x="3001" y="4656"/>
                  </a:lnTo>
                  <a:cubicBezTo>
                    <a:pt x="2822" y="4835"/>
                    <a:pt x="2715" y="5073"/>
                    <a:pt x="2715" y="5347"/>
                  </a:cubicBezTo>
                  <a:lnTo>
                    <a:pt x="2715" y="6192"/>
                  </a:lnTo>
                  <a:cubicBezTo>
                    <a:pt x="2715" y="6299"/>
                    <a:pt x="2787" y="6371"/>
                    <a:pt x="2894" y="6371"/>
                  </a:cubicBezTo>
                  <a:cubicBezTo>
                    <a:pt x="3001" y="6371"/>
                    <a:pt x="3072" y="6299"/>
                    <a:pt x="3072" y="6192"/>
                  </a:cubicBezTo>
                  <a:lnTo>
                    <a:pt x="3072" y="5371"/>
                  </a:lnTo>
                  <a:cubicBezTo>
                    <a:pt x="3072" y="5204"/>
                    <a:pt x="3132" y="5061"/>
                    <a:pt x="3251" y="4954"/>
                  </a:cubicBezTo>
                  <a:lnTo>
                    <a:pt x="6466" y="1739"/>
                  </a:lnTo>
                  <a:cubicBezTo>
                    <a:pt x="6597" y="1608"/>
                    <a:pt x="6656" y="1394"/>
                    <a:pt x="6608" y="1204"/>
                  </a:cubicBezTo>
                  <a:lnTo>
                    <a:pt x="6513" y="727"/>
                  </a:lnTo>
                  <a:lnTo>
                    <a:pt x="6632" y="608"/>
                  </a:lnTo>
                  <a:cubicBezTo>
                    <a:pt x="6704" y="537"/>
                    <a:pt x="6704" y="430"/>
                    <a:pt x="6644" y="358"/>
                  </a:cubicBezTo>
                  <a:cubicBezTo>
                    <a:pt x="6607" y="321"/>
                    <a:pt x="6560" y="303"/>
                    <a:pt x="6513" y="303"/>
                  </a:cubicBezTo>
                  <a:cubicBezTo>
                    <a:pt x="6470" y="303"/>
                    <a:pt x="6428" y="318"/>
                    <a:pt x="6394" y="346"/>
                  </a:cubicBezTo>
                  <a:lnTo>
                    <a:pt x="3727" y="2858"/>
                  </a:lnTo>
                  <a:cubicBezTo>
                    <a:pt x="3608" y="2430"/>
                    <a:pt x="3501" y="1846"/>
                    <a:pt x="3489" y="1537"/>
                  </a:cubicBezTo>
                  <a:cubicBezTo>
                    <a:pt x="3429" y="656"/>
                    <a:pt x="2751"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5" name="Google Shape;11265;p60"/>
            <p:cNvSpPr/>
            <p:nvPr/>
          </p:nvSpPr>
          <p:spPr>
            <a:xfrm>
              <a:off x="8090243" y="4284365"/>
              <a:ext cx="234601" cy="196344"/>
            </a:xfrm>
            <a:custGeom>
              <a:avLst/>
              <a:gdLst/>
              <a:ahLst/>
              <a:cxnLst/>
              <a:rect l="l" t="t" r="r" b="b"/>
              <a:pathLst>
                <a:path w="7371" h="6169" extrusionOk="0">
                  <a:moveTo>
                    <a:pt x="572" y="1"/>
                  </a:moveTo>
                  <a:cubicBezTo>
                    <a:pt x="251" y="1"/>
                    <a:pt x="1" y="251"/>
                    <a:pt x="1" y="560"/>
                  </a:cubicBezTo>
                  <a:lnTo>
                    <a:pt x="1" y="5275"/>
                  </a:lnTo>
                  <a:cubicBezTo>
                    <a:pt x="1" y="5382"/>
                    <a:pt x="72" y="5454"/>
                    <a:pt x="179" y="5454"/>
                  </a:cubicBezTo>
                  <a:cubicBezTo>
                    <a:pt x="286" y="5454"/>
                    <a:pt x="358" y="5382"/>
                    <a:pt x="358" y="5275"/>
                  </a:cubicBezTo>
                  <a:lnTo>
                    <a:pt x="358" y="560"/>
                  </a:lnTo>
                  <a:cubicBezTo>
                    <a:pt x="358" y="441"/>
                    <a:pt x="453" y="358"/>
                    <a:pt x="572" y="358"/>
                  </a:cubicBezTo>
                  <a:lnTo>
                    <a:pt x="6787" y="358"/>
                  </a:lnTo>
                  <a:cubicBezTo>
                    <a:pt x="6906" y="358"/>
                    <a:pt x="7002" y="441"/>
                    <a:pt x="7002" y="560"/>
                  </a:cubicBezTo>
                  <a:lnTo>
                    <a:pt x="7002" y="5608"/>
                  </a:lnTo>
                  <a:cubicBezTo>
                    <a:pt x="7002" y="5728"/>
                    <a:pt x="6906" y="5811"/>
                    <a:pt x="6787" y="5811"/>
                  </a:cubicBezTo>
                  <a:lnTo>
                    <a:pt x="2191" y="5811"/>
                  </a:lnTo>
                  <a:cubicBezTo>
                    <a:pt x="2084" y="5811"/>
                    <a:pt x="2013" y="5894"/>
                    <a:pt x="2013" y="5989"/>
                  </a:cubicBezTo>
                  <a:cubicBezTo>
                    <a:pt x="2013" y="6097"/>
                    <a:pt x="2084" y="6168"/>
                    <a:pt x="2191" y="6168"/>
                  </a:cubicBezTo>
                  <a:lnTo>
                    <a:pt x="6787" y="6168"/>
                  </a:lnTo>
                  <a:cubicBezTo>
                    <a:pt x="7097" y="6168"/>
                    <a:pt x="7359" y="5918"/>
                    <a:pt x="7359" y="5608"/>
                  </a:cubicBezTo>
                  <a:lnTo>
                    <a:pt x="7359" y="560"/>
                  </a:lnTo>
                  <a:cubicBezTo>
                    <a:pt x="7371" y="251"/>
                    <a:pt x="7097" y="1"/>
                    <a:pt x="6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6" name="Google Shape;11266;p60"/>
            <p:cNvSpPr/>
            <p:nvPr/>
          </p:nvSpPr>
          <p:spPr>
            <a:xfrm>
              <a:off x="8145591" y="4309382"/>
              <a:ext cx="136063" cy="135299"/>
            </a:xfrm>
            <a:custGeom>
              <a:avLst/>
              <a:gdLst/>
              <a:ahLst/>
              <a:cxnLst/>
              <a:rect l="l" t="t" r="r" b="b"/>
              <a:pathLst>
                <a:path w="4275" h="4251" extrusionOk="0">
                  <a:moveTo>
                    <a:pt x="1953" y="739"/>
                  </a:moveTo>
                  <a:cubicBezTo>
                    <a:pt x="2322" y="739"/>
                    <a:pt x="2655" y="882"/>
                    <a:pt x="2917" y="1084"/>
                  </a:cubicBezTo>
                  <a:lnTo>
                    <a:pt x="1822" y="2179"/>
                  </a:lnTo>
                  <a:cubicBezTo>
                    <a:pt x="1750" y="2263"/>
                    <a:pt x="1750" y="2382"/>
                    <a:pt x="1822" y="2441"/>
                  </a:cubicBezTo>
                  <a:cubicBezTo>
                    <a:pt x="1845" y="2465"/>
                    <a:pt x="1905" y="2501"/>
                    <a:pt x="1953" y="2501"/>
                  </a:cubicBezTo>
                  <a:cubicBezTo>
                    <a:pt x="2000" y="2501"/>
                    <a:pt x="2048" y="2477"/>
                    <a:pt x="2084" y="2441"/>
                  </a:cubicBezTo>
                  <a:lnTo>
                    <a:pt x="2643" y="1882"/>
                  </a:lnTo>
                  <a:cubicBezTo>
                    <a:pt x="2715" y="2001"/>
                    <a:pt x="2762" y="2155"/>
                    <a:pt x="2762" y="2298"/>
                  </a:cubicBezTo>
                  <a:cubicBezTo>
                    <a:pt x="2762" y="2739"/>
                    <a:pt x="2405" y="3096"/>
                    <a:pt x="1965" y="3096"/>
                  </a:cubicBezTo>
                  <a:cubicBezTo>
                    <a:pt x="1536" y="3096"/>
                    <a:pt x="1179" y="2739"/>
                    <a:pt x="1179" y="2298"/>
                  </a:cubicBezTo>
                  <a:cubicBezTo>
                    <a:pt x="1179" y="1870"/>
                    <a:pt x="1536" y="1513"/>
                    <a:pt x="1965" y="1513"/>
                  </a:cubicBezTo>
                  <a:cubicBezTo>
                    <a:pt x="2072" y="1513"/>
                    <a:pt x="2143" y="1441"/>
                    <a:pt x="2143" y="1334"/>
                  </a:cubicBezTo>
                  <a:cubicBezTo>
                    <a:pt x="2143" y="1227"/>
                    <a:pt x="2072" y="1155"/>
                    <a:pt x="1965" y="1155"/>
                  </a:cubicBezTo>
                  <a:cubicBezTo>
                    <a:pt x="1334" y="1155"/>
                    <a:pt x="822" y="1679"/>
                    <a:pt x="822" y="2298"/>
                  </a:cubicBezTo>
                  <a:cubicBezTo>
                    <a:pt x="822" y="2941"/>
                    <a:pt x="1345" y="3453"/>
                    <a:pt x="1965" y="3453"/>
                  </a:cubicBezTo>
                  <a:cubicBezTo>
                    <a:pt x="2607" y="3453"/>
                    <a:pt x="3119" y="2929"/>
                    <a:pt x="3119" y="2298"/>
                  </a:cubicBezTo>
                  <a:cubicBezTo>
                    <a:pt x="3119" y="2060"/>
                    <a:pt x="3036" y="1822"/>
                    <a:pt x="2893" y="1632"/>
                  </a:cubicBezTo>
                  <a:lnTo>
                    <a:pt x="3191" y="1334"/>
                  </a:lnTo>
                  <a:cubicBezTo>
                    <a:pt x="3381" y="1608"/>
                    <a:pt x="3512" y="1953"/>
                    <a:pt x="3512" y="2310"/>
                  </a:cubicBezTo>
                  <a:cubicBezTo>
                    <a:pt x="3512" y="3168"/>
                    <a:pt x="2822" y="3870"/>
                    <a:pt x="1953" y="3870"/>
                  </a:cubicBezTo>
                  <a:cubicBezTo>
                    <a:pt x="1095" y="3870"/>
                    <a:pt x="393" y="3168"/>
                    <a:pt x="393" y="2310"/>
                  </a:cubicBezTo>
                  <a:cubicBezTo>
                    <a:pt x="393" y="1441"/>
                    <a:pt x="1095" y="739"/>
                    <a:pt x="1953" y="739"/>
                  </a:cubicBezTo>
                  <a:close/>
                  <a:moveTo>
                    <a:pt x="3500" y="0"/>
                  </a:moveTo>
                  <a:cubicBezTo>
                    <a:pt x="3393" y="0"/>
                    <a:pt x="3322" y="72"/>
                    <a:pt x="3322" y="179"/>
                  </a:cubicBezTo>
                  <a:lnTo>
                    <a:pt x="3322" y="679"/>
                  </a:lnTo>
                  <a:lnTo>
                    <a:pt x="3179" y="834"/>
                  </a:lnTo>
                  <a:cubicBezTo>
                    <a:pt x="2846" y="548"/>
                    <a:pt x="2417" y="381"/>
                    <a:pt x="1941" y="381"/>
                  </a:cubicBezTo>
                  <a:cubicBezTo>
                    <a:pt x="869" y="381"/>
                    <a:pt x="0" y="1251"/>
                    <a:pt x="0" y="2322"/>
                  </a:cubicBezTo>
                  <a:cubicBezTo>
                    <a:pt x="0" y="3394"/>
                    <a:pt x="869" y="4251"/>
                    <a:pt x="1941" y="4251"/>
                  </a:cubicBezTo>
                  <a:cubicBezTo>
                    <a:pt x="3012" y="4251"/>
                    <a:pt x="3870" y="3394"/>
                    <a:pt x="3870" y="2322"/>
                  </a:cubicBezTo>
                  <a:cubicBezTo>
                    <a:pt x="3870" y="1858"/>
                    <a:pt x="3715" y="1429"/>
                    <a:pt x="3429" y="1084"/>
                  </a:cubicBezTo>
                  <a:lnTo>
                    <a:pt x="3572" y="941"/>
                  </a:lnTo>
                  <a:lnTo>
                    <a:pt x="4084" y="941"/>
                  </a:lnTo>
                  <a:cubicBezTo>
                    <a:pt x="4191" y="941"/>
                    <a:pt x="4262" y="858"/>
                    <a:pt x="4262" y="751"/>
                  </a:cubicBezTo>
                  <a:cubicBezTo>
                    <a:pt x="4262" y="655"/>
                    <a:pt x="4191" y="584"/>
                    <a:pt x="4084" y="584"/>
                  </a:cubicBezTo>
                  <a:lnTo>
                    <a:pt x="3929" y="584"/>
                  </a:lnTo>
                  <a:lnTo>
                    <a:pt x="4203" y="310"/>
                  </a:lnTo>
                  <a:cubicBezTo>
                    <a:pt x="4274" y="239"/>
                    <a:pt x="4274" y="120"/>
                    <a:pt x="4203" y="60"/>
                  </a:cubicBezTo>
                  <a:cubicBezTo>
                    <a:pt x="4167" y="24"/>
                    <a:pt x="4120" y="6"/>
                    <a:pt x="4073" y="6"/>
                  </a:cubicBezTo>
                  <a:cubicBezTo>
                    <a:pt x="4027" y="6"/>
                    <a:pt x="3983" y="24"/>
                    <a:pt x="3953" y="60"/>
                  </a:cubicBezTo>
                  <a:lnTo>
                    <a:pt x="3679" y="322"/>
                  </a:lnTo>
                  <a:lnTo>
                    <a:pt x="3679" y="179"/>
                  </a:lnTo>
                  <a:cubicBezTo>
                    <a:pt x="3679" y="72"/>
                    <a:pt x="3608" y="0"/>
                    <a:pt x="3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7" name="Google Shape;11267;p60"/>
          <p:cNvGrpSpPr/>
          <p:nvPr/>
        </p:nvGrpSpPr>
        <p:grpSpPr>
          <a:xfrm>
            <a:off x="6595502" y="4323777"/>
            <a:ext cx="426315" cy="332826"/>
            <a:chOff x="6639652" y="4323777"/>
            <a:chExt cx="426315" cy="332826"/>
          </a:xfrm>
        </p:grpSpPr>
        <p:sp>
          <p:nvSpPr>
            <p:cNvPr id="11268" name="Google Shape;11268;p60"/>
            <p:cNvSpPr/>
            <p:nvPr/>
          </p:nvSpPr>
          <p:spPr>
            <a:xfrm>
              <a:off x="6639652" y="4323777"/>
              <a:ext cx="426315" cy="332826"/>
            </a:xfrm>
            <a:custGeom>
              <a:avLst/>
              <a:gdLst/>
              <a:ahLst/>
              <a:cxnLst/>
              <a:rect l="l" t="t" r="r" b="b"/>
              <a:pathLst>
                <a:path w="10967" h="8562" extrusionOk="0">
                  <a:moveTo>
                    <a:pt x="10585" y="382"/>
                  </a:moveTo>
                  <a:lnTo>
                    <a:pt x="10609" y="727"/>
                  </a:lnTo>
                  <a:lnTo>
                    <a:pt x="9335" y="727"/>
                  </a:lnTo>
                  <a:cubicBezTo>
                    <a:pt x="9252" y="727"/>
                    <a:pt x="9156" y="799"/>
                    <a:pt x="9156" y="906"/>
                  </a:cubicBezTo>
                  <a:cubicBezTo>
                    <a:pt x="9156" y="989"/>
                    <a:pt x="9240" y="1084"/>
                    <a:pt x="9335" y="1084"/>
                  </a:cubicBezTo>
                  <a:lnTo>
                    <a:pt x="10323" y="1084"/>
                  </a:lnTo>
                  <a:lnTo>
                    <a:pt x="10323" y="6168"/>
                  </a:lnTo>
                  <a:lnTo>
                    <a:pt x="4442" y="6168"/>
                  </a:lnTo>
                  <a:lnTo>
                    <a:pt x="4442" y="6002"/>
                  </a:lnTo>
                  <a:cubicBezTo>
                    <a:pt x="4442" y="5918"/>
                    <a:pt x="4370" y="5823"/>
                    <a:pt x="4263" y="5823"/>
                  </a:cubicBezTo>
                  <a:lnTo>
                    <a:pt x="3977" y="5823"/>
                  </a:lnTo>
                  <a:cubicBezTo>
                    <a:pt x="3953" y="5728"/>
                    <a:pt x="3906" y="5621"/>
                    <a:pt x="3846" y="5513"/>
                  </a:cubicBezTo>
                  <a:lnTo>
                    <a:pt x="4037" y="5323"/>
                  </a:lnTo>
                  <a:cubicBezTo>
                    <a:pt x="4108" y="5252"/>
                    <a:pt x="4108" y="5144"/>
                    <a:pt x="4037" y="5085"/>
                  </a:cubicBezTo>
                  <a:lnTo>
                    <a:pt x="3513" y="4561"/>
                  </a:lnTo>
                  <a:cubicBezTo>
                    <a:pt x="3489" y="4537"/>
                    <a:pt x="3441" y="4513"/>
                    <a:pt x="3394" y="4513"/>
                  </a:cubicBezTo>
                  <a:cubicBezTo>
                    <a:pt x="3358" y="4513"/>
                    <a:pt x="3311" y="4537"/>
                    <a:pt x="3275" y="4561"/>
                  </a:cubicBezTo>
                  <a:lnTo>
                    <a:pt x="3084" y="4751"/>
                  </a:lnTo>
                  <a:cubicBezTo>
                    <a:pt x="2977" y="4692"/>
                    <a:pt x="2882" y="4668"/>
                    <a:pt x="2775" y="4621"/>
                  </a:cubicBezTo>
                  <a:lnTo>
                    <a:pt x="2775" y="4335"/>
                  </a:lnTo>
                  <a:cubicBezTo>
                    <a:pt x="2775" y="4251"/>
                    <a:pt x="2703" y="4156"/>
                    <a:pt x="2596" y="4156"/>
                  </a:cubicBezTo>
                  <a:lnTo>
                    <a:pt x="2168" y="4156"/>
                  </a:lnTo>
                  <a:lnTo>
                    <a:pt x="2168" y="1084"/>
                  </a:lnTo>
                  <a:lnTo>
                    <a:pt x="8728" y="1084"/>
                  </a:lnTo>
                  <a:cubicBezTo>
                    <a:pt x="8811" y="1084"/>
                    <a:pt x="8906" y="1001"/>
                    <a:pt x="8906" y="894"/>
                  </a:cubicBezTo>
                  <a:cubicBezTo>
                    <a:pt x="8906" y="799"/>
                    <a:pt x="8835" y="715"/>
                    <a:pt x="8728" y="715"/>
                  </a:cubicBezTo>
                  <a:lnTo>
                    <a:pt x="1882" y="715"/>
                  </a:lnTo>
                  <a:lnTo>
                    <a:pt x="1882" y="382"/>
                  </a:lnTo>
                  <a:close/>
                  <a:moveTo>
                    <a:pt x="10609" y="6502"/>
                  </a:moveTo>
                  <a:lnTo>
                    <a:pt x="10609" y="6835"/>
                  </a:lnTo>
                  <a:lnTo>
                    <a:pt x="4394" y="6835"/>
                  </a:lnTo>
                  <a:cubicBezTo>
                    <a:pt x="4430" y="6811"/>
                    <a:pt x="4442" y="6764"/>
                    <a:pt x="4442" y="6716"/>
                  </a:cubicBezTo>
                  <a:lnTo>
                    <a:pt x="4442" y="6526"/>
                  </a:lnTo>
                  <a:lnTo>
                    <a:pt x="10490" y="6526"/>
                  </a:lnTo>
                  <a:cubicBezTo>
                    <a:pt x="10526" y="6526"/>
                    <a:pt x="10561" y="6514"/>
                    <a:pt x="10585" y="6502"/>
                  </a:cubicBezTo>
                  <a:close/>
                  <a:moveTo>
                    <a:pt x="2453" y="4501"/>
                  </a:moveTo>
                  <a:lnTo>
                    <a:pt x="2453" y="4740"/>
                  </a:lnTo>
                  <a:cubicBezTo>
                    <a:pt x="2453" y="4811"/>
                    <a:pt x="2513" y="4894"/>
                    <a:pt x="2584" y="4906"/>
                  </a:cubicBezTo>
                  <a:cubicBezTo>
                    <a:pt x="2751" y="4930"/>
                    <a:pt x="2894" y="5013"/>
                    <a:pt x="3049" y="5097"/>
                  </a:cubicBezTo>
                  <a:cubicBezTo>
                    <a:pt x="3078" y="5117"/>
                    <a:pt x="3110" y="5126"/>
                    <a:pt x="3141" y="5126"/>
                  </a:cubicBezTo>
                  <a:cubicBezTo>
                    <a:pt x="3183" y="5126"/>
                    <a:pt x="3223" y="5108"/>
                    <a:pt x="3251" y="5073"/>
                  </a:cubicBezTo>
                  <a:lnTo>
                    <a:pt x="3430" y="4894"/>
                  </a:lnTo>
                  <a:lnTo>
                    <a:pt x="3715" y="5168"/>
                  </a:lnTo>
                  <a:lnTo>
                    <a:pt x="3537" y="5347"/>
                  </a:lnTo>
                  <a:cubicBezTo>
                    <a:pt x="3477" y="5406"/>
                    <a:pt x="3477" y="5502"/>
                    <a:pt x="3501" y="5561"/>
                  </a:cubicBezTo>
                  <a:cubicBezTo>
                    <a:pt x="3596" y="5704"/>
                    <a:pt x="3656" y="5859"/>
                    <a:pt x="3703" y="6025"/>
                  </a:cubicBezTo>
                  <a:cubicBezTo>
                    <a:pt x="3715" y="6097"/>
                    <a:pt x="3787" y="6156"/>
                    <a:pt x="3858" y="6156"/>
                  </a:cubicBezTo>
                  <a:lnTo>
                    <a:pt x="4096" y="6156"/>
                  </a:lnTo>
                  <a:lnTo>
                    <a:pt x="4096" y="6561"/>
                  </a:lnTo>
                  <a:lnTo>
                    <a:pt x="3858" y="6561"/>
                  </a:lnTo>
                  <a:cubicBezTo>
                    <a:pt x="3787" y="6561"/>
                    <a:pt x="3715" y="6621"/>
                    <a:pt x="3703" y="6692"/>
                  </a:cubicBezTo>
                  <a:cubicBezTo>
                    <a:pt x="3656" y="6859"/>
                    <a:pt x="3596" y="7002"/>
                    <a:pt x="3501" y="7157"/>
                  </a:cubicBezTo>
                  <a:cubicBezTo>
                    <a:pt x="3465" y="7228"/>
                    <a:pt x="3477" y="7311"/>
                    <a:pt x="3537" y="7359"/>
                  </a:cubicBezTo>
                  <a:lnTo>
                    <a:pt x="3715" y="7538"/>
                  </a:lnTo>
                  <a:lnTo>
                    <a:pt x="3430" y="7823"/>
                  </a:lnTo>
                  <a:lnTo>
                    <a:pt x="3251" y="7645"/>
                  </a:lnTo>
                  <a:cubicBezTo>
                    <a:pt x="3215" y="7608"/>
                    <a:pt x="3169" y="7594"/>
                    <a:pt x="3126" y="7594"/>
                  </a:cubicBezTo>
                  <a:cubicBezTo>
                    <a:pt x="3098" y="7594"/>
                    <a:pt x="3072" y="7600"/>
                    <a:pt x="3049" y="7609"/>
                  </a:cubicBezTo>
                  <a:cubicBezTo>
                    <a:pt x="2894" y="7704"/>
                    <a:pt x="2751" y="7764"/>
                    <a:pt x="2584" y="7799"/>
                  </a:cubicBezTo>
                  <a:cubicBezTo>
                    <a:pt x="2513" y="7823"/>
                    <a:pt x="2453" y="7895"/>
                    <a:pt x="2453" y="7966"/>
                  </a:cubicBezTo>
                  <a:lnTo>
                    <a:pt x="2453" y="8204"/>
                  </a:lnTo>
                  <a:lnTo>
                    <a:pt x="2048" y="8204"/>
                  </a:lnTo>
                  <a:lnTo>
                    <a:pt x="2048" y="7966"/>
                  </a:lnTo>
                  <a:cubicBezTo>
                    <a:pt x="2048" y="7895"/>
                    <a:pt x="1989" y="7823"/>
                    <a:pt x="1917" y="7799"/>
                  </a:cubicBezTo>
                  <a:cubicBezTo>
                    <a:pt x="1751" y="7764"/>
                    <a:pt x="1596" y="7704"/>
                    <a:pt x="1453" y="7609"/>
                  </a:cubicBezTo>
                  <a:cubicBezTo>
                    <a:pt x="1426" y="7596"/>
                    <a:pt x="1396" y="7589"/>
                    <a:pt x="1366" y="7589"/>
                  </a:cubicBezTo>
                  <a:cubicBezTo>
                    <a:pt x="1317" y="7589"/>
                    <a:pt x="1269" y="7607"/>
                    <a:pt x="1239" y="7645"/>
                  </a:cubicBezTo>
                  <a:lnTo>
                    <a:pt x="1060" y="7823"/>
                  </a:lnTo>
                  <a:lnTo>
                    <a:pt x="786" y="7538"/>
                  </a:lnTo>
                  <a:lnTo>
                    <a:pt x="965" y="7359"/>
                  </a:lnTo>
                  <a:cubicBezTo>
                    <a:pt x="1025" y="7299"/>
                    <a:pt x="1025" y="7216"/>
                    <a:pt x="989" y="7157"/>
                  </a:cubicBezTo>
                  <a:cubicBezTo>
                    <a:pt x="905" y="7002"/>
                    <a:pt x="846" y="6859"/>
                    <a:pt x="798" y="6692"/>
                  </a:cubicBezTo>
                  <a:cubicBezTo>
                    <a:pt x="786" y="6621"/>
                    <a:pt x="703" y="6561"/>
                    <a:pt x="632" y="6561"/>
                  </a:cubicBezTo>
                  <a:lnTo>
                    <a:pt x="393" y="6561"/>
                  </a:lnTo>
                  <a:lnTo>
                    <a:pt x="393" y="6156"/>
                  </a:lnTo>
                  <a:lnTo>
                    <a:pt x="632" y="6156"/>
                  </a:lnTo>
                  <a:cubicBezTo>
                    <a:pt x="703" y="6156"/>
                    <a:pt x="786" y="6097"/>
                    <a:pt x="798" y="6025"/>
                  </a:cubicBezTo>
                  <a:cubicBezTo>
                    <a:pt x="822" y="5859"/>
                    <a:pt x="905" y="5704"/>
                    <a:pt x="989" y="5561"/>
                  </a:cubicBezTo>
                  <a:cubicBezTo>
                    <a:pt x="1036" y="5490"/>
                    <a:pt x="1025" y="5394"/>
                    <a:pt x="965" y="5347"/>
                  </a:cubicBezTo>
                  <a:lnTo>
                    <a:pt x="786" y="5168"/>
                  </a:lnTo>
                  <a:lnTo>
                    <a:pt x="1060" y="4894"/>
                  </a:lnTo>
                  <a:lnTo>
                    <a:pt x="1239" y="5073"/>
                  </a:lnTo>
                  <a:cubicBezTo>
                    <a:pt x="1272" y="5106"/>
                    <a:pt x="1317" y="5121"/>
                    <a:pt x="1361" y="5121"/>
                  </a:cubicBezTo>
                  <a:cubicBezTo>
                    <a:pt x="1394" y="5121"/>
                    <a:pt x="1427" y="5112"/>
                    <a:pt x="1453" y="5097"/>
                  </a:cubicBezTo>
                  <a:cubicBezTo>
                    <a:pt x="1596" y="5013"/>
                    <a:pt x="1751" y="4954"/>
                    <a:pt x="1917" y="4906"/>
                  </a:cubicBezTo>
                  <a:cubicBezTo>
                    <a:pt x="1989" y="4894"/>
                    <a:pt x="2048" y="4811"/>
                    <a:pt x="2048" y="4740"/>
                  </a:cubicBezTo>
                  <a:lnTo>
                    <a:pt x="2048" y="4501"/>
                  </a:lnTo>
                  <a:close/>
                  <a:moveTo>
                    <a:pt x="1715" y="1"/>
                  </a:moveTo>
                  <a:cubicBezTo>
                    <a:pt x="1632" y="1"/>
                    <a:pt x="1536" y="84"/>
                    <a:pt x="1536" y="191"/>
                  </a:cubicBezTo>
                  <a:lnTo>
                    <a:pt x="1536" y="882"/>
                  </a:lnTo>
                  <a:cubicBezTo>
                    <a:pt x="1536" y="977"/>
                    <a:pt x="1608" y="1061"/>
                    <a:pt x="1715" y="1061"/>
                  </a:cubicBezTo>
                  <a:lnTo>
                    <a:pt x="1822" y="1061"/>
                  </a:lnTo>
                  <a:lnTo>
                    <a:pt x="1822" y="4144"/>
                  </a:lnTo>
                  <a:cubicBezTo>
                    <a:pt x="1751" y="4156"/>
                    <a:pt x="1679" y="4240"/>
                    <a:pt x="1679" y="4311"/>
                  </a:cubicBezTo>
                  <a:lnTo>
                    <a:pt x="1679" y="4597"/>
                  </a:lnTo>
                  <a:cubicBezTo>
                    <a:pt x="1572" y="4621"/>
                    <a:pt x="1465" y="4668"/>
                    <a:pt x="1358" y="4728"/>
                  </a:cubicBezTo>
                  <a:lnTo>
                    <a:pt x="1167" y="4537"/>
                  </a:lnTo>
                  <a:cubicBezTo>
                    <a:pt x="1144" y="4501"/>
                    <a:pt x="1096" y="4490"/>
                    <a:pt x="1048" y="4490"/>
                  </a:cubicBezTo>
                  <a:cubicBezTo>
                    <a:pt x="1001" y="4490"/>
                    <a:pt x="965" y="4501"/>
                    <a:pt x="929" y="4537"/>
                  </a:cubicBezTo>
                  <a:lnTo>
                    <a:pt x="405" y="5049"/>
                  </a:lnTo>
                  <a:cubicBezTo>
                    <a:pt x="334" y="5132"/>
                    <a:pt x="334" y="5228"/>
                    <a:pt x="405" y="5287"/>
                  </a:cubicBezTo>
                  <a:lnTo>
                    <a:pt x="608" y="5490"/>
                  </a:lnTo>
                  <a:cubicBezTo>
                    <a:pt x="548" y="5585"/>
                    <a:pt x="513" y="5692"/>
                    <a:pt x="465" y="5799"/>
                  </a:cubicBezTo>
                  <a:lnTo>
                    <a:pt x="191" y="5799"/>
                  </a:lnTo>
                  <a:cubicBezTo>
                    <a:pt x="96" y="5799"/>
                    <a:pt x="1" y="5871"/>
                    <a:pt x="1" y="5978"/>
                  </a:cubicBezTo>
                  <a:lnTo>
                    <a:pt x="1" y="6716"/>
                  </a:lnTo>
                  <a:cubicBezTo>
                    <a:pt x="1" y="6811"/>
                    <a:pt x="84" y="6895"/>
                    <a:pt x="191" y="6895"/>
                  </a:cubicBezTo>
                  <a:lnTo>
                    <a:pt x="465" y="6895"/>
                  </a:lnTo>
                  <a:cubicBezTo>
                    <a:pt x="501" y="7002"/>
                    <a:pt x="548" y="7109"/>
                    <a:pt x="608" y="7216"/>
                  </a:cubicBezTo>
                  <a:lnTo>
                    <a:pt x="405" y="7407"/>
                  </a:lnTo>
                  <a:cubicBezTo>
                    <a:pt x="334" y="7478"/>
                    <a:pt x="334" y="7585"/>
                    <a:pt x="405" y="7645"/>
                  </a:cubicBezTo>
                  <a:lnTo>
                    <a:pt x="929" y="8169"/>
                  </a:lnTo>
                  <a:cubicBezTo>
                    <a:pt x="965" y="8204"/>
                    <a:pt x="1010" y="8222"/>
                    <a:pt x="1053" y="8222"/>
                  </a:cubicBezTo>
                  <a:cubicBezTo>
                    <a:pt x="1096" y="8222"/>
                    <a:pt x="1138" y="8204"/>
                    <a:pt x="1167" y="8169"/>
                  </a:cubicBezTo>
                  <a:lnTo>
                    <a:pt x="1358" y="7966"/>
                  </a:lnTo>
                  <a:cubicBezTo>
                    <a:pt x="1465" y="8026"/>
                    <a:pt x="1572" y="8061"/>
                    <a:pt x="1679" y="8109"/>
                  </a:cubicBezTo>
                  <a:lnTo>
                    <a:pt x="1679" y="8383"/>
                  </a:lnTo>
                  <a:cubicBezTo>
                    <a:pt x="1679" y="8478"/>
                    <a:pt x="1751" y="8561"/>
                    <a:pt x="1858" y="8561"/>
                  </a:cubicBezTo>
                  <a:lnTo>
                    <a:pt x="2596" y="8561"/>
                  </a:lnTo>
                  <a:cubicBezTo>
                    <a:pt x="2679" y="8561"/>
                    <a:pt x="2775" y="8490"/>
                    <a:pt x="2775" y="8383"/>
                  </a:cubicBezTo>
                  <a:lnTo>
                    <a:pt x="2775" y="8109"/>
                  </a:lnTo>
                  <a:cubicBezTo>
                    <a:pt x="2882" y="8073"/>
                    <a:pt x="2989" y="8026"/>
                    <a:pt x="3084" y="7966"/>
                  </a:cubicBezTo>
                  <a:lnTo>
                    <a:pt x="3275" y="8169"/>
                  </a:lnTo>
                  <a:cubicBezTo>
                    <a:pt x="3316" y="8204"/>
                    <a:pt x="3364" y="8222"/>
                    <a:pt x="3407" y="8222"/>
                  </a:cubicBezTo>
                  <a:cubicBezTo>
                    <a:pt x="3450" y="8222"/>
                    <a:pt x="3489" y="8204"/>
                    <a:pt x="3513" y="8169"/>
                  </a:cubicBezTo>
                  <a:lnTo>
                    <a:pt x="4037" y="7645"/>
                  </a:lnTo>
                  <a:cubicBezTo>
                    <a:pt x="4108" y="7573"/>
                    <a:pt x="4108" y="7466"/>
                    <a:pt x="4037" y="7407"/>
                  </a:cubicBezTo>
                  <a:lnTo>
                    <a:pt x="3846" y="7216"/>
                  </a:lnTo>
                  <a:cubicBezTo>
                    <a:pt x="3846" y="7192"/>
                    <a:pt x="3858" y="7192"/>
                    <a:pt x="3858" y="7180"/>
                  </a:cubicBezTo>
                  <a:lnTo>
                    <a:pt x="10764" y="7180"/>
                  </a:lnTo>
                  <a:cubicBezTo>
                    <a:pt x="10859" y="7180"/>
                    <a:pt x="10942" y="7109"/>
                    <a:pt x="10942" y="7002"/>
                  </a:cubicBezTo>
                  <a:lnTo>
                    <a:pt x="10942" y="6299"/>
                  </a:lnTo>
                  <a:cubicBezTo>
                    <a:pt x="10942" y="6216"/>
                    <a:pt x="10871" y="6121"/>
                    <a:pt x="10764" y="6121"/>
                  </a:cubicBezTo>
                  <a:lnTo>
                    <a:pt x="10657" y="6121"/>
                  </a:lnTo>
                  <a:lnTo>
                    <a:pt x="10657" y="1037"/>
                  </a:lnTo>
                  <a:lnTo>
                    <a:pt x="10788" y="1037"/>
                  </a:lnTo>
                  <a:lnTo>
                    <a:pt x="10788" y="1061"/>
                  </a:lnTo>
                  <a:cubicBezTo>
                    <a:pt x="10871" y="1061"/>
                    <a:pt x="10966" y="989"/>
                    <a:pt x="10966" y="882"/>
                  </a:cubicBezTo>
                  <a:lnTo>
                    <a:pt x="10966" y="191"/>
                  </a:lnTo>
                  <a:cubicBezTo>
                    <a:pt x="10966" y="96"/>
                    <a:pt x="10883" y="1"/>
                    <a:pt x="107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69" name="Google Shape;11269;p60"/>
            <p:cNvSpPr/>
            <p:nvPr/>
          </p:nvSpPr>
          <p:spPr>
            <a:xfrm>
              <a:off x="6830793" y="4458937"/>
              <a:ext cx="41244" cy="85675"/>
            </a:xfrm>
            <a:custGeom>
              <a:avLst/>
              <a:gdLst/>
              <a:ahLst/>
              <a:cxnLst/>
              <a:rect l="l" t="t" r="r" b="b"/>
              <a:pathLst>
                <a:path w="1061" h="2204" extrusionOk="0">
                  <a:moveTo>
                    <a:pt x="715" y="358"/>
                  </a:moveTo>
                  <a:lnTo>
                    <a:pt x="715" y="1858"/>
                  </a:lnTo>
                  <a:lnTo>
                    <a:pt x="370" y="1858"/>
                  </a:lnTo>
                  <a:lnTo>
                    <a:pt x="370" y="358"/>
                  </a:lnTo>
                  <a:close/>
                  <a:moveTo>
                    <a:pt x="179" y="1"/>
                  </a:moveTo>
                  <a:cubicBezTo>
                    <a:pt x="96" y="1"/>
                    <a:pt x="1" y="72"/>
                    <a:pt x="1" y="179"/>
                  </a:cubicBezTo>
                  <a:lnTo>
                    <a:pt x="1" y="2025"/>
                  </a:lnTo>
                  <a:cubicBezTo>
                    <a:pt x="1" y="2108"/>
                    <a:pt x="72" y="2203"/>
                    <a:pt x="179" y="2203"/>
                  </a:cubicBezTo>
                  <a:lnTo>
                    <a:pt x="882" y="2203"/>
                  </a:lnTo>
                  <a:cubicBezTo>
                    <a:pt x="965" y="2203"/>
                    <a:pt x="1061" y="2132"/>
                    <a:pt x="1061" y="2025"/>
                  </a:cubicBezTo>
                  <a:lnTo>
                    <a:pt x="1061" y="179"/>
                  </a:lnTo>
                  <a:cubicBezTo>
                    <a:pt x="1061" y="84"/>
                    <a:pt x="989"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0" name="Google Shape;11270;p60"/>
            <p:cNvSpPr/>
            <p:nvPr/>
          </p:nvSpPr>
          <p:spPr>
            <a:xfrm>
              <a:off x="6879423" y="4426556"/>
              <a:ext cx="41205" cy="118522"/>
            </a:xfrm>
            <a:custGeom>
              <a:avLst/>
              <a:gdLst/>
              <a:ahLst/>
              <a:cxnLst/>
              <a:rect l="l" t="t" r="r" b="b"/>
              <a:pathLst>
                <a:path w="1060" h="3049" extrusionOk="0">
                  <a:moveTo>
                    <a:pt x="702" y="345"/>
                  </a:moveTo>
                  <a:lnTo>
                    <a:pt x="702" y="2691"/>
                  </a:lnTo>
                  <a:lnTo>
                    <a:pt x="357" y="2691"/>
                  </a:lnTo>
                  <a:lnTo>
                    <a:pt x="357" y="345"/>
                  </a:lnTo>
                  <a:close/>
                  <a:moveTo>
                    <a:pt x="179" y="0"/>
                  </a:moveTo>
                  <a:cubicBezTo>
                    <a:pt x="95" y="0"/>
                    <a:pt x="0" y="72"/>
                    <a:pt x="0" y="179"/>
                  </a:cubicBezTo>
                  <a:lnTo>
                    <a:pt x="0" y="2869"/>
                  </a:lnTo>
                  <a:cubicBezTo>
                    <a:pt x="0" y="2965"/>
                    <a:pt x="71" y="3048"/>
                    <a:pt x="179" y="3048"/>
                  </a:cubicBezTo>
                  <a:lnTo>
                    <a:pt x="881" y="3048"/>
                  </a:lnTo>
                  <a:cubicBezTo>
                    <a:pt x="964" y="3048"/>
                    <a:pt x="1060" y="2977"/>
                    <a:pt x="1060" y="2869"/>
                  </a:cubicBezTo>
                  <a:lnTo>
                    <a:pt x="1060" y="179"/>
                  </a:lnTo>
                  <a:cubicBezTo>
                    <a:pt x="1048" y="72"/>
                    <a:pt x="964"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1" name="Google Shape;11271;p60"/>
            <p:cNvSpPr/>
            <p:nvPr/>
          </p:nvSpPr>
          <p:spPr>
            <a:xfrm>
              <a:off x="6927549" y="4443194"/>
              <a:ext cx="41205" cy="101418"/>
            </a:xfrm>
            <a:custGeom>
              <a:avLst/>
              <a:gdLst/>
              <a:ahLst/>
              <a:cxnLst/>
              <a:rect l="l" t="t" r="r" b="b"/>
              <a:pathLst>
                <a:path w="1060" h="2609" extrusionOk="0">
                  <a:moveTo>
                    <a:pt x="715" y="358"/>
                  </a:moveTo>
                  <a:lnTo>
                    <a:pt x="715" y="2263"/>
                  </a:lnTo>
                  <a:lnTo>
                    <a:pt x="369" y="2263"/>
                  </a:lnTo>
                  <a:lnTo>
                    <a:pt x="369" y="358"/>
                  </a:lnTo>
                  <a:close/>
                  <a:moveTo>
                    <a:pt x="179" y="1"/>
                  </a:moveTo>
                  <a:cubicBezTo>
                    <a:pt x="84" y="1"/>
                    <a:pt x="0" y="72"/>
                    <a:pt x="0" y="179"/>
                  </a:cubicBezTo>
                  <a:lnTo>
                    <a:pt x="0" y="2430"/>
                  </a:lnTo>
                  <a:cubicBezTo>
                    <a:pt x="0" y="2513"/>
                    <a:pt x="72" y="2608"/>
                    <a:pt x="179" y="2608"/>
                  </a:cubicBezTo>
                  <a:lnTo>
                    <a:pt x="881" y="2608"/>
                  </a:lnTo>
                  <a:cubicBezTo>
                    <a:pt x="965" y="2608"/>
                    <a:pt x="1060" y="2537"/>
                    <a:pt x="1060" y="2430"/>
                  </a:cubicBezTo>
                  <a:lnTo>
                    <a:pt x="1060" y="179"/>
                  </a:lnTo>
                  <a:cubicBezTo>
                    <a:pt x="1060" y="72"/>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2" name="Google Shape;11272;p60"/>
            <p:cNvSpPr/>
            <p:nvPr/>
          </p:nvSpPr>
          <p:spPr>
            <a:xfrm>
              <a:off x="6976141" y="4387645"/>
              <a:ext cx="41244" cy="156967"/>
            </a:xfrm>
            <a:custGeom>
              <a:avLst/>
              <a:gdLst/>
              <a:ahLst/>
              <a:cxnLst/>
              <a:rect l="l" t="t" r="r" b="b"/>
              <a:pathLst>
                <a:path w="1061" h="4038" extrusionOk="0">
                  <a:moveTo>
                    <a:pt x="679" y="358"/>
                  </a:moveTo>
                  <a:lnTo>
                    <a:pt x="679" y="3692"/>
                  </a:lnTo>
                  <a:lnTo>
                    <a:pt x="346" y="3692"/>
                  </a:lnTo>
                  <a:lnTo>
                    <a:pt x="346" y="358"/>
                  </a:lnTo>
                  <a:close/>
                  <a:moveTo>
                    <a:pt x="179" y="1"/>
                  </a:moveTo>
                  <a:cubicBezTo>
                    <a:pt x="72" y="1"/>
                    <a:pt x="0" y="96"/>
                    <a:pt x="0" y="180"/>
                  </a:cubicBezTo>
                  <a:lnTo>
                    <a:pt x="0" y="3859"/>
                  </a:lnTo>
                  <a:cubicBezTo>
                    <a:pt x="0" y="3942"/>
                    <a:pt x="72" y="4037"/>
                    <a:pt x="179" y="4037"/>
                  </a:cubicBezTo>
                  <a:lnTo>
                    <a:pt x="881" y="4037"/>
                  </a:lnTo>
                  <a:cubicBezTo>
                    <a:pt x="965" y="4037"/>
                    <a:pt x="1060" y="3966"/>
                    <a:pt x="1060" y="3859"/>
                  </a:cubicBezTo>
                  <a:lnTo>
                    <a:pt x="1060" y="180"/>
                  </a:lnTo>
                  <a:cubicBezTo>
                    <a:pt x="1060" y="96"/>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3" name="Google Shape;11273;p60"/>
            <p:cNvSpPr/>
            <p:nvPr/>
          </p:nvSpPr>
          <p:spPr>
            <a:xfrm>
              <a:off x="6745193" y="4404321"/>
              <a:ext cx="50029" cy="13916"/>
            </a:xfrm>
            <a:custGeom>
              <a:avLst/>
              <a:gdLst/>
              <a:ahLst/>
              <a:cxnLst/>
              <a:rect l="l" t="t" r="r" b="b"/>
              <a:pathLst>
                <a:path w="1287" h="358" extrusionOk="0">
                  <a:moveTo>
                    <a:pt x="179" y="1"/>
                  </a:moveTo>
                  <a:cubicBezTo>
                    <a:pt x="95" y="1"/>
                    <a:pt x="0" y="72"/>
                    <a:pt x="0" y="179"/>
                  </a:cubicBezTo>
                  <a:cubicBezTo>
                    <a:pt x="12" y="274"/>
                    <a:pt x="95" y="358"/>
                    <a:pt x="179" y="358"/>
                  </a:cubicBezTo>
                  <a:lnTo>
                    <a:pt x="1107" y="358"/>
                  </a:lnTo>
                  <a:cubicBezTo>
                    <a:pt x="1191" y="358"/>
                    <a:pt x="1286" y="286"/>
                    <a:pt x="1286" y="179"/>
                  </a:cubicBezTo>
                  <a:cubicBezTo>
                    <a:pt x="1286" y="96"/>
                    <a:pt x="1203" y="1"/>
                    <a:pt x="11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4" name="Google Shape;11274;p60"/>
            <p:cNvSpPr/>
            <p:nvPr/>
          </p:nvSpPr>
          <p:spPr>
            <a:xfrm>
              <a:off x="6745193" y="4426090"/>
              <a:ext cx="69465" cy="13916"/>
            </a:xfrm>
            <a:custGeom>
              <a:avLst/>
              <a:gdLst/>
              <a:ahLst/>
              <a:cxnLst/>
              <a:rect l="l" t="t" r="r" b="b"/>
              <a:pathLst>
                <a:path w="1787" h="358" extrusionOk="0">
                  <a:moveTo>
                    <a:pt x="179" y="0"/>
                  </a:moveTo>
                  <a:cubicBezTo>
                    <a:pt x="95" y="0"/>
                    <a:pt x="0" y="72"/>
                    <a:pt x="0" y="179"/>
                  </a:cubicBezTo>
                  <a:cubicBezTo>
                    <a:pt x="0" y="274"/>
                    <a:pt x="72" y="357"/>
                    <a:pt x="179" y="357"/>
                  </a:cubicBezTo>
                  <a:lnTo>
                    <a:pt x="1608" y="357"/>
                  </a:lnTo>
                  <a:cubicBezTo>
                    <a:pt x="1703" y="357"/>
                    <a:pt x="1786" y="274"/>
                    <a:pt x="1786" y="179"/>
                  </a:cubicBezTo>
                  <a:cubicBezTo>
                    <a:pt x="1786"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5" name="Google Shape;11275;p60"/>
            <p:cNvSpPr/>
            <p:nvPr/>
          </p:nvSpPr>
          <p:spPr>
            <a:xfrm>
              <a:off x="6745193" y="4447353"/>
              <a:ext cx="69465" cy="13955"/>
            </a:xfrm>
            <a:custGeom>
              <a:avLst/>
              <a:gdLst/>
              <a:ahLst/>
              <a:cxnLst/>
              <a:rect l="l" t="t" r="r" b="b"/>
              <a:pathLst>
                <a:path w="1787" h="359" extrusionOk="0">
                  <a:moveTo>
                    <a:pt x="179" y="1"/>
                  </a:moveTo>
                  <a:cubicBezTo>
                    <a:pt x="95" y="1"/>
                    <a:pt x="0" y="72"/>
                    <a:pt x="0" y="179"/>
                  </a:cubicBezTo>
                  <a:cubicBezTo>
                    <a:pt x="0" y="287"/>
                    <a:pt x="72" y="358"/>
                    <a:pt x="179" y="358"/>
                  </a:cubicBezTo>
                  <a:lnTo>
                    <a:pt x="1608" y="358"/>
                  </a:lnTo>
                  <a:cubicBezTo>
                    <a:pt x="1703" y="358"/>
                    <a:pt x="1786" y="287"/>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6" name="Google Shape;11276;p60"/>
            <p:cNvSpPr/>
            <p:nvPr/>
          </p:nvSpPr>
          <p:spPr>
            <a:xfrm>
              <a:off x="6745193" y="4468189"/>
              <a:ext cx="69465" cy="13916"/>
            </a:xfrm>
            <a:custGeom>
              <a:avLst/>
              <a:gdLst/>
              <a:ahLst/>
              <a:cxnLst/>
              <a:rect l="l" t="t" r="r" b="b"/>
              <a:pathLst>
                <a:path w="1787" h="358" extrusionOk="0">
                  <a:moveTo>
                    <a:pt x="179" y="1"/>
                  </a:moveTo>
                  <a:cubicBezTo>
                    <a:pt x="95" y="1"/>
                    <a:pt x="0" y="72"/>
                    <a:pt x="0" y="179"/>
                  </a:cubicBezTo>
                  <a:cubicBezTo>
                    <a:pt x="0" y="263"/>
                    <a:pt x="72" y="358"/>
                    <a:pt x="179" y="358"/>
                  </a:cubicBezTo>
                  <a:lnTo>
                    <a:pt x="1608" y="358"/>
                  </a:lnTo>
                  <a:cubicBezTo>
                    <a:pt x="1703" y="358"/>
                    <a:pt x="1786" y="286"/>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77" name="Google Shape;11277;p60"/>
            <p:cNvSpPr/>
            <p:nvPr/>
          </p:nvSpPr>
          <p:spPr>
            <a:xfrm>
              <a:off x="6684551" y="4528830"/>
              <a:ext cx="83809" cy="83809"/>
            </a:xfrm>
            <a:custGeom>
              <a:avLst/>
              <a:gdLst/>
              <a:ahLst/>
              <a:cxnLst/>
              <a:rect l="l" t="t" r="r" b="b"/>
              <a:pathLst>
                <a:path w="2156" h="2156" extrusionOk="0">
                  <a:moveTo>
                    <a:pt x="1084" y="0"/>
                  </a:moveTo>
                  <a:cubicBezTo>
                    <a:pt x="489" y="0"/>
                    <a:pt x="0" y="489"/>
                    <a:pt x="0" y="1084"/>
                  </a:cubicBezTo>
                  <a:cubicBezTo>
                    <a:pt x="0" y="1322"/>
                    <a:pt x="72" y="1548"/>
                    <a:pt x="227" y="1739"/>
                  </a:cubicBezTo>
                  <a:cubicBezTo>
                    <a:pt x="263" y="1782"/>
                    <a:pt x="313" y="1808"/>
                    <a:pt x="365" y="1808"/>
                  </a:cubicBezTo>
                  <a:cubicBezTo>
                    <a:pt x="398" y="1808"/>
                    <a:pt x="432" y="1798"/>
                    <a:pt x="465" y="1774"/>
                  </a:cubicBezTo>
                  <a:cubicBezTo>
                    <a:pt x="536" y="1715"/>
                    <a:pt x="548" y="1608"/>
                    <a:pt x="489" y="1536"/>
                  </a:cubicBezTo>
                  <a:cubicBezTo>
                    <a:pt x="381" y="1405"/>
                    <a:pt x="346" y="1251"/>
                    <a:pt x="346" y="1084"/>
                  </a:cubicBezTo>
                  <a:cubicBezTo>
                    <a:pt x="346" y="679"/>
                    <a:pt x="667" y="358"/>
                    <a:pt x="1072" y="358"/>
                  </a:cubicBezTo>
                  <a:cubicBezTo>
                    <a:pt x="1477" y="358"/>
                    <a:pt x="1798" y="691"/>
                    <a:pt x="1798" y="1084"/>
                  </a:cubicBezTo>
                  <a:cubicBezTo>
                    <a:pt x="1798" y="1322"/>
                    <a:pt x="1679" y="1560"/>
                    <a:pt x="1477" y="1703"/>
                  </a:cubicBezTo>
                  <a:cubicBezTo>
                    <a:pt x="1453" y="1703"/>
                    <a:pt x="1453" y="1715"/>
                    <a:pt x="1441" y="1715"/>
                  </a:cubicBezTo>
                  <a:lnTo>
                    <a:pt x="1429" y="1715"/>
                  </a:lnTo>
                  <a:lnTo>
                    <a:pt x="1417" y="1727"/>
                  </a:lnTo>
                  <a:lnTo>
                    <a:pt x="1394" y="1727"/>
                  </a:lnTo>
                  <a:cubicBezTo>
                    <a:pt x="1382" y="1727"/>
                    <a:pt x="1382" y="1739"/>
                    <a:pt x="1370" y="1739"/>
                  </a:cubicBezTo>
                  <a:cubicBezTo>
                    <a:pt x="1358" y="1739"/>
                    <a:pt x="1358" y="1762"/>
                    <a:pt x="1334" y="1762"/>
                  </a:cubicBezTo>
                  <a:lnTo>
                    <a:pt x="1322" y="1762"/>
                  </a:lnTo>
                  <a:cubicBezTo>
                    <a:pt x="1322" y="1762"/>
                    <a:pt x="1310" y="1762"/>
                    <a:pt x="1310" y="1774"/>
                  </a:cubicBezTo>
                  <a:lnTo>
                    <a:pt x="1298" y="1774"/>
                  </a:lnTo>
                  <a:cubicBezTo>
                    <a:pt x="1274" y="1774"/>
                    <a:pt x="1274" y="1774"/>
                    <a:pt x="1263" y="1786"/>
                  </a:cubicBezTo>
                  <a:cubicBezTo>
                    <a:pt x="1251" y="1786"/>
                    <a:pt x="1251" y="1786"/>
                    <a:pt x="1239" y="1798"/>
                  </a:cubicBezTo>
                  <a:lnTo>
                    <a:pt x="798" y="1798"/>
                  </a:lnTo>
                  <a:cubicBezTo>
                    <a:pt x="786" y="1798"/>
                    <a:pt x="786" y="1798"/>
                    <a:pt x="774" y="1786"/>
                  </a:cubicBezTo>
                  <a:cubicBezTo>
                    <a:pt x="762" y="1786"/>
                    <a:pt x="762" y="1786"/>
                    <a:pt x="739" y="1774"/>
                  </a:cubicBezTo>
                  <a:lnTo>
                    <a:pt x="727" y="1774"/>
                  </a:lnTo>
                  <a:cubicBezTo>
                    <a:pt x="708" y="1766"/>
                    <a:pt x="688" y="1763"/>
                    <a:pt x="668" y="1763"/>
                  </a:cubicBezTo>
                  <a:cubicBezTo>
                    <a:pt x="599" y="1763"/>
                    <a:pt x="528" y="1808"/>
                    <a:pt x="501" y="1882"/>
                  </a:cubicBezTo>
                  <a:cubicBezTo>
                    <a:pt x="477" y="1965"/>
                    <a:pt x="524" y="2072"/>
                    <a:pt x="608" y="2096"/>
                  </a:cubicBezTo>
                  <a:lnTo>
                    <a:pt x="620" y="2096"/>
                  </a:lnTo>
                  <a:cubicBezTo>
                    <a:pt x="643" y="2096"/>
                    <a:pt x="655" y="2120"/>
                    <a:pt x="667" y="2120"/>
                  </a:cubicBezTo>
                  <a:cubicBezTo>
                    <a:pt x="679" y="2120"/>
                    <a:pt x="703" y="2132"/>
                    <a:pt x="715" y="2132"/>
                  </a:cubicBezTo>
                  <a:lnTo>
                    <a:pt x="727" y="2132"/>
                  </a:lnTo>
                  <a:cubicBezTo>
                    <a:pt x="739" y="2132"/>
                    <a:pt x="762" y="2132"/>
                    <a:pt x="762" y="2143"/>
                  </a:cubicBezTo>
                  <a:lnTo>
                    <a:pt x="774" y="2143"/>
                  </a:lnTo>
                  <a:cubicBezTo>
                    <a:pt x="786" y="2143"/>
                    <a:pt x="798" y="2143"/>
                    <a:pt x="822" y="2155"/>
                  </a:cubicBezTo>
                  <a:lnTo>
                    <a:pt x="1132" y="2155"/>
                  </a:lnTo>
                  <a:cubicBezTo>
                    <a:pt x="1143" y="2155"/>
                    <a:pt x="1155" y="2155"/>
                    <a:pt x="1179" y="2143"/>
                  </a:cubicBezTo>
                  <a:lnTo>
                    <a:pt x="1191" y="2143"/>
                  </a:lnTo>
                  <a:cubicBezTo>
                    <a:pt x="1203" y="2143"/>
                    <a:pt x="1215" y="2143"/>
                    <a:pt x="1215" y="2132"/>
                  </a:cubicBezTo>
                  <a:lnTo>
                    <a:pt x="1227" y="2132"/>
                  </a:lnTo>
                  <a:cubicBezTo>
                    <a:pt x="1251" y="2132"/>
                    <a:pt x="1263" y="2120"/>
                    <a:pt x="1274" y="2120"/>
                  </a:cubicBezTo>
                  <a:cubicBezTo>
                    <a:pt x="1286" y="2120"/>
                    <a:pt x="1310" y="2096"/>
                    <a:pt x="1322" y="2096"/>
                  </a:cubicBezTo>
                  <a:lnTo>
                    <a:pt x="1334" y="2096"/>
                  </a:lnTo>
                  <a:cubicBezTo>
                    <a:pt x="1346" y="2096"/>
                    <a:pt x="1346" y="2084"/>
                    <a:pt x="1370" y="2084"/>
                  </a:cubicBezTo>
                  <a:lnTo>
                    <a:pt x="1382" y="2084"/>
                  </a:lnTo>
                  <a:cubicBezTo>
                    <a:pt x="1394" y="2084"/>
                    <a:pt x="1405" y="2072"/>
                    <a:pt x="1429" y="2072"/>
                  </a:cubicBezTo>
                  <a:cubicBezTo>
                    <a:pt x="1441" y="2072"/>
                    <a:pt x="1453" y="2060"/>
                    <a:pt x="1465" y="2060"/>
                  </a:cubicBezTo>
                  <a:lnTo>
                    <a:pt x="1489" y="2060"/>
                  </a:lnTo>
                  <a:cubicBezTo>
                    <a:pt x="1501" y="2060"/>
                    <a:pt x="1501" y="2036"/>
                    <a:pt x="1513" y="2036"/>
                  </a:cubicBezTo>
                  <a:lnTo>
                    <a:pt x="1524" y="2036"/>
                  </a:lnTo>
                  <a:cubicBezTo>
                    <a:pt x="1548" y="2024"/>
                    <a:pt x="1560" y="2024"/>
                    <a:pt x="1572" y="2013"/>
                  </a:cubicBezTo>
                  <a:cubicBezTo>
                    <a:pt x="1870" y="1798"/>
                    <a:pt x="2048" y="1477"/>
                    <a:pt x="2048" y="1120"/>
                  </a:cubicBezTo>
                  <a:cubicBezTo>
                    <a:pt x="2156" y="477"/>
                    <a:pt x="1679"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78" name="Google Shape;11278;p60"/>
          <p:cNvGrpSpPr/>
          <p:nvPr/>
        </p:nvGrpSpPr>
        <p:grpSpPr>
          <a:xfrm>
            <a:off x="5357662" y="4297637"/>
            <a:ext cx="287275" cy="326296"/>
            <a:chOff x="5357662" y="4297637"/>
            <a:chExt cx="287275" cy="326296"/>
          </a:xfrm>
        </p:grpSpPr>
        <p:sp>
          <p:nvSpPr>
            <p:cNvPr id="11279" name="Google Shape;11279;p60"/>
            <p:cNvSpPr/>
            <p:nvPr/>
          </p:nvSpPr>
          <p:spPr>
            <a:xfrm>
              <a:off x="5357662" y="4385545"/>
              <a:ext cx="287275" cy="238388"/>
            </a:xfrm>
            <a:custGeom>
              <a:avLst/>
              <a:gdLst/>
              <a:ahLst/>
              <a:cxnLst/>
              <a:rect l="l" t="t" r="r" b="b"/>
              <a:pathLst>
                <a:path w="9026" h="7490" extrusionOk="0">
                  <a:moveTo>
                    <a:pt x="2906" y="5573"/>
                  </a:moveTo>
                  <a:lnTo>
                    <a:pt x="2906" y="7144"/>
                  </a:lnTo>
                  <a:lnTo>
                    <a:pt x="322" y="7144"/>
                  </a:lnTo>
                  <a:lnTo>
                    <a:pt x="322" y="5573"/>
                  </a:lnTo>
                  <a:close/>
                  <a:moveTo>
                    <a:pt x="5799" y="3037"/>
                  </a:moveTo>
                  <a:lnTo>
                    <a:pt x="5799" y="7144"/>
                  </a:lnTo>
                  <a:lnTo>
                    <a:pt x="3227" y="7144"/>
                  </a:lnTo>
                  <a:lnTo>
                    <a:pt x="3227" y="5406"/>
                  </a:lnTo>
                  <a:lnTo>
                    <a:pt x="3227" y="3037"/>
                  </a:lnTo>
                  <a:close/>
                  <a:moveTo>
                    <a:pt x="5966" y="1"/>
                  </a:moveTo>
                  <a:cubicBezTo>
                    <a:pt x="5882" y="1"/>
                    <a:pt x="5799" y="72"/>
                    <a:pt x="5799" y="167"/>
                  </a:cubicBezTo>
                  <a:lnTo>
                    <a:pt x="5799" y="2727"/>
                  </a:lnTo>
                  <a:lnTo>
                    <a:pt x="3061" y="2727"/>
                  </a:lnTo>
                  <a:cubicBezTo>
                    <a:pt x="2977" y="2727"/>
                    <a:pt x="2906" y="2799"/>
                    <a:pt x="2906" y="2894"/>
                  </a:cubicBezTo>
                  <a:lnTo>
                    <a:pt x="2906" y="5251"/>
                  </a:lnTo>
                  <a:lnTo>
                    <a:pt x="156" y="5251"/>
                  </a:lnTo>
                  <a:cubicBezTo>
                    <a:pt x="72" y="5251"/>
                    <a:pt x="1" y="5335"/>
                    <a:pt x="1" y="5418"/>
                  </a:cubicBezTo>
                  <a:lnTo>
                    <a:pt x="1" y="7323"/>
                  </a:lnTo>
                  <a:cubicBezTo>
                    <a:pt x="1" y="7418"/>
                    <a:pt x="72" y="7490"/>
                    <a:pt x="156" y="7490"/>
                  </a:cubicBezTo>
                  <a:lnTo>
                    <a:pt x="8871" y="7490"/>
                  </a:lnTo>
                  <a:cubicBezTo>
                    <a:pt x="8954" y="7490"/>
                    <a:pt x="9026" y="7418"/>
                    <a:pt x="9026" y="7323"/>
                  </a:cubicBezTo>
                  <a:lnTo>
                    <a:pt x="9026" y="1417"/>
                  </a:lnTo>
                  <a:cubicBezTo>
                    <a:pt x="9026" y="1322"/>
                    <a:pt x="8954" y="1251"/>
                    <a:pt x="8871" y="1251"/>
                  </a:cubicBezTo>
                  <a:cubicBezTo>
                    <a:pt x="8776" y="1251"/>
                    <a:pt x="8704" y="1322"/>
                    <a:pt x="8704" y="1417"/>
                  </a:cubicBezTo>
                  <a:lnTo>
                    <a:pt x="8704" y="7144"/>
                  </a:lnTo>
                  <a:lnTo>
                    <a:pt x="6132" y="7144"/>
                  </a:lnTo>
                  <a:lnTo>
                    <a:pt x="6132" y="2870"/>
                  </a:lnTo>
                  <a:lnTo>
                    <a:pt x="6132" y="310"/>
                  </a:lnTo>
                  <a:lnTo>
                    <a:pt x="8704" y="310"/>
                  </a:lnTo>
                  <a:lnTo>
                    <a:pt x="8704" y="763"/>
                  </a:lnTo>
                  <a:cubicBezTo>
                    <a:pt x="8704" y="846"/>
                    <a:pt x="8776" y="929"/>
                    <a:pt x="8871" y="929"/>
                  </a:cubicBezTo>
                  <a:cubicBezTo>
                    <a:pt x="8954" y="929"/>
                    <a:pt x="9026" y="846"/>
                    <a:pt x="9026" y="763"/>
                  </a:cubicBezTo>
                  <a:lnTo>
                    <a:pt x="9026" y="167"/>
                  </a:lnTo>
                  <a:cubicBezTo>
                    <a:pt x="9026" y="72"/>
                    <a:pt x="8954" y="1"/>
                    <a:pt x="8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0" name="Google Shape;11280;p60"/>
            <p:cNvSpPr/>
            <p:nvPr/>
          </p:nvSpPr>
          <p:spPr>
            <a:xfrm>
              <a:off x="5377363" y="4576542"/>
              <a:ext cx="62191" cy="10248"/>
            </a:xfrm>
            <a:custGeom>
              <a:avLst/>
              <a:gdLst/>
              <a:ahLst/>
              <a:cxnLst/>
              <a:rect l="l" t="t" r="r" b="b"/>
              <a:pathLst>
                <a:path w="1954" h="322" extrusionOk="0">
                  <a:moveTo>
                    <a:pt x="168" y="0"/>
                  </a:moveTo>
                  <a:cubicBezTo>
                    <a:pt x="84" y="0"/>
                    <a:pt x="1" y="72"/>
                    <a:pt x="1" y="167"/>
                  </a:cubicBezTo>
                  <a:cubicBezTo>
                    <a:pt x="1" y="250"/>
                    <a:pt x="84" y="322"/>
                    <a:pt x="168" y="322"/>
                  </a:cubicBezTo>
                  <a:lnTo>
                    <a:pt x="1787" y="322"/>
                  </a:lnTo>
                  <a:cubicBezTo>
                    <a:pt x="1882" y="322"/>
                    <a:pt x="1953" y="250"/>
                    <a:pt x="1953" y="167"/>
                  </a:cubicBezTo>
                  <a:cubicBezTo>
                    <a:pt x="1953" y="72"/>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1" name="Google Shape;11281;p60"/>
            <p:cNvSpPr/>
            <p:nvPr/>
          </p:nvSpPr>
          <p:spPr>
            <a:xfrm>
              <a:off x="5470204" y="4495827"/>
              <a:ext cx="62191" cy="10630"/>
            </a:xfrm>
            <a:custGeom>
              <a:avLst/>
              <a:gdLst/>
              <a:ahLst/>
              <a:cxnLst/>
              <a:rect l="l" t="t" r="r" b="b"/>
              <a:pathLst>
                <a:path w="1954" h="334" extrusionOk="0">
                  <a:moveTo>
                    <a:pt x="168" y="0"/>
                  </a:moveTo>
                  <a:cubicBezTo>
                    <a:pt x="84" y="0"/>
                    <a:pt x="1" y="84"/>
                    <a:pt x="1" y="167"/>
                  </a:cubicBezTo>
                  <a:cubicBezTo>
                    <a:pt x="1" y="262"/>
                    <a:pt x="84" y="334"/>
                    <a:pt x="168" y="334"/>
                  </a:cubicBezTo>
                  <a:lnTo>
                    <a:pt x="1787" y="334"/>
                  </a:lnTo>
                  <a:cubicBezTo>
                    <a:pt x="1882" y="334"/>
                    <a:pt x="1954" y="262"/>
                    <a:pt x="1954" y="167"/>
                  </a:cubicBezTo>
                  <a:cubicBezTo>
                    <a:pt x="1954" y="84"/>
                    <a:pt x="1882" y="0"/>
                    <a:pt x="1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2" name="Google Shape;11282;p60"/>
            <p:cNvSpPr/>
            <p:nvPr/>
          </p:nvSpPr>
          <p:spPr>
            <a:xfrm>
              <a:off x="5562694" y="4409798"/>
              <a:ext cx="62159" cy="10280"/>
            </a:xfrm>
            <a:custGeom>
              <a:avLst/>
              <a:gdLst/>
              <a:ahLst/>
              <a:cxnLst/>
              <a:rect l="l" t="t" r="r" b="b"/>
              <a:pathLst>
                <a:path w="1953" h="323" extrusionOk="0">
                  <a:moveTo>
                    <a:pt x="167" y="1"/>
                  </a:moveTo>
                  <a:cubicBezTo>
                    <a:pt x="71" y="1"/>
                    <a:pt x="0" y="72"/>
                    <a:pt x="0" y="167"/>
                  </a:cubicBezTo>
                  <a:cubicBezTo>
                    <a:pt x="0" y="251"/>
                    <a:pt x="71" y="322"/>
                    <a:pt x="167" y="322"/>
                  </a:cubicBezTo>
                  <a:lnTo>
                    <a:pt x="1786" y="322"/>
                  </a:lnTo>
                  <a:cubicBezTo>
                    <a:pt x="1881" y="322"/>
                    <a:pt x="1953" y="251"/>
                    <a:pt x="1953" y="167"/>
                  </a:cubicBezTo>
                  <a:cubicBezTo>
                    <a:pt x="1953" y="72"/>
                    <a:pt x="1881" y="1"/>
                    <a:pt x="1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3" name="Google Shape;11283;p60"/>
            <p:cNvSpPr/>
            <p:nvPr/>
          </p:nvSpPr>
          <p:spPr>
            <a:xfrm>
              <a:off x="5358043" y="4297637"/>
              <a:ext cx="238388" cy="237624"/>
            </a:xfrm>
            <a:custGeom>
              <a:avLst/>
              <a:gdLst/>
              <a:ahLst/>
              <a:cxnLst/>
              <a:rect l="l" t="t" r="r" b="b"/>
              <a:pathLst>
                <a:path w="7490" h="7466" extrusionOk="0">
                  <a:moveTo>
                    <a:pt x="6061" y="0"/>
                  </a:moveTo>
                  <a:cubicBezTo>
                    <a:pt x="5966" y="0"/>
                    <a:pt x="5894" y="72"/>
                    <a:pt x="5894" y="155"/>
                  </a:cubicBezTo>
                  <a:cubicBezTo>
                    <a:pt x="5894" y="250"/>
                    <a:pt x="5966" y="322"/>
                    <a:pt x="6061" y="322"/>
                  </a:cubicBezTo>
                  <a:lnTo>
                    <a:pt x="6942" y="322"/>
                  </a:lnTo>
                  <a:lnTo>
                    <a:pt x="60" y="7204"/>
                  </a:lnTo>
                  <a:cubicBezTo>
                    <a:pt x="1" y="7263"/>
                    <a:pt x="1" y="7358"/>
                    <a:pt x="60" y="7418"/>
                  </a:cubicBezTo>
                  <a:cubicBezTo>
                    <a:pt x="72" y="7454"/>
                    <a:pt x="120" y="7466"/>
                    <a:pt x="167" y="7466"/>
                  </a:cubicBezTo>
                  <a:cubicBezTo>
                    <a:pt x="215" y="7466"/>
                    <a:pt x="251" y="7454"/>
                    <a:pt x="286" y="7418"/>
                  </a:cubicBezTo>
                  <a:lnTo>
                    <a:pt x="7156" y="548"/>
                  </a:lnTo>
                  <a:lnTo>
                    <a:pt x="7156" y="1429"/>
                  </a:lnTo>
                  <a:cubicBezTo>
                    <a:pt x="7156" y="1512"/>
                    <a:pt x="7240" y="1584"/>
                    <a:pt x="7323" y="1584"/>
                  </a:cubicBezTo>
                  <a:cubicBezTo>
                    <a:pt x="7406" y="1584"/>
                    <a:pt x="7490" y="1512"/>
                    <a:pt x="7490" y="1429"/>
                  </a:cubicBezTo>
                  <a:lnTo>
                    <a:pt x="7490" y="155"/>
                  </a:lnTo>
                  <a:cubicBezTo>
                    <a:pt x="7490" y="72"/>
                    <a:pt x="7406" y="0"/>
                    <a:pt x="73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4" name="Google Shape;11284;p60"/>
          <p:cNvGrpSpPr/>
          <p:nvPr/>
        </p:nvGrpSpPr>
        <p:grpSpPr>
          <a:xfrm>
            <a:off x="5774124" y="4294550"/>
            <a:ext cx="331611" cy="331674"/>
            <a:chOff x="5774124" y="4294550"/>
            <a:chExt cx="331611" cy="331674"/>
          </a:xfrm>
        </p:grpSpPr>
        <p:sp>
          <p:nvSpPr>
            <p:cNvPr id="11285" name="Google Shape;11285;p60"/>
            <p:cNvSpPr/>
            <p:nvPr/>
          </p:nvSpPr>
          <p:spPr>
            <a:xfrm>
              <a:off x="5774124" y="4419664"/>
              <a:ext cx="331611" cy="206560"/>
            </a:xfrm>
            <a:custGeom>
              <a:avLst/>
              <a:gdLst/>
              <a:ahLst/>
              <a:cxnLst/>
              <a:rect l="l" t="t" r="r" b="b"/>
              <a:pathLst>
                <a:path w="10419" h="6490" extrusionOk="0">
                  <a:moveTo>
                    <a:pt x="2751" y="2905"/>
                  </a:moveTo>
                  <a:lnTo>
                    <a:pt x="2751" y="6191"/>
                  </a:lnTo>
                  <a:lnTo>
                    <a:pt x="1429" y="6191"/>
                  </a:lnTo>
                  <a:lnTo>
                    <a:pt x="1429" y="2905"/>
                  </a:lnTo>
                  <a:close/>
                  <a:moveTo>
                    <a:pt x="5847" y="2084"/>
                  </a:moveTo>
                  <a:lnTo>
                    <a:pt x="5847" y="6191"/>
                  </a:lnTo>
                  <a:lnTo>
                    <a:pt x="4525" y="6191"/>
                  </a:lnTo>
                  <a:lnTo>
                    <a:pt x="4525" y="2084"/>
                  </a:lnTo>
                  <a:close/>
                  <a:moveTo>
                    <a:pt x="8942" y="298"/>
                  </a:moveTo>
                  <a:lnTo>
                    <a:pt x="8942" y="6191"/>
                  </a:lnTo>
                  <a:lnTo>
                    <a:pt x="7609" y="6191"/>
                  </a:lnTo>
                  <a:lnTo>
                    <a:pt x="7609" y="298"/>
                  </a:lnTo>
                  <a:close/>
                  <a:moveTo>
                    <a:pt x="7466" y="0"/>
                  </a:moveTo>
                  <a:cubicBezTo>
                    <a:pt x="7383" y="0"/>
                    <a:pt x="7323" y="72"/>
                    <a:pt x="7323" y="155"/>
                  </a:cubicBezTo>
                  <a:lnTo>
                    <a:pt x="7323" y="6191"/>
                  </a:lnTo>
                  <a:lnTo>
                    <a:pt x="6156" y="6191"/>
                  </a:lnTo>
                  <a:lnTo>
                    <a:pt x="6156" y="1941"/>
                  </a:lnTo>
                  <a:cubicBezTo>
                    <a:pt x="6156" y="1846"/>
                    <a:pt x="6085" y="1786"/>
                    <a:pt x="6013" y="1786"/>
                  </a:cubicBezTo>
                  <a:lnTo>
                    <a:pt x="4370" y="1786"/>
                  </a:lnTo>
                  <a:cubicBezTo>
                    <a:pt x="4287" y="1786"/>
                    <a:pt x="4227" y="1858"/>
                    <a:pt x="4227" y="1941"/>
                  </a:cubicBezTo>
                  <a:lnTo>
                    <a:pt x="4227" y="6191"/>
                  </a:lnTo>
                  <a:lnTo>
                    <a:pt x="3061" y="6191"/>
                  </a:lnTo>
                  <a:lnTo>
                    <a:pt x="3061" y="2751"/>
                  </a:lnTo>
                  <a:cubicBezTo>
                    <a:pt x="3061" y="2667"/>
                    <a:pt x="2989" y="2608"/>
                    <a:pt x="2918" y="2608"/>
                  </a:cubicBezTo>
                  <a:lnTo>
                    <a:pt x="1275" y="2608"/>
                  </a:lnTo>
                  <a:cubicBezTo>
                    <a:pt x="1191" y="2608"/>
                    <a:pt x="1132" y="2679"/>
                    <a:pt x="1132" y="2751"/>
                  </a:cubicBezTo>
                  <a:lnTo>
                    <a:pt x="1132" y="6191"/>
                  </a:lnTo>
                  <a:lnTo>
                    <a:pt x="144" y="6191"/>
                  </a:lnTo>
                  <a:cubicBezTo>
                    <a:pt x="60" y="6191"/>
                    <a:pt x="1" y="6263"/>
                    <a:pt x="1" y="6346"/>
                  </a:cubicBezTo>
                  <a:cubicBezTo>
                    <a:pt x="1" y="6430"/>
                    <a:pt x="72" y="6489"/>
                    <a:pt x="144" y="6489"/>
                  </a:cubicBezTo>
                  <a:lnTo>
                    <a:pt x="10264" y="6489"/>
                  </a:lnTo>
                  <a:cubicBezTo>
                    <a:pt x="10359" y="6489"/>
                    <a:pt x="10419" y="6418"/>
                    <a:pt x="10419" y="6346"/>
                  </a:cubicBezTo>
                  <a:cubicBezTo>
                    <a:pt x="10395" y="6251"/>
                    <a:pt x="10323" y="6191"/>
                    <a:pt x="10240" y="6191"/>
                  </a:cubicBezTo>
                  <a:lnTo>
                    <a:pt x="9252" y="6191"/>
                  </a:lnTo>
                  <a:lnTo>
                    <a:pt x="9252" y="155"/>
                  </a:lnTo>
                  <a:cubicBezTo>
                    <a:pt x="9252" y="60"/>
                    <a:pt x="9180" y="0"/>
                    <a:pt x="91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6" name="Google Shape;11286;p60"/>
            <p:cNvSpPr/>
            <p:nvPr/>
          </p:nvSpPr>
          <p:spPr>
            <a:xfrm>
              <a:off x="5778294" y="4294550"/>
              <a:ext cx="316461" cy="191442"/>
            </a:xfrm>
            <a:custGeom>
              <a:avLst/>
              <a:gdLst/>
              <a:ahLst/>
              <a:cxnLst/>
              <a:rect l="l" t="t" r="r" b="b"/>
              <a:pathLst>
                <a:path w="9943" h="6015" extrusionOk="0">
                  <a:moveTo>
                    <a:pt x="9447" y="0"/>
                  </a:moveTo>
                  <a:cubicBezTo>
                    <a:pt x="9433" y="0"/>
                    <a:pt x="9420" y="1"/>
                    <a:pt x="9407" y="2"/>
                  </a:cubicBezTo>
                  <a:lnTo>
                    <a:pt x="8097" y="169"/>
                  </a:lnTo>
                  <a:cubicBezTo>
                    <a:pt x="7847" y="193"/>
                    <a:pt x="7644" y="455"/>
                    <a:pt x="7680" y="705"/>
                  </a:cubicBezTo>
                  <a:cubicBezTo>
                    <a:pt x="7703" y="951"/>
                    <a:pt x="7914" y="1123"/>
                    <a:pt x="8167" y="1123"/>
                  </a:cubicBezTo>
                  <a:cubicBezTo>
                    <a:pt x="8183" y="1123"/>
                    <a:pt x="8200" y="1123"/>
                    <a:pt x="8216" y="1121"/>
                  </a:cubicBezTo>
                  <a:lnTo>
                    <a:pt x="8323" y="1109"/>
                  </a:lnTo>
                  <a:lnTo>
                    <a:pt x="8323" y="1109"/>
                  </a:lnTo>
                  <a:cubicBezTo>
                    <a:pt x="6716" y="2967"/>
                    <a:pt x="4811" y="3919"/>
                    <a:pt x="3465" y="4407"/>
                  </a:cubicBezTo>
                  <a:cubicBezTo>
                    <a:pt x="1787" y="5003"/>
                    <a:pt x="477" y="5062"/>
                    <a:pt x="477" y="5062"/>
                  </a:cubicBezTo>
                  <a:cubicBezTo>
                    <a:pt x="203" y="5074"/>
                    <a:pt x="1" y="5288"/>
                    <a:pt x="13" y="5550"/>
                  </a:cubicBezTo>
                  <a:cubicBezTo>
                    <a:pt x="24" y="5824"/>
                    <a:pt x="239" y="6015"/>
                    <a:pt x="489" y="6015"/>
                  </a:cubicBezTo>
                  <a:lnTo>
                    <a:pt x="501" y="6015"/>
                  </a:lnTo>
                  <a:cubicBezTo>
                    <a:pt x="560" y="6015"/>
                    <a:pt x="1953" y="5967"/>
                    <a:pt x="3775" y="5312"/>
                  </a:cubicBezTo>
                  <a:cubicBezTo>
                    <a:pt x="4811" y="4943"/>
                    <a:pt x="5775" y="4467"/>
                    <a:pt x="6656" y="3872"/>
                  </a:cubicBezTo>
                  <a:cubicBezTo>
                    <a:pt x="6728" y="3824"/>
                    <a:pt x="6740" y="3729"/>
                    <a:pt x="6692" y="3669"/>
                  </a:cubicBezTo>
                  <a:cubicBezTo>
                    <a:pt x="6670" y="3618"/>
                    <a:pt x="6621" y="3594"/>
                    <a:pt x="6573" y="3594"/>
                  </a:cubicBezTo>
                  <a:cubicBezTo>
                    <a:pt x="6542" y="3594"/>
                    <a:pt x="6512" y="3603"/>
                    <a:pt x="6490" y="3622"/>
                  </a:cubicBezTo>
                  <a:cubicBezTo>
                    <a:pt x="5620" y="4205"/>
                    <a:pt x="4692" y="4681"/>
                    <a:pt x="3692" y="5038"/>
                  </a:cubicBezTo>
                  <a:cubicBezTo>
                    <a:pt x="1906" y="5669"/>
                    <a:pt x="560" y="5717"/>
                    <a:pt x="525" y="5717"/>
                  </a:cubicBezTo>
                  <a:cubicBezTo>
                    <a:pt x="429" y="5717"/>
                    <a:pt x="358" y="5646"/>
                    <a:pt x="346" y="5550"/>
                  </a:cubicBezTo>
                  <a:cubicBezTo>
                    <a:pt x="346" y="5467"/>
                    <a:pt x="417" y="5372"/>
                    <a:pt x="501" y="5372"/>
                  </a:cubicBezTo>
                  <a:cubicBezTo>
                    <a:pt x="525" y="5372"/>
                    <a:pt x="1858" y="5336"/>
                    <a:pt x="3596" y="4705"/>
                  </a:cubicBezTo>
                  <a:cubicBezTo>
                    <a:pt x="5061" y="4181"/>
                    <a:pt x="7144" y="3133"/>
                    <a:pt x="8835" y="1014"/>
                  </a:cubicBezTo>
                  <a:cubicBezTo>
                    <a:pt x="8927" y="911"/>
                    <a:pt x="8842" y="763"/>
                    <a:pt x="8718" y="763"/>
                  </a:cubicBezTo>
                  <a:cubicBezTo>
                    <a:pt x="8714" y="763"/>
                    <a:pt x="8709" y="764"/>
                    <a:pt x="8704" y="764"/>
                  </a:cubicBezTo>
                  <a:lnTo>
                    <a:pt x="8216" y="824"/>
                  </a:lnTo>
                  <a:cubicBezTo>
                    <a:pt x="8208" y="825"/>
                    <a:pt x="8200" y="825"/>
                    <a:pt x="8192" y="825"/>
                  </a:cubicBezTo>
                  <a:cubicBezTo>
                    <a:pt x="8109" y="825"/>
                    <a:pt x="8047" y="769"/>
                    <a:pt x="8025" y="693"/>
                  </a:cubicBezTo>
                  <a:cubicBezTo>
                    <a:pt x="7990" y="586"/>
                    <a:pt x="8061" y="478"/>
                    <a:pt x="8168" y="478"/>
                  </a:cubicBezTo>
                  <a:lnTo>
                    <a:pt x="9478" y="312"/>
                  </a:lnTo>
                  <a:cubicBezTo>
                    <a:pt x="9484" y="311"/>
                    <a:pt x="9490" y="311"/>
                    <a:pt x="9496" y="311"/>
                  </a:cubicBezTo>
                  <a:cubicBezTo>
                    <a:pt x="9594" y="311"/>
                    <a:pt x="9669" y="400"/>
                    <a:pt x="9669" y="490"/>
                  </a:cubicBezTo>
                  <a:lnTo>
                    <a:pt x="9669" y="1800"/>
                  </a:lnTo>
                  <a:cubicBezTo>
                    <a:pt x="9669" y="1895"/>
                    <a:pt x="9597" y="1979"/>
                    <a:pt x="9490" y="1979"/>
                  </a:cubicBezTo>
                  <a:cubicBezTo>
                    <a:pt x="9407" y="1979"/>
                    <a:pt x="9311" y="1907"/>
                    <a:pt x="9311" y="1800"/>
                  </a:cubicBezTo>
                  <a:lnTo>
                    <a:pt x="9311" y="1407"/>
                  </a:lnTo>
                  <a:cubicBezTo>
                    <a:pt x="9311" y="1348"/>
                    <a:pt x="9264" y="1288"/>
                    <a:pt x="9204" y="1252"/>
                  </a:cubicBezTo>
                  <a:cubicBezTo>
                    <a:pt x="9187" y="1242"/>
                    <a:pt x="9169" y="1238"/>
                    <a:pt x="9152" y="1238"/>
                  </a:cubicBezTo>
                  <a:cubicBezTo>
                    <a:pt x="9106" y="1238"/>
                    <a:pt x="9060" y="1266"/>
                    <a:pt x="9026" y="1300"/>
                  </a:cubicBezTo>
                  <a:cubicBezTo>
                    <a:pt x="8466" y="2002"/>
                    <a:pt x="7811" y="2633"/>
                    <a:pt x="7097" y="3193"/>
                  </a:cubicBezTo>
                  <a:cubicBezTo>
                    <a:pt x="7037" y="3229"/>
                    <a:pt x="7025" y="3336"/>
                    <a:pt x="7061" y="3395"/>
                  </a:cubicBezTo>
                  <a:cubicBezTo>
                    <a:pt x="7091" y="3433"/>
                    <a:pt x="7144" y="3451"/>
                    <a:pt x="7194" y="3451"/>
                  </a:cubicBezTo>
                  <a:cubicBezTo>
                    <a:pt x="7224" y="3451"/>
                    <a:pt x="7253" y="3445"/>
                    <a:pt x="7275" y="3431"/>
                  </a:cubicBezTo>
                  <a:cubicBezTo>
                    <a:pt x="7895" y="2943"/>
                    <a:pt x="8466" y="2419"/>
                    <a:pt x="8990" y="1824"/>
                  </a:cubicBezTo>
                  <a:cubicBezTo>
                    <a:pt x="9002" y="2074"/>
                    <a:pt x="9204" y="2276"/>
                    <a:pt x="9466" y="2276"/>
                  </a:cubicBezTo>
                  <a:cubicBezTo>
                    <a:pt x="9728" y="2276"/>
                    <a:pt x="9942" y="2074"/>
                    <a:pt x="9942" y="1800"/>
                  </a:cubicBezTo>
                  <a:lnTo>
                    <a:pt x="9942" y="478"/>
                  </a:lnTo>
                  <a:cubicBezTo>
                    <a:pt x="9942" y="347"/>
                    <a:pt x="9883" y="216"/>
                    <a:pt x="9776" y="121"/>
                  </a:cubicBezTo>
                  <a:cubicBezTo>
                    <a:pt x="9679" y="46"/>
                    <a:pt x="9564" y="0"/>
                    <a:pt x="94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87" name="Google Shape;11287;p60"/>
          <p:cNvGrpSpPr/>
          <p:nvPr/>
        </p:nvGrpSpPr>
        <p:grpSpPr>
          <a:xfrm>
            <a:off x="4890434" y="4287389"/>
            <a:ext cx="345997" cy="346029"/>
            <a:chOff x="4890434" y="4287389"/>
            <a:chExt cx="345997" cy="346029"/>
          </a:xfrm>
        </p:grpSpPr>
        <p:sp>
          <p:nvSpPr>
            <p:cNvPr id="11288" name="Google Shape;11288;p60"/>
            <p:cNvSpPr/>
            <p:nvPr/>
          </p:nvSpPr>
          <p:spPr>
            <a:xfrm>
              <a:off x="5111349" y="4400695"/>
              <a:ext cx="54998" cy="54998"/>
            </a:xfrm>
            <a:custGeom>
              <a:avLst/>
              <a:gdLst/>
              <a:ahLst/>
              <a:cxnLst/>
              <a:rect l="l" t="t" r="r" b="b"/>
              <a:pathLst>
                <a:path w="1728" h="1728" extrusionOk="0">
                  <a:moveTo>
                    <a:pt x="858" y="346"/>
                  </a:moveTo>
                  <a:cubicBezTo>
                    <a:pt x="1144" y="346"/>
                    <a:pt x="1382" y="584"/>
                    <a:pt x="1382" y="870"/>
                  </a:cubicBezTo>
                  <a:cubicBezTo>
                    <a:pt x="1382" y="1144"/>
                    <a:pt x="1144" y="1382"/>
                    <a:pt x="858" y="1382"/>
                  </a:cubicBezTo>
                  <a:cubicBezTo>
                    <a:pt x="572" y="1382"/>
                    <a:pt x="346" y="1144"/>
                    <a:pt x="346" y="870"/>
                  </a:cubicBezTo>
                  <a:cubicBezTo>
                    <a:pt x="346" y="584"/>
                    <a:pt x="584" y="346"/>
                    <a:pt x="858" y="346"/>
                  </a:cubicBezTo>
                  <a:close/>
                  <a:moveTo>
                    <a:pt x="858" y="1"/>
                  </a:moveTo>
                  <a:cubicBezTo>
                    <a:pt x="382" y="1"/>
                    <a:pt x="1" y="394"/>
                    <a:pt x="1" y="870"/>
                  </a:cubicBezTo>
                  <a:cubicBezTo>
                    <a:pt x="1" y="1346"/>
                    <a:pt x="382" y="1727"/>
                    <a:pt x="858" y="1727"/>
                  </a:cubicBezTo>
                  <a:cubicBezTo>
                    <a:pt x="1334" y="1727"/>
                    <a:pt x="1727" y="1346"/>
                    <a:pt x="1727" y="870"/>
                  </a:cubicBezTo>
                  <a:cubicBezTo>
                    <a:pt x="1727"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9" name="Google Shape;11289;p60"/>
            <p:cNvSpPr/>
            <p:nvPr/>
          </p:nvSpPr>
          <p:spPr>
            <a:xfrm>
              <a:off x="5113640" y="4466642"/>
              <a:ext cx="70498" cy="51179"/>
            </a:xfrm>
            <a:custGeom>
              <a:avLst/>
              <a:gdLst/>
              <a:ahLst/>
              <a:cxnLst/>
              <a:rect l="l" t="t" r="r" b="b"/>
              <a:pathLst>
                <a:path w="2215" h="1608" extrusionOk="0">
                  <a:moveTo>
                    <a:pt x="786" y="1"/>
                  </a:moveTo>
                  <a:cubicBezTo>
                    <a:pt x="548" y="1"/>
                    <a:pt x="333" y="60"/>
                    <a:pt x="119" y="167"/>
                  </a:cubicBezTo>
                  <a:cubicBezTo>
                    <a:pt x="36" y="203"/>
                    <a:pt x="0" y="310"/>
                    <a:pt x="48" y="405"/>
                  </a:cubicBezTo>
                  <a:cubicBezTo>
                    <a:pt x="73" y="463"/>
                    <a:pt x="132" y="498"/>
                    <a:pt x="198" y="498"/>
                  </a:cubicBezTo>
                  <a:cubicBezTo>
                    <a:pt x="226" y="498"/>
                    <a:pt x="257" y="491"/>
                    <a:pt x="286" y="477"/>
                  </a:cubicBezTo>
                  <a:cubicBezTo>
                    <a:pt x="429" y="382"/>
                    <a:pt x="607" y="346"/>
                    <a:pt x="786" y="346"/>
                  </a:cubicBezTo>
                  <a:cubicBezTo>
                    <a:pt x="1322" y="346"/>
                    <a:pt x="1774" y="727"/>
                    <a:pt x="1857" y="1251"/>
                  </a:cubicBezTo>
                  <a:lnTo>
                    <a:pt x="786" y="1251"/>
                  </a:lnTo>
                  <a:cubicBezTo>
                    <a:pt x="703" y="1251"/>
                    <a:pt x="607" y="1322"/>
                    <a:pt x="607" y="1429"/>
                  </a:cubicBezTo>
                  <a:cubicBezTo>
                    <a:pt x="607" y="1513"/>
                    <a:pt x="679" y="1608"/>
                    <a:pt x="786" y="1608"/>
                  </a:cubicBezTo>
                  <a:lnTo>
                    <a:pt x="2036" y="1608"/>
                  </a:lnTo>
                  <a:cubicBezTo>
                    <a:pt x="2131" y="1608"/>
                    <a:pt x="2215" y="1536"/>
                    <a:pt x="2215" y="1429"/>
                  </a:cubicBezTo>
                  <a:cubicBezTo>
                    <a:pt x="2215" y="643"/>
                    <a:pt x="1572"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0" name="Google Shape;11290;p60"/>
            <p:cNvSpPr/>
            <p:nvPr/>
          </p:nvSpPr>
          <p:spPr>
            <a:xfrm>
              <a:off x="4943490" y="4467023"/>
              <a:ext cx="70880" cy="51179"/>
            </a:xfrm>
            <a:custGeom>
              <a:avLst/>
              <a:gdLst/>
              <a:ahLst/>
              <a:cxnLst/>
              <a:rect l="l" t="t" r="r" b="b"/>
              <a:pathLst>
                <a:path w="2227" h="1608" extrusionOk="0">
                  <a:moveTo>
                    <a:pt x="1429" y="0"/>
                  </a:moveTo>
                  <a:cubicBezTo>
                    <a:pt x="643" y="0"/>
                    <a:pt x="0" y="643"/>
                    <a:pt x="0" y="1429"/>
                  </a:cubicBezTo>
                  <a:cubicBezTo>
                    <a:pt x="0" y="1524"/>
                    <a:pt x="84" y="1608"/>
                    <a:pt x="179" y="1608"/>
                  </a:cubicBezTo>
                  <a:lnTo>
                    <a:pt x="1453" y="1608"/>
                  </a:lnTo>
                  <a:cubicBezTo>
                    <a:pt x="1536" y="1608"/>
                    <a:pt x="1631" y="1536"/>
                    <a:pt x="1631" y="1429"/>
                  </a:cubicBezTo>
                  <a:cubicBezTo>
                    <a:pt x="1608" y="1322"/>
                    <a:pt x="1536" y="1251"/>
                    <a:pt x="1453" y="1251"/>
                  </a:cubicBezTo>
                  <a:lnTo>
                    <a:pt x="357" y="1251"/>
                  </a:lnTo>
                  <a:cubicBezTo>
                    <a:pt x="453" y="727"/>
                    <a:pt x="893" y="346"/>
                    <a:pt x="1429" y="346"/>
                  </a:cubicBezTo>
                  <a:cubicBezTo>
                    <a:pt x="1608" y="346"/>
                    <a:pt x="1786" y="393"/>
                    <a:pt x="1941" y="477"/>
                  </a:cubicBezTo>
                  <a:cubicBezTo>
                    <a:pt x="1966" y="491"/>
                    <a:pt x="1994" y="498"/>
                    <a:pt x="2022" y="498"/>
                  </a:cubicBezTo>
                  <a:cubicBezTo>
                    <a:pt x="2084" y="498"/>
                    <a:pt x="2146" y="463"/>
                    <a:pt x="2179" y="405"/>
                  </a:cubicBezTo>
                  <a:cubicBezTo>
                    <a:pt x="2227" y="310"/>
                    <a:pt x="2191" y="215"/>
                    <a:pt x="2108" y="167"/>
                  </a:cubicBezTo>
                  <a:cubicBezTo>
                    <a:pt x="1893" y="60"/>
                    <a:pt x="1667" y="0"/>
                    <a:pt x="1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1" name="Google Shape;11291;p60"/>
            <p:cNvSpPr/>
            <p:nvPr/>
          </p:nvSpPr>
          <p:spPr>
            <a:xfrm>
              <a:off x="4961282" y="4400695"/>
              <a:ext cx="54616" cy="54998"/>
            </a:xfrm>
            <a:custGeom>
              <a:avLst/>
              <a:gdLst/>
              <a:ahLst/>
              <a:cxnLst/>
              <a:rect l="l" t="t" r="r" b="b"/>
              <a:pathLst>
                <a:path w="1716" h="1728" extrusionOk="0">
                  <a:moveTo>
                    <a:pt x="858" y="346"/>
                  </a:moveTo>
                  <a:cubicBezTo>
                    <a:pt x="1144" y="346"/>
                    <a:pt x="1382" y="584"/>
                    <a:pt x="1382" y="870"/>
                  </a:cubicBezTo>
                  <a:cubicBezTo>
                    <a:pt x="1382" y="1144"/>
                    <a:pt x="1144" y="1382"/>
                    <a:pt x="858" y="1382"/>
                  </a:cubicBezTo>
                  <a:cubicBezTo>
                    <a:pt x="572" y="1382"/>
                    <a:pt x="334" y="1144"/>
                    <a:pt x="334" y="870"/>
                  </a:cubicBezTo>
                  <a:cubicBezTo>
                    <a:pt x="358" y="584"/>
                    <a:pt x="572" y="346"/>
                    <a:pt x="858" y="346"/>
                  </a:cubicBezTo>
                  <a:close/>
                  <a:moveTo>
                    <a:pt x="858" y="1"/>
                  </a:moveTo>
                  <a:cubicBezTo>
                    <a:pt x="382" y="1"/>
                    <a:pt x="1" y="394"/>
                    <a:pt x="1" y="870"/>
                  </a:cubicBezTo>
                  <a:cubicBezTo>
                    <a:pt x="1" y="1346"/>
                    <a:pt x="382" y="1727"/>
                    <a:pt x="858" y="1727"/>
                  </a:cubicBezTo>
                  <a:cubicBezTo>
                    <a:pt x="1334" y="1727"/>
                    <a:pt x="1715" y="1346"/>
                    <a:pt x="1715" y="870"/>
                  </a:cubicBezTo>
                  <a:cubicBezTo>
                    <a:pt x="1715" y="394"/>
                    <a:pt x="1334"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2" name="Google Shape;11292;p60"/>
            <p:cNvSpPr/>
            <p:nvPr/>
          </p:nvSpPr>
          <p:spPr>
            <a:xfrm>
              <a:off x="5028374" y="4386691"/>
              <a:ext cx="71262" cy="70880"/>
            </a:xfrm>
            <a:custGeom>
              <a:avLst/>
              <a:gdLst/>
              <a:ahLst/>
              <a:cxnLst/>
              <a:rect l="l" t="t" r="r" b="b"/>
              <a:pathLst>
                <a:path w="2239" h="2227" extrusionOk="0">
                  <a:moveTo>
                    <a:pt x="1119" y="358"/>
                  </a:moveTo>
                  <a:cubicBezTo>
                    <a:pt x="1536" y="358"/>
                    <a:pt x="1893" y="691"/>
                    <a:pt x="1893" y="1131"/>
                  </a:cubicBezTo>
                  <a:cubicBezTo>
                    <a:pt x="1893" y="1548"/>
                    <a:pt x="1548" y="1905"/>
                    <a:pt x="1119" y="1905"/>
                  </a:cubicBezTo>
                  <a:cubicBezTo>
                    <a:pt x="703" y="1905"/>
                    <a:pt x="345" y="1560"/>
                    <a:pt x="345" y="1131"/>
                  </a:cubicBezTo>
                  <a:cubicBezTo>
                    <a:pt x="345" y="691"/>
                    <a:pt x="679" y="358"/>
                    <a:pt x="1119" y="358"/>
                  </a:cubicBezTo>
                  <a:close/>
                  <a:moveTo>
                    <a:pt x="1119" y="0"/>
                  </a:moveTo>
                  <a:cubicBezTo>
                    <a:pt x="512" y="0"/>
                    <a:pt x="0" y="500"/>
                    <a:pt x="0" y="1108"/>
                  </a:cubicBezTo>
                  <a:cubicBezTo>
                    <a:pt x="0" y="1739"/>
                    <a:pt x="512" y="2227"/>
                    <a:pt x="1119" y="2227"/>
                  </a:cubicBezTo>
                  <a:cubicBezTo>
                    <a:pt x="1727" y="2227"/>
                    <a:pt x="2239" y="1727"/>
                    <a:pt x="2239" y="1108"/>
                  </a:cubicBezTo>
                  <a:cubicBezTo>
                    <a:pt x="2239" y="500"/>
                    <a:pt x="1727" y="0"/>
                    <a:pt x="11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3" name="Google Shape;11293;p60"/>
            <p:cNvSpPr/>
            <p:nvPr/>
          </p:nvSpPr>
          <p:spPr>
            <a:xfrm>
              <a:off x="5004122" y="4468901"/>
              <a:ext cx="120149" cy="65596"/>
            </a:xfrm>
            <a:custGeom>
              <a:avLst/>
              <a:gdLst/>
              <a:ahLst/>
              <a:cxnLst/>
              <a:rect l="l" t="t" r="r" b="b"/>
              <a:pathLst>
                <a:path w="3775" h="2061" extrusionOk="0">
                  <a:moveTo>
                    <a:pt x="1881" y="346"/>
                  </a:moveTo>
                  <a:cubicBezTo>
                    <a:pt x="2667" y="346"/>
                    <a:pt x="3322" y="942"/>
                    <a:pt x="3393" y="1704"/>
                  </a:cubicBezTo>
                  <a:lnTo>
                    <a:pt x="357" y="1704"/>
                  </a:lnTo>
                  <a:cubicBezTo>
                    <a:pt x="453" y="942"/>
                    <a:pt x="1096" y="346"/>
                    <a:pt x="1881" y="346"/>
                  </a:cubicBezTo>
                  <a:close/>
                  <a:moveTo>
                    <a:pt x="1881" y="1"/>
                  </a:moveTo>
                  <a:cubicBezTo>
                    <a:pt x="834" y="1"/>
                    <a:pt x="0" y="846"/>
                    <a:pt x="0" y="1882"/>
                  </a:cubicBezTo>
                  <a:cubicBezTo>
                    <a:pt x="0" y="1966"/>
                    <a:pt x="84" y="2061"/>
                    <a:pt x="179" y="2061"/>
                  </a:cubicBezTo>
                  <a:lnTo>
                    <a:pt x="3596" y="2061"/>
                  </a:lnTo>
                  <a:cubicBezTo>
                    <a:pt x="3679" y="2061"/>
                    <a:pt x="3774" y="1977"/>
                    <a:pt x="3774" y="1882"/>
                  </a:cubicBezTo>
                  <a:cubicBezTo>
                    <a:pt x="3751" y="834"/>
                    <a:pt x="290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4" name="Google Shape;11294;p60"/>
            <p:cNvSpPr/>
            <p:nvPr/>
          </p:nvSpPr>
          <p:spPr>
            <a:xfrm>
              <a:off x="4890434" y="4287389"/>
              <a:ext cx="345997" cy="346029"/>
            </a:xfrm>
            <a:custGeom>
              <a:avLst/>
              <a:gdLst/>
              <a:ahLst/>
              <a:cxnLst/>
              <a:rect l="l" t="t" r="r" b="b"/>
              <a:pathLst>
                <a:path w="10871" h="10872" extrusionOk="0">
                  <a:moveTo>
                    <a:pt x="5608" y="953"/>
                  </a:moveTo>
                  <a:cubicBezTo>
                    <a:pt x="7954" y="1049"/>
                    <a:pt x="9823" y="2918"/>
                    <a:pt x="9918" y="5252"/>
                  </a:cubicBezTo>
                  <a:lnTo>
                    <a:pt x="9502" y="5252"/>
                  </a:lnTo>
                  <a:cubicBezTo>
                    <a:pt x="9406" y="5252"/>
                    <a:pt x="9323" y="5335"/>
                    <a:pt x="9323" y="5442"/>
                  </a:cubicBezTo>
                  <a:cubicBezTo>
                    <a:pt x="9323" y="5525"/>
                    <a:pt x="9394" y="5621"/>
                    <a:pt x="9502" y="5621"/>
                  </a:cubicBezTo>
                  <a:lnTo>
                    <a:pt x="9918" y="5621"/>
                  </a:lnTo>
                  <a:cubicBezTo>
                    <a:pt x="9847" y="7954"/>
                    <a:pt x="7954" y="9824"/>
                    <a:pt x="5608" y="9919"/>
                  </a:cubicBezTo>
                  <a:lnTo>
                    <a:pt x="5608" y="9502"/>
                  </a:lnTo>
                  <a:cubicBezTo>
                    <a:pt x="5608" y="9407"/>
                    <a:pt x="5537" y="9323"/>
                    <a:pt x="5430" y="9323"/>
                  </a:cubicBezTo>
                  <a:cubicBezTo>
                    <a:pt x="5346" y="9323"/>
                    <a:pt x="5251" y="9395"/>
                    <a:pt x="5251" y="9502"/>
                  </a:cubicBezTo>
                  <a:lnTo>
                    <a:pt x="5251" y="9919"/>
                  </a:lnTo>
                  <a:cubicBezTo>
                    <a:pt x="2917" y="9824"/>
                    <a:pt x="1048" y="7954"/>
                    <a:pt x="953" y="5621"/>
                  </a:cubicBezTo>
                  <a:lnTo>
                    <a:pt x="1370" y="5621"/>
                  </a:lnTo>
                  <a:cubicBezTo>
                    <a:pt x="1465" y="5621"/>
                    <a:pt x="1548" y="5537"/>
                    <a:pt x="1548" y="5442"/>
                  </a:cubicBezTo>
                  <a:cubicBezTo>
                    <a:pt x="1548" y="5347"/>
                    <a:pt x="1477" y="5252"/>
                    <a:pt x="1370" y="5252"/>
                  </a:cubicBezTo>
                  <a:lnTo>
                    <a:pt x="953" y="5252"/>
                  </a:lnTo>
                  <a:cubicBezTo>
                    <a:pt x="1048" y="2918"/>
                    <a:pt x="2917" y="1049"/>
                    <a:pt x="5251" y="953"/>
                  </a:cubicBezTo>
                  <a:lnTo>
                    <a:pt x="5251" y="1370"/>
                  </a:lnTo>
                  <a:cubicBezTo>
                    <a:pt x="5251" y="1465"/>
                    <a:pt x="5334" y="1549"/>
                    <a:pt x="5430" y="1549"/>
                  </a:cubicBezTo>
                  <a:cubicBezTo>
                    <a:pt x="5525" y="1549"/>
                    <a:pt x="5608" y="1477"/>
                    <a:pt x="5608" y="1370"/>
                  </a:cubicBezTo>
                  <a:lnTo>
                    <a:pt x="5608" y="953"/>
                  </a:lnTo>
                  <a:close/>
                  <a:moveTo>
                    <a:pt x="5441" y="1"/>
                  </a:moveTo>
                  <a:cubicBezTo>
                    <a:pt x="5346" y="1"/>
                    <a:pt x="5263" y="84"/>
                    <a:pt x="5263" y="179"/>
                  </a:cubicBezTo>
                  <a:lnTo>
                    <a:pt x="5263" y="596"/>
                  </a:lnTo>
                  <a:cubicBezTo>
                    <a:pt x="2727" y="691"/>
                    <a:pt x="691" y="2727"/>
                    <a:pt x="596" y="5263"/>
                  </a:cubicBezTo>
                  <a:lnTo>
                    <a:pt x="179" y="5263"/>
                  </a:lnTo>
                  <a:cubicBezTo>
                    <a:pt x="96" y="5263"/>
                    <a:pt x="0" y="5335"/>
                    <a:pt x="0" y="5442"/>
                  </a:cubicBezTo>
                  <a:cubicBezTo>
                    <a:pt x="0" y="5525"/>
                    <a:pt x="84" y="5621"/>
                    <a:pt x="179" y="5621"/>
                  </a:cubicBezTo>
                  <a:lnTo>
                    <a:pt x="596" y="5621"/>
                  </a:lnTo>
                  <a:cubicBezTo>
                    <a:pt x="691" y="8145"/>
                    <a:pt x="2727" y="10181"/>
                    <a:pt x="5263" y="10276"/>
                  </a:cubicBezTo>
                  <a:lnTo>
                    <a:pt x="5263" y="10693"/>
                  </a:lnTo>
                  <a:cubicBezTo>
                    <a:pt x="5263" y="10776"/>
                    <a:pt x="5334" y="10871"/>
                    <a:pt x="5441" y="10871"/>
                  </a:cubicBezTo>
                  <a:cubicBezTo>
                    <a:pt x="5525" y="10871"/>
                    <a:pt x="5620" y="10800"/>
                    <a:pt x="5620" y="10693"/>
                  </a:cubicBezTo>
                  <a:lnTo>
                    <a:pt x="5620" y="10276"/>
                  </a:lnTo>
                  <a:cubicBezTo>
                    <a:pt x="8144" y="10181"/>
                    <a:pt x="10180" y="8145"/>
                    <a:pt x="10275" y="5621"/>
                  </a:cubicBezTo>
                  <a:lnTo>
                    <a:pt x="10692" y="5621"/>
                  </a:lnTo>
                  <a:cubicBezTo>
                    <a:pt x="10775" y="5621"/>
                    <a:pt x="10871" y="5537"/>
                    <a:pt x="10871" y="5442"/>
                  </a:cubicBezTo>
                  <a:cubicBezTo>
                    <a:pt x="10871" y="5347"/>
                    <a:pt x="10799" y="5263"/>
                    <a:pt x="10692" y="5263"/>
                  </a:cubicBezTo>
                  <a:lnTo>
                    <a:pt x="10275" y="5263"/>
                  </a:lnTo>
                  <a:cubicBezTo>
                    <a:pt x="10180" y="2727"/>
                    <a:pt x="8144" y="691"/>
                    <a:pt x="5620" y="596"/>
                  </a:cubicBezTo>
                  <a:lnTo>
                    <a:pt x="5620" y="179"/>
                  </a:lnTo>
                  <a:cubicBezTo>
                    <a:pt x="5620" y="96"/>
                    <a:pt x="5537"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95" name="Google Shape;11295;p60"/>
          <p:cNvGrpSpPr/>
          <p:nvPr/>
        </p:nvGrpSpPr>
        <p:grpSpPr>
          <a:xfrm>
            <a:off x="2165809" y="3811059"/>
            <a:ext cx="422542" cy="342973"/>
            <a:chOff x="2165809" y="3811059"/>
            <a:chExt cx="422542" cy="342973"/>
          </a:xfrm>
        </p:grpSpPr>
        <p:sp>
          <p:nvSpPr>
            <p:cNvPr id="11296" name="Google Shape;11296;p60"/>
            <p:cNvSpPr/>
            <p:nvPr/>
          </p:nvSpPr>
          <p:spPr>
            <a:xfrm>
              <a:off x="2165809" y="3811059"/>
              <a:ext cx="422542" cy="342973"/>
            </a:xfrm>
            <a:custGeom>
              <a:avLst/>
              <a:gdLst/>
              <a:ahLst/>
              <a:cxnLst/>
              <a:rect l="l" t="t" r="r" b="b"/>
              <a:pathLst>
                <a:path w="13276" h="10776" extrusionOk="0">
                  <a:moveTo>
                    <a:pt x="2084" y="382"/>
                  </a:moveTo>
                  <a:cubicBezTo>
                    <a:pt x="2084" y="382"/>
                    <a:pt x="2108" y="382"/>
                    <a:pt x="2108" y="406"/>
                  </a:cubicBezTo>
                  <a:lnTo>
                    <a:pt x="2108" y="1239"/>
                  </a:lnTo>
                  <a:cubicBezTo>
                    <a:pt x="2108" y="1239"/>
                    <a:pt x="2108" y="1251"/>
                    <a:pt x="2084" y="1251"/>
                  </a:cubicBezTo>
                  <a:lnTo>
                    <a:pt x="1667" y="1251"/>
                  </a:lnTo>
                  <a:cubicBezTo>
                    <a:pt x="1667" y="1251"/>
                    <a:pt x="1655" y="1251"/>
                    <a:pt x="1655" y="1239"/>
                  </a:cubicBezTo>
                  <a:lnTo>
                    <a:pt x="1655" y="406"/>
                  </a:lnTo>
                  <a:lnTo>
                    <a:pt x="2084" y="382"/>
                  </a:lnTo>
                  <a:close/>
                  <a:moveTo>
                    <a:pt x="11645" y="382"/>
                  </a:moveTo>
                  <a:cubicBezTo>
                    <a:pt x="11645" y="382"/>
                    <a:pt x="11657" y="382"/>
                    <a:pt x="11657" y="406"/>
                  </a:cubicBezTo>
                  <a:lnTo>
                    <a:pt x="11657" y="1239"/>
                  </a:lnTo>
                  <a:cubicBezTo>
                    <a:pt x="11657" y="1239"/>
                    <a:pt x="11657" y="1251"/>
                    <a:pt x="11645" y="1251"/>
                  </a:cubicBezTo>
                  <a:lnTo>
                    <a:pt x="11216" y="1251"/>
                  </a:lnTo>
                  <a:cubicBezTo>
                    <a:pt x="11216" y="1251"/>
                    <a:pt x="11192" y="1251"/>
                    <a:pt x="11192" y="1239"/>
                  </a:cubicBezTo>
                  <a:lnTo>
                    <a:pt x="11192" y="406"/>
                  </a:lnTo>
                  <a:lnTo>
                    <a:pt x="11216" y="406"/>
                  </a:lnTo>
                  <a:lnTo>
                    <a:pt x="11645" y="382"/>
                  </a:lnTo>
                  <a:close/>
                  <a:moveTo>
                    <a:pt x="12478" y="1215"/>
                  </a:moveTo>
                  <a:cubicBezTo>
                    <a:pt x="12716" y="1215"/>
                    <a:pt x="12907" y="1418"/>
                    <a:pt x="12907" y="1656"/>
                  </a:cubicBezTo>
                  <a:lnTo>
                    <a:pt x="12907" y="9954"/>
                  </a:lnTo>
                  <a:cubicBezTo>
                    <a:pt x="12895" y="10193"/>
                    <a:pt x="12704" y="10383"/>
                    <a:pt x="12466" y="10383"/>
                  </a:cubicBezTo>
                  <a:lnTo>
                    <a:pt x="834" y="10383"/>
                  </a:lnTo>
                  <a:cubicBezTo>
                    <a:pt x="596" y="10383"/>
                    <a:pt x="405" y="10193"/>
                    <a:pt x="405" y="9954"/>
                  </a:cubicBezTo>
                  <a:lnTo>
                    <a:pt x="405" y="1656"/>
                  </a:lnTo>
                  <a:cubicBezTo>
                    <a:pt x="405" y="1418"/>
                    <a:pt x="596" y="1215"/>
                    <a:pt x="834" y="1215"/>
                  </a:cubicBezTo>
                  <a:lnTo>
                    <a:pt x="1262" y="1215"/>
                  </a:lnTo>
                  <a:lnTo>
                    <a:pt x="1262" y="1239"/>
                  </a:lnTo>
                  <a:cubicBezTo>
                    <a:pt x="1262" y="1453"/>
                    <a:pt x="1441" y="1632"/>
                    <a:pt x="1667" y="1632"/>
                  </a:cubicBezTo>
                  <a:lnTo>
                    <a:pt x="2084" y="1632"/>
                  </a:lnTo>
                  <a:cubicBezTo>
                    <a:pt x="2310" y="1632"/>
                    <a:pt x="2489" y="1453"/>
                    <a:pt x="2489" y="1239"/>
                  </a:cubicBezTo>
                  <a:lnTo>
                    <a:pt x="2489" y="1215"/>
                  </a:lnTo>
                  <a:lnTo>
                    <a:pt x="10823" y="1215"/>
                  </a:lnTo>
                  <a:lnTo>
                    <a:pt x="10823" y="1239"/>
                  </a:lnTo>
                  <a:cubicBezTo>
                    <a:pt x="10823" y="1453"/>
                    <a:pt x="11002" y="1632"/>
                    <a:pt x="11228" y="1632"/>
                  </a:cubicBezTo>
                  <a:lnTo>
                    <a:pt x="11645" y="1632"/>
                  </a:lnTo>
                  <a:cubicBezTo>
                    <a:pt x="11859" y="1632"/>
                    <a:pt x="12038" y="1453"/>
                    <a:pt x="12038" y="1239"/>
                  </a:cubicBezTo>
                  <a:lnTo>
                    <a:pt x="12038" y="1215"/>
                  </a:lnTo>
                  <a:close/>
                  <a:moveTo>
                    <a:pt x="1655" y="1"/>
                  </a:moveTo>
                  <a:cubicBezTo>
                    <a:pt x="1429" y="1"/>
                    <a:pt x="1251" y="179"/>
                    <a:pt x="1251" y="406"/>
                  </a:cubicBezTo>
                  <a:lnTo>
                    <a:pt x="1251" y="834"/>
                  </a:lnTo>
                  <a:lnTo>
                    <a:pt x="822" y="834"/>
                  </a:lnTo>
                  <a:cubicBezTo>
                    <a:pt x="381" y="834"/>
                    <a:pt x="0" y="1203"/>
                    <a:pt x="0" y="1656"/>
                  </a:cubicBezTo>
                  <a:lnTo>
                    <a:pt x="0" y="9954"/>
                  </a:lnTo>
                  <a:cubicBezTo>
                    <a:pt x="0" y="10395"/>
                    <a:pt x="381" y="10776"/>
                    <a:pt x="822" y="10776"/>
                  </a:cubicBezTo>
                  <a:lnTo>
                    <a:pt x="12442" y="10776"/>
                  </a:lnTo>
                  <a:cubicBezTo>
                    <a:pt x="12895" y="10776"/>
                    <a:pt x="13264" y="10395"/>
                    <a:pt x="13264" y="9954"/>
                  </a:cubicBezTo>
                  <a:lnTo>
                    <a:pt x="13264" y="1656"/>
                  </a:lnTo>
                  <a:cubicBezTo>
                    <a:pt x="13276" y="1203"/>
                    <a:pt x="12907" y="834"/>
                    <a:pt x="12466" y="834"/>
                  </a:cubicBezTo>
                  <a:lnTo>
                    <a:pt x="12026" y="834"/>
                  </a:lnTo>
                  <a:lnTo>
                    <a:pt x="12026" y="406"/>
                  </a:lnTo>
                  <a:cubicBezTo>
                    <a:pt x="12026" y="179"/>
                    <a:pt x="11847" y="1"/>
                    <a:pt x="11621" y="1"/>
                  </a:cubicBezTo>
                  <a:lnTo>
                    <a:pt x="11216" y="1"/>
                  </a:lnTo>
                  <a:cubicBezTo>
                    <a:pt x="10990" y="1"/>
                    <a:pt x="10811" y="179"/>
                    <a:pt x="10811" y="406"/>
                  </a:cubicBezTo>
                  <a:lnTo>
                    <a:pt x="10811" y="834"/>
                  </a:lnTo>
                  <a:lnTo>
                    <a:pt x="2477" y="834"/>
                  </a:lnTo>
                  <a:lnTo>
                    <a:pt x="2477" y="406"/>
                  </a:lnTo>
                  <a:cubicBezTo>
                    <a:pt x="2477" y="179"/>
                    <a:pt x="2298"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7" name="Google Shape;11297;p60"/>
            <p:cNvSpPr/>
            <p:nvPr/>
          </p:nvSpPr>
          <p:spPr>
            <a:xfrm>
              <a:off x="2193085" y="3877387"/>
              <a:ext cx="368753" cy="12158"/>
            </a:xfrm>
            <a:custGeom>
              <a:avLst/>
              <a:gdLst/>
              <a:ahLst/>
              <a:cxnLst/>
              <a:rect l="l" t="t" r="r" b="b"/>
              <a:pathLst>
                <a:path w="11586" h="382" extrusionOk="0">
                  <a:moveTo>
                    <a:pt x="191" y="0"/>
                  </a:moveTo>
                  <a:cubicBezTo>
                    <a:pt x="84" y="0"/>
                    <a:pt x="1" y="84"/>
                    <a:pt x="1" y="191"/>
                  </a:cubicBezTo>
                  <a:cubicBezTo>
                    <a:pt x="1" y="298"/>
                    <a:pt x="84" y="381"/>
                    <a:pt x="191" y="381"/>
                  </a:cubicBezTo>
                  <a:lnTo>
                    <a:pt x="11395" y="381"/>
                  </a:lnTo>
                  <a:cubicBezTo>
                    <a:pt x="11502" y="381"/>
                    <a:pt x="11585" y="298"/>
                    <a:pt x="11585" y="191"/>
                  </a:cubicBezTo>
                  <a:cubicBezTo>
                    <a:pt x="11585" y="84"/>
                    <a:pt x="11502" y="0"/>
                    <a:pt x="11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8" name="Google Shape;11298;p60"/>
            <p:cNvSpPr/>
            <p:nvPr/>
          </p:nvSpPr>
          <p:spPr>
            <a:xfrm>
              <a:off x="2212404" y="3930062"/>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9" name="Google Shape;11299;p60"/>
            <p:cNvSpPr/>
            <p:nvPr/>
          </p:nvSpPr>
          <p:spPr>
            <a:xfrm>
              <a:off x="2305245" y="3930062"/>
              <a:ext cx="51974" cy="12158"/>
            </a:xfrm>
            <a:custGeom>
              <a:avLst/>
              <a:gdLst/>
              <a:ahLst/>
              <a:cxnLst/>
              <a:rect l="l" t="t" r="r" b="b"/>
              <a:pathLst>
                <a:path w="1633"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0" name="Google Shape;11300;p60"/>
            <p:cNvSpPr/>
            <p:nvPr/>
          </p:nvSpPr>
          <p:spPr>
            <a:xfrm>
              <a:off x="2489813" y="3930062"/>
              <a:ext cx="52324" cy="12158"/>
            </a:xfrm>
            <a:custGeom>
              <a:avLst/>
              <a:gdLst/>
              <a:ahLst/>
              <a:cxnLst/>
              <a:rect l="l" t="t" r="r" b="b"/>
              <a:pathLst>
                <a:path w="1644" h="382" extrusionOk="0">
                  <a:moveTo>
                    <a:pt x="203" y="0"/>
                  </a:moveTo>
                  <a:cubicBezTo>
                    <a:pt x="95" y="0"/>
                    <a:pt x="0" y="84"/>
                    <a:pt x="0" y="191"/>
                  </a:cubicBezTo>
                  <a:cubicBezTo>
                    <a:pt x="0" y="298"/>
                    <a:pt x="95" y="381"/>
                    <a:pt x="203" y="381"/>
                  </a:cubicBezTo>
                  <a:lnTo>
                    <a:pt x="1441" y="381"/>
                  </a:lnTo>
                  <a:cubicBezTo>
                    <a:pt x="1548" y="381"/>
                    <a:pt x="1643" y="286"/>
                    <a:pt x="1643" y="191"/>
                  </a:cubicBezTo>
                  <a:cubicBezTo>
                    <a:pt x="1643" y="84"/>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1" name="Google Shape;11301;p60"/>
            <p:cNvSpPr/>
            <p:nvPr/>
          </p:nvSpPr>
          <p:spPr>
            <a:xfrm>
              <a:off x="2212404" y="3983118"/>
              <a:ext cx="51942" cy="12158"/>
            </a:xfrm>
            <a:custGeom>
              <a:avLst/>
              <a:gdLst/>
              <a:ahLst/>
              <a:cxnLst/>
              <a:rect l="l" t="t" r="r" b="b"/>
              <a:pathLst>
                <a:path w="1632" h="382" extrusionOk="0">
                  <a:moveTo>
                    <a:pt x="191" y="0"/>
                  </a:moveTo>
                  <a:cubicBezTo>
                    <a:pt x="84" y="0"/>
                    <a:pt x="1" y="84"/>
                    <a:pt x="1" y="191"/>
                  </a:cubicBezTo>
                  <a:cubicBezTo>
                    <a:pt x="1" y="298"/>
                    <a:pt x="84" y="381"/>
                    <a:pt x="191" y="381"/>
                  </a:cubicBezTo>
                  <a:lnTo>
                    <a:pt x="1442" y="381"/>
                  </a:lnTo>
                  <a:cubicBezTo>
                    <a:pt x="1549" y="381"/>
                    <a:pt x="1632" y="286"/>
                    <a:pt x="1632" y="191"/>
                  </a:cubicBezTo>
                  <a:cubicBezTo>
                    <a:pt x="1632" y="84"/>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2" name="Google Shape;11302;p60"/>
            <p:cNvSpPr/>
            <p:nvPr/>
          </p:nvSpPr>
          <p:spPr>
            <a:xfrm>
              <a:off x="2397736" y="3983118"/>
              <a:ext cx="51942" cy="12158"/>
            </a:xfrm>
            <a:custGeom>
              <a:avLst/>
              <a:gdLst/>
              <a:ahLst/>
              <a:cxnLst/>
              <a:rect l="l" t="t" r="r" b="b"/>
              <a:pathLst>
                <a:path w="1632" h="382" extrusionOk="0">
                  <a:moveTo>
                    <a:pt x="191" y="0"/>
                  </a:moveTo>
                  <a:cubicBezTo>
                    <a:pt x="83" y="0"/>
                    <a:pt x="0" y="84"/>
                    <a:pt x="0" y="191"/>
                  </a:cubicBezTo>
                  <a:cubicBezTo>
                    <a:pt x="0" y="298"/>
                    <a:pt x="83" y="381"/>
                    <a:pt x="191" y="381"/>
                  </a:cubicBezTo>
                  <a:lnTo>
                    <a:pt x="1441" y="381"/>
                  </a:lnTo>
                  <a:cubicBezTo>
                    <a:pt x="1548" y="381"/>
                    <a:pt x="1631" y="286"/>
                    <a:pt x="1631" y="191"/>
                  </a:cubicBezTo>
                  <a:cubicBezTo>
                    <a:pt x="1631" y="84"/>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3" name="Google Shape;11303;p60"/>
            <p:cNvSpPr/>
            <p:nvPr/>
          </p:nvSpPr>
          <p:spPr>
            <a:xfrm>
              <a:off x="2212404" y="4036175"/>
              <a:ext cx="51942" cy="12158"/>
            </a:xfrm>
            <a:custGeom>
              <a:avLst/>
              <a:gdLst/>
              <a:ahLst/>
              <a:cxnLst/>
              <a:rect l="l" t="t" r="r" b="b"/>
              <a:pathLst>
                <a:path w="1632"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61"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4" name="Google Shape;11304;p60"/>
            <p:cNvSpPr/>
            <p:nvPr/>
          </p:nvSpPr>
          <p:spPr>
            <a:xfrm>
              <a:off x="2305245" y="4036175"/>
              <a:ext cx="51974" cy="12158"/>
            </a:xfrm>
            <a:custGeom>
              <a:avLst/>
              <a:gdLst/>
              <a:ahLst/>
              <a:cxnLst/>
              <a:rect l="l" t="t" r="r" b="b"/>
              <a:pathLst>
                <a:path w="1633" h="382" extrusionOk="0">
                  <a:moveTo>
                    <a:pt x="191" y="0"/>
                  </a:moveTo>
                  <a:cubicBezTo>
                    <a:pt x="84" y="0"/>
                    <a:pt x="1" y="83"/>
                    <a:pt x="1" y="191"/>
                  </a:cubicBezTo>
                  <a:cubicBezTo>
                    <a:pt x="1" y="298"/>
                    <a:pt x="84" y="381"/>
                    <a:pt x="191" y="381"/>
                  </a:cubicBezTo>
                  <a:lnTo>
                    <a:pt x="1442" y="381"/>
                  </a:lnTo>
                  <a:cubicBezTo>
                    <a:pt x="1549" y="381"/>
                    <a:pt x="1632" y="298"/>
                    <a:pt x="1632" y="191"/>
                  </a:cubicBezTo>
                  <a:cubicBezTo>
                    <a:pt x="1632" y="83"/>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5" name="Google Shape;11305;p60"/>
            <p:cNvSpPr/>
            <p:nvPr/>
          </p:nvSpPr>
          <p:spPr>
            <a:xfrm>
              <a:off x="2489813" y="4036175"/>
              <a:ext cx="52324" cy="12158"/>
            </a:xfrm>
            <a:custGeom>
              <a:avLst/>
              <a:gdLst/>
              <a:ahLst/>
              <a:cxnLst/>
              <a:rect l="l" t="t" r="r" b="b"/>
              <a:pathLst>
                <a:path w="1644" h="382" extrusionOk="0">
                  <a:moveTo>
                    <a:pt x="203" y="0"/>
                  </a:moveTo>
                  <a:cubicBezTo>
                    <a:pt x="95" y="0"/>
                    <a:pt x="0" y="83"/>
                    <a:pt x="0" y="191"/>
                  </a:cubicBezTo>
                  <a:cubicBezTo>
                    <a:pt x="0" y="298"/>
                    <a:pt x="95" y="381"/>
                    <a:pt x="203" y="381"/>
                  </a:cubicBezTo>
                  <a:lnTo>
                    <a:pt x="1441" y="381"/>
                  </a:lnTo>
                  <a:cubicBezTo>
                    <a:pt x="1548" y="381"/>
                    <a:pt x="1643" y="298"/>
                    <a:pt x="1643" y="191"/>
                  </a:cubicBezTo>
                  <a:cubicBezTo>
                    <a:pt x="1643" y="83"/>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6" name="Google Shape;11306;p60"/>
            <p:cNvSpPr/>
            <p:nvPr/>
          </p:nvSpPr>
          <p:spPr>
            <a:xfrm>
              <a:off x="2305245" y="4088467"/>
              <a:ext cx="51974" cy="12540"/>
            </a:xfrm>
            <a:custGeom>
              <a:avLst/>
              <a:gdLst/>
              <a:ahLst/>
              <a:cxnLst/>
              <a:rect l="l" t="t" r="r" b="b"/>
              <a:pathLst>
                <a:path w="1633" h="394" extrusionOk="0">
                  <a:moveTo>
                    <a:pt x="191" y="0"/>
                  </a:moveTo>
                  <a:cubicBezTo>
                    <a:pt x="84" y="0"/>
                    <a:pt x="1" y="95"/>
                    <a:pt x="1" y="191"/>
                  </a:cubicBezTo>
                  <a:cubicBezTo>
                    <a:pt x="1" y="298"/>
                    <a:pt x="84" y="393"/>
                    <a:pt x="191" y="393"/>
                  </a:cubicBezTo>
                  <a:lnTo>
                    <a:pt x="1442" y="393"/>
                  </a:lnTo>
                  <a:cubicBezTo>
                    <a:pt x="1549" y="393"/>
                    <a:pt x="1632" y="298"/>
                    <a:pt x="1632" y="191"/>
                  </a:cubicBezTo>
                  <a:cubicBezTo>
                    <a:pt x="1632" y="95"/>
                    <a:pt x="1549"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7" name="Google Shape;11307;p60"/>
            <p:cNvSpPr/>
            <p:nvPr/>
          </p:nvSpPr>
          <p:spPr>
            <a:xfrm>
              <a:off x="2397736" y="4088467"/>
              <a:ext cx="51942" cy="12540"/>
            </a:xfrm>
            <a:custGeom>
              <a:avLst/>
              <a:gdLst/>
              <a:ahLst/>
              <a:cxnLst/>
              <a:rect l="l" t="t" r="r" b="b"/>
              <a:pathLst>
                <a:path w="1632" h="394" extrusionOk="0">
                  <a:moveTo>
                    <a:pt x="191" y="0"/>
                  </a:moveTo>
                  <a:cubicBezTo>
                    <a:pt x="83" y="0"/>
                    <a:pt x="0" y="95"/>
                    <a:pt x="0" y="191"/>
                  </a:cubicBezTo>
                  <a:cubicBezTo>
                    <a:pt x="0" y="298"/>
                    <a:pt x="83" y="393"/>
                    <a:pt x="191" y="393"/>
                  </a:cubicBezTo>
                  <a:lnTo>
                    <a:pt x="1441" y="393"/>
                  </a:lnTo>
                  <a:cubicBezTo>
                    <a:pt x="1548" y="393"/>
                    <a:pt x="1631" y="298"/>
                    <a:pt x="1631" y="191"/>
                  </a:cubicBezTo>
                  <a:cubicBezTo>
                    <a:pt x="1631" y="95"/>
                    <a:pt x="1548"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8" name="Google Shape;11308;p60"/>
            <p:cNvSpPr/>
            <p:nvPr/>
          </p:nvSpPr>
          <p:spPr>
            <a:xfrm>
              <a:off x="2489813" y="4088467"/>
              <a:ext cx="52324" cy="12540"/>
            </a:xfrm>
            <a:custGeom>
              <a:avLst/>
              <a:gdLst/>
              <a:ahLst/>
              <a:cxnLst/>
              <a:rect l="l" t="t" r="r" b="b"/>
              <a:pathLst>
                <a:path w="1644" h="394" extrusionOk="0">
                  <a:moveTo>
                    <a:pt x="203" y="0"/>
                  </a:moveTo>
                  <a:cubicBezTo>
                    <a:pt x="95" y="0"/>
                    <a:pt x="0" y="95"/>
                    <a:pt x="0" y="191"/>
                  </a:cubicBezTo>
                  <a:cubicBezTo>
                    <a:pt x="0" y="298"/>
                    <a:pt x="95" y="393"/>
                    <a:pt x="203" y="393"/>
                  </a:cubicBezTo>
                  <a:lnTo>
                    <a:pt x="1441" y="393"/>
                  </a:lnTo>
                  <a:cubicBezTo>
                    <a:pt x="1548" y="393"/>
                    <a:pt x="1643" y="298"/>
                    <a:pt x="1643" y="191"/>
                  </a:cubicBezTo>
                  <a:cubicBezTo>
                    <a:pt x="1643" y="95"/>
                    <a:pt x="1572"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09" name="Google Shape;11309;p60"/>
            <p:cNvSpPr/>
            <p:nvPr/>
          </p:nvSpPr>
          <p:spPr>
            <a:xfrm>
              <a:off x="2304863" y="3969751"/>
              <a:ext cx="53088" cy="38766"/>
            </a:xfrm>
            <a:custGeom>
              <a:avLst/>
              <a:gdLst/>
              <a:ahLst/>
              <a:cxnLst/>
              <a:rect l="l" t="t" r="r" b="b"/>
              <a:pathLst>
                <a:path w="1668" h="1218" extrusionOk="0">
                  <a:moveTo>
                    <a:pt x="1454" y="1"/>
                  </a:moveTo>
                  <a:cubicBezTo>
                    <a:pt x="1406" y="1"/>
                    <a:pt x="1358" y="21"/>
                    <a:pt x="1323" y="63"/>
                  </a:cubicBezTo>
                  <a:lnTo>
                    <a:pt x="620" y="754"/>
                  </a:lnTo>
                  <a:lnTo>
                    <a:pt x="334" y="480"/>
                  </a:lnTo>
                  <a:cubicBezTo>
                    <a:pt x="299" y="438"/>
                    <a:pt x="251" y="417"/>
                    <a:pt x="203" y="417"/>
                  </a:cubicBezTo>
                  <a:cubicBezTo>
                    <a:pt x="156" y="417"/>
                    <a:pt x="108" y="438"/>
                    <a:pt x="72" y="480"/>
                  </a:cubicBezTo>
                  <a:cubicBezTo>
                    <a:pt x="1" y="551"/>
                    <a:pt x="1" y="670"/>
                    <a:pt x="72" y="742"/>
                  </a:cubicBezTo>
                  <a:lnTo>
                    <a:pt x="489" y="1158"/>
                  </a:lnTo>
                  <a:cubicBezTo>
                    <a:pt x="513" y="1194"/>
                    <a:pt x="572" y="1218"/>
                    <a:pt x="620" y="1218"/>
                  </a:cubicBezTo>
                  <a:cubicBezTo>
                    <a:pt x="668" y="1218"/>
                    <a:pt x="727" y="1206"/>
                    <a:pt x="751" y="1158"/>
                  </a:cubicBezTo>
                  <a:lnTo>
                    <a:pt x="1585" y="325"/>
                  </a:lnTo>
                  <a:cubicBezTo>
                    <a:pt x="1668" y="254"/>
                    <a:pt x="1668" y="134"/>
                    <a:pt x="1585" y="63"/>
                  </a:cubicBezTo>
                  <a:cubicBezTo>
                    <a:pt x="1549" y="21"/>
                    <a:pt x="1501" y="1"/>
                    <a:pt x="1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0" name="Google Shape;11310;p60"/>
            <p:cNvSpPr/>
            <p:nvPr/>
          </p:nvSpPr>
          <p:spPr>
            <a:xfrm>
              <a:off x="2489813" y="3969751"/>
              <a:ext cx="53088" cy="38766"/>
            </a:xfrm>
            <a:custGeom>
              <a:avLst/>
              <a:gdLst/>
              <a:ahLst/>
              <a:cxnLst/>
              <a:rect l="l" t="t" r="r" b="b"/>
              <a:pathLst>
                <a:path w="1668" h="1218" extrusionOk="0">
                  <a:moveTo>
                    <a:pt x="1465" y="1"/>
                  </a:moveTo>
                  <a:cubicBezTo>
                    <a:pt x="1417" y="1"/>
                    <a:pt x="1369" y="21"/>
                    <a:pt x="1334" y="63"/>
                  </a:cubicBezTo>
                  <a:lnTo>
                    <a:pt x="631" y="754"/>
                  </a:lnTo>
                  <a:lnTo>
                    <a:pt x="346" y="480"/>
                  </a:lnTo>
                  <a:cubicBezTo>
                    <a:pt x="310" y="438"/>
                    <a:pt x="262" y="417"/>
                    <a:pt x="215" y="417"/>
                  </a:cubicBezTo>
                  <a:cubicBezTo>
                    <a:pt x="167" y="417"/>
                    <a:pt x="119" y="438"/>
                    <a:pt x="84" y="480"/>
                  </a:cubicBezTo>
                  <a:cubicBezTo>
                    <a:pt x="0" y="551"/>
                    <a:pt x="0" y="670"/>
                    <a:pt x="84" y="742"/>
                  </a:cubicBezTo>
                  <a:lnTo>
                    <a:pt x="500" y="1158"/>
                  </a:lnTo>
                  <a:cubicBezTo>
                    <a:pt x="524" y="1194"/>
                    <a:pt x="584" y="1218"/>
                    <a:pt x="631" y="1218"/>
                  </a:cubicBezTo>
                  <a:cubicBezTo>
                    <a:pt x="667" y="1218"/>
                    <a:pt x="738" y="1206"/>
                    <a:pt x="762" y="1158"/>
                  </a:cubicBezTo>
                  <a:lnTo>
                    <a:pt x="1596" y="325"/>
                  </a:lnTo>
                  <a:cubicBezTo>
                    <a:pt x="1667" y="254"/>
                    <a:pt x="1667" y="134"/>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1" name="Google Shape;11311;p60"/>
            <p:cNvSpPr/>
            <p:nvPr/>
          </p:nvSpPr>
          <p:spPr>
            <a:xfrm>
              <a:off x="2396972" y="4022807"/>
              <a:ext cx="53088" cy="38766"/>
            </a:xfrm>
            <a:custGeom>
              <a:avLst/>
              <a:gdLst/>
              <a:ahLst/>
              <a:cxnLst/>
              <a:rect l="l" t="t" r="r" b="b"/>
              <a:pathLst>
                <a:path w="1668" h="1218" extrusionOk="0">
                  <a:moveTo>
                    <a:pt x="1465" y="0"/>
                  </a:moveTo>
                  <a:cubicBezTo>
                    <a:pt x="1417" y="0"/>
                    <a:pt x="1369" y="21"/>
                    <a:pt x="1334" y="63"/>
                  </a:cubicBezTo>
                  <a:lnTo>
                    <a:pt x="631" y="753"/>
                  </a:lnTo>
                  <a:lnTo>
                    <a:pt x="345" y="480"/>
                  </a:lnTo>
                  <a:cubicBezTo>
                    <a:pt x="310" y="438"/>
                    <a:pt x="262" y="417"/>
                    <a:pt x="215" y="417"/>
                  </a:cubicBezTo>
                  <a:cubicBezTo>
                    <a:pt x="167" y="417"/>
                    <a:pt x="119" y="438"/>
                    <a:pt x="84" y="480"/>
                  </a:cubicBezTo>
                  <a:cubicBezTo>
                    <a:pt x="0" y="551"/>
                    <a:pt x="0" y="670"/>
                    <a:pt x="84" y="742"/>
                  </a:cubicBezTo>
                  <a:lnTo>
                    <a:pt x="500" y="1158"/>
                  </a:lnTo>
                  <a:cubicBezTo>
                    <a:pt x="536" y="1206"/>
                    <a:pt x="584" y="1218"/>
                    <a:pt x="631" y="1218"/>
                  </a:cubicBezTo>
                  <a:cubicBezTo>
                    <a:pt x="667" y="1218"/>
                    <a:pt x="738" y="1206"/>
                    <a:pt x="762" y="1158"/>
                  </a:cubicBezTo>
                  <a:lnTo>
                    <a:pt x="1596" y="325"/>
                  </a:lnTo>
                  <a:cubicBezTo>
                    <a:pt x="1667" y="253"/>
                    <a:pt x="1667" y="134"/>
                    <a:pt x="1596" y="63"/>
                  </a:cubicBezTo>
                  <a:cubicBezTo>
                    <a:pt x="1560" y="21"/>
                    <a:pt x="1512" y="0"/>
                    <a:pt x="1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2" name="Google Shape;11312;p60"/>
            <p:cNvSpPr/>
            <p:nvPr/>
          </p:nvSpPr>
          <p:spPr>
            <a:xfrm>
              <a:off x="2212404" y="4075386"/>
              <a:ext cx="53088" cy="38861"/>
            </a:xfrm>
            <a:custGeom>
              <a:avLst/>
              <a:gdLst/>
              <a:ahLst/>
              <a:cxnLst/>
              <a:rect l="l" t="t" r="r" b="b"/>
              <a:pathLst>
                <a:path w="1668" h="1221" extrusionOk="0">
                  <a:moveTo>
                    <a:pt x="1455" y="0"/>
                  </a:moveTo>
                  <a:cubicBezTo>
                    <a:pt x="1406" y="0"/>
                    <a:pt x="1358" y="18"/>
                    <a:pt x="1322" y="54"/>
                  </a:cubicBezTo>
                  <a:lnTo>
                    <a:pt x="620" y="756"/>
                  </a:lnTo>
                  <a:lnTo>
                    <a:pt x="346" y="471"/>
                  </a:lnTo>
                  <a:cubicBezTo>
                    <a:pt x="304" y="435"/>
                    <a:pt x="254" y="417"/>
                    <a:pt x="205" y="417"/>
                  </a:cubicBezTo>
                  <a:cubicBezTo>
                    <a:pt x="156" y="417"/>
                    <a:pt x="108" y="435"/>
                    <a:pt x="72" y="471"/>
                  </a:cubicBezTo>
                  <a:cubicBezTo>
                    <a:pt x="1" y="554"/>
                    <a:pt x="1" y="673"/>
                    <a:pt x="72" y="745"/>
                  </a:cubicBezTo>
                  <a:lnTo>
                    <a:pt x="489" y="1161"/>
                  </a:lnTo>
                  <a:cubicBezTo>
                    <a:pt x="537" y="1197"/>
                    <a:pt x="584" y="1221"/>
                    <a:pt x="620" y="1221"/>
                  </a:cubicBezTo>
                  <a:cubicBezTo>
                    <a:pt x="668" y="1221"/>
                    <a:pt x="727" y="1197"/>
                    <a:pt x="763" y="1161"/>
                  </a:cubicBezTo>
                  <a:lnTo>
                    <a:pt x="1596" y="328"/>
                  </a:lnTo>
                  <a:cubicBezTo>
                    <a:pt x="1668" y="268"/>
                    <a:pt x="1668" y="137"/>
                    <a:pt x="1596" y="54"/>
                  </a:cubicBezTo>
                  <a:cubicBezTo>
                    <a:pt x="1555" y="18"/>
                    <a:pt x="1504" y="0"/>
                    <a:pt x="14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3" name="Google Shape;11313;p60"/>
            <p:cNvSpPr/>
            <p:nvPr/>
          </p:nvSpPr>
          <p:spPr>
            <a:xfrm>
              <a:off x="2396972" y="3916694"/>
              <a:ext cx="53088" cy="38798"/>
            </a:xfrm>
            <a:custGeom>
              <a:avLst/>
              <a:gdLst/>
              <a:ahLst/>
              <a:cxnLst/>
              <a:rect l="l" t="t" r="r" b="b"/>
              <a:pathLst>
                <a:path w="1668" h="1219" extrusionOk="0">
                  <a:moveTo>
                    <a:pt x="1465" y="1"/>
                  </a:moveTo>
                  <a:cubicBezTo>
                    <a:pt x="1417" y="1"/>
                    <a:pt x="1369" y="21"/>
                    <a:pt x="1334" y="63"/>
                  </a:cubicBezTo>
                  <a:lnTo>
                    <a:pt x="631" y="754"/>
                  </a:lnTo>
                  <a:lnTo>
                    <a:pt x="345" y="480"/>
                  </a:lnTo>
                  <a:cubicBezTo>
                    <a:pt x="310" y="438"/>
                    <a:pt x="262" y="417"/>
                    <a:pt x="215" y="417"/>
                  </a:cubicBezTo>
                  <a:cubicBezTo>
                    <a:pt x="167" y="417"/>
                    <a:pt x="119" y="438"/>
                    <a:pt x="84" y="480"/>
                  </a:cubicBezTo>
                  <a:cubicBezTo>
                    <a:pt x="0" y="551"/>
                    <a:pt x="0" y="670"/>
                    <a:pt x="84" y="742"/>
                  </a:cubicBezTo>
                  <a:lnTo>
                    <a:pt x="500" y="1159"/>
                  </a:lnTo>
                  <a:cubicBezTo>
                    <a:pt x="536" y="1206"/>
                    <a:pt x="584" y="1218"/>
                    <a:pt x="631" y="1218"/>
                  </a:cubicBezTo>
                  <a:cubicBezTo>
                    <a:pt x="667" y="1218"/>
                    <a:pt x="738" y="1206"/>
                    <a:pt x="762" y="1159"/>
                  </a:cubicBezTo>
                  <a:lnTo>
                    <a:pt x="1596" y="325"/>
                  </a:lnTo>
                  <a:cubicBezTo>
                    <a:pt x="1667" y="266"/>
                    <a:pt x="1667" y="135"/>
                    <a:pt x="1596" y="63"/>
                  </a:cubicBezTo>
                  <a:cubicBezTo>
                    <a:pt x="1560" y="21"/>
                    <a:pt x="1512"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14" name="Google Shape;11314;p60"/>
          <p:cNvSpPr/>
          <p:nvPr/>
        </p:nvSpPr>
        <p:spPr>
          <a:xfrm>
            <a:off x="6217513" y="3397651"/>
            <a:ext cx="347524" cy="289917"/>
          </a:xfrm>
          <a:custGeom>
            <a:avLst/>
            <a:gdLst/>
            <a:ahLst/>
            <a:cxnLst/>
            <a:rect l="l" t="t" r="r" b="b"/>
            <a:pathLst>
              <a:path w="10919" h="9109" extrusionOk="0">
                <a:moveTo>
                  <a:pt x="2917" y="310"/>
                </a:moveTo>
                <a:cubicBezTo>
                  <a:pt x="3119" y="310"/>
                  <a:pt x="3286" y="476"/>
                  <a:pt x="3286" y="679"/>
                </a:cubicBezTo>
                <a:lnTo>
                  <a:pt x="3286" y="1036"/>
                </a:lnTo>
                <a:cubicBezTo>
                  <a:pt x="3250" y="1322"/>
                  <a:pt x="3012" y="1560"/>
                  <a:pt x="2715" y="1560"/>
                </a:cubicBezTo>
                <a:cubicBezTo>
                  <a:pt x="2417" y="1560"/>
                  <a:pt x="2179" y="1322"/>
                  <a:pt x="2179" y="1024"/>
                </a:cubicBezTo>
                <a:lnTo>
                  <a:pt x="2179" y="679"/>
                </a:lnTo>
                <a:cubicBezTo>
                  <a:pt x="2179" y="476"/>
                  <a:pt x="2346" y="310"/>
                  <a:pt x="2560" y="310"/>
                </a:cubicBezTo>
                <a:close/>
                <a:moveTo>
                  <a:pt x="5715" y="310"/>
                </a:moveTo>
                <a:cubicBezTo>
                  <a:pt x="5917" y="310"/>
                  <a:pt x="6084" y="476"/>
                  <a:pt x="6084" y="679"/>
                </a:cubicBezTo>
                <a:lnTo>
                  <a:pt x="6084" y="1036"/>
                </a:lnTo>
                <a:cubicBezTo>
                  <a:pt x="6048" y="1322"/>
                  <a:pt x="5810" y="1560"/>
                  <a:pt x="5513" y="1560"/>
                </a:cubicBezTo>
                <a:cubicBezTo>
                  <a:pt x="5215" y="1560"/>
                  <a:pt x="4977" y="1322"/>
                  <a:pt x="4977" y="1024"/>
                </a:cubicBezTo>
                <a:lnTo>
                  <a:pt x="4977" y="679"/>
                </a:lnTo>
                <a:cubicBezTo>
                  <a:pt x="4977" y="476"/>
                  <a:pt x="5144" y="310"/>
                  <a:pt x="5358" y="310"/>
                </a:cubicBezTo>
                <a:close/>
                <a:moveTo>
                  <a:pt x="8513" y="310"/>
                </a:moveTo>
                <a:cubicBezTo>
                  <a:pt x="8715" y="310"/>
                  <a:pt x="8882" y="476"/>
                  <a:pt x="8882" y="679"/>
                </a:cubicBezTo>
                <a:lnTo>
                  <a:pt x="8882" y="1036"/>
                </a:lnTo>
                <a:cubicBezTo>
                  <a:pt x="8846" y="1322"/>
                  <a:pt x="8608" y="1560"/>
                  <a:pt x="8311" y="1560"/>
                </a:cubicBezTo>
                <a:cubicBezTo>
                  <a:pt x="8013" y="1560"/>
                  <a:pt x="7775" y="1322"/>
                  <a:pt x="7775" y="1024"/>
                </a:cubicBezTo>
                <a:lnTo>
                  <a:pt x="7775" y="679"/>
                </a:lnTo>
                <a:cubicBezTo>
                  <a:pt x="7775" y="476"/>
                  <a:pt x="7941" y="310"/>
                  <a:pt x="8156" y="310"/>
                </a:cubicBezTo>
                <a:close/>
                <a:moveTo>
                  <a:pt x="2893" y="1881"/>
                </a:moveTo>
                <a:lnTo>
                  <a:pt x="2893" y="1977"/>
                </a:lnTo>
                <a:cubicBezTo>
                  <a:pt x="2893" y="2036"/>
                  <a:pt x="2905" y="2096"/>
                  <a:pt x="2941" y="2143"/>
                </a:cubicBezTo>
                <a:lnTo>
                  <a:pt x="2715" y="2358"/>
                </a:lnTo>
                <a:lnTo>
                  <a:pt x="2691" y="2358"/>
                </a:lnTo>
                <a:lnTo>
                  <a:pt x="2465" y="2143"/>
                </a:lnTo>
                <a:cubicBezTo>
                  <a:pt x="2500" y="2096"/>
                  <a:pt x="2512" y="2036"/>
                  <a:pt x="2512" y="1977"/>
                </a:cubicBezTo>
                <a:lnTo>
                  <a:pt x="2512" y="1881"/>
                </a:lnTo>
                <a:close/>
                <a:moveTo>
                  <a:pt x="5715" y="1881"/>
                </a:moveTo>
                <a:lnTo>
                  <a:pt x="5715" y="1977"/>
                </a:lnTo>
                <a:cubicBezTo>
                  <a:pt x="5715" y="2036"/>
                  <a:pt x="5727" y="2096"/>
                  <a:pt x="5751" y="2143"/>
                </a:cubicBezTo>
                <a:lnTo>
                  <a:pt x="5536" y="2358"/>
                </a:lnTo>
                <a:lnTo>
                  <a:pt x="5501" y="2358"/>
                </a:lnTo>
                <a:lnTo>
                  <a:pt x="5274" y="2143"/>
                </a:lnTo>
                <a:cubicBezTo>
                  <a:pt x="5310" y="2096"/>
                  <a:pt x="5322" y="2036"/>
                  <a:pt x="5322" y="1977"/>
                </a:cubicBezTo>
                <a:lnTo>
                  <a:pt x="5322" y="1881"/>
                </a:lnTo>
                <a:close/>
                <a:moveTo>
                  <a:pt x="8501" y="1881"/>
                </a:moveTo>
                <a:lnTo>
                  <a:pt x="8501" y="1977"/>
                </a:lnTo>
                <a:cubicBezTo>
                  <a:pt x="8501" y="2036"/>
                  <a:pt x="8525" y="2096"/>
                  <a:pt x="8549" y="2143"/>
                </a:cubicBezTo>
                <a:lnTo>
                  <a:pt x="8334" y="2358"/>
                </a:lnTo>
                <a:lnTo>
                  <a:pt x="8299" y="2358"/>
                </a:lnTo>
                <a:lnTo>
                  <a:pt x="8072" y="2143"/>
                </a:lnTo>
                <a:cubicBezTo>
                  <a:pt x="8108" y="2096"/>
                  <a:pt x="8120" y="2036"/>
                  <a:pt x="8120" y="1977"/>
                </a:cubicBezTo>
                <a:lnTo>
                  <a:pt x="8120" y="1881"/>
                </a:lnTo>
                <a:close/>
                <a:moveTo>
                  <a:pt x="9906" y="3286"/>
                </a:moveTo>
                <a:cubicBezTo>
                  <a:pt x="10120" y="3286"/>
                  <a:pt x="10275" y="3453"/>
                  <a:pt x="10275" y="3655"/>
                </a:cubicBezTo>
                <a:lnTo>
                  <a:pt x="10275" y="4012"/>
                </a:lnTo>
                <a:cubicBezTo>
                  <a:pt x="10263" y="4298"/>
                  <a:pt x="10013" y="4536"/>
                  <a:pt x="9716" y="4536"/>
                </a:cubicBezTo>
                <a:cubicBezTo>
                  <a:pt x="9418" y="4536"/>
                  <a:pt x="9180" y="4298"/>
                  <a:pt x="9180" y="4001"/>
                </a:cubicBezTo>
                <a:lnTo>
                  <a:pt x="9180" y="3655"/>
                </a:lnTo>
                <a:cubicBezTo>
                  <a:pt x="9180" y="3453"/>
                  <a:pt x="9346" y="3286"/>
                  <a:pt x="9549" y="3286"/>
                </a:cubicBezTo>
                <a:close/>
                <a:moveTo>
                  <a:pt x="1512" y="3286"/>
                </a:moveTo>
                <a:cubicBezTo>
                  <a:pt x="1691" y="3286"/>
                  <a:pt x="1857" y="3453"/>
                  <a:pt x="1857" y="3655"/>
                </a:cubicBezTo>
                <a:lnTo>
                  <a:pt x="1857" y="4012"/>
                </a:lnTo>
                <a:cubicBezTo>
                  <a:pt x="1857" y="4310"/>
                  <a:pt x="1619" y="4548"/>
                  <a:pt x="1322" y="4548"/>
                </a:cubicBezTo>
                <a:cubicBezTo>
                  <a:pt x="1024" y="4548"/>
                  <a:pt x="786" y="4310"/>
                  <a:pt x="786" y="4012"/>
                </a:cubicBezTo>
                <a:lnTo>
                  <a:pt x="786" y="3655"/>
                </a:lnTo>
                <a:cubicBezTo>
                  <a:pt x="786" y="3453"/>
                  <a:pt x="953" y="3286"/>
                  <a:pt x="1155" y="3286"/>
                </a:cubicBezTo>
                <a:close/>
                <a:moveTo>
                  <a:pt x="4310" y="3286"/>
                </a:moveTo>
                <a:cubicBezTo>
                  <a:pt x="4489" y="3286"/>
                  <a:pt x="4655" y="3453"/>
                  <a:pt x="4655" y="3655"/>
                </a:cubicBezTo>
                <a:lnTo>
                  <a:pt x="4655" y="4012"/>
                </a:lnTo>
                <a:cubicBezTo>
                  <a:pt x="4655" y="4310"/>
                  <a:pt x="4417" y="4548"/>
                  <a:pt x="4120" y="4548"/>
                </a:cubicBezTo>
                <a:cubicBezTo>
                  <a:pt x="3822" y="4548"/>
                  <a:pt x="3584" y="4310"/>
                  <a:pt x="3584" y="4012"/>
                </a:cubicBezTo>
                <a:lnTo>
                  <a:pt x="3584" y="3655"/>
                </a:lnTo>
                <a:cubicBezTo>
                  <a:pt x="3584" y="3453"/>
                  <a:pt x="3750" y="3286"/>
                  <a:pt x="3953" y="3286"/>
                </a:cubicBezTo>
                <a:close/>
                <a:moveTo>
                  <a:pt x="7108" y="3286"/>
                </a:moveTo>
                <a:cubicBezTo>
                  <a:pt x="7287" y="3286"/>
                  <a:pt x="7453" y="3453"/>
                  <a:pt x="7453" y="3655"/>
                </a:cubicBezTo>
                <a:lnTo>
                  <a:pt x="7453" y="4012"/>
                </a:lnTo>
                <a:cubicBezTo>
                  <a:pt x="7453" y="4310"/>
                  <a:pt x="7215" y="4548"/>
                  <a:pt x="6918" y="4548"/>
                </a:cubicBezTo>
                <a:cubicBezTo>
                  <a:pt x="6620" y="4548"/>
                  <a:pt x="6382" y="4310"/>
                  <a:pt x="6382" y="4012"/>
                </a:cubicBezTo>
                <a:lnTo>
                  <a:pt x="6382" y="3655"/>
                </a:lnTo>
                <a:cubicBezTo>
                  <a:pt x="6382" y="3453"/>
                  <a:pt x="6548" y="3286"/>
                  <a:pt x="6751" y="3286"/>
                </a:cubicBezTo>
                <a:close/>
                <a:moveTo>
                  <a:pt x="1500" y="4858"/>
                </a:moveTo>
                <a:lnTo>
                  <a:pt x="1500" y="4953"/>
                </a:lnTo>
                <a:cubicBezTo>
                  <a:pt x="1500" y="5013"/>
                  <a:pt x="1512" y="5072"/>
                  <a:pt x="1548" y="5120"/>
                </a:cubicBezTo>
                <a:lnTo>
                  <a:pt x="1322" y="5334"/>
                </a:lnTo>
                <a:lnTo>
                  <a:pt x="1286" y="5334"/>
                </a:lnTo>
                <a:lnTo>
                  <a:pt x="1072" y="5120"/>
                </a:lnTo>
                <a:cubicBezTo>
                  <a:pt x="1095" y="5072"/>
                  <a:pt x="1107" y="5013"/>
                  <a:pt x="1107" y="4953"/>
                </a:cubicBezTo>
                <a:lnTo>
                  <a:pt x="1107" y="4858"/>
                </a:lnTo>
                <a:close/>
                <a:moveTo>
                  <a:pt x="4298" y="4858"/>
                </a:moveTo>
                <a:lnTo>
                  <a:pt x="4298" y="4953"/>
                </a:lnTo>
                <a:cubicBezTo>
                  <a:pt x="4298" y="5013"/>
                  <a:pt x="4310" y="5072"/>
                  <a:pt x="4334" y="5120"/>
                </a:cubicBezTo>
                <a:lnTo>
                  <a:pt x="4120" y="5334"/>
                </a:lnTo>
                <a:lnTo>
                  <a:pt x="4084" y="5334"/>
                </a:lnTo>
                <a:lnTo>
                  <a:pt x="3870" y="5120"/>
                </a:lnTo>
                <a:cubicBezTo>
                  <a:pt x="3893" y="5072"/>
                  <a:pt x="3905" y="5013"/>
                  <a:pt x="3905" y="4953"/>
                </a:cubicBezTo>
                <a:lnTo>
                  <a:pt x="3905" y="4858"/>
                </a:lnTo>
                <a:close/>
                <a:moveTo>
                  <a:pt x="7108" y="4858"/>
                </a:moveTo>
                <a:lnTo>
                  <a:pt x="7108" y="4953"/>
                </a:lnTo>
                <a:cubicBezTo>
                  <a:pt x="7108" y="5013"/>
                  <a:pt x="7120" y="5072"/>
                  <a:pt x="7156" y="5120"/>
                </a:cubicBezTo>
                <a:lnTo>
                  <a:pt x="6929" y="5334"/>
                </a:lnTo>
                <a:lnTo>
                  <a:pt x="6906" y="5334"/>
                </a:lnTo>
                <a:lnTo>
                  <a:pt x="6679" y="5120"/>
                </a:lnTo>
                <a:cubicBezTo>
                  <a:pt x="6703" y="5072"/>
                  <a:pt x="6715" y="5013"/>
                  <a:pt x="6715" y="4953"/>
                </a:cubicBezTo>
                <a:lnTo>
                  <a:pt x="6715" y="4858"/>
                </a:lnTo>
                <a:close/>
                <a:moveTo>
                  <a:pt x="9906" y="4858"/>
                </a:moveTo>
                <a:lnTo>
                  <a:pt x="9906" y="4953"/>
                </a:lnTo>
                <a:cubicBezTo>
                  <a:pt x="9906" y="5013"/>
                  <a:pt x="9918" y="5072"/>
                  <a:pt x="9954" y="5120"/>
                </a:cubicBezTo>
                <a:lnTo>
                  <a:pt x="9727" y="5334"/>
                </a:lnTo>
                <a:lnTo>
                  <a:pt x="9704" y="5334"/>
                </a:lnTo>
                <a:lnTo>
                  <a:pt x="9477" y="5120"/>
                </a:lnTo>
                <a:cubicBezTo>
                  <a:pt x="9501" y="5072"/>
                  <a:pt x="9525" y="5013"/>
                  <a:pt x="9525" y="4953"/>
                </a:cubicBezTo>
                <a:lnTo>
                  <a:pt x="9525" y="4858"/>
                </a:lnTo>
                <a:close/>
                <a:moveTo>
                  <a:pt x="2453" y="0"/>
                </a:moveTo>
                <a:cubicBezTo>
                  <a:pt x="2084" y="0"/>
                  <a:pt x="1762" y="310"/>
                  <a:pt x="1762" y="679"/>
                </a:cubicBezTo>
                <a:lnTo>
                  <a:pt x="1762" y="1036"/>
                </a:lnTo>
                <a:cubicBezTo>
                  <a:pt x="1762" y="1322"/>
                  <a:pt x="1905" y="1572"/>
                  <a:pt x="2119" y="1726"/>
                </a:cubicBezTo>
                <a:lnTo>
                  <a:pt x="2119" y="1977"/>
                </a:lnTo>
                <a:cubicBezTo>
                  <a:pt x="2119" y="1977"/>
                  <a:pt x="2119" y="1988"/>
                  <a:pt x="2107" y="1988"/>
                </a:cubicBezTo>
                <a:lnTo>
                  <a:pt x="1691" y="2203"/>
                </a:lnTo>
                <a:cubicBezTo>
                  <a:pt x="1512" y="2286"/>
                  <a:pt x="1405" y="2465"/>
                  <a:pt x="1405" y="2655"/>
                </a:cubicBezTo>
                <a:lnTo>
                  <a:pt x="1405" y="2989"/>
                </a:lnTo>
                <a:lnTo>
                  <a:pt x="1036" y="2989"/>
                </a:lnTo>
                <a:cubicBezTo>
                  <a:pt x="667" y="2989"/>
                  <a:pt x="357" y="3298"/>
                  <a:pt x="357" y="3667"/>
                </a:cubicBezTo>
                <a:lnTo>
                  <a:pt x="357" y="4024"/>
                </a:lnTo>
                <a:cubicBezTo>
                  <a:pt x="357" y="4310"/>
                  <a:pt x="488" y="4560"/>
                  <a:pt x="714" y="4715"/>
                </a:cubicBezTo>
                <a:lnTo>
                  <a:pt x="714" y="4965"/>
                </a:lnTo>
                <a:cubicBezTo>
                  <a:pt x="714" y="4965"/>
                  <a:pt x="714" y="4977"/>
                  <a:pt x="691" y="4977"/>
                </a:cubicBezTo>
                <a:lnTo>
                  <a:pt x="274" y="5191"/>
                </a:lnTo>
                <a:cubicBezTo>
                  <a:pt x="95" y="5275"/>
                  <a:pt x="0" y="5453"/>
                  <a:pt x="0" y="5656"/>
                </a:cubicBezTo>
                <a:lnTo>
                  <a:pt x="0" y="7382"/>
                </a:lnTo>
                <a:cubicBezTo>
                  <a:pt x="0" y="7513"/>
                  <a:pt x="36" y="7644"/>
                  <a:pt x="119" y="7751"/>
                </a:cubicBezTo>
                <a:lnTo>
                  <a:pt x="298" y="8013"/>
                </a:lnTo>
                <a:cubicBezTo>
                  <a:pt x="333" y="8073"/>
                  <a:pt x="357" y="8156"/>
                  <a:pt x="357" y="8227"/>
                </a:cubicBezTo>
                <a:lnTo>
                  <a:pt x="357" y="8942"/>
                </a:lnTo>
                <a:cubicBezTo>
                  <a:pt x="357" y="9025"/>
                  <a:pt x="429" y="9108"/>
                  <a:pt x="512" y="9108"/>
                </a:cubicBezTo>
                <a:cubicBezTo>
                  <a:pt x="607" y="9108"/>
                  <a:pt x="679" y="9025"/>
                  <a:pt x="679" y="8942"/>
                </a:cubicBezTo>
                <a:lnTo>
                  <a:pt x="679" y="8227"/>
                </a:lnTo>
                <a:cubicBezTo>
                  <a:pt x="679" y="8096"/>
                  <a:pt x="631" y="7953"/>
                  <a:pt x="560" y="7858"/>
                </a:cubicBezTo>
                <a:lnTo>
                  <a:pt x="381" y="7584"/>
                </a:lnTo>
                <a:cubicBezTo>
                  <a:pt x="333" y="7525"/>
                  <a:pt x="321" y="7453"/>
                  <a:pt x="321" y="7382"/>
                </a:cubicBezTo>
                <a:lnTo>
                  <a:pt x="321" y="5656"/>
                </a:lnTo>
                <a:cubicBezTo>
                  <a:pt x="321" y="5572"/>
                  <a:pt x="369" y="5513"/>
                  <a:pt x="429" y="5477"/>
                </a:cubicBezTo>
                <a:lnTo>
                  <a:pt x="714" y="5322"/>
                </a:lnTo>
                <a:lnTo>
                  <a:pt x="976" y="5596"/>
                </a:lnTo>
                <a:cubicBezTo>
                  <a:pt x="1036" y="5656"/>
                  <a:pt x="1131" y="5691"/>
                  <a:pt x="1214" y="5691"/>
                </a:cubicBezTo>
                <a:cubicBezTo>
                  <a:pt x="1310" y="5691"/>
                  <a:pt x="1381" y="5667"/>
                  <a:pt x="1453" y="5596"/>
                </a:cubicBezTo>
                <a:lnTo>
                  <a:pt x="1726" y="5322"/>
                </a:lnTo>
                <a:lnTo>
                  <a:pt x="2000" y="5477"/>
                </a:lnTo>
                <a:cubicBezTo>
                  <a:pt x="2060" y="5501"/>
                  <a:pt x="2107" y="5572"/>
                  <a:pt x="2107" y="5656"/>
                </a:cubicBezTo>
                <a:lnTo>
                  <a:pt x="2107" y="7382"/>
                </a:lnTo>
                <a:cubicBezTo>
                  <a:pt x="2107" y="7453"/>
                  <a:pt x="2096" y="7525"/>
                  <a:pt x="2048" y="7584"/>
                </a:cubicBezTo>
                <a:lnTo>
                  <a:pt x="1869" y="7858"/>
                </a:lnTo>
                <a:cubicBezTo>
                  <a:pt x="1798" y="7977"/>
                  <a:pt x="1750" y="8096"/>
                  <a:pt x="1750" y="8227"/>
                </a:cubicBezTo>
                <a:lnTo>
                  <a:pt x="1750" y="8942"/>
                </a:lnTo>
                <a:cubicBezTo>
                  <a:pt x="1750" y="9025"/>
                  <a:pt x="1822" y="9108"/>
                  <a:pt x="1917" y="9108"/>
                </a:cubicBezTo>
                <a:cubicBezTo>
                  <a:pt x="2000" y="9108"/>
                  <a:pt x="2084" y="9025"/>
                  <a:pt x="2084" y="8942"/>
                </a:cubicBezTo>
                <a:lnTo>
                  <a:pt x="2084" y="8227"/>
                </a:lnTo>
                <a:cubicBezTo>
                  <a:pt x="2084" y="8156"/>
                  <a:pt x="2096" y="8073"/>
                  <a:pt x="2143" y="8013"/>
                </a:cubicBezTo>
                <a:lnTo>
                  <a:pt x="2322" y="7751"/>
                </a:lnTo>
                <a:cubicBezTo>
                  <a:pt x="2393" y="7632"/>
                  <a:pt x="2441" y="7513"/>
                  <a:pt x="2441" y="7382"/>
                </a:cubicBezTo>
                <a:lnTo>
                  <a:pt x="2441" y="5656"/>
                </a:lnTo>
                <a:cubicBezTo>
                  <a:pt x="2441" y="5453"/>
                  <a:pt x="2334" y="5275"/>
                  <a:pt x="2155" y="5191"/>
                </a:cubicBezTo>
                <a:lnTo>
                  <a:pt x="1738" y="4977"/>
                </a:lnTo>
                <a:lnTo>
                  <a:pt x="1726" y="4965"/>
                </a:lnTo>
                <a:lnTo>
                  <a:pt x="1726" y="4703"/>
                </a:lnTo>
                <a:cubicBezTo>
                  <a:pt x="1929" y="4536"/>
                  <a:pt x="2084" y="4298"/>
                  <a:pt x="2084" y="4012"/>
                </a:cubicBezTo>
                <a:lnTo>
                  <a:pt x="2084" y="3655"/>
                </a:lnTo>
                <a:cubicBezTo>
                  <a:pt x="2084" y="3405"/>
                  <a:pt x="1929" y="3179"/>
                  <a:pt x="1726" y="3060"/>
                </a:cubicBezTo>
                <a:lnTo>
                  <a:pt x="1726" y="2643"/>
                </a:lnTo>
                <a:cubicBezTo>
                  <a:pt x="1726" y="2572"/>
                  <a:pt x="1762" y="2512"/>
                  <a:pt x="1822" y="2465"/>
                </a:cubicBezTo>
                <a:lnTo>
                  <a:pt x="2107" y="2322"/>
                </a:lnTo>
                <a:lnTo>
                  <a:pt x="2381" y="2584"/>
                </a:lnTo>
                <a:cubicBezTo>
                  <a:pt x="2441" y="2643"/>
                  <a:pt x="2524" y="2691"/>
                  <a:pt x="2619" y="2691"/>
                </a:cubicBezTo>
                <a:cubicBezTo>
                  <a:pt x="2703" y="2691"/>
                  <a:pt x="2774" y="2655"/>
                  <a:pt x="2858" y="2584"/>
                </a:cubicBezTo>
                <a:lnTo>
                  <a:pt x="3119" y="2322"/>
                </a:lnTo>
                <a:lnTo>
                  <a:pt x="3405" y="2465"/>
                </a:lnTo>
                <a:cubicBezTo>
                  <a:pt x="3465" y="2500"/>
                  <a:pt x="3512" y="2572"/>
                  <a:pt x="3512" y="2643"/>
                </a:cubicBezTo>
                <a:lnTo>
                  <a:pt x="3512" y="3060"/>
                </a:lnTo>
                <a:cubicBezTo>
                  <a:pt x="3298" y="3179"/>
                  <a:pt x="3155" y="3405"/>
                  <a:pt x="3155" y="3655"/>
                </a:cubicBezTo>
                <a:lnTo>
                  <a:pt x="3155" y="4012"/>
                </a:lnTo>
                <a:cubicBezTo>
                  <a:pt x="3155" y="4298"/>
                  <a:pt x="3286" y="4548"/>
                  <a:pt x="3512" y="4703"/>
                </a:cubicBezTo>
                <a:lnTo>
                  <a:pt x="3512" y="4953"/>
                </a:lnTo>
                <a:cubicBezTo>
                  <a:pt x="3512" y="4953"/>
                  <a:pt x="3512" y="4965"/>
                  <a:pt x="3489" y="4965"/>
                </a:cubicBezTo>
                <a:lnTo>
                  <a:pt x="3072" y="5179"/>
                </a:lnTo>
                <a:cubicBezTo>
                  <a:pt x="2893" y="5263"/>
                  <a:pt x="2798" y="5441"/>
                  <a:pt x="2798" y="5632"/>
                </a:cubicBezTo>
                <a:lnTo>
                  <a:pt x="2798" y="7358"/>
                </a:lnTo>
                <a:cubicBezTo>
                  <a:pt x="2798" y="7501"/>
                  <a:pt x="2834" y="7632"/>
                  <a:pt x="2917" y="7739"/>
                </a:cubicBezTo>
                <a:lnTo>
                  <a:pt x="3096" y="8001"/>
                </a:lnTo>
                <a:cubicBezTo>
                  <a:pt x="3131" y="8061"/>
                  <a:pt x="3155" y="8132"/>
                  <a:pt x="3155" y="8215"/>
                </a:cubicBezTo>
                <a:lnTo>
                  <a:pt x="3155" y="8930"/>
                </a:lnTo>
                <a:cubicBezTo>
                  <a:pt x="3155" y="9013"/>
                  <a:pt x="3227" y="9085"/>
                  <a:pt x="3310" y="9085"/>
                </a:cubicBezTo>
                <a:cubicBezTo>
                  <a:pt x="3405" y="9085"/>
                  <a:pt x="3477" y="9013"/>
                  <a:pt x="3477" y="8930"/>
                </a:cubicBezTo>
                <a:lnTo>
                  <a:pt x="3477" y="8215"/>
                </a:lnTo>
                <a:cubicBezTo>
                  <a:pt x="3477" y="8073"/>
                  <a:pt x="3429" y="7942"/>
                  <a:pt x="3358" y="7834"/>
                </a:cubicBezTo>
                <a:lnTo>
                  <a:pt x="3179" y="7572"/>
                </a:lnTo>
                <a:cubicBezTo>
                  <a:pt x="3131" y="7513"/>
                  <a:pt x="3119" y="7441"/>
                  <a:pt x="3119" y="7358"/>
                </a:cubicBezTo>
                <a:lnTo>
                  <a:pt x="3119" y="5632"/>
                </a:lnTo>
                <a:cubicBezTo>
                  <a:pt x="3119" y="5560"/>
                  <a:pt x="3167" y="5501"/>
                  <a:pt x="3227" y="5453"/>
                </a:cubicBezTo>
                <a:lnTo>
                  <a:pt x="3512" y="5310"/>
                </a:lnTo>
                <a:lnTo>
                  <a:pt x="3774" y="5572"/>
                </a:lnTo>
                <a:cubicBezTo>
                  <a:pt x="3834" y="5632"/>
                  <a:pt x="3929" y="5679"/>
                  <a:pt x="4012" y="5679"/>
                </a:cubicBezTo>
                <a:cubicBezTo>
                  <a:pt x="4108" y="5679"/>
                  <a:pt x="4179" y="5656"/>
                  <a:pt x="4251" y="5572"/>
                </a:cubicBezTo>
                <a:lnTo>
                  <a:pt x="4524" y="5310"/>
                </a:lnTo>
                <a:lnTo>
                  <a:pt x="4798" y="5453"/>
                </a:lnTo>
                <a:cubicBezTo>
                  <a:pt x="4858" y="5489"/>
                  <a:pt x="4905" y="5560"/>
                  <a:pt x="4905" y="5632"/>
                </a:cubicBezTo>
                <a:lnTo>
                  <a:pt x="4905" y="7358"/>
                </a:lnTo>
                <a:cubicBezTo>
                  <a:pt x="4905" y="7441"/>
                  <a:pt x="4893" y="7513"/>
                  <a:pt x="4846" y="7572"/>
                </a:cubicBezTo>
                <a:lnTo>
                  <a:pt x="4667" y="7834"/>
                </a:lnTo>
                <a:cubicBezTo>
                  <a:pt x="4596" y="7953"/>
                  <a:pt x="4548" y="8073"/>
                  <a:pt x="4548" y="8215"/>
                </a:cubicBezTo>
                <a:lnTo>
                  <a:pt x="4548" y="8930"/>
                </a:lnTo>
                <a:cubicBezTo>
                  <a:pt x="4548" y="9013"/>
                  <a:pt x="4620" y="9085"/>
                  <a:pt x="4715" y="9085"/>
                </a:cubicBezTo>
                <a:cubicBezTo>
                  <a:pt x="4798" y="9085"/>
                  <a:pt x="4882" y="9013"/>
                  <a:pt x="4882" y="8930"/>
                </a:cubicBezTo>
                <a:lnTo>
                  <a:pt x="4882" y="8215"/>
                </a:lnTo>
                <a:cubicBezTo>
                  <a:pt x="4882" y="8132"/>
                  <a:pt x="4893" y="8061"/>
                  <a:pt x="4941" y="8001"/>
                </a:cubicBezTo>
                <a:lnTo>
                  <a:pt x="5120" y="7739"/>
                </a:lnTo>
                <a:cubicBezTo>
                  <a:pt x="5191" y="7620"/>
                  <a:pt x="5239" y="7501"/>
                  <a:pt x="5239" y="7358"/>
                </a:cubicBezTo>
                <a:lnTo>
                  <a:pt x="5239" y="5632"/>
                </a:lnTo>
                <a:cubicBezTo>
                  <a:pt x="5239" y="5441"/>
                  <a:pt x="5132" y="5263"/>
                  <a:pt x="4953" y="5179"/>
                </a:cubicBezTo>
                <a:lnTo>
                  <a:pt x="4536" y="4965"/>
                </a:lnTo>
                <a:lnTo>
                  <a:pt x="4524" y="4953"/>
                </a:lnTo>
                <a:lnTo>
                  <a:pt x="4524" y="4703"/>
                </a:lnTo>
                <a:cubicBezTo>
                  <a:pt x="4727" y="4536"/>
                  <a:pt x="4882" y="4298"/>
                  <a:pt x="4882" y="4012"/>
                </a:cubicBezTo>
                <a:lnTo>
                  <a:pt x="4882" y="3655"/>
                </a:lnTo>
                <a:cubicBezTo>
                  <a:pt x="4882" y="3405"/>
                  <a:pt x="4727" y="3179"/>
                  <a:pt x="4524" y="3060"/>
                </a:cubicBezTo>
                <a:lnTo>
                  <a:pt x="4524" y="2643"/>
                </a:lnTo>
                <a:cubicBezTo>
                  <a:pt x="4524" y="2572"/>
                  <a:pt x="4560" y="2512"/>
                  <a:pt x="4620" y="2465"/>
                </a:cubicBezTo>
                <a:lnTo>
                  <a:pt x="4905" y="2322"/>
                </a:lnTo>
                <a:lnTo>
                  <a:pt x="5179" y="2584"/>
                </a:lnTo>
                <a:cubicBezTo>
                  <a:pt x="5239" y="2643"/>
                  <a:pt x="5322" y="2691"/>
                  <a:pt x="5417" y="2691"/>
                </a:cubicBezTo>
                <a:cubicBezTo>
                  <a:pt x="5501" y="2691"/>
                  <a:pt x="5572" y="2655"/>
                  <a:pt x="5655" y="2584"/>
                </a:cubicBezTo>
                <a:lnTo>
                  <a:pt x="5917" y="2322"/>
                </a:lnTo>
                <a:lnTo>
                  <a:pt x="6203" y="2465"/>
                </a:lnTo>
                <a:cubicBezTo>
                  <a:pt x="6263" y="2500"/>
                  <a:pt x="6310" y="2572"/>
                  <a:pt x="6310" y="2643"/>
                </a:cubicBezTo>
                <a:lnTo>
                  <a:pt x="6310" y="3060"/>
                </a:lnTo>
                <a:cubicBezTo>
                  <a:pt x="6096" y="3179"/>
                  <a:pt x="5953" y="3405"/>
                  <a:pt x="5953" y="3655"/>
                </a:cubicBezTo>
                <a:lnTo>
                  <a:pt x="5953" y="4012"/>
                </a:lnTo>
                <a:cubicBezTo>
                  <a:pt x="5953" y="4298"/>
                  <a:pt x="6084" y="4548"/>
                  <a:pt x="6310" y="4703"/>
                </a:cubicBezTo>
                <a:lnTo>
                  <a:pt x="6310" y="4953"/>
                </a:lnTo>
                <a:cubicBezTo>
                  <a:pt x="6310" y="4953"/>
                  <a:pt x="6310" y="4965"/>
                  <a:pt x="6287" y="4965"/>
                </a:cubicBezTo>
                <a:lnTo>
                  <a:pt x="5870" y="5179"/>
                </a:lnTo>
                <a:cubicBezTo>
                  <a:pt x="5691" y="5263"/>
                  <a:pt x="5596" y="5441"/>
                  <a:pt x="5596" y="5632"/>
                </a:cubicBezTo>
                <a:lnTo>
                  <a:pt x="5596" y="7358"/>
                </a:lnTo>
                <a:cubicBezTo>
                  <a:pt x="5596" y="7501"/>
                  <a:pt x="5632" y="7632"/>
                  <a:pt x="5715" y="7739"/>
                </a:cubicBezTo>
                <a:lnTo>
                  <a:pt x="5894" y="8001"/>
                </a:lnTo>
                <a:cubicBezTo>
                  <a:pt x="5929" y="8061"/>
                  <a:pt x="5953" y="8132"/>
                  <a:pt x="5953" y="8215"/>
                </a:cubicBezTo>
                <a:lnTo>
                  <a:pt x="5953" y="8930"/>
                </a:lnTo>
                <a:cubicBezTo>
                  <a:pt x="5953" y="9013"/>
                  <a:pt x="6025" y="9085"/>
                  <a:pt x="6108" y="9085"/>
                </a:cubicBezTo>
                <a:cubicBezTo>
                  <a:pt x="6203" y="9085"/>
                  <a:pt x="6275" y="9013"/>
                  <a:pt x="6275" y="8930"/>
                </a:cubicBezTo>
                <a:lnTo>
                  <a:pt x="6275" y="8215"/>
                </a:lnTo>
                <a:cubicBezTo>
                  <a:pt x="6275" y="8073"/>
                  <a:pt x="6227" y="7942"/>
                  <a:pt x="6156" y="7834"/>
                </a:cubicBezTo>
                <a:lnTo>
                  <a:pt x="5977" y="7572"/>
                </a:lnTo>
                <a:cubicBezTo>
                  <a:pt x="5929" y="7513"/>
                  <a:pt x="5917" y="7441"/>
                  <a:pt x="5917" y="7358"/>
                </a:cubicBezTo>
                <a:lnTo>
                  <a:pt x="5917" y="5632"/>
                </a:lnTo>
                <a:cubicBezTo>
                  <a:pt x="5917" y="5560"/>
                  <a:pt x="5965" y="5501"/>
                  <a:pt x="6025" y="5453"/>
                </a:cubicBezTo>
                <a:lnTo>
                  <a:pt x="6310" y="5310"/>
                </a:lnTo>
                <a:lnTo>
                  <a:pt x="6572" y="5572"/>
                </a:lnTo>
                <a:cubicBezTo>
                  <a:pt x="6632" y="5632"/>
                  <a:pt x="6727" y="5679"/>
                  <a:pt x="6810" y="5679"/>
                </a:cubicBezTo>
                <a:cubicBezTo>
                  <a:pt x="6906" y="5679"/>
                  <a:pt x="6977" y="5656"/>
                  <a:pt x="7049" y="5572"/>
                </a:cubicBezTo>
                <a:lnTo>
                  <a:pt x="7322" y="5310"/>
                </a:lnTo>
                <a:lnTo>
                  <a:pt x="7596" y="5453"/>
                </a:lnTo>
                <a:cubicBezTo>
                  <a:pt x="7656" y="5489"/>
                  <a:pt x="7703" y="5560"/>
                  <a:pt x="7703" y="5632"/>
                </a:cubicBezTo>
                <a:lnTo>
                  <a:pt x="7703" y="7358"/>
                </a:lnTo>
                <a:cubicBezTo>
                  <a:pt x="7703" y="7441"/>
                  <a:pt x="7691" y="7513"/>
                  <a:pt x="7644" y="7572"/>
                </a:cubicBezTo>
                <a:lnTo>
                  <a:pt x="7465" y="7834"/>
                </a:lnTo>
                <a:cubicBezTo>
                  <a:pt x="7394" y="7953"/>
                  <a:pt x="7346" y="8073"/>
                  <a:pt x="7346" y="8215"/>
                </a:cubicBezTo>
                <a:lnTo>
                  <a:pt x="7346" y="8930"/>
                </a:lnTo>
                <a:cubicBezTo>
                  <a:pt x="7346" y="9013"/>
                  <a:pt x="7418" y="9085"/>
                  <a:pt x="7513" y="9085"/>
                </a:cubicBezTo>
                <a:cubicBezTo>
                  <a:pt x="7596" y="9085"/>
                  <a:pt x="7680" y="9013"/>
                  <a:pt x="7680" y="8930"/>
                </a:cubicBezTo>
                <a:lnTo>
                  <a:pt x="7680" y="8215"/>
                </a:lnTo>
                <a:cubicBezTo>
                  <a:pt x="7680" y="8132"/>
                  <a:pt x="7691" y="8061"/>
                  <a:pt x="7739" y="8001"/>
                </a:cubicBezTo>
                <a:lnTo>
                  <a:pt x="7918" y="7739"/>
                </a:lnTo>
                <a:cubicBezTo>
                  <a:pt x="7989" y="7620"/>
                  <a:pt x="8037" y="7501"/>
                  <a:pt x="8037" y="7358"/>
                </a:cubicBezTo>
                <a:lnTo>
                  <a:pt x="8037" y="5632"/>
                </a:lnTo>
                <a:cubicBezTo>
                  <a:pt x="8037" y="5441"/>
                  <a:pt x="7930" y="5263"/>
                  <a:pt x="7751" y="5179"/>
                </a:cubicBezTo>
                <a:lnTo>
                  <a:pt x="7334" y="4965"/>
                </a:lnTo>
                <a:lnTo>
                  <a:pt x="7322" y="4953"/>
                </a:lnTo>
                <a:lnTo>
                  <a:pt x="7322" y="4703"/>
                </a:lnTo>
                <a:cubicBezTo>
                  <a:pt x="7525" y="4536"/>
                  <a:pt x="7680" y="4298"/>
                  <a:pt x="7680" y="4012"/>
                </a:cubicBezTo>
                <a:lnTo>
                  <a:pt x="7680" y="3655"/>
                </a:lnTo>
                <a:cubicBezTo>
                  <a:pt x="7680" y="3405"/>
                  <a:pt x="7525" y="3179"/>
                  <a:pt x="7322" y="3060"/>
                </a:cubicBezTo>
                <a:lnTo>
                  <a:pt x="7322" y="2643"/>
                </a:lnTo>
                <a:cubicBezTo>
                  <a:pt x="7322" y="2572"/>
                  <a:pt x="7358" y="2512"/>
                  <a:pt x="7418" y="2465"/>
                </a:cubicBezTo>
                <a:lnTo>
                  <a:pt x="7703" y="2322"/>
                </a:lnTo>
                <a:lnTo>
                  <a:pt x="7977" y="2584"/>
                </a:lnTo>
                <a:cubicBezTo>
                  <a:pt x="8037" y="2643"/>
                  <a:pt x="8120" y="2691"/>
                  <a:pt x="8215" y="2691"/>
                </a:cubicBezTo>
                <a:cubicBezTo>
                  <a:pt x="8299" y="2691"/>
                  <a:pt x="8370" y="2655"/>
                  <a:pt x="8453" y="2584"/>
                </a:cubicBezTo>
                <a:lnTo>
                  <a:pt x="8715" y="2322"/>
                </a:lnTo>
                <a:lnTo>
                  <a:pt x="9001" y="2465"/>
                </a:lnTo>
                <a:cubicBezTo>
                  <a:pt x="9061" y="2500"/>
                  <a:pt x="9108" y="2572"/>
                  <a:pt x="9108" y="2643"/>
                </a:cubicBezTo>
                <a:lnTo>
                  <a:pt x="9108" y="3060"/>
                </a:lnTo>
                <a:cubicBezTo>
                  <a:pt x="8894" y="3179"/>
                  <a:pt x="8751" y="3405"/>
                  <a:pt x="8751" y="3655"/>
                </a:cubicBezTo>
                <a:lnTo>
                  <a:pt x="8751" y="4012"/>
                </a:lnTo>
                <a:cubicBezTo>
                  <a:pt x="8751" y="4298"/>
                  <a:pt x="8882" y="4548"/>
                  <a:pt x="9108" y="4703"/>
                </a:cubicBezTo>
                <a:lnTo>
                  <a:pt x="9108" y="4953"/>
                </a:lnTo>
                <a:cubicBezTo>
                  <a:pt x="9108" y="4953"/>
                  <a:pt x="9108" y="4965"/>
                  <a:pt x="9084" y="4965"/>
                </a:cubicBezTo>
                <a:lnTo>
                  <a:pt x="8668" y="5179"/>
                </a:lnTo>
                <a:cubicBezTo>
                  <a:pt x="8489" y="5263"/>
                  <a:pt x="8394" y="5441"/>
                  <a:pt x="8394" y="5632"/>
                </a:cubicBezTo>
                <a:lnTo>
                  <a:pt x="8394" y="7358"/>
                </a:lnTo>
                <a:cubicBezTo>
                  <a:pt x="8394" y="7501"/>
                  <a:pt x="8430" y="7632"/>
                  <a:pt x="8513" y="7739"/>
                </a:cubicBezTo>
                <a:lnTo>
                  <a:pt x="8692" y="8001"/>
                </a:lnTo>
                <a:cubicBezTo>
                  <a:pt x="8727" y="8061"/>
                  <a:pt x="8751" y="8132"/>
                  <a:pt x="8751" y="8215"/>
                </a:cubicBezTo>
                <a:lnTo>
                  <a:pt x="8751" y="8930"/>
                </a:lnTo>
                <a:cubicBezTo>
                  <a:pt x="8751" y="9013"/>
                  <a:pt x="8823" y="9085"/>
                  <a:pt x="8906" y="9085"/>
                </a:cubicBezTo>
                <a:cubicBezTo>
                  <a:pt x="9001" y="9085"/>
                  <a:pt x="9073" y="9013"/>
                  <a:pt x="9073" y="8930"/>
                </a:cubicBezTo>
                <a:lnTo>
                  <a:pt x="9073" y="8215"/>
                </a:lnTo>
                <a:cubicBezTo>
                  <a:pt x="9073" y="8073"/>
                  <a:pt x="9025" y="7942"/>
                  <a:pt x="8954" y="7834"/>
                </a:cubicBezTo>
                <a:lnTo>
                  <a:pt x="8775" y="7572"/>
                </a:lnTo>
                <a:cubicBezTo>
                  <a:pt x="8727" y="7513"/>
                  <a:pt x="8715" y="7441"/>
                  <a:pt x="8715" y="7358"/>
                </a:cubicBezTo>
                <a:lnTo>
                  <a:pt x="8715" y="5632"/>
                </a:lnTo>
                <a:cubicBezTo>
                  <a:pt x="8715" y="5560"/>
                  <a:pt x="8763" y="5501"/>
                  <a:pt x="8823" y="5453"/>
                </a:cubicBezTo>
                <a:lnTo>
                  <a:pt x="9108" y="5310"/>
                </a:lnTo>
                <a:lnTo>
                  <a:pt x="9370" y="5572"/>
                </a:lnTo>
                <a:cubicBezTo>
                  <a:pt x="9430" y="5632"/>
                  <a:pt x="9525" y="5679"/>
                  <a:pt x="9608" y="5679"/>
                </a:cubicBezTo>
                <a:cubicBezTo>
                  <a:pt x="9704" y="5679"/>
                  <a:pt x="9775" y="5656"/>
                  <a:pt x="9846" y="5572"/>
                </a:cubicBezTo>
                <a:lnTo>
                  <a:pt x="10120" y="5310"/>
                </a:lnTo>
                <a:lnTo>
                  <a:pt x="10394" y="5453"/>
                </a:lnTo>
                <a:cubicBezTo>
                  <a:pt x="10454" y="5489"/>
                  <a:pt x="10501" y="5560"/>
                  <a:pt x="10501" y="5632"/>
                </a:cubicBezTo>
                <a:lnTo>
                  <a:pt x="10501" y="7358"/>
                </a:lnTo>
                <a:cubicBezTo>
                  <a:pt x="10501" y="7441"/>
                  <a:pt x="10489" y="7513"/>
                  <a:pt x="10442" y="7572"/>
                </a:cubicBezTo>
                <a:lnTo>
                  <a:pt x="10263" y="7834"/>
                </a:lnTo>
                <a:cubicBezTo>
                  <a:pt x="10192" y="7953"/>
                  <a:pt x="10144" y="8073"/>
                  <a:pt x="10144" y="8215"/>
                </a:cubicBezTo>
                <a:lnTo>
                  <a:pt x="10144" y="8930"/>
                </a:lnTo>
                <a:cubicBezTo>
                  <a:pt x="10144" y="9013"/>
                  <a:pt x="10216" y="9085"/>
                  <a:pt x="10311" y="9085"/>
                </a:cubicBezTo>
                <a:cubicBezTo>
                  <a:pt x="10394" y="9085"/>
                  <a:pt x="10478" y="9013"/>
                  <a:pt x="10478" y="8930"/>
                </a:cubicBezTo>
                <a:lnTo>
                  <a:pt x="10478" y="8215"/>
                </a:lnTo>
                <a:cubicBezTo>
                  <a:pt x="10478" y="8132"/>
                  <a:pt x="10489" y="8061"/>
                  <a:pt x="10537" y="8001"/>
                </a:cubicBezTo>
                <a:lnTo>
                  <a:pt x="10716" y="7739"/>
                </a:lnTo>
                <a:cubicBezTo>
                  <a:pt x="10787" y="7620"/>
                  <a:pt x="10835" y="7501"/>
                  <a:pt x="10835" y="7358"/>
                </a:cubicBezTo>
                <a:lnTo>
                  <a:pt x="10835" y="5632"/>
                </a:lnTo>
                <a:cubicBezTo>
                  <a:pt x="10918" y="5429"/>
                  <a:pt x="10811" y="5251"/>
                  <a:pt x="10632" y="5155"/>
                </a:cubicBezTo>
                <a:lnTo>
                  <a:pt x="10216" y="4953"/>
                </a:lnTo>
                <a:lnTo>
                  <a:pt x="10204" y="4941"/>
                </a:lnTo>
                <a:lnTo>
                  <a:pt x="10204" y="4703"/>
                </a:lnTo>
                <a:cubicBezTo>
                  <a:pt x="10418" y="4536"/>
                  <a:pt x="10561" y="4298"/>
                  <a:pt x="10561" y="4012"/>
                </a:cubicBezTo>
                <a:lnTo>
                  <a:pt x="10561" y="3655"/>
                </a:lnTo>
                <a:cubicBezTo>
                  <a:pt x="10561" y="3286"/>
                  <a:pt x="10251" y="2977"/>
                  <a:pt x="9882" y="2977"/>
                </a:cubicBezTo>
                <a:lnTo>
                  <a:pt x="9501" y="2977"/>
                </a:lnTo>
                <a:lnTo>
                  <a:pt x="9501" y="2643"/>
                </a:lnTo>
                <a:cubicBezTo>
                  <a:pt x="9501" y="2453"/>
                  <a:pt x="9406" y="2274"/>
                  <a:pt x="9227" y="2179"/>
                </a:cubicBezTo>
                <a:lnTo>
                  <a:pt x="8811" y="1977"/>
                </a:lnTo>
                <a:lnTo>
                  <a:pt x="8787" y="1953"/>
                </a:lnTo>
                <a:lnTo>
                  <a:pt x="8787" y="1726"/>
                </a:lnTo>
                <a:cubicBezTo>
                  <a:pt x="9001" y="1560"/>
                  <a:pt x="9144" y="1322"/>
                  <a:pt x="9144" y="1036"/>
                </a:cubicBezTo>
                <a:lnTo>
                  <a:pt x="9144" y="679"/>
                </a:lnTo>
                <a:cubicBezTo>
                  <a:pt x="9144" y="310"/>
                  <a:pt x="8834" y="0"/>
                  <a:pt x="8465" y="0"/>
                </a:cubicBezTo>
                <a:lnTo>
                  <a:pt x="8108" y="0"/>
                </a:lnTo>
                <a:cubicBezTo>
                  <a:pt x="7739" y="0"/>
                  <a:pt x="7418" y="310"/>
                  <a:pt x="7418" y="679"/>
                </a:cubicBezTo>
                <a:lnTo>
                  <a:pt x="7418" y="1036"/>
                </a:lnTo>
                <a:cubicBezTo>
                  <a:pt x="7418" y="1322"/>
                  <a:pt x="7560" y="1572"/>
                  <a:pt x="7775" y="1726"/>
                </a:cubicBezTo>
                <a:lnTo>
                  <a:pt x="7775" y="1977"/>
                </a:lnTo>
                <a:cubicBezTo>
                  <a:pt x="7775" y="1977"/>
                  <a:pt x="7775" y="1988"/>
                  <a:pt x="7763" y="1988"/>
                </a:cubicBezTo>
                <a:lnTo>
                  <a:pt x="7346" y="2203"/>
                </a:lnTo>
                <a:cubicBezTo>
                  <a:pt x="7168" y="2286"/>
                  <a:pt x="7060" y="2465"/>
                  <a:pt x="7060" y="2655"/>
                </a:cubicBezTo>
                <a:lnTo>
                  <a:pt x="7060" y="2989"/>
                </a:lnTo>
                <a:lnTo>
                  <a:pt x="6679" y="2989"/>
                </a:lnTo>
                <a:lnTo>
                  <a:pt x="6679" y="2655"/>
                </a:lnTo>
                <a:cubicBezTo>
                  <a:pt x="6679" y="2465"/>
                  <a:pt x="6572" y="2286"/>
                  <a:pt x="6394" y="2203"/>
                </a:cubicBezTo>
                <a:lnTo>
                  <a:pt x="5977" y="1988"/>
                </a:lnTo>
                <a:lnTo>
                  <a:pt x="5965" y="1977"/>
                </a:lnTo>
                <a:lnTo>
                  <a:pt x="5965" y="1726"/>
                </a:lnTo>
                <a:cubicBezTo>
                  <a:pt x="6167" y="1560"/>
                  <a:pt x="6322" y="1322"/>
                  <a:pt x="6322" y="1036"/>
                </a:cubicBezTo>
                <a:lnTo>
                  <a:pt x="6322" y="679"/>
                </a:lnTo>
                <a:cubicBezTo>
                  <a:pt x="6322" y="310"/>
                  <a:pt x="6013" y="0"/>
                  <a:pt x="5632" y="0"/>
                </a:cubicBezTo>
                <a:lnTo>
                  <a:pt x="5274" y="0"/>
                </a:lnTo>
                <a:cubicBezTo>
                  <a:pt x="4905" y="0"/>
                  <a:pt x="4596" y="310"/>
                  <a:pt x="4596" y="679"/>
                </a:cubicBezTo>
                <a:lnTo>
                  <a:pt x="4596" y="1036"/>
                </a:lnTo>
                <a:cubicBezTo>
                  <a:pt x="4596" y="1322"/>
                  <a:pt x="4727" y="1572"/>
                  <a:pt x="4953" y="1726"/>
                </a:cubicBezTo>
                <a:lnTo>
                  <a:pt x="4953" y="1977"/>
                </a:lnTo>
                <a:cubicBezTo>
                  <a:pt x="4953" y="1977"/>
                  <a:pt x="4953" y="1988"/>
                  <a:pt x="4941" y="1988"/>
                </a:cubicBezTo>
                <a:lnTo>
                  <a:pt x="4524" y="2203"/>
                </a:lnTo>
                <a:cubicBezTo>
                  <a:pt x="4346" y="2286"/>
                  <a:pt x="4239" y="2465"/>
                  <a:pt x="4239" y="2655"/>
                </a:cubicBezTo>
                <a:lnTo>
                  <a:pt x="4239" y="2989"/>
                </a:lnTo>
                <a:lnTo>
                  <a:pt x="3846" y="2989"/>
                </a:lnTo>
                <a:lnTo>
                  <a:pt x="3846" y="2655"/>
                </a:lnTo>
                <a:cubicBezTo>
                  <a:pt x="3846" y="2465"/>
                  <a:pt x="3750" y="2286"/>
                  <a:pt x="3572" y="2203"/>
                </a:cubicBezTo>
                <a:lnTo>
                  <a:pt x="3155" y="1988"/>
                </a:lnTo>
                <a:lnTo>
                  <a:pt x="3131" y="1977"/>
                </a:lnTo>
                <a:lnTo>
                  <a:pt x="3131" y="1726"/>
                </a:lnTo>
                <a:cubicBezTo>
                  <a:pt x="3346" y="1560"/>
                  <a:pt x="3489" y="1322"/>
                  <a:pt x="3489" y="1036"/>
                </a:cubicBezTo>
                <a:lnTo>
                  <a:pt x="3489" y="679"/>
                </a:lnTo>
                <a:cubicBezTo>
                  <a:pt x="3489" y="310"/>
                  <a:pt x="3179" y="0"/>
                  <a:pt x="2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15" name="Google Shape;11315;p60"/>
          <p:cNvGrpSpPr/>
          <p:nvPr/>
        </p:nvGrpSpPr>
        <p:grpSpPr>
          <a:xfrm>
            <a:off x="903530" y="3806125"/>
            <a:ext cx="264550" cy="353222"/>
            <a:chOff x="903530" y="3806125"/>
            <a:chExt cx="264550" cy="353222"/>
          </a:xfrm>
        </p:grpSpPr>
        <p:sp>
          <p:nvSpPr>
            <p:cNvPr id="11316" name="Google Shape;11316;p60"/>
            <p:cNvSpPr/>
            <p:nvPr/>
          </p:nvSpPr>
          <p:spPr>
            <a:xfrm>
              <a:off x="926637" y="3839321"/>
              <a:ext cx="173237" cy="162002"/>
            </a:xfrm>
            <a:custGeom>
              <a:avLst/>
              <a:gdLst/>
              <a:ahLst/>
              <a:cxnLst/>
              <a:rect l="l" t="t" r="r" b="b"/>
              <a:pathLst>
                <a:path w="5443" h="5090" extrusionOk="0">
                  <a:moveTo>
                    <a:pt x="3418" y="1"/>
                  </a:moveTo>
                  <a:cubicBezTo>
                    <a:pt x="2623" y="1"/>
                    <a:pt x="1831" y="307"/>
                    <a:pt x="1227" y="911"/>
                  </a:cubicBezTo>
                  <a:cubicBezTo>
                    <a:pt x="108" y="2030"/>
                    <a:pt x="1" y="3804"/>
                    <a:pt x="989" y="5030"/>
                  </a:cubicBezTo>
                  <a:cubicBezTo>
                    <a:pt x="1013" y="5078"/>
                    <a:pt x="1061" y="5090"/>
                    <a:pt x="1120" y="5090"/>
                  </a:cubicBezTo>
                  <a:cubicBezTo>
                    <a:pt x="1156" y="5090"/>
                    <a:pt x="1192" y="5078"/>
                    <a:pt x="1227" y="5066"/>
                  </a:cubicBezTo>
                  <a:cubicBezTo>
                    <a:pt x="1299" y="5006"/>
                    <a:pt x="1311" y="4899"/>
                    <a:pt x="1251" y="4840"/>
                  </a:cubicBezTo>
                  <a:cubicBezTo>
                    <a:pt x="382" y="3744"/>
                    <a:pt x="477" y="2149"/>
                    <a:pt x="1477" y="1149"/>
                  </a:cubicBezTo>
                  <a:cubicBezTo>
                    <a:pt x="2019" y="607"/>
                    <a:pt x="2735" y="334"/>
                    <a:pt x="3452" y="334"/>
                  </a:cubicBezTo>
                  <a:cubicBezTo>
                    <a:pt x="4059" y="334"/>
                    <a:pt x="4666" y="530"/>
                    <a:pt x="5168" y="923"/>
                  </a:cubicBezTo>
                  <a:cubicBezTo>
                    <a:pt x="5199" y="948"/>
                    <a:pt x="5237" y="961"/>
                    <a:pt x="5273" y="961"/>
                  </a:cubicBezTo>
                  <a:cubicBezTo>
                    <a:pt x="5321" y="961"/>
                    <a:pt x="5367" y="939"/>
                    <a:pt x="5394" y="899"/>
                  </a:cubicBezTo>
                  <a:cubicBezTo>
                    <a:pt x="5442" y="827"/>
                    <a:pt x="5418" y="720"/>
                    <a:pt x="5347" y="672"/>
                  </a:cubicBezTo>
                  <a:cubicBezTo>
                    <a:pt x="4777" y="223"/>
                    <a:pt x="4096" y="1"/>
                    <a:pt x="3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7" name="Google Shape;11317;p60"/>
            <p:cNvSpPr/>
            <p:nvPr/>
          </p:nvSpPr>
          <p:spPr>
            <a:xfrm>
              <a:off x="903530" y="3806125"/>
              <a:ext cx="264550" cy="353222"/>
            </a:xfrm>
            <a:custGeom>
              <a:avLst/>
              <a:gdLst/>
              <a:ahLst/>
              <a:cxnLst/>
              <a:rect l="l" t="t" r="r" b="b"/>
              <a:pathLst>
                <a:path w="8312" h="11098" extrusionOk="0">
                  <a:moveTo>
                    <a:pt x="4144" y="322"/>
                  </a:moveTo>
                  <a:cubicBezTo>
                    <a:pt x="6251" y="322"/>
                    <a:pt x="7966" y="2025"/>
                    <a:pt x="7966" y="4144"/>
                  </a:cubicBezTo>
                  <a:cubicBezTo>
                    <a:pt x="7978" y="5085"/>
                    <a:pt x="7775" y="6002"/>
                    <a:pt x="7371" y="6895"/>
                  </a:cubicBezTo>
                  <a:cubicBezTo>
                    <a:pt x="7037" y="7609"/>
                    <a:pt x="6597" y="8323"/>
                    <a:pt x="6025" y="8978"/>
                  </a:cubicBezTo>
                  <a:cubicBezTo>
                    <a:pt x="5228" y="9919"/>
                    <a:pt x="4418" y="10526"/>
                    <a:pt x="4156" y="10717"/>
                  </a:cubicBezTo>
                  <a:cubicBezTo>
                    <a:pt x="3882" y="10538"/>
                    <a:pt x="3084" y="9931"/>
                    <a:pt x="2275" y="8990"/>
                  </a:cubicBezTo>
                  <a:cubicBezTo>
                    <a:pt x="1715" y="8323"/>
                    <a:pt x="1251" y="7621"/>
                    <a:pt x="929" y="6895"/>
                  </a:cubicBezTo>
                  <a:cubicBezTo>
                    <a:pt x="525" y="6002"/>
                    <a:pt x="310" y="5085"/>
                    <a:pt x="310" y="4144"/>
                  </a:cubicBezTo>
                  <a:cubicBezTo>
                    <a:pt x="310" y="2025"/>
                    <a:pt x="2025" y="322"/>
                    <a:pt x="4144" y="322"/>
                  </a:cubicBezTo>
                  <a:close/>
                  <a:moveTo>
                    <a:pt x="4156" y="1"/>
                  </a:moveTo>
                  <a:cubicBezTo>
                    <a:pt x="1858" y="1"/>
                    <a:pt x="1" y="1870"/>
                    <a:pt x="1" y="4156"/>
                  </a:cubicBezTo>
                  <a:cubicBezTo>
                    <a:pt x="1" y="5121"/>
                    <a:pt x="215" y="6097"/>
                    <a:pt x="644" y="7049"/>
                  </a:cubicBezTo>
                  <a:cubicBezTo>
                    <a:pt x="989" y="7788"/>
                    <a:pt x="1441" y="8514"/>
                    <a:pt x="2037" y="9216"/>
                  </a:cubicBezTo>
                  <a:cubicBezTo>
                    <a:pt x="3037" y="10395"/>
                    <a:pt x="4037" y="11050"/>
                    <a:pt x="4061" y="11062"/>
                  </a:cubicBezTo>
                  <a:cubicBezTo>
                    <a:pt x="4096" y="11074"/>
                    <a:pt x="4120" y="11098"/>
                    <a:pt x="4156" y="11098"/>
                  </a:cubicBezTo>
                  <a:cubicBezTo>
                    <a:pt x="4180" y="11098"/>
                    <a:pt x="4215" y="11074"/>
                    <a:pt x="4239" y="11062"/>
                  </a:cubicBezTo>
                  <a:cubicBezTo>
                    <a:pt x="4287" y="11038"/>
                    <a:pt x="5275" y="10395"/>
                    <a:pt x="6263" y="9216"/>
                  </a:cubicBezTo>
                  <a:cubicBezTo>
                    <a:pt x="6859" y="8538"/>
                    <a:pt x="7323" y="7800"/>
                    <a:pt x="7668" y="7049"/>
                  </a:cubicBezTo>
                  <a:cubicBezTo>
                    <a:pt x="8085" y="6109"/>
                    <a:pt x="8311" y="5144"/>
                    <a:pt x="8311" y="4156"/>
                  </a:cubicBezTo>
                  <a:cubicBezTo>
                    <a:pt x="8311" y="1870"/>
                    <a:pt x="6442"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8" name="Google Shape;11318;p60"/>
            <p:cNvSpPr/>
            <p:nvPr/>
          </p:nvSpPr>
          <p:spPr>
            <a:xfrm>
              <a:off x="1008879" y="3904059"/>
              <a:ext cx="54966" cy="18460"/>
            </a:xfrm>
            <a:custGeom>
              <a:avLst/>
              <a:gdLst/>
              <a:ahLst/>
              <a:cxnLst/>
              <a:rect l="l" t="t" r="r" b="b"/>
              <a:pathLst>
                <a:path w="1727" h="580" extrusionOk="0">
                  <a:moveTo>
                    <a:pt x="648" y="1"/>
                  </a:moveTo>
                  <a:cubicBezTo>
                    <a:pt x="492" y="1"/>
                    <a:pt x="319" y="16"/>
                    <a:pt x="132" y="55"/>
                  </a:cubicBezTo>
                  <a:cubicBezTo>
                    <a:pt x="60" y="67"/>
                    <a:pt x="1" y="127"/>
                    <a:pt x="1" y="222"/>
                  </a:cubicBezTo>
                  <a:lnTo>
                    <a:pt x="1" y="401"/>
                  </a:lnTo>
                  <a:cubicBezTo>
                    <a:pt x="1" y="484"/>
                    <a:pt x="72" y="555"/>
                    <a:pt x="155" y="555"/>
                  </a:cubicBezTo>
                  <a:cubicBezTo>
                    <a:pt x="251" y="555"/>
                    <a:pt x="322" y="484"/>
                    <a:pt x="322" y="401"/>
                  </a:cubicBezTo>
                  <a:lnTo>
                    <a:pt x="322" y="365"/>
                  </a:lnTo>
                  <a:cubicBezTo>
                    <a:pt x="434" y="350"/>
                    <a:pt x="539" y="343"/>
                    <a:pt x="636" y="343"/>
                  </a:cubicBezTo>
                  <a:cubicBezTo>
                    <a:pt x="841" y="343"/>
                    <a:pt x="1011" y="372"/>
                    <a:pt x="1132" y="413"/>
                  </a:cubicBezTo>
                  <a:cubicBezTo>
                    <a:pt x="1334" y="472"/>
                    <a:pt x="1453" y="543"/>
                    <a:pt x="1465" y="543"/>
                  </a:cubicBezTo>
                  <a:cubicBezTo>
                    <a:pt x="1501" y="555"/>
                    <a:pt x="1525" y="579"/>
                    <a:pt x="1560" y="579"/>
                  </a:cubicBezTo>
                  <a:cubicBezTo>
                    <a:pt x="1620" y="579"/>
                    <a:pt x="1667" y="543"/>
                    <a:pt x="1691" y="496"/>
                  </a:cubicBezTo>
                  <a:cubicBezTo>
                    <a:pt x="1727" y="401"/>
                    <a:pt x="1703" y="305"/>
                    <a:pt x="1632" y="246"/>
                  </a:cubicBezTo>
                  <a:cubicBezTo>
                    <a:pt x="1613" y="236"/>
                    <a:pt x="1255" y="1"/>
                    <a:pt x="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19" name="Google Shape;11319;p60"/>
            <p:cNvSpPr/>
            <p:nvPr/>
          </p:nvSpPr>
          <p:spPr>
            <a:xfrm>
              <a:off x="972118" y="3872072"/>
              <a:ext cx="172473" cy="164866"/>
            </a:xfrm>
            <a:custGeom>
              <a:avLst/>
              <a:gdLst/>
              <a:ahLst/>
              <a:cxnLst/>
              <a:rect l="l" t="t" r="r" b="b"/>
              <a:pathLst>
                <a:path w="5419" h="5180" extrusionOk="0">
                  <a:moveTo>
                    <a:pt x="3239" y="346"/>
                  </a:moveTo>
                  <a:lnTo>
                    <a:pt x="3239" y="1144"/>
                  </a:lnTo>
                  <a:cubicBezTo>
                    <a:pt x="3239" y="1287"/>
                    <a:pt x="3203" y="1418"/>
                    <a:pt x="3144" y="1537"/>
                  </a:cubicBezTo>
                  <a:lnTo>
                    <a:pt x="3084" y="1668"/>
                  </a:lnTo>
                  <a:cubicBezTo>
                    <a:pt x="3073" y="1703"/>
                    <a:pt x="3073" y="1715"/>
                    <a:pt x="3073" y="1739"/>
                  </a:cubicBezTo>
                  <a:lnTo>
                    <a:pt x="3073" y="2084"/>
                  </a:lnTo>
                  <a:cubicBezTo>
                    <a:pt x="3073" y="2370"/>
                    <a:pt x="2953" y="2632"/>
                    <a:pt x="2763" y="2846"/>
                  </a:cubicBezTo>
                  <a:cubicBezTo>
                    <a:pt x="2558" y="3028"/>
                    <a:pt x="2311" y="3145"/>
                    <a:pt x="2040" y="3145"/>
                  </a:cubicBezTo>
                  <a:cubicBezTo>
                    <a:pt x="2027" y="3145"/>
                    <a:pt x="2014" y="3144"/>
                    <a:pt x="2001" y="3144"/>
                  </a:cubicBezTo>
                  <a:cubicBezTo>
                    <a:pt x="1406" y="3108"/>
                    <a:pt x="941" y="2620"/>
                    <a:pt x="941" y="2037"/>
                  </a:cubicBezTo>
                  <a:lnTo>
                    <a:pt x="941" y="1739"/>
                  </a:lnTo>
                  <a:cubicBezTo>
                    <a:pt x="941" y="1715"/>
                    <a:pt x="941" y="1703"/>
                    <a:pt x="929" y="1668"/>
                  </a:cubicBezTo>
                  <a:lnTo>
                    <a:pt x="870" y="1537"/>
                  </a:lnTo>
                  <a:cubicBezTo>
                    <a:pt x="810" y="1418"/>
                    <a:pt x="775" y="1287"/>
                    <a:pt x="775" y="1144"/>
                  </a:cubicBezTo>
                  <a:cubicBezTo>
                    <a:pt x="775" y="703"/>
                    <a:pt x="1132" y="346"/>
                    <a:pt x="1584" y="346"/>
                  </a:cubicBezTo>
                  <a:close/>
                  <a:moveTo>
                    <a:pt x="1465" y="3346"/>
                  </a:moveTo>
                  <a:cubicBezTo>
                    <a:pt x="1608" y="3406"/>
                    <a:pt x="1775" y="3453"/>
                    <a:pt x="1953" y="3465"/>
                  </a:cubicBezTo>
                  <a:lnTo>
                    <a:pt x="2001" y="3465"/>
                  </a:lnTo>
                  <a:cubicBezTo>
                    <a:pt x="2180" y="3465"/>
                    <a:pt x="2370" y="3442"/>
                    <a:pt x="2537" y="3370"/>
                  </a:cubicBezTo>
                  <a:lnTo>
                    <a:pt x="2537" y="3584"/>
                  </a:lnTo>
                  <a:cubicBezTo>
                    <a:pt x="2537" y="3632"/>
                    <a:pt x="2549" y="3692"/>
                    <a:pt x="2549" y="3739"/>
                  </a:cubicBezTo>
                  <a:lnTo>
                    <a:pt x="2001" y="4156"/>
                  </a:lnTo>
                  <a:lnTo>
                    <a:pt x="1453" y="3727"/>
                  </a:lnTo>
                  <a:cubicBezTo>
                    <a:pt x="1465" y="3680"/>
                    <a:pt x="1465" y="3632"/>
                    <a:pt x="1465" y="3573"/>
                  </a:cubicBezTo>
                  <a:lnTo>
                    <a:pt x="1465" y="3346"/>
                  </a:lnTo>
                  <a:close/>
                  <a:moveTo>
                    <a:pt x="1251" y="3977"/>
                  </a:moveTo>
                  <a:lnTo>
                    <a:pt x="1834" y="4406"/>
                  </a:lnTo>
                  <a:lnTo>
                    <a:pt x="1834" y="4870"/>
                  </a:lnTo>
                  <a:cubicBezTo>
                    <a:pt x="1334" y="4835"/>
                    <a:pt x="822" y="4680"/>
                    <a:pt x="394" y="4358"/>
                  </a:cubicBezTo>
                  <a:cubicBezTo>
                    <a:pt x="417" y="4335"/>
                    <a:pt x="465" y="4299"/>
                    <a:pt x="501" y="4287"/>
                  </a:cubicBezTo>
                  <a:lnTo>
                    <a:pt x="1132" y="4049"/>
                  </a:lnTo>
                  <a:cubicBezTo>
                    <a:pt x="1179" y="4037"/>
                    <a:pt x="1227" y="4001"/>
                    <a:pt x="1251" y="3977"/>
                  </a:cubicBezTo>
                  <a:close/>
                  <a:moveTo>
                    <a:pt x="2739" y="3989"/>
                  </a:moveTo>
                  <a:cubicBezTo>
                    <a:pt x="2787" y="4025"/>
                    <a:pt x="2822" y="4037"/>
                    <a:pt x="2858" y="4061"/>
                  </a:cubicBezTo>
                  <a:lnTo>
                    <a:pt x="3632" y="4346"/>
                  </a:lnTo>
                  <a:cubicBezTo>
                    <a:pt x="3192" y="4656"/>
                    <a:pt x="2680" y="4835"/>
                    <a:pt x="2168" y="4870"/>
                  </a:cubicBezTo>
                  <a:lnTo>
                    <a:pt x="2168" y="4418"/>
                  </a:lnTo>
                  <a:lnTo>
                    <a:pt x="2739" y="3989"/>
                  </a:lnTo>
                  <a:close/>
                  <a:moveTo>
                    <a:pt x="1596" y="1"/>
                  </a:moveTo>
                  <a:cubicBezTo>
                    <a:pt x="977" y="1"/>
                    <a:pt x="465" y="501"/>
                    <a:pt x="465" y="1132"/>
                  </a:cubicBezTo>
                  <a:cubicBezTo>
                    <a:pt x="465" y="1310"/>
                    <a:pt x="513" y="1501"/>
                    <a:pt x="596" y="1668"/>
                  </a:cubicBezTo>
                  <a:lnTo>
                    <a:pt x="644" y="1751"/>
                  </a:lnTo>
                  <a:lnTo>
                    <a:pt x="644" y="2013"/>
                  </a:lnTo>
                  <a:cubicBezTo>
                    <a:pt x="644" y="2453"/>
                    <a:pt x="858" y="2858"/>
                    <a:pt x="1168" y="3120"/>
                  </a:cubicBezTo>
                  <a:lnTo>
                    <a:pt x="1168" y="3561"/>
                  </a:lnTo>
                  <a:cubicBezTo>
                    <a:pt x="1168" y="3632"/>
                    <a:pt x="1120" y="3704"/>
                    <a:pt x="1048" y="3739"/>
                  </a:cubicBezTo>
                  <a:lnTo>
                    <a:pt x="406" y="3977"/>
                  </a:lnTo>
                  <a:cubicBezTo>
                    <a:pt x="239" y="4037"/>
                    <a:pt x="108" y="4168"/>
                    <a:pt x="36" y="4311"/>
                  </a:cubicBezTo>
                  <a:cubicBezTo>
                    <a:pt x="1" y="4394"/>
                    <a:pt x="25" y="4466"/>
                    <a:pt x="84" y="4513"/>
                  </a:cubicBezTo>
                  <a:cubicBezTo>
                    <a:pt x="644" y="4954"/>
                    <a:pt x="1334" y="5180"/>
                    <a:pt x="2001" y="5180"/>
                  </a:cubicBezTo>
                  <a:cubicBezTo>
                    <a:pt x="2799" y="5180"/>
                    <a:pt x="3596" y="4870"/>
                    <a:pt x="4204" y="4275"/>
                  </a:cubicBezTo>
                  <a:cubicBezTo>
                    <a:pt x="5323" y="3168"/>
                    <a:pt x="5418" y="1406"/>
                    <a:pt x="4442" y="167"/>
                  </a:cubicBezTo>
                  <a:cubicBezTo>
                    <a:pt x="4405" y="124"/>
                    <a:pt x="4351" y="98"/>
                    <a:pt x="4301" y="98"/>
                  </a:cubicBezTo>
                  <a:cubicBezTo>
                    <a:pt x="4269" y="98"/>
                    <a:pt x="4239" y="108"/>
                    <a:pt x="4216" y="132"/>
                  </a:cubicBezTo>
                  <a:cubicBezTo>
                    <a:pt x="4144" y="191"/>
                    <a:pt x="4132" y="298"/>
                    <a:pt x="4192" y="358"/>
                  </a:cubicBezTo>
                  <a:cubicBezTo>
                    <a:pt x="5061" y="1465"/>
                    <a:pt x="4966" y="3049"/>
                    <a:pt x="3965" y="4049"/>
                  </a:cubicBezTo>
                  <a:lnTo>
                    <a:pt x="3906" y="4108"/>
                  </a:lnTo>
                  <a:cubicBezTo>
                    <a:pt x="3870" y="4096"/>
                    <a:pt x="3835" y="4061"/>
                    <a:pt x="3799" y="4049"/>
                  </a:cubicBezTo>
                  <a:lnTo>
                    <a:pt x="2977" y="3739"/>
                  </a:lnTo>
                  <a:cubicBezTo>
                    <a:pt x="2906" y="3704"/>
                    <a:pt x="2858" y="3644"/>
                    <a:pt x="2858" y="3561"/>
                  </a:cubicBezTo>
                  <a:lnTo>
                    <a:pt x="2858" y="3144"/>
                  </a:lnTo>
                  <a:cubicBezTo>
                    <a:pt x="2894" y="3108"/>
                    <a:pt x="2942" y="3084"/>
                    <a:pt x="2965" y="3049"/>
                  </a:cubicBezTo>
                  <a:cubicBezTo>
                    <a:pt x="3239" y="2787"/>
                    <a:pt x="3382" y="2441"/>
                    <a:pt x="3382" y="2072"/>
                  </a:cubicBezTo>
                  <a:lnTo>
                    <a:pt x="3382" y="1751"/>
                  </a:lnTo>
                  <a:lnTo>
                    <a:pt x="3430" y="1668"/>
                  </a:lnTo>
                  <a:cubicBezTo>
                    <a:pt x="3513" y="1501"/>
                    <a:pt x="3561" y="1310"/>
                    <a:pt x="3561" y="1132"/>
                  </a:cubicBezTo>
                  <a:lnTo>
                    <a:pt x="3561" y="167"/>
                  </a:lnTo>
                  <a:cubicBezTo>
                    <a:pt x="3561" y="72"/>
                    <a:pt x="3489" y="1"/>
                    <a:pt x="3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20" name="Google Shape;11320;p60"/>
          <p:cNvGrpSpPr/>
          <p:nvPr/>
        </p:nvGrpSpPr>
        <p:grpSpPr>
          <a:xfrm>
            <a:off x="2611458" y="3816374"/>
            <a:ext cx="426329" cy="332375"/>
            <a:chOff x="2611458" y="3816374"/>
            <a:chExt cx="426329" cy="332375"/>
          </a:xfrm>
        </p:grpSpPr>
        <p:sp>
          <p:nvSpPr>
            <p:cNvPr id="11321" name="Google Shape;11321;p60"/>
            <p:cNvSpPr/>
            <p:nvPr/>
          </p:nvSpPr>
          <p:spPr>
            <a:xfrm>
              <a:off x="2611458" y="3816374"/>
              <a:ext cx="426329" cy="332375"/>
            </a:xfrm>
            <a:custGeom>
              <a:avLst/>
              <a:gdLst/>
              <a:ahLst/>
              <a:cxnLst/>
              <a:rect l="l" t="t" r="r" b="b"/>
              <a:pathLst>
                <a:path w="13395" h="10443" extrusionOk="0">
                  <a:moveTo>
                    <a:pt x="13002" y="429"/>
                  </a:moveTo>
                  <a:lnTo>
                    <a:pt x="12966" y="846"/>
                  </a:lnTo>
                  <a:lnTo>
                    <a:pt x="11418" y="846"/>
                  </a:lnTo>
                  <a:cubicBezTo>
                    <a:pt x="11299" y="846"/>
                    <a:pt x="11216" y="929"/>
                    <a:pt x="11216" y="1048"/>
                  </a:cubicBezTo>
                  <a:cubicBezTo>
                    <a:pt x="11216" y="1167"/>
                    <a:pt x="11299" y="1263"/>
                    <a:pt x="11418" y="1263"/>
                  </a:cubicBezTo>
                  <a:lnTo>
                    <a:pt x="12633" y="1263"/>
                  </a:lnTo>
                  <a:lnTo>
                    <a:pt x="12633" y="7501"/>
                  </a:lnTo>
                  <a:lnTo>
                    <a:pt x="5429" y="7501"/>
                  </a:lnTo>
                  <a:lnTo>
                    <a:pt x="5429" y="7287"/>
                  </a:lnTo>
                  <a:cubicBezTo>
                    <a:pt x="5429" y="7168"/>
                    <a:pt x="5334" y="7085"/>
                    <a:pt x="5215" y="7085"/>
                  </a:cubicBezTo>
                  <a:lnTo>
                    <a:pt x="4870" y="7085"/>
                  </a:lnTo>
                  <a:cubicBezTo>
                    <a:pt x="4834" y="6942"/>
                    <a:pt x="4786" y="6811"/>
                    <a:pt x="4715" y="6692"/>
                  </a:cubicBezTo>
                  <a:lnTo>
                    <a:pt x="4953" y="6454"/>
                  </a:lnTo>
                  <a:cubicBezTo>
                    <a:pt x="5036" y="6358"/>
                    <a:pt x="5036" y="6227"/>
                    <a:pt x="4953" y="6156"/>
                  </a:cubicBezTo>
                  <a:lnTo>
                    <a:pt x="4310" y="5513"/>
                  </a:lnTo>
                  <a:cubicBezTo>
                    <a:pt x="4263" y="5477"/>
                    <a:pt x="4215" y="5454"/>
                    <a:pt x="4155" y="5454"/>
                  </a:cubicBezTo>
                  <a:cubicBezTo>
                    <a:pt x="4096" y="5454"/>
                    <a:pt x="4060" y="5477"/>
                    <a:pt x="4013" y="5513"/>
                  </a:cubicBezTo>
                  <a:lnTo>
                    <a:pt x="3774" y="5751"/>
                  </a:lnTo>
                  <a:cubicBezTo>
                    <a:pt x="3655" y="5692"/>
                    <a:pt x="3524" y="5632"/>
                    <a:pt x="3382" y="5596"/>
                  </a:cubicBezTo>
                  <a:lnTo>
                    <a:pt x="3382" y="5251"/>
                  </a:lnTo>
                  <a:cubicBezTo>
                    <a:pt x="3382" y="5132"/>
                    <a:pt x="3298" y="5037"/>
                    <a:pt x="3179" y="5037"/>
                  </a:cubicBezTo>
                  <a:lnTo>
                    <a:pt x="2655" y="5037"/>
                  </a:lnTo>
                  <a:lnTo>
                    <a:pt x="2655" y="1274"/>
                  </a:lnTo>
                  <a:lnTo>
                    <a:pt x="10704" y="1274"/>
                  </a:lnTo>
                  <a:cubicBezTo>
                    <a:pt x="10823" y="1274"/>
                    <a:pt x="10918" y="1191"/>
                    <a:pt x="10918" y="1072"/>
                  </a:cubicBezTo>
                  <a:cubicBezTo>
                    <a:pt x="10918" y="953"/>
                    <a:pt x="10823" y="858"/>
                    <a:pt x="10704" y="858"/>
                  </a:cubicBezTo>
                  <a:lnTo>
                    <a:pt x="2310" y="858"/>
                  </a:lnTo>
                  <a:lnTo>
                    <a:pt x="2310" y="429"/>
                  </a:lnTo>
                  <a:close/>
                  <a:moveTo>
                    <a:pt x="12966" y="7918"/>
                  </a:moveTo>
                  <a:lnTo>
                    <a:pt x="12966" y="8347"/>
                  </a:lnTo>
                  <a:lnTo>
                    <a:pt x="5358" y="8347"/>
                  </a:lnTo>
                  <a:cubicBezTo>
                    <a:pt x="5394" y="8299"/>
                    <a:pt x="5417" y="8251"/>
                    <a:pt x="5417" y="8192"/>
                  </a:cubicBezTo>
                  <a:lnTo>
                    <a:pt x="5417" y="7954"/>
                  </a:lnTo>
                  <a:lnTo>
                    <a:pt x="12835" y="7954"/>
                  </a:lnTo>
                  <a:cubicBezTo>
                    <a:pt x="12883" y="7954"/>
                    <a:pt x="12930" y="7942"/>
                    <a:pt x="12954" y="7918"/>
                  </a:cubicBezTo>
                  <a:close/>
                  <a:moveTo>
                    <a:pt x="2953" y="5442"/>
                  </a:moveTo>
                  <a:lnTo>
                    <a:pt x="2953" y="5739"/>
                  </a:lnTo>
                  <a:cubicBezTo>
                    <a:pt x="2953" y="5846"/>
                    <a:pt x="3024" y="5918"/>
                    <a:pt x="3120" y="5954"/>
                  </a:cubicBezTo>
                  <a:cubicBezTo>
                    <a:pt x="3310" y="5989"/>
                    <a:pt x="3501" y="6073"/>
                    <a:pt x="3679" y="6192"/>
                  </a:cubicBezTo>
                  <a:cubicBezTo>
                    <a:pt x="3716" y="6215"/>
                    <a:pt x="3755" y="6225"/>
                    <a:pt x="3793" y="6225"/>
                  </a:cubicBezTo>
                  <a:cubicBezTo>
                    <a:pt x="3853" y="6225"/>
                    <a:pt x="3909" y="6200"/>
                    <a:pt x="3953" y="6156"/>
                  </a:cubicBezTo>
                  <a:lnTo>
                    <a:pt x="4155" y="5954"/>
                  </a:lnTo>
                  <a:lnTo>
                    <a:pt x="4501" y="6287"/>
                  </a:lnTo>
                  <a:lnTo>
                    <a:pt x="4298" y="6501"/>
                  </a:lnTo>
                  <a:cubicBezTo>
                    <a:pt x="4215" y="6573"/>
                    <a:pt x="4203" y="6680"/>
                    <a:pt x="4263" y="6763"/>
                  </a:cubicBezTo>
                  <a:cubicBezTo>
                    <a:pt x="4370" y="6942"/>
                    <a:pt x="4453" y="7144"/>
                    <a:pt x="4501" y="7335"/>
                  </a:cubicBezTo>
                  <a:cubicBezTo>
                    <a:pt x="4513" y="7418"/>
                    <a:pt x="4608" y="7501"/>
                    <a:pt x="4715" y="7501"/>
                  </a:cubicBezTo>
                  <a:lnTo>
                    <a:pt x="5013" y="7501"/>
                  </a:lnTo>
                  <a:lnTo>
                    <a:pt x="5013" y="7990"/>
                  </a:lnTo>
                  <a:lnTo>
                    <a:pt x="4715" y="7990"/>
                  </a:lnTo>
                  <a:cubicBezTo>
                    <a:pt x="4608" y="7990"/>
                    <a:pt x="4525" y="8061"/>
                    <a:pt x="4501" y="8156"/>
                  </a:cubicBezTo>
                  <a:cubicBezTo>
                    <a:pt x="4453" y="8347"/>
                    <a:pt x="4382" y="8537"/>
                    <a:pt x="4263" y="8716"/>
                  </a:cubicBezTo>
                  <a:cubicBezTo>
                    <a:pt x="4203" y="8811"/>
                    <a:pt x="4215" y="8906"/>
                    <a:pt x="4298" y="8990"/>
                  </a:cubicBezTo>
                  <a:lnTo>
                    <a:pt x="4501" y="9192"/>
                  </a:lnTo>
                  <a:lnTo>
                    <a:pt x="4155" y="9537"/>
                  </a:lnTo>
                  <a:lnTo>
                    <a:pt x="3953" y="9323"/>
                  </a:lnTo>
                  <a:cubicBezTo>
                    <a:pt x="3912" y="9282"/>
                    <a:pt x="3860" y="9261"/>
                    <a:pt x="3805" y="9261"/>
                  </a:cubicBezTo>
                  <a:cubicBezTo>
                    <a:pt x="3764" y="9261"/>
                    <a:pt x="3720" y="9273"/>
                    <a:pt x="3679" y="9299"/>
                  </a:cubicBezTo>
                  <a:cubicBezTo>
                    <a:pt x="3501" y="9394"/>
                    <a:pt x="3310" y="9490"/>
                    <a:pt x="3120" y="9537"/>
                  </a:cubicBezTo>
                  <a:cubicBezTo>
                    <a:pt x="3024" y="9549"/>
                    <a:pt x="2953" y="9633"/>
                    <a:pt x="2953" y="9740"/>
                  </a:cubicBezTo>
                  <a:lnTo>
                    <a:pt x="2953" y="10037"/>
                  </a:lnTo>
                  <a:lnTo>
                    <a:pt x="2465" y="10037"/>
                  </a:lnTo>
                  <a:lnTo>
                    <a:pt x="2465" y="9740"/>
                  </a:lnTo>
                  <a:cubicBezTo>
                    <a:pt x="2465" y="9633"/>
                    <a:pt x="2393" y="9561"/>
                    <a:pt x="2298" y="9537"/>
                  </a:cubicBezTo>
                  <a:cubicBezTo>
                    <a:pt x="2108" y="9490"/>
                    <a:pt x="1917" y="9418"/>
                    <a:pt x="1738" y="9299"/>
                  </a:cubicBezTo>
                  <a:cubicBezTo>
                    <a:pt x="1697" y="9273"/>
                    <a:pt x="1654" y="9261"/>
                    <a:pt x="1612" y="9261"/>
                  </a:cubicBezTo>
                  <a:cubicBezTo>
                    <a:pt x="1557" y="9261"/>
                    <a:pt x="1505" y="9282"/>
                    <a:pt x="1465" y="9323"/>
                  </a:cubicBezTo>
                  <a:lnTo>
                    <a:pt x="1262" y="9537"/>
                  </a:lnTo>
                  <a:lnTo>
                    <a:pt x="917" y="9192"/>
                  </a:lnTo>
                  <a:lnTo>
                    <a:pt x="1119" y="8990"/>
                  </a:lnTo>
                  <a:cubicBezTo>
                    <a:pt x="1203" y="8906"/>
                    <a:pt x="1215" y="8799"/>
                    <a:pt x="1155" y="8716"/>
                  </a:cubicBezTo>
                  <a:cubicBezTo>
                    <a:pt x="1048" y="8537"/>
                    <a:pt x="965" y="8347"/>
                    <a:pt x="917" y="8156"/>
                  </a:cubicBezTo>
                  <a:cubicBezTo>
                    <a:pt x="905" y="8061"/>
                    <a:pt x="810" y="7990"/>
                    <a:pt x="703" y="7990"/>
                  </a:cubicBezTo>
                  <a:lnTo>
                    <a:pt x="405" y="7990"/>
                  </a:lnTo>
                  <a:lnTo>
                    <a:pt x="405" y="7501"/>
                  </a:lnTo>
                  <a:lnTo>
                    <a:pt x="703" y="7501"/>
                  </a:lnTo>
                  <a:cubicBezTo>
                    <a:pt x="810" y="7501"/>
                    <a:pt x="881" y="7418"/>
                    <a:pt x="917" y="7335"/>
                  </a:cubicBezTo>
                  <a:cubicBezTo>
                    <a:pt x="965" y="7144"/>
                    <a:pt x="1036" y="6942"/>
                    <a:pt x="1155" y="6763"/>
                  </a:cubicBezTo>
                  <a:cubicBezTo>
                    <a:pt x="1215" y="6680"/>
                    <a:pt x="1203" y="6573"/>
                    <a:pt x="1119" y="6501"/>
                  </a:cubicBezTo>
                  <a:lnTo>
                    <a:pt x="917" y="6287"/>
                  </a:lnTo>
                  <a:lnTo>
                    <a:pt x="1262" y="5954"/>
                  </a:lnTo>
                  <a:lnTo>
                    <a:pt x="1465" y="6156"/>
                  </a:lnTo>
                  <a:cubicBezTo>
                    <a:pt x="1508" y="6200"/>
                    <a:pt x="1565" y="6225"/>
                    <a:pt x="1624" y="6225"/>
                  </a:cubicBezTo>
                  <a:cubicBezTo>
                    <a:pt x="1662" y="6225"/>
                    <a:pt x="1701" y="6215"/>
                    <a:pt x="1738" y="6192"/>
                  </a:cubicBezTo>
                  <a:cubicBezTo>
                    <a:pt x="1917" y="6085"/>
                    <a:pt x="2108" y="5989"/>
                    <a:pt x="2298" y="5954"/>
                  </a:cubicBezTo>
                  <a:cubicBezTo>
                    <a:pt x="2393" y="5930"/>
                    <a:pt x="2465" y="5846"/>
                    <a:pt x="2465" y="5739"/>
                  </a:cubicBezTo>
                  <a:lnTo>
                    <a:pt x="2465" y="5442"/>
                  </a:lnTo>
                  <a:close/>
                  <a:moveTo>
                    <a:pt x="2084" y="0"/>
                  </a:moveTo>
                  <a:cubicBezTo>
                    <a:pt x="1977" y="0"/>
                    <a:pt x="1881" y="84"/>
                    <a:pt x="1881" y="203"/>
                  </a:cubicBezTo>
                  <a:lnTo>
                    <a:pt x="1881" y="1048"/>
                  </a:lnTo>
                  <a:cubicBezTo>
                    <a:pt x="1881" y="1167"/>
                    <a:pt x="1977" y="1263"/>
                    <a:pt x="2084" y="1263"/>
                  </a:cubicBezTo>
                  <a:lnTo>
                    <a:pt x="2227" y="1263"/>
                  </a:lnTo>
                  <a:lnTo>
                    <a:pt x="2227" y="5037"/>
                  </a:lnTo>
                  <a:cubicBezTo>
                    <a:pt x="2119" y="5061"/>
                    <a:pt x="2048" y="5144"/>
                    <a:pt x="2048" y="5251"/>
                  </a:cubicBezTo>
                  <a:lnTo>
                    <a:pt x="2048" y="5584"/>
                  </a:lnTo>
                  <a:cubicBezTo>
                    <a:pt x="1905" y="5632"/>
                    <a:pt x="1774" y="5680"/>
                    <a:pt x="1655" y="5751"/>
                  </a:cubicBezTo>
                  <a:lnTo>
                    <a:pt x="1417" y="5513"/>
                  </a:lnTo>
                  <a:cubicBezTo>
                    <a:pt x="1369" y="5465"/>
                    <a:pt x="1334" y="5454"/>
                    <a:pt x="1274" y="5454"/>
                  </a:cubicBezTo>
                  <a:cubicBezTo>
                    <a:pt x="1215" y="5454"/>
                    <a:pt x="1167" y="5465"/>
                    <a:pt x="1119" y="5513"/>
                  </a:cubicBezTo>
                  <a:lnTo>
                    <a:pt x="476" y="6156"/>
                  </a:lnTo>
                  <a:cubicBezTo>
                    <a:pt x="393" y="6239"/>
                    <a:pt x="393" y="6382"/>
                    <a:pt x="476" y="6454"/>
                  </a:cubicBezTo>
                  <a:lnTo>
                    <a:pt x="715" y="6692"/>
                  </a:lnTo>
                  <a:cubicBezTo>
                    <a:pt x="655" y="6811"/>
                    <a:pt x="595" y="6942"/>
                    <a:pt x="560" y="7073"/>
                  </a:cubicBezTo>
                  <a:lnTo>
                    <a:pt x="214" y="7073"/>
                  </a:lnTo>
                  <a:cubicBezTo>
                    <a:pt x="95" y="7073"/>
                    <a:pt x="0" y="7168"/>
                    <a:pt x="0" y="7287"/>
                  </a:cubicBezTo>
                  <a:lnTo>
                    <a:pt x="0" y="8192"/>
                  </a:lnTo>
                  <a:cubicBezTo>
                    <a:pt x="0" y="8311"/>
                    <a:pt x="95" y="8406"/>
                    <a:pt x="214" y="8406"/>
                  </a:cubicBezTo>
                  <a:lnTo>
                    <a:pt x="560" y="8406"/>
                  </a:lnTo>
                  <a:cubicBezTo>
                    <a:pt x="595" y="8537"/>
                    <a:pt x="643" y="8668"/>
                    <a:pt x="715" y="8787"/>
                  </a:cubicBezTo>
                  <a:lnTo>
                    <a:pt x="476" y="9025"/>
                  </a:lnTo>
                  <a:cubicBezTo>
                    <a:pt x="393" y="9121"/>
                    <a:pt x="393" y="9252"/>
                    <a:pt x="476" y="9323"/>
                  </a:cubicBezTo>
                  <a:lnTo>
                    <a:pt x="1119" y="9966"/>
                  </a:lnTo>
                  <a:cubicBezTo>
                    <a:pt x="1167" y="10008"/>
                    <a:pt x="1223" y="10028"/>
                    <a:pt x="1277" y="10028"/>
                  </a:cubicBezTo>
                  <a:cubicBezTo>
                    <a:pt x="1331" y="10028"/>
                    <a:pt x="1381" y="10008"/>
                    <a:pt x="1417" y="9966"/>
                  </a:cubicBezTo>
                  <a:lnTo>
                    <a:pt x="1655" y="9728"/>
                  </a:lnTo>
                  <a:cubicBezTo>
                    <a:pt x="1774" y="9787"/>
                    <a:pt x="1905" y="9847"/>
                    <a:pt x="2048" y="9895"/>
                  </a:cubicBezTo>
                  <a:lnTo>
                    <a:pt x="2048" y="10228"/>
                  </a:lnTo>
                  <a:cubicBezTo>
                    <a:pt x="2048" y="10347"/>
                    <a:pt x="2131" y="10442"/>
                    <a:pt x="2250" y="10442"/>
                  </a:cubicBezTo>
                  <a:lnTo>
                    <a:pt x="3155" y="10442"/>
                  </a:lnTo>
                  <a:cubicBezTo>
                    <a:pt x="3274" y="10442"/>
                    <a:pt x="3370" y="10347"/>
                    <a:pt x="3370" y="10228"/>
                  </a:cubicBezTo>
                  <a:lnTo>
                    <a:pt x="3370" y="9895"/>
                  </a:lnTo>
                  <a:cubicBezTo>
                    <a:pt x="3501" y="9847"/>
                    <a:pt x="3632" y="9799"/>
                    <a:pt x="3751" y="9728"/>
                  </a:cubicBezTo>
                  <a:lnTo>
                    <a:pt x="3989" y="9966"/>
                  </a:lnTo>
                  <a:cubicBezTo>
                    <a:pt x="4036" y="10008"/>
                    <a:pt x="4093" y="10028"/>
                    <a:pt x="4146" y="10028"/>
                  </a:cubicBezTo>
                  <a:cubicBezTo>
                    <a:pt x="4200" y="10028"/>
                    <a:pt x="4251" y="10008"/>
                    <a:pt x="4286" y="9966"/>
                  </a:cubicBezTo>
                  <a:lnTo>
                    <a:pt x="4929" y="9323"/>
                  </a:lnTo>
                  <a:cubicBezTo>
                    <a:pt x="5025" y="9240"/>
                    <a:pt x="5025" y="9097"/>
                    <a:pt x="4929" y="9025"/>
                  </a:cubicBezTo>
                  <a:lnTo>
                    <a:pt x="4691" y="8787"/>
                  </a:lnTo>
                  <a:cubicBezTo>
                    <a:pt x="4691" y="8775"/>
                    <a:pt x="4703" y="8775"/>
                    <a:pt x="4703" y="8763"/>
                  </a:cubicBezTo>
                  <a:lnTo>
                    <a:pt x="13180" y="8763"/>
                  </a:lnTo>
                  <a:cubicBezTo>
                    <a:pt x="13299" y="8763"/>
                    <a:pt x="13383" y="8668"/>
                    <a:pt x="13383" y="8549"/>
                  </a:cubicBezTo>
                  <a:lnTo>
                    <a:pt x="13383" y="7704"/>
                  </a:lnTo>
                  <a:cubicBezTo>
                    <a:pt x="13383" y="7585"/>
                    <a:pt x="13299" y="7489"/>
                    <a:pt x="13180" y="7489"/>
                  </a:cubicBezTo>
                  <a:lnTo>
                    <a:pt x="13037" y="7489"/>
                  </a:lnTo>
                  <a:lnTo>
                    <a:pt x="13037" y="1263"/>
                  </a:lnTo>
                  <a:lnTo>
                    <a:pt x="13192" y="1263"/>
                  </a:lnTo>
                  <a:cubicBezTo>
                    <a:pt x="13311" y="1263"/>
                    <a:pt x="13395" y="1167"/>
                    <a:pt x="13395" y="1048"/>
                  </a:cubicBezTo>
                  <a:lnTo>
                    <a:pt x="13395" y="203"/>
                  </a:lnTo>
                  <a:cubicBezTo>
                    <a:pt x="13395" y="84"/>
                    <a:pt x="13311" y="0"/>
                    <a:pt x="13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2" name="Google Shape;11322;p60"/>
            <p:cNvSpPr/>
            <p:nvPr/>
          </p:nvSpPr>
          <p:spPr>
            <a:xfrm>
              <a:off x="2803568" y="3950909"/>
              <a:ext cx="40198" cy="85648"/>
            </a:xfrm>
            <a:custGeom>
              <a:avLst/>
              <a:gdLst/>
              <a:ahLst/>
              <a:cxnLst/>
              <a:rect l="l" t="t" r="r" b="b"/>
              <a:pathLst>
                <a:path w="1263" h="2691" extrusionOk="0">
                  <a:moveTo>
                    <a:pt x="846" y="417"/>
                  </a:moveTo>
                  <a:lnTo>
                    <a:pt x="846" y="2262"/>
                  </a:lnTo>
                  <a:lnTo>
                    <a:pt x="417" y="2262"/>
                  </a:lnTo>
                  <a:lnTo>
                    <a:pt x="417" y="417"/>
                  </a:lnTo>
                  <a:close/>
                  <a:moveTo>
                    <a:pt x="203" y="0"/>
                  </a:moveTo>
                  <a:cubicBezTo>
                    <a:pt x="84" y="0"/>
                    <a:pt x="1" y="84"/>
                    <a:pt x="1" y="203"/>
                  </a:cubicBezTo>
                  <a:lnTo>
                    <a:pt x="1" y="2477"/>
                  </a:lnTo>
                  <a:cubicBezTo>
                    <a:pt x="1" y="2596"/>
                    <a:pt x="84" y="2691"/>
                    <a:pt x="203" y="2691"/>
                  </a:cubicBezTo>
                  <a:lnTo>
                    <a:pt x="1060" y="2691"/>
                  </a:lnTo>
                  <a:cubicBezTo>
                    <a:pt x="1167" y="2691"/>
                    <a:pt x="1263" y="2596"/>
                    <a:pt x="1263" y="2477"/>
                  </a:cubicBezTo>
                  <a:lnTo>
                    <a:pt x="1263" y="203"/>
                  </a:lnTo>
                  <a:cubicBezTo>
                    <a:pt x="1263" y="84"/>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3" name="Google Shape;11323;p60"/>
            <p:cNvSpPr/>
            <p:nvPr/>
          </p:nvSpPr>
          <p:spPr>
            <a:xfrm>
              <a:off x="2851691" y="3917935"/>
              <a:ext cx="40580" cy="118621"/>
            </a:xfrm>
            <a:custGeom>
              <a:avLst/>
              <a:gdLst/>
              <a:ahLst/>
              <a:cxnLst/>
              <a:rect l="l" t="t" r="r" b="b"/>
              <a:pathLst>
                <a:path w="1275" h="3727" extrusionOk="0">
                  <a:moveTo>
                    <a:pt x="858" y="417"/>
                  </a:moveTo>
                  <a:lnTo>
                    <a:pt x="858" y="3298"/>
                  </a:lnTo>
                  <a:lnTo>
                    <a:pt x="417" y="3298"/>
                  </a:lnTo>
                  <a:lnTo>
                    <a:pt x="417" y="417"/>
                  </a:lnTo>
                  <a:close/>
                  <a:moveTo>
                    <a:pt x="215" y="0"/>
                  </a:moveTo>
                  <a:cubicBezTo>
                    <a:pt x="96" y="0"/>
                    <a:pt x="1" y="96"/>
                    <a:pt x="1" y="215"/>
                  </a:cubicBezTo>
                  <a:lnTo>
                    <a:pt x="1" y="3513"/>
                  </a:lnTo>
                  <a:cubicBezTo>
                    <a:pt x="1" y="3632"/>
                    <a:pt x="96" y="3727"/>
                    <a:pt x="215" y="3727"/>
                  </a:cubicBezTo>
                  <a:lnTo>
                    <a:pt x="1060" y="3727"/>
                  </a:lnTo>
                  <a:cubicBezTo>
                    <a:pt x="1179" y="3727"/>
                    <a:pt x="1275" y="3632"/>
                    <a:pt x="1275" y="3513"/>
                  </a:cubicBezTo>
                  <a:lnTo>
                    <a:pt x="1275" y="215"/>
                  </a:lnTo>
                  <a:cubicBezTo>
                    <a:pt x="1275" y="96"/>
                    <a:pt x="1179"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4" name="Google Shape;11324;p60"/>
            <p:cNvSpPr/>
            <p:nvPr/>
          </p:nvSpPr>
          <p:spPr>
            <a:xfrm>
              <a:off x="2900197" y="3934995"/>
              <a:ext cx="40198" cy="101562"/>
            </a:xfrm>
            <a:custGeom>
              <a:avLst/>
              <a:gdLst/>
              <a:ahLst/>
              <a:cxnLst/>
              <a:rect l="l" t="t" r="r" b="b"/>
              <a:pathLst>
                <a:path w="1263" h="3191" extrusionOk="0">
                  <a:moveTo>
                    <a:pt x="846" y="417"/>
                  </a:moveTo>
                  <a:lnTo>
                    <a:pt x="846" y="2762"/>
                  </a:lnTo>
                  <a:lnTo>
                    <a:pt x="417" y="2762"/>
                  </a:lnTo>
                  <a:lnTo>
                    <a:pt x="417" y="417"/>
                  </a:lnTo>
                  <a:close/>
                  <a:moveTo>
                    <a:pt x="203" y="0"/>
                  </a:moveTo>
                  <a:cubicBezTo>
                    <a:pt x="84" y="0"/>
                    <a:pt x="1" y="95"/>
                    <a:pt x="1" y="214"/>
                  </a:cubicBezTo>
                  <a:lnTo>
                    <a:pt x="1" y="2977"/>
                  </a:lnTo>
                  <a:cubicBezTo>
                    <a:pt x="1" y="3096"/>
                    <a:pt x="84" y="3191"/>
                    <a:pt x="203" y="3191"/>
                  </a:cubicBezTo>
                  <a:lnTo>
                    <a:pt x="1048" y="3191"/>
                  </a:lnTo>
                  <a:cubicBezTo>
                    <a:pt x="1168" y="3191"/>
                    <a:pt x="1263" y="3096"/>
                    <a:pt x="1263" y="2977"/>
                  </a:cubicBezTo>
                  <a:lnTo>
                    <a:pt x="1263" y="214"/>
                  </a:lnTo>
                  <a:cubicBezTo>
                    <a:pt x="1263" y="95"/>
                    <a:pt x="1179"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5" name="Google Shape;11325;p60"/>
            <p:cNvSpPr/>
            <p:nvPr/>
          </p:nvSpPr>
          <p:spPr>
            <a:xfrm>
              <a:off x="2948320" y="3879265"/>
              <a:ext cx="40580" cy="156941"/>
            </a:xfrm>
            <a:custGeom>
              <a:avLst/>
              <a:gdLst/>
              <a:ahLst/>
              <a:cxnLst/>
              <a:rect l="l" t="t" r="r" b="b"/>
              <a:pathLst>
                <a:path w="1275" h="4931" extrusionOk="0">
                  <a:moveTo>
                    <a:pt x="858" y="430"/>
                  </a:moveTo>
                  <a:lnTo>
                    <a:pt x="858" y="4525"/>
                  </a:lnTo>
                  <a:lnTo>
                    <a:pt x="418" y="4525"/>
                  </a:lnTo>
                  <a:lnTo>
                    <a:pt x="418" y="430"/>
                  </a:lnTo>
                  <a:close/>
                  <a:moveTo>
                    <a:pt x="215" y="1"/>
                  </a:moveTo>
                  <a:cubicBezTo>
                    <a:pt x="96" y="1"/>
                    <a:pt x="1" y="108"/>
                    <a:pt x="1" y="203"/>
                  </a:cubicBezTo>
                  <a:lnTo>
                    <a:pt x="1" y="4716"/>
                  </a:lnTo>
                  <a:cubicBezTo>
                    <a:pt x="1" y="4835"/>
                    <a:pt x="96" y="4930"/>
                    <a:pt x="215" y="4930"/>
                  </a:cubicBezTo>
                  <a:lnTo>
                    <a:pt x="1060" y="4930"/>
                  </a:lnTo>
                  <a:cubicBezTo>
                    <a:pt x="1180" y="4930"/>
                    <a:pt x="1275" y="4835"/>
                    <a:pt x="1275" y="4716"/>
                  </a:cubicBezTo>
                  <a:lnTo>
                    <a:pt x="1275" y="203"/>
                  </a:lnTo>
                  <a:cubicBezTo>
                    <a:pt x="1275" y="84"/>
                    <a:pt x="1180" y="1"/>
                    <a:pt x="1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6" name="Google Shape;11326;p60"/>
            <p:cNvSpPr/>
            <p:nvPr/>
          </p:nvSpPr>
          <p:spPr>
            <a:xfrm>
              <a:off x="2716807" y="3896325"/>
              <a:ext cx="49269" cy="13304"/>
            </a:xfrm>
            <a:custGeom>
              <a:avLst/>
              <a:gdLst/>
              <a:ahLst/>
              <a:cxnLst/>
              <a:rect l="l" t="t" r="r" b="b"/>
              <a:pathLst>
                <a:path w="1548" h="418" extrusionOk="0">
                  <a:moveTo>
                    <a:pt x="214" y="1"/>
                  </a:moveTo>
                  <a:cubicBezTo>
                    <a:pt x="95" y="1"/>
                    <a:pt x="0" y="84"/>
                    <a:pt x="0" y="203"/>
                  </a:cubicBezTo>
                  <a:cubicBezTo>
                    <a:pt x="0" y="322"/>
                    <a:pt x="107" y="417"/>
                    <a:pt x="214" y="417"/>
                  </a:cubicBezTo>
                  <a:lnTo>
                    <a:pt x="1345" y="417"/>
                  </a:lnTo>
                  <a:cubicBezTo>
                    <a:pt x="1453" y="417"/>
                    <a:pt x="1548" y="322"/>
                    <a:pt x="1548" y="203"/>
                  </a:cubicBezTo>
                  <a:cubicBezTo>
                    <a:pt x="1548" y="84"/>
                    <a:pt x="1453" y="1"/>
                    <a:pt x="13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7" name="Google Shape;11327;p60"/>
            <p:cNvSpPr/>
            <p:nvPr/>
          </p:nvSpPr>
          <p:spPr>
            <a:xfrm>
              <a:off x="2717157" y="3917553"/>
              <a:ext cx="69002" cy="13304"/>
            </a:xfrm>
            <a:custGeom>
              <a:avLst/>
              <a:gdLst/>
              <a:ahLst/>
              <a:cxnLst/>
              <a:rect l="l" t="t" r="r" b="b"/>
              <a:pathLst>
                <a:path w="2168" h="418" extrusionOk="0">
                  <a:moveTo>
                    <a:pt x="215" y="0"/>
                  </a:moveTo>
                  <a:cubicBezTo>
                    <a:pt x="96" y="0"/>
                    <a:pt x="1" y="96"/>
                    <a:pt x="1" y="215"/>
                  </a:cubicBezTo>
                  <a:cubicBezTo>
                    <a:pt x="1" y="334"/>
                    <a:pt x="96" y="417"/>
                    <a:pt x="215" y="417"/>
                  </a:cubicBezTo>
                  <a:lnTo>
                    <a:pt x="1954" y="417"/>
                  </a:lnTo>
                  <a:cubicBezTo>
                    <a:pt x="2073" y="417"/>
                    <a:pt x="2168" y="334"/>
                    <a:pt x="2168" y="215"/>
                  </a:cubicBezTo>
                  <a:cubicBezTo>
                    <a:pt x="2168" y="96"/>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8" name="Google Shape;11328;p60"/>
            <p:cNvSpPr/>
            <p:nvPr/>
          </p:nvSpPr>
          <p:spPr>
            <a:xfrm>
              <a:off x="2717157" y="3938782"/>
              <a:ext cx="69002" cy="13272"/>
            </a:xfrm>
            <a:custGeom>
              <a:avLst/>
              <a:gdLst/>
              <a:ahLst/>
              <a:cxnLst/>
              <a:rect l="l" t="t" r="r" b="b"/>
              <a:pathLst>
                <a:path w="2168" h="417" extrusionOk="0">
                  <a:moveTo>
                    <a:pt x="215" y="0"/>
                  </a:moveTo>
                  <a:cubicBezTo>
                    <a:pt x="96" y="0"/>
                    <a:pt x="1" y="95"/>
                    <a:pt x="1" y="214"/>
                  </a:cubicBezTo>
                  <a:cubicBezTo>
                    <a:pt x="1" y="334"/>
                    <a:pt x="96" y="417"/>
                    <a:pt x="215" y="417"/>
                  </a:cubicBezTo>
                  <a:lnTo>
                    <a:pt x="1954" y="417"/>
                  </a:lnTo>
                  <a:cubicBezTo>
                    <a:pt x="2073" y="417"/>
                    <a:pt x="2168" y="334"/>
                    <a:pt x="2168" y="214"/>
                  </a:cubicBezTo>
                  <a:cubicBezTo>
                    <a:pt x="2168" y="95"/>
                    <a:pt x="2061" y="0"/>
                    <a:pt x="1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9" name="Google Shape;11329;p60"/>
            <p:cNvSpPr/>
            <p:nvPr/>
          </p:nvSpPr>
          <p:spPr>
            <a:xfrm>
              <a:off x="2717157" y="3960361"/>
              <a:ext cx="69002" cy="13304"/>
            </a:xfrm>
            <a:custGeom>
              <a:avLst/>
              <a:gdLst/>
              <a:ahLst/>
              <a:cxnLst/>
              <a:rect l="l" t="t" r="r" b="b"/>
              <a:pathLst>
                <a:path w="2168" h="418" extrusionOk="0">
                  <a:moveTo>
                    <a:pt x="215" y="1"/>
                  </a:moveTo>
                  <a:cubicBezTo>
                    <a:pt x="96" y="1"/>
                    <a:pt x="1" y="84"/>
                    <a:pt x="1" y="203"/>
                  </a:cubicBezTo>
                  <a:cubicBezTo>
                    <a:pt x="1" y="322"/>
                    <a:pt x="96" y="418"/>
                    <a:pt x="215" y="418"/>
                  </a:cubicBezTo>
                  <a:lnTo>
                    <a:pt x="1954" y="418"/>
                  </a:lnTo>
                  <a:cubicBezTo>
                    <a:pt x="2073" y="418"/>
                    <a:pt x="2168" y="322"/>
                    <a:pt x="2168" y="203"/>
                  </a:cubicBezTo>
                  <a:cubicBezTo>
                    <a:pt x="2168" y="84"/>
                    <a:pt x="2061" y="1"/>
                    <a:pt x="1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0" name="Google Shape;11330;p60"/>
            <p:cNvSpPr/>
            <p:nvPr/>
          </p:nvSpPr>
          <p:spPr>
            <a:xfrm>
              <a:off x="2655793" y="4020993"/>
              <a:ext cx="84152" cy="82656"/>
            </a:xfrm>
            <a:custGeom>
              <a:avLst/>
              <a:gdLst/>
              <a:ahLst/>
              <a:cxnLst/>
              <a:rect l="l" t="t" r="r" b="b"/>
              <a:pathLst>
                <a:path w="2644" h="2597" extrusionOk="0">
                  <a:moveTo>
                    <a:pt x="1322" y="1"/>
                  </a:moveTo>
                  <a:cubicBezTo>
                    <a:pt x="595" y="1"/>
                    <a:pt x="0" y="596"/>
                    <a:pt x="0" y="1322"/>
                  </a:cubicBezTo>
                  <a:cubicBezTo>
                    <a:pt x="0" y="1620"/>
                    <a:pt x="84" y="1882"/>
                    <a:pt x="262" y="2120"/>
                  </a:cubicBezTo>
                  <a:cubicBezTo>
                    <a:pt x="312" y="2177"/>
                    <a:pt x="379" y="2204"/>
                    <a:pt x="442" y="2204"/>
                  </a:cubicBezTo>
                  <a:cubicBezTo>
                    <a:pt x="485" y="2204"/>
                    <a:pt x="526" y="2192"/>
                    <a:pt x="560" y="2168"/>
                  </a:cubicBezTo>
                  <a:cubicBezTo>
                    <a:pt x="655" y="2096"/>
                    <a:pt x="667" y="1965"/>
                    <a:pt x="607" y="1870"/>
                  </a:cubicBezTo>
                  <a:cubicBezTo>
                    <a:pt x="488" y="1703"/>
                    <a:pt x="429" y="1525"/>
                    <a:pt x="429" y="1322"/>
                  </a:cubicBezTo>
                  <a:cubicBezTo>
                    <a:pt x="429" y="822"/>
                    <a:pt x="834" y="406"/>
                    <a:pt x="1334" y="406"/>
                  </a:cubicBezTo>
                  <a:cubicBezTo>
                    <a:pt x="1846" y="406"/>
                    <a:pt x="2239" y="810"/>
                    <a:pt x="2239" y="1322"/>
                  </a:cubicBezTo>
                  <a:cubicBezTo>
                    <a:pt x="2239" y="1620"/>
                    <a:pt x="2096" y="1894"/>
                    <a:pt x="1846" y="2061"/>
                  </a:cubicBezTo>
                  <a:cubicBezTo>
                    <a:pt x="1822" y="2061"/>
                    <a:pt x="1822" y="2073"/>
                    <a:pt x="1810" y="2073"/>
                  </a:cubicBezTo>
                  <a:lnTo>
                    <a:pt x="1798" y="2073"/>
                  </a:lnTo>
                  <a:cubicBezTo>
                    <a:pt x="1786" y="2073"/>
                    <a:pt x="1786" y="2096"/>
                    <a:pt x="1762" y="2096"/>
                  </a:cubicBezTo>
                  <a:lnTo>
                    <a:pt x="1750" y="2096"/>
                  </a:lnTo>
                  <a:cubicBezTo>
                    <a:pt x="1738" y="2096"/>
                    <a:pt x="1738" y="2108"/>
                    <a:pt x="1727" y="2108"/>
                  </a:cubicBezTo>
                  <a:cubicBezTo>
                    <a:pt x="1703" y="2108"/>
                    <a:pt x="1691" y="2120"/>
                    <a:pt x="1691" y="2120"/>
                  </a:cubicBezTo>
                  <a:lnTo>
                    <a:pt x="1679" y="2120"/>
                  </a:lnTo>
                  <a:cubicBezTo>
                    <a:pt x="1667" y="2120"/>
                    <a:pt x="1667" y="2120"/>
                    <a:pt x="1643" y="2144"/>
                  </a:cubicBezTo>
                  <a:lnTo>
                    <a:pt x="1631" y="2144"/>
                  </a:lnTo>
                  <a:cubicBezTo>
                    <a:pt x="1619" y="2144"/>
                    <a:pt x="1608" y="2156"/>
                    <a:pt x="1608" y="2156"/>
                  </a:cubicBezTo>
                  <a:cubicBezTo>
                    <a:pt x="1584" y="2156"/>
                    <a:pt x="1572" y="2156"/>
                    <a:pt x="1560" y="2168"/>
                  </a:cubicBezTo>
                  <a:lnTo>
                    <a:pt x="1072" y="2168"/>
                  </a:lnTo>
                  <a:cubicBezTo>
                    <a:pt x="1048" y="2168"/>
                    <a:pt x="1036" y="2168"/>
                    <a:pt x="1024" y="2156"/>
                  </a:cubicBezTo>
                  <a:cubicBezTo>
                    <a:pt x="1012" y="2156"/>
                    <a:pt x="988" y="2144"/>
                    <a:pt x="988" y="2144"/>
                  </a:cubicBezTo>
                  <a:lnTo>
                    <a:pt x="976" y="2144"/>
                  </a:lnTo>
                  <a:cubicBezTo>
                    <a:pt x="951" y="2133"/>
                    <a:pt x="925" y="2127"/>
                    <a:pt x="899" y="2127"/>
                  </a:cubicBezTo>
                  <a:cubicBezTo>
                    <a:pt x="817" y="2127"/>
                    <a:pt x="742" y="2181"/>
                    <a:pt x="715" y="2263"/>
                  </a:cubicBezTo>
                  <a:cubicBezTo>
                    <a:pt x="667" y="2358"/>
                    <a:pt x="726" y="2501"/>
                    <a:pt x="834" y="2525"/>
                  </a:cubicBezTo>
                  <a:lnTo>
                    <a:pt x="846" y="2525"/>
                  </a:lnTo>
                  <a:cubicBezTo>
                    <a:pt x="857" y="2525"/>
                    <a:pt x="869" y="2537"/>
                    <a:pt x="905" y="2537"/>
                  </a:cubicBezTo>
                  <a:cubicBezTo>
                    <a:pt x="917" y="2537"/>
                    <a:pt x="929" y="2561"/>
                    <a:pt x="965" y="2561"/>
                  </a:cubicBezTo>
                  <a:lnTo>
                    <a:pt x="976" y="2561"/>
                  </a:lnTo>
                  <a:cubicBezTo>
                    <a:pt x="988" y="2561"/>
                    <a:pt x="1012" y="2561"/>
                    <a:pt x="1024" y="2573"/>
                  </a:cubicBezTo>
                  <a:lnTo>
                    <a:pt x="1036" y="2573"/>
                  </a:lnTo>
                  <a:cubicBezTo>
                    <a:pt x="1048" y="2573"/>
                    <a:pt x="1072" y="2573"/>
                    <a:pt x="1096" y="2584"/>
                  </a:cubicBezTo>
                  <a:cubicBezTo>
                    <a:pt x="1107" y="2584"/>
                    <a:pt x="1143" y="2584"/>
                    <a:pt x="1155" y="2596"/>
                  </a:cubicBezTo>
                  <a:lnTo>
                    <a:pt x="1429" y="2596"/>
                  </a:lnTo>
                  <a:cubicBezTo>
                    <a:pt x="1441" y="2596"/>
                    <a:pt x="1465" y="2596"/>
                    <a:pt x="1488" y="2584"/>
                  </a:cubicBezTo>
                  <a:cubicBezTo>
                    <a:pt x="1500" y="2584"/>
                    <a:pt x="1524" y="2584"/>
                    <a:pt x="1548" y="2573"/>
                  </a:cubicBezTo>
                  <a:lnTo>
                    <a:pt x="1560" y="2573"/>
                  </a:lnTo>
                  <a:cubicBezTo>
                    <a:pt x="1572" y="2573"/>
                    <a:pt x="1584" y="2573"/>
                    <a:pt x="1608" y="2561"/>
                  </a:cubicBezTo>
                  <a:lnTo>
                    <a:pt x="1619" y="2561"/>
                  </a:lnTo>
                  <a:cubicBezTo>
                    <a:pt x="1631" y="2561"/>
                    <a:pt x="1643" y="2537"/>
                    <a:pt x="1679" y="2537"/>
                  </a:cubicBezTo>
                  <a:cubicBezTo>
                    <a:pt x="1691" y="2537"/>
                    <a:pt x="1703" y="2525"/>
                    <a:pt x="1738" y="2525"/>
                  </a:cubicBezTo>
                  <a:lnTo>
                    <a:pt x="1750" y="2525"/>
                  </a:lnTo>
                  <a:cubicBezTo>
                    <a:pt x="1762" y="2525"/>
                    <a:pt x="1786" y="2513"/>
                    <a:pt x="1798" y="2513"/>
                  </a:cubicBezTo>
                  <a:lnTo>
                    <a:pt x="1810" y="2513"/>
                  </a:lnTo>
                  <a:cubicBezTo>
                    <a:pt x="1822" y="2513"/>
                    <a:pt x="1846" y="2489"/>
                    <a:pt x="1858" y="2477"/>
                  </a:cubicBezTo>
                  <a:cubicBezTo>
                    <a:pt x="1869" y="2465"/>
                    <a:pt x="1881" y="2465"/>
                    <a:pt x="1905" y="2454"/>
                  </a:cubicBezTo>
                  <a:lnTo>
                    <a:pt x="1917" y="2430"/>
                  </a:lnTo>
                  <a:cubicBezTo>
                    <a:pt x="1929" y="2430"/>
                    <a:pt x="1941" y="2418"/>
                    <a:pt x="1941" y="2418"/>
                  </a:cubicBezTo>
                  <a:lnTo>
                    <a:pt x="1965" y="2406"/>
                  </a:lnTo>
                  <a:cubicBezTo>
                    <a:pt x="1977" y="2394"/>
                    <a:pt x="1989" y="2394"/>
                    <a:pt x="2000" y="2370"/>
                  </a:cubicBezTo>
                  <a:cubicBezTo>
                    <a:pt x="2381" y="2120"/>
                    <a:pt x="2584" y="1715"/>
                    <a:pt x="2584" y="1275"/>
                  </a:cubicBezTo>
                  <a:cubicBezTo>
                    <a:pt x="2643" y="596"/>
                    <a:pt x="2048" y="1"/>
                    <a:pt x="1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31" name="Google Shape;11331;p60"/>
          <p:cNvSpPr/>
          <p:nvPr/>
        </p:nvSpPr>
        <p:spPr>
          <a:xfrm>
            <a:off x="1752752" y="3803866"/>
            <a:ext cx="356245" cy="356627"/>
          </a:xfrm>
          <a:custGeom>
            <a:avLst/>
            <a:gdLst/>
            <a:ahLst/>
            <a:cxnLst/>
            <a:rect l="l" t="t" r="r" b="b"/>
            <a:pathLst>
              <a:path w="11193" h="11205" extrusionOk="0">
                <a:moveTo>
                  <a:pt x="3763" y="358"/>
                </a:moveTo>
                <a:cubicBezTo>
                  <a:pt x="4096" y="358"/>
                  <a:pt x="4346" y="632"/>
                  <a:pt x="4346" y="941"/>
                </a:cubicBezTo>
                <a:cubicBezTo>
                  <a:pt x="4346" y="1144"/>
                  <a:pt x="4239" y="1346"/>
                  <a:pt x="4061" y="1441"/>
                </a:cubicBezTo>
                <a:cubicBezTo>
                  <a:pt x="4013" y="1477"/>
                  <a:pt x="3977" y="1536"/>
                  <a:pt x="3977" y="1596"/>
                </a:cubicBezTo>
                <a:lnTo>
                  <a:pt x="3977" y="2001"/>
                </a:lnTo>
                <a:cubicBezTo>
                  <a:pt x="3977" y="2096"/>
                  <a:pt x="4049" y="2179"/>
                  <a:pt x="4156" y="2179"/>
                </a:cubicBezTo>
                <a:lnTo>
                  <a:pt x="5394" y="2179"/>
                </a:lnTo>
                <a:lnTo>
                  <a:pt x="5394" y="3406"/>
                </a:lnTo>
                <a:cubicBezTo>
                  <a:pt x="5394" y="3513"/>
                  <a:pt x="5466" y="3584"/>
                  <a:pt x="5573" y="3584"/>
                </a:cubicBezTo>
                <a:lnTo>
                  <a:pt x="5966" y="3584"/>
                </a:lnTo>
                <a:cubicBezTo>
                  <a:pt x="6025" y="3584"/>
                  <a:pt x="6085" y="3561"/>
                  <a:pt x="6120" y="3501"/>
                </a:cubicBezTo>
                <a:cubicBezTo>
                  <a:pt x="6228" y="3322"/>
                  <a:pt x="6418" y="3215"/>
                  <a:pt x="6620" y="3215"/>
                </a:cubicBezTo>
                <a:cubicBezTo>
                  <a:pt x="6954" y="3215"/>
                  <a:pt x="7204" y="3489"/>
                  <a:pt x="7204" y="3799"/>
                </a:cubicBezTo>
                <a:cubicBezTo>
                  <a:pt x="7204" y="4120"/>
                  <a:pt x="6942" y="4382"/>
                  <a:pt x="6620" y="4382"/>
                </a:cubicBezTo>
                <a:cubicBezTo>
                  <a:pt x="6418" y="4382"/>
                  <a:pt x="6228" y="4275"/>
                  <a:pt x="6120" y="4096"/>
                </a:cubicBezTo>
                <a:cubicBezTo>
                  <a:pt x="6085" y="4037"/>
                  <a:pt x="6025" y="4001"/>
                  <a:pt x="5966" y="4001"/>
                </a:cubicBezTo>
                <a:lnTo>
                  <a:pt x="5573" y="4001"/>
                </a:lnTo>
                <a:cubicBezTo>
                  <a:pt x="5466" y="4001"/>
                  <a:pt x="5394" y="4084"/>
                  <a:pt x="5394" y="4180"/>
                </a:cubicBezTo>
                <a:lnTo>
                  <a:pt x="5394" y="5418"/>
                </a:lnTo>
                <a:lnTo>
                  <a:pt x="4334" y="5418"/>
                </a:lnTo>
                <a:lnTo>
                  <a:pt x="4334" y="5299"/>
                </a:lnTo>
                <a:cubicBezTo>
                  <a:pt x="4573" y="5120"/>
                  <a:pt x="4704" y="4834"/>
                  <a:pt x="4704" y="4561"/>
                </a:cubicBezTo>
                <a:cubicBezTo>
                  <a:pt x="4704" y="4037"/>
                  <a:pt x="4287" y="3620"/>
                  <a:pt x="3775" y="3620"/>
                </a:cubicBezTo>
                <a:cubicBezTo>
                  <a:pt x="3251" y="3620"/>
                  <a:pt x="2834" y="4037"/>
                  <a:pt x="2834" y="4561"/>
                </a:cubicBezTo>
                <a:cubicBezTo>
                  <a:pt x="2834" y="4858"/>
                  <a:pt x="2965" y="5132"/>
                  <a:pt x="3203" y="5299"/>
                </a:cubicBezTo>
                <a:lnTo>
                  <a:pt x="3203" y="5430"/>
                </a:lnTo>
                <a:lnTo>
                  <a:pt x="2144" y="5430"/>
                </a:lnTo>
                <a:lnTo>
                  <a:pt x="2144" y="2179"/>
                </a:lnTo>
                <a:lnTo>
                  <a:pt x="3382" y="2179"/>
                </a:lnTo>
                <a:cubicBezTo>
                  <a:pt x="3489" y="2179"/>
                  <a:pt x="3561" y="2096"/>
                  <a:pt x="3561" y="2001"/>
                </a:cubicBezTo>
                <a:lnTo>
                  <a:pt x="3561" y="1596"/>
                </a:lnTo>
                <a:cubicBezTo>
                  <a:pt x="3561" y="1536"/>
                  <a:pt x="3537" y="1477"/>
                  <a:pt x="3465" y="1441"/>
                </a:cubicBezTo>
                <a:cubicBezTo>
                  <a:pt x="3299" y="1346"/>
                  <a:pt x="3191" y="1144"/>
                  <a:pt x="3191" y="941"/>
                </a:cubicBezTo>
                <a:cubicBezTo>
                  <a:pt x="3191" y="608"/>
                  <a:pt x="3453" y="358"/>
                  <a:pt x="3763" y="358"/>
                </a:cubicBezTo>
                <a:close/>
                <a:moveTo>
                  <a:pt x="9014" y="5811"/>
                </a:moveTo>
                <a:lnTo>
                  <a:pt x="9014" y="7799"/>
                </a:lnTo>
                <a:lnTo>
                  <a:pt x="9014" y="8025"/>
                </a:lnTo>
                <a:lnTo>
                  <a:pt x="9014" y="9049"/>
                </a:lnTo>
                <a:lnTo>
                  <a:pt x="7775" y="9049"/>
                </a:lnTo>
                <a:cubicBezTo>
                  <a:pt x="7668" y="9049"/>
                  <a:pt x="7597" y="9121"/>
                  <a:pt x="7597" y="9228"/>
                </a:cubicBezTo>
                <a:lnTo>
                  <a:pt x="7597" y="9633"/>
                </a:lnTo>
                <a:cubicBezTo>
                  <a:pt x="7597" y="9692"/>
                  <a:pt x="7621" y="9752"/>
                  <a:pt x="7680" y="9776"/>
                </a:cubicBezTo>
                <a:cubicBezTo>
                  <a:pt x="7859" y="9883"/>
                  <a:pt x="7966" y="10073"/>
                  <a:pt x="7966" y="10288"/>
                </a:cubicBezTo>
                <a:cubicBezTo>
                  <a:pt x="7966" y="10609"/>
                  <a:pt x="7704" y="10871"/>
                  <a:pt x="7382" y="10871"/>
                </a:cubicBezTo>
                <a:cubicBezTo>
                  <a:pt x="7061" y="10871"/>
                  <a:pt x="6811" y="10597"/>
                  <a:pt x="6811" y="10288"/>
                </a:cubicBezTo>
                <a:cubicBezTo>
                  <a:pt x="6811" y="10073"/>
                  <a:pt x="6906" y="9883"/>
                  <a:pt x="7085" y="9776"/>
                </a:cubicBezTo>
                <a:cubicBezTo>
                  <a:pt x="7144" y="9752"/>
                  <a:pt x="7180" y="9692"/>
                  <a:pt x="7180" y="9633"/>
                </a:cubicBezTo>
                <a:lnTo>
                  <a:pt x="7180" y="9228"/>
                </a:lnTo>
                <a:cubicBezTo>
                  <a:pt x="7180" y="9121"/>
                  <a:pt x="7109" y="9049"/>
                  <a:pt x="7001" y="9049"/>
                </a:cubicBezTo>
                <a:lnTo>
                  <a:pt x="5763" y="9049"/>
                </a:lnTo>
                <a:lnTo>
                  <a:pt x="5763" y="7811"/>
                </a:lnTo>
                <a:cubicBezTo>
                  <a:pt x="5763" y="7716"/>
                  <a:pt x="5692" y="7632"/>
                  <a:pt x="5585" y="7632"/>
                </a:cubicBezTo>
                <a:lnTo>
                  <a:pt x="5180" y="7632"/>
                </a:lnTo>
                <a:cubicBezTo>
                  <a:pt x="5120" y="7632"/>
                  <a:pt x="5061" y="7668"/>
                  <a:pt x="5037" y="7728"/>
                </a:cubicBezTo>
                <a:cubicBezTo>
                  <a:pt x="4930" y="7906"/>
                  <a:pt x="4739" y="8013"/>
                  <a:pt x="4525" y="8013"/>
                </a:cubicBezTo>
                <a:cubicBezTo>
                  <a:pt x="4203" y="8013"/>
                  <a:pt x="3953" y="7740"/>
                  <a:pt x="3953" y="7430"/>
                </a:cubicBezTo>
                <a:cubicBezTo>
                  <a:pt x="3953" y="7120"/>
                  <a:pt x="4215" y="6847"/>
                  <a:pt x="4525" y="6847"/>
                </a:cubicBezTo>
                <a:cubicBezTo>
                  <a:pt x="4739" y="6847"/>
                  <a:pt x="4930" y="6954"/>
                  <a:pt x="5037" y="7132"/>
                </a:cubicBezTo>
                <a:cubicBezTo>
                  <a:pt x="5061" y="7192"/>
                  <a:pt x="5120" y="7216"/>
                  <a:pt x="5180" y="7216"/>
                </a:cubicBezTo>
                <a:lnTo>
                  <a:pt x="5585" y="7216"/>
                </a:lnTo>
                <a:cubicBezTo>
                  <a:pt x="5692" y="7216"/>
                  <a:pt x="5763" y="7144"/>
                  <a:pt x="5763" y="7037"/>
                </a:cubicBezTo>
                <a:lnTo>
                  <a:pt x="5763" y="5811"/>
                </a:lnTo>
                <a:lnTo>
                  <a:pt x="6823" y="5811"/>
                </a:lnTo>
                <a:lnTo>
                  <a:pt x="6823" y="5942"/>
                </a:lnTo>
                <a:cubicBezTo>
                  <a:pt x="6585" y="6120"/>
                  <a:pt x="6454" y="6406"/>
                  <a:pt x="6454" y="6680"/>
                </a:cubicBezTo>
                <a:cubicBezTo>
                  <a:pt x="6454" y="7204"/>
                  <a:pt x="6870" y="7621"/>
                  <a:pt x="7382" y="7621"/>
                </a:cubicBezTo>
                <a:cubicBezTo>
                  <a:pt x="7906" y="7621"/>
                  <a:pt x="8323" y="7204"/>
                  <a:pt x="8323" y="6680"/>
                </a:cubicBezTo>
                <a:cubicBezTo>
                  <a:pt x="8323" y="6382"/>
                  <a:pt x="8192" y="6108"/>
                  <a:pt x="7954" y="5942"/>
                </a:cubicBezTo>
                <a:lnTo>
                  <a:pt x="7954" y="5811"/>
                </a:lnTo>
                <a:close/>
                <a:moveTo>
                  <a:pt x="3799" y="1"/>
                </a:moveTo>
                <a:cubicBezTo>
                  <a:pt x="3275" y="1"/>
                  <a:pt x="2858" y="417"/>
                  <a:pt x="2858" y="941"/>
                </a:cubicBezTo>
                <a:cubicBezTo>
                  <a:pt x="2858" y="1239"/>
                  <a:pt x="3001" y="1525"/>
                  <a:pt x="3239" y="1679"/>
                </a:cubicBezTo>
                <a:lnTo>
                  <a:pt x="3239" y="1822"/>
                </a:lnTo>
                <a:lnTo>
                  <a:pt x="2001" y="1822"/>
                </a:lnTo>
                <a:cubicBezTo>
                  <a:pt x="1894" y="1822"/>
                  <a:pt x="1822" y="1894"/>
                  <a:pt x="1822" y="2001"/>
                </a:cubicBezTo>
                <a:lnTo>
                  <a:pt x="1822" y="5608"/>
                </a:lnTo>
                <a:lnTo>
                  <a:pt x="1822" y="6847"/>
                </a:lnTo>
                <a:lnTo>
                  <a:pt x="1691" y="6847"/>
                </a:lnTo>
                <a:cubicBezTo>
                  <a:pt x="1513" y="6609"/>
                  <a:pt x="1227" y="6478"/>
                  <a:pt x="941" y="6478"/>
                </a:cubicBezTo>
                <a:cubicBezTo>
                  <a:pt x="417" y="6478"/>
                  <a:pt x="1" y="6894"/>
                  <a:pt x="1" y="7406"/>
                </a:cubicBezTo>
                <a:cubicBezTo>
                  <a:pt x="1" y="7930"/>
                  <a:pt x="417" y="8347"/>
                  <a:pt x="941" y="8347"/>
                </a:cubicBezTo>
                <a:cubicBezTo>
                  <a:pt x="1239" y="8347"/>
                  <a:pt x="1525" y="8216"/>
                  <a:pt x="1691" y="7978"/>
                </a:cubicBezTo>
                <a:lnTo>
                  <a:pt x="1822" y="7978"/>
                </a:lnTo>
                <a:lnTo>
                  <a:pt x="1822" y="9216"/>
                </a:lnTo>
                <a:cubicBezTo>
                  <a:pt x="1822" y="9311"/>
                  <a:pt x="1894" y="9395"/>
                  <a:pt x="2001" y="9395"/>
                </a:cubicBezTo>
                <a:lnTo>
                  <a:pt x="2620" y="9395"/>
                </a:lnTo>
                <a:cubicBezTo>
                  <a:pt x="2727" y="9395"/>
                  <a:pt x="2799" y="9311"/>
                  <a:pt x="2799" y="9216"/>
                </a:cubicBezTo>
                <a:cubicBezTo>
                  <a:pt x="2799" y="9109"/>
                  <a:pt x="2727" y="9037"/>
                  <a:pt x="2620" y="9037"/>
                </a:cubicBezTo>
                <a:lnTo>
                  <a:pt x="2179" y="9037"/>
                </a:lnTo>
                <a:lnTo>
                  <a:pt x="2179" y="7799"/>
                </a:lnTo>
                <a:cubicBezTo>
                  <a:pt x="2179" y="7692"/>
                  <a:pt x="2108" y="7621"/>
                  <a:pt x="2001" y="7621"/>
                </a:cubicBezTo>
                <a:lnTo>
                  <a:pt x="1596" y="7621"/>
                </a:lnTo>
                <a:cubicBezTo>
                  <a:pt x="1536" y="7621"/>
                  <a:pt x="1477" y="7644"/>
                  <a:pt x="1453" y="7704"/>
                </a:cubicBezTo>
                <a:cubicBezTo>
                  <a:pt x="1346" y="7882"/>
                  <a:pt x="1155" y="7990"/>
                  <a:pt x="941" y="7990"/>
                </a:cubicBezTo>
                <a:cubicBezTo>
                  <a:pt x="620" y="7990"/>
                  <a:pt x="358" y="7728"/>
                  <a:pt x="358" y="7406"/>
                </a:cubicBezTo>
                <a:cubicBezTo>
                  <a:pt x="358" y="7085"/>
                  <a:pt x="632" y="6835"/>
                  <a:pt x="941" y="6835"/>
                </a:cubicBezTo>
                <a:cubicBezTo>
                  <a:pt x="1155" y="6835"/>
                  <a:pt x="1346" y="6930"/>
                  <a:pt x="1453" y="7109"/>
                </a:cubicBezTo>
                <a:cubicBezTo>
                  <a:pt x="1477" y="7168"/>
                  <a:pt x="1536" y="7204"/>
                  <a:pt x="1596" y="7204"/>
                </a:cubicBezTo>
                <a:lnTo>
                  <a:pt x="2001" y="7204"/>
                </a:lnTo>
                <a:cubicBezTo>
                  <a:pt x="2108" y="7204"/>
                  <a:pt x="2179" y="7132"/>
                  <a:pt x="2179" y="7025"/>
                </a:cubicBezTo>
                <a:lnTo>
                  <a:pt x="2179" y="5787"/>
                </a:lnTo>
                <a:lnTo>
                  <a:pt x="3418" y="5787"/>
                </a:lnTo>
                <a:cubicBezTo>
                  <a:pt x="3513" y="5787"/>
                  <a:pt x="3596" y="5716"/>
                  <a:pt x="3596" y="5608"/>
                </a:cubicBezTo>
                <a:lnTo>
                  <a:pt x="3596" y="5204"/>
                </a:lnTo>
                <a:cubicBezTo>
                  <a:pt x="3596" y="5144"/>
                  <a:pt x="3561" y="5085"/>
                  <a:pt x="3501" y="5061"/>
                </a:cubicBezTo>
                <a:cubicBezTo>
                  <a:pt x="3322" y="4954"/>
                  <a:pt x="3215" y="4763"/>
                  <a:pt x="3215" y="4549"/>
                </a:cubicBezTo>
                <a:cubicBezTo>
                  <a:pt x="3215" y="4227"/>
                  <a:pt x="3489" y="3977"/>
                  <a:pt x="3799" y="3977"/>
                </a:cubicBezTo>
                <a:cubicBezTo>
                  <a:pt x="4132" y="3977"/>
                  <a:pt x="4382" y="4239"/>
                  <a:pt x="4382" y="4549"/>
                </a:cubicBezTo>
                <a:cubicBezTo>
                  <a:pt x="4382" y="4763"/>
                  <a:pt x="4275" y="4954"/>
                  <a:pt x="4096" y="5061"/>
                </a:cubicBezTo>
                <a:cubicBezTo>
                  <a:pt x="4037" y="5085"/>
                  <a:pt x="4013" y="5144"/>
                  <a:pt x="4013" y="5204"/>
                </a:cubicBezTo>
                <a:lnTo>
                  <a:pt x="4013" y="5608"/>
                </a:lnTo>
                <a:cubicBezTo>
                  <a:pt x="4013" y="5716"/>
                  <a:pt x="4084" y="5787"/>
                  <a:pt x="4192" y="5787"/>
                </a:cubicBezTo>
                <a:lnTo>
                  <a:pt x="5418" y="5787"/>
                </a:lnTo>
                <a:lnTo>
                  <a:pt x="5418" y="6847"/>
                </a:lnTo>
                <a:lnTo>
                  <a:pt x="5287" y="6847"/>
                </a:lnTo>
                <a:cubicBezTo>
                  <a:pt x="5108" y="6609"/>
                  <a:pt x="4823" y="6478"/>
                  <a:pt x="4549" y="6478"/>
                </a:cubicBezTo>
                <a:cubicBezTo>
                  <a:pt x="4025" y="6478"/>
                  <a:pt x="3608" y="6894"/>
                  <a:pt x="3608" y="7406"/>
                </a:cubicBezTo>
                <a:cubicBezTo>
                  <a:pt x="3608" y="7930"/>
                  <a:pt x="4025" y="8347"/>
                  <a:pt x="4549" y="8347"/>
                </a:cubicBezTo>
                <a:cubicBezTo>
                  <a:pt x="4846" y="8347"/>
                  <a:pt x="5120" y="8216"/>
                  <a:pt x="5287" y="7978"/>
                </a:cubicBezTo>
                <a:lnTo>
                  <a:pt x="5418" y="7978"/>
                </a:lnTo>
                <a:lnTo>
                  <a:pt x="5418" y="9037"/>
                </a:lnTo>
                <a:lnTo>
                  <a:pt x="3168" y="9037"/>
                </a:lnTo>
                <a:cubicBezTo>
                  <a:pt x="3072" y="9037"/>
                  <a:pt x="3001" y="9109"/>
                  <a:pt x="3001" y="9216"/>
                </a:cubicBezTo>
                <a:cubicBezTo>
                  <a:pt x="3001" y="9311"/>
                  <a:pt x="3072" y="9395"/>
                  <a:pt x="3168" y="9395"/>
                </a:cubicBezTo>
                <a:lnTo>
                  <a:pt x="6835" y="9395"/>
                </a:lnTo>
                <a:lnTo>
                  <a:pt x="6835" y="9526"/>
                </a:lnTo>
                <a:cubicBezTo>
                  <a:pt x="6597" y="9704"/>
                  <a:pt x="6466" y="9990"/>
                  <a:pt x="6466" y="10264"/>
                </a:cubicBezTo>
                <a:cubicBezTo>
                  <a:pt x="6466" y="10788"/>
                  <a:pt x="6882" y="11204"/>
                  <a:pt x="7406" y="11204"/>
                </a:cubicBezTo>
                <a:cubicBezTo>
                  <a:pt x="7918" y="11204"/>
                  <a:pt x="8335" y="10788"/>
                  <a:pt x="8335" y="10264"/>
                </a:cubicBezTo>
                <a:cubicBezTo>
                  <a:pt x="8335" y="9966"/>
                  <a:pt x="8204" y="9692"/>
                  <a:pt x="7966" y="9526"/>
                </a:cubicBezTo>
                <a:lnTo>
                  <a:pt x="7966" y="9395"/>
                </a:lnTo>
                <a:lnTo>
                  <a:pt x="9204" y="9395"/>
                </a:lnTo>
                <a:cubicBezTo>
                  <a:pt x="9311" y="9395"/>
                  <a:pt x="9383" y="9311"/>
                  <a:pt x="9383" y="9216"/>
                </a:cubicBezTo>
                <a:lnTo>
                  <a:pt x="9383" y="8002"/>
                </a:lnTo>
                <a:lnTo>
                  <a:pt x="9383" y="7787"/>
                </a:lnTo>
                <a:lnTo>
                  <a:pt x="9383" y="5596"/>
                </a:lnTo>
                <a:lnTo>
                  <a:pt x="9383" y="4358"/>
                </a:lnTo>
                <a:lnTo>
                  <a:pt x="9514" y="4358"/>
                </a:lnTo>
                <a:cubicBezTo>
                  <a:pt x="9692" y="4596"/>
                  <a:pt x="9978" y="4727"/>
                  <a:pt x="10264" y="4727"/>
                </a:cubicBezTo>
                <a:cubicBezTo>
                  <a:pt x="10776" y="4727"/>
                  <a:pt x="11192" y="4311"/>
                  <a:pt x="11192" y="3799"/>
                </a:cubicBezTo>
                <a:cubicBezTo>
                  <a:pt x="11192" y="3287"/>
                  <a:pt x="10776" y="2858"/>
                  <a:pt x="10264" y="2858"/>
                </a:cubicBezTo>
                <a:cubicBezTo>
                  <a:pt x="9966" y="2858"/>
                  <a:pt x="9680" y="2989"/>
                  <a:pt x="9514" y="3227"/>
                </a:cubicBezTo>
                <a:lnTo>
                  <a:pt x="9383" y="3227"/>
                </a:lnTo>
                <a:lnTo>
                  <a:pt x="9383" y="2001"/>
                </a:lnTo>
                <a:cubicBezTo>
                  <a:pt x="9383" y="1894"/>
                  <a:pt x="9311" y="1822"/>
                  <a:pt x="9204" y="1822"/>
                </a:cubicBezTo>
                <a:lnTo>
                  <a:pt x="8609" y="1822"/>
                </a:lnTo>
                <a:cubicBezTo>
                  <a:pt x="8502" y="1822"/>
                  <a:pt x="8430" y="1894"/>
                  <a:pt x="8430" y="2001"/>
                </a:cubicBezTo>
                <a:cubicBezTo>
                  <a:pt x="8430" y="2096"/>
                  <a:pt x="8502" y="2179"/>
                  <a:pt x="8609" y="2179"/>
                </a:cubicBezTo>
                <a:lnTo>
                  <a:pt x="9026" y="2179"/>
                </a:lnTo>
                <a:lnTo>
                  <a:pt x="9026" y="3406"/>
                </a:lnTo>
                <a:cubicBezTo>
                  <a:pt x="9026" y="3513"/>
                  <a:pt x="9097" y="3584"/>
                  <a:pt x="9204" y="3584"/>
                </a:cubicBezTo>
                <a:lnTo>
                  <a:pt x="9609" y="3584"/>
                </a:lnTo>
                <a:cubicBezTo>
                  <a:pt x="9668" y="3584"/>
                  <a:pt x="9728" y="3561"/>
                  <a:pt x="9752" y="3501"/>
                </a:cubicBezTo>
                <a:cubicBezTo>
                  <a:pt x="9859" y="3322"/>
                  <a:pt x="10049" y="3215"/>
                  <a:pt x="10264" y="3215"/>
                </a:cubicBezTo>
                <a:cubicBezTo>
                  <a:pt x="10585" y="3215"/>
                  <a:pt x="10835" y="3489"/>
                  <a:pt x="10835" y="3799"/>
                </a:cubicBezTo>
                <a:cubicBezTo>
                  <a:pt x="10835" y="4120"/>
                  <a:pt x="10573" y="4382"/>
                  <a:pt x="10264" y="4382"/>
                </a:cubicBezTo>
                <a:cubicBezTo>
                  <a:pt x="10049" y="4382"/>
                  <a:pt x="9859" y="4275"/>
                  <a:pt x="9752" y="4096"/>
                </a:cubicBezTo>
                <a:cubicBezTo>
                  <a:pt x="9728" y="4037"/>
                  <a:pt x="9668" y="4001"/>
                  <a:pt x="9609" y="4001"/>
                </a:cubicBezTo>
                <a:lnTo>
                  <a:pt x="9204" y="4001"/>
                </a:lnTo>
                <a:cubicBezTo>
                  <a:pt x="9097" y="4001"/>
                  <a:pt x="9026" y="4084"/>
                  <a:pt x="9026" y="4180"/>
                </a:cubicBezTo>
                <a:lnTo>
                  <a:pt x="9026" y="5418"/>
                </a:lnTo>
                <a:lnTo>
                  <a:pt x="7787" y="5418"/>
                </a:lnTo>
                <a:cubicBezTo>
                  <a:pt x="7680" y="5418"/>
                  <a:pt x="7609" y="5489"/>
                  <a:pt x="7609" y="5596"/>
                </a:cubicBezTo>
                <a:lnTo>
                  <a:pt x="7609" y="6001"/>
                </a:lnTo>
                <a:cubicBezTo>
                  <a:pt x="7609" y="6061"/>
                  <a:pt x="7644" y="6120"/>
                  <a:pt x="7704" y="6144"/>
                </a:cubicBezTo>
                <a:cubicBezTo>
                  <a:pt x="7883" y="6251"/>
                  <a:pt x="7978" y="6442"/>
                  <a:pt x="7978" y="6656"/>
                </a:cubicBezTo>
                <a:cubicBezTo>
                  <a:pt x="7978" y="6978"/>
                  <a:pt x="7716" y="7240"/>
                  <a:pt x="7406" y="7240"/>
                </a:cubicBezTo>
                <a:cubicBezTo>
                  <a:pt x="7073" y="7240"/>
                  <a:pt x="6823" y="6966"/>
                  <a:pt x="6823" y="6656"/>
                </a:cubicBezTo>
                <a:cubicBezTo>
                  <a:pt x="6823" y="6442"/>
                  <a:pt x="6930" y="6251"/>
                  <a:pt x="7109" y="6144"/>
                </a:cubicBezTo>
                <a:cubicBezTo>
                  <a:pt x="7168" y="6120"/>
                  <a:pt x="7192" y="6061"/>
                  <a:pt x="7192" y="6001"/>
                </a:cubicBezTo>
                <a:lnTo>
                  <a:pt x="7192" y="5596"/>
                </a:lnTo>
                <a:cubicBezTo>
                  <a:pt x="7192" y="5489"/>
                  <a:pt x="7121" y="5418"/>
                  <a:pt x="7013" y="5418"/>
                </a:cubicBezTo>
                <a:lnTo>
                  <a:pt x="5775" y="5418"/>
                </a:lnTo>
                <a:lnTo>
                  <a:pt x="5775" y="4358"/>
                </a:lnTo>
                <a:lnTo>
                  <a:pt x="5918" y="4358"/>
                </a:lnTo>
                <a:cubicBezTo>
                  <a:pt x="6097" y="4596"/>
                  <a:pt x="6370" y="4739"/>
                  <a:pt x="6656" y="4739"/>
                </a:cubicBezTo>
                <a:cubicBezTo>
                  <a:pt x="7180" y="4739"/>
                  <a:pt x="7597" y="4323"/>
                  <a:pt x="7597" y="3799"/>
                </a:cubicBezTo>
                <a:cubicBezTo>
                  <a:pt x="7597" y="3275"/>
                  <a:pt x="7180" y="2858"/>
                  <a:pt x="6656" y="2858"/>
                </a:cubicBezTo>
                <a:cubicBezTo>
                  <a:pt x="6359" y="2858"/>
                  <a:pt x="6073" y="2989"/>
                  <a:pt x="5918" y="3227"/>
                </a:cubicBezTo>
                <a:lnTo>
                  <a:pt x="5775" y="3227"/>
                </a:lnTo>
                <a:lnTo>
                  <a:pt x="5775" y="2179"/>
                </a:lnTo>
                <a:lnTo>
                  <a:pt x="8025" y="2179"/>
                </a:lnTo>
                <a:cubicBezTo>
                  <a:pt x="8133" y="2179"/>
                  <a:pt x="8204" y="2096"/>
                  <a:pt x="8204" y="2001"/>
                </a:cubicBezTo>
                <a:cubicBezTo>
                  <a:pt x="8204" y="1894"/>
                  <a:pt x="8133" y="1822"/>
                  <a:pt x="8025" y="1822"/>
                </a:cubicBezTo>
                <a:lnTo>
                  <a:pt x="4370" y="1822"/>
                </a:lnTo>
                <a:lnTo>
                  <a:pt x="4370" y="1679"/>
                </a:lnTo>
                <a:cubicBezTo>
                  <a:pt x="4608" y="1501"/>
                  <a:pt x="4739" y="1227"/>
                  <a:pt x="4739" y="941"/>
                </a:cubicBezTo>
                <a:cubicBezTo>
                  <a:pt x="4739" y="417"/>
                  <a:pt x="4323"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32" name="Google Shape;11332;p60"/>
          <p:cNvGrpSpPr/>
          <p:nvPr/>
        </p:nvGrpSpPr>
        <p:grpSpPr>
          <a:xfrm>
            <a:off x="4019984" y="3805393"/>
            <a:ext cx="293704" cy="353954"/>
            <a:chOff x="4019984" y="3805393"/>
            <a:chExt cx="293704" cy="353954"/>
          </a:xfrm>
        </p:grpSpPr>
        <p:sp>
          <p:nvSpPr>
            <p:cNvPr id="11333" name="Google Shape;11333;p60"/>
            <p:cNvSpPr/>
            <p:nvPr/>
          </p:nvSpPr>
          <p:spPr>
            <a:xfrm>
              <a:off x="4019984" y="3805393"/>
              <a:ext cx="293704" cy="353954"/>
            </a:xfrm>
            <a:custGeom>
              <a:avLst/>
              <a:gdLst/>
              <a:ahLst/>
              <a:cxnLst/>
              <a:rect l="l" t="t" r="r" b="b"/>
              <a:pathLst>
                <a:path w="9228" h="11121" extrusionOk="0">
                  <a:moveTo>
                    <a:pt x="477" y="1084"/>
                  </a:moveTo>
                  <a:cubicBezTo>
                    <a:pt x="727" y="1084"/>
                    <a:pt x="977" y="1215"/>
                    <a:pt x="1108" y="1429"/>
                  </a:cubicBezTo>
                  <a:lnTo>
                    <a:pt x="1251" y="1608"/>
                  </a:lnTo>
                  <a:cubicBezTo>
                    <a:pt x="1382" y="1798"/>
                    <a:pt x="1608" y="1917"/>
                    <a:pt x="1822" y="1917"/>
                  </a:cubicBezTo>
                  <a:lnTo>
                    <a:pt x="1822" y="2620"/>
                  </a:lnTo>
                  <a:cubicBezTo>
                    <a:pt x="1822" y="3120"/>
                    <a:pt x="1906" y="3596"/>
                    <a:pt x="2049" y="4072"/>
                  </a:cubicBezTo>
                  <a:cubicBezTo>
                    <a:pt x="1918" y="4001"/>
                    <a:pt x="1775" y="3929"/>
                    <a:pt x="1620" y="3870"/>
                  </a:cubicBezTo>
                  <a:cubicBezTo>
                    <a:pt x="1298" y="3739"/>
                    <a:pt x="965" y="3596"/>
                    <a:pt x="727" y="3334"/>
                  </a:cubicBezTo>
                  <a:cubicBezTo>
                    <a:pt x="441" y="3024"/>
                    <a:pt x="310" y="2560"/>
                    <a:pt x="310" y="1929"/>
                  </a:cubicBezTo>
                  <a:lnTo>
                    <a:pt x="310" y="1250"/>
                  </a:lnTo>
                  <a:cubicBezTo>
                    <a:pt x="310" y="1203"/>
                    <a:pt x="322" y="1155"/>
                    <a:pt x="358" y="1131"/>
                  </a:cubicBezTo>
                  <a:cubicBezTo>
                    <a:pt x="382" y="1096"/>
                    <a:pt x="429" y="1084"/>
                    <a:pt x="477" y="1084"/>
                  </a:cubicBezTo>
                  <a:close/>
                  <a:moveTo>
                    <a:pt x="8704" y="1084"/>
                  </a:moveTo>
                  <a:cubicBezTo>
                    <a:pt x="8752" y="1084"/>
                    <a:pt x="8799" y="1096"/>
                    <a:pt x="8823" y="1131"/>
                  </a:cubicBezTo>
                  <a:cubicBezTo>
                    <a:pt x="8847" y="1155"/>
                    <a:pt x="8871" y="1203"/>
                    <a:pt x="8871" y="1250"/>
                  </a:cubicBezTo>
                  <a:lnTo>
                    <a:pt x="8871" y="1929"/>
                  </a:lnTo>
                  <a:lnTo>
                    <a:pt x="8883" y="1929"/>
                  </a:lnTo>
                  <a:cubicBezTo>
                    <a:pt x="8883" y="2572"/>
                    <a:pt x="8752" y="3036"/>
                    <a:pt x="8466" y="3334"/>
                  </a:cubicBezTo>
                  <a:cubicBezTo>
                    <a:pt x="8228" y="3596"/>
                    <a:pt x="7883" y="3739"/>
                    <a:pt x="7573" y="3870"/>
                  </a:cubicBezTo>
                  <a:cubicBezTo>
                    <a:pt x="7430" y="3929"/>
                    <a:pt x="7263" y="3989"/>
                    <a:pt x="7133" y="4072"/>
                  </a:cubicBezTo>
                  <a:cubicBezTo>
                    <a:pt x="7275" y="3620"/>
                    <a:pt x="7347" y="3120"/>
                    <a:pt x="7347" y="2620"/>
                  </a:cubicBezTo>
                  <a:lnTo>
                    <a:pt x="7347" y="1917"/>
                  </a:lnTo>
                  <a:cubicBezTo>
                    <a:pt x="7585" y="1917"/>
                    <a:pt x="7799" y="1798"/>
                    <a:pt x="7930" y="1608"/>
                  </a:cubicBezTo>
                  <a:lnTo>
                    <a:pt x="8061" y="1429"/>
                  </a:lnTo>
                  <a:cubicBezTo>
                    <a:pt x="8216" y="1215"/>
                    <a:pt x="8454" y="1084"/>
                    <a:pt x="8704" y="1084"/>
                  </a:cubicBezTo>
                  <a:close/>
                  <a:moveTo>
                    <a:pt x="7347" y="345"/>
                  </a:moveTo>
                  <a:lnTo>
                    <a:pt x="7347" y="726"/>
                  </a:lnTo>
                  <a:lnTo>
                    <a:pt x="5954" y="726"/>
                  </a:lnTo>
                  <a:cubicBezTo>
                    <a:pt x="5859" y="726"/>
                    <a:pt x="5787" y="798"/>
                    <a:pt x="5787" y="893"/>
                  </a:cubicBezTo>
                  <a:cubicBezTo>
                    <a:pt x="5787" y="976"/>
                    <a:pt x="5859" y="1060"/>
                    <a:pt x="5954" y="1060"/>
                  </a:cubicBezTo>
                  <a:lnTo>
                    <a:pt x="7013" y="1060"/>
                  </a:lnTo>
                  <a:lnTo>
                    <a:pt x="7013" y="2620"/>
                  </a:lnTo>
                  <a:cubicBezTo>
                    <a:pt x="7037" y="4036"/>
                    <a:pt x="6359" y="5382"/>
                    <a:pt x="5204" y="6239"/>
                  </a:cubicBezTo>
                  <a:lnTo>
                    <a:pt x="5085" y="6322"/>
                  </a:lnTo>
                  <a:cubicBezTo>
                    <a:pt x="5061" y="6322"/>
                    <a:pt x="5025" y="6310"/>
                    <a:pt x="5001" y="6310"/>
                  </a:cubicBezTo>
                  <a:lnTo>
                    <a:pt x="4192" y="6310"/>
                  </a:lnTo>
                  <a:cubicBezTo>
                    <a:pt x="4168" y="6310"/>
                    <a:pt x="4132" y="6310"/>
                    <a:pt x="4108" y="6322"/>
                  </a:cubicBezTo>
                  <a:lnTo>
                    <a:pt x="3989" y="6239"/>
                  </a:lnTo>
                  <a:cubicBezTo>
                    <a:pt x="2846" y="5382"/>
                    <a:pt x="2156" y="4048"/>
                    <a:pt x="2156" y="2620"/>
                  </a:cubicBezTo>
                  <a:lnTo>
                    <a:pt x="2156" y="1060"/>
                  </a:lnTo>
                  <a:lnTo>
                    <a:pt x="5204" y="1060"/>
                  </a:lnTo>
                  <a:cubicBezTo>
                    <a:pt x="5299" y="1060"/>
                    <a:pt x="5370" y="976"/>
                    <a:pt x="5370" y="893"/>
                  </a:cubicBezTo>
                  <a:cubicBezTo>
                    <a:pt x="5370" y="798"/>
                    <a:pt x="5299" y="726"/>
                    <a:pt x="5204" y="726"/>
                  </a:cubicBezTo>
                  <a:lnTo>
                    <a:pt x="1810" y="726"/>
                  </a:lnTo>
                  <a:lnTo>
                    <a:pt x="1810" y="345"/>
                  </a:lnTo>
                  <a:close/>
                  <a:moveTo>
                    <a:pt x="5001" y="6632"/>
                  </a:moveTo>
                  <a:cubicBezTo>
                    <a:pt x="5061" y="6632"/>
                    <a:pt x="5108" y="6680"/>
                    <a:pt x="5108" y="6739"/>
                  </a:cubicBezTo>
                  <a:lnTo>
                    <a:pt x="5108" y="6858"/>
                  </a:lnTo>
                  <a:cubicBezTo>
                    <a:pt x="5108" y="6918"/>
                    <a:pt x="5061" y="6965"/>
                    <a:pt x="5001" y="6965"/>
                  </a:cubicBezTo>
                  <a:lnTo>
                    <a:pt x="4192" y="6965"/>
                  </a:lnTo>
                  <a:cubicBezTo>
                    <a:pt x="4132" y="6965"/>
                    <a:pt x="4085" y="6918"/>
                    <a:pt x="4085" y="6858"/>
                  </a:cubicBezTo>
                  <a:lnTo>
                    <a:pt x="4085" y="6739"/>
                  </a:lnTo>
                  <a:cubicBezTo>
                    <a:pt x="4085" y="6680"/>
                    <a:pt x="4132" y="6632"/>
                    <a:pt x="4192" y="6632"/>
                  </a:cubicBezTo>
                  <a:close/>
                  <a:moveTo>
                    <a:pt x="4787" y="7287"/>
                  </a:moveTo>
                  <a:lnTo>
                    <a:pt x="4787" y="8882"/>
                  </a:lnTo>
                  <a:lnTo>
                    <a:pt x="4406" y="8882"/>
                  </a:lnTo>
                  <a:lnTo>
                    <a:pt x="4406" y="7287"/>
                  </a:lnTo>
                  <a:close/>
                  <a:moveTo>
                    <a:pt x="5609" y="9216"/>
                  </a:moveTo>
                  <a:cubicBezTo>
                    <a:pt x="5728" y="9216"/>
                    <a:pt x="5823" y="9299"/>
                    <a:pt x="5823" y="9418"/>
                  </a:cubicBezTo>
                  <a:lnTo>
                    <a:pt x="5823" y="9609"/>
                  </a:lnTo>
                  <a:lnTo>
                    <a:pt x="4370" y="9609"/>
                  </a:lnTo>
                  <a:cubicBezTo>
                    <a:pt x="4287" y="9609"/>
                    <a:pt x="4204" y="9680"/>
                    <a:pt x="4204" y="9775"/>
                  </a:cubicBezTo>
                  <a:cubicBezTo>
                    <a:pt x="4204" y="9870"/>
                    <a:pt x="4287" y="9942"/>
                    <a:pt x="4370" y="9942"/>
                  </a:cubicBezTo>
                  <a:lnTo>
                    <a:pt x="6585" y="9942"/>
                  </a:lnTo>
                  <a:cubicBezTo>
                    <a:pt x="6609" y="9942"/>
                    <a:pt x="6621" y="9954"/>
                    <a:pt x="6632" y="9966"/>
                  </a:cubicBezTo>
                  <a:lnTo>
                    <a:pt x="6787" y="10763"/>
                  </a:lnTo>
                  <a:cubicBezTo>
                    <a:pt x="6787" y="10775"/>
                    <a:pt x="6787" y="10787"/>
                    <a:pt x="6763" y="10787"/>
                  </a:cubicBezTo>
                  <a:cubicBezTo>
                    <a:pt x="6763" y="10787"/>
                    <a:pt x="6752" y="10799"/>
                    <a:pt x="6740" y="10799"/>
                  </a:cubicBezTo>
                  <a:lnTo>
                    <a:pt x="2453" y="10799"/>
                  </a:lnTo>
                  <a:cubicBezTo>
                    <a:pt x="2441" y="10799"/>
                    <a:pt x="2418" y="10787"/>
                    <a:pt x="2418" y="10787"/>
                  </a:cubicBezTo>
                  <a:cubicBezTo>
                    <a:pt x="2418" y="10787"/>
                    <a:pt x="2406" y="10775"/>
                    <a:pt x="2406" y="10763"/>
                  </a:cubicBezTo>
                  <a:lnTo>
                    <a:pt x="2561" y="9966"/>
                  </a:lnTo>
                  <a:cubicBezTo>
                    <a:pt x="2561" y="9954"/>
                    <a:pt x="2572" y="9942"/>
                    <a:pt x="2596" y="9942"/>
                  </a:cubicBezTo>
                  <a:lnTo>
                    <a:pt x="3596" y="9942"/>
                  </a:lnTo>
                  <a:cubicBezTo>
                    <a:pt x="3692" y="9942"/>
                    <a:pt x="3763" y="9870"/>
                    <a:pt x="3763" y="9775"/>
                  </a:cubicBezTo>
                  <a:cubicBezTo>
                    <a:pt x="3763" y="9680"/>
                    <a:pt x="3692" y="9609"/>
                    <a:pt x="3596" y="9609"/>
                  </a:cubicBezTo>
                  <a:lnTo>
                    <a:pt x="3370" y="9609"/>
                  </a:lnTo>
                  <a:lnTo>
                    <a:pt x="3370" y="9418"/>
                  </a:lnTo>
                  <a:cubicBezTo>
                    <a:pt x="3370" y="9299"/>
                    <a:pt x="3465" y="9216"/>
                    <a:pt x="3584" y="9216"/>
                  </a:cubicBezTo>
                  <a:close/>
                  <a:moveTo>
                    <a:pt x="1810" y="0"/>
                  </a:moveTo>
                  <a:cubicBezTo>
                    <a:pt x="1656" y="0"/>
                    <a:pt x="1501" y="131"/>
                    <a:pt x="1501" y="310"/>
                  </a:cubicBezTo>
                  <a:lnTo>
                    <a:pt x="1501" y="726"/>
                  </a:lnTo>
                  <a:cubicBezTo>
                    <a:pt x="1501" y="893"/>
                    <a:pt x="1632" y="1036"/>
                    <a:pt x="1810" y="1036"/>
                  </a:cubicBezTo>
                  <a:lnTo>
                    <a:pt x="1846" y="1036"/>
                  </a:lnTo>
                  <a:lnTo>
                    <a:pt x="1846" y="1572"/>
                  </a:lnTo>
                  <a:cubicBezTo>
                    <a:pt x="1727" y="1572"/>
                    <a:pt x="1608" y="1512"/>
                    <a:pt x="1537" y="1417"/>
                  </a:cubicBezTo>
                  <a:lnTo>
                    <a:pt x="1394" y="1238"/>
                  </a:lnTo>
                  <a:cubicBezTo>
                    <a:pt x="1191" y="941"/>
                    <a:pt x="846" y="762"/>
                    <a:pt x="489" y="762"/>
                  </a:cubicBezTo>
                  <a:cubicBezTo>
                    <a:pt x="358" y="762"/>
                    <a:pt x="239" y="798"/>
                    <a:pt x="144" y="905"/>
                  </a:cubicBezTo>
                  <a:cubicBezTo>
                    <a:pt x="60" y="1000"/>
                    <a:pt x="1" y="1131"/>
                    <a:pt x="1" y="1250"/>
                  </a:cubicBezTo>
                  <a:lnTo>
                    <a:pt x="1" y="1929"/>
                  </a:lnTo>
                  <a:cubicBezTo>
                    <a:pt x="1" y="3560"/>
                    <a:pt x="834" y="3894"/>
                    <a:pt x="1501" y="4179"/>
                  </a:cubicBezTo>
                  <a:cubicBezTo>
                    <a:pt x="1870" y="4334"/>
                    <a:pt x="2203" y="4465"/>
                    <a:pt x="2370" y="4786"/>
                  </a:cubicBezTo>
                  <a:cubicBezTo>
                    <a:pt x="2406" y="4882"/>
                    <a:pt x="2394" y="4965"/>
                    <a:pt x="2334" y="5025"/>
                  </a:cubicBezTo>
                  <a:cubicBezTo>
                    <a:pt x="2284" y="5092"/>
                    <a:pt x="2191" y="5124"/>
                    <a:pt x="2108" y="5124"/>
                  </a:cubicBezTo>
                  <a:cubicBezTo>
                    <a:pt x="2073" y="5124"/>
                    <a:pt x="2041" y="5118"/>
                    <a:pt x="2013" y="5108"/>
                  </a:cubicBezTo>
                  <a:cubicBezTo>
                    <a:pt x="1894" y="5060"/>
                    <a:pt x="1870" y="4906"/>
                    <a:pt x="1870" y="4786"/>
                  </a:cubicBezTo>
                  <a:cubicBezTo>
                    <a:pt x="1870" y="4703"/>
                    <a:pt x="1810" y="4632"/>
                    <a:pt x="1727" y="4632"/>
                  </a:cubicBezTo>
                  <a:cubicBezTo>
                    <a:pt x="1632" y="4632"/>
                    <a:pt x="1560" y="4691"/>
                    <a:pt x="1560" y="4775"/>
                  </a:cubicBezTo>
                  <a:cubicBezTo>
                    <a:pt x="1560" y="4929"/>
                    <a:pt x="1572" y="5263"/>
                    <a:pt x="1894" y="5406"/>
                  </a:cubicBezTo>
                  <a:cubicBezTo>
                    <a:pt x="1965" y="5429"/>
                    <a:pt x="2037" y="5441"/>
                    <a:pt x="2108" y="5441"/>
                  </a:cubicBezTo>
                  <a:cubicBezTo>
                    <a:pt x="2275" y="5441"/>
                    <a:pt x="2453" y="5370"/>
                    <a:pt x="2572" y="5251"/>
                  </a:cubicBezTo>
                  <a:cubicBezTo>
                    <a:pt x="2584" y="5239"/>
                    <a:pt x="2608" y="5227"/>
                    <a:pt x="2608" y="5203"/>
                  </a:cubicBezTo>
                  <a:cubicBezTo>
                    <a:pt x="2918" y="5703"/>
                    <a:pt x="3323" y="6144"/>
                    <a:pt x="3811" y="6489"/>
                  </a:cubicBezTo>
                  <a:lnTo>
                    <a:pt x="3834" y="6501"/>
                  </a:lnTo>
                  <a:cubicBezTo>
                    <a:pt x="3799" y="6561"/>
                    <a:pt x="3775" y="6656"/>
                    <a:pt x="3775" y="6727"/>
                  </a:cubicBezTo>
                  <a:lnTo>
                    <a:pt x="3775" y="6846"/>
                  </a:lnTo>
                  <a:cubicBezTo>
                    <a:pt x="3775" y="7037"/>
                    <a:pt x="3918" y="7215"/>
                    <a:pt x="4096" y="7263"/>
                  </a:cubicBezTo>
                  <a:lnTo>
                    <a:pt x="4096" y="8870"/>
                  </a:lnTo>
                  <a:lnTo>
                    <a:pt x="3596" y="8870"/>
                  </a:lnTo>
                  <a:cubicBezTo>
                    <a:pt x="3299" y="8870"/>
                    <a:pt x="3061" y="9108"/>
                    <a:pt x="3061" y="9406"/>
                  </a:cubicBezTo>
                  <a:lnTo>
                    <a:pt x="3061" y="9597"/>
                  </a:lnTo>
                  <a:lnTo>
                    <a:pt x="2620" y="9597"/>
                  </a:lnTo>
                  <a:cubicBezTo>
                    <a:pt x="2441" y="9597"/>
                    <a:pt x="2287" y="9716"/>
                    <a:pt x="2263" y="9894"/>
                  </a:cubicBezTo>
                  <a:lnTo>
                    <a:pt x="2108" y="10680"/>
                  </a:lnTo>
                  <a:cubicBezTo>
                    <a:pt x="2096" y="10787"/>
                    <a:pt x="2108" y="10906"/>
                    <a:pt x="2191" y="10978"/>
                  </a:cubicBezTo>
                  <a:cubicBezTo>
                    <a:pt x="2263" y="11073"/>
                    <a:pt x="2370" y="11121"/>
                    <a:pt x="2465" y="11121"/>
                  </a:cubicBezTo>
                  <a:lnTo>
                    <a:pt x="6752" y="11121"/>
                  </a:lnTo>
                  <a:cubicBezTo>
                    <a:pt x="6859" y="11121"/>
                    <a:pt x="6966" y="11073"/>
                    <a:pt x="7037" y="10978"/>
                  </a:cubicBezTo>
                  <a:cubicBezTo>
                    <a:pt x="7109" y="10894"/>
                    <a:pt x="7144" y="10787"/>
                    <a:pt x="7109" y="10680"/>
                  </a:cubicBezTo>
                  <a:lnTo>
                    <a:pt x="6966" y="9894"/>
                  </a:lnTo>
                  <a:cubicBezTo>
                    <a:pt x="6930" y="9716"/>
                    <a:pt x="6787" y="9597"/>
                    <a:pt x="6609" y="9597"/>
                  </a:cubicBezTo>
                  <a:lnTo>
                    <a:pt x="6156" y="9597"/>
                  </a:lnTo>
                  <a:lnTo>
                    <a:pt x="6156" y="9406"/>
                  </a:lnTo>
                  <a:cubicBezTo>
                    <a:pt x="6156" y="9108"/>
                    <a:pt x="5918" y="8870"/>
                    <a:pt x="5620" y="8870"/>
                  </a:cubicBezTo>
                  <a:lnTo>
                    <a:pt x="5132" y="8870"/>
                  </a:lnTo>
                  <a:lnTo>
                    <a:pt x="5132" y="7263"/>
                  </a:lnTo>
                  <a:cubicBezTo>
                    <a:pt x="5311" y="7215"/>
                    <a:pt x="5442" y="7037"/>
                    <a:pt x="5442" y="6846"/>
                  </a:cubicBezTo>
                  <a:lnTo>
                    <a:pt x="5442" y="6727"/>
                  </a:lnTo>
                  <a:cubicBezTo>
                    <a:pt x="5442" y="6632"/>
                    <a:pt x="5418" y="6561"/>
                    <a:pt x="5382" y="6501"/>
                  </a:cubicBezTo>
                  <a:lnTo>
                    <a:pt x="5418" y="6489"/>
                  </a:lnTo>
                  <a:cubicBezTo>
                    <a:pt x="5894" y="6132"/>
                    <a:pt x="6311" y="5703"/>
                    <a:pt x="6621" y="5203"/>
                  </a:cubicBezTo>
                  <a:cubicBezTo>
                    <a:pt x="6632" y="5227"/>
                    <a:pt x="6656" y="5239"/>
                    <a:pt x="6656" y="5251"/>
                  </a:cubicBezTo>
                  <a:cubicBezTo>
                    <a:pt x="6775" y="5382"/>
                    <a:pt x="6954" y="5441"/>
                    <a:pt x="7109" y="5441"/>
                  </a:cubicBezTo>
                  <a:cubicBezTo>
                    <a:pt x="7192" y="5441"/>
                    <a:pt x="7263" y="5429"/>
                    <a:pt x="7335" y="5406"/>
                  </a:cubicBezTo>
                  <a:cubicBezTo>
                    <a:pt x="7644" y="5263"/>
                    <a:pt x="7668" y="4929"/>
                    <a:pt x="7668" y="4775"/>
                  </a:cubicBezTo>
                  <a:cubicBezTo>
                    <a:pt x="7668" y="4701"/>
                    <a:pt x="7603" y="4628"/>
                    <a:pt x="7531" y="4628"/>
                  </a:cubicBezTo>
                  <a:cubicBezTo>
                    <a:pt x="7521" y="4628"/>
                    <a:pt x="7511" y="4629"/>
                    <a:pt x="7502" y="4632"/>
                  </a:cubicBezTo>
                  <a:cubicBezTo>
                    <a:pt x="7406" y="4632"/>
                    <a:pt x="7335" y="4703"/>
                    <a:pt x="7347" y="4786"/>
                  </a:cubicBezTo>
                  <a:cubicBezTo>
                    <a:pt x="7347" y="4906"/>
                    <a:pt x="7335" y="5048"/>
                    <a:pt x="7216" y="5108"/>
                  </a:cubicBezTo>
                  <a:cubicBezTo>
                    <a:pt x="7188" y="5117"/>
                    <a:pt x="7158" y="5122"/>
                    <a:pt x="7128" y="5122"/>
                  </a:cubicBezTo>
                  <a:cubicBezTo>
                    <a:pt x="7043" y="5122"/>
                    <a:pt x="6956" y="5086"/>
                    <a:pt x="6894" y="5025"/>
                  </a:cubicBezTo>
                  <a:cubicBezTo>
                    <a:pt x="6835" y="4953"/>
                    <a:pt x="6811" y="4882"/>
                    <a:pt x="6859" y="4786"/>
                  </a:cubicBezTo>
                  <a:cubicBezTo>
                    <a:pt x="7025" y="4465"/>
                    <a:pt x="7335" y="4334"/>
                    <a:pt x="7728" y="4179"/>
                  </a:cubicBezTo>
                  <a:cubicBezTo>
                    <a:pt x="8395" y="3917"/>
                    <a:pt x="9228" y="3572"/>
                    <a:pt x="9228" y="1929"/>
                  </a:cubicBezTo>
                  <a:lnTo>
                    <a:pt x="9228" y="1250"/>
                  </a:lnTo>
                  <a:cubicBezTo>
                    <a:pt x="9216" y="1131"/>
                    <a:pt x="9168" y="1000"/>
                    <a:pt x="9061" y="905"/>
                  </a:cubicBezTo>
                  <a:cubicBezTo>
                    <a:pt x="8978" y="822"/>
                    <a:pt x="8859" y="762"/>
                    <a:pt x="8716" y="762"/>
                  </a:cubicBezTo>
                  <a:cubicBezTo>
                    <a:pt x="8359" y="762"/>
                    <a:pt x="8025" y="941"/>
                    <a:pt x="7811" y="1238"/>
                  </a:cubicBezTo>
                  <a:lnTo>
                    <a:pt x="7680" y="1417"/>
                  </a:lnTo>
                  <a:cubicBezTo>
                    <a:pt x="7609" y="1512"/>
                    <a:pt x="7490" y="1572"/>
                    <a:pt x="7371" y="1572"/>
                  </a:cubicBezTo>
                  <a:lnTo>
                    <a:pt x="7371" y="1036"/>
                  </a:lnTo>
                  <a:lnTo>
                    <a:pt x="7394" y="1036"/>
                  </a:lnTo>
                  <a:cubicBezTo>
                    <a:pt x="7561" y="1036"/>
                    <a:pt x="7704" y="905"/>
                    <a:pt x="7704" y="726"/>
                  </a:cubicBezTo>
                  <a:lnTo>
                    <a:pt x="7704" y="310"/>
                  </a:lnTo>
                  <a:cubicBezTo>
                    <a:pt x="7704" y="143"/>
                    <a:pt x="7573" y="0"/>
                    <a:pt x="7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4" name="Google Shape;11334;p60"/>
            <p:cNvSpPr/>
            <p:nvPr/>
          </p:nvSpPr>
          <p:spPr>
            <a:xfrm>
              <a:off x="4118903" y="3867139"/>
              <a:ext cx="93987" cy="87971"/>
            </a:xfrm>
            <a:custGeom>
              <a:avLst/>
              <a:gdLst/>
              <a:ahLst/>
              <a:cxnLst/>
              <a:rect l="l" t="t" r="r" b="b"/>
              <a:pathLst>
                <a:path w="2953" h="2764" extrusionOk="0">
                  <a:moveTo>
                    <a:pt x="1477" y="489"/>
                  </a:moveTo>
                  <a:lnTo>
                    <a:pt x="1727" y="989"/>
                  </a:lnTo>
                  <a:cubicBezTo>
                    <a:pt x="1762" y="1049"/>
                    <a:pt x="1822" y="1096"/>
                    <a:pt x="1881" y="1096"/>
                  </a:cubicBezTo>
                  <a:lnTo>
                    <a:pt x="2441" y="1180"/>
                  </a:lnTo>
                  <a:lnTo>
                    <a:pt x="2036" y="1584"/>
                  </a:lnTo>
                  <a:cubicBezTo>
                    <a:pt x="2000" y="1632"/>
                    <a:pt x="1977" y="1692"/>
                    <a:pt x="1977" y="1763"/>
                  </a:cubicBezTo>
                  <a:lnTo>
                    <a:pt x="2072" y="2335"/>
                  </a:lnTo>
                  <a:lnTo>
                    <a:pt x="1560" y="2061"/>
                  </a:lnTo>
                  <a:cubicBezTo>
                    <a:pt x="1536" y="2049"/>
                    <a:pt x="1500" y="2037"/>
                    <a:pt x="1477" y="2037"/>
                  </a:cubicBezTo>
                  <a:cubicBezTo>
                    <a:pt x="1441" y="2037"/>
                    <a:pt x="1417" y="2049"/>
                    <a:pt x="1381" y="2061"/>
                  </a:cubicBezTo>
                  <a:lnTo>
                    <a:pt x="881" y="2335"/>
                  </a:lnTo>
                  <a:lnTo>
                    <a:pt x="965" y="1763"/>
                  </a:lnTo>
                  <a:cubicBezTo>
                    <a:pt x="988" y="1703"/>
                    <a:pt x="953" y="1632"/>
                    <a:pt x="905" y="1584"/>
                  </a:cubicBezTo>
                  <a:lnTo>
                    <a:pt x="512" y="1180"/>
                  </a:lnTo>
                  <a:lnTo>
                    <a:pt x="1072" y="1096"/>
                  </a:lnTo>
                  <a:cubicBezTo>
                    <a:pt x="1131" y="1084"/>
                    <a:pt x="1191" y="1049"/>
                    <a:pt x="1227" y="989"/>
                  </a:cubicBezTo>
                  <a:lnTo>
                    <a:pt x="1477" y="489"/>
                  </a:lnTo>
                  <a:close/>
                  <a:moveTo>
                    <a:pt x="1477" y="1"/>
                  </a:moveTo>
                  <a:cubicBezTo>
                    <a:pt x="1405" y="1"/>
                    <a:pt x="1322" y="49"/>
                    <a:pt x="1298" y="108"/>
                  </a:cubicBezTo>
                  <a:lnTo>
                    <a:pt x="953" y="799"/>
                  </a:lnTo>
                  <a:lnTo>
                    <a:pt x="191" y="906"/>
                  </a:lnTo>
                  <a:cubicBezTo>
                    <a:pt x="119" y="918"/>
                    <a:pt x="60" y="965"/>
                    <a:pt x="36" y="1037"/>
                  </a:cubicBezTo>
                  <a:cubicBezTo>
                    <a:pt x="0" y="1108"/>
                    <a:pt x="36" y="1180"/>
                    <a:pt x="72" y="1227"/>
                  </a:cubicBezTo>
                  <a:lnTo>
                    <a:pt x="631" y="1763"/>
                  </a:lnTo>
                  <a:lnTo>
                    <a:pt x="488" y="2525"/>
                  </a:lnTo>
                  <a:cubicBezTo>
                    <a:pt x="476" y="2596"/>
                    <a:pt x="512" y="2668"/>
                    <a:pt x="572" y="2716"/>
                  </a:cubicBezTo>
                  <a:cubicBezTo>
                    <a:pt x="604" y="2741"/>
                    <a:pt x="639" y="2753"/>
                    <a:pt x="676" y="2753"/>
                  </a:cubicBezTo>
                  <a:cubicBezTo>
                    <a:pt x="708" y="2753"/>
                    <a:pt x="741" y="2744"/>
                    <a:pt x="774" y="2727"/>
                  </a:cubicBezTo>
                  <a:lnTo>
                    <a:pt x="1465" y="2370"/>
                  </a:lnTo>
                  <a:lnTo>
                    <a:pt x="2143" y="2727"/>
                  </a:lnTo>
                  <a:cubicBezTo>
                    <a:pt x="2179" y="2751"/>
                    <a:pt x="2203" y="2763"/>
                    <a:pt x="2239" y="2763"/>
                  </a:cubicBezTo>
                  <a:cubicBezTo>
                    <a:pt x="2274" y="2763"/>
                    <a:pt x="2310" y="2751"/>
                    <a:pt x="2358" y="2716"/>
                  </a:cubicBezTo>
                  <a:cubicBezTo>
                    <a:pt x="2417" y="2668"/>
                    <a:pt x="2441" y="2596"/>
                    <a:pt x="2429" y="2525"/>
                  </a:cubicBezTo>
                  <a:lnTo>
                    <a:pt x="2298" y="1763"/>
                  </a:lnTo>
                  <a:lnTo>
                    <a:pt x="2846" y="1227"/>
                  </a:lnTo>
                  <a:cubicBezTo>
                    <a:pt x="2917" y="1180"/>
                    <a:pt x="2953" y="1108"/>
                    <a:pt x="2917" y="1037"/>
                  </a:cubicBezTo>
                  <a:cubicBezTo>
                    <a:pt x="2893" y="965"/>
                    <a:pt x="2834" y="918"/>
                    <a:pt x="2751" y="906"/>
                  </a:cubicBezTo>
                  <a:lnTo>
                    <a:pt x="2000" y="799"/>
                  </a:lnTo>
                  <a:lnTo>
                    <a:pt x="1655" y="108"/>
                  </a:lnTo>
                  <a:cubicBezTo>
                    <a:pt x="1619" y="37"/>
                    <a:pt x="1548"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35" name="Google Shape;11335;p60"/>
          <p:cNvGrpSpPr/>
          <p:nvPr/>
        </p:nvGrpSpPr>
        <p:grpSpPr>
          <a:xfrm>
            <a:off x="8006505" y="3390044"/>
            <a:ext cx="323654" cy="303189"/>
            <a:chOff x="8006505" y="3390044"/>
            <a:chExt cx="323654" cy="303189"/>
          </a:xfrm>
        </p:grpSpPr>
        <p:sp>
          <p:nvSpPr>
            <p:cNvPr id="11336" name="Google Shape;11336;p60"/>
            <p:cNvSpPr/>
            <p:nvPr/>
          </p:nvSpPr>
          <p:spPr>
            <a:xfrm>
              <a:off x="8006505" y="3390044"/>
              <a:ext cx="323654" cy="303189"/>
            </a:xfrm>
            <a:custGeom>
              <a:avLst/>
              <a:gdLst/>
              <a:ahLst/>
              <a:cxnLst/>
              <a:rect l="l" t="t" r="r" b="b"/>
              <a:pathLst>
                <a:path w="10169" h="9526" extrusionOk="0">
                  <a:moveTo>
                    <a:pt x="5358" y="322"/>
                  </a:moveTo>
                  <a:cubicBezTo>
                    <a:pt x="5704" y="322"/>
                    <a:pt x="5965" y="608"/>
                    <a:pt x="5965" y="930"/>
                  </a:cubicBezTo>
                  <a:lnTo>
                    <a:pt x="5965" y="1311"/>
                  </a:lnTo>
                  <a:cubicBezTo>
                    <a:pt x="5965" y="1584"/>
                    <a:pt x="6192" y="1811"/>
                    <a:pt x="6477" y="1811"/>
                  </a:cubicBezTo>
                  <a:lnTo>
                    <a:pt x="6620" y="1811"/>
                  </a:lnTo>
                  <a:cubicBezTo>
                    <a:pt x="6727" y="1811"/>
                    <a:pt x="6811" y="1906"/>
                    <a:pt x="6811" y="2001"/>
                  </a:cubicBezTo>
                  <a:lnTo>
                    <a:pt x="6811" y="3013"/>
                  </a:lnTo>
                  <a:cubicBezTo>
                    <a:pt x="6811" y="3120"/>
                    <a:pt x="6727" y="3204"/>
                    <a:pt x="6620" y="3204"/>
                  </a:cubicBezTo>
                  <a:lnTo>
                    <a:pt x="3465" y="3204"/>
                  </a:lnTo>
                  <a:cubicBezTo>
                    <a:pt x="3358" y="3204"/>
                    <a:pt x="3275" y="3120"/>
                    <a:pt x="3275" y="3013"/>
                  </a:cubicBezTo>
                  <a:lnTo>
                    <a:pt x="3322" y="2001"/>
                  </a:lnTo>
                  <a:cubicBezTo>
                    <a:pt x="3322" y="1894"/>
                    <a:pt x="3406" y="1811"/>
                    <a:pt x="3513" y="1811"/>
                  </a:cubicBezTo>
                  <a:lnTo>
                    <a:pt x="3656" y="1811"/>
                  </a:lnTo>
                  <a:cubicBezTo>
                    <a:pt x="3941" y="1811"/>
                    <a:pt x="4168" y="1584"/>
                    <a:pt x="4168" y="1311"/>
                  </a:cubicBezTo>
                  <a:lnTo>
                    <a:pt x="4168" y="930"/>
                  </a:lnTo>
                  <a:cubicBezTo>
                    <a:pt x="4168" y="596"/>
                    <a:pt x="4453" y="322"/>
                    <a:pt x="4775" y="322"/>
                  </a:cubicBezTo>
                  <a:close/>
                  <a:moveTo>
                    <a:pt x="9275" y="2239"/>
                  </a:moveTo>
                  <a:cubicBezTo>
                    <a:pt x="9585" y="2239"/>
                    <a:pt x="9847" y="2501"/>
                    <a:pt x="9847" y="2823"/>
                  </a:cubicBezTo>
                  <a:lnTo>
                    <a:pt x="9835" y="8633"/>
                  </a:lnTo>
                  <a:cubicBezTo>
                    <a:pt x="9835" y="8943"/>
                    <a:pt x="9585" y="9204"/>
                    <a:pt x="9252" y="9204"/>
                  </a:cubicBezTo>
                  <a:lnTo>
                    <a:pt x="881" y="9204"/>
                  </a:lnTo>
                  <a:cubicBezTo>
                    <a:pt x="560" y="9204"/>
                    <a:pt x="298" y="8954"/>
                    <a:pt x="298" y="8633"/>
                  </a:cubicBezTo>
                  <a:lnTo>
                    <a:pt x="298" y="2823"/>
                  </a:lnTo>
                  <a:cubicBezTo>
                    <a:pt x="298" y="2513"/>
                    <a:pt x="548" y="2239"/>
                    <a:pt x="881" y="2239"/>
                  </a:cubicBezTo>
                  <a:lnTo>
                    <a:pt x="2977" y="2239"/>
                  </a:lnTo>
                  <a:lnTo>
                    <a:pt x="2977" y="2775"/>
                  </a:lnTo>
                  <a:lnTo>
                    <a:pt x="1001" y="2775"/>
                  </a:lnTo>
                  <a:cubicBezTo>
                    <a:pt x="905" y="2775"/>
                    <a:pt x="834" y="2858"/>
                    <a:pt x="834" y="2942"/>
                  </a:cubicBezTo>
                  <a:lnTo>
                    <a:pt x="834" y="8514"/>
                  </a:lnTo>
                  <a:cubicBezTo>
                    <a:pt x="834" y="8597"/>
                    <a:pt x="905" y="8669"/>
                    <a:pt x="1001" y="8669"/>
                  </a:cubicBezTo>
                  <a:lnTo>
                    <a:pt x="6418" y="8669"/>
                  </a:lnTo>
                  <a:cubicBezTo>
                    <a:pt x="6501" y="8669"/>
                    <a:pt x="6573" y="8597"/>
                    <a:pt x="6573" y="8514"/>
                  </a:cubicBezTo>
                  <a:cubicBezTo>
                    <a:pt x="6573" y="8419"/>
                    <a:pt x="6501" y="8347"/>
                    <a:pt x="6418" y="8347"/>
                  </a:cubicBezTo>
                  <a:lnTo>
                    <a:pt x="1155" y="8347"/>
                  </a:lnTo>
                  <a:lnTo>
                    <a:pt x="1155" y="3108"/>
                  </a:lnTo>
                  <a:lnTo>
                    <a:pt x="2989" y="3108"/>
                  </a:lnTo>
                  <a:cubicBezTo>
                    <a:pt x="3037" y="3347"/>
                    <a:pt x="3239" y="3537"/>
                    <a:pt x="3501" y="3537"/>
                  </a:cubicBezTo>
                  <a:lnTo>
                    <a:pt x="6656" y="3537"/>
                  </a:lnTo>
                  <a:cubicBezTo>
                    <a:pt x="6906" y="3537"/>
                    <a:pt x="7108" y="3359"/>
                    <a:pt x="7156" y="3108"/>
                  </a:cubicBezTo>
                  <a:lnTo>
                    <a:pt x="8990" y="3108"/>
                  </a:lnTo>
                  <a:lnTo>
                    <a:pt x="8990" y="8347"/>
                  </a:lnTo>
                  <a:lnTo>
                    <a:pt x="7216" y="8347"/>
                  </a:lnTo>
                  <a:cubicBezTo>
                    <a:pt x="7132" y="8347"/>
                    <a:pt x="7049" y="8419"/>
                    <a:pt x="7049" y="8514"/>
                  </a:cubicBezTo>
                  <a:cubicBezTo>
                    <a:pt x="7049" y="8597"/>
                    <a:pt x="7132" y="8669"/>
                    <a:pt x="7216" y="8669"/>
                  </a:cubicBezTo>
                  <a:lnTo>
                    <a:pt x="9156" y="8669"/>
                  </a:lnTo>
                  <a:cubicBezTo>
                    <a:pt x="9240" y="8669"/>
                    <a:pt x="9311" y="8597"/>
                    <a:pt x="9311" y="8514"/>
                  </a:cubicBezTo>
                  <a:lnTo>
                    <a:pt x="9311" y="2942"/>
                  </a:lnTo>
                  <a:cubicBezTo>
                    <a:pt x="9311" y="2858"/>
                    <a:pt x="9240" y="2775"/>
                    <a:pt x="9156" y="2775"/>
                  </a:cubicBezTo>
                  <a:lnTo>
                    <a:pt x="7168" y="2775"/>
                  </a:lnTo>
                  <a:lnTo>
                    <a:pt x="7168" y="2239"/>
                  </a:lnTo>
                  <a:close/>
                  <a:moveTo>
                    <a:pt x="4787" y="1"/>
                  </a:moveTo>
                  <a:cubicBezTo>
                    <a:pt x="4275" y="1"/>
                    <a:pt x="3858" y="418"/>
                    <a:pt x="3858" y="930"/>
                  </a:cubicBezTo>
                  <a:lnTo>
                    <a:pt x="3858" y="1311"/>
                  </a:lnTo>
                  <a:cubicBezTo>
                    <a:pt x="3858" y="1406"/>
                    <a:pt x="3763" y="1501"/>
                    <a:pt x="3656" y="1501"/>
                  </a:cubicBezTo>
                  <a:lnTo>
                    <a:pt x="3513" y="1501"/>
                  </a:lnTo>
                  <a:cubicBezTo>
                    <a:pt x="3263" y="1501"/>
                    <a:pt x="3048" y="1680"/>
                    <a:pt x="3001" y="1930"/>
                  </a:cubicBezTo>
                  <a:lnTo>
                    <a:pt x="893" y="1930"/>
                  </a:lnTo>
                  <a:cubicBezTo>
                    <a:pt x="405" y="1930"/>
                    <a:pt x="0" y="2335"/>
                    <a:pt x="0" y="2823"/>
                  </a:cubicBezTo>
                  <a:lnTo>
                    <a:pt x="0" y="8633"/>
                  </a:lnTo>
                  <a:cubicBezTo>
                    <a:pt x="0" y="9121"/>
                    <a:pt x="405" y="9526"/>
                    <a:pt x="893" y="9526"/>
                  </a:cubicBezTo>
                  <a:lnTo>
                    <a:pt x="9263" y="9526"/>
                  </a:lnTo>
                  <a:cubicBezTo>
                    <a:pt x="9764" y="9526"/>
                    <a:pt x="10156" y="9121"/>
                    <a:pt x="10156" y="8633"/>
                  </a:cubicBezTo>
                  <a:lnTo>
                    <a:pt x="10156" y="2823"/>
                  </a:lnTo>
                  <a:cubicBezTo>
                    <a:pt x="10168" y="2335"/>
                    <a:pt x="9764" y="1930"/>
                    <a:pt x="9275" y="1930"/>
                  </a:cubicBezTo>
                  <a:lnTo>
                    <a:pt x="7156" y="1930"/>
                  </a:lnTo>
                  <a:cubicBezTo>
                    <a:pt x="7108" y="1692"/>
                    <a:pt x="6906" y="1501"/>
                    <a:pt x="6656" y="1501"/>
                  </a:cubicBezTo>
                  <a:lnTo>
                    <a:pt x="6501" y="1501"/>
                  </a:lnTo>
                  <a:cubicBezTo>
                    <a:pt x="6394" y="1501"/>
                    <a:pt x="6311" y="1406"/>
                    <a:pt x="6311" y="1311"/>
                  </a:cubicBezTo>
                  <a:lnTo>
                    <a:pt x="6311" y="930"/>
                  </a:lnTo>
                  <a:cubicBezTo>
                    <a:pt x="6311" y="418"/>
                    <a:pt x="5894" y="1"/>
                    <a:pt x="5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7" name="Google Shape;11337;p60"/>
            <p:cNvSpPr/>
            <p:nvPr/>
          </p:nvSpPr>
          <p:spPr>
            <a:xfrm>
              <a:off x="8148997" y="3444247"/>
              <a:ext cx="37907" cy="37938"/>
            </a:xfrm>
            <a:custGeom>
              <a:avLst/>
              <a:gdLst/>
              <a:ahLst/>
              <a:cxnLst/>
              <a:rect l="l" t="t" r="r" b="b"/>
              <a:pathLst>
                <a:path w="1191" h="1192" extrusionOk="0">
                  <a:moveTo>
                    <a:pt x="595" y="334"/>
                  </a:moveTo>
                  <a:cubicBezTo>
                    <a:pt x="750" y="334"/>
                    <a:pt x="869" y="453"/>
                    <a:pt x="869" y="596"/>
                  </a:cubicBezTo>
                  <a:cubicBezTo>
                    <a:pt x="869" y="751"/>
                    <a:pt x="750" y="870"/>
                    <a:pt x="595" y="870"/>
                  </a:cubicBezTo>
                  <a:cubicBezTo>
                    <a:pt x="453" y="870"/>
                    <a:pt x="334" y="751"/>
                    <a:pt x="334" y="596"/>
                  </a:cubicBezTo>
                  <a:cubicBezTo>
                    <a:pt x="334" y="453"/>
                    <a:pt x="453" y="334"/>
                    <a:pt x="595" y="334"/>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8" name="Google Shape;11338;p60"/>
            <p:cNvSpPr/>
            <p:nvPr/>
          </p:nvSpPr>
          <p:spPr>
            <a:xfrm>
              <a:off x="8089861" y="3526871"/>
              <a:ext cx="165630" cy="104617"/>
            </a:xfrm>
            <a:custGeom>
              <a:avLst/>
              <a:gdLst/>
              <a:ahLst/>
              <a:cxnLst/>
              <a:rect l="l" t="t" r="r" b="b"/>
              <a:pathLst>
                <a:path w="5204" h="3287" extrusionOk="0">
                  <a:moveTo>
                    <a:pt x="739" y="2024"/>
                  </a:moveTo>
                  <a:cubicBezTo>
                    <a:pt x="1001" y="2024"/>
                    <a:pt x="1215" y="2250"/>
                    <a:pt x="1215" y="2500"/>
                  </a:cubicBezTo>
                  <a:cubicBezTo>
                    <a:pt x="1239" y="2762"/>
                    <a:pt x="1013" y="2977"/>
                    <a:pt x="739" y="2977"/>
                  </a:cubicBezTo>
                  <a:cubicBezTo>
                    <a:pt x="477" y="2977"/>
                    <a:pt x="263" y="2750"/>
                    <a:pt x="263" y="2500"/>
                  </a:cubicBezTo>
                  <a:cubicBezTo>
                    <a:pt x="263" y="2227"/>
                    <a:pt x="489" y="2024"/>
                    <a:pt x="739" y="2024"/>
                  </a:cubicBezTo>
                  <a:close/>
                  <a:moveTo>
                    <a:pt x="4823" y="0"/>
                  </a:moveTo>
                  <a:cubicBezTo>
                    <a:pt x="4823" y="0"/>
                    <a:pt x="4811" y="0"/>
                    <a:pt x="4811" y="12"/>
                  </a:cubicBezTo>
                  <a:lnTo>
                    <a:pt x="4370" y="226"/>
                  </a:lnTo>
                  <a:cubicBezTo>
                    <a:pt x="4299" y="262"/>
                    <a:pt x="4275" y="357"/>
                    <a:pt x="4299" y="429"/>
                  </a:cubicBezTo>
                  <a:cubicBezTo>
                    <a:pt x="4334" y="481"/>
                    <a:pt x="4388" y="514"/>
                    <a:pt x="4447" y="514"/>
                  </a:cubicBezTo>
                  <a:cubicBezTo>
                    <a:pt x="4469" y="514"/>
                    <a:pt x="4491" y="510"/>
                    <a:pt x="4513" y="500"/>
                  </a:cubicBezTo>
                  <a:lnTo>
                    <a:pt x="4632" y="441"/>
                  </a:lnTo>
                  <a:lnTo>
                    <a:pt x="4632" y="441"/>
                  </a:lnTo>
                  <a:cubicBezTo>
                    <a:pt x="4418" y="1143"/>
                    <a:pt x="4049" y="1667"/>
                    <a:pt x="3537" y="1988"/>
                  </a:cubicBezTo>
                  <a:cubicBezTo>
                    <a:pt x="3037" y="2306"/>
                    <a:pt x="2479" y="2385"/>
                    <a:pt x="2070" y="2385"/>
                  </a:cubicBezTo>
                  <a:cubicBezTo>
                    <a:pt x="1866" y="2385"/>
                    <a:pt x="1699" y="2365"/>
                    <a:pt x="1596" y="2346"/>
                  </a:cubicBezTo>
                  <a:cubicBezTo>
                    <a:pt x="1537" y="1977"/>
                    <a:pt x="1191" y="1679"/>
                    <a:pt x="799" y="1679"/>
                  </a:cubicBezTo>
                  <a:cubicBezTo>
                    <a:pt x="358" y="1679"/>
                    <a:pt x="1" y="2036"/>
                    <a:pt x="1" y="2477"/>
                  </a:cubicBezTo>
                  <a:cubicBezTo>
                    <a:pt x="1" y="2929"/>
                    <a:pt x="358" y="3286"/>
                    <a:pt x="799" y="3286"/>
                  </a:cubicBezTo>
                  <a:cubicBezTo>
                    <a:pt x="1180" y="3286"/>
                    <a:pt x="1501" y="3012"/>
                    <a:pt x="1572" y="2679"/>
                  </a:cubicBezTo>
                  <a:cubicBezTo>
                    <a:pt x="1691" y="2691"/>
                    <a:pt x="1858" y="2703"/>
                    <a:pt x="2049" y="2703"/>
                  </a:cubicBezTo>
                  <a:cubicBezTo>
                    <a:pt x="2501" y="2703"/>
                    <a:pt x="3120" y="2619"/>
                    <a:pt x="3692" y="2262"/>
                  </a:cubicBezTo>
                  <a:cubicBezTo>
                    <a:pt x="4251" y="1905"/>
                    <a:pt x="4656" y="1334"/>
                    <a:pt x="4894" y="595"/>
                  </a:cubicBezTo>
                  <a:lnTo>
                    <a:pt x="4930" y="631"/>
                  </a:lnTo>
                  <a:cubicBezTo>
                    <a:pt x="4954" y="691"/>
                    <a:pt x="5013" y="726"/>
                    <a:pt x="5073" y="726"/>
                  </a:cubicBezTo>
                  <a:cubicBezTo>
                    <a:pt x="5109" y="726"/>
                    <a:pt x="5120" y="726"/>
                    <a:pt x="5144" y="714"/>
                  </a:cubicBezTo>
                  <a:cubicBezTo>
                    <a:pt x="5180" y="679"/>
                    <a:pt x="5204" y="584"/>
                    <a:pt x="5180" y="500"/>
                  </a:cubicBezTo>
                  <a:lnTo>
                    <a:pt x="4966" y="72"/>
                  </a:lnTo>
                  <a:cubicBezTo>
                    <a:pt x="4966" y="72"/>
                    <a:pt x="4966" y="60"/>
                    <a:pt x="4954" y="60"/>
                  </a:cubicBezTo>
                  <a:lnTo>
                    <a:pt x="4930" y="24"/>
                  </a:lnTo>
                  <a:lnTo>
                    <a:pt x="4906" y="12"/>
                  </a:lnTo>
                  <a:cubicBezTo>
                    <a:pt x="4906" y="12"/>
                    <a:pt x="4894" y="12"/>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9" name="Google Shape;11339;p60"/>
            <p:cNvSpPr/>
            <p:nvPr/>
          </p:nvSpPr>
          <p:spPr>
            <a:xfrm>
              <a:off x="8067519" y="3519742"/>
              <a:ext cx="32241" cy="30268"/>
            </a:xfrm>
            <a:custGeom>
              <a:avLst/>
              <a:gdLst/>
              <a:ahLst/>
              <a:cxnLst/>
              <a:rect l="l" t="t" r="r" b="b"/>
              <a:pathLst>
                <a:path w="1013" h="951" extrusionOk="0">
                  <a:moveTo>
                    <a:pt x="173" y="1"/>
                  </a:moveTo>
                  <a:cubicBezTo>
                    <a:pt x="131" y="1"/>
                    <a:pt x="90" y="16"/>
                    <a:pt x="60" y="46"/>
                  </a:cubicBezTo>
                  <a:cubicBezTo>
                    <a:pt x="0" y="105"/>
                    <a:pt x="0" y="212"/>
                    <a:pt x="60" y="272"/>
                  </a:cubicBezTo>
                  <a:lnTo>
                    <a:pt x="274" y="474"/>
                  </a:lnTo>
                  <a:lnTo>
                    <a:pt x="60" y="688"/>
                  </a:lnTo>
                  <a:cubicBezTo>
                    <a:pt x="0" y="748"/>
                    <a:pt x="0" y="843"/>
                    <a:pt x="60" y="903"/>
                  </a:cubicBezTo>
                  <a:cubicBezTo>
                    <a:pt x="96" y="938"/>
                    <a:pt x="131" y="950"/>
                    <a:pt x="179" y="950"/>
                  </a:cubicBezTo>
                  <a:cubicBezTo>
                    <a:pt x="227" y="950"/>
                    <a:pt x="274" y="938"/>
                    <a:pt x="298" y="903"/>
                  </a:cubicBezTo>
                  <a:lnTo>
                    <a:pt x="512" y="700"/>
                  </a:lnTo>
                  <a:lnTo>
                    <a:pt x="715" y="903"/>
                  </a:lnTo>
                  <a:cubicBezTo>
                    <a:pt x="750" y="938"/>
                    <a:pt x="786" y="950"/>
                    <a:pt x="834" y="950"/>
                  </a:cubicBezTo>
                  <a:cubicBezTo>
                    <a:pt x="881" y="950"/>
                    <a:pt x="929" y="938"/>
                    <a:pt x="953" y="903"/>
                  </a:cubicBezTo>
                  <a:cubicBezTo>
                    <a:pt x="1012" y="843"/>
                    <a:pt x="1012" y="748"/>
                    <a:pt x="953" y="688"/>
                  </a:cubicBezTo>
                  <a:lnTo>
                    <a:pt x="715" y="474"/>
                  </a:lnTo>
                  <a:lnTo>
                    <a:pt x="929" y="272"/>
                  </a:lnTo>
                  <a:cubicBezTo>
                    <a:pt x="989" y="212"/>
                    <a:pt x="989" y="105"/>
                    <a:pt x="929" y="46"/>
                  </a:cubicBezTo>
                  <a:cubicBezTo>
                    <a:pt x="899" y="16"/>
                    <a:pt x="858" y="1"/>
                    <a:pt x="816" y="1"/>
                  </a:cubicBezTo>
                  <a:cubicBezTo>
                    <a:pt x="774" y="1"/>
                    <a:pt x="733" y="16"/>
                    <a:pt x="703" y="46"/>
                  </a:cubicBezTo>
                  <a:lnTo>
                    <a:pt x="488" y="248"/>
                  </a:ln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0" name="Google Shape;11340;p60"/>
            <p:cNvSpPr/>
            <p:nvPr/>
          </p:nvSpPr>
          <p:spPr>
            <a:xfrm>
              <a:off x="8244479" y="3601602"/>
              <a:ext cx="32623" cy="30268"/>
            </a:xfrm>
            <a:custGeom>
              <a:avLst/>
              <a:gdLst/>
              <a:ahLst/>
              <a:cxnLst/>
              <a:rect l="l" t="t" r="r" b="b"/>
              <a:pathLst>
                <a:path w="1025" h="951" extrusionOk="0">
                  <a:moveTo>
                    <a:pt x="179" y="1"/>
                  </a:moveTo>
                  <a:cubicBezTo>
                    <a:pt x="140" y="1"/>
                    <a:pt x="102" y="15"/>
                    <a:pt x="72" y="45"/>
                  </a:cubicBezTo>
                  <a:cubicBezTo>
                    <a:pt x="1" y="105"/>
                    <a:pt x="1" y="212"/>
                    <a:pt x="72" y="271"/>
                  </a:cubicBezTo>
                  <a:lnTo>
                    <a:pt x="274" y="474"/>
                  </a:lnTo>
                  <a:lnTo>
                    <a:pt x="72" y="688"/>
                  </a:lnTo>
                  <a:cubicBezTo>
                    <a:pt x="1" y="748"/>
                    <a:pt x="1" y="855"/>
                    <a:pt x="72" y="914"/>
                  </a:cubicBezTo>
                  <a:cubicBezTo>
                    <a:pt x="96" y="938"/>
                    <a:pt x="143" y="950"/>
                    <a:pt x="179" y="950"/>
                  </a:cubicBezTo>
                  <a:cubicBezTo>
                    <a:pt x="227" y="950"/>
                    <a:pt x="274" y="938"/>
                    <a:pt x="298" y="914"/>
                  </a:cubicBezTo>
                  <a:lnTo>
                    <a:pt x="513" y="700"/>
                  </a:lnTo>
                  <a:lnTo>
                    <a:pt x="727" y="914"/>
                  </a:lnTo>
                  <a:cubicBezTo>
                    <a:pt x="751" y="938"/>
                    <a:pt x="798" y="950"/>
                    <a:pt x="846" y="950"/>
                  </a:cubicBezTo>
                  <a:cubicBezTo>
                    <a:pt x="882" y="950"/>
                    <a:pt x="929" y="938"/>
                    <a:pt x="965" y="914"/>
                  </a:cubicBezTo>
                  <a:cubicBezTo>
                    <a:pt x="1024" y="855"/>
                    <a:pt x="1024" y="748"/>
                    <a:pt x="965" y="688"/>
                  </a:cubicBezTo>
                  <a:lnTo>
                    <a:pt x="727" y="474"/>
                  </a:lnTo>
                  <a:lnTo>
                    <a:pt x="929" y="271"/>
                  </a:lnTo>
                  <a:cubicBezTo>
                    <a:pt x="989" y="212"/>
                    <a:pt x="989" y="105"/>
                    <a:pt x="929" y="45"/>
                  </a:cubicBezTo>
                  <a:cubicBezTo>
                    <a:pt x="899" y="15"/>
                    <a:pt x="858" y="1"/>
                    <a:pt x="816" y="1"/>
                  </a:cubicBezTo>
                  <a:cubicBezTo>
                    <a:pt x="774" y="1"/>
                    <a:pt x="733" y="15"/>
                    <a:pt x="703" y="45"/>
                  </a:cubicBezTo>
                  <a:lnTo>
                    <a:pt x="501" y="260"/>
                  </a:lnTo>
                  <a:lnTo>
                    <a:pt x="286" y="45"/>
                  </a:lnTo>
                  <a:cubicBezTo>
                    <a:pt x="257" y="15"/>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1" name="Google Shape;11341;p60"/>
            <p:cNvSpPr/>
            <p:nvPr/>
          </p:nvSpPr>
          <p:spPr>
            <a:xfrm>
              <a:off x="8156190" y="3533396"/>
              <a:ext cx="32241" cy="30236"/>
            </a:xfrm>
            <a:custGeom>
              <a:avLst/>
              <a:gdLst/>
              <a:ahLst/>
              <a:cxnLst/>
              <a:rect l="l" t="t" r="r" b="b"/>
              <a:pathLst>
                <a:path w="1013" h="950" extrusionOk="0">
                  <a:moveTo>
                    <a:pt x="167" y="0"/>
                  </a:moveTo>
                  <a:cubicBezTo>
                    <a:pt x="128" y="0"/>
                    <a:pt x="90" y="15"/>
                    <a:pt x="60" y="45"/>
                  </a:cubicBezTo>
                  <a:cubicBezTo>
                    <a:pt x="0" y="105"/>
                    <a:pt x="0" y="212"/>
                    <a:pt x="60" y="271"/>
                  </a:cubicBezTo>
                  <a:lnTo>
                    <a:pt x="262" y="474"/>
                  </a:lnTo>
                  <a:lnTo>
                    <a:pt x="60" y="688"/>
                  </a:lnTo>
                  <a:cubicBezTo>
                    <a:pt x="0" y="748"/>
                    <a:pt x="0" y="855"/>
                    <a:pt x="60" y="914"/>
                  </a:cubicBezTo>
                  <a:cubicBezTo>
                    <a:pt x="84" y="938"/>
                    <a:pt x="131" y="950"/>
                    <a:pt x="179" y="950"/>
                  </a:cubicBezTo>
                  <a:cubicBezTo>
                    <a:pt x="215" y="950"/>
                    <a:pt x="262" y="938"/>
                    <a:pt x="298" y="914"/>
                  </a:cubicBezTo>
                  <a:lnTo>
                    <a:pt x="500" y="700"/>
                  </a:lnTo>
                  <a:lnTo>
                    <a:pt x="715" y="914"/>
                  </a:lnTo>
                  <a:cubicBezTo>
                    <a:pt x="739" y="938"/>
                    <a:pt x="786" y="950"/>
                    <a:pt x="834" y="950"/>
                  </a:cubicBezTo>
                  <a:cubicBezTo>
                    <a:pt x="870" y="950"/>
                    <a:pt x="917" y="938"/>
                    <a:pt x="953" y="914"/>
                  </a:cubicBezTo>
                  <a:cubicBezTo>
                    <a:pt x="1012" y="855"/>
                    <a:pt x="1012" y="748"/>
                    <a:pt x="953" y="688"/>
                  </a:cubicBezTo>
                  <a:lnTo>
                    <a:pt x="715" y="474"/>
                  </a:lnTo>
                  <a:lnTo>
                    <a:pt x="917" y="271"/>
                  </a:lnTo>
                  <a:cubicBezTo>
                    <a:pt x="977" y="212"/>
                    <a:pt x="977" y="105"/>
                    <a:pt x="917" y="45"/>
                  </a:cubicBezTo>
                  <a:cubicBezTo>
                    <a:pt x="887" y="15"/>
                    <a:pt x="849" y="0"/>
                    <a:pt x="810" y="0"/>
                  </a:cubicBezTo>
                  <a:cubicBezTo>
                    <a:pt x="771" y="0"/>
                    <a:pt x="733" y="15"/>
                    <a:pt x="703" y="45"/>
                  </a:cubicBezTo>
                  <a:lnTo>
                    <a:pt x="489" y="259"/>
                  </a:lnTo>
                  <a:lnTo>
                    <a:pt x="274" y="45"/>
                  </a:lnTo>
                  <a:cubicBezTo>
                    <a:pt x="244"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2" name="Google Shape;11342;p60"/>
          <p:cNvGrpSpPr/>
          <p:nvPr/>
        </p:nvGrpSpPr>
        <p:grpSpPr>
          <a:xfrm>
            <a:off x="1299146" y="3806507"/>
            <a:ext cx="367990" cy="351312"/>
            <a:chOff x="1299146" y="3806507"/>
            <a:chExt cx="367990" cy="351312"/>
          </a:xfrm>
        </p:grpSpPr>
        <p:sp>
          <p:nvSpPr>
            <p:cNvPr id="11343" name="Google Shape;11343;p60"/>
            <p:cNvSpPr/>
            <p:nvPr/>
          </p:nvSpPr>
          <p:spPr>
            <a:xfrm>
              <a:off x="1299146" y="3844414"/>
              <a:ext cx="321012" cy="313405"/>
            </a:xfrm>
            <a:custGeom>
              <a:avLst/>
              <a:gdLst/>
              <a:ahLst/>
              <a:cxnLst/>
              <a:rect l="l" t="t" r="r" b="b"/>
              <a:pathLst>
                <a:path w="10086" h="9847" extrusionOk="0">
                  <a:moveTo>
                    <a:pt x="8728" y="1"/>
                  </a:moveTo>
                  <a:cubicBezTo>
                    <a:pt x="8383" y="1"/>
                    <a:pt x="8038" y="143"/>
                    <a:pt x="7787" y="405"/>
                  </a:cubicBezTo>
                  <a:lnTo>
                    <a:pt x="6847" y="1346"/>
                  </a:lnTo>
                  <a:cubicBezTo>
                    <a:pt x="6775" y="1417"/>
                    <a:pt x="6775" y="1525"/>
                    <a:pt x="6847" y="1596"/>
                  </a:cubicBezTo>
                  <a:cubicBezTo>
                    <a:pt x="6883" y="1632"/>
                    <a:pt x="6927" y="1650"/>
                    <a:pt x="6972" y="1650"/>
                  </a:cubicBezTo>
                  <a:cubicBezTo>
                    <a:pt x="7017" y="1650"/>
                    <a:pt x="7061" y="1632"/>
                    <a:pt x="7097" y="1596"/>
                  </a:cubicBezTo>
                  <a:lnTo>
                    <a:pt x="8038" y="667"/>
                  </a:lnTo>
                  <a:cubicBezTo>
                    <a:pt x="8228" y="465"/>
                    <a:pt x="8478" y="370"/>
                    <a:pt x="8728" y="370"/>
                  </a:cubicBezTo>
                  <a:cubicBezTo>
                    <a:pt x="8990" y="370"/>
                    <a:pt x="9252" y="465"/>
                    <a:pt x="9431" y="667"/>
                  </a:cubicBezTo>
                  <a:cubicBezTo>
                    <a:pt x="9633" y="858"/>
                    <a:pt x="9728" y="1108"/>
                    <a:pt x="9728" y="1358"/>
                  </a:cubicBezTo>
                  <a:cubicBezTo>
                    <a:pt x="9728" y="1620"/>
                    <a:pt x="9633" y="1882"/>
                    <a:pt x="9431" y="2060"/>
                  </a:cubicBezTo>
                  <a:lnTo>
                    <a:pt x="8157" y="3346"/>
                  </a:lnTo>
                  <a:cubicBezTo>
                    <a:pt x="8014" y="3025"/>
                    <a:pt x="7835" y="2751"/>
                    <a:pt x="7585" y="2489"/>
                  </a:cubicBezTo>
                  <a:cubicBezTo>
                    <a:pt x="7085" y="1995"/>
                    <a:pt x="6427" y="1748"/>
                    <a:pt x="5769" y="1748"/>
                  </a:cubicBezTo>
                  <a:cubicBezTo>
                    <a:pt x="5112" y="1748"/>
                    <a:pt x="4454" y="1995"/>
                    <a:pt x="3954" y="2489"/>
                  </a:cubicBezTo>
                  <a:lnTo>
                    <a:pt x="989" y="5454"/>
                  </a:lnTo>
                  <a:cubicBezTo>
                    <a:pt x="1" y="6454"/>
                    <a:pt x="1" y="8085"/>
                    <a:pt x="989" y="9085"/>
                  </a:cubicBezTo>
                  <a:cubicBezTo>
                    <a:pt x="1501" y="9597"/>
                    <a:pt x="2156" y="9847"/>
                    <a:pt x="2811" y="9847"/>
                  </a:cubicBezTo>
                  <a:cubicBezTo>
                    <a:pt x="3466" y="9847"/>
                    <a:pt x="4120" y="9597"/>
                    <a:pt x="4620" y="9085"/>
                  </a:cubicBezTo>
                  <a:lnTo>
                    <a:pt x="6204" y="7513"/>
                  </a:lnTo>
                  <a:cubicBezTo>
                    <a:pt x="6275" y="7430"/>
                    <a:pt x="6275" y="7323"/>
                    <a:pt x="6204" y="7251"/>
                  </a:cubicBezTo>
                  <a:cubicBezTo>
                    <a:pt x="6182" y="7243"/>
                    <a:pt x="6152" y="7237"/>
                    <a:pt x="6120" y="7237"/>
                  </a:cubicBezTo>
                  <a:cubicBezTo>
                    <a:pt x="6064" y="7237"/>
                    <a:pt x="5999" y="7254"/>
                    <a:pt x="5954" y="7299"/>
                  </a:cubicBezTo>
                  <a:lnTo>
                    <a:pt x="4370" y="8883"/>
                  </a:lnTo>
                  <a:cubicBezTo>
                    <a:pt x="3954" y="9299"/>
                    <a:pt x="3394" y="9537"/>
                    <a:pt x="2811" y="9537"/>
                  </a:cubicBezTo>
                  <a:cubicBezTo>
                    <a:pt x="2215" y="9537"/>
                    <a:pt x="1668" y="9311"/>
                    <a:pt x="1251" y="8883"/>
                  </a:cubicBezTo>
                  <a:cubicBezTo>
                    <a:pt x="382" y="8013"/>
                    <a:pt x="382" y="6597"/>
                    <a:pt x="1251" y="5739"/>
                  </a:cubicBezTo>
                  <a:lnTo>
                    <a:pt x="4204" y="2775"/>
                  </a:lnTo>
                  <a:cubicBezTo>
                    <a:pt x="4620" y="2358"/>
                    <a:pt x="5192" y="2120"/>
                    <a:pt x="5775" y="2120"/>
                  </a:cubicBezTo>
                  <a:cubicBezTo>
                    <a:pt x="6371" y="2120"/>
                    <a:pt x="6918" y="2346"/>
                    <a:pt x="7335" y="2775"/>
                  </a:cubicBezTo>
                  <a:cubicBezTo>
                    <a:pt x="7573" y="3013"/>
                    <a:pt x="7764" y="3310"/>
                    <a:pt x="7871" y="3644"/>
                  </a:cubicBezTo>
                  <a:lnTo>
                    <a:pt x="6478" y="5037"/>
                  </a:lnTo>
                  <a:cubicBezTo>
                    <a:pt x="6275" y="5227"/>
                    <a:pt x="6025" y="5335"/>
                    <a:pt x="5775" y="5335"/>
                  </a:cubicBezTo>
                  <a:cubicBezTo>
                    <a:pt x="5501" y="5335"/>
                    <a:pt x="5251" y="5227"/>
                    <a:pt x="5073" y="5037"/>
                  </a:cubicBezTo>
                  <a:cubicBezTo>
                    <a:pt x="4990" y="4942"/>
                    <a:pt x="4906" y="4834"/>
                    <a:pt x="4847" y="4703"/>
                  </a:cubicBezTo>
                  <a:cubicBezTo>
                    <a:pt x="4828" y="4639"/>
                    <a:pt x="4760" y="4596"/>
                    <a:pt x="4692" y="4596"/>
                  </a:cubicBezTo>
                  <a:cubicBezTo>
                    <a:pt x="4672" y="4596"/>
                    <a:pt x="4651" y="4600"/>
                    <a:pt x="4632" y="4608"/>
                  </a:cubicBezTo>
                  <a:cubicBezTo>
                    <a:pt x="4537" y="4632"/>
                    <a:pt x="4489" y="4739"/>
                    <a:pt x="4525" y="4823"/>
                  </a:cubicBezTo>
                  <a:cubicBezTo>
                    <a:pt x="4597" y="4989"/>
                    <a:pt x="4692" y="5144"/>
                    <a:pt x="4823" y="5275"/>
                  </a:cubicBezTo>
                  <a:cubicBezTo>
                    <a:pt x="5073" y="5525"/>
                    <a:pt x="5418" y="5680"/>
                    <a:pt x="5775" y="5680"/>
                  </a:cubicBezTo>
                  <a:cubicBezTo>
                    <a:pt x="6133" y="5680"/>
                    <a:pt x="6478" y="5537"/>
                    <a:pt x="6728" y="5275"/>
                  </a:cubicBezTo>
                  <a:lnTo>
                    <a:pt x="9681" y="2310"/>
                  </a:lnTo>
                  <a:cubicBezTo>
                    <a:pt x="9943" y="2060"/>
                    <a:pt x="10085" y="1715"/>
                    <a:pt x="10085" y="1358"/>
                  </a:cubicBezTo>
                  <a:cubicBezTo>
                    <a:pt x="10085" y="1001"/>
                    <a:pt x="9954" y="655"/>
                    <a:pt x="9681" y="405"/>
                  </a:cubicBezTo>
                  <a:cubicBezTo>
                    <a:pt x="9431" y="155"/>
                    <a:pt x="9085" y="1"/>
                    <a:pt x="87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4" name="Google Shape;11344;p60"/>
            <p:cNvSpPr/>
            <p:nvPr/>
          </p:nvSpPr>
          <p:spPr>
            <a:xfrm>
              <a:off x="1345391" y="3806507"/>
              <a:ext cx="321744" cy="313819"/>
            </a:xfrm>
            <a:custGeom>
              <a:avLst/>
              <a:gdLst/>
              <a:ahLst/>
              <a:cxnLst/>
              <a:rect l="l" t="t" r="r" b="b"/>
              <a:pathLst>
                <a:path w="10109" h="9860" extrusionOk="0">
                  <a:moveTo>
                    <a:pt x="7281" y="1"/>
                  </a:moveTo>
                  <a:cubicBezTo>
                    <a:pt x="6623" y="1"/>
                    <a:pt x="5965" y="251"/>
                    <a:pt x="5465" y="751"/>
                  </a:cubicBezTo>
                  <a:lnTo>
                    <a:pt x="3894" y="2335"/>
                  </a:lnTo>
                  <a:cubicBezTo>
                    <a:pt x="3810" y="2406"/>
                    <a:pt x="3810" y="2513"/>
                    <a:pt x="3894" y="2585"/>
                  </a:cubicBezTo>
                  <a:cubicBezTo>
                    <a:pt x="3929" y="2620"/>
                    <a:pt x="3974" y="2638"/>
                    <a:pt x="4019" y="2638"/>
                  </a:cubicBezTo>
                  <a:cubicBezTo>
                    <a:pt x="4063" y="2638"/>
                    <a:pt x="4108" y="2620"/>
                    <a:pt x="4144" y="2585"/>
                  </a:cubicBezTo>
                  <a:lnTo>
                    <a:pt x="5715" y="1001"/>
                  </a:lnTo>
                  <a:cubicBezTo>
                    <a:pt x="6150" y="572"/>
                    <a:pt x="6721" y="358"/>
                    <a:pt x="7291" y="358"/>
                  </a:cubicBezTo>
                  <a:cubicBezTo>
                    <a:pt x="7861" y="358"/>
                    <a:pt x="8430" y="572"/>
                    <a:pt x="8859" y="1001"/>
                  </a:cubicBezTo>
                  <a:cubicBezTo>
                    <a:pt x="9728" y="1870"/>
                    <a:pt x="9728" y="3287"/>
                    <a:pt x="8859" y="4144"/>
                  </a:cubicBezTo>
                  <a:lnTo>
                    <a:pt x="5882" y="7097"/>
                  </a:lnTo>
                  <a:cubicBezTo>
                    <a:pt x="5465" y="7514"/>
                    <a:pt x="4894" y="7752"/>
                    <a:pt x="4322" y="7752"/>
                  </a:cubicBezTo>
                  <a:cubicBezTo>
                    <a:pt x="3727" y="7752"/>
                    <a:pt x="3179" y="7526"/>
                    <a:pt x="2763" y="7097"/>
                  </a:cubicBezTo>
                  <a:cubicBezTo>
                    <a:pt x="2513" y="6859"/>
                    <a:pt x="2322" y="6561"/>
                    <a:pt x="2215" y="6228"/>
                  </a:cubicBezTo>
                  <a:lnTo>
                    <a:pt x="3620" y="4835"/>
                  </a:lnTo>
                  <a:cubicBezTo>
                    <a:pt x="3810" y="4632"/>
                    <a:pt x="4060" y="4537"/>
                    <a:pt x="4322" y="4537"/>
                  </a:cubicBezTo>
                  <a:cubicBezTo>
                    <a:pt x="4584" y="4537"/>
                    <a:pt x="4834" y="4632"/>
                    <a:pt x="5013" y="4835"/>
                  </a:cubicBezTo>
                  <a:cubicBezTo>
                    <a:pt x="5108" y="4918"/>
                    <a:pt x="5180" y="5037"/>
                    <a:pt x="5239" y="5156"/>
                  </a:cubicBezTo>
                  <a:cubicBezTo>
                    <a:pt x="5268" y="5232"/>
                    <a:pt x="5334" y="5271"/>
                    <a:pt x="5409" y="5271"/>
                  </a:cubicBezTo>
                  <a:cubicBezTo>
                    <a:pt x="5427" y="5271"/>
                    <a:pt x="5446" y="5268"/>
                    <a:pt x="5465" y="5263"/>
                  </a:cubicBezTo>
                  <a:cubicBezTo>
                    <a:pt x="5549" y="5228"/>
                    <a:pt x="5596" y="5132"/>
                    <a:pt x="5572" y="5037"/>
                  </a:cubicBezTo>
                  <a:cubicBezTo>
                    <a:pt x="5489" y="4871"/>
                    <a:pt x="5406" y="4728"/>
                    <a:pt x="5275" y="4597"/>
                  </a:cubicBezTo>
                  <a:cubicBezTo>
                    <a:pt x="5013" y="4335"/>
                    <a:pt x="4680" y="4192"/>
                    <a:pt x="4322" y="4192"/>
                  </a:cubicBezTo>
                  <a:cubicBezTo>
                    <a:pt x="3965" y="4192"/>
                    <a:pt x="3620" y="4323"/>
                    <a:pt x="3370" y="4597"/>
                  </a:cubicBezTo>
                  <a:lnTo>
                    <a:pt x="1917" y="6037"/>
                  </a:lnTo>
                  <a:cubicBezTo>
                    <a:pt x="1893" y="6049"/>
                    <a:pt x="1882" y="6061"/>
                    <a:pt x="1870" y="6097"/>
                  </a:cubicBezTo>
                  <a:lnTo>
                    <a:pt x="405" y="7549"/>
                  </a:lnTo>
                  <a:cubicBezTo>
                    <a:pt x="155" y="7811"/>
                    <a:pt x="0" y="8145"/>
                    <a:pt x="0" y="8502"/>
                  </a:cubicBezTo>
                  <a:cubicBezTo>
                    <a:pt x="0" y="8859"/>
                    <a:pt x="131" y="9204"/>
                    <a:pt x="405" y="9454"/>
                  </a:cubicBezTo>
                  <a:cubicBezTo>
                    <a:pt x="655" y="9716"/>
                    <a:pt x="1000" y="9859"/>
                    <a:pt x="1358" y="9859"/>
                  </a:cubicBezTo>
                  <a:cubicBezTo>
                    <a:pt x="1715" y="9859"/>
                    <a:pt x="2060" y="9728"/>
                    <a:pt x="2310" y="9454"/>
                  </a:cubicBezTo>
                  <a:lnTo>
                    <a:pt x="3251" y="8526"/>
                  </a:lnTo>
                  <a:cubicBezTo>
                    <a:pt x="3322" y="8442"/>
                    <a:pt x="3322" y="8347"/>
                    <a:pt x="3251" y="8264"/>
                  </a:cubicBezTo>
                  <a:cubicBezTo>
                    <a:pt x="3209" y="8228"/>
                    <a:pt x="3164" y="8210"/>
                    <a:pt x="3120" y="8210"/>
                  </a:cubicBezTo>
                  <a:cubicBezTo>
                    <a:pt x="3075" y="8210"/>
                    <a:pt x="3030" y="8228"/>
                    <a:pt x="2989" y="8264"/>
                  </a:cubicBezTo>
                  <a:lnTo>
                    <a:pt x="2060" y="9204"/>
                  </a:lnTo>
                  <a:cubicBezTo>
                    <a:pt x="1858" y="9395"/>
                    <a:pt x="1608" y="9502"/>
                    <a:pt x="1358" y="9502"/>
                  </a:cubicBezTo>
                  <a:cubicBezTo>
                    <a:pt x="1108" y="9502"/>
                    <a:pt x="834" y="9395"/>
                    <a:pt x="655" y="9204"/>
                  </a:cubicBezTo>
                  <a:cubicBezTo>
                    <a:pt x="465" y="9014"/>
                    <a:pt x="358" y="8764"/>
                    <a:pt x="358" y="8502"/>
                  </a:cubicBezTo>
                  <a:cubicBezTo>
                    <a:pt x="358" y="8252"/>
                    <a:pt x="465" y="7990"/>
                    <a:pt x="655" y="7811"/>
                  </a:cubicBezTo>
                  <a:lnTo>
                    <a:pt x="1941" y="6526"/>
                  </a:lnTo>
                  <a:cubicBezTo>
                    <a:pt x="2072" y="6835"/>
                    <a:pt x="2251" y="7121"/>
                    <a:pt x="2501" y="7371"/>
                  </a:cubicBezTo>
                  <a:cubicBezTo>
                    <a:pt x="3001" y="7859"/>
                    <a:pt x="3632" y="8133"/>
                    <a:pt x="4322" y="8133"/>
                  </a:cubicBezTo>
                  <a:cubicBezTo>
                    <a:pt x="5001" y="8133"/>
                    <a:pt x="5656" y="7871"/>
                    <a:pt x="6132" y="7371"/>
                  </a:cubicBezTo>
                  <a:lnTo>
                    <a:pt x="9097" y="4418"/>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45" name="Google Shape;11345;p60"/>
          <p:cNvSpPr/>
          <p:nvPr/>
        </p:nvSpPr>
        <p:spPr>
          <a:xfrm>
            <a:off x="3524716" y="3804184"/>
            <a:ext cx="389187" cy="355927"/>
          </a:xfrm>
          <a:custGeom>
            <a:avLst/>
            <a:gdLst/>
            <a:ahLst/>
            <a:cxnLst/>
            <a:rect l="l" t="t" r="r" b="b"/>
            <a:pathLst>
              <a:path w="12228" h="11183" extrusionOk="0">
                <a:moveTo>
                  <a:pt x="4560" y="3991"/>
                </a:moveTo>
                <a:cubicBezTo>
                  <a:pt x="4739" y="3991"/>
                  <a:pt x="4894" y="4146"/>
                  <a:pt x="4894" y="4324"/>
                </a:cubicBezTo>
                <a:cubicBezTo>
                  <a:pt x="4894" y="4503"/>
                  <a:pt x="4739" y="4646"/>
                  <a:pt x="4560" y="4646"/>
                </a:cubicBezTo>
                <a:cubicBezTo>
                  <a:pt x="4382" y="4646"/>
                  <a:pt x="4239" y="4503"/>
                  <a:pt x="4239" y="4324"/>
                </a:cubicBezTo>
                <a:cubicBezTo>
                  <a:pt x="4251" y="4134"/>
                  <a:pt x="4382" y="3991"/>
                  <a:pt x="4560" y="3991"/>
                </a:cubicBezTo>
                <a:close/>
                <a:moveTo>
                  <a:pt x="5930" y="1419"/>
                </a:moveTo>
                <a:lnTo>
                  <a:pt x="5930" y="2003"/>
                </a:lnTo>
                <a:lnTo>
                  <a:pt x="5941" y="4051"/>
                </a:lnTo>
                <a:lnTo>
                  <a:pt x="5965" y="5872"/>
                </a:lnTo>
                <a:lnTo>
                  <a:pt x="1619" y="4908"/>
                </a:lnTo>
                <a:cubicBezTo>
                  <a:pt x="1869" y="3801"/>
                  <a:pt x="2548" y="2848"/>
                  <a:pt x="3489" y="2229"/>
                </a:cubicBezTo>
                <a:lnTo>
                  <a:pt x="4275" y="3670"/>
                </a:lnTo>
                <a:cubicBezTo>
                  <a:pt x="4025" y="3777"/>
                  <a:pt x="3858" y="4027"/>
                  <a:pt x="3858" y="4313"/>
                </a:cubicBezTo>
                <a:cubicBezTo>
                  <a:pt x="3858" y="4694"/>
                  <a:pt x="4179" y="5027"/>
                  <a:pt x="4572" y="5027"/>
                </a:cubicBezTo>
                <a:cubicBezTo>
                  <a:pt x="4965" y="5027"/>
                  <a:pt x="5287" y="4705"/>
                  <a:pt x="5287" y="4313"/>
                </a:cubicBezTo>
                <a:cubicBezTo>
                  <a:pt x="5287" y="3967"/>
                  <a:pt x="5037" y="3670"/>
                  <a:pt x="4715" y="3610"/>
                </a:cubicBezTo>
                <a:lnTo>
                  <a:pt x="3846" y="2015"/>
                </a:lnTo>
                <a:cubicBezTo>
                  <a:pt x="4477" y="1657"/>
                  <a:pt x="5168" y="1455"/>
                  <a:pt x="5930" y="1419"/>
                </a:cubicBezTo>
                <a:close/>
                <a:moveTo>
                  <a:pt x="6287" y="4265"/>
                </a:moveTo>
                <a:cubicBezTo>
                  <a:pt x="7227" y="4348"/>
                  <a:pt x="7965" y="5158"/>
                  <a:pt x="7965" y="6122"/>
                </a:cubicBezTo>
                <a:cubicBezTo>
                  <a:pt x="7965" y="6491"/>
                  <a:pt x="7846" y="6872"/>
                  <a:pt x="7644" y="7170"/>
                </a:cubicBezTo>
                <a:lnTo>
                  <a:pt x="6287" y="6039"/>
                </a:lnTo>
                <a:lnTo>
                  <a:pt x="6287" y="4265"/>
                </a:lnTo>
                <a:close/>
                <a:moveTo>
                  <a:pt x="6477" y="348"/>
                </a:moveTo>
                <a:cubicBezTo>
                  <a:pt x="9501" y="526"/>
                  <a:pt x="11871" y="3039"/>
                  <a:pt x="11871" y="6063"/>
                </a:cubicBezTo>
                <a:cubicBezTo>
                  <a:pt x="11835" y="7349"/>
                  <a:pt x="11454" y="8539"/>
                  <a:pt x="10728" y="9516"/>
                </a:cubicBezTo>
                <a:cubicBezTo>
                  <a:pt x="10692" y="9563"/>
                  <a:pt x="10644" y="9575"/>
                  <a:pt x="10609" y="9575"/>
                </a:cubicBezTo>
                <a:cubicBezTo>
                  <a:pt x="10561" y="9575"/>
                  <a:pt x="10513" y="9563"/>
                  <a:pt x="10490" y="9527"/>
                </a:cubicBezTo>
                <a:lnTo>
                  <a:pt x="9537" y="8730"/>
                </a:lnTo>
                <a:cubicBezTo>
                  <a:pt x="10013" y="8123"/>
                  <a:pt x="10311" y="7384"/>
                  <a:pt x="10394" y="6610"/>
                </a:cubicBezTo>
                <a:cubicBezTo>
                  <a:pt x="10406" y="6491"/>
                  <a:pt x="10323" y="6396"/>
                  <a:pt x="10204" y="6396"/>
                </a:cubicBezTo>
                <a:cubicBezTo>
                  <a:pt x="10097" y="6396"/>
                  <a:pt x="10025" y="6468"/>
                  <a:pt x="10013" y="6551"/>
                </a:cubicBezTo>
                <a:cubicBezTo>
                  <a:pt x="9930" y="7206"/>
                  <a:pt x="9680" y="7849"/>
                  <a:pt x="9299" y="8384"/>
                </a:cubicBezTo>
                <a:cubicBezTo>
                  <a:pt x="9275" y="8396"/>
                  <a:pt x="9263" y="8432"/>
                  <a:pt x="9251" y="8444"/>
                </a:cubicBezTo>
                <a:cubicBezTo>
                  <a:pt x="9251" y="8444"/>
                  <a:pt x="9251" y="8456"/>
                  <a:pt x="9239" y="8456"/>
                </a:cubicBezTo>
                <a:lnTo>
                  <a:pt x="7954" y="7372"/>
                </a:lnTo>
                <a:cubicBezTo>
                  <a:pt x="8227" y="7003"/>
                  <a:pt x="8370" y="6539"/>
                  <a:pt x="8370" y="6075"/>
                </a:cubicBezTo>
                <a:cubicBezTo>
                  <a:pt x="8370" y="4908"/>
                  <a:pt x="7465" y="3920"/>
                  <a:pt x="6299" y="3836"/>
                </a:cubicBezTo>
                <a:lnTo>
                  <a:pt x="6287" y="2146"/>
                </a:lnTo>
                <a:lnTo>
                  <a:pt x="6418" y="2146"/>
                </a:lnTo>
                <a:cubicBezTo>
                  <a:pt x="6453" y="2146"/>
                  <a:pt x="6501" y="2146"/>
                  <a:pt x="6525" y="2169"/>
                </a:cubicBezTo>
                <a:cubicBezTo>
                  <a:pt x="8358" y="2360"/>
                  <a:pt x="9811" y="3812"/>
                  <a:pt x="10025" y="5646"/>
                </a:cubicBezTo>
                <a:cubicBezTo>
                  <a:pt x="10037" y="5753"/>
                  <a:pt x="10109" y="5813"/>
                  <a:pt x="10216" y="5813"/>
                </a:cubicBezTo>
                <a:cubicBezTo>
                  <a:pt x="10335" y="5813"/>
                  <a:pt x="10430" y="5706"/>
                  <a:pt x="10406" y="5598"/>
                </a:cubicBezTo>
                <a:cubicBezTo>
                  <a:pt x="10192" y="3503"/>
                  <a:pt x="8430" y="1848"/>
                  <a:pt x="6299" y="1765"/>
                </a:cubicBezTo>
                <a:lnTo>
                  <a:pt x="6299" y="526"/>
                </a:lnTo>
                <a:cubicBezTo>
                  <a:pt x="6299" y="479"/>
                  <a:pt x="6322" y="443"/>
                  <a:pt x="6346" y="407"/>
                </a:cubicBezTo>
                <a:cubicBezTo>
                  <a:pt x="6382" y="360"/>
                  <a:pt x="6418" y="348"/>
                  <a:pt x="6477" y="348"/>
                </a:cubicBezTo>
                <a:close/>
                <a:moveTo>
                  <a:pt x="1477" y="5277"/>
                </a:moveTo>
                <a:lnTo>
                  <a:pt x="5870" y="6241"/>
                </a:lnTo>
                <a:lnTo>
                  <a:pt x="4667" y="10575"/>
                </a:lnTo>
                <a:cubicBezTo>
                  <a:pt x="2774" y="9980"/>
                  <a:pt x="1405" y="8206"/>
                  <a:pt x="1405" y="6110"/>
                </a:cubicBezTo>
                <a:cubicBezTo>
                  <a:pt x="1405" y="5825"/>
                  <a:pt x="1441" y="5539"/>
                  <a:pt x="1477" y="5277"/>
                </a:cubicBezTo>
                <a:close/>
                <a:moveTo>
                  <a:pt x="6215" y="6468"/>
                </a:moveTo>
                <a:lnTo>
                  <a:pt x="7549" y="7599"/>
                </a:lnTo>
                <a:lnTo>
                  <a:pt x="9132" y="8920"/>
                </a:lnTo>
                <a:lnTo>
                  <a:pt x="9573" y="9289"/>
                </a:lnTo>
                <a:cubicBezTo>
                  <a:pt x="8680" y="10266"/>
                  <a:pt x="7430" y="10813"/>
                  <a:pt x="6108" y="10813"/>
                </a:cubicBezTo>
                <a:cubicBezTo>
                  <a:pt x="5739" y="10813"/>
                  <a:pt x="5382" y="10766"/>
                  <a:pt x="5037" y="10694"/>
                </a:cubicBezTo>
                <a:lnTo>
                  <a:pt x="6215" y="6468"/>
                </a:lnTo>
                <a:close/>
                <a:moveTo>
                  <a:pt x="6429" y="1"/>
                </a:moveTo>
                <a:cubicBezTo>
                  <a:pt x="6297" y="1"/>
                  <a:pt x="6159" y="59"/>
                  <a:pt x="6060" y="157"/>
                </a:cubicBezTo>
                <a:cubicBezTo>
                  <a:pt x="5953" y="264"/>
                  <a:pt x="5882" y="407"/>
                  <a:pt x="5882" y="562"/>
                </a:cubicBezTo>
                <a:lnTo>
                  <a:pt x="5882" y="1038"/>
                </a:lnTo>
                <a:cubicBezTo>
                  <a:pt x="5084" y="1062"/>
                  <a:pt x="4310" y="1288"/>
                  <a:pt x="3620" y="1669"/>
                </a:cubicBezTo>
                <a:lnTo>
                  <a:pt x="3191" y="872"/>
                </a:lnTo>
                <a:cubicBezTo>
                  <a:pt x="3155" y="812"/>
                  <a:pt x="3084" y="764"/>
                  <a:pt x="3024" y="764"/>
                </a:cubicBezTo>
                <a:lnTo>
                  <a:pt x="393" y="764"/>
                </a:lnTo>
                <a:lnTo>
                  <a:pt x="393" y="443"/>
                </a:lnTo>
                <a:cubicBezTo>
                  <a:pt x="393" y="336"/>
                  <a:pt x="298" y="241"/>
                  <a:pt x="203" y="241"/>
                </a:cubicBezTo>
                <a:cubicBezTo>
                  <a:pt x="95" y="241"/>
                  <a:pt x="0" y="336"/>
                  <a:pt x="0" y="443"/>
                </a:cubicBezTo>
                <a:lnTo>
                  <a:pt x="0" y="1467"/>
                </a:lnTo>
                <a:cubicBezTo>
                  <a:pt x="0" y="1574"/>
                  <a:pt x="95" y="1657"/>
                  <a:pt x="203" y="1657"/>
                </a:cubicBezTo>
                <a:cubicBezTo>
                  <a:pt x="298" y="1657"/>
                  <a:pt x="393" y="1562"/>
                  <a:pt x="393" y="1467"/>
                </a:cubicBezTo>
                <a:lnTo>
                  <a:pt x="393" y="1157"/>
                </a:lnTo>
                <a:lnTo>
                  <a:pt x="2917" y="1157"/>
                </a:lnTo>
                <a:lnTo>
                  <a:pt x="3310" y="1872"/>
                </a:lnTo>
                <a:cubicBezTo>
                  <a:pt x="3024" y="2062"/>
                  <a:pt x="2762" y="2277"/>
                  <a:pt x="2501" y="2527"/>
                </a:cubicBezTo>
                <a:cubicBezTo>
                  <a:pt x="1548" y="3467"/>
                  <a:pt x="1036" y="4753"/>
                  <a:pt x="1036" y="6098"/>
                </a:cubicBezTo>
                <a:cubicBezTo>
                  <a:pt x="1036" y="8885"/>
                  <a:pt x="3310" y="11182"/>
                  <a:pt x="6120" y="11182"/>
                </a:cubicBezTo>
                <a:cubicBezTo>
                  <a:pt x="7573" y="11182"/>
                  <a:pt x="8918" y="10575"/>
                  <a:pt x="9882" y="9516"/>
                </a:cubicBezTo>
                <a:lnTo>
                  <a:pt x="10240" y="9813"/>
                </a:lnTo>
                <a:cubicBezTo>
                  <a:pt x="10347" y="9908"/>
                  <a:pt x="10466" y="9944"/>
                  <a:pt x="10597" y="9944"/>
                </a:cubicBezTo>
                <a:lnTo>
                  <a:pt x="10656" y="9944"/>
                </a:lnTo>
                <a:cubicBezTo>
                  <a:pt x="10811" y="9932"/>
                  <a:pt x="10942" y="9837"/>
                  <a:pt x="11037" y="9718"/>
                </a:cubicBezTo>
                <a:cubicBezTo>
                  <a:pt x="11823" y="8670"/>
                  <a:pt x="12228" y="7420"/>
                  <a:pt x="12228" y="6098"/>
                </a:cubicBezTo>
                <a:cubicBezTo>
                  <a:pt x="12228" y="2884"/>
                  <a:pt x="9692" y="205"/>
                  <a:pt x="6465" y="2"/>
                </a:cubicBezTo>
                <a:cubicBezTo>
                  <a:pt x="6453" y="1"/>
                  <a:pt x="6441" y="1"/>
                  <a:pt x="6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46" name="Google Shape;11346;p60"/>
          <p:cNvGrpSpPr/>
          <p:nvPr/>
        </p:nvGrpSpPr>
        <p:grpSpPr>
          <a:xfrm>
            <a:off x="3095745" y="3805393"/>
            <a:ext cx="352840" cy="354717"/>
            <a:chOff x="3095745" y="3805393"/>
            <a:chExt cx="352840" cy="354717"/>
          </a:xfrm>
        </p:grpSpPr>
        <p:sp>
          <p:nvSpPr>
            <p:cNvPr id="11347" name="Google Shape;11347;p60"/>
            <p:cNvSpPr/>
            <p:nvPr/>
          </p:nvSpPr>
          <p:spPr>
            <a:xfrm>
              <a:off x="3095745" y="3805393"/>
              <a:ext cx="272093" cy="271711"/>
            </a:xfrm>
            <a:custGeom>
              <a:avLst/>
              <a:gdLst/>
              <a:ahLst/>
              <a:cxnLst/>
              <a:rect l="l" t="t" r="r" b="b"/>
              <a:pathLst>
                <a:path w="8549" h="8537" extrusionOk="0">
                  <a:moveTo>
                    <a:pt x="4025" y="0"/>
                  </a:moveTo>
                  <a:cubicBezTo>
                    <a:pt x="3763" y="0"/>
                    <a:pt x="3525" y="179"/>
                    <a:pt x="3489" y="441"/>
                  </a:cubicBezTo>
                  <a:lnTo>
                    <a:pt x="3322" y="1262"/>
                  </a:lnTo>
                  <a:cubicBezTo>
                    <a:pt x="3155" y="1322"/>
                    <a:pt x="2977" y="1381"/>
                    <a:pt x="2834" y="1465"/>
                  </a:cubicBezTo>
                  <a:lnTo>
                    <a:pt x="2132" y="1012"/>
                  </a:lnTo>
                  <a:cubicBezTo>
                    <a:pt x="2036" y="947"/>
                    <a:pt x="1929" y="915"/>
                    <a:pt x="1825" y="915"/>
                  </a:cubicBezTo>
                  <a:cubicBezTo>
                    <a:pt x="1683" y="915"/>
                    <a:pt x="1544" y="974"/>
                    <a:pt x="1441" y="1084"/>
                  </a:cubicBezTo>
                  <a:lnTo>
                    <a:pt x="1084" y="1441"/>
                  </a:lnTo>
                  <a:cubicBezTo>
                    <a:pt x="905" y="1619"/>
                    <a:pt x="881" y="1917"/>
                    <a:pt x="1012" y="2119"/>
                  </a:cubicBezTo>
                  <a:lnTo>
                    <a:pt x="1477" y="2822"/>
                  </a:lnTo>
                  <a:cubicBezTo>
                    <a:pt x="1381" y="2989"/>
                    <a:pt x="1322" y="3155"/>
                    <a:pt x="1262" y="3310"/>
                  </a:cubicBezTo>
                  <a:lnTo>
                    <a:pt x="453" y="3477"/>
                  </a:lnTo>
                  <a:cubicBezTo>
                    <a:pt x="191" y="3524"/>
                    <a:pt x="0" y="3763"/>
                    <a:pt x="0" y="4013"/>
                  </a:cubicBezTo>
                  <a:lnTo>
                    <a:pt x="0" y="4525"/>
                  </a:lnTo>
                  <a:cubicBezTo>
                    <a:pt x="0" y="4775"/>
                    <a:pt x="179" y="5013"/>
                    <a:pt x="453" y="5060"/>
                  </a:cubicBezTo>
                  <a:lnTo>
                    <a:pt x="1262" y="5215"/>
                  </a:lnTo>
                  <a:cubicBezTo>
                    <a:pt x="1322" y="5382"/>
                    <a:pt x="1381" y="5560"/>
                    <a:pt x="1477" y="5715"/>
                  </a:cubicBezTo>
                  <a:lnTo>
                    <a:pt x="1012" y="6406"/>
                  </a:lnTo>
                  <a:cubicBezTo>
                    <a:pt x="869" y="6632"/>
                    <a:pt x="893" y="6918"/>
                    <a:pt x="1084" y="7096"/>
                  </a:cubicBezTo>
                  <a:lnTo>
                    <a:pt x="1441" y="7453"/>
                  </a:lnTo>
                  <a:cubicBezTo>
                    <a:pt x="1544" y="7557"/>
                    <a:pt x="1687" y="7608"/>
                    <a:pt x="1830" y="7608"/>
                  </a:cubicBezTo>
                  <a:cubicBezTo>
                    <a:pt x="1935" y="7608"/>
                    <a:pt x="2041" y="7580"/>
                    <a:pt x="2132" y="7525"/>
                  </a:cubicBezTo>
                  <a:lnTo>
                    <a:pt x="2834" y="7061"/>
                  </a:lnTo>
                  <a:cubicBezTo>
                    <a:pt x="2989" y="7156"/>
                    <a:pt x="3155" y="7215"/>
                    <a:pt x="3322" y="7275"/>
                  </a:cubicBezTo>
                  <a:lnTo>
                    <a:pt x="3489" y="8096"/>
                  </a:lnTo>
                  <a:cubicBezTo>
                    <a:pt x="3525" y="8346"/>
                    <a:pt x="3763" y="8537"/>
                    <a:pt x="4025" y="8537"/>
                  </a:cubicBezTo>
                  <a:lnTo>
                    <a:pt x="4525" y="8537"/>
                  </a:lnTo>
                  <a:cubicBezTo>
                    <a:pt x="4775" y="8537"/>
                    <a:pt x="5013" y="8358"/>
                    <a:pt x="5060" y="8096"/>
                  </a:cubicBezTo>
                  <a:lnTo>
                    <a:pt x="5227" y="7275"/>
                  </a:lnTo>
                  <a:cubicBezTo>
                    <a:pt x="5358" y="7227"/>
                    <a:pt x="5489" y="7180"/>
                    <a:pt x="5632" y="7120"/>
                  </a:cubicBezTo>
                  <a:cubicBezTo>
                    <a:pt x="5692" y="7084"/>
                    <a:pt x="5727" y="6977"/>
                    <a:pt x="5692" y="6894"/>
                  </a:cubicBezTo>
                  <a:cubicBezTo>
                    <a:pt x="5655" y="6821"/>
                    <a:pt x="5584" y="6790"/>
                    <a:pt x="5515" y="6790"/>
                  </a:cubicBezTo>
                  <a:cubicBezTo>
                    <a:pt x="5494" y="6790"/>
                    <a:pt x="5473" y="6793"/>
                    <a:pt x="5453" y="6799"/>
                  </a:cubicBezTo>
                  <a:cubicBezTo>
                    <a:pt x="5299" y="6870"/>
                    <a:pt x="5156" y="6918"/>
                    <a:pt x="5001" y="6965"/>
                  </a:cubicBezTo>
                  <a:cubicBezTo>
                    <a:pt x="4941" y="6977"/>
                    <a:pt x="4882" y="7037"/>
                    <a:pt x="4882" y="7096"/>
                  </a:cubicBezTo>
                  <a:lnTo>
                    <a:pt x="4703" y="8025"/>
                  </a:lnTo>
                  <a:cubicBezTo>
                    <a:pt x="4691" y="8108"/>
                    <a:pt x="4596" y="8180"/>
                    <a:pt x="4513" y="8180"/>
                  </a:cubicBezTo>
                  <a:lnTo>
                    <a:pt x="4001" y="8180"/>
                  </a:lnTo>
                  <a:cubicBezTo>
                    <a:pt x="3917" y="8180"/>
                    <a:pt x="3822" y="8120"/>
                    <a:pt x="3810" y="8025"/>
                  </a:cubicBezTo>
                  <a:lnTo>
                    <a:pt x="3632" y="7096"/>
                  </a:lnTo>
                  <a:cubicBezTo>
                    <a:pt x="3620" y="7037"/>
                    <a:pt x="3572" y="6977"/>
                    <a:pt x="3513" y="6965"/>
                  </a:cubicBezTo>
                  <a:cubicBezTo>
                    <a:pt x="3310" y="6906"/>
                    <a:pt x="3096" y="6811"/>
                    <a:pt x="2905" y="6703"/>
                  </a:cubicBezTo>
                  <a:cubicBezTo>
                    <a:pt x="2876" y="6691"/>
                    <a:pt x="2843" y="6686"/>
                    <a:pt x="2812" y="6686"/>
                  </a:cubicBezTo>
                  <a:cubicBezTo>
                    <a:pt x="2780" y="6686"/>
                    <a:pt x="2751" y="6691"/>
                    <a:pt x="2727" y="6703"/>
                  </a:cubicBezTo>
                  <a:lnTo>
                    <a:pt x="1941" y="7227"/>
                  </a:lnTo>
                  <a:cubicBezTo>
                    <a:pt x="1904" y="7249"/>
                    <a:pt x="1864" y="7260"/>
                    <a:pt x="1824" y="7260"/>
                  </a:cubicBezTo>
                  <a:cubicBezTo>
                    <a:pt x="1774" y="7260"/>
                    <a:pt x="1725" y="7243"/>
                    <a:pt x="1679" y="7203"/>
                  </a:cubicBezTo>
                  <a:lnTo>
                    <a:pt x="1322" y="6846"/>
                  </a:lnTo>
                  <a:cubicBezTo>
                    <a:pt x="1262" y="6787"/>
                    <a:pt x="1250" y="6680"/>
                    <a:pt x="1298" y="6584"/>
                  </a:cubicBezTo>
                  <a:lnTo>
                    <a:pt x="1822" y="5799"/>
                  </a:lnTo>
                  <a:cubicBezTo>
                    <a:pt x="1846" y="5739"/>
                    <a:pt x="1858" y="5679"/>
                    <a:pt x="1822" y="5620"/>
                  </a:cubicBezTo>
                  <a:cubicBezTo>
                    <a:pt x="1715" y="5429"/>
                    <a:pt x="1620" y="5215"/>
                    <a:pt x="1560" y="5013"/>
                  </a:cubicBezTo>
                  <a:cubicBezTo>
                    <a:pt x="1548" y="4953"/>
                    <a:pt x="1489" y="4894"/>
                    <a:pt x="1429" y="4894"/>
                  </a:cubicBezTo>
                  <a:lnTo>
                    <a:pt x="512" y="4715"/>
                  </a:lnTo>
                  <a:cubicBezTo>
                    <a:pt x="417" y="4703"/>
                    <a:pt x="346" y="4608"/>
                    <a:pt x="346" y="4525"/>
                  </a:cubicBezTo>
                  <a:lnTo>
                    <a:pt x="346" y="4013"/>
                  </a:lnTo>
                  <a:cubicBezTo>
                    <a:pt x="346" y="3929"/>
                    <a:pt x="405" y="3834"/>
                    <a:pt x="512" y="3822"/>
                  </a:cubicBezTo>
                  <a:lnTo>
                    <a:pt x="1429" y="3643"/>
                  </a:lnTo>
                  <a:cubicBezTo>
                    <a:pt x="1489" y="3632"/>
                    <a:pt x="1548" y="3584"/>
                    <a:pt x="1560" y="3524"/>
                  </a:cubicBezTo>
                  <a:cubicBezTo>
                    <a:pt x="1620" y="3322"/>
                    <a:pt x="1715" y="3108"/>
                    <a:pt x="1822" y="2917"/>
                  </a:cubicBezTo>
                  <a:cubicBezTo>
                    <a:pt x="1846" y="2858"/>
                    <a:pt x="1846" y="2786"/>
                    <a:pt x="1822" y="2739"/>
                  </a:cubicBezTo>
                  <a:lnTo>
                    <a:pt x="1298" y="1941"/>
                  </a:lnTo>
                  <a:cubicBezTo>
                    <a:pt x="1250" y="1869"/>
                    <a:pt x="1250" y="1762"/>
                    <a:pt x="1322" y="1691"/>
                  </a:cubicBezTo>
                  <a:lnTo>
                    <a:pt x="1679" y="1334"/>
                  </a:lnTo>
                  <a:cubicBezTo>
                    <a:pt x="1714" y="1299"/>
                    <a:pt x="1765" y="1280"/>
                    <a:pt x="1820" y="1280"/>
                  </a:cubicBezTo>
                  <a:cubicBezTo>
                    <a:pt x="1859" y="1280"/>
                    <a:pt x="1901" y="1290"/>
                    <a:pt x="1941" y="1310"/>
                  </a:cubicBezTo>
                  <a:lnTo>
                    <a:pt x="2727" y="1822"/>
                  </a:lnTo>
                  <a:cubicBezTo>
                    <a:pt x="2759" y="1841"/>
                    <a:pt x="2791" y="1853"/>
                    <a:pt x="2822" y="1853"/>
                  </a:cubicBezTo>
                  <a:cubicBezTo>
                    <a:pt x="2850" y="1853"/>
                    <a:pt x="2878" y="1844"/>
                    <a:pt x="2905" y="1822"/>
                  </a:cubicBezTo>
                  <a:cubicBezTo>
                    <a:pt x="3096" y="1727"/>
                    <a:pt x="3310" y="1631"/>
                    <a:pt x="3513" y="1572"/>
                  </a:cubicBezTo>
                  <a:cubicBezTo>
                    <a:pt x="3572" y="1560"/>
                    <a:pt x="3632" y="1500"/>
                    <a:pt x="3632" y="1441"/>
                  </a:cubicBezTo>
                  <a:lnTo>
                    <a:pt x="3810" y="512"/>
                  </a:lnTo>
                  <a:cubicBezTo>
                    <a:pt x="3822" y="429"/>
                    <a:pt x="3917" y="357"/>
                    <a:pt x="4001" y="357"/>
                  </a:cubicBezTo>
                  <a:lnTo>
                    <a:pt x="4513" y="357"/>
                  </a:lnTo>
                  <a:cubicBezTo>
                    <a:pt x="4596" y="357"/>
                    <a:pt x="4691" y="417"/>
                    <a:pt x="4703" y="512"/>
                  </a:cubicBezTo>
                  <a:lnTo>
                    <a:pt x="4882" y="1441"/>
                  </a:lnTo>
                  <a:cubicBezTo>
                    <a:pt x="4894" y="1500"/>
                    <a:pt x="4941" y="1560"/>
                    <a:pt x="5001" y="1572"/>
                  </a:cubicBezTo>
                  <a:cubicBezTo>
                    <a:pt x="5215" y="1631"/>
                    <a:pt x="5418" y="1727"/>
                    <a:pt x="5608" y="1822"/>
                  </a:cubicBezTo>
                  <a:cubicBezTo>
                    <a:pt x="5638" y="1840"/>
                    <a:pt x="5674" y="1849"/>
                    <a:pt x="5706" y="1849"/>
                  </a:cubicBezTo>
                  <a:cubicBezTo>
                    <a:pt x="5739" y="1849"/>
                    <a:pt x="5769" y="1840"/>
                    <a:pt x="5787" y="1822"/>
                  </a:cubicBezTo>
                  <a:lnTo>
                    <a:pt x="6584" y="1310"/>
                  </a:lnTo>
                  <a:cubicBezTo>
                    <a:pt x="6617" y="1288"/>
                    <a:pt x="6656" y="1277"/>
                    <a:pt x="6696" y="1277"/>
                  </a:cubicBezTo>
                  <a:cubicBezTo>
                    <a:pt x="6745" y="1277"/>
                    <a:pt x="6795" y="1294"/>
                    <a:pt x="6835" y="1334"/>
                  </a:cubicBezTo>
                  <a:lnTo>
                    <a:pt x="7192" y="1691"/>
                  </a:lnTo>
                  <a:cubicBezTo>
                    <a:pt x="7251" y="1750"/>
                    <a:pt x="7263" y="1858"/>
                    <a:pt x="7216" y="1941"/>
                  </a:cubicBezTo>
                  <a:lnTo>
                    <a:pt x="6704" y="2739"/>
                  </a:lnTo>
                  <a:cubicBezTo>
                    <a:pt x="6668" y="2798"/>
                    <a:pt x="6656" y="2858"/>
                    <a:pt x="6704" y="2917"/>
                  </a:cubicBezTo>
                  <a:cubicBezTo>
                    <a:pt x="6799" y="3108"/>
                    <a:pt x="6894" y="3322"/>
                    <a:pt x="6954" y="3524"/>
                  </a:cubicBezTo>
                  <a:cubicBezTo>
                    <a:pt x="6965" y="3584"/>
                    <a:pt x="7025" y="3643"/>
                    <a:pt x="7085" y="3643"/>
                  </a:cubicBezTo>
                  <a:lnTo>
                    <a:pt x="8013" y="3822"/>
                  </a:lnTo>
                  <a:cubicBezTo>
                    <a:pt x="8097" y="3834"/>
                    <a:pt x="8168" y="3929"/>
                    <a:pt x="8168" y="4013"/>
                  </a:cubicBezTo>
                  <a:lnTo>
                    <a:pt x="8168" y="4525"/>
                  </a:lnTo>
                  <a:cubicBezTo>
                    <a:pt x="8168" y="4608"/>
                    <a:pt x="8108" y="4703"/>
                    <a:pt x="8013" y="4715"/>
                  </a:cubicBezTo>
                  <a:lnTo>
                    <a:pt x="7085" y="4894"/>
                  </a:lnTo>
                  <a:cubicBezTo>
                    <a:pt x="7025" y="4906"/>
                    <a:pt x="6965" y="4953"/>
                    <a:pt x="6954" y="5013"/>
                  </a:cubicBezTo>
                  <a:cubicBezTo>
                    <a:pt x="6906" y="5156"/>
                    <a:pt x="6846" y="5322"/>
                    <a:pt x="6787" y="5477"/>
                  </a:cubicBezTo>
                  <a:cubicBezTo>
                    <a:pt x="6739" y="5560"/>
                    <a:pt x="6787" y="5668"/>
                    <a:pt x="6882" y="5715"/>
                  </a:cubicBezTo>
                  <a:cubicBezTo>
                    <a:pt x="6903" y="5724"/>
                    <a:pt x="6926" y="5729"/>
                    <a:pt x="6949" y="5729"/>
                  </a:cubicBezTo>
                  <a:cubicBezTo>
                    <a:pt x="7016" y="5729"/>
                    <a:pt x="7085" y="5691"/>
                    <a:pt x="7120" y="5620"/>
                  </a:cubicBezTo>
                  <a:cubicBezTo>
                    <a:pt x="7180" y="5489"/>
                    <a:pt x="7239" y="5358"/>
                    <a:pt x="7275" y="5215"/>
                  </a:cubicBezTo>
                  <a:lnTo>
                    <a:pt x="8097" y="5060"/>
                  </a:lnTo>
                  <a:cubicBezTo>
                    <a:pt x="8347" y="5013"/>
                    <a:pt x="8549" y="4775"/>
                    <a:pt x="8549" y="4525"/>
                  </a:cubicBezTo>
                  <a:lnTo>
                    <a:pt x="8549" y="4013"/>
                  </a:lnTo>
                  <a:cubicBezTo>
                    <a:pt x="8549" y="3763"/>
                    <a:pt x="8370" y="3524"/>
                    <a:pt x="8097" y="3477"/>
                  </a:cubicBezTo>
                  <a:lnTo>
                    <a:pt x="7275" y="3310"/>
                  </a:lnTo>
                  <a:cubicBezTo>
                    <a:pt x="7216" y="3155"/>
                    <a:pt x="7156" y="2977"/>
                    <a:pt x="7073" y="2822"/>
                  </a:cubicBezTo>
                  <a:lnTo>
                    <a:pt x="7537" y="2119"/>
                  </a:lnTo>
                  <a:cubicBezTo>
                    <a:pt x="7680" y="1905"/>
                    <a:pt x="7656" y="1619"/>
                    <a:pt x="7454" y="1441"/>
                  </a:cubicBezTo>
                  <a:lnTo>
                    <a:pt x="7096" y="1084"/>
                  </a:lnTo>
                  <a:cubicBezTo>
                    <a:pt x="6992" y="980"/>
                    <a:pt x="6848" y="924"/>
                    <a:pt x="6705" y="924"/>
                  </a:cubicBezTo>
                  <a:cubicBezTo>
                    <a:pt x="6603" y="924"/>
                    <a:pt x="6502" y="953"/>
                    <a:pt x="6418" y="1012"/>
                  </a:cubicBezTo>
                  <a:lnTo>
                    <a:pt x="5715" y="1465"/>
                  </a:lnTo>
                  <a:cubicBezTo>
                    <a:pt x="5549" y="1381"/>
                    <a:pt x="5394" y="1322"/>
                    <a:pt x="5227" y="1262"/>
                  </a:cubicBezTo>
                  <a:lnTo>
                    <a:pt x="5060" y="441"/>
                  </a:lnTo>
                  <a:cubicBezTo>
                    <a:pt x="5013" y="191"/>
                    <a:pt x="4775" y="0"/>
                    <a:pt x="4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8" name="Google Shape;11348;p60"/>
            <p:cNvSpPr/>
            <p:nvPr/>
          </p:nvSpPr>
          <p:spPr>
            <a:xfrm>
              <a:off x="3184798" y="3878883"/>
              <a:ext cx="109550" cy="94018"/>
            </a:xfrm>
            <a:custGeom>
              <a:avLst/>
              <a:gdLst/>
              <a:ahLst/>
              <a:cxnLst/>
              <a:rect l="l" t="t" r="r" b="b"/>
              <a:pathLst>
                <a:path w="3442" h="2954" extrusionOk="0">
                  <a:moveTo>
                    <a:pt x="1465" y="1"/>
                  </a:moveTo>
                  <a:cubicBezTo>
                    <a:pt x="941" y="1"/>
                    <a:pt x="453" y="191"/>
                    <a:pt x="72" y="561"/>
                  </a:cubicBezTo>
                  <a:cubicBezTo>
                    <a:pt x="0" y="632"/>
                    <a:pt x="0" y="739"/>
                    <a:pt x="72" y="811"/>
                  </a:cubicBezTo>
                  <a:cubicBezTo>
                    <a:pt x="113" y="852"/>
                    <a:pt x="158" y="873"/>
                    <a:pt x="203" y="873"/>
                  </a:cubicBezTo>
                  <a:cubicBezTo>
                    <a:pt x="247" y="873"/>
                    <a:pt x="292" y="852"/>
                    <a:pt x="334" y="811"/>
                  </a:cubicBezTo>
                  <a:cubicBezTo>
                    <a:pt x="631" y="513"/>
                    <a:pt x="1024" y="358"/>
                    <a:pt x="1465" y="358"/>
                  </a:cubicBezTo>
                  <a:cubicBezTo>
                    <a:pt x="2358" y="358"/>
                    <a:pt x="3084" y="1084"/>
                    <a:pt x="3084" y="1977"/>
                  </a:cubicBezTo>
                  <a:cubicBezTo>
                    <a:pt x="3084" y="2227"/>
                    <a:pt x="3024" y="2477"/>
                    <a:pt x="2905" y="2716"/>
                  </a:cubicBezTo>
                  <a:cubicBezTo>
                    <a:pt x="2846" y="2799"/>
                    <a:pt x="2894" y="2894"/>
                    <a:pt x="2977" y="2942"/>
                  </a:cubicBezTo>
                  <a:cubicBezTo>
                    <a:pt x="3013" y="2954"/>
                    <a:pt x="3036" y="2954"/>
                    <a:pt x="3048" y="2954"/>
                  </a:cubicBezTo>
                  <a:cubicBezTo>
                    <a:pt x="3108" y="2954"/>
                    <a:pt x="3167" y="2930"/>
                    <a:pt x="3215" y="2870"/>
                  </a:cubicBezTo>
                  <a:cubicBezTo>
                    <a:pt x="3370" y="2585"/>
                    <a:pt x="3441" y="2287"/>
                    <a:pt x="3441" y="1977"/>
                  </a:cubicBezTo>
                  <a:cubicBezTo>
                    <a:pt x="3441" y="894"/>
                    <a:pt x="2560" y="1"/>
                    <a:pt x="1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9" name="Google Shape;11349;p60"/>
            <p:cNvSpPr/>
            <p:nvPr/>
          </p:nvSpPr>
          <p:spPr>
            <a:xfrm>
              <a:off x="3168120" y="3917331"/>
              <a:ext cx="102707" cy="87016"/>
            </a:xfrm>
            <a:custGeom>
              <a:avLst/>
              <a:gdLst/>
              <a:ahLst/>
              <a:cxnLst/>
              <a:rect l="l" t="t" r="r" b="b"/>
              <a:pathLst>
                <a:path w="3227" h="2734" extrusionOk="0">
                  <a:moveTo>
                    <a:pt x="277" y="0"/>
                  </a:moveTo>
                  <a:cubicBezTo>
                    <a:pt x="203" y="0"/>
                    <a:pt x="136" y="38"/>
                    <a:pt x="108" y="115"/>
                  </a:cubicBezTo>
                  <a:cubicBezTo>
                    <a:pt x="36" y="317"/>
                    <a:pt x="0" y="531"/>
                    <a:pt x="0" y="758"/>
                  </a:cubicBezTo>
                  <a:cubicBezTo>
                    <a:pt x="0" y="1841"/>
                    <a:pt x="881" y="2734"/>
                    <a:pt x="1977" y="2734"/>
                  </a:cubicBezTo>
                  <a:cubicBezTo>
                    <a:pt x="2394" y="2734"/>
                    <a:pt x="2798" y="2603"/>
                    <a:pt x="3144" y="2365"/>
                  </a:cubicBezTo>
                  <a:cubicBezTo>
                    <a:pt x="3215" y="2305"/>
                    <a:pt x="3227" y="2198"/>
                    <a:pt x="3191" y="2127"/>
                  </a:cubicBezTo>
                  <a:cubicBezTo>
                    <a:pt x="3162" y="2075"/>
                    <a:pt x="3106" y="2051"/>
                    <a:pt x="3050" y="2051"/>
                  </a:cubicBezTo>
                  <a:cubicBezTo>
                    <a:pt x="3015" y="2051"/>
                    <a:pt x="2981" y="2061"/>
                    <a:pt x="2953" y="2079"/>
                  </a:cubicBezTo>
                  <a:cubicBezTo>
                    <a:pt x="2667" y="2282"/>
                    <a:pt x="2334" y="2389"/>
                    <a:pt x="2001" y="2389"/>
                  </a:cubicBezTo>
                  <a:cubicBezTo>
                    <a:pt x="1108" y="2389"/>
                    <a:pt x="370" y="1662"/>
                    <a:pt x="370" y="769"/>
                  </a:cubicBezTo>
                  <a:cubicBezTo>
                    <a:pt x="370" y="591"/>
                    <a:pt x="405" y="412"/>
                    <a:pt x="465" y="246"/>
                  </a:cubicBezTo>
                  <a:cubicBezTo>
                    <a:pt x="465" y="138"/>
                    <a:pt x="417" y="43"/>
                    <a:pt x="334" y="7"/>
                  </a:cubicBezTo>
                  <a:cubicBezTo>
                    <a:pt x="315" y="3"/>
                    <a:pt x="296" y="0"/>
                    <a:pt x="2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0" name="Google Shape;11350;p60"/>
            <p:cNvSpPr/>
            <p:nvPr/>
          </p:nvSpPr>
          <p:spPr>
            <a:xfrm>
              <a:off x="3264749" y="3976275"/>
              <a:ext cx="183836" cy="183836"/>
            </a:xfrm>
            <a:custGeom>
              <a:avLst/>
              <a:gdLst/>
              <a:ahLst/>
              <a:cxnLst/>
              <a:rect l="l" t="t" r="r" b="b"/>
              <a:pathLst>
                <a:path w="5776" h="5776" extrusionOk="0">
                  <a:moveTo>
                    <a:pt x="2739" y="1"/>
                  </a:moveTo>
                  <a:cubicBezTo>
                    <a:pt x="2548" y="1"/>
                    <a:pt x="2370" y="156"/>
                    <a:pt x="2322" y="346"/>
                  </a:cubicBezTo>
                  <a:lnTo>
                    <a:pt x="2215" y="846"/>
                  </a:lnTo>
                  <a:cubicBezTo>
                    <a:pt x="2132" y="882"/>
                    <a:pt x="2036" y="930"/>
                    <a:pt x="1953" y="953"/>
                  </a:cubicBezTo>
                  <a:lnTo>
                    <a:pt x="1525" y="668"/>
                  </a:lnTo>
                  <a:cubicBezTo>
                    <a:pt x="1454" y="627"/>
                    <a:pt x="1372" y="606"/>
                    <a:pt x="1291" y="606"/>
                  </a:cubicBezTo>
                  <a:cubicBezTo>
                    <a:pt x="1181" y="606"/>
                    <a:pt x="1071" y="645"/>
                    <a:pt x="989" y="727"/>
                  </a:cubicBezTo>
                  <a:lnTo>
                    <a:pt x="751" y="965"/>
                  </a:lnTo>
                  <a:cubicBezTo>
                    <a:pt x="620" y="1108"/>
                    <a:pt x="584" y="1322"/>
                    <a:pt x="691" y="1501"/>
                  </a:cubicBezTo>
                  <a:lnTo>
                    <a:pt x="977" y="1942"/>
                  </a:lnTo>
                  <a:cubicBezTo>
                    <a:pt x="917" y="2061"/>
                    <a:pt x="870" y="2180"/>
                    <a:pt x="822" y="2311"/>
                  </a:cubicBezTo>
                  <a:cubicBezTo>
                    <a:pt x="786" y="2394"/>
                    <a:pt x="858" y="2501"/>
                    <a:pt x="941" y="2537"/>
                  </a:cubicBezTo>
                  <a:cubicBezTo>
                    <a:pt x="954" y="2541"/>
                    <a:pt x="967" y="2542"/>
                    <a:pt x="980" y="2542"/>
                  </a:cubicBezTo>
                  <a:cubicBezTo>
                    <a:pt x="1055" y="2542"/>
                    <a:pt x="1137" y="2489"/>
                    <a:pt x="1167" y="2418"/>
                  </a:cubicBezTo>
                  <a:cubicBezTo>
                    <a:pt x="1203" y="2275"/>
                    <a:pt x="1251" y="2144"/>
                    <a:pt x="1322" y="2025"/>
                  </a:cubicBezTo>
                  <a:cubicBezTo>
                    <a:pt x="1358" y="1965"/>
                    <a:pt x="1358" y="1894"/>
                    <a:pt x="1322" y="1846"/>
                  </a:cubicBezTo>
                  <a:lnTo>
                    <a:pt x="989" y="1322"/>
                  </a:lnTo>
                  <a:cubicBezTo>
                    <a:pt x="977" y="1299"/>
                    <a:pt x="977" y="1263"/>
                    <a:pt x="1001" y="1239"/>
                  </a:cubicBezTo>
                  <a:lnTo>
                    <a:pt x="1239" y="1001"/>
                  </a:lnTo>
                  <a:cubicBezTo>
                    <a:pt x="1258" y="981"/>
                    <a:pt x="1274" y="973"/>
                    <a:pt x="1291" y="973"/>
                  </a:cubicBezTo>
                  <a:cubicBezTo>
                    <a:pt x="1304" y="973"/>
                    <a:pt x="1318" y="978"/>
                    <a:pt x="1334" y="989"/>
                  </a:cubicBezTo>
                  <a:lnTo>
                    <a:pt x="1846" y="1322"/>
                  </a:lnTo>
                  <a:cubicBezTo>
                    <a:pt x="1878" y="1342"/>
                    <a:pt x="1910" y="1354"/>
                    <a:pt x="1942" y="1354"/>
                  </a:cubicBezTo>
                  <a:cubicBezTo>
                    <a:pt x="1969" y="1354"/>
                    <a:pt x="1997" y="1345"/>
                    <a:pt x="2025" y="1322"/>
                  </a:cubicBezTo>
                  <a:cubicBezTo>
                    <a:pt x="2144" y="1251"/>
                    <a:pt x="2287" y="1203"/>
                    <a:pt x="2417" y="1156"/>
                  </a:cubicBezTo>
                  <a:cubicBezTo>
                    <a:pt x="2477" y="1144"/>
                    <a:pt x="2537" y="1084"/>
                    <a:pt x="2537" y="1025"/>
                  </a:cubicBezTo>
                  <a:lnTo>
                    <a:pt x="2656" y="418"/>
                  </a:lnTo>
                  <a:cubicBezTo>
                    <a:pt x="2656" y="382"/>
                    <a:pt x="2679" y="358"/>
                    <a:pt x="2727" y="358"/>
                  </a:cubicBezTo>
                  <a:lnTo>
                    <a:pt x="3060" y="358"/>
                  </a:lnTo>
                  <a:cubicBezTo>
                    <a:pt x="3084" y="358"/>
                    <a:pt x="3120" y="394"/>
                    <a:pt x="3132" y="418"/>
                  </a:cubicBezTo>
                  <a:lnTo>
                    <a:pt x="3251" y="1025"/>
                  </a:lnTo>
                  <a:cubicBezTo>
                    <a:pt x="3263" y="1084"/>
                    <a:pt x="3310" y="1144"/>
                    <a:pt x="3370" y="1156"/>
                  </a:cubicBezTo>
                  <a:cubicBezTo>
                    <a:pt x="3501" y="1203"/>
                    <a:pt x="3632" y="1251"/>
                    <a:pt x="3751" y="1322"/>
                  </a:cubicBezTo>
                  <a:cubicBezTo>
                    <a:pt x="3781" y="1340"/>
                    <a:pt x="3816" y="1349"/>
                    <a:pt x="3849" y="1349"/>
                  </a:cubicBezTo>
                  <a:cubicBezTo>
                    <a:pt x="3882" y="1349"/>
                    <a:pt x="3912" y="1340"/>
                    <a:pt x="3930" y="1322"/>
                  </a:cubicBezTo>
                  <a:lnTo>
                    <a:pt x="4453" y="989"/>
                  </a:lnTo>
                  <a:cubicBezTo>
                    <a:pt x="4469" y="978"/>
                    <a:pt x="4483" y="973"/>
                    <a:pt x="4497" y="973"/>
                  </a:cubicBezTo>
                  <a:cubicBezTo>
                    <a:pt x="4513" y="973"/>
                    <a:pt x="4529" y="981"/>
                    <a:pt x="4549" y="1001"/>
                  </a:cubicBezTo>
                  <a:lnTo>
                    <a:pt x="4787" y="1239"/>
                  </a:lnTo>
                  <a:cubicBezTo>
                    <a:pt x="4811" y="1263"/>
                    <a:pt x="4811" y="1299"/>
                    <a:pt x="4799" y="1322"/>
                  </a:cubicBezTo>
                  <a:lnTo>
                    <a:pt x="4453" y="1846"/>
                  </a:lnTo>
                  <a:cubicBezTo>
                    <a:pt x="4430" y="1906"/>
                    <a:pt x="4406" y="1965"/>
                    <a:pt x="4453" y="2025"/>
                  </a:cubicBezTo>
                  <a:cubicBezTo>
                    <a:pt x="4525" y="2144"/>
                    <a:pt x="4573" y="2275"/>
                    <a:pt x="4620" y="2418"/>
                  </a:cubicBezTo>
                  <a:cubicBezTo>
                    <a:pt x="4632" y="2477"/>
                    <a:pt x="4692" y="2537"/>
                    <a:pt x="4751" y="2537"/>
                  </a:cubicBezTo>
                  <a:lnTo>
                    <a:pt x="5358" y="2656"/>
                  </a:lnTo>
                  <a:cubicBezTo>
                    <a:pt x="5394" y="2656"/>
                    <a:pt x="5418" y="2680"/>
                    <a:pt x="5418" y="2727"/>
                  </a:cubicBezTo>
                  <a:lnTo>
                    <a:pt x="5418" y="3049"/>
                  </a:lnTo>
                  <a:cubicBezTo>
                    <a:pt x="5418" y="3085"/>
                    <a:pt x="5394" y="3108"/>
                    <a:pt x="5358" y="3132"/>
                  </a:cubicBezTo>
                  <a:lnTo>
                    <a:pt x="4751" y="3251"/>
                  </a:lnTo>
                  <a:cubicBezTo>
                    <a:pt x="4692" y="3263"/>
                    <a:pt x="4632" y="3311"/>
                    <a:pt x="4620" y="3370"/>
                  </a:cubicBezTo>
                  <a:cubicBezTo>
                    <a:pt x="4573" y="3501"/>
                    <a:pt x="4525" y="3632"/>
                    <a:pt x="4453" y="3751"/>
                  </a:cubicBezTo>
                  <a:cubicBezTo>
                    <a:pt x="4430" y="3811"/>
                    <a:pt x="4430" y="3882"/>
                    <a:pt x="4453" y="3930"/>
                  </a:cubicBezTo>
                  <a:lnTo>
                    <a:pt x="4799" y="4454"/>
                  </a:lnTo>
                  <a:cubicBezTo>
                    <a:pt x="4811" y="4478"/>
                    <a:pt x="4811" y="4513"/>
                    <a:pt x="4787" y="4537"/>
                  </a:cubicBezTo>
                  <a:lnTo>
                    <a:pt x="4549" y="4775"/>
                  </a:lnTo>
                  <a:cubicBezTo>
                    <a:pt x="4526" y="4798"/>
                    <a:pt x="4508" y="4806"/>
                    <a:pt x="4489" y="4806"/>
                  </a:cubicBezTo>
                  <a:cubicBezTo>
                    <a:pt x="4478" y="4806"/>
                    <a:pt x="4467" y="4803"/>
                    <a:pt x="4453" y="4799"/>
                  </a:cubicBezTo>
                  <a:lnTo>
                    <a:pt x="3930" y="4454"/>
                  </a:lnTo>
                  <a:cubicBezTo>
                    <a:pt x="3898" y="4435"/>
                    <a:pt x="3866" y="4422"/>
                    <a:pt x="3834" y="4422"/>
                  </a:cubicBezTo>
                  <a:cubicBezTo>
                    <a:pt x="3806" y="4422"/>
                    <a:pt x="3779" y="4432"/>
                    <a:pt x="3751" y="4454"/>
                  </a:cubicBezTo>
                  <a:cubicBezTo>
                    <a:pt x="3632" y="4525"/>
                    <a:pt x="3501" y="4573"/>
                    <a:pt x="3370" y="4621"/>
                  </a:cubicBezTo>
                  <a:cubicBezTo>
                    <a:pt x="3310" y="4632"/>
                    <a:pt x="3251" y="4692"/>
                    <a:pt x="3251" y="4751"/>
                  </a:cubicBezTo>
                  <a:lnTo>
                    <a:pt x="3132" y="5359"/>
                  </a:lnTo>
                  <a:cubicBezTo>
                    <a:pt x="3132" y="5394"/>
                    <a:pt x="3096" y="5418"/>
                    <a:pt x="3060" y="5418"/>
                  </a:cubicBezTo>
                  <a:lnTo>
                    <a:pt x="2727" y="5418"/>
                  </a:lnTo>
                  <a:cubicBezTo>
                    <a:pt x="2703" y="5418"/>
                    <a:pt x="2668" y="5394"/>
                    <a:pt x="2656" y="5359"/>
                  </a:cubicBezTo>
                  <a:lnTo>
                    <a:pt x="2537" y="4751"/>
                  </a:lnTo>
                  <a:cubicBezTo>
                    <a:pt x="2525" y="4692"/>
                    <a:pt x="2477" y="4632"/>
                    <a:pt x="2417" y="4621"/>
                  </a:cubicBezTo>
                  <a:cubicBezTo>
                    <a:pt x="2287" y="4573"/>
                    <a:pt x="2144" y="4525"/>
                    <a:pt x="2025" y="4454"/>
                  </a:cubicBezTo>
                  <a:cubicBezTo>
                    <a:pt x="1995" y="4436"/>
                    <a:pt x="1962" y="4427"/>
                    <a:pt x="1931" y="4427"/>
                  </a:cubicBezTo>
                  <a:cubicBezTo>
                    <a:pt x="1900" y="4427"/>
                    <a:pt x="1870" y="4436"/>
                    <a:pt x="1846" y="4454"/>
                  </a:cubicBezTo>
                  <a:lnTo>
                    <a:pt x="1334" y="4799"/>
                  </a:lnTo>
                  <a:cubicBezTo>
                    <a:pt x="1321" y="4803"/>
                    <a:pt x="1309" y="4806"/>
                    <a:pt x="1298" y="4806"/>
                  </a:cubicBezTo>
                  <a:cubicBezTo>
                    <a:pt x="1279" y="4806"/>
                    <a:pt x="1261" y="4798"/>
                    <a:pt x="1239" y="4775"/>
                  </a:cubicBezTo>
                  <a:lnTo>
                    <a:pt x="1001" y="4537"/>
                  </a:lnTo>
                  <a:cubicBezTo>
                    <a:pt x="977" y="4513"/>
                    <a:pt x="977" y="4478"/>
                    <a:pt x="989" y="4454"/>
                  </a:cubicBezTo>
                  <a:lnTo>
                    <a:pt x="1322" y="3930"/>
                  </a:lnTo>
                  <a:cubicBezTo>
                    <a:pt x="1358" y="3870"/>
                    <a:pt x="1370" y="3811"/>
                    <a:pt x="1322" y="3751"/>
                  </a:cubicBezTo>
                  <a:cubicBezTo>
                    <a:pt x="1251" y="3632"/>
                    <a:pt x="1215" y="3501"/>
                    <a:pt x="1167" y="3370"/>
                  </a:cubicBezTo>
                  <a:cubicBezTo>
                    <a:pt x="1144" y="3311"/>
                    <a:pt x="1084" y="3251"/>
                    <a:pt x="1024" y="3251"/>
                  </a:cubicBezTo>
                  <a:lnTo>
                    <a:pt x="417" y="3132"/>
                  </a:lnTo>
                  <a:cubicBezTo>
                    <a:pt x="393" y="3132"/>
                    <a:pt x="358" y="3097"/>
                    <a:pt x="358" y="3049"/>
                  </a:cubicBezTo>
                  <a:lnTo>
                    <a:pt x="358" y="2727"/>
                  </a:lnTo>
                  <a:cubicBezTo>
                    <a:pt x="358" y="2692"/>
                    <a:pt x="393" y="2668"/>
                    <a:pt x="417" y="2656"/>
                  </a:cubicBezTo>
                  <a:lnTo>
                    <a:pt x="465" y="2632"/>
                  </a:lnTo>
                  <a:cubicBezTo>
                    <a:pt x="548" y="2620"/>
                    <a:pt x="632" y="2525"/>
                    <a:pt x="596" y="2430"/>
                  </a:cubicBezTo>
                  <a:cubicBezTo>
                    <a:pt x="586" y="2352"/>
                    <a:pt x="520" y="2289"/>
                    <a:pt x="444" y="2289"/>
                  </a:cubicBezTo>
                  <a:cubicBezTo>
                    <a:pt x="428" y="2289"/>
                    <a:pt x="410" y="2292"/>
                    <a:pt x="393" y="2299"/>
                  </a:cubicBezTo>
                  <a:lnTo>
                    <a:pt x="346" y="2311"/>
                  </a:lnTo>
                  <a:cubicBezTo>
                    <a:pt x="155" y="2358"/>
                    <a:pt x="1" y="2513"/>
                    <a:pt x="1" y="2727"/>
                  </a:cubicBezTo>
                  <a:lnTo>
                    <a:pt x="1" y="3049"/>
                  </a:lnTo>
                  <a:cubicBezTo>
                    <a:pt x="1" y="3251"/>
                    <a:pt x="155" y="3430"/>
                    <a:pt x="346" y="3466"/>
                  </a:cubicBezTo>
                  <a:lnTo>
                    <a:pt x="846" y="3573"/>
                  </a:lnTo>
                  <a:cubicBezTo>
                    <a:pt x="882" y="3668"/>
                    <a:pt x="929" y="3751"/>
                    <a:pt x="953" y="3847"/>
                  </a:cubicBezTo>
                  <a:lnTo>
                    <a:pt x="679" y="4275"/>
                  </a:lnTo>
                  <a:cubicBezTo>
                    <a:pt x="572" y="4442"/>
                    <a:pt x="584" y="4656"/>
                    <a:pt x="727" y="4811"/>
                  </a:cubicBezTo>
                  <a:lnTo>
                    <a:pt x="977" y="5049"/>
                  </a:lnTo>
                  <a:cubicBezTo>
                    <a:pt x="1055" y="5127"/>
                    <a:pt x="1163" y="5172"/>
                    <a:pt x="1278" y="5172"/>
                  </a:cubicBezTo>
                  <a:cubicBezTo>
                    <a:pt x="1356" y="5172"/>
                    <a:pt x="1436" y="5152"/>
                    <a:pt x="1513" y="5109"/>
                  </a:cubicBezTo>
                  <a:lnTo>
                    <a:pt x="1941" y="4823"/>
                  </a:lnTo>
                  <a:cubicBezTo>
                    <a:pt x="2025" y="4871"/>
                    <a:pt x="2120" y="4894"/>
                    <a:pt x="2203" y="4930"/>
                  </a:cubicBezTo>
                  <a:lnTo>
                    <a:pt x="2310" y="5430"/>
                  </a:lnTo>
                  <a:cubicBezTo>
                    <a:pt x="2358" y="5633"/>
                    <a:pt x="2513" y="5775"/>
                    <a:pt x="2727" y="5775"/>
                  </a:cubicBezTo>
                  <a:lnTo>
                    <a:pt x="3060" y="5775"/>
                  </a:lnTo>
                  <a:cubicBezTo>
                    <a:pt x="3251" y="5775"/>
                    <a:pt x="3430" y="5633"/>
                    <a:pt x="3465" y="5430"/>
                  </a:cubicBezTo>
                  <a:lnTo>
                    <a:pt x="3572" y="4930"/>
                  </a:lnTo>
                  <a:cubicBezTo>
                    <a:pt x="3668" y="4894"/>
                    <a:pt x="3751" y="4859"/>
                    <a:pt x="3846" y="4823"/>
                  </a:cubicBezTo>
                  <a:lnTo>
                    <a:pt x="4275" y="5109"/>
                  </a:lnTo>
                  <a:cubicBezTo>
                    <a:pt x="4344" y="5153"/>
                    <a:pt x="4422" y="5175"/>
                    <a:pt x="4500" y="5175"/>
                  </a:cubicBezTo>
                  <a:cubicBezTo>
                    <a:pt x="4610" y="5175"/>
                    <a:pt x="4720" y="5132"/>
                    <a:pt x="4811" y="5049"/>
                  </a:cubicBezTo>
                  <a:lnTo>
                    <a:pt x="5049" y="4811"/>
                  </a:lnTo>
                  <a:cubicBezTo>
                    <a:pt x="5180" y="4680"/>
                    <a:pt x="5215" y="4454"/>
                    <a:pt x="5108" y="4275"/>
                  </a:cubicBezTo>
                  <a:lnTo>
                    <a:pt x="4823" y="3847"/>
                  </a:lnTo>
                  <a:cubicBezTo>
                    <a:pt x="4870" y="3751"/>
                    <a:pt x="4894" y="3668"/>
                    <a:pt x="4930" y="3573"/>
                  </a:cubicBezTo>
                  <a:lnTo>
                    <a:pt x="5442" y="3466"/>
                  </a:lnTo>
                  <a:cubicBezTo>
                    <a:pt x="5632" y="3430"/>
                    <a:pt x="5775" y="3263"/>
                    <a:pt x="5775" y="3049"/>
                  </a:cubicBezTo>
                  <a:lnTo>
                    <a:pt x="5775" y="2727"/>
                  </a:lnTo>
                  <a:cubicBezTo>
                    <a:pt x="5775" y="2513"/>
                    <a:pt x="5644" y="2358"/>
                    <a:pt x="5454" y="2311"/>
                  </a:cubicBezTo>
                  <a:lnTo>
                    <a:pt x="4942" y="2204"/>
                  </a:lnTo>
                  <a:cubicBezTo>
                    <a:pt x="4918" y="2120"/>
                    <a:pt x="4870" y="2025"/>
                    <a:pt x="4846" y="1942"/>
                  </a:cubicBezTo>
                  <a:lnTo>
                    <a:pt x="5120" y="1501"/>
                  </a:lnTo>
                  <a:cubicBezTo>
                    <a:pt x="5227" y="1346"/>
                    <a:pt x="5215" y="1120"/>
                    <a:pt x="5061" y="965"/>
                  </a:cubicBezTo>
                  <a:lnTo>
                    <a:pt x="4823" y="727"/>
                  </a:lnTo>
                  <a:cubicBezTo>
                    <a:pt x="4745" y="650"/>
                    <a:pt x="4634" y="610"/>
                    <a:pt x="4520" y="610"/>
                  </a:cubicBezTo>
                  <a:cubicBezTo>
                    <a:pt x="4441" y="610"/>
                    <a:pt x="4360" y="629"/>
                    <a:pt x="4287" y="668"/>
                  </a:cubicBezTo>
                  <a:lnTo>
                    <a:pt x="3858" y="953"/>
                  </a:lnTo>
                  <a:cubicBezTo>
                    <a:pt x="3763" y="906"/>
                    <a:pt x="3680" y="882"/>
                    <a:pt x="3596" y="846"/>
                  </a:cubicBezTo>
                  <a:lnTo>
                    <a:pt x="3489" y="346"/>
                  </a:lnTo>
                  <a:cubicBezTo>
                    <a:pt x="3441" y="156"/>
                    <a:pt x="327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1" name="Google Shape;11351;p60"/>
            <p:cNvSpPr/>
            <p:nvPr/>
          </p:nvSpPr>
          <p:spPr>
            <a:xfrm>
              <a:off x="3326526" y="4036907"/>
              <a:ext cx="62541" cy="62573"/>
            </a:xfrm>
            <a:custGeom>
              <a:avLst/>
              <a:gdLst/>
              <a:ahLst/>
              <a:cxnLst/>
              <a:rect l="l" t="t" r="r" b="b"/>
              <a:pathLst>
                <a:path w="1965" h="1966" extrusionOk="0">
                  <a:moveTo>
                    <a:pt x="977" y="1"/>
                  </a:moveTo>
                  <a:cubicBezTo>
                    <a:pt x="441" y="1"/>
                    <a:pt x="0" y="453"/>
                    <a:pt x="0" y="989"/>
                  </a:cubicBezTo>
                  <a:cubicBezTo>
                    <a:pt x="0" y="1525"/>
                    <a:pt x="441" y="1965"/>
                    <a:pt x="977" y="1965"/>
                  </a:cubicBezTo>
                  <a:cubicBezTo>
                    <a:pt x="1203" y="1965"/>
                    <a:pt x="1417" y="1894"/>
                    <a:pt x="1572" y="1763"/>
                  </a:cubicBezTo>
                  <a:cubicBezTo>
                    <a:pt x="1655" y="1703"/>
                    <a:pt x="1667" y="1596"/>
                    <a:pt x="1608" y="1501"/>
                  </a:cubicBezTo>
                  <a:cubicBezTo>
                    <a:pt x="1574" y="1461"/>
                    <a:pt x="1525" y="1439"/>
                    <a:pt x="1473" y="1439"/>
                  </a:cubicBezTo>
                  <a:cubicBezTo>
                    <a:pt x="1434" y="1439"/>
                    <a:pt x="1394" y="1452"/>
                    <a:pt x="1358" y="1477"/>
                  </a:cubicBezTo>
                  <a:cubicBezTo>
                    <a:pt x="1250" y="1561"/>
                    <a:pt x="1119" y="1608"/>
                    <a:pt x="965" y="1608"/>
                  </a:cubicBezTo>
                  <a:cubicBezTo>
                    <a:pt x="619" y="1608"/>
                    <a:pt x="346" y="1322"/>
                    <a:pt x="346" y="977"/>
                  </a:cubicBezTo>
                  <a:cubicBezTo>
                    <a:pt x="346" y="644"/>
                    <a:pt x="619" y="358"/>
                    <a:pt x="977" y="358"/>
                  </a:cubicBezTo>
                  <a:cubicBezTo>
                    <a:pt x="1322" y="358"/>
                    <a:pt x="1608" y="644"/>
                    <a:pt x="1608" y="989"/>
                  </a:cubicBezTo>
                  <a:cubicBezTo>
                    <a:pt x="1608" y="1084"/>
                    <a:pt x="1679" y="1168"/>
                    <a:pt x="1786" y="1168"/>
                  </a:cubicBezTo>
                  <a:cubicBezTo>
                    <a:pt x="1893" y="1168"/>
                    <a:pt x="1965" y="1084"/>
                    <a:pt x="1965" y="989"/>
                  </a:cubicBezTo>
                  <a:cubicBezTo>
                    <a:pt x="1965" y="453"/>
                    <a:pt x="151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2" name="Google Shape;11352;p60"/>
            <p:cNvSpPr/>
            <p:nvPr/>
          </p:nvSpPr>
          <p:spPr>
            <a:xfrm>
              <a:off x="3196542" y="3907687"/>
              <a:ext cx="68238" cy="68238"/>
            </a:xfrm>
            <a:custGeom>
              <a:avLst/>
              <a:gdLst/>
              <a:ahLst/>
              <a:cxnLst/>
              <a:rect l="l" t="t" r="r" b="b"/>
              <a:pathLst>
                <a:path w="2144" h="2144" extrusionOk="0">
                  <a:moveTo>
                    <a:pt x="1072" y="358"/>
                  </a:moveTo>
                  <a:cubicBezTo>
                    <a:pt x="1477" y="358"/>
                    <a:pt x="1786" y="680"/>
                    <a:pt x="1786" y="1072"/>
                  </a:cubicBezTo>
                  <a:cubicBezTo>
                    <a:pt x="1786" y="1477"/>
                    <a:pt x="1465" y="1787"/>
                    <a:pt x="1072" y="1787"/>
                  </a:cubicBezTo>
                  <a:cubicBezTo>
                    <a:pt x="691" y="1787"/>
                    <a:pt x="358" y="1453"/>
                    <a:pt x="358" y="1072"/>
                  </a:cubicBezTo>
                  <a:cubicBezTo>
                    <a:pt x="358" y="668"/>
                    <a:pt x="691" y="358"/>
                    <a:pt x="1072" y="358"/>
                  </a:cubicBezTo>
                  <a:close/>
                  <a:moveTo>
                    <a:pt x="1072" y="1"/>
                  </a:moveTo>
                  <a:cubicBezTo>
                    <a:pt x="477" y="1"/>
                    <a:pt x="0" y="477"/>
                    <a:pt x="0" y="1072"/>
                  </a:cubicBezTo>
                  <a:cubicBezTo>
                    <a:pt x="0" y="1668"/>
                    <a:pt x="477" y="2144"/>
                    <a:pt x="1072" y="2144"/>
                  </a:cubicBezTo>
                  <a:cubicBezTo>
                    <a:pt x="1667" y="2144"/>
                    <a:pt x="2144" y="1656"/>
                    <a:pt x="2144" y="1072"/>
                  </a:cubicBezTo>
                  <a:cubicBezTo>
                    <a:pt x="2144" y="477"/>
                    <a:pt x="1667" y="1"/>
                    <a:pt x="1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53" name="Google Shape;11353;p60"/>
          <p:cNvGrpSpPr/>
          <p:nvPr/>
        </p:nvGrpSpPr>
        <p:grpSpPr>
          <a:xfrm>
            <a:off x="7550258" y="3832670"/>
            <a:ext cx="371395" cy="301279"/>
            <a:chOff x="7550258" y="3832670"/>
            <a:chExt cx="371395" cy="301279"/>
          </a:xfrm>
        </p:grpSpPr>
        <p:sp>
          <p:nvSpPr>
            <p:cNvPr id="11354" name="Google Shape;11354;p60"/>
            <p:cNvSpPr/>
            <p:nvPr/>
          </p:nvSpPr>
          <p:spPr>
            <a:xfrm>
              <a:off x="7550258" y="3832670"/>
              <a:ext cx="371395" cy="301279"/>
            </a:xfrm>
            <a:custGeom>
              <a:avLst/>
              <a:gdLst/>
              <a:ahLst/>
              <a:cxnLst/>
              <a:rect l="l" t="t" r="r" b="b"/>
              <a:pathLst>
                <a:path w="11669" h="9466" extrusionOk="0">
                  <a:moveTo>
                    <a:pt x="1822" y="346"/>
                  </a:moveTo>
                  <a:cubicBezTo>
                    <a:pt x="1822" y="346"/>
                    <a:pt x="1834" y="346"/>
                    <a:pt x="1834" y="358"/>
                  </a:cubicBezTo>
                  <a:lnTo>
                    <a:pt x="1834" y="1096"/>
                  </a:lnTo>
                  <a:cubicBezTo>
                    <a:pt x="1834" y="1096"/>
                    <a:pt x="1834" y="1108"/>
                    <a:pt x="1822" y="1108"/>
                  </a:cubicBezTo>
                  <a:lnTo>
                    <a:pt x="1441" y="1108"/>
                  </a:lnTo>
                  <a:cubicBezTo>
                    <a:pt x="1441" y="1108"/>
                    <a:pt x="1429" y="1108"/>
                    <a:pt x="1429" y="1096"/>
                  </a:cubicBezTo>
                  <a:lnTo>
                    <a:pt x="1429" y="358"/>
                  </a:lnTo>
                  <a:lnTo>
                    <a:pt x="1441" y="358"/>
                  </a:lnTo>
                  <a:lnTo>
                    <a:pt x="1822" y="346"/>
                  </a:lnTo>
                  <a:close/>
                  <a:moveTo>
                    <a:pt x="10228" y="346"/>
                  </a:moveTo>
                  <a:cubicBezTo>
                    <a:pt x="10228" y="346"/>
                    <a:pt x="10240" y="346"/>
                    <a:pt x="10240" y="358"/>
                  </a:cubicBezTo>
                  <a:lnTo>
                    <a:pt x="10240" y="1096"/>
                  </a:lnTo>
                  <a:cubicBezTo>
                    <a:pt x="10240" y="1096"/>
                    <a:pt x="10240" y="1108"/>
                    <a:pt x="10228" y="1108"/>
                  </a:cubicBezTo>
                  <a:lnTo>
                    <a:pt x="9859" y="1108"/>
                  </a:lnTo>
                  <a:cubicBezTo>
                    <a:pt x="9859" y="1108"/>
                    <a:pt x="9835" y="1108"/>
                    <a:pt x="9835" y="1096"/>
                  </a:cubicBezTo>
                  <a:lnTo>
                    <a:pt x="9835" y="358"/>
                  </a:lnTo>
                  <a:lnTo>
                    <a:pt x="9859" y="358"/>
                  </a:lnTo>
                  <a:lnTo>
                    <a:pt x="10228" y="346"/>
                  </a:lnTo>
                  <a:close/>
                  <a:moveTo>
                    <a:pt x="10966" y="1096"/>
                  </a:moveTo>
                  <a:cubicBezTo>
                    <a:pt x="11180" y="1096"/>
                    <a:pt x="11347" y="1251"/>
                    <a:pt x="11347" y="1465"/>
                  </a:cubicBezTo>
                  <a:lnTo>
                    <a:pt x="11347" y="8775"/>
                  </a:lnTo>
                  <a:cubicBezTo>
                    <a:pt x="11323" y="8978"/>
                    <a:pt x="11168" y="9144"/>
                    <a:pt x="10954" y="9144"/>
                  </a:cubicBezTo>
                  <a:lnTo>
                    <a:pt x="715" y="9144"/>
                  </a:lnTo>
                  <a:cubicBezTo>
                    <a:pt x="512" y="9144"/>
                    <a:pt x="346" y="8978"/>
                    <a:pt x="346" y="8775"/>
                  </a:cubicBezTo>
                  <a:lnTo>
                    <a:pt x="346" y="1465"/>
                  </a:lnTo>
                  <a:cubicBezTo>
                    <a:pt x="346" y="1251"/>
                    <a:pt x="512" y="1096"/>
                    <a:pt x="715" y="1096"/>
                  </a:cubicBezTo>
                  <a:lnTo>
                    <a:pt x="1084" y="1096"/>
                  </a:lnTo>
                  <a:lnTo>
                    <a:pt x="1084" y="1108"/>
                  </a:lnTo>
                  <a:cubicBezTo>
                    <a:pt x="1084" y="1298"/>
                    <a:pt x="1250" y="1465"/>
                    <a:pt x="1441" y="1465"/>
                  </a:cubicBezTo>
                  <a:lnTo>
                    <a:pt x="1822" y="1465"/>
                  </a:lnTo>
                  <a:cubicBezTo>
                    <a:pt x="2012" y="1465"/>
                    <a:pt x="2179" y="1298"/>
                    <a:pt x="2179" y="1108"/>
                  </a:cubicBezTo>
                  <a:lnTo>
                    <a:pt x="2179" y="1096"/>
                  </a:lnTo>
                  <a:lnTo>
                    <a:pt x="9513" y="1096"/>
                  </a:lnTo>
                  <a:lnTo>
                    <a:pt x="9513" y="1108"/>
                  </a:lnTo>
                  <a:cubicBezTo>
                    <a:pt x="9513" y="1298"/>
                    <a:pt x="9680" y="1465"/>
                    <a:pt x="9871" y="1465"/>
                  </a:cubicBezTo>
                  <a:lnTo>
                    <a:pt x="10240" y="1465"/>
                  </a:lnTo>
                  <a:cubicBezTo>
                    <a:pt x="10430" y="1465"/>
                    <a:pt x="10597" y="1298"/>
                    <a:pt x="10597" y="1108"/>
                  </a:cubicBezTo>
                  <a:lnTo>
                    <a:pt x="10597" y="1096"/>
                  </a:lnTo>
                  <a:close/>
                  <a:moveTo>
                    <a:pt x="1441" y="0"/>
                  </a:moveTo>
                  <a:cubicBezTo>
                    <a:pt x="1250" y="0"/>
                    <a:pt x="1084" y="167"/>
                    <a:pt x="1084" y="358"/>
                  </a:cubicBezTo>
                  <a:lnTo>
                    <a:pt x="1084" y="739"/>
                  </a:lnTo>
                  <a:lnTo>
                    <a:pt x="715" y="739"/>
                  </a:lnTo>
                  <a:cubicBezTo>
                    <a:pt x="310" y="739"/>
                    <a:pt x="0" y="1060"/>
                    <a:pt x="0" y="1453"/>
                  </a:cubicBezTo>
                  <a:lnTo>
                    <a:pt x="0" y="8752"/>
                  </a:lnTo>
                  <a:cubicBezTo>
                    <a:pt x="0" y="9156"/>
                    <a:pt x="334" y="9466"/>
                    <a:pt x="715" y="9466"/>
                  </a:cubicBezTo>
                  <a:lnTo>
                    <a:pt x="10954" y="9466"/>
                  </a:lnTo>
                  <a:cubicBezTo>
                    <a:pt x="11359" y="9466"/>
                    <a:pt x="11668" y="9144"/>
                    <a:pt x="11668" y="8752"/>
                  </a:cubicBezTo>
                  <a:lnTo>
                    <a:pt x="11668" y="1453"/>
                  </a:lnTo>
                  <a:cubicBezTo>
                    <a:pt x="11668" y="1060"/>
                    <a:pt x="11359" y="739"/>
                    <a:pt x="10954" y="739"/>
                  </a:cubicBezTo>
                  <a:lnTo>
                    <a:pt x="10585" y="739"/>
                  </a:lnTo>
                  <a:lnTo>
                    <a:pt x="10585" y="358"/>
                  </a:lnTo>
                  <a:cubicBezTo>
                    <a:pt x="10585" y="167"/>
                    <a:pt x="10418" y="0"/>
                    <a:pt x="10228" y="0"/>
                  </a:cubicBezTo>
                  <a:lnTo>
                    <a:pt x="9859" y="0"/>
                  </a:lnTo>
                  <a:cubicBezTo>
                    <a:pt x="9656" y="0"/>
                    <a:pt x="9490" y="167"/>
                    <a:pt x="9490" y="358"/>
                  </a:cubicBezTo>
                  <a:lnTo>
                    <a:pt x="9490" y="739"/>
                  </a:lnTo>
                  <a:lnTo>
                    <a:pt x="2179" y="739"/>
                  </a:lnTo>
                  <a:lnTo>
                    <a:pt x="2179" y="358"/>
                  </a:lnTo>
                  <a:cubicBezTo>
                    <a:pt x="2179" y="167"/>
                    <a:pt x="2012"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60"/>
            <p:cNvSpPr/>
            <p:nvPr/>
          </p:nvSpPr>
          <p:spPr>
            <a:xfrm>
              <a:off x="7574129" y="3891009"/>
              <a:ext cx="324418" cy="10662"/>
            </a:xfrm>
            <a:custGeom>
              <a:avLst/>
              <a:gdLst/>
              <a:ahLst/>
              <a:cxnLst/>
              <a:rect l="l" t="t" r="r" b="b"/>
              <a:pathLst>
                <a:path w="10193" h="335" extrusionOk="0">
                  <a:moveTo>
                    <a:pt x="155" y="1"/>
                  </a:moveTo>
                  <a:cubicBezTo>
                    <a:pt x="72" y="1"/>
                    <a:pt x="0" y="72"/>
                    <a:pt x="0" y="168"/>
                  </a:cubicBezTo>
                  <a:cubicBezTo>
                    <a:pt x="0" y="251"/>
                    <a:pt x="72" y="334"/>
                    <a:pt x="155" y="334"/>
                  </a:cubicBezTo>
                  <a:lnTo>
                    <a:pt x="10025" y="334"/>
                  </a:lnTo>
                  <a:cubicBezTo>
                    <a:pt x="10121" y="334"/>
                    <a:pt x="10192" y="251"/>
                    <a:pt x="10192" y="168"/>
                  </a:cubicBezTo>
                  <a:cubicBezTo>
                    <a:pt x="10192" y="72"/>
                    <a:pt x="10121" y="1"/>
                    <a:pt x="100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6" name="Google Shape;11356;p60"/>
            <p:cNvSpPr/>
            <p:nvPr/>
          </p:nvSpPr>
          <p:spPr>
            <a:xfrm>
              <a:off x="7591188" y="3937637"/>
              <a:ext cx="45481" cy="10248"/>
            </a:xfrm>
            <a:custGeom>
              <a:avLst/>
              <a:gdLst/>
              <a:ahLst/>
              <a:cxnLst/>
              <a:rect l="l" t="t" r="r" b="b"/>
              <a:pathLst>
                <a:path w="1429" h="322" extrusionOk="0">
                  <a:moveTo>
                    <a:pt x="155" y="0"/>
                  </a:moveTo>
                  <a:cubicBezTo>
                    <a:pt x="72" y="0"/>
                    <a:pt x="0" y="72"/>
                    <a:pt x="0" y="155"/>
                  </a:cubicBezTo>
                  <a:cubicBezTo>
                    <a:pt x="0" y="250"/>
                    <a:pt x="72" y="322"/>
                    <a:pt x="155" y="322"/>
                  </a:cubicBezTo>
                  <a:lnTo>
                    <a:pt x="1262" y="322"/>
                  </a:lnTo>
                  <a:cubicBezTo>
                    <a:pt x="1346" y="322"/>
                    <a:pt x="1429" y="250"/>
                    <a:pt x="1429" y="155"/>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60"/>
            <p:cNvSpPr/>
            <p:nvPr/>
          </p:nvSpPr>
          <p:spPr>
            <a:xfrm>
              <a:off x="7672667" y="3937637"/>
              <a:ext cx="45481" cy="10248"/>
            </a:xfrm>
            <a:custGeom>
              <a:avLst/>
              <a:gdLst/>
              <a:ahLst/>
              <a:cxnLst/>
              <a:rect l="l" t="t" r="r" b="b"/>
              <a:pathLst>
                <a:path w="1429" h="322" extrusionOk="0">
                  <a:moveTo>
                    <a:pt x="155" y="0"/>
                  </a:moveTo>
                  <a:cubicBezTo>
                    <a:pt x="71" y="0"/>
                    <a:pt x="0" y="72"/>
                    <a:pt x="0" y="155"/>
                  </a:cubicBezTo>
                  <a:cubicBezTo>
                    <a:pt x="0" y="250"/>
                    <a:pt x="71" y="322"/>
                    <a:pt x="155" y="322"/>
                  </a:cubicBezTo>
                  <a:lnTo>
                    <a:pt x="1262" y="322"/>
                  </a:lnTo>
                  <a:cubicBezTo>
                    <a:pt x="1345" y="322"/>
                    <a:pt x="1429" y="250"/>
                    <a:pt x="1429" y="155"/>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8" name="Google Shape;11358;p60"/>
            <p:cNvSpPr/>
            <p:nvPr/>
          </p:nvSpPr>
          <p:spPr>
            <a:xfrm>
              <a:off x="7835592" y="3937637"/>
              <a:ext cx="45131" cy="10248"/>
            </a:xfrm>
            <a:custGeom>
              <a:avLst/>
              <a:gdLst/>
              <a:ahLst/>
              <a:cxnLst/>
              <a:rect l="l" t="t" r="r" b="b"/>
              <a:pathLst>
                <a:path w="1418" h="322" extrusionOk="0">
                  <a:moveTo>
                    <a:pt x="155" y="0"/>
                  </a:moveTo>
                  <a:cubicBezTo>
                    <a:pt x="72" y="0"/>
                    <a:pt x="1" y="72"/>
                    <a:pt x="1" y="155"/>
                  </a:cubicBezTo>
                  <a:cubicBezTo>
                    <a:pt x="1" y="250"/>
                    <a:pt x="72" y="322"/>
                    <a:pt x="155" y="322"/>
                  </a:cubicBezTo>
                  <a:lnTo>
                    <a:pt x="1263" y="322"/>
                  </a:lnTo>
                  <a:cubicBezTo>
                    <a:pt x="1346" y="322"/>
                    <a:pt x="1418" y="250"/>
                    <a:pt x="1418" y="155"/>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60"/>
            <p:cNvSpPr/>
            <p:nvPr/>
          </p:nvSpPr>
          <p:spPr>
            <a:xfrm>
              <a:off x="7591188" y="3984232"/>
              <a:ext cx="45481" cy="10662"/>
            </a:xfrm>
            <a:custGeom>
              <a:avLst/>
              <a:gdLst/>
              <a:ahLst/>
              <a:cxnLst/>
              <a:rect l="l" t="t" r="r" b="b"/>
              <a:pathLst>
                <a:path w="1429" h="335" extrusionOk="0">
                  <a:moveTo>
                    <a:pt x="155" y="1"/>
                  </a:moveTo>
                  <a:cubicBezTo>
                    <a:pt x="72" y="1"/>
                    <a:pt x="0" y="84"/>
                    <a:pt x="0" y="168"/>
                  </a:cubicBezTo>
                  <a:cubicBezTo>
                    <a:pt x="0" y="263"/>
                    <a:pt x="72" y="334"/>
                    <a:pt x="155" y="334"/>
                  </a:cubicBezTo>
                  <a:lnTo>
                    <a:pt x="1262" y="334"/>
                  </a:lnTo>
                  <a:cubicBezTo>
                    <a:pt x="1346" y="334"/>
                    <a:pt x="1429" y="263"/>
                    <a:pt x="1429" y="168"/>
                  </a:cubicBezTo>
                  <a:cubicBezTo>
                    <a:pt x="1429" y="84"/>
                    <a:pt x="1346"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0" name="Google Shape;11360;p60"/>
            <p:cNvSpPr/>
            <p:nvPr/>
          </p:nvSpPr>
          <p:spPr>
            <a:xfrm>
              <a:off x="7754113" y="3984232"/>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60"/>
            <p:cNvSpPr/>
            <p:nvPr/>
          </p:nvSpPr>
          <p:spPr>
            <a:xfrm>
              <a:off x="7591188" y="4030859"/>
              <a:ext cx="45481" cy="10248"/>
            </a:xfrm>
            <a:custGeom>
              <a:avLst/>
              <a:gdLst/>
              <a:ahLst/>
              <a:cxnLst/>
              <a:rect l="l" t="t" r="r" b="b"/>
              <a:pathLst>
                <a:path w="1429" h="322" extrusionOk="0">
                  <a:moveTo>
                    <a:pt x="155" y="0"/>
                  </a:moveTo>
                  <a:cubicBezTo>
                    <a:pt x="72" y="0"/>
                    <a:pt x="0" y="72"/>
                    <a:pt x="0" y="167"/>
                  </a:cubicBezTo>
                  <a:cubicBezTo>
                    <a:pt x="0" y="250"/>
                    <a:pt x="72" y="322"/>
                    <a:pt x="155" y="322"/>
                  </a:cubicBezTo>
                  <a:lnTo>
                    <a:pt x="1262" y="322"/>
                  </a:lnTo>
                  <a:cubicBezTo>
                    <a:pt x="1346" y="322"/>
                    <a:pt x="1429" y="250"/>
                    <a:pt x="1429" y="167"/>
                  </a:cubicBezTo>
                  <a:cubicBezTo>
                    <a:pt x="1429" y="72"/>
                    <a:pt x="1346"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2" name="Google Shape;11362;p60"/>
            <p:cNvSpPr/>
            <p:nvPr/>
          </p:nvSpPr>
          <p:spPr>
            <a:xfrm>
              <a:off x="7672667" y="4030859"/>
              <a:ext cx="45481" cy="10248"/>
            </a:xfrm>
            <a:custGeom>
              <a:avLst/>
              <a:gdLst/>
              <a:ahLst/>
              <a:cxnLst/>
              <a:rect l="l" t="t" r="r" b="b"/>
              <a:pathLst>
                <a:path w="1429" h="322" extrusionOk="0">
                  <a:moveTo>
                    <a:pt x="155" y="0"/>
                  </a:moveTo>
                  <a:cubicBezTo>
                    <a:pt x="71" y="0"/>
                    <a:pt x="0" y="72"/>
                    <a:pt x="0" y="167"/>
                  </a:cubicBezTo>
                  <a:cubicBezTo>
                    <a:pt x="0" y="250"/>
                    <a:pt x="71" y="322"/>
                    <a:pt x="155" y="322"/>
                  </a:cubicBezTo>
                  <a:lnTo>
                    <a:pt x="1262" y="322"/>
                  </a:lnTo>
                  <a:cubicBezTo>
                    <a:pt x="1345" y="322"/>
                    <a:pt x="1429" y="250"/>
                    <a:pt x="1429" y="167"/>
                  </a:cubicBezTo>
                  <a:cubicBezTo>
                    <a:pt x="1429" y="72"/>
                    <a:pt x="1345" y="0"/>
                    <a:pt x="12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60"/>
            <p:cNvSpPr/>
            <p:nvPr/>
          </p:nvSpPr>
          <p:spPr>
            <a:xfrm>
              <a:off x="7835592" y="4030859"/>
              <a:ext cx="45131" cy="10248"/>
            </a:xfrm>
            <a:custGeom>
              <a:avLst/>
              <a:gdLst/>
              <a:ahLst/>
              <a:cxnLst/>
              <a:rect l="l" t="t" r="r" b="b"/>
              <a:pathLst>
                <a:path w="1418" h="322" extrusionOk="0">
                  <a:moveTo>
                    <a:pt x="155" y="0"/>
                  </a:moveTo>
                  <a:cubicBezTo>
                    <a:pt x="72" y="0"/>
                    <a:pt x="1" y="72"/>
                    <a:pt x="1" y="167"/>
                  </a:cubicBezTo>
                  <a:cubicBezTo>
                    <a:pt x="1" y="250"/>
                    <a:pt x="72" y="322"/>
                    <a:pt x="155" y="322"/>
                  </a:cubicBezTo>
                  <a:lnTo>
                    <a:pt x="1263" y="322"/>
                  </a:lnTo>
                  <a:cubicBezTo>
                    <a:pt x="1346" y="322"/>
                    <a:pt x="1418" y="250"/>
                    <a:pt x="1418" y="167"/>
                  </a:cubicBezTo>
                  <a:cubicBezTo>
                    <a:pt x="1418" y="72"/>
                    <a:pt x="1346"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4" name="Google Shape;11364;p60"/>
            <p:cNvSpPr/>
            <p:nvPr/>
          </p:nvSpPr>
          <p:spPr>
            <a:xfrm>
              <a:off x="7672667" y="4077073"/>
              <a:ext cx="45481" cy="10662"/>
            </a:xfrm>
            <a:custGeom>
              <a:avLst/>
              <a:gdLst/>
              <a:ahLst/>
              <a:cxnLst/>
              <a:rect l="l" t="t" r="r" b="b"/>
              <a:pathLst>
                <a:path w="1429" h="335" extrusionOk="0">
                  <a:moveTo>
                    <a:pt x="155" y="1"/>
                  </a:moveTo>
                  <a:cubicBezTo>
                    <a:pt x="71" y="1"/>
                    <a:pt x="0" y="84"/>
                    <a:pt x="0" y="168"/>
                  </a:cubicBezTo>
                  <a:cubicBezTo>
                    <a:pt x="0" y="263"/>
                    <a:pt x="71" y="334"/>
                    <a:pt x="155" y="334"/>
                  </a:cubicBezTo>
                  <a:lnTo>
                    <a:pt x="1262" y="334"/>
                  </a:lnTo>
                  <a:cubicBezTo>
                    <a:pt x="1345" y="334"/>
                    <a:pt x="1429" y="263"/>
                    <a:pt x="1429" y="168"/>
                  </a:cubicBezTo>
                  <a:cubicBezTo>
                    <a:pt x="1429" y="84"/>
                    <a:pt x="1345"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60"/>
            <p:cNvSpPr/>
            <p:nvPr/>
          </p:nvSpPr>
          <p:spPr>
            <a:xfrm>
              <a:off x="7754113" y="4077073"/>
              <a:ext cx="45513" cy="10662"/>
            </a:xfrm>
            <a:custGeom>
              <a:avLst/>
              <a:gdLst/>
              <a:ahLst/>
              <a:cxnLst/>
              <a:rect l="l" t="t" r="r" b="b"/>
              <a:pathLst>
                <a:path w="1430" h="335" extrusionOk="0">
                  <a:moveTo>
                    <a:pt x="156" y="1"/>
                  </a:moveTo>
                  <a:cubicBezTo>
                    <a:pt x="72" y="1"/>
                    <a:pt x="1" y="84"/>
                    <a:pt x="1" y="168"/>
                  </a:cubicBezTo>
                  <a:cubicBezTo>
                    <a:pt x="1" y="263"/>
                    <a:pt x="72" y="334"/>
                    <a:pt x="156" y="334"/>
                  </a:cubicBezTo>
                  <a:lnTo>
                    <a:pt x="1263" y="334"/>
                  </a:lnTo>
                  <a:cubicBezTo>
                    <a:pt x="1346" y="334"/>
                    <a:pt x="1430" y="263"/>
                    <a:pt x="1430" y="168"/>
                  </a:cubicBezTo>
                  <a:cubicBezTo>
                    <a:pt x="1430"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6" name="Google Shape;11366;p60"/>
            <p:cNvSpPr/>
            <p:nvPr/>
          </p:nvSpPr>
          <p:spPr>
            <a:xfrm>
              <a:off x="7835592" y="4077073"/>
              <a:ext cx="45131" cy="10662"/>
            </a:xfrm>
            <a:custGeom>
              <a:avLst/>
              <a:gdLst/>
              <a:ahLst/>
              <a:cxnLst/>
              <a:rect l="l" t="t" r="r" b="b"/>
              <a:pathLst>
                <a:path w="1418" h="335" extrusionOk="0">
                  <a:moveTo>
                    <a:pt x="155" y="1"/>
                  </a:moveTo>
                  <a:cubicBezTo>
                    <a:pt x="72" y="1"/>
                    <a:pt x="1" y="84"/>
                    <a:pt x="1" y="168"/>
                  </a:cubicBezTo>
                  <a:cubicBezTo>
                    <a:pt x="1" y="263"/>
                    <a:pt x="72" y="334"/>
                    <a:pt x="155" y="334"/>
                  </a:cubicBezTo>
                  <a:lnTo>
                    <a:pt x="1263" y="334"/>
                  </a:lnTo>
                  <a:cubicBezTo>
                    <a:pt x="1346" y="334"/>
                    <a:pt x="1418" y="263"/>
                    <a:pt x="1418" y="168"/>
                  </a:cubicBezTo>
                  <a:cubicBezTo>
                    <a:pt x="1418" y="84"/>
                    <a:pt x="1346"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7" name="Google Shape;11367;p60"/>
            <p:cNvSpPr/>
            <p:nvPr/>
          </p:nvSpPr>
          <p:spPr>
            <a:xfrm>
              <a:off x="7672667" y="3972583"/>
              <a:ext cx="46245" cy="34055"/>
            </a:xfrm>
            <a:custGeom>
              <a:avLst/>
              <a:gdLst/>
              <a:ahLst/>
              <a:cxnLst/>
              <a:rect l="l" t="t" r="r" b="b"/>
              <a:pathLst>
                <a:path w="1453" h="1070" extrusionOk="0">
                  <a:moveTo>
                    <a:pt x="1262" y="1"/>
                  </a:moveTo>
                  <a:cubicBezTo>
                    <a:pt x="1217" y="1"/>
                    <a:pt x="1173" y="16"/>
                    <a:pt x="1143" y="45"/>
                  </a:cubicBezTo>
                  <a:lnTo>
                    <a:pt x="536" y="653"/>
                  </a:lnTo>
                  <a:lnTo>
                    <a:pt x="298" y="415"/>
                  </a:lnTo>
                  <a:cubicBezTo>
                    <a:pt x="268" y="385"/>
                    <a:pt x="223" y="370"/>
                    <a:pt x="179" y="370"/>
                  </a:cubicBezTo>
                  <a:cubicBezTo>
                    <a:pt x="134" y="370"/>
                    <a:pt x="89" y="385"/>
                    <a:pt x="60" y="415"/>
                  </a:cubicBezTo>
                  <a:cubicBezTo>
                    <a:pt x="0" y="474"/>
                    <a:pt x="0" y="593"/>
                    <a:pt x="60" y="653"/>
                  </a:cubicBezTo>
                  <a:lnTo>
                    <a:pt x="429" y="1022"/>
                  </a:lnTo>
                  <a:cubicBezTo>
                    <a:pt x="452" y="1057"/>
                    <a:pt x="500" y="1069"/>
                    <a:pt x="548" y="1069"/>
                  </a:cubicBezTo>
                  <a:cubicBezTo>
                    <a:pt x="595" y="1069"/>
                    <a:pt x="631" y="1057"/>
                    <a:pt x="667" y="1022"/>
                  </a:cubicBezTo>
                  <a:lnTo>
                    <a:pt x="1393" y="295"/>
                  </a:lnTo>
                  <a:cubicBezTo>
                    <a:pt x="1453" y="224"/>
                    <a:pt x="1453" y="117"/>
                    <a:pt x="1381" y="45"/>
                  </a:cubicBezTo>
                  <a:cubicBezTo>
                    <a:pt x="1351"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8" name="Google Shape;11368;p60"/>
            <p:cNvSpPr/>
            <p:nvPr/>
          </p:nvSpPr>
          <p:spPr>
            <a:xfrm>
              <a:off x="7835592" y="3972583"/>
              <a:ext cx="45895" cy="34055"/>
            </a:xfrm>
            <a:custGeom>
              <a:avLst/>
              <a:gdLst/>
              <a:ahLst/>
              <a:cxnLst/>
              <a:rect l="l" t="t" r="r" b="b"/>
              <a:pathLst>
                <a:path w="1442" h="1070" extrusionOk="0">
                  <a:moveTo>
                    <a:pt x="1263" y="1"/>
                  </a:moveTo>
                  <a:cubicBezTo>
                    <a:pt x="1218" y="1"/>
                    <a:pt x="1173" y="16"/>
                    <a:pt x="1144" y="45"/>
                  </a:cubicBezTo>
                  <a:lnTo>
                    <a:pt x="536" y="653"/>
                  </a:lnTo>
                  <a:lnTo>
                    <a:pt x="298" y="415"/>
                  </a:lnTo>
                  <a:cubicBezTo>
                    <a:pt x="269" y="385"/>
                    <a:pt x="224" y="370"/>
                    <a:pt x="179" y="370"/>
                  </a:cubicBezTo>
                  <a:cubicBezTo>
                    <a:pt x="135" y="370"/>
                    <a:pt x="90" y="385"/>
                    <a:pt x="60" y="415"/>
                  </a:cubicBezTo>
                  <a:cubicBezTo>
                    <a:pt x="1" y="474"/>
                    <a:pt x="1" y="593"/>
                    <a:pt x="60" y="653"/>
                  </a:cubicBezTo>
                  <a:lnTo>
                    <a:pt x="429" y="1022"/>
                  </a:lnTo>
                  <a:cubicBezTo>
                    <a:pt x="453" y="1057"/>
                    <a:pt x="501" y="1069"/>
                    <a:pt x="548" y="1069"/>
                  </a:cubicBezTo>
                  <a:cubicBezTo>
                    <a:pt x="596" y="1069"/>
                    <a:pt x="632" y="1057"/>
                    <a:pt x="667" y="1022"/>
                  </a:cubicBezTo>
                  <a:lnTo>
                    <a:pt x="1394" y="295"/>
                  </a:lnTo>
                  <a:cubicBezTo>
                    <a:pt x="1441" y="224"/>
                    <a:pt x="1441" y="117"/>
                    <a:pt x="1382" y="45"/>
                  </a:cubicBezTo>
                  <a:cubicBezTo>
                    <a:pt x="1352" y="16"/>
                    <a:pt x="1307"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9" name="Google Shape;11369;p60"/>
            <p:cNvSpPr/>
            <p:nvPr/>
          </p:nvSpPr>
          <p:spPr>
            <a:xfrm>
              <a:off x="7754113" y="4019592"/>
              <a:ext cx="46277" cy="34024"/>
            </a:xfrm>
            <a:custGeom>
              <a:avLst/>
              <a:gdLst/>
              <a:ahLst/>
              <a:cxnLst/>
              <a:rect l="l" t="t" r="r" b="b"/>
              <a:pathLst>
                <a:path w="1454" h="1069" extrusionOk="0">
                  <a:moveTo>
                    <a:pt x="1263" y="0"/>
                  </a:moveTo>
                  <a:cubicBezTo>
                    <a:pt x="1218" y="0"/>
                    <a:pt x="1174" y="15"/>
                    <a:pt x="1144" y="45"/>
                  </a:cubicBezTo>
                  <a:lnTo>
                    <a:pt x="537" y="652"/>
                  </a:lnTo>
                  <a:lnTo>
                    <a:pt x="299" y="414"/>
                  </a:lnTo>
                  <a:cubicBezTo>
                    <a:pt x="269" y="384"/>
                    <a:pt x="224" y="369"/>
                    <a:pt x="179" y="369"/>
                  </a:cubicBezTo>
                  <a:cubicBezTo>
                    <a:pt x="135" y="369"/>
                    <a:pt x="90" y="384"/>
                    <a:pt x="60" y="414"/>
                  </a:cubicBezTo>
                  <a:cubicBezTo>
                    <a:pt x="1" y="473"/>
                    <a:pt x="1" y="593"/>
                    <a:pt x="60" y="652"/>
                  </a:cubicBezTo>
                  <a:lnTo>
                    <a:pt x="429" y="1021"/>
                  </a:lnTo>
                  <a:cubicBezTo>
                    <a:pt x="453" y="1057"/>
                    <a:pt x="501" y="1069"/>
                    <a:pt x="549" y="1069"/>
                  </a:cubicBezTo>
                  <a:cubicBezTo>
                    <a:pt x="596" y="1069"/>
                    <a:pt x="632" y="1057"/>
                    <a:pt x="668" y="1021"/>
                  </a:cubicBezTo>
                  <a:lnTo>
                    <a:pt x="1394" y="295"/>
                  </a:lnTo>
                  <a:cubicBezTo>
                    <a:pt x="1453" y="200"/>
                    <a:pt x="1453" y="104"/>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0" name="Google Shape;11370;p60"/>
            <p:cNvSpPr/>
            <p:nvPr/>
          </p:nvSpPr>
          <p:spPr>
            <a:xfrm>
              <a:off x="7591188" y="4065806"/>
              <a:ext cx="46245" cy="34055"/>
            </a:xfrm>
            <a:custGeom>
              <a:avLst/>
              <a:gdLst/>
              <a:ahLst/>
              <a:cxnLst/>
              <a:rect l="l" t="t" r="r" b="b"/>
              <a:pathLst>
                <a:path w="1453" h="1070" extrusionOk="0">
                  <a:moveTo>
                    <a:pt x="1262" y="1"/>
                  </a:moveTo>
                  <a:cubicBezTo>
                    <a:pt x="1218" y="1"/>
                    <a:pt x="1173" y="16"/>
                    <a:pt x="1143" y="45"/>
                  </a:cubicBezTo>
                  <a:lnTo>
                    <a:pt x="536" y="653"/>
                  </a:lnTo>
                  <a:lnTo>
                    <a:pt x="298" y="414"/>
                  </a:lnTo>
                  <a:cubicBezTo>
                    <a:pt x="268" y="385"/>
                    <a:pt x="223" y="370"/>
                    <a:pt x="179" y="370"/>
                  </a:cubicBezTo>
                  <a:cubicBezTo>
                    <a:pt x="134" y="370"/>
                    <a:pt x="89" y="385"/>
                    <a:pt x="60" y="414"/>
                  </a:cubicBezTo>
                  <a:cubicBezTo>
                    <a:pt x="0" y="474"/>
                    <a:pt x="0" y="593"/>
                    <a:pt x="60" y="653"/>
                  </a:cubicBezTo>
                  <a:lnTo>
                    <a:pt x="429" y="1034"/>
                  </a:lnTo>
                  <a:cubicBezTo>
                    <a:pt x="453" y="1057"/>
                    <a:pt x="500" y="1069"/>
                    <a:pt x="548" y="1069"/>
                  </a:cubicBezTo>
                  <a:cubicBezTo>
                    <a:pt x="595" y="1069"/>
                    <a:pt x="631" y="1057"/>
                    <a:pt x="667" y="1034"/>
                  </a:cubicBezTo>
                  <a:lnTo>
                    <a:pt x="1393" y="295"/>
                  </a:lnTo>
                  <a:cubicBezTo>
                    <a:pt x="1453" y="224"/>
                    <a:pt x="1453" y="105"/>
                    <a:pt x="1381" y="45"/>
                  </a:cubicBezTo>
                  <a:cubicBezTo>
                    <a:pt x="1352" y="16"/>
                    <a:pt x="1307" y="1"/>
                    <a:pt x="1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1" name="Google Shape;11371;p60"/>
            <p:cNvSpPr/>
            <p:nvPr/>
          </p:nvSpPr>
          <p:spPr>
            <a:xfrm>
              <a:off x="7754113" y="3925988"/>
              <a:ext cx="46277" cy="34406"/>
            </a:xfrm>
            <a:custGeom>
              <a:avLst/>
              <a:gdLst/>
              <a:ahLst/>
              <a:cxnLst/>
              <a:rect l="l" t="t" r="r" b="b"/>
              <a:pathLst>
                <a:path w="1454" h="1081" extrusionOk="0">
                  <a:moveTo>
                    <a:pt x="1263" y="0"/>
                  </a:moveTo>
                  <a:cubicBezTo>
                    <a:pt x="1218" y="0"/>
                    <a:pt x="1174" y="15"/>
                    <a:pt x="1144" y="45"/>
                  </a:cubicBezTo>
                  <a:lnTo>
                    <a:pt x="537" y="664"/>
                  </a:lnTo>
                  <a:lnTo>
                    <a:pt x="299" y="426"/>
                  </a:lnTo>
                  <a:cubicBezTo>
                    <a:pt x="269" y="396"/>
                    <a:pt x="224" y="381"/>
                    <a:pt x="179" y="381"/>
                  </a:cubicBezTo>
                  <a:cubicBezTo>
                    <a:pt x="135" y="381"/>
                    <a:pt x="90" y="396"/>
                    <a:pt x="60" y="426"/>
                  </a:cubicBezTo>
                  <a:cubicBezTo>
                    <a:pt x="1" y="486"/>
                    <a:pt x="1" y="605"/>
                    <a:pt x="60" y="664"/>
                  </a:cubicBezTo>
                  <a:lnTo>
                    <a:pt x="429" y="1033"/>
                  </a:lnTo>
                  <a:cubicBezTo>
                    <a:pt x="453" y="1057"/>
                    <a:pt x="501" y="1081"/>
                    <a:pt x="549" y="1081"/>
                  </a:cubicBezTo>
                  <a:cubicBezTo>
                    <a:pt x="596" y="1081"/>
                    <a:pt x="632" y="1057"/>
                    <a:pt x="668" y="1033"/>
                  </a:cubicBezTo>
                  <a:lnTo>
                    <a:pt x="1394" y="307"/>
                  </a:lnTo>
                  <a:cubicBezTo>
                    <a:pt x="1453" y="224"/>
                    <a:pt x="1453" y="128"/>
                    <a:pt x="1382" y="45"/>
                  </a:cubicBezTo>
                  <a:cubicBezTo>
                    <a:pt x="1352" y="15"/>
                    <a:pt x="1308"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2" name="Google Shape;11372;p60"/>
          <p:cNvSpPr/>
          <p:nvPr/>
        </p:nvSpPr>
        <p:spPr>
          <a:xfrm>
            <a:off x="7114476" y="3808799"/>
            <a:ext cx="350548" cy="350548"/>
          </a:xfrm>
          <a:custGeom>
            <a:avLst/>
            <a:gdLst/>
            <a:ahLst/>
            <a:cxnLst/>
            <a:rect l="l" t="t" r="r" b="b"/>
            <a:pathLst>
              <a:path w="11014" h="11014" extrusionOk="0">
                <a:moveTo>
                  <a:pt x="3739" y="358"/>
                </a:moveTo>
                <a:cubicBezTo>
                  <a:pt x="4048" y="358"/>
                  <a:pt x="4298" y="608"/>
                  <a:pt x="4298" y="917"/>
                </a:cubicBezTo>
                <a:cubicBezTo>
                  <a:pt x="4298" y="1131"/>
                  <a:pt x="4203" y="1310"/>
                  <a:pt x="4024" y="1405"/>
                </a:cubicBezTo>
                <a:cubicBezTo>
                  <a:pt x="3953" y="1441"/>
                  <a:pt x="3929" y="1501"/>
                  <a:pt x="3929" y="1560"/>
                </a:cubicBezTo>
                <a:lnTo>
                  <a:pt x="3929" y="1965"/>
                </a:lnTo>
                <a:cubicBezTo>
                  <a:pt x="3929" y="2048"/>
                  <a:pt x="4001" y="2143"/>
                  <a:pt x="4108" y="2143"/>
                </a:cubicBezTo>
                <a:lnTo>
                  <a:pt x="5334" y="2143"/>
                </a:lnTo>
                <a:lnTo>
                  <a:pt x="5334" y="3358"/>
                </a:lnTo>
                <a:cubicBezTo>
                  <a:pt x="5334" y="3453"/>
                  <a:pt x="5406" y="3536"/>
                  <a:pt x="5513" y="3536"/>
                </a:cubicBezTo>
                <a:lnTo>
                  <a:pt x="5906" y="3536"/>
                </a:lnTo>
                <a:cubicBezTo>
                  <a:pt x="5965" y="3536"/>
                  <a:pt x="6025" y="3513"/>
                  <a:pt x="6060" y="3453"/>
                </a:cubicBezTo>
                <a:cubicBezTo>
                  <a:pt x="6168" y="3275"/>
                  <a:pt x="6358" y="3167"/>
                  <a:pt x="6549" y="3167"/>
                </a:cubicBezTo>
                <a:cubicBezTo>
                  <a:pt x="6858" y="3167"/>
                  <a:pt x="7120" y="3417"/>
                  <a:pt x="7120" y="3727"/>
                </a:cubicBezTo>
                <a:cubicBezTo>
                  <a:pt x="7120" y="4048"/>
                  <a:pt x="6858" y="4298"/>
                  <a:pt x="6549" y="4298"/>
                </a:cubicBezTo>
                <a:cubicBezTo>
                  <a:pt x="6346" y="4298"/>
                  <a:pt x="6168" y="4191"/>
                  <a:pt x="6060" y="4013"/>
                </a:cubicBezTo>
                <a:cubicBezTo>
                  <a:pt x="6025" y="3953"/>
                  <a:pt x="5965" y="3929"/>
                  <a:pt x="5906" y="3929"/>
                </a:cubicBezTo>
                <a:lnTo>
                  <a:pt x="5513" y="3929"/>
                </a:lnTo>
                <a:cubicBezTo>
                  <a:pt x="5417" y="3929"/>
                  <a:pt x="5334" y="4001"/>
                  <a:pt x="5334" y="4108"/>
                </a:cubicBezTo>
                <a:lnTo>
                  <a:pt x="5334" y="5322"/>
                </a:lnTo>
                <a:lnTo>
                  <a:pt x="4286" y="5322"/>
                </a:lnTo>
                <a:lnTo>
                  <a:pt x="4286" y="5191"/>
                </a:lnTo>
                <a:cubicBezTo>
                  <a:pt x="4513" y="5013"/>
                  <a:pt x="4655" y="4739"/>
                  <a:pt x="4655" y="4465"/>
                </a:cubicBezTo>
                <a:cubicBezTo>
                  <a:pt x="4655" y="3953"/>
                  <a:pt x="4239" y="3536"/>
                  <a:pt x="3739" y="3536"/>
                </a:cubicBezTo>
                <a:cubicBezTo>
                  <a:pt x="3227" y="3536"/>
                  <a:pt x="2810" y="3953"/>
                  <a:pt x="2810" y="4465"/>
                </a:cubicBezTo>
                <a:cubicBezTo>
                  <a:pt x="2810" y="4739"/>
                  <a:pt x="2953" y="5025"/>
                  <a:pt x="3191" y="5191"/>
                </a:cubicBezTo>
                <a:lnTo>
                  <a:pt x="3191" y="5322"/>
                </a:lnTo>
                <a:lnTo>
                  <a:pt x="2143" y="5322"/>
                </a:lnTo>
                <a:lnTo>
                  <a:pt x="2143" y="2143"/>
                </a:lnTo>
                <a:lnTo>
                  <a:pt x="3370" y="2143"/>
                </a:lnTo>
                <a:cubicBezTo>
                  <a:pt x="3453" y="2143"/>
                  <a:pt x="3548" y="2060"/>
                  <a:pt x="3548" y="1965"/>
                </a:cubicBezTo>
                <a:lnTo>
                  <a:pt x="3548" y="1560"/>
                </a:lnTo>
                <a:cubicBezTo>
                  <a:pt x="3548" y="1501"/>
                  <a:pt x="3512" y="1441"/>
                  <a:pt x="3453" y="1405"/>
                </a:cubicBezTo>
                <a:cubicBezTo>
                  <a:pt x="3274" y="1298"/>
                  <a:pt x="3167" y="1108"/>
                  <a:pt x="3167" y="917"/>
                </a:cubicBezTo>
                <a:cubicBezTo>
                  <a:pt x="3167" y="608"/>
                  <a:pt x="3429" y="358"/>
                  <a:pt x="3739" y="358"/>
                </a:cubicBezTo>
                <a:close/>
                <a:moveTo>
                  <a:pt x="8870" y="5644"/>
                </a:moveTo>
                <a:lnTo>
                  <a:pt x="8870" y="7632"/>
                </a:lnTo>
                <a:lnTo>
                  <a:pt x="8870" y="7858"/>
                </a:lnTo>
                <a:lnTo>
                  <a:pt x="8870" y="8870"/>
                </a:lnTo>
                <a:lnTo>
                  <a:pt x="7656" y="8870"/>
                </a:lnTo>
                <a:cubicBezTo>
                  <a:pt x="7561" y="8870"/>
                  <a:pt x="7477" y="8942"/>
                  <a:pt x="7477" y="9049"/>
                </a:cubicBezTo>
                <a:lnTo>
                  <a:pt x="7477" y="9442"/>
                </a:lnTo>
                <a:cubicBezTo>
                  <a:pt x="7477" y="9502"/>
                  <a:pt x="7501" y="9561"/>
                  <a:pt x="7561" y="9597"/>
                </a:cubicBezTo>
                <a:cubicBezTo>
                  <a:pt x="7739" y="9704"/>
                  <a:pt x="7846" y="9894"/>
                  <a:pt x="7846" y="10085"/>
                </a:cubicBezTo>
                <a:cubicBezTo>
                  <a:pt x="7846" y="10394"/>
                  <a:pt x="7596" y="10656"/>
                  <a:pt x="7275" y="10656"/>
                </a:cubicBezTo>
                <a:cubicBezTo>
                  <a:pt x="6965" y="10656"/>
                  <a:pt x="6715" y="10394"/>
                  <a:pt x="6715" y="10085"/>
                </a:cubicBezTo>
                <a:cubicBezTo>
                  <a:pt x="6715" y="9883"/>
                  <a:pt x="6822" y="9704"/>
                  <a:pt x="7001" y="9597"/>
                </a:cubicBezTo>
                <a:cubicBezTo>
                  <a:pt x="7061" y="9561"/>
                  <a:pt x="7084" y="9502"/>
                  <a:pt x="7084" y="9442"/>
                </a:cubicBezTo>
                <a:lnTo>
                  <a:pt x="7084" y="9049"/>
                </a:lnTo>
                <a:cubicBezTo>
                  <a:pt x="7084" y="8954"/>
                  <a:pt x="7013" y="8870"/>
                  <a:pt x="6906" y="8870"/>
                </a:cubicBezTo>
                <a:lnTo>
                  <a:pt x="5691" y="8870"/>
                </a:lnTo>
                <a:lnTo>
                  <a:pt x="5691" y="7644"/>
                </a:lnTo>
                <a:cubicBezTo>
                  <a:pt x="5691" y="7549"/>
                  <a:pt x="5608" y="7466"/>
                  <a:pt x="5513" y="7466"/>
                </a:cubicBezTo>
                <a:lnTo>
                  <a:pt x="5108" y="7466"/>
                </a:lnTo>
                <a:cubicBezTo>
                  <a:pt x="5048" y="7466"/>
                  <a:pt x="4989" y="7489"/>
                  <a:pt x="4953" y="7549"/>
                </a:cubicBezTo>
                <a:cubicBezTo>
                  <a:pt x="4846" y="7739"/>
                  <a:pt x="4655" y="7835"/>
                  <a:pt x="4465" y="7835"/>
                </a:cubicBezTo>
                <a:cubicBezTo>
                  <a:pt x="4155" y="7835"/>
                  <a:pt x="3905" y="7585"/>
                  <a:pt x="3905" y="7251"/>
                </a:cubicBezTo>
                <a:cubicBezTo>
                  <a:pt x="3905" y="6942"/>
                  <a:pt x="4155" y="6680"/>
                  <a:pt x="4465" y="6680"/>
                </a:cubicBezTo>
                <a:cubicBezTo>
                  <a:pt x="4679" y="6680"/>
                  <a:pt x="4846" y="6787"/>
                  <a:pt x="4953" y="6954"/>
                </a:cubicBezTo>
                <a:cubicBezTo>
                  <a:pt x="4989" y="7013"/>
                  <a:pt x="5048" y="7049"/>
                  <a:pt x="5108" y="7049"/>
                </a:cubicBezTo>
                <a:lnTo>
                  <a:pt x="5513" y="7049"/>
                </a:lnTo>
                <a:cubicBezTo>
                  <a:pt x="5596" y="7049"/>
                  <a:pt x="5691" y="6977"/>
                  <a:pt x="5691" y="6870"/>
                </a:cubicBezTo>
                <a:lnTo>
                  <a:pt x="5691" y="5644"/>
                </a:lnTo>
                <a:lnTo>
                  <a:pt x="6727" y="5644"/>
                </a:lnTo>
                <a:lnTo>
                  <a:pt x="6727" y="5787"/>
                </a:lnTo>
                <a:cubicBezTo>
                  <a:pt x="6501" y="5965"/>
                  <a:pt x="6358" y="6227"/>
                  <a:pt x="6358" y="6513"/>
                </a:cubicBezTo>
                <a:cubicBezTo>
                  <a:pt x="6358" y="7013"/>
                  <a:pt x="6775" y="7430"/>
                  <a:pt x="7275" y="7430"/>
                </a:cubicBezTo>
                <a:cubicBezTo>
                  <a:pt x="7787" y="7430"/>
                  <a:pt x="8204" y="7013"/>
                  <a:pt x="8204" y="6513"/>
                </a:cubicBezTo>
                <a:cubicBezTo>
                  <a:pt x="8204" y="6227"/>
                  <a:pt x="8073" y="5942"/>
                  <a:pt x="7834" y="5787"/>
                </a:cubicBezTo>
                <a:lnTo>
                  <a:pt x="7834" y="5644"/>
                </a:lnTo>
                <a:close/>
                <a:moveTo>
                  <a:pt x="3739" y="0"/>
                </a:moveTo>
                <a:cubicBezTo>
                  <a:pt x="3227" y="0"/>
                  <a:pt x="2810" y="405"/>
                  <a:pt x="2810" y="917"/>
                </a:cubicBezTo>
                <a:cubicBezTo>
                  <a:pt x="2810" y="1203"/>
                  <a:pt x="2941" y="1489"/>
                  <a:pt x="3179" y="1643"/>
                </a:cubicBezTo>
                <a:lnTo>
                  <a:pt x="3179" y="1786"/>
                </a:lnTo>
                <a:lnTo>
                  <a:pt x="1965" y="1786"/>
                </a:lnTo>
                <a:cubicBezTo>
                  <a:pt x="1869" y="1786"/>
                  <a:pt x="1786" y="1858"/>
                  <a:pt x="1786" y="1965"/>
                </a:cubicBezTo>
                <a:lnTo>
                  <a:pt x="1786" y="5501"/>
                </a:lnTo>
                <a:lnTo>
                  <a:pt x="1786" y="6727"/>
                </a:lnTo>
                <a:lnTo>
                  <a:pt x="1655" y="6727"/>
                </a:lnTo>
                <a:cubicBezTo>
                  <a:pt x="1476" y="6501"/>
                  <a:pt x="1203" y="6346"/>
                  <a:pt x="917" y="6346"/>
                </a:cubicBezTo>
                <a:cubicBezTo>
                  <a:pt x="417" y="6346"/>
                  <a:pt x="0" y="6763"/>
                  <a:pt x="0" y="7275"/>
                </a:cubicBezTo>
                <a:cubicBezTo>
                  <a:pt x="0" y="7775"/>
                  <a:pt x="417" y="8192"/>
                  <a:pt x="917" y="8192"/>
                </a:cubicBezTo>
                <a:cubicBezTo>
                  <a:pt x="1203" y="8192"/>
                  <a:pt x="1488" y="8061"/>
                  <a:pt x="1655" y="7823"/>
                </a:cubicBezTo>
                <a:lnTo>
                  <a:pt x="1786" y="7823"/>
                </a:lnTo>
                <a:lnTo>
                  <a:pt x="1786" y="9049"/>
                </a:lnTo>
                <a:cubicBezTo>
                  <a:pt x="1786" y="9132"/>
                  <a:pt x="1857" y="9228"/>
                  <a:pt x="1965" y="9228"/>
                </a:cubicBezTo>
                <a:lnTo>
                  <a:pt x="2584" y="9228"/>
                </a:lnTo>
                <a:cubicBezTo>
                  <a:pt x="2679" y="9228"/>
                  <a:pt x="2762" y="9144"/>
                  <a:pt x="2762" y="9049"/>
                </a:cubicBezTo>
                <a:cubicBezTo>
                  <a:pt x="2762" y="8942"/>
                  <a:pt x="2691" y="8870"/>
                  <a:pt x="2584" y="8870"/>
                </a:cubicBezTo>
                <a:lnTo>
                  <a:pt x="2143" y="8870"/>
                </a:lnTo>
                <a:lnTo>
                  <a:pt x="2143" y="7644"/>
                </a:lnTo>
                <a:cubicBezTo>
                  <a:pt x="2143" y="7561"/>
                  <a:pt x="2072" y="7466"/>
                  <a:pt x="1965" y="7466"/>
                </a:cubicBezTo>
                <a:lnTo>
                  <a:pt x="1560" y="7466"/>
                </a:lnTo>
                <a:cubicBezTo>
                  <a:pt x="1500" y="7466"/>
                  <a:pt x="1441" y="7501"/>
                  <a:pt x="1417" y="7561"/>
                </a:cubicBezTo>
                <a:cubicBezTo>
                  <a:pt x="1310" y="7739"/>
                  <a:pt x="1119" y="7835"/>
                  <a:pt x="917" y="7835"/>
                </a:cubicBezTo>
                <a:cubicBezTo>
                  <a:pt x="607" y="7835"/>
                  <a:pt x="357" y="7585"/>
                  <a:pt x="357" y="7275"/>
                </a:cubicBezTo>
                <a:cubicBezTo>
                  <a:pt x="357" y="6965"/>
                  <a:pt x="607" y="6704"/>
                  <a:pt x="917" y="6704"/>
                </a:cubicBezTo>
                <a:cubicBezTo>
                  <a:pt x="1131" y="6704"/>
                  <a:pt x="1310" y="6811"/>
                  <a:pt x="1417" y="6989"/>
                </a:cubicBezTo>
                <a:cubicBezTo>
                  <a:pt x="1441" y="7049"/>
                  <a:pt x="1500" y="7085"/>
                  <a:pt x="1560" y="7085"/>
                </a:cubicBezTo>
                <a:lnTo>
                  <a:pt x="1965" y="7085"/>
                </a:lnTo>
                <a:cubicBezTo>
                  <a:pt x="2048" y="7085"/>
                  <a:pt x="2143" y="7001"/>
                  <a:pt x="2143" y="6906"/>
                </a:cubicBezTo>
                <a:lnTo>
                  <a:pt x="2143" y="5680"/>
                </a:lnTo>
                <a:lnTo>
                  <a:pt x="3358" y="5680"/>
                </a:lnTo>
                <a:cubicBezTo>
                  <a:pt x="3453" y="5680"/>
                  <a:pt x="3536" y="5608"/>
                  <a:pt x="3536" y="5501"/>
                </a:cubicBezTo>
                <a:lnTo>
                  <a:pt x="3536" y="5096"/>
                </a:lnTo>
                <a:cubicBezTo>
                  <a:pt x="3536" y="5037"/>
                  <a:pt x="3512" y="4977"/>
                  <a:pt x="3453" y="4953"/>
                </a:cubicBezTo>
                <a:cubicBezTo>
                  <a:pt x="3274" y="4846"/>
                  <a:pt x="3167" y="4656"/>
                  <a:pt x="3167" y="4465"/>
                </a:cubicBezTo>
                <a:cubicBezTo>
                  <a:pt x="3167" y="4144"/>
                  <a:pt x="3417" y="3894"/>
                  <a:pt x="3739" y="3894"/>
                </a:cubicBezTo>
                <a:cubicBezTo>
                  <a:pt x="4048" y="3894"/>
                  <a:pt x="4298" y="4144"/>
                  <a:pt x="4298" y="4465"/>
                </a:cubicBezTo>
                <a:cubicBezTo>
                  <a:pt x="4298" y="4668"/>
                  <a:pt x="4191" y="4846"/>
                  <a:pt x="4013" y="4953"/>
                </a:cubicBezTo>
                <a:cubicBezTo>
                  <a:pt x="3953" y="4977"/>
                  <a:pt x="3929" y="5037"/>
                  <a:pt x="3929" y="5096"/>
                </a:cubicBezTo>
                <a:lnTo>
                  <a:pt x="3929" y="5501"/>
                </a:lnTo>
                <a:cubicBezTo>
                  <a:pt x="3929" y="5596"/>
                  <a:pt x="4001" y="5680"/>
                  <a:pt x="4108" y="5680"/>
                </a:cubicBezTo>
                <a:lnTo>
                  <a:pt x="5322" y="5680"/>
                </a:lnTo>
                <a:lnTo>
                  <a:pt x="5322" y="6727"/>
                </a:lnTo>
                <a:lnTo>
                  <a:pt x="5191" y="6727"/>
                </a:lnTo>
                <a:cubicBezTo>
                  <a:pt x="5013" y="6501"/>
                  <a:pt x="4751" y="6346"/>
                  <a:pt x="4465" y="6346"/>
                </a:cubicBezTo>
                <a:cubicBezTo>
                  <a:pt x="3953" y="6346"/>
                  <a:pt x="3536" y="6763"/>
                  <a:pt x="3536" y="7275"/>
                </a:cubicBezTo>
                <a:cubicBezTo>
                  <a:pt x="3536" y="7775"/>
                  <a:pt x="3953" y="8192"/>
                  <a:pt x="4465" y="8192"/>
                </a:cubicBezTo>
                <a:cubicBezTo>
                  <a:pt x="4751" y="8192"/>
                  <a:pt x="5025" y="8061"/>
                  <a:pt x="5191" y="7823"/>
                </a:cubicBezTo>
                <a:lnTo>
                  <a:pt x="5322" y="7823"/>
                </a:lnTo>
                <a:lnTo>
                  <a:pt x="5322" y="8870"/>
                </a:lnTo>
                <a:lnTo>
                  <a:pt x="3120" y="8870"/>
                </a:lnTo>
                <a:cubicBezTo>
                  <a:pt x="3036" y="8870"/>
                  <a:pt x="2941" y="8942"/>
                  <a:pt x="2941" y="9049"/>
                </a:cubicBezTo>
                <a:cubicBezTo>
                  <a:pt x="2941" y="9144"/>
                  <a:pt x="3024" y="9228"/>
                  <a:pt x="3120" y="9228"/>
                </a:cubicBezTo>
                <a:lnTo>
                  <a:pt x="6727" y="9228"/>
                </a:lnTo>
                <a:lnTo>
                  <a:pt x="6727" y="9359"/>
                </a:lnTo>
                <a:cubicBezTo>
                  <a:pt x="6501" y="9537"/>
                  <a:pt x="6358" y="9799"/>
                  <a:pt x="6358" y="10085"/>
                </a:cubicBezTo>
                <a:cubicBezTo>
                  <a:pt x="6358" y="10597"/>
                  <a:pt x="6775" y="11014"/>
                  <a:pt x="7275" y="11014"/>
                </a:cubicBezTo>
                <a:cubicBezTo>
                  <a:pt x="7787" y="11014"/>
                  <a:pt x="8204" y="10597"/>
                  <a:pt x="8204" y="10085"/>
                </a:cubicBezTo>
                <a:cubicBezTo>
                  <a:pt x="8204" y="9799"/>
                  <a:pt x="8061" y="9525"/>
                  <a:pt x="7823" y="9359"/>
                </a:cubicBezTo>
                <a:lnTo>
                  <a:pt x="7823" y="9228"/>
                </a:lnTo>
                <a:lnTo>
                  <a:pt x="9049" y="9228"/>
                </a:lnTo>
                <a:cubicBezTo>
                  <a:pt x="9132" y="9228"/>
                  <a:pt x="9227" y="9144"/>
                  <a:pt x="9227" y="9049"/>
                </a:cubicBezTo>
                <a:lnTo>
                  <a:pt x="9227" y="7858"/>
                </a:lnTo>
                <a:lnTo>
                  <a:pt x="9227" y="7632"/>
                </a:lnTo>
                <a:lnTo>
                  <a:pt x="9227" y="5501"/>
                </a:lnTo>
                <a:lnTo>
                  <a:pt x="9227" y="4287"/>
                </a:lnTo>
                <a:lnTo>
                  <a:pt x="9358" y="4287"/>
                </a:lnTo>
                <a:cubicBezTo>
                  <a:pt x="9537" y="4501"/>
                  <a:pt x="9811" y="4656"/>
                  <a:pt x="10097" y="4656"/>
                </a:cubicBezTo>
                <a:cubicBezTo>
                  <a:pt x="10597" y="4656"/>
                  <a:pt x="11013" y="4239"/>
                  <a:pt x="11013" y="3727"/>
                </a:cubicBezTo>
                <a:cubicBezTo>
                  <a:pt x="11013" y="3227"/>
                  <a:pt x="10597" y="2810"/>
                  <a:pt x="10097" y="2810"/>
                </a:cubicBezTo>
                <a:cubicBezTo>
                  <a:pt x="9811" y="2810"/>
                  <a:pt x="9525" y="2941"/>
                  <a:pt x="9358" y="3179"/>
                </a:cubicBezTo>
                <a:lnTo>
                  <a:pt x="9227" y="3179"/>
                </a:lnTo>
                <a:lnTo>
                  <a:pt x="9227" y="1965"/>
                </a:lnTo>
                <a:cubicBezTo>
                  <a:pt x="9227" y="1870"/>
                  <a:pt x="9156" y="1786"/>
                  <a:pt x="9049" y="1786"/>
                </a:cubicBezTo>
                <a:lnTo>
                  <a:pt x="8465" y="1786"/>
                </a:lnTo>
                <a:cubicBezTo>
                  <a:pt x="8382" y="1786"/>
                  <a:pt x="8287" y="1858"/>
                  <a:pt x="8287" y="1965"/>
                </a:cubicBezTo>
                <a:cubicBezTo>
                  <a:pt x="8287" y="2048"/>
                  <a:pt x="8358" y="2143"/>
                  <a:pt x="8465" y="2143"/>
                </a:cubicBezTo>
                <a:lnTo>
                  <a:pt x="8870" y="2143"/>
                </a:lnTo>
                <a:lnTo>
                  <a:pt x="8870" y="3358"/>
                </a:lnTo>
                <a:cubicBezTo>
                  <a:pt x="8870" y="3453"/>
                  <a:pt x="8942" y="3536"/>
                  <a:pt x="9049" y="3536"/>
                </a:cubicBezTo>
                <a:lnTo>
                  <a:pt x="9454" y="3536"/>
                </a:lnTo>
                <a:cubicBezTo>
                  <a:pt x="9513" y="3536"/>
                  <a:pt x="9573" y="3513"/>
                  <a:pt x="9597" y="3453"/>
                </a:cubicBezTo>
                <a:cubicBezTo>
                  <a:pt x="9704" y="3275"/>
                  <a:pt x="9894" y="3167"/>
                  <a:pt x="10085" y="3167"/>
                </a:cubicBezTo>
                <a:cubicBezTo>
                  <a:pt x="10406" y="3167"/>
                  <a:pt x="10656" y="3417"/>
                  <a:pt x="10656" y="3727"/>
                </a:cubicBezTo>
                <a:cubicBezTo>
                  <a:pt x="10656" y="4048"/>
                  <a:pt x="10406" y="4298"/>
                  <a:pt x="10085" y="4298"/>
                </a:cubicBezTo>
                <a:cubicBezTo>
                  <a:pt x="9882" y="4298"/>
                  <a:pt x="9704" y="4191"/>
                  <a:pt x="9597" y="4013"/>
                </a:cubicBezTo>
                <a:cubicBezTo>
                  <a:pt x="9573" y="3953"/>
                  <a:pt x="9513" y="3929"/>
                  <a:pt x="9454" y="3929"/>
                </a:cubicBezTo>
                <a:lnTo>
                  <a:pt x="9049" y="3929"/>
                </a:lnTo>
                <a:cubicBezTo>
                  <a:pt x="8966" y="3929"/>
                  <a:pt x="8870" y="4001"/>
                  <a:pt x="8870" y="4108"/>
                </a:cubicBezTo>
                <a:lnTo>
                  <a:pt x="8870" y="5322"/>
                </a:lnTo>
                <a:lnTo>
                  <a:pt x="7644" y="5322"/>
                </a:lnTo>
                <a:cubicBezTo>
                  <a:pt x="7561" y="5322"/>
                  <a:pt x="7465" y="5394"/>
                  <a:pt x="7465" y="5501"/>
                </a:cubicBezTo>
                <a:lnTo>
                  <a:pt x="7465" y="5906"/>
                </a:lnTo>
                <a:cubicBezTo>
                  <a:pt x="7465" y="5965"/>
                  <a:pt x="7501" y="6025"/>
                  <a:pt x="7561" y="6049"/>
                </a:cubicBezTo>
                <a:cubicBezTo>
                  <a:pt x="7739" y="6156"/>
                  <a:pt x="7846" y="6346"/>
                  <a:pt x="7846" y="6549"/>
                </a:cubicBezTo>
                <a:cubicBezTo>
                  <a:pt x="7846" y="6858"/>
                  <a:pt x="7584" y="7108"/>
                  <a:pt x="7275" y="7108"/>
                </a:cubicBezTo>
                <a:cubicBezTo>
                  <a:pt x="6965" y="7108"/>
                  <a:pt x="6715" y="6858"/>
                  <a:pt x="6715" y="6549"/>
                </a:cubicBezTo>
                <a:cubicBezTo>
                  <a:pt x="6715" y="6334"/>
                  <a:pt x="6810" y="6156"/>
                  <a:pt x="7001" y="6049"/>
                </a:cubicBezTo>
                <a:cubicBezTo>
                  <a:pt x="7061" y="6025"/>
                  <a:pt x="7084" y="5965"/>
                  <a:pt x="7084" y="5906"/>
                </a:cubicBezTo>
                <a:lnTo>
                  <a:pt x="7084" y="5501"/>
                </a:lnTo>
                <a:cubicBezTo>
                  <a:pt x="7084" y="5418"/>
                  <a:pt x="7013" y="5322"/>
                  <a:pt x="6906" y="5322"/>
                </a:cubicBezTo>
                <a:lnTo>
                  <a:pt x="5679" y="5322"/>
                </a:lnTo>
                <a:lnTo>
                  <a:pt x="5679" y="4287"/>
                </a:lnTo>
                <a:lnTo>
                  <a:pt x="5822" y="4287"/>
                </a:lnTo>
                <a:cubicBezTo>
                  <a:pt x="6001" y="4501"/>
                  <a:pt x="6263" y="4656"/>
                  <a:pt x="6549" y="4656"/>
                </a:cubicBezTo>
                <a:cubicBezTo>
                  <a:pt x="7061" y="4656"/>
                  <a:pt x="7477" y="4239"/>
                  <a:pt x="7477" y="3727"/>
                </a:cubicBezTo>
                <a:cubicBezTo>
                  <a:pt x="7477" y="3227"/>
                  <a:pt x="7061" y="2810"/>
                  <a:pt x="6549" y="2810"/>
                </a:cubicBezTo>
                <a:cubicBezTo>
                  <a:pt x="6263" y="2810"/>
                  <a:pt x="5989" y="2941"/>
                  <a:pt x="5822" y="3179"/>
                </a:cubicBezTo>
                <a:lnTo>
                  <a:pt x="5679" y="3179"/>
                </a:lnTo>
                <a:lnTo>
                  <a:pt x="5679" y="2143"/>
                </a:lnTo>
                <a:lnTo>
                  <a:pt x="7882" y="2143"/>
                </a:lnTo>
                <a:cubicBezTo>
                  <a:pt x="7977" y="2143"/>
                  <a:pt x="8061" y="2060"/>
                  <a:pt x="8061" y="1965"/>
                </a:cubicBezTo>
                <a:cubicBezTo>
                  <a:pt x="8061" y="1870"/>
                  <a:pt x="7989" y="1786"/>
                  <a:pt x="7882" y="1786"/>
                </a:cubicBezTo>
                <a:lnTo>
                  <a:pt x="4286" y="1786"/>
                </a:lnTo>
                <a:lnTo>
                  <a:pt x="4286" y="1643"/>
                </a:lnTo>
                <a:cubicBezTo>
                  <a:pt x="4513" y="1465"/>
                  <a:pt x="4655" y="1203"/>
                  <a:pt x="4655" y="917"/>
                </a:cubicBezTo>
                <a:cubicBezTo>
                  <a:pt x="4655" y="417"/>
                  <a:pt x="4239" y="0"/>
                  <a:pt x="3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73" name="Google Shape;11373;p60"/>
          <p:cNvGrpSpPr/>
          <p:nvPr/>
        </p:nvGrpSpPr>
        <p:grpSpPr>
          <a:xfrm>
            <a:off x="6659725" y="3808035"/>
            <a:ext cx="367608" cy="350548"/>
            <a:chOff x="6659725" y="3808035"/>
            <a:chExt cx="367608" cy="350548"/>
          </a:xfrm>
        </p:grpSpPr>
        <p:sp>
          <p:nvSpPr>
            <p:cNvPr id="11374" name="Google Shape;11374;p60"/>
            <p:cNvSpPr/>
            <p:nvPr/>
          </p:nvSpPr>
          <p:spPr>
            <a:xfrm>
              <a:off x="6659725" y="3845942"/>
              <a:ext cx="321394" cy="312642"/>
            </a:xfrm>
            <a:custGeom>
              <a:avLst/>
              <a:gdLst/>
              <a:ahLst/>
              <a:cxnLst/>
              <a:rect l="l" t="t" r="r" b="b"/>
              <a:pathLst>
                <a:path w="10098" h="9823" extrusionOk="0">
                  <a:moveTo>
                    <a:pt x="8740" y="0"/>
                  </a:moveTo>
                  <a:cubicBezTo>
                    <a:pt x="8383" y="0"/>
                    <a:pt x="8037" y="131"/>
                    <a:pt x="7787" y="405"/>
                  </a:cubicBezTo>
                  <a:lnTo>
                    <a:pt x="6847" y="1346"/>
                  </a:lnTo>
                  <a:cubicBezTo>
                    <a:pt x="6775" y="1417"/>
                    <a:pt x="6775" y="1524"/>
                    <a:pt x="6847" y="1596"/>
                  </a:cubicBezTo>
                  <a:cubicBezTo>
                    <a:pt x="6882" y="1631"/>
                    <a:pt x="6927" y="1649"/>
                    <a:pt x="6972" y="1649"/>
                  </a:cubicBezTo>
                  <a:cubicBezTo>
                    <a:pt x="7016" y="1649"/>
                    <a:pt x="7061" y="1631"/>
                    <a:pt x="7097" y="1596"/>
                  </a:cubicBezTo>
                  <a:lnTo>
                    <a:pt x="8037" y="655"/>
                  </a:lnTo>
                  <a:cubicBezTo>
                    <a:pt x="8228" y="464"/>
                    <a:pt x="8466" y="357"/>
                    <a:pt x="8740" y="357"/>
                  </a:cubicBezTo>
                  <a:cubicBezTo>
                    <a:pt x="9002" y="357"/>
                    <a:pt x="9264" y="464"/>
                    <a:pt x="9442" y="655"/>
                  </a:cubicBezTo>
                  <a:cubicBezTo>
                    <a:pt x="9633" y="857"/>
                    <a:pt x="9740" y="1096"/>
                    <a:pt x="9740" y="1357"/>
                  </a:cubicBezTo>
                  <a:cubicBezTo>
                    <a:pt x="9740" y="1631"/>
                    <a:pt x="9633" y="1881"/>
                    <a:pt x="9442" y="2060"/>
                  </a:cubicBezTo>
                  <a:lnTo>
                    <a:pt x="8156" y="3334"/>
                  </a:lnTo>
                  <a:cubicBezTo>
                    <a:pt x="8025" y="3024"/>
                    <a:pt x="7847" y="2739"/>
                    <a:pt x="7597" y="2489"/>
                  </a:cubicBezTo>
                  <a:cubicBezTo>
                    <a:pt x="7097" y="1988"/>
                    <a:pt x="6436" y="1738"/>
                    <a:pt x="5777" y="1738"/>
                  </a:cubicBezTo>
                  <a:cubicBezTo>
                    <a:pt x="5117" y="1738"/>
                    <a:pt x="4459" y="1988"/>
                    <a:pt x="3965" y="2489"/>
                  </a:cubicBezTo>
                  <a:lnTo>
                    <a:pt x="1001" y="5453"/>
                  </a:lnTo>
                  <a:cubicBezTo>
                    <a:pt x="1" y="6453"/>
                    <a:pt x="1" y="8084"/>
                    <a:pt x="1001" y="9085"/>
                  </a:cubicBezTo>
                  <a:cubicBezTo>
                    <a:pt x="1501" y="9585"/>
                    <a:pt x="2156" y="9823"/>
                    <a:pt x="2810" y="9823"/>
                  </a:cubicBezTo>
                  <a:cubicBezTo>
                    <a:pt x="3465" y="9823"/>
                    <a:pt x="4120" y="9573"/>
                    <a:pt x="4632" y="9085"/>
                  </a:cubicBezTo>
                  <a:lnTo>
                    <a:pt x="6204" y="7501"/>
                  </a:lnTo>
                  <a:cubicBezTo>
                    <a:pt x="6287" y="7430"/>
                    <a:pt x="6287" y="7322"/>
                    <a:pt x="6204" y="7251"/>
                  </a:cubicBezTo>
                  <a:cubicBezTo>
                    <a:pt x="6176" y="7242"/>
                    <a:pt x="6143" y="7236"/>
                    <a:pt x="6109" y="7236"/>
                  </a:cubicBezTo>
                  <a:cubicBezTo>
                    <a:pt x="6055" y="7236"/>
                    <a:pt x="5997" y="7250"/>
                    <a:pt x="5954" y="7287"/>
                  </a:cubicBezTo>
                  <a:lnTo>
                    <a:pt x="4382" y="8858"/>
                  </a:lnTo>
                  <a:cubicBezTo>
                    <a:pt x="3965" y="9275"/>
                    <a:pt x="3406" y="9513"/>
                    <a:pt x="2810" y="9513"/>
                  </a:cubicBezTo>
                  <a:cubicBezTo>
                    <a:pt x="2215" y="9513"/>
                    <a:pt x="1667" y="9287"/>
                    <a:pt x="1251" y="8858"/>
                  </a:cubicBezTo>
                  <a:cubicBezTo>
                    <a:pt x="394" y="8001"/>
                    <a:pt x="394" y="6596"/>
                    <a:pt x="1251" y="5739"/>
                  </a:cubicBezTo>
                  <a:lnTo>
                    <a:pt x="4215" y="2774"/>
                  </a:lnTo>
                  <a:cubicBezTo>
                    <a:pt x="4632" y="2358"/>
                    <a:pt x="5180" y="2119"/>
                    <a:pt x="5775" y="2119"/>
                  </a:cubicBezTo>
                  <a:cubicBezTo>
                    <a:pt x="6370" y="2119"/>
                    <a:pt x="6918" y="2346"/>
                    <a:pt x="7335" y="2774"/>
                  </a:cubicBezTo>
                  <a:cubicBezTo>
                    <a:pt x="7573" y="3012"/>
                    <a:pt x="7775" y="3310"/>
                    <a:pt x="7871" y="3632"/>
                  </a:cubicBezTo>
                  <a:lnTo>
                    <a:pt x="6478" y="5036"/>
                  </a:lnTo>
                  <a:cubicBezTo>
                    <a:pt x="6287" y="5227"/>
                    <a:pt x="6049" y="5334"/>
                    <a:pt x="5775" y="5334"/>
                  </a:cubicBezTo>
                  <a:cubicBezTo>
                    <a:pt x="5513" y="5334"/>
                    <a:pt x="5251" y="5227"/>
                    <a:pt x="5073" y="5036"/>
                  </a:cubicBezTo>
                  <a:cubicBezTo>
                    <a:pt x="4989" y="4941"/>
                    <a:pt x="4918" y="4822"/>
                    <a:pt x="4858" y="4703"/>
                  </a:cubicBezTo>
                  <a:cubicBezTo>
                    <a:pt x="4829" y="4634"/>
                    <a:pt x="4751" y="4590"/>
                    <a:pt x="4677" y="4590"/>
                  </a:cubicBezTo>
                  <a:cubicBezTo>
                    <a:pt x="4662" y="4590"/>
                    <a:pt x="4647" y="4592"/>
                    <a:pt x="4632" y="4596"/>
                  </a:cubicBezTo>
                  <a:cubicBezTo>
                    <a:pt x="4537" y="4632"/>
                    <a:pt x="4501" y="4739"/>
                    <a:pt x="4525" y="4822"/>
                  </a:cubicBezTo>
                  <a:cubicBezTo>
                    <a:pt x="4596" y="4989"/>
                    <a:pt x="4692" y="5132"/>
                    <a:pt x="4823" y="5275"/>
                  </a:cubicBezTo>
                  <a:cubicBezTo>
                    <a:pt x="5073" y="5525"/>
                    <a:pt x="5418" y="5679"/>
                    <a:pt x="5775" y="5679"/>
                  </a:cubicBezTo>
                  <a:cubicBezTo>
                    <a:pt x="6132" y="5679"/>
                    <a:pt x="6478" y="5537"/>
                    <a:pt x="6728" y="5275"/>
                  </a:cubicBezTo>
                  <a:lnTo>
                    <a:pt x="9692" y="2310"/>
                  </a:lnTo>
                  <a:cubicBezTo>
                    <a:pt x="9942" y="2060"/>
                    <a:pt x="10097" y="1715"/>
                    <a:pt x="10097" y="1357"/>
                  </a:cubicBezTo>
                  <a:cubicBezTo>
                    <a:pt x="10097" y="1000"/>
                    <a:pt x="9954" y="655"/>
                    <a:pt x="9692" y="405"/>
                  </a:cubicBezTo>
                  <a:cubicBezTo>
                    <a:pt x="9442" y="155"/>
                    <a:pt x="9097" y="0"/>
                    <a:pt x="8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5" name="Google Shape;11375;p60"/>
            <p:cNvSpPr/>
            <p:nvPr/>
          </p:nvSpPr>
          <p:spPr>
            <a:xfrm>
              <a:off x="6705588" y="3808035"/>
              <a:ext cx="321744" cy="313787"/>
            </a:xfrm>
            <a:custGeom>
              <a:avLst/>
              <a:gdLst/>
              <a:ahLst/>
              <a:cxnLst/>
              <a:rect l="l" t="t" r="r" b="b"/>
              <a:pathLst>
                <a:path w="10109" h="9859" extrusionOk="0">
                  <a:moveTo>
                    <a:pt x="7281" y="1"/>
                  </a:moveTo>
                  <a:cubicBezTo>
                    <a:pt x="6623" y="1"/>
                    <a:pt x="5965" y="251"/>
                    <a:pt x="5465" y="751"/>
                  </a:cubicBezTo>
                  <a:lnTo>
                    <a:pt x="3894" y="2322"/>
                  </a:lnTo>
                  <a:cubicBezTo>
                    <a:pt x="3810" y="2406"/>
                    <a:pt x="3810" y="2501"/>
                    <a:pt x="3894" y="2584"/>
                  </a:cubicBezTo>
                  <a:cubicBezTo>
                    <a:pt x="3929" y="2620"/>
                    <a:pt x="3974" y="2638"/>
                    <a:pt x="4019" y="2638"/>
                  </a:cubicBezTo>
                  <a:cubicBezTo>
                    <a:pt x="4063" y="2638"/>
                    <a:pt x="4108" y="2620"/>
                    <a:pt x="4144" y="2584"/>
                  </a:cubicBezTo>
                  <a:lnTo>
                    <a:pt x="5715" y="1001"/>
                  </a:lnTo>
                  <a:cubicBezTo>
                    <a:pt x="6150" y="572"/>
                    <a:pt x="6715" y="358"/>
                    <a:pt x="7281" y="358"/>
                  </a:cubicBezTo>
                  <a:cubicBezTo>
                    <a:pt x="7846" y="358"/>
                    <a:pt x="8412" y="572"/>
                    <a:pt x="8847" y="1001"/>
                  </a:cubicBezTo>
                  <a:cubicBezTo>
                    <a:pt x="9704" y="1870"/>
                    <a:pt x="9704" y="3263"/>
                    <a:pt x="8847" y="4132"/>
                  </a:cubicBezTo>
                  <a:lnTo>
                    <a:pt x="5882" y="7085"/>
                  </a:lnTo>
                  <a:cubicBezTo>
                    <a:pt x="5465" y="7501"/>
                    <a:pt x="4918" y="7740"/>
                    <a:pt x="4322" y="7740"/>
                  </a:cubicBezTo>
                  <a:cubicBezTo>
                    <a:pt x="3727" y="7740"/>
                    <a:pt x="3179" y="7525"/>
                    <a:pt x="2763" y="7085"/>
                  </a:cubicBezTo>
                  <a:cubicBezTo>
                    <a:pt x="2524" y="6847"/>
                    <a:pt x="2322" y="6549"/>
                    <a:pt x="2227" y="6227"/>
                  </a:cubicBezTo>
                  <a:lnTo>
                    <a:pt x="3620" y="4823"/>
                  </a:lnTo>
                  <a:cubicBezTo>
                    <a:pt x="3810" y="4632"/>
                    <a:pt x="4048" y="4525"/>
                    <a:pt x="4322" y="4525"/>
                  </a:cubicBezTo>
                  <a:cubicBezTo>
                    <a:pt x="4584" y="4525"/>
                    <a:pt x="4846" y="4632"/>
                    <a:pt x="5025" y="4823"/>
                  </a:cubicBezTo>
                  <a:cubicBezTo>
                    <a:pt x="5108" y="4918"/>
                    <a:pt x="5179" y="5037"/>
                    <a:pt x="5239" y="5156"/>
                  </a:cubicBezTo>
                  <a:cubicBezTo>
                    <a:pt x="5269" y="5225"/>
                    <a:pt x="5347" y="5269"/>
                    <a:pt x="5420" y="5269"/>
                  </a:cubicBezTo>
                  <a:cubicBezTo>
                    <a:pt x="5435" y="5269"/>
                    <a:pt x="5451" y="5267"/>
                    <a:pt x="5465" y="5263"/>
                  </a:cubicBezTo>
                  <a:cubicBezTo>
                    <a:pt x="5560" y="5227"/>
                    <a:pt x="5596" y="5120"/>
                    <a:pt x="5572" y="5037"/>
                  </a:cubicBezTo>
                  <a:cubicBezTo>
                    <a:pt x="5501" y="4870"/>
                    <a:pt x="5406" y="4727"/>
                    <a:pt x="5275" y="4584"/>
                  </a:cubicBezTo>
                  <a:cubicBezTo>
                    <a:pt x="5025" y="4334"/>
                    <a:pt x="4679" y="4192"/>
                    <a:pt x="4322" y="4192"/>
                  </a:cubicBezTo>
                  <a:cubicBezTo>
                    <a:pt x="3965" y="4192"/>
                    <a:pt x="3620" y="4322"/>
                    <a:pt x="3370" y="4584"/>
                  </a:cubicBezTo>
                  <a:lnTo>
                    <a:pt x="1929" y="6037"/>
                  </a:lnTo>
                  <a:cubicBezTo>
                    <a:pt x="1893" y="6049"/>
                    <a:pt x="1881" y="6061"/>
                    <a:pt x="1870" y="6097"/>
                  </a:cubicBezTo>
                  <a:lnTo>
                    <a:pt x="405" y="7549"/>
                  </a:lnTo>
                  <a:cubicBezTo>
                    <a:pt x="155" y="7799"/>
                    <a:pt x="0" y="8144"/>
                    <a:pt x="0" y="8502"/>
                  </a:cubicBezTo>
                  <a:cubicBezTo>
                    <a:pt x="0" y="8859"/>
                    <a:pt x="143" y="9204"/>
                    <a:pt x="405" y="9454"/>
                  </a:cubicBezTo>
                  <a:cubicBezTo>
                    <a:pt x="655" y="9704"/>
                    <a:pt x="1000" y="9859"/>
                    <a:pt x="1358" y="9859"/>
                  </a:cubicBezTo>
                  <a:cubicBezTo>
                    <a:pt x="1715" y="9859"/>
                    <a:pt x="2060" y="9728"/>
                    <a:pt x="2310" y="9454"/>
                  </a:cubicBezTo>
                  <a:lnTo>
                    <a:pt x="3251" y="8513"/>
                  </a:lnTo>
                  <a:cubicBezTo>
                    <a:pt x="3322" y="8442"/>
                    <a:pt x="3322" y="8335"/>
                    <a:pt x="3251" y="8263"/>
                  </a:cubicBezTo>
                  <a:cubicBezTo>
                    <a:pt x="3215" y="8228"/>
                    <a:pt x="3170" y="8210"/>
                    <a:pt x="3126" y="8210"/>
                  </a:cubicBezTo>
                  <a:cubicBezTo>
                    <a:pt x="3081" y="8210"/>
                    <a:pt x="3036" y="8228"/>
                    <a:pt x="3001" y="8263"/>
                  </a:cubicBezTo>
                  <a:lnTo>
                    <a:pt x="2060" y="9204"/>
                  </a:lnTo>
                  <a:cubicBezTo>
                    <a:pt x="1870" y="9395"/>
                    <a:pt x="1631" y="9502"/>
                    <a:pt x="1358" y="9502"/>
                  </a:cubicBezTo>
                  <a:cubicBezTo>
                    <a:pt x="1096" y="9502"/>
                    <a:pt x="834" y="9395"/>
                    <a:pt x="655" y="9204"/>
                  </a:cubicBezTo>
                  <a:cubicBezTo>
                    <a:pt x="465" y="9014"/>
                    <a:pt x="357" y="8775"/>
                    <a:pt x="357" y="8502"/>
                  </a:cubicBezTo>
                  <a:cubicBezTo>
                    <a:pt x="357" y="8240"/>
                    <a:pt x="465" y="7978"/>
                    <a:pt x="655" y="7799"/>
                  </a:cubicBezTo>
                  <a:lnTo>
                    <a:pt x="1941" y="6525"/>
                  </a:lnTo>
                  <a:cubicBezTo>
                    <a:pt x="2072" y="6835"/>
                    <a:pt x="2251" y="7120"/>
                    <a:pt x="2501" y="7370"/>
                  </a:cubicBezTo>
                  <a:cubicBezTo>
                    <a:pt x="2989" y="7859"/>
                    <a:pt x="3632" y="8132"/>
                    <a:pt x="4322" y="8132"/>
                  </a:cubicBezTo>
                  <a:cubicBezTo>
                    <a:pt x="5001" y="8132"/>
                    <a:pt x="5644" y="7859"/>
                    <a:pt x="6132" y="7370"/>
                  </a:cubicBezTo>
                  <a:lnTo>
                    <a:pt x="9097" y="4406"/>
                  </a:lnTo>
                  <a:cubicBezTo>
                    <a:pt x="10109" y="3382"/>
                    <a:pt x="10109" y="1751"/>
                    <a:pt x="9097" y="751"/>
                  </a:cubicBezTo>
                  <a:cubicBezTo>
                    <a:pt x="8597" y="251"/>
                    <a:pt x="7939" y="1"/>
                    <a:pt x="7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76" name="Google Shape;11376;p60"/>
          <p:cNvGrpSpPr/>
          <p:nvPr/>
        </p:nvGrpSpPr>
        <p:grpSpPr>
          <a:xfrm>
            <a:off x="6219391" y="3816756"/>
            <a:ext cx="356627" cy="334252"/>
            <a:chOff x="6219391" y="3816756"/>
            <a:chExt cx="356627" cy="334252"/>
          </a:xfrm>
        </p:grpSpPr>
        <p:sp>
          <p:nvSpPr>
            <p:cNvPr id="11377" name="Google Shape;11377;p60"/>
            <p:cNvSpPr/>
            <p:nvPr/>
          </p:nvSpPr>
          <p:spPr>
            <a:xfrm>
              <a:off x="6219391" y="3816756"/>
              <a:ext cx="306594" cy="334252"/>
            </a:xfrm>
            <a:custGeom>
              <a:avLst/>
              <a:gdLst/>
              <a:ahLst/>
              <a:cxnLst/>
              <a:rect l="l" t="t" r="r" b="b"/>
              <a:pathLst>
                <a:path w="9633" h="10502" extrusionOk="0">
                  <a:moveTo>
                    <a:pt x="8394" y="4179"/>
                  </a:moveTo>
                  <a:cubicBezTo>
                    <a:pt x="8906" y="4251"/>
                    <a:pt x="9299" y="4703"/>
                    <a:pt x="9299" y="5239"/>
                  </a:cubicBezTo>
                  <a:cubicBezTo>
                    <a:pt x="9299" y="5775"/>
                    <a:pt x="8906" y="6215"/>
                    <a:pt x="8394" y="6299"/>
                  </a:cubicBezTo>
                  <a:lnTo>
                    <a:pt x="8394" y="4179"/>
                  </a:lnTo>
                  <a:close/>
                  <a:moveTo>
                    <a:pt x="1203" y="4013"/>
                  </a:moveTo>
                  <a:lnTo>
                    <a:pt x="1203" y="6489"/>
                  </a:lnTo>
                  <a:lnTo>
                    <a:pt x="846" y="6489"/>
                  </a:lnTo>
                  <a:cubicBezTo>
                    <a:pt x="548" y="6489"/>
                    <a:pt x="310" y="6251"/>
                    <a:pt x="310" y="5953"/>
                  </a:cubicBezTo>
                  <a:lnTo>
                    <a:pt x="310" y="4549"/>
                  </a:lnTo>
                  <a:cubicBezTo>
                    <a:pt x="310" y="4251"/>
                    <a:pt x="548" y="4013"/>
                    <a:pt x="846" y="4013"/>
                  </a:cubicBezTo>
                  <a:close/>
                  <a:moveTo>
                    <a:pt x="2596" y="4001"/>
                  </a:moveTo>
                  <a:lnTo>
                    <a:pt x="2596" y="6489"/>
                  </a:lnTo>
                  <a:lnTo>
                    <a:pt x="1525" y="6489"/>
                  </a:lnTo>
                  <a:lnTo>
                    <a:pt x="1525" y="4001"/>
                  </a:lnTo>
                  <a:close/>
                  <a:moveTo>
                    <a:pt x="2799" y="7692"/>
                  </a:moveTo>
                  <a:lnTo>
                    <a:pt x="2799" y="8418"/>
                  </a:lnTo>
                  <a:lnTo>
                    <a:pt x="2477" y="8418"/>
                  </a:lnTo>
                  <a:lnTo>
                    <a:pt x="2679" y="7692"/>
                  </a:lnTo>
                  <a:close/>
                  <a:moveTo>
                    <a:pt x="2560" y="6811"/>
                  </a:moveTo>
                  <a:lnTo>
                    <a:pt x="1941" y="9121"/>
                  </a:lnTo>
                  <a:lnTo>
                    <a:pt x="1525" y="9121"/>
                  </a:lnTo>
                  <a:lnTo>
                    <a:pt x="1525" y="6811"/>
                  </a:lnTo>
                  <a:close/>
                  <a:moveTo>
                    <a:pt x="8061" y="310"/>
                  </a:moveTo>
                  <a:lnTo>
                    <a:pt x="8061" y="10180"/>
                  </a:lnTo>
                  <a:lnTo>
                    <a:pt x="7335" y="10180"/>
                  </a:lnTo>
                  <a:lnTo>
                    <a:pt x="7335" y="3227"/>
                  </a:lnTo>
                  <a:cubicBezTo>
                    <a:pt x="7335" y="3132"/>
                    <a:pt x="7251" y="3060"/>
                    <a:pt x="7168" y="3060"/>
                  </a:cubicBezTo>
                  <a:cubicBezTo>
                    <a:pt x="7085" y="3060"/>
                    <a:pt x="7001" y="3132"/>
                    <a:pt x="7001" y="3227"/>
                  </a:cubicBezTo>
                  <a:lnTo>
                    <a:pt x="7001" y="9085"/>
                  </a:lnTo>
                  <a:cubicBezTo>
                    <a:pt x="6799" y="8811"/>
                    <a:pt x="6489" y="8406"/>
                    <a:pt x="6085" y="8013"/>
                  </a:cubicBezTo>
                  <a:cubicBezTo>
                    <a:pt x="5620" y="7573"/>
                    <a:pt x="5144" y="7216"/>
                    <a:pt x="4656" y="6966"/>
                  </a:cubicBezTo>
                  <a:cubicBezTo>
                    <a:pt x="4084" y="6668"/>
                    <a:pt x="3525" y="6501"/>
                    <a:pt x="2941" y="6489"/>
                  </a:cubicBezTo>
                  <a:lnTo>
                    <a:pt x="2941" y="4001"/>
                  </a:lnTo>
                  <a:cubicBezTo>
                    <a:pt x="3525" y="3965"/>
                    <a:pt x="4084" y="3810"/>
                    <a:pt x="4656" y="3525"/>
                  </a:cubicBezTo>
                  <a:cubicBezTo>
                    <a:pt x="5144" y="3275"/>
                    <a:pt x="5620" y="2917"/>
                    <a:pt x="6085" y="2465"/>
                  </a:cubicBezTo>
                  <a:cubicBezTo>
                    <a:pt x="6489" y="2084"/>
                    <a:pt x="6799" y="1679"/>
                    <a:pt x="7001" y="1393"/>
                  </a:cubicBezTo>
                  <a:lnTo>
                    <a:pt x="7001" y="2441"/>
                  </a:lnTo>
                  <a:cubicBezTo>
                    <a:pt x="7001" y="2524"/>
                    <a:pt x="7085" y="2596"/>
                    <a:pt x="7168" y="2596"/>
                  </a:cubicBezTo>
                  <a:cubicBezTo>
                    <a:pt x="7251" y="2596"/>
                    <a:pt x="7335" y="2524"/>
                    <a:pt x="7335" y="2441"/>
                  </a:cubicBezTo>
                  <a:lnTo>
                    <a:pt x="7335" y="310"/>
                  </a:lnTo>
                  <a:close/>
                  <a:moveTo>
                    <a:pt x="7168" y="0"/>
                  </a:moveTo>
                  <a:cubicBezTo>
                    <a:pt x="7085" y="0"/>
                    <a:pt x="7001" y="72"/>
                    <a:pt x="7001" y="167"/>
                  </a:cubicBezTo>
                  <a:lnTo>
                    <a:pt x="7001" y="822"/>
                  </a:lnTo>
                  <a:cubicBezTo>
                    <a:pt x="6906" y="977"/>
                    <a:pt x="6489" y="1620"/>
                    <a:pt x="5847" y="2251"/>
                  </a:cubicBezTo>
                  <a:cubicBezTo>
                    <a:pt x="5156" y="2905"/>
                    <a:pt x="4084" y="3691"/>
                    <a:pt x="2775" y="3691"/>
                  </a:cubicBezTo>
                  <a:lnTo>
                    <a:pt x="858" y="3691"/>
                  </a:lnTo>
                  <a:cubicBezTo>
                    <a:pt x="382" y="3691"/>
                    <a:pt x="1" y="4072"/>
                    <a:pt x="1" y="4549"/>
                  </a:cubicBezTo>
                  <a:lnTo>
                    <a:pt x="1" y="5953"/>
                  </a:lnTo>
                  <a:cubicBezTo>
                    <a:pt x="1" y="6430"/>
                    <a:pt x="382" y="6811"/>
                    <a:pt x="858" y="6811"/>
                  </a:cubicBezTo>
                  <a:lnTo>
                    <a:pt x="1215" y="6811"/>
                  </a:lnTo>
                  <a:lnTo>
                    <a:pt x="1215" y="9287"/>
                  </a:lnTo>
                  <a:cubicBezTo>
                    <a:pt x="1215" y="9371"/>
                    <a:pt x="1286" y="9454"/>
                    <a:pt x="1382" y="9454"/>
                  </a:cubicBezTo>
                  <a:lnTo>
                    <a:pt x="2084" y="9454"/>
                  </a:lnTo>
                  <a:cubicBezTo>
                    <a:pt x="2156" y="9454"/>
                    <a:pt x="2215" y="9406"/>
                    <a:pt x="2239" y="9335"/>
                  </a:cubicBezTo>
                  <a:lnTo>
                    <a:pt x="2394" y="8751"/>
                  </a:lnTo>
                  <a:lnTo>
                    <a:pt x="2953" y="8751"/>
                  </a:lnTo>
                  <a:cubicBezTo>
                    <a:pt x="3049" y="8751"/>
                    <a:pt x="3120" y="8680"/>
                    <a:pt x="3120" y="8585"/>
                  </a:cubicBezTo>
                  <a:lnTo>
                    <a:pt x="3120" y="7525"/>
                  </a:lnTo>
                  <a:cubicBezTo>
                    <a:pt x="3120" y="7442"/>
                    <a:pt x="3049" y="7370"/>
                    <a:pt x="2953" y="7370"/>
                  </a:cubicBezTo>
                  <a:lnTo>
                    <a:pt x="2763" y="7370"/>
                  </a:lnTo>
                  <a:lnTo>
                    <a:pt x="2918" y="6811"/>
                  </a:lnTo>
                  <a:cubicBezTo>
                    <a:pt x="4168" y="6858"/>
                    <a:pt x="5192" y="7620"/>
                    <a:pt x="5858" y="8263"/>
                  </a:cubicBezTo>
                  <a:cubicBezTo>
                    <a:pt x="6513" y="8882"/>
                    <a:pt x="6930" y="9525"/>
                    <a:pt x="7025" y="9692"/>
                  </a:cubicBezTo>
                  <a:lnTo>
                    <a:pt x="7025" y="10347"/>
                  </a:lnTo>
                  <a:cubicBezTo>
                    <a:pt x="7025" y="10430"/>
                    <a:pt x="7097" y="10502"/>
                    <a:pt x="7180" y="10502"/>
                  </a:cubicBezTo>
                  <a:lnTo>
                    <a:pt x="8240" y="10502"/>
                  </a:lnTo>
                  <a:cubicBezTo>
                    <a:pt x="8335" y="10502"/>
                    <a:pt x="8406" y="10430"/>
                    <a:pt x="8406" y="10347"/>
                  </a:cubicBezTo>
                  <a:lnTo>
                    <a:pt x="8406" y="6632"/>
                  </a:lnTo>
                  <a:cubicBezTo>
                    <a:pt x="9109" y="6549"/>
                    <a:pt x="9633" y="5965"/>
                    <a:pt x="9633" y="5251"/>
                  </a:cubicBezTo>
                  <a:cubicBezTo>
                    <a:pt x="9621" y="4537"/>
                    <a:pt x="9085" y="3941"/>
                    <a:pt x="8394" y="3870"/>
                  </a:cubicBezTo>
                  <a:lnTo>
                    <a:pt x="8394" y="167"/>
                  </a:lnTo>
                  <a:cubicBezTo>
                    <a:pt x="8394" y="72"/>
                    <a:pt x="8311" y="0"/>
                    <a:pt x="8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8" name="Google Shape;11378;p60"/>
            <p:cNvSpPr/>
            <p:nvPr/>
          </p:nvSpPr>
          <p:spPr>
            <a:xfrm>
              <a:off x="6549060" y="3978567"/>
              <a:ext cx="26958" cy="10630"/>
            </a:xfrm>
            <a:custGeom>
              <a:avLst/>
              <a:gdLst/>
              <a:ahLst/>
              <a:cxnLst/>
              <a:rect l="l" t="t" r="r" b="b"/>
              <a:pathLst>
                <a:path w="847" h="334" extrusionOk="0">
                  <a:moveTo>
                    <a:pt x="156" y="0"/>
                  </a:moveTo>
                  <a:cubicBezTo>
                    <a:pt x="72" y="0"/>
                    <a:pt x="1" y="84"/>
                    <a:pt x="1" y="167"/>
                  </a:cubicBezTo>
                  <a:cubicBezTo>
                    <a:pt x="1" y="262"/>
                    <a:pt x="72" y="334"/>
                    <a:pt x="156" y="334"/>
                  </a:cubicBezTo>
                  <a:lnTo>
                    <a:pt x="680" y="334"/>
                  </a:lnTo>
                  <a:cubicBezTo>
                    <a:pt x="763" y="334"/>
                    <a:pt x="846" y="262"/>
                    <a:pt x="846" y="167"/>
                  </a:cubicBezTo>
                  <a:cubicBezTo>
                    <a:pt x="846" y="84"/>
                    <a:pt x="775"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9" name="Google Shape;11379;p60"/>
            <p:cNvSpPr/>
            <p:nvPr/>
          </p:nvSpPr>
          <p:spPr>
            <a:xfrm>
              <a:off x="6525572" y="3915357"/>
              <a:ext cx="24666" cy="22311"/>
            </a:xfrm>
            <a:custGeom>
              <a:avLst/>
              <a:gdLst/>
              <a:ahLst/>
              <a:cxnLst/>
              <a:rect l="l" t="t" r="r" b="b"/>
              <a:pathLst>
                <a:path w="775" h="701" extrusionOk="0">
                  <a:moveTo>
                    <a:pt x="605" y="1"/>
                  </a:moveTo>
                  <a:cubicBezTo>
                    <a:pt x="563" y="1"/>
                    <a:pt x="519" y="16"/>
                    <a:pt x="477" y="46"/>
                  </a:cubicBezTo>
                  <a:lnTo>
                    <a:pt x="108" y="415"/>
                  </a:lnTo>
                  <a:cubicBezTo>
                    <a:pt x="1" y="522"/>
                    <a:pt x="84" y="700"/>
                    <a:pt x="227" y="700"/>
                  </a:cubicBezTo>
                  <a:cubicBezTo>
                    <a:pt x="275" y="700"/>
                    <a:pt x="322" y="677"/>
                    <a:pt x="346" y="653"/>
                  </a:cubicBezTo>
                  <a:lnTo>
                    <a:pt x="715" y="284"/>
                  </a:lnTo>
                  <a:cubicBezTo>
                    <a:pt x="775" y="224"/>
                    <a:pt x="775" y="117"/>
                    <a:pt x="715" y="46"/>
                  </a:cubicBezTo>
                  <a:cubicBezTo>
                    <a:pt x="685" y="16"/>
                    <a:pt x="647" y="1"/>
                    <a:pt x="6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0" name="Google Shape;11380;p60"/>
            <p:cNvSpPr/>
            <p:nvPr/>
          </p:nvSpPr>
          <p:spPr>
            <a:xfrm>
              <a:off x="6527099" y="4030191"/>
              <a:ext cx="23139" cy="22661"/>
            </a:xfrm>
            <a:custGeom>
              <a:avLst/>
              <a:gdLst/>
              <a:ahLst/>
              <a:cxnLst/>
              <a:rect l="l" t="t" r="r" b="b"/>
              <a:pathLst>
                <a:path w="727" h="712" extrusionOk="0">
                  <a:moveTo>
                    <a:pt x="183" y="1"/>
                  </a:moveTo>
                  <a:cubicBezTo>
                    <a:pt x="140" y="1"/>
                    <a:pt x="96" y="15"/>
                    <a:pt x="60" y="45"/>
                  </a:cubicBezTo>
                  <a:cubicBezTo>
                    <a:pt x="0" y="105"/>
                    <a:pt x="0" y="212"/>
                    <a:pt x="60" y="283"/>
                  </a:cubicBezTo>
                  <a:lnTo>
                    <a:pt x="429" y="664"/>
                  </a:lnTo>
                  <a:cubicBezTo>
                    <a:pt x="466" y="696"/>
                    <a:pt x="505" y="711"/>
                    <a:pt x="543" y="711"/>
                  </a:cubicBezTo>
                  <a:cubicBezTo>
                    <a:pt x="590" y="711"/>
                    <a:pt x="634" y="687"/>
                    <a:pt x="667" y="641"/>
                  </a:cubicBezTo>
                  <a:cubicBezTo>
                    <a:pt x="727" y="569"/>
                    <a:pt x="727" y="486"/>
                    <a:pt x="667" y="426"/>
                  </a:cubicBezTo>
                  <a:lnTo>
                    <a:pt x="298" y="45"/>
                  </a:ln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1" name="Google Shape;11381;p60"/>
          <p:cNvGrpSpPr/>
          <p:nvPr/>
        </p:nvGrpSpPr>
        <p:grpSpPr>
          <a:xfrm>
            <a:off x="5778676" y="3826972"/>
            <a:ext cx="349052" cy="313055"/>
            <a:chOff x="5778676" y="3826972"/>
            <a:chExt cx="349052" cy="313055"/>
          </a:xfrm>
        </p:grpSpPr>
        <p:sp>
          <p:nvSpPr>
            <p:cNvPr id="11382" name="Google Shape;11382;p60"/>
            <p:cNvSpPr/>
            <p:nvPr/>
          </p:nvSpPr>
          <p:spPr>
            <a:xfrm>
              <a:off x="5923045" y="3890659"/>
              <a:ext cx="27690" cy="48155"/>
            </a:xfrm>
            <a:custGeom>
              <a:avLst/>
              <a:gdLst/>
              <a:ahLst/>
              <a:cxnLst/>
              <a:rect l="l" t="t" r="r" b="b"/>
              <a:pathLst>
                <a:path w="870" h="1513" extrusionOk="0">
                  <a:moveTo>
                    <a:pt x="406" y="286"/>
                  </a:moveTo>
                  <a:lnTo>
                    <a:pt x="406" y="560"/>
                  </a:lnTo>
                  <a:cubicBezTo>
                    <a:pt x="299" y="524"/>
                    <a:pt x="251" y="488"/>
                    <a:pt x="251" y="417"/>
                  </a:cubicBezTo>
                  <a:cubicBezTo>
                    <a:pt x="251" y="345"/>
                    <a:pt x="334" y="298"/>
                    <a:pt x="406" y="286"/>
                  </a:cubicBezTo>
                  <a:close/>
                  <a:moveTo>
                    <a:pt x="513" y="845"/>
                  </a:moveTo>
                  <a:cubicBezTo>
                    <a:pt x="632" y="893"/>
                    <a:pt x="644" y="953"/>
                    <a:pt x="644" y="1012"/>
                  </a:cubicBezTo>
                  <a:cubicBezTo>
                    <a:pt x="644" y="1119"/>
                    <a:pt x="584" y="1155"/>
                    <a:pt x="513" y="1179"/>
                  </a:cubicBezTo>
                  <a:lnTo>
                    <a:pt x="513" y="845"/>
                  </a:lnTo>
                  <a:close/>
                  <a:moveTo>
                    <a:pt x="465" y="0"/>
                  </a:moveTo>
                  <a:cubicBezTo>
                    <a:pt x="441" y="0"/>
                    <a:pt x="406" y="12"/>
                    <a:pt x="406" y="48"/>
                  </a:cubicBezTo>
                  <a:lnTo>
                    <a:pt x="406" y="83"/>
                  </a:lnTo>
                  <a:cubicBezTo>
                    <a:pt x="179" y="119"/>
                    <a:pt x="48" y="238"/>
                    <a:pt x="48" y="441"/>
                  </a:cubicBezTo>
                  <a:cubicBezTo>
                    <a:pt x="48" y="667"/>
                    <a:pt x="215" y="738"/>
                    <a:pt x="406" y="810"/>
                  </a:cubicBezTo>
                  <a:lnTo>
                    <a:pt x="406" y="1191"/>
                  </a:lnTo>
                  <a:cubicBezTo>
                    <a:pt x="299" y="1167"/>
                    <a:pt x="251" y="1143"/>
                    <a:pt x="168" y="1072"/>
                  </a:cubicBezTo>
                  <a:cubicBezTo>
                    <a:pt x="149" y="1058"/>
                    <a:pt x="132" y="1051"/>
                    <a:pt x="116" y="1051"/>
                  </a:cubicBezTo>
                  <a:cubicBezTo>
                    <a:pt x="92" y="1051"/>
                    <a:pt x="70" y="1067"/>
                    <a:pt x="48" y="1095"/>
                  </a:cubicBezTo>
                  <a:cubicBezTo>
                    <a:pt x="1" y="1155"/>
                    <a:pt x="1" y="1215"/>
                    <a:pt x="48" y="1262"/>
                  </a:cubicBezTo>
                  <a:cubicBezTo>
                    <a:pt x="120" y="1357"/>
                    <a:pt x="275" y="1417"/>
                    <a:pt x="406" y="1417"/>
                  </a:cubicBezTo>
                  <a:lnTo>
                    <a:pt x="406" y="1476"/>
                  </a:lnTo>
                  <a:cubicBezTo>
                    <a:pt x="406" y="1500"/>
                    <a:pt x="441" y="1512"/>
                    <a:pt x="465" y="1512"/>
                  </a:cubicBezTo>
                  <a:cubicBezTo>
                    <a:pt x="501" y="1512"/>
                    <a:pt x="525" y="1500"/>
                    <a:pt x="525" y="1476"/>
                  </a:cubicBezTo>
                  <a:lnTo>
                    <a:pt x="525" y="1417"/>
                  </a:lnTo>
                  <a:cubicBezTo>
                    <a:pt x="715" y="1381"/>
                    <a:pt x="870" y="1262"/>
                    <a:pt x="870" y="1024"/>
                  </a:cubicBezTo>
                  <a:cubicBezTo>
                    <a:pt x="870" y="774"/>
                    <a:pt x="739" y="679"/>
                    <a:pt x="525" y="607"/>
                  </a:cubicBezTo>
                  <a:lnTo>
                    <a:pt x="525" y="286"/>
                  </a:lnTo>
                  <a:cubicBezTo>
                    <a:pt x="572" y="286"/>
                    <a:pt x="596" y="298"/>
                    <a:pt x="656" y="322"/>
                  </a:cubicBezTo>
                  <a:cubicBezTo>
                    <a:pt x="682" y="335"/>
                    <a:pt x="713" y="352"/>
                    <a:pt x="745" y="352"/>
                  </a:cubicBezTo>
                  <a:cubicBezTo>
                    <a:pt x="770" y="352"/>
                    <a:pt x="796" y="341"/>
                    <a:pt x="822" y="310"/>
                  </a:cubicBezTo>
                  <a:cubicBezTo>
                    <a:pt x="858" y="262"/>
                    <a:pt x="870" y="202"/>
                    <a:pt x="810" y="155"/>
                  </a:cubicBezTo>
                  <a:cubicBezTo>
                    <a:pt x="739" y="107"/>
                    <a:pt x="620" y="83"/>
                    <a:pt x="525" y="83"/>
                  </a:cubicBezTo>
                  <a:lnTo>
                    <a:pt x="525" y="48"/>
                  </a:lnTo>
                  <a:cubicBezTo>
                    <a:pt x="525" y="12"/>
                    <a:pt x="501"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3" name="Google Shape;11383;p60"/>
            <p:cNvSpPr/>
            <p:nvPr/>
          </p:nvSpPr>
          <p:spPr>
            <a:xfrm>
              <a:off x="5976866" y="3843268"/>
              <a:ext cx="80364" cy="80364"/>
            </a:xfrm>
            <a:custGeom>
              <a:avLst/>
              <a:gdLst/>
              <a:ahLst/>
              <a:cxnLst/>
              <a:rect l="l" t="t" r="r" b="b"/>
              <a:pathLst>
                <a:path w="2525" h="2525" extrusionOk="0">
                  <a:moveTo>
                    <a:pt x="1263" y="310"/>
                  </a:moveTo>
                  <a:cubicBezTo>
                    <a:pt x="1786" y="310"/>
                    <a:pt x="2215" y="739"/>
                    <a:pt x="2215" y="1263"/>
                  </a:cubicBezTo>
                  <a:cubicBezTo>
                    <a:pt x="2215" y="1787"/>
                    <a:pt x="1798" y="2215"/>
                    <a:pt x="1263" y="2215"/>
                  </a:cubicBezTo>
                  <a:cubicBezTo>
                    <a:pt x="739" y="2215"/>
                    <a:pt x="310" y="1787"/>
                    <a:pt x="310" y="1263"/>
                  </a:cubicBezTo>
                  <a:cubicBezTo>
                    <a:pt x="310" y="739"/>
                    <a:pt x="739" y="310"/>
                    <a:pt x="1263" y="310"/>
                  </a:cubicBezTo>
                  <a:close/>
                  <a:moveTo>
                    <a:pt x="1263" y="1"/>
                  </a:moveTo>
                  <a:cubicBezTo>
                    <a:pt x="560" y="1"/>
                    <a:pt x="1" y="560"/>
                    <a:pt x="1" y="1263"/>
                  </a:cubicBezTo>
                  <a:cubicBezTo>
                    <a:pt x="1" y="1965"/>
                    <a:pt x="560" y="2525"/>
                    <a:pt x="1263" y="2525"/>
                  </a:cubicBezTo>
                  <a:cubicBezTo>
                    <a:pt x="1965" y="2525"/>
                    <a:pt x="2525" y="1965"/>
                    <a:pt x="2525" y="1263"/>
                  </a:cubicBezTo>
                  <a:cubicBezTo>
                    <a:pt x="2525" y="560"/>
                    <a:pt x="1965" y="1"/>
                    <a:pt x="1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4" name="Google Shape;11384;p60"/>
            <p:cNvSpPr/>
            <p:nvPr/>
          </p:nvSpPr>
          <p:spPr>
            <a:xfrm>
              <a:off x="5879473" y="3826972"/>
              <a:ext cx="193288" cy="144051"/>
            </a:xfrm>
            <a:custGeom>
              <a:avLst/>
              <a:gdLst/>
              <a:ahLst/>
              <a:cxnLst/>
              <a:rect l="l" t="t" r="r" b="b"/>
              <a:pathLst>
                <a:path w="6073" h="4526" extrusionOk="0">
                  <a:moveTo>
                    <a:pt x="1798" y="1775"/>
                  </a:moveTo>
                  <a:cubicBezTo>
                    <a:pt x="2132" y="1775"/>
                    <a:pt x="2430" y="1942"/>
                    <a:pt x="2596" y="2192"/>
                  </a:cubicBezTo>
                  <a:cubicBezTo>
                    <a:pt x="2620" y="2346"/>
                    <a:pt x="2680" y="2477"/>
                    <a:pt x="2739" y="2608"/>
                  </a:cubicBezTo>
                  <a:cubicBezTo>
                    <a:pt x="2739" y="2656"/>
                    <a:pt x="2751" y="2704"/>
                    <a:pt x="2751" y="2727"/>
                  </a:cubicBezTo>
                  <a:cubicBezTo>
                    <a:pt x="2751" y="3251"/>
                    <a:pt x="2322" y="3680"/>
                    <a:pt x="1798" y="3680"/>
                  </a:cubicBezTo>
                  <a:cubicBezTo>
                    <a:pt x="1287" y="3680"/>
                    <a:pt x="846" y="3251"/>
                    <a:pt x="846" y="2727"/>
                  </a:cubicBezTo>
                  <a:cubicBezTo>
                    <a:pt x="846" y="2203"/>
                    <a:pt x="1287" y="1775"/>
                    <a:pt x="1798" y="1775"/>
                  </a:cubicBezTo>
                  <a:close/>
                  <a:moveTo>
                    <a:pt x="1810" y="1251"/>
                  </a:moveTo>
                  <a:cubicBezTo>
                    <a:pt x="2072" y="1251"/>
                    <a:pt x="2334" y="1334"/>
                    <a:pt x="2560" y="1465"/>
                  </a:cubicBezTo>
                  <a:cubicBezTo>
                    <a:pt x="2549" y="1537"/>
                    <a:pt x="2549" y="1632"/>
                    <a:pt x="2537" y="1692"/>
                  </a:cubicBezTo>
                  <a:cubicBezTo>
                    <a:pt x="2322" y="1537"/>
                    <a:pt x="2072" y="1453"/>
                    <a:pt x="1787" y="1453"/>
                  </a:cubicBezTo>
                  <a:cubicBezTo>
                    <a:pt x="1084" y="1453"/>
                    <a:pt x="525" y="2013"/>
                    <a:pt x="525" y="2715"/>
                  </a:cubicBezTo>
                  <a:cubicBezTo>
                    <a:pt x="525" y="3418"/>
                    <a:pt x="1084" y="3978"/>
                    <a:pt x="1787" y="3978"/>
                  </a:cubicBezTo>
                  <a:cubicBezTo>
                    <a:pt x="2382" y="3978"/>
                    <a:pt x="2894" y="3561"/>
                    <a:pt x="3025" y="3001"/>
                  </a:cubicBezTo>
                  <a:lnTo>
                    <a:pt x="3192" y="3156"/>
                  </a:lnTo>
                  <a:cubicBezTo>
                    <a:pt x="3025" y="3775"/>
                    <a:pt x="2465" y="4204"/>
                    <a:pt x="1810" y="4204"/>
                  </a:cubicBezTo>
                  <a:cubicBezTo>
                    <a:pt x="1001" y="4204"/>
                    <a:pt x="334" y="3549"/>
                    <a:pt x="334" y="2727"/>
                  </a:cubicBezTo>
                  <a:cubicBezTo>
                    <a:pt x="334" y="1906"/>
                    <a:pt x="989" y="1251"/>
                    <a:pt x="1810" y="1251"/>
                  </a:cubicBezTo>
                  <a:close/>
                  <a:moveTo>
                    <a:pt x="4299" y="1"/>
                  </a:moveTo>
                  <a:cubicBezTo>
                    <a:pt x="3549" y="1"/>
                    <a:pt x="2894" y="501"/>
                    <a:pt x="2632" y="1168"/>
                  </a:cubicBezTo>
                  <a:cubicBezTo>
                    <a:pt x="2382" y="1037"/>
                    <a:pt x="2084" y="953"/>
                    <a:pt x="1787" y="953"/>
                  </a:cubicBezTo>
                  <a:cubicBezTo>
                    <a:pt x="810" y="953"/>
                    <a:pt x="1" y="1763"/>
                    <a:pt x="1" y="2739"/>
                  </a:cubicBezTo>
                  <a:cubicBezTo>
                    <a:pt x="1" y="3727"/>
                    <a:pt x="810" y="4525"/>
                    <a:pt x="1787" y="4525"/>
                  </a:cubicBezTo>
                  <a:cubicBezTo>
                    <a:pt x="2549" y="4525"/>
                    <a:pt x="3203" y="4049"/>
                    <a:pt x="3453" y="3370"/>
                  </a:cubicBezTo>
                  <a:cubicBezTo>
                    <a:pt x="3703" y="3501"/>
                    <a:pt x="3989" y="3573"/>
                    <a:pt x="4299" y="3573"/>
                  </a:cubicBezTo>
                  <a:cubicBezTo>
                    <a:pt x="4704" y="3573"/>
                    <a:pt x="5108" y="3442"/>
                    <a:pt x="5418" y="3192"/>
                  </a:cubicBezTo>
                  <a:cubicBezTo>
                    <a:pt x="5728" y="2942"/>
                    <a:pt x="5954" y="2596"/>
                    <a:pt x="6049" y="2203"/>
                  </a:cubicBezTo>
                  <a:cubicBezTo>
                    <a:pt x="6073" y="2108"/>
                    <a:pt x="6037" y="2013"/>
                    <a:pt x="5942" y="2001"/>
                  </a:cubicBezTo>
                  <a:cubicBezTo>
                    <a:pt x="5932" y="2000"/>
                    <a:pt x="5921" y="1999"/>
                    <a:pt x="5911" y="1999"/>
                  </a:cubicBezTo>
                  <a:cubicBezTo>
                    <a:pt x="5839" y="1999"/>
                    <a:pt x="5772" y="2037"/>
                    <a:pt x="5751" y="2120"/>
                  </a:cubicBezTo>
                  <a:cubicBezTo>
                    <a:pt x="5597" y="2787"/>
                    <a:pt x="5001" y="3251"/>
                    <a:pt x="4323" y="3251"/>
                  </a:cubicBezTo>
                  <a:cubicBezTo>
                    <a:pt x="3787" y="3251"/>
                    <a:pt x="3311" y="2965"/>
                    <a:pt x="3037" y="2501"/>
                  </a:cubicBezTo>
                  <a:cubicBezTo>
                    <a:pt x="3013" y="2358"/>
                    <a:pt x="2953" y="2203"/>
                    <a:pt x="2882" y="2084"/>
                  </a:cubicBezTo>
                  <a:cubicBezTo>
                    <a:pt x="2680" y="1180"/>
                    <a:pt x="3382" y="322"/>
                    <a:pt x="4311" y="322"/>
                  </a:cubicBezTo>
                  <a:cubicBezTo>
                    <a:pt x="4989" y="322"/>
                    <a:pt x="5585" y="775"/>
                    <a:pt x="5739" y="1453"/>
                  </a:cubicBezTo>
                  <a:cubicBezTo>
                    <a:pt x="5750" y="1528"/>
                    <a:pt x="5818" y="1574"/>
                    <a:pt x="5901" y="1574"/>
                  </a:cubicBezTo>
                  <a:cubicBezTo>
                    <a:pt x="5911" y="1574"/>
                    <a:pt x="5920" y="1574"/>
                    <a:pt x="5930" y="1572"/>
                  </a:cubicBezTo>
                  <a:cubicBezTo>
                    <a:pt x="6013" y="1549"/>
                    <a:pt x="6061" y="1465"/>
                    <a:pt x="6049" y="1370"/>
                  </a:cubicBezTo>
                  <a:cubicBezTo>
                    <a:pt x="5954" y="989"/>
                    <a:pt x="5739" y="644"/>
                    <a:pt x="5418" y="394"/>
                  </a:cubicBezTo>
                  <a:cubicBezTo>
                    <a:pt x="5108" y="144"/>
                    <a:pt x="4704" y="1"/>
                    <a:pt x="4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5" name="Google Shape;11385;p60"/>
            <p:cNvSpPr/>
            <p:nvPr/>
          </p:nvSpPr>
          <p:spPr>
            <a:xfrm>
              <a:off x="6003760" y="3859946"/>
              <a:ext cx="26958" cy="47773"/>
            </a:xfrm>
            <a:custGeom>
              <a:avLst/>
              <a:gdLst/>
              <a:ahLst/>
              <a:cxnLst/>
              <a:rect l="l" t="t" r="r" b="b"/>
              <a:pathLst>
                <a:path w="847" h="1501" extrusionOk="0">
                  <a:moveTo>
                    <a:pt x="382" y="298"/>
                  </a:moveTo>
                  <a:lnTo>
                    <a:pt x="382" y="572"/>
                  </a:lnTo>
                  <a:cubicBezTo>
                    <a:pt x="287" y="536"/>
                    <a:pt x="239" y="501"/>
                    <a:pt x="239" y="429"/>
                  </a:cubicBezTo>
                  <a:cubicBezTo>
                    <a:pt x="239" y="358"/>
                    <a:pt x="310" y="310"/>
                    <a:pt x="382" y="298"/>
                  </a:cubicBezTo>
                  <a:close/>
                  <a:moveTo>
                    <a:pt x="489" y="870"/>
                  </a:moveTo>
                  <a:cubicBezTo>
                    <a:pt x="608" y="917"/>
                    <a:pt x="620" y="977"/>
                    <a:pt x="620" y="1037"/>
                  </a:cubicBezTo>
                  <a:cubicBezTo>
                    <a:pt x="620" y="1132"/>
                    <a:pt x="560" y="1167"/>
                    <a:pt x="489" y="1203"/>
                  </a:cubicBezTo>
                  <a:lnTo>
                    <a:pt x="489" y="870"/>
                  </a:lnTo>
                  <a:close/>
                  <a:moveTo>
                    <a:pt x="441" y="1"/>
                  </a:moveTo>
                  <a:cubicBezTo>
                    <a:pt x="418" y="1"/>
                    <a:pt x="382" y="13"/>
                    <a:pt x="382" y="36"/>
                  </a:cubicBezTo>
                  <a:lnTo>
                    <a:pt x="382" y="84"/>
                  </a:lnTo>
                  <a:cubicBezTo>
                    <a:pt x="156" y="120"/>
                    <a:pt x="25" y="239"/>
                    <a:pt x="25" y="441"/>
                  </a:cubicBezTo>
                  <a:cubicBezTo>
                    <a:pt x="25" y="679"/>
                    <a:pt x="203" y="739"/>
                    <a:pt x="382" y="810"/>
                  </a:cubicBezTo>
                  <a:lnTo>
                    <a:pt x="382" y="1191"/>
                  </a:lnTo>
                  <a:cubicBezTo>
                    <a:pt x="275" y="1167"/>
                    <a:pt x="239" y="1132"/>
                    <a:pt x="144" y="1072"/>
                  </a:cubicBezTo>
                  <a:cubicBezTo>
                    <a:pt x="125" y="1059"/>
                    <a:pt x="108" y="1053"/>
                    <a:pt x="92" y="1053"/>
                  </a:cubicBezTo>
                  <a:cubicBezTo>
                    <a:pt x="37" y="1053"/>
                    <a:pt x="1" y="1121"/>
                    <a:pt x="1" y="1167"/>
                  </a:cubicBezTo>
                  <a:cubicBezTo>
                    <a:pt x="1" y="1203"/>
                    <a:pt x="13" y="1227"/>
                    <a:pt x="25" y="1251"/>
                  </a:cubicBezTo>
                  <a:cubicBezTo>
                    <a:pt x="96" y="1346"/>
                    <a:pt x="251" y="1394"/>
                    <a:pt x="382" y="1394"/>
                  </a:cubicBezTo>
                  <a:lnTo>
                    <a:pt x="382" y="1453"/>
                  </a:lnTo>
                  <a:cubicBezTo>
                    <a:pt x="382" y="1489"/>
                    <a:pt x="418" y="1501"/>
                    <a:pt x="441" y="1501"/>
                  </a:cubicBezTo>
                  <a:cubicBezTo>
                    <a:pt x="477" y="1501"/>
                    <a:pt x="501" y="1489"/>
                    <a:pt x="501" y="1453"/>
                  </a:cubicBezTo>
                  <a:lnTo>
                    <a:pt x="501" y="1394"/>
                  </a:lnTo>
                  <a:cubicBezTo>
                    <a:pt x="703" y="1370"/>
                    <a:pt x="846" y="1251"/>
                    <a:pt x="846" y="1013"/>
                  </a:cubicBezTo>
                  <a:cubicBezTo>
                    <a:pt x="846" y="786"/>
                    <a:pt x="691" y="691"/>
                    <a:pt x="501" y="620"/>
                  </a:cubicBezTo>
                  <a:lnTo>
                    <a:pt x="501" y="298"/>
                  </a:lnTo>
                  <a:cubicBezTo>
                    <a:pt x="584" y="298"/>
                    <a:pt x="608" y="310"/>
                    <a:pt x="680" y="358"/>
                  </a:cubicBezTo>
                  <a:cubicBezTo>
                    <a:pt x="694" y="362"/>
                    <a:pt x="709" y="364"/>
                    <a:pt x="723" y="364"/>
                  </a:cubicBezTo>
                  <a:cubicBezTo>
                    <a:pt x="754" y="364"/>
                    <a:pt x="782" y="351"/>
                    <a:pt x="799" y="310"/>
                  </a:cubicBezTo>
                  <a:cubicBezTo>
                    <a:pt x="834" y="263"/>
                    <a:pt x="846" y="203"/>
                    <a:pt x="787" y="155"/>
                  </a:cubicBezTo>
                  <a:cubicBezTo>
                    <a:pt x="715" y="96"/>
                    <a:pt x="596" y="84"/>
                    <a:pt x="501" y="84"/>
                  </a:cubicBezTo>
                  <a:lnTo>
                    <a:pt x="501" y="36"/>
                  </a:lnTo>
                  <a:cubicBezTo>
                    <a:pt x="501" y="13"/>
                    <a:pt x="477"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6" name="Google Shape;11386;p60"/>
            <p:cNvSpPr/>
            <p:nvPr/>
          </p:nvSpPr>
          <p:spPr>
            <a:xfrm>
              <a:off x="5778676" y="3939865"/>
              <a:ext cx="349052" cy="200163"/>
            </a:xfrm>
            <a:custGeom>
              <a:avLst/>
              <a:gdLst/>
              <a:ahLst/>
              <a:cxnLst/>
              <a:rect l="l" t="t" r="r" b="b"/>
              <a:pathLst>
                <a:path w="10967" h="6289" extrusionOk="0">
                  <a:moveTo>
                    <a:pt x="3483" y="1855"/>
                  </a:moveTo>
                  <a:cubicBezTo>
                    <a:pt x="3500" y="1855"/>
                    <a:pt x="3513" y="1868"/>
                    <a:pt x="3513" y="1895"/>
                  </a:cubicBezTo>
                  <a:cubicBezTo>
                    <a:pt x="3584" y="2074"/>
                    <a:pt x="4573" y="4693"/>
                    <a:pt x="4620" y="4776"/>
                  </a:cubicBezTo>
                  <a:cubicBezTo>
                    <a:pt x="4632" y="4788"/>
                    <a:pt x="4620" y="4824"/>
                    <a:pt x="4584" y="4824"/>
                  </a:cubicBezTo>
                  <a:lnTo>
                    <a:pt x="3882" y="5086"/>
                  </a:lnTo>
                  <a:cubicBezTo>
                    <a:pt x="3846" y="4955"/>
                    <a:pt x="2846" y="2300"/>
                    <a:pt x="2775" y="2133"/>
                  </a:cubicBezTo>
                  <a:lnTo>
                    <a:pt x="3465" y="1859"/>
                  </a:lnTo>
                  <a:cubicBezTo>
                    <a:pt x="3471" y="1856"/>
                    <a:pt x="3477" y="1855"/>
                    <a:pt x="3483" y="1855"/>
                  </a:cubicBezTo>
                  <a:close/>
                  <a:moveTo>
                    <a:pt x="2477" y="2228"/>
                  </a:moveTo>
                  <a:lnTo>
                    <a:pt x="3584" y="5193"/>
                  </a:lnTo>
                  <a:cubicBezTo>
                    <a:pt x="3072" y="5407"/>
                    <a:pt x="1739" y="5907"/>
                    <a:pt x="1513" y="6003"/>
                  </a:cubicBezTo>
                  <a:cubicBezTo>
                    <a:pt x="1507" y="6005"/>
                    <a:pt x="1500" y="6007"/>
                    <a:pt x="1493" y="6007"/>
                  </a:cubicBezTo>
                  <a:cubicBezTo>
                    <a:pt x="1468" y="6007"/>
                    <a:pt x="1438" y="5991"/>
                    <a:pt x="1429" y="5955"/>
                  </a:cubicBezTo>
                  <a:lnTo>
                    <a:pt x="358" y="3109"/>
                  </a:lnTo>
                  <a:cubicBezTo>
                    <a:pt x="346" y="3086"/>
                    <a:pt x="358" y="3038"/>
                    <a:pt x="405" y="3026"/>
                  </a:cubicBezTo>
                  <a:cubicBezTo>
                    <a:pt x="1072" y="2764"/>
                    <a:pt x="2013" y="2407"/>
                    <a:pt x="2477" y="2228"/>
                  </a:cubicBezTo>
                  <a:close/>
                  <a:moveTo>
                    <a:pt x="10060" y="0"/>
                  </a:moveTo>
                  <a:cubicBezTo>
                    <a:pt x="9818" y="0"/>
                    <a:pt x="9583" y="125"/>
                    <a:pt x="9407" y="288"/>
                  </a:cubicBezTo>
                  <a:lnTo>
                    <a:pt x="7728" y="1681"/>
                  </a:lnTo>
                  <a:cubicBezTo>
                    <a:pt x="7632" y="1478"/>
                    <a:pt x="7430" y="1264"/>
                    <a:pt x="7061" y="1264"/>
                  </a:cubicBezTo>
                  <a:cubicBezTo>
                    <a:pt x="6668" y="1264"/>
                    <a:pt x="6361" y="1262"/>
                    <a:pt x="6115" y="1262"/>
                  </a:cubicBezTo>
                  <a:cubicBezTo>
                    <a:pt x="5377" y="1262"/>
                    <a:pt x="5192" y="1276"/>
                    <a:pt x="4906" y="1383"/>
                  </a:cubicBezTo>
                  <a:lnTo>
                    <a:pt x="3834" y="1835"/>
                  </a:lnTo>
                  <a:lnTo>
                    <a:pt x="3822" y="1788"/>
                  </a:lnTo>
                  <a:cubicBezTo>
                    <a:pt x="3766" y="1647"/>
                    <a:pt x="3637" y="1551"/>
                    <a:pt x="3491" y="1551"/>
                  </a:cubicBezTo>
                  <a:cubicBezTo>
                    <a:pt x="3451" y="1551"/>
                    <a:pt x="3411" y="1558"/>
                    <a:pt x="3370" y="1574"/>
                  </a:cubicBezTo>
                  <a:lnTo>
                    <a:pt x="2560" y="1871"/>
                  </a:lnTo>
                  <a:cubicBezTo>
                    <a:pt x="2203" y="2014"/>
                    <a:pt x="1084" y="2431"/>
                    <a:pt x="298" y="2728"/>
                  </a:cubicBezTo>
                  <a:cubicBezTo>
                    <a:pt x="108" y="2800"/>
                    <a:pt x="1" y="3026"/>
                    <a:pt x="72" y="3217"/>
                  </a:cubicBezTo>
                  <a:lnTo>
                    <a:pt x="1144" y="6038"/>
                  </a:lnTo>
                  <a:cubicBezTo>
                    <a:pt x="1199" y="6196"/>
                    <a:pt x="1348" y="6288"/>
                    <a:pt x="1501" y="6288"/>
                  </a:cubicBezTo>
                  <a:cubicBezTo>
                    <a:pt x="1545" y="6288"/>
                    <a:pt x="1589" y="6281"/>
                    <a:pt x="1632" y="6265"/>
                  </a:cubicBezTo>
                  <a:cubicBezTo>
                    <a:pt x="1870" y="6181"/>
                    <a:pt x="3501" y="5562"/>
                    <a:pt x="3858" y="5431"/>
                  </a:cubicBezTo>
                  <a:lnTo>
                    <a:pt x="4704" y="5122"/>
                  </a:lnTo>
                  <a:cubicBezTo>
                    <a:pt x="4882" y="5050"/>
                    <a:pt x="4989" y="4848"/>
                    <a:pt x="4918" y="4657"/>
                  </a:cubicBezTo>
                  <a:lnTo>
                    <a:pt x="4894" y="4622"/>
                  </a:lnTo>
                  <a:cubicBezTo>
                    <a:pt x="5454" y="4383"/>
                    <a:pt x="5466" y="4360"/>
                    <a:pt x="6049" y="4360"/>
                  </a:cubicBezTo>
                  <a:cubicBezTo>
                    <a:pt x="6132" y="4360"/>
                    <a:pt x="6204" y="4288"/>
                    <a:pt x="6204" y="4193"/>
                  </a:cubicBezTo>
                  <a:cubicBezTo>
                    <a:pt x="6204" y="4110"/>
                    <a:pt x="6132" y="4026"/>
                    <a:pt x="6049" y="4026"/>
                  </a:cubicBezTo>
                  <a:cubicBezTo>
                    <a:pt x="5418" y="4026"/>
                    <a:pt x="5358" y="4074"/>
                    <a:pt x="4799" y="4312"/>
                  </a:cubicBezTo>
                  <a:lnTo>
                    <a:pt x="3965" y="2097"/>
                  </a:lnTo>
                  <a:lnTo>
                    <a:pt x="5037" y="1645"/>
                  </a:lnTo>
                  <a:cubicBezTo>
                    <a:pt x="5251" y="1571"/>
                    <a:pt x="5403" y="1559"/>
                    <a:pt x="5989" y="1559"/>
                  </a:cubicBezTo>
                  <a:cubicBezTo>
                    <a:pt x="6250" y="1559"/>
                    <a:pt x="6597" y="1562"/>
                    <a:pt x="7073" y="1562"/>
                  </a:cubicBezTo>
                  <a:cubicBezTo>
                    <a:pt x="7240" y="1562"/>
                    <a:pt x="7359" y="1621"/>
                    <a:pt x="7430" y="1740"/>
                  </a:cubicBezTo>
                  <a:cubicBezTo>
                    <a:pt x="7478" y="1835"/>
                    <a:pt x="7490" y="1919"/>
                    <a:pt x="7502" y="1931"/>
                  </a:cubicBezTo>
                  <a:cubicBezTo>
                    <a:pt x="7502" y="1990"/>
                    <a:pt x="7454" y="2276"/>
                    <a:pt x="7180" y="2336"/>
                  </a:cubicBezTo>
                  <a:cubicBezTo>
                    <a:pt x="6740" y="2407"/>
                    <a:pt x="5823" y="2538"/>
                    <a:pt x="5811" y="2538"/>
                  </a:cubicBezTo>
                  <a:cubicBezTo>
                    <a:pt x="5716" y="2562"/>
                    <a:pt x="5656" y="2633"/>
                    <a:pt x="5668" y="2728"/>
                  </a:cubicBezTo>
                  <a:cubicBezTo>
                    <a:pt x="5692" y="2800"/>
                    <a:pt x="5751" y="2859"/>
                    <a:pt x="5823" y="2859"/>
                  </a:cubicBezTo>
                  <a:lnTo>
                    <a:pt x="5847" y="2859"/>
                  </a:lnTo>
                  <a:cubicBezTo>
                    <a:pt x="5870" y="2859"/>
                    <a:pt x="6787" y="2728"/>
                    <a:pt x="7240" y="2645"/>
                  </a:cubicBezTo>
                  <a:cubicBezTo>
                    <a:pt x="7632" y="2574"/>
                    <a:pt x="7787" y="2240"/>
                    <a:pt x="7811" y="2026"/>
                  </a:cubicBezTo>
                  <a:lnTo>
                    <a:pt x="9633" y="514"/>
                  </a:lnTo>
                  <a:cubicBezTo>
                    <a:pt x="9747" y="415"/>
                    <a:pt x="9895" y="311"/>
                    <a:pt x="10058" y="311"/>
                  </a:cubicBezTo>
                  <a:cubicBezTo>
                    <a:pt x="10151" y="311"/>
                    <a:pt x="10248" y="344"/>
                    <a:pt x="10347" y="431"/>
                  </a:cubicBezTo>
                  <a:cubicBezTo>
                    <a:pt x="10645" y="728"/>
                    <a:pt x="10371" y="1073"/>
                    <a:pt x="10299" y="1145"/>
                  </a:cubicBezTo>
                  <a:cubicBezTo>
                    <a:pt x="10228" y="1216"/>
                    <a:pt x="8013" y="3609"/>
                    <a:pt x="8013" y="3609"/>
                  </a:cubicBezTo>
                  <a:cubicBezTo>
                    <a:pt x="7680" y="3990"/>
                    <a:pt x="7251" y="4050"/>
                    <a:pt x="7073" y="4062"/>
                  </a:cubicBezTo>
                  <a:lnTo>
                    <a:pt x="6787" y="4062"/>
                  </a:lnTo>
                  <a:cubicBezTo>
                    <a:pt x="6704" y="4062"/>
                    <a:pt x="6620" y="4133"/>
                    <a:pt x="6620" y="4229"/>
                  </a:cubicBezTo>
                  <a:cubicBezTo>
                    <a:pt x="6620" y="4312"/>
                    <a:pt x="6704" y="4383"/>
                    <a:pt x="6787" y="4383"/>
                  </a:cubicBezTo>
                  <a:lnTo>
                    <a:pt x="7097" y="4383"/>
                  </a:lnTo>
                  <a:cubicBezTo>
                    <a:pt x="7311" y="4371"/>
                    <a:pt x="7859" y="4300"/>
                    <a:pt x="8264" y="3836"/>
                  </a:cubicBezTo>
                  <a:lnTo>
                    <a:pt x="10550" y="1371"/>
                  </a:lnTo>
                  <a:cubicBezTo>
                    <a:pt x="10728" y="1121"/>
                    <a:pt x="10966" y="621"/>
                    <a:pt x="10550" y="204"/>
                  </a:cubicBezTo>
                  <a:cubicBezTo>
                    <a:pt x="10395" y="59"/>
                    <a:pt x="10226" y="0"/>
                    <a:pt x="10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7" name="Google Shape;11387;p60"/>
          <p:cNvGrpSpPr/>
          <p:nvPr/>
        </p:nvGrpSpPr>
        <p:grpSpPr>
          <a:xfrm>
            <a:off x="5355784" y="3834547"/>
            <a:ext cx="299019" cy="297905"/>
            <a:chOff x="5355784" y="3834547"/>
            <a:chExt cx="299019" cy="297905"/>
          </a:xfrm>
        </p:grpSpPr>
        <p:sp>
          <p:nvSpPr>
            <p:cNvPr id="11388" name="Google Shape;11388;p60"/>
            <p:cNvSpPr/>
            <p:nvPr/>
          </p:nvSpPr>
          <p:spPr>
            <a:xfrm>
              <a:off x="5355784" y="3834547"/>
              <a:ext cx="299019" cy="297905"/>
            </a:xfrm>
            <a:custGeom>
              <a:avLst/>
              <a:gdLst/>
              <a:ahLst/>
              <a:cxnLst/>
              <a:rect l="l" t="t" r="r" b="b"/>
              <a:pathLst>
                <a:path w="9395" h="9360" extrusionOk="0">
                  <a:moveTo>
                    <a:pt x="3572" y="5454"/>
                  </a:moveTo>
                  <a:cubicBezTo>
                    <a:pt x="3679" y="5573"/>
                    <a:pt x="3786" y="5704"/>
                    <a:pt x="3929" y="5811"/>
                  </a:cubicBezTo>
                  <a:lnTo>
                    <a:pt x="3405" y="6335"/>
                  </a:lnTo>
                  <a:cubicBezTo>
                    <a:pt x="3393" y="6311"/>
                    <a:pt x="3393" y="6299"/>
                    <a:pt x="3382" y="6287"/>
                  </a:cubicBezTo>
                  <a:lnTo>
                    <a:pt x="3096" y="6002"/>
                  </a:lnTo>
                  <a:cubicBezTo>
                    <a:pt x="3084" y="5990"/>
                    <a:pt x="3060" y="5978"/>
                    <a:pt x="3048" y="5978"/>
                  </a:cubicBezTo>
                  <a:lnTo>
                    <a:pt x="3572" y="5454"/>
                  </a:lnTo>
                  <a:close/>
                  <a:moveTo>
                    <a:pt x="2748" y="6109"/>
                  </a:moveTo>
                  <a:cubicBezTo>
                    <a:pt x="2804" y="6109"/>
                    <a:pt x="2858" y="6133"/>
                    <a:pt x="2893" y="6180"/>
                  </a:cubicBezTo>
                  <a:lnTo>
                    <a:pt x="3179" y="6466"/>
                  </a:lnTo>
                  <a:cubicBezTo>
                    <a:pt x="3274" y="6573"/>
                    <a:pt x="3274" y="6704"/>
                    <a:pt x="3191" y="6788"/>
                  </a:cubicBezTo>
                  <a:lnTo>
                    <a:pt x="3036" y="6954"/>
                  </a:lnTo>
                  <a:lnTo>
                    <a:pt x="2429" y="6347"/>
                  </a:lnTo>
                  <a:lnTo>
                    <a:pt x="2584" y="6180"/>
                  </a:lnTo>
                  <a:cubicBezTo>
                    <a:pt x="2631" y="6133"/>
                    <a:pt x="2691" y="6109"/>
                    <a:pt x="2748" y="6109"/>
                  </a:cubicBezTo>
                  <a:close/>
                  <a:moveTo>
                    <a:pt x="2215" y="6549"/>
                  </a:moveTo>
                  <a:lnTo>
                    <a:pt x="2822" y="7169"/>
                  </a:lnTo>
                  <a:lnTo>
                    <a:pt x="965" y="9026"/>
                  </a:lnTo>
                  <a:cubicBezTo>
                    <a:pt x="923" y="9068"/>
                    <a:pt x="866" y="9088"/>
                    <a:pt x="810" y="9088"/>
                  </a:cubicBezTo>
                  <a:cubicBezTo>
                    <a:pt x="753" y="9088"/>
                    <a:pt x="697" y="9068"/>
                    <a:pt x="655" y="9026"/>
                  </a:cubicBezTo>
                  <a:lnTo>
                    <a:pt x="369" y="8740"/>
                  </a:lnTo>
                  <a:cubicBezTo>
                    <a:pt x="262" y="8657"/>
                    <a:pt x="262" y="8502"/>
                    <a:pt x="357" y="8419"/>
                  </a:cubicBezTo>
                  <a:lnTo>
                    <a:pt x="2215" y="6549"/>
                  </a:lnTo>
                  <a:close/>
                  <a:moveTo>
                    <a:pt x="6096" y="1"/>
                  </a:moveTo>
                  <a:cubicBezTo>
                    <a:pt x="3417" y="1"/>
                    <a:pt x="1869" y="3061"/>
                    <a:pt x="3441" y="5216"/>
                  </a:cubicBezTo>
                  <a:lnTo>
                    <a:pt x="2810" y="5835"/>
                  </a:lnTo>
                  <a:cubicBezTo>
                    <a:pt x="2798" y="5834"/>
                    <a:pt x="2786" y="5834"/>
                    <a:pt x="2774" y="5834"/>
                  </a:cubicBezTo>
                  <a:cubicBezTo>
                    <a:pt x="2643" y="5834"/>
                    <a:pt x="2516" y="5892"/>
                    <a:pt x="2429" y="5990"/>
                  </a:cubicBezTo>
                  <a:lnTo>
                    <a:pt x="191" y="8216"/>
                  </a:lnTo>
                  <a:cubicBezTo>
                    <a:pt x="0" y="8419"/>
                    <a:pt x="0" y="8728"/>
                    <a:pt x="191" y="8919"/>
                  </a:cubicBezTo>
                  <a:lnTo>
                    <a:pt x="465" y="9216"/>
                  </a:lnTo>
                  <a:cubicBezTo>
                    <a:pt x="560" y="9312"/>
                    <a:pt x="685" y="9359"/>
                    <a:pt x="810" y="9359"/>
                  </a:cubicBezTo>
                  <a:cubicBezTo>
                    <a:pt x="935" y="9359"/>
                    <a:pt x="1060" y="9312"/>
                    <a:pt x="1155" y="9216"/>
                  </a:cubicBezTo>
                  <a:lnTo>
                    <a:pt x="3120" y="7252"/>
                  </a:lnTo>
                  <a:lnTo>
                    <a:pt x="3393" y="6990"/>
                  </a:lnTo>
                  <a:cubicBezTo>
                    <a:pt x="3501" y="6883"/>
                    <a:pt x="3536" y="6752"/>
                    <a:pt x="3536" y="6597"/>
                  </a:cubicBezTo>
                  <a:lnTo>
                    <a:pt x="4167" y="5978"/>
                  </a:lnTo>
                  <a:cubicBezTo>
                    <a:pt x="4632" y="6299"/>
                    <a:pt x="5179" y="6526"/>
                    <a:pt x="5763" y="6573"/>
                  </a:cubicBezTo>
                  <a:lnTo>
                    <a:pt x="5775" y="6573"/>
                  </a:lnTo>
                  <a:cubicBezTo>
                    <a:pt x="5846" y="6573"/>
                    <a:pt x="5906" y="6514"/>
                    <a:pt x="5906" y="6454"/>
                  </a:cubicBezTo>
                  <a:cubicBezTo>
                    <a:pt x="5918" y="6371"/>
                    <a:pt x="5858" y="6299"/>
                    <a:pt x="5787" y="6299"/>
                  </a:cubicBezTo>
                  <a:cubicBezTo>
                    <a:pt x="5191" y="6240"/>
                    <a:pt x="4644" y="6002"/>
                    <a:pt x="4191" y="5645"/>
                  </a:cubicBezTo>
                  <a:cubicBezTo>
                    <a:pt x="1977" y="3847"/>
                    <a:pt x="3286" y="287"/>
                    <a:pt x="6096" y="287"/>
                  </a:cubicBezTo>
                  <a:cubicBezTo>
                    <a:pt x="7680" y="287"/>
                    <a:pt x="8942" y="1489"/>
                    <a:pt x="9108" y="3001"/>
                  </a:cubicBezTo>
                  <a:cubicBezTo>
                    <a:pt x="9119" y="3067"/>
                    <a:pt x="9170" y="3122"/>
                    <a:pt x="9233" y="3122"/>
                  </a:cubicBezTo>
                  <a:cubicBezTo>
                    <a:pt x="9239" y="3122"/>
                    <a:pt x="9245" y="3121"/>
                    <a:pt x="9251" y="3120"/>
                  </a:cubicBezTo>
                  <a:cubicBezTo>
                    <a:pt x="9335" y="3097"/>
                    <a:pt x="9394" y="3037"/>
                    <a:pt x="9370" y="2966"/>
                  </a:cubicBezTo>
                  <a:cubicBezTo>
                    <a:pt x="9216" y="1334"/>
                    <a:pt x="7823" y="1"/>
                    <a:pt x="6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9" name="Google Shape;11389;p60"/>
            <p:cNvSpPr/>
            <p:nvPr/>
          </p:nvSpPr>
          <p:spPr>
            <a:xfrm>
              <a:off x="5455054" y="3854280"/>
              <a:ext cx="179666" cy="171296"/>
            </a:xfrm>
            <a:custGeom>
              <a:avLst/>
              <a:gdLst/>
              <a:ahLst/>
              <a:cxnLst/>
              <a:rect l="l" t="t" r="r" b="b"/>
              <a:pathLst>
                <a:path w="5645" h="5382" extrusionOk="0">
                  <a:moveTo>
                    <a:pt x="2953" y="274"/>
                  </a:moveTo>
                  <a:cubicBezTo>
                    <a:pt x="4275" y="274"/>
                    <a:pt x="5358" y="1345"/>
                    <a:pt x="5358" y="2691"/>
                  </a:cubicBezTo>
                  <a:cubicBezTo>
                    <a:pt x="5358" y="4024"/>
                    <a:pt x="4275" y="5096"/>
                    <a:pt x="2953" y="5096"/>
                  </a:cubicBezTo>
                  <a:cubicBezTo>
                    <a:pt x="2322" y="5096"/>
                    <a:pt x="1715" y="4858"/>
                    <a:pt x="1239" y="4405"/>
                  </a:cubicBezTo>
                  <a:cubicBezTo>
                    <a:pt x="298" y="3465"/>
                    <a:pt x="298" y="1929"/>
                    <a:pt x="1239" y="976"/>
                  </a:cubicBezTo>
                  <a:cubicBezTo>
                    <a:pt x="1715" y="500"/>
                    <a:pt x="2322" y="274"/>
                    <a:pt x="2953" y="274"/>
                  </a:cubicBezTo>
                  <a:close/>
                  <a:moveTo>
                    <a:pt x="2958" y="0"/>
                  </a:moveTo>
                  <a:cubicBezTo>
                    <a:pt x="2269" y="0"/>
                    <a:pt x="1578" y="262"/>
                    <a:pt x="1048" y="786"/>
                  </a:cubicBezTo>
                  <a:cubicBezTo>
                    <a:pt x="1" y="1822"/>
                    <a:pt x="1" y="3536"/>
                    <a:pt x="1048" y="4596"/>
                  </a:cubicBezTo>
                  <a:cubicBezTo>
                    <a:pt x="1572" y="5120"/>
                    <a:pt x="2263" y="5382"/>
                    <a:pt x="2953" y="5382"/>
                  </a:cubicBezTo>
                  <a:cubicBezTo>
                    <a:pt x="4430" y="5370"/>
                    <a:pt x="5644" y="4179"/>
                    <a:pt x="5644" y="2691"/>
                  </a:cubicBezTo>
                  <a:cubicBezTo>
                    <a:pt x="5644" y="1977"/>
                    <a:pt x="5358" y="1286"/>
                    <a:pt x="4858" y="786"/>
                  </a:cubicBezTo>
                  <a:cubicBezTo>
                    <a:pt x="4335" y="262"/>
                    <a:pt x="3647" y="0"/>
                    <a:pt x="29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0" name="Google Shape;11390;p60"/>
            <p:cNvSpPr/>
            <p:nvPr/>
          </p:nvSpPr>
          <p:spPr>
            <a:xfrm>
              <a:off x="5508110" y="3886490"/>
              <a:ext cx="81510" cy="99302"/>
            </a:xfrm>
            <a:custGeom>
              <a:avLst/>
              <a:gdLst/>
              <a:ahLst/>
              <a:cxnLst/>
              <a:rect l="l" t="t" r="r" b="b"/>
              <a:pathLst>
                <a:path w="2561" h="3120" extrusionOk="0">
                  <a:moveTo>
                    <a:pt x="1286" y="262"/>
                  </a:moveTo>
                  <a:cubicBezTo>
                    <a:pt x="1596" y="262"/>
                    <a:pt x="1846" y="512"/>
                    <a:pt x="1846" y="834"/>
                  </a:cubicBezTo>
                  <a:cubicBezTo>
                    <a:pt x="1846" y="1143"/>
                    <a:pt x="1596" y="1393"/>
                    <a:pt x="1286" y="1393"/>
                  </a:cubicBezTo>
                  <a:cubicBezTo>
                    <a:pt x="977" y="1393"/>
                    <a:pt x="715" y="1143"/>
                    <a:pt x="715" y="834"/>
                  </a:cubicBezTo>
                  <a:cubicBezTo>
                    <a:pt x="739" y="512"/>
                    <a:pt x="977" y="262"/>
                    <a:pt x="1286" y="262"/>
                  </a:cubicBezTo>
                  <a:close/>
                  <a:moveTo>
                    <a:pt x="1703" y="1667"/>
                  </a:moveTo>
                  <a:cubicBezTo>
                    <a:pt x="2036" y="1667"/>
                    <a:pt x="2310" y="1929"/>
                    <a:pt x="2310" y="2274"/>
                  </a:cubicBezTo>
                  <a:lnTo>
                    <a:pt x="2310" y="2858"/>
                  </a:lnTo>
                  <a:lnTo>
                    <a:pt x="2001" y="2858"/>
                  </a:lnTo>
                  <a:lnTo>
                    <a:pt x="2001" y="2262"/>
                  </a:lnTo>
                  <a:cubicBezTo>
                    <a:pt x="2001" y="2179"/>
                    <a:pt x="1941" y="2119"/>
                    <a:pt x="1870" y="2119"/>
                  </a:cubicBezTo>
                  <a:cubicBezTo>
                    <a:pt x="1786" y="2119"/>
                    <a:pt x="1727" y="2179"/>
                    <a:pt x="1727" y="2262"/>
                  </a:cubicBezTo>
                  <a:lnTo>
                    <a:pt x="1727" y="2858"/>
                  </a:lnTo>
                  <a:lnTo>
                    <a:pt x="870" y="2858"/>
                  </a:lnTo>
                  <a:lnTo>
                    <a:pt x="870" y="2262"/>
                  </a:lnTo>
                  <a:cubicBezTo>
                    <a:pt x="870" y="2179"/>
                    <a:pt x="810" y="2119"/>
                    <a:pt x="727" y="2119"/>
                  </a:cubicBezTo>
                  <a:cubicBezTo>
                    <a:pt x="655" y="2119"/>
                    <a:pt x="596" y="2179"/>
                    <a:pt x="596" y="2262"/>
                  </a:cubicBezTo>
                  <a:lnTo>
                    <a:pt x="596" y="2858"/>
                  </a:lnTo>
                  <a:lnTo>
                    <a:pt x="298" y="2858"/>
                  </a:lnTo>
                  <a:lnTo>
                    <a:pt x="298" y="2274"/>
                  </a:lnTo>
                  <a:cubicBezTo>
                    <a:pt x="298" y="1929"/>
                    <a:pt x="572" y="1667"/>
                    <a:pt x="905" y="1667"/>
                  </a:cubicBezTo>
                  <a:close/>
                  <a:moveTo>
                    <a:pt x="1286" y="0"/>
                  </a:moveTo>
                  <a:cubicBezTo>
                    <a:pt x="822" y="0"/>
                    <a:pt x="453" y="369"/>
                    <a:pt x="453" y="834"/>
                  </a:cubicBezTo>
                  <a:cubicBezTo>
                    <a:pt x="453" y="1048"/>
                    <a:pt x="536" y="1262"/>
                    <a:pt x="691" y="1405"/>
                  </a:cubicBezTo>
                  <a:cubicBezTo>
                    <a:pt x="298" y="1500"/>
                    <a:pt x="1" y="1857"/>
                    <a:pt x="1" y="2274"/>
                  </a:cubicBezTo>
                  <a:lnTo>
                    <a:pt x="1" y="2858"/>
                  </a:lnTo>
                  <a:cubicBezTo>
                    <a:pt x="1" y="3000"/>
                    <a:pt x="120" y="3120"/>
                    <a:pt x="274" y="3120"/>
                  </a:cubicBezTo>
                  <a:lnTo>
                    <a:pt x="2298" y="3120"/>
                  </a:lnTo>
                  <a:cubicBezTo>
                    <a:pt x="2441" y="3120"/>
                    <a:pt x="2560" y="3000"/>
                    <a:pt x="2560" y="2858"/>
                  </a:cubicBezTo>
                  <a:lnTo>
                    <a:pt x="2560" y="2274"/>
                  </a:lnTo>
                  <a:cubicBezTo>
                    <a:pt x="2560" y="1857"/>
                    <a:pt x="2275" y="1500"/>
                    <a:pt x="1882" y="1405"/>
                  </a:cubicBezTo>
                  <a:cubicBezTo>
                    <a:pt x="2025" y="1262"/>
                    <a:pt x="2120" y="1048"/>
                    <a:pt x="2120" y="834"/>
                  </a:cubicBezTo>
                  <a:cubicBezTo>
                    <a:pt x="2120" y="369"/>
                    <a:pt x="1751" y="0"/>
                    <a:pt x="1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1" name="Google Shape;11391;p60"/>
            <p:cNvSpPr/>
            <p:nvPr/>
          </p:nvSpPr>
          <p:spPr>
            <a:xfrm>
              <a:off x="5554706" y="3945530"/>
              <a:ext cx="98952" cy="98251"/>
            </a:xfrm>
            <a:custGeom>
              <a:avLst/>
              <a:gdLst/>
              <a:ahLst/>
              <a:cxnLst/>
              <a:rect l="l" t="t" r="r" b="b"/>
              <a:pathLst>
                <a:path w="3109" h="3087" extrusionOk="0">
                  <a:moveTo>
                    <a:pt x="2959" y="1"/>
                  </a:moveTo>
                  <a:cubicBezTo>
                    <a:pt x="2892" y="1"/>
                    <a:pt x="2823" y="56"/>
                    <a:pt x="2823" y="122"/>
                  </a:cubicBezTo>
                  <a:cubicBezTo>
                    <a:pt x="2680" y="1550"/>
                    <a:pt x="1561" y="2669"/>
                    <a:pt x="132" y="2812"/>
                  </a:cubicBezTo>
                  <a:cubicBezTo>
                    <a:pt x="61" y="2824"/>
                    <a:pt x="1" y="2884"/>
                    <a:pt x="13" y="2967"/>
                  </a:cubicBezTo>
                  <a:cubicBezTo>
                    <a:pt x="13" y="3039"/>
                    <a:pt x="72" y="3086"/>
                    <a:pt x="144" y="3086"/>
                  </a:cubicBezTo>
                  <a:lnTo>
                    <a:pt x="168" y="3086"/>
                  </a:lnTo>
                  <a:cubicBezTo>
                    <a:pt x="1704" y="2931"/>
                    <a:pt x="2942" y="1717"/>
                    <a:pt x="3097" y="145"/>
                  </a:cubicBezTo>
                  <a:cubicBezTo>
                    <a:pt x="3109" y="74"/>
                    <a:pt x="3049" y="2"/>
                    <a:pt x="2978" y="2"/>
                  </a:cubicBezTo>
                  <a:cubicBezTo>
                    <a:pt x="2971" y="1"/>
                    <a:pt x="2965" y="1"/>
                    <a:pt x="29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2" name="Google Shape;11392;p60"/>
          <p:cNvGrpSpPr/>
          <p:nvPr/>
        </p:nvGrpSpPr>
        <p:grpSpPr>
          <a:xfrm>
            <a:off x="8036455" y="3807271"/>
            <a:ext cx="292176" cy="353985"/>
            <a:chOff x="8036455" y="3807271"/>
            <a:chExt cx="292176" cy="353985"/>
          </a:xfrm>
        </p:grpSpPr>
        <p:sp>
          <p:nvSpPr>
            <p:cNvPr id="11393" name="Google Shape;11393;p60"/>
            <p:cNvSpPr/>
            <p:nvPr/>
          </p:nvSpPr>
          <p:spPr>
            <a:xfrm>
              <a:off x="8039479" y="3807271"/>
              <a:ext cx="289153" cy="330465"/>
            </a:xfrm>
            <a:custGeom>
              <a:avLst/>
              <a:gdLst/>
              <a:ahLst/>
              <a:cxnLst/>
              <a:rect l="l" t="t" r="r" b="b"/>
              <a:pathLst>
                <a:path w="9085" h="10383" extrusionOk="0">
                  <a:moveTo>
                    <a:pt x="6049" y="298"/>
                  </a:moveTo>
                  <a:lnTo>
                    <a:pt x="4489" y="1358"/>
                  </a:lnTo>
                  <a:lnTo>
                    <a:pt x="2917" y="298"/>
                  </a:lnTo>
                  <a:close/>
                  <a:moveTo>
                    <a:pt x="2465" y="406"/>
                  </a:moveTo>
                  <a:lnTo>
                    <a:pt x="4203" y="1620"/>
                  </a:lnTo>
                  <a:lnTo>
                    <a:pt x="3203" y="2632"/>
                  </a:lnTo>
                  <a:lnTo>
                    <a:pt x="2203" y="1037"/>
                  </a:lnTo>
                  <a:lnTo>
                    <a:pt x="2465" y="406"/>
                  </a:lnTo>
                  <a:close/>
                  <a:moveTo>
                    <a:pt x="6513" y="382"/>
                  </a:moveTo>
                  <a:lnTo>
                    <a:pt x="6763" y="1025"/>
                  </a:lnTo>
                  <a:lnTo>
                    <a:pt x="5763" y="2632"/>
                  </a:lnTo>
                  <a:lnTo>
                    <a:pt x="4739" y="1572"/>
                  </a:lnTo>
                  <a:lnTo>
                    <a:pt x="6513" y="382"/>
                  </a:lnTo>
                  <a:close/>
                  <a:moveTo>
                    <a:pt x="4501" y="1787"/>
                  </a:moveTo>
                  <a:lnTo>
                    <a:pt x="5334" y="2632"/>
                  </a:lnTo>
                  <a:lnTo>
                    <a:pt x="4941" y="3061"/>
                  </a:lnTo>
                  <a:lnTo>
                    <a:pt x="4036" y="3061"/>
                  </a:lnTo>
                  <a:lnTo>
                    <a:pt x="3667" y="2632"/>
                  </a:lnTo>
                  <a:lnTo>
                    <a:pt x="4501" y="1787"/>
                  </a:lnTo>
                  <a:close/>
                  <a:moveTo>
                    <a:pt x="2405" y="1"/>
                  </a:moveTo>
                  <a:lnTo>
                    <a:pt x="2382" y="13"/>
                  </a:lnTo>
                  <a:lnTo>
                    <a:pt x="2370" y="25"/>
                  </a:lnTo>
                  <a:lnTo>
                    <a:pt x="2358" y="48"/>
                  </a:lnTo>
                  <a:lnTo>
                    <a:pt x="2346" y="60"/>
                  </a:lnTo>
                  <a:lnTo>
                    <a:pt x="2346" y="72"/>
                  </a:lnTo>
                  <a:lnTo>
                    <a:pt x="1989" y="965"/>
                  </a:lnTo>
                  <a:lnTo>
                    <a:pt x="107" y="1739"/>
                  </a:lnTo>
                  <a:cubicBezTo>
                    <a:pt x="48" y="1775"/>
                    <a:pt x="0" y="1834"/>
                    <a:pt x="0" y="1894"/>
                  </a:cubicBezTo>
                  <a:lnTo>
                    <a:pt x="0" y="3620"/>
                  </a:lnTo>
                  <a:cubicBezTo>
                    <a:pt x="0" y="3704"/>
                    <a:pt x="84" y="3775"/>
                    <a:pt x="167" y="3775"/>
                  </a:cubicBezTo>
                  <a:cubicBezTo>
                    <a:pt x="262" y="3775"/>
                    <a:pt x="334" y="3704"/>
                    <a:pt x="334" y="3620"/>
                  </a:cubicBezTo>
                  <a:lnTo>
                    <a:pt x="334" y="1989"/>
                  </a:lnTo>
                  <a:lnTo>
                    <a:pt x="2084" y="1275"/>
                  </a:lnTo>
                  <a:lnTo>
                    <a:pt x="3144" y="2977"/>
                  </a:lnTo>
                  <a:cubicBezTo>
                    <a:pt x="3179" y="3025"/>
                    <a:pt x="3215" y="3049"/>
                    <a:pt x="3263" y="3049"/>
                  </a:cubicBezTo>
                  <a:lnTo>
                    <a:pt x="3370" y="3049"/>
                  </a:lnTo>
                  <a:lnTo>
                    <a:pt x="3382" y="3037"/>
                  </a:lnTo>
                  <a:lnTo>
                    <a:pt x="3513" y="2906"/>
                  </a:lnTo>
                  <a:lnTo>
                    <a:pt x="3870" y="3323"/>
                  </a:lnTo>
                  <a:lnTo>
                    <a:pt x="3429" y="5609"/>
                  </a:lnTo>
                  <a:cubicBezTo>
                    <a:pt x="3417" y="5704"/>
                    <a:pt x="3477" y="5787"/>
                    <a:pt x="3560" y="5799"/>
                  </a:cubicBezTo>
                  <a:lnTo>
                    <a:pt x="3679" y="5799"/>
                  </a:lnTo>
                  <a:cubicBezTo>
                    <a:pt x="3679" y="5799"/>
                    <a:pt x="3691" y="5799"/>
                    <a:pt x="3691" y="5787"/>
                  </a:cubicBezTo>
                  <a:lnTo>
                    <a:pt x="3691" y="5775"/>
                  </a:lnTo>
                  <a:lnTo>
                    <a:pt x="3691" y="5751"/>
                  </a:lnTo>
                  <a:lnTo>
                    <a:pt x="3691" y="5740"/>
                  </a:lnTo>
                  <a:lnTo>
                    <a:pt x="3691" y="5728"/>
                  </a:lnTo>
                  <a:lnTo>
                    <a:pt x="4120" y="3477"/>
                  </a:lnTo>
                  <a:lnTo>
                    <a:pt x="4918" y="3477"/>
                  </a:lnTo>
                  <a:lnTo>
                    <a:pt x="5906" y="8633"/>
                  </a:lnTo>
                  <a:lnTo>
                    <a:pt x="4513" y="9978"/>
                  </a:lnTo>
                  <a:lnTo>
                    <a:pt x="3108" y="8633"/>
                  </a:lnTo>
                  <a:lnTo>
                    <a:pt x="3572" y="6228"/>
                  </a:lnTo>
                  <a:lnTo>
                    <a:pt x="3572" y="6204"/>
                  </a:lnTo>
                  <a:cubicBezTo>
                    <a:pt x="3572" y="6132"/>
                    <a:pt x="3513" y="6049"/>
                    <a:pt x="3441" y="6037"/>
                  </a:cubicBezTo>
                  <a:cubicBezTo>
                    <a:pt x="3433" y="6036"/>
                    <a:pt x="3425" y="6036"/>
                    <a:pt x="3417" y="6036"/>
                  </a:cubicBezTo>
                  <a:cubicBezTo>
                    <a:pt x="3332" y="6036"/>
                    <a:pt x="3262" y="6092"/>
                    <a:pt x="3251" y="6168"/>
                  </a:cubicBezTo>
                  <a:lnTo>
                    <a:pt x="2751" y="8657"/>
                  </a:lnTo>
                  <a:cubicBezTo>
                    <a:pt x="2739" y="8716"/>
                    <a:pt x="2751" y="8764"/>
                    <a:pt x="2798" y="8811"/>
                  </a:cubicBezTo>
                  <a:lnTo>
                    <a:pt x="4382" y="10335"/>
                  </a:lnTo>
                  <a:cubicBezTo>
                    <a:pt x="4406" y="10371"/>
                    <a:pt x="4453" y="10383"/>
                    <a:pt x="4501" y="10383"/>
                  </a:cubicBezTo>
                  <a:cubicBezTo>
                    <a:pt x="4537" y="10383"/>
                    <a:pt x="4584" y="10371"/>
                    <a:pt x="4620" y="10335"/>
                  </a:cubicBezTo>
                  <a:lnTo>
                    <a:pt x="6192" y="8811"/>
                  </a:lnTo>
                  <a:cubicBezTo>
                    <a:pt x="6239" y="8764"/>
                    <a:pt x="6251" y="8716"/>
                    <a:pt x="6239" y="8657"/>
                  </a:cubicBezTo>
                  <a:lnTo>
                    <a:pt x="5215" y="3370"/>
                  </a:lnTo>
                  <a:lnTo>
                    <a:pt x="5572" y="2953"/>
                  </a:lnTo>
                  <a:lnTo>
                    <a:pt x="5703" y="3096"/>
                  </a:lnTo>
                  <a:lnTo>
                    <a:pt x="5715" y="3108"/>
                  </a:lnTo>
                  <a:lnTo>
                    <a:pt x="5822" y="3108"/>
                  </a:lnTo>
                  <a:cubicBezTo>
                    <a:pt x="5870" y="3108"/>
                    <a:pt x="5906" y="3073"/>
                    <a:pt x="5941" y="3037"/>
                  </a:cubicBezTo>
                  <a:lnTo>
                    <a:pt x="7001" y="1334"/>
                  </a:lnTo>
                  <a:lnTo>
                    <a:pt x="8751" y="2049"/>
                  </a:lnTo>
                  <a:lnTo>
                    <a:pt x="8751" y="8228"/>
                  </a:lnTo>
                  <a:cubicBezTo>
                    <a:pt x="8751" y="8311"/>
                    <a:pt x="8823" y="8395"/>
                    <a:pt x="8918" y="8395"/>
                  </a:cubicBezTo>
                  <a:cubicBezTo>
                    <a:pt x="9001" y="8395"/>
                    <a:pt x="9085" y="8311"/>
                    <a:pt x="9085" y="8228"/>
                  </a:cubicBezTo>
                  <a:lnTo>
                    <a:pt x="9085" y="1930"/>
                  </a:lnTo>
                  <a:cubicBezTo>
                    <a:pt x="9073" y="1810"/>
                    <a:pt x="9037" y="1751"/>
                    <a:pt x="8978" y="1739"/>
                  </a:cubicBezTo>
                  <a:lnTo>
                    <a:pt x="7108" y="965"/>
                  </a:lnTo>
                  <a:lnTo>
                    <a:pt x="6751" y="72"/>
                  </a:lnTo>
                  <a:lnTo>
                    <a:pt x="6751" y="60"/>
                  </a:lnTo>
                  <a:cubicBezTo>
                    <a:pt x="6751" y="60"/>
                    <a:pt x="6751" y="48"/>
                    <a:pt x="6727" y="48"/>
                  </a:cubicBezTo>
                  <a:lnTo>
                    <a:pt x="6715" y="25"/>
                  </a:lnTo>
                  <a:lnTo>
                    <a:pt x="6703" y="13"/>
                  </a:lnTo>
                  <a:lnTo>
                    <a:pt x="6692"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4" name="Google Shape;11394;p60"/>
            <p:cNvSpPr/>
            <p:nvPr/>
          </p:nvSpPr>
          <p:spPr>
            <a:xfrm>
              <a:off x="8036455" y="3934613"/>
              <a:ext cx="291795" cy="226644"/>
            </a:xfrm>
            <a:custGeom>
              <a:avLst/>
              <a:gdLst/>
              <a:ahLst/>
              <a:cxnLst/>
              <a:rect l="l" t="t" r="r" b="b"/>
              <a:pathLst>
                <a:path w="9168" h="7121" extrusionOk="0">
                  <a:moveTo>
                    <a:pt x="155" y="0"/>
                  </a:moveTo>
                  <a:cubicBezTo>
                    <a:pt x="71" y="0"/>
                    <a:pt x="0" y="72"/>
                    <a:pt x="0" y="167"/>
                  </a:cubicBezTo>
                  <a:lnTo>
                    <a:pt x="0" y="6953"/>
                  </a:lnTo>
                  <a:cubicBezTo>
                    <a:pt x="0" y="7037"/>
                    <a:pt x="71" y="7120"/>
                    <a:pt x="155" y="7120"/>
                  </a:cubicBezTo>
                  <a:lnTo>
                    <a:pt x="9001" y="7120"/>
                  </a:lnTo>
                  <a:cubicBezTo>
                    <a:pt x="9084" y="7120"/>
                    <a:pt x="9168" y="7037"/>
                    <a:pt x="9168" y="6953"/>
                  </a:cubicBezTo>
                  <a:lnTo>
                    <a:pt x="9168" y="4715"/>
                  </a:lnTo>
                  <a:cubicBezTo>
                    <a:pt x="9168" y="4632"/>
                    <a:pt x="9084" y="4560"/>
                    <a:pt x="9001" y="4560"/>
                  </a:cubicBezTo>
                  <a:cubicBezTo>
                    <a:pt x="8906" y="4560"/>
                    <a:pt x="8834" y="4632"/>
                    <a:pt x="8834" y="4715"/>
                  </a:cubicBezTo>
                  <a:lnTo>
                    <a:pt x="8834" y="6787"/>
                  </a:lnTo>
                  <a:lnTo>
                    <a:pt x="321" y="6787"/>
                  </a:lnTo>
                  <a:lnTo>
                    <a:pt x="321" y="167"/>
                  </a:lnTo>
                  <a:cubicBezTo>
                    <a:pt x="321"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95" name="Google Shape;11395;p60"/>
          <p:cNvGrpSpPr/>
          <p:nvPr/>
        </p:nvGrpSpPr>
        <p:grpSpPr>
          <a:xfrm>
            <a:off x="4874902" y="3808799"/>
            <a:ext cx="345615" cy="350835"/>
            <a:chOff x="4874902" y="3808799"/>
            <a:chExt cx="345615" cy="350835"/>
          </a:xfrm>
        </p:grpSpPr>
        <p:sp>
          <p:nvSpPr>
            <p:cNvPr id="11396" name="Google Shape;11396;p60"/>
            <p:cNvSpPr/>
            <p:nvPr/>
          </p:nvSpPr>
          <p:spPr>
            <a:xfrm>
              <a:off x="4874902" y="3808799"/>
              <a:ext cx="345615" cy="350835"/>
            </a:xfrm>
            <a:custGeom>
              <a:avLst/>
              <a:gdLst/>
              <a:ahLst/>
              <a:cxnLst/>
              <a:rect l="l" t="t" r="r" b="b"/>
              <a:pathLst>
                <a:path w="10859" h="11023" extrusionOk="0">
                  <a:moveTo>
                    <a:pt x="6632" y="274"/>
                  </a:moveTo>
                  <a:cubicBezTo>
                    <a:pt x="6858" y="274"/>
                    <a:pt x="7037" y="453"/>
                    <a:pt x="7037" y="679"/>
                  </a:cubicBezTo>
                  <a:cubicBezTo>
                    <a:pt x="7037" y="905"/>
                    <a:pt x="6858" y="1084"/>
                    <a:pt x="6632" y="1084"/>
                  </a:cubicBezTo>
                  <a:lnTo>
                    <a:pt x="4906" y="1084"/>
                  </a:lnTo>
                  <a:cubicBezTo>
                    <a:pt x="4691" y="1084"/>
                    <a:pt x="4513" y="905"/>
                    <a:pt x="4513" y="679"/>
                  </a:cubicBezTo>
                  <a:cubicBezTo>
                    <a:pt x="4513" y="453"/>
                    <a:pt x="4691" y="274"/>
                    <a:pt x="4906" y="274"/>
                  </a:cubicBezTo>
                  <a:close/>
                  <a:moveTo>
                    <a:pt x="5965" y="1405"/>
                  </a:moveTo>
                  <a:lnTo>
                    <a:pt x="5965" y="1965"/>
                  </a:lnTo>
                  <a:lnTo>
                    <a:pt x="5572" y="1965"/>
                  </a:lnTo>
                  <a:lnTo>
                    <a:pt x="5572" y="1405"/>
                  </a:lnTo>
                  <a:close/>
                  <a:moveTo>
                    <a:pt x="5790" y="2285"/>
                  </a:moveTo>
                  <a:cubicBezTo>
                    <a:pt x="7012" y="2285"/>
                    <a:pt x="8209" y="2830"/>
                    <a:pt x="9037" y="3834"/>
                  </a:cubicBezTo>
                  <a:cubicBezTo>
                    <a:pt x="10513" y="5632"/>
                    <a:pt x="10228" y="8287"/>
                    <a:pt x="8430" y="9763"/>
                  </a:cubicBezTo>
                  <a:cubicBezTo>
                    <a:pt x="7647" y="10392"/>
                    <a:pt x="6705" y="10700"/>
                    <a:pt x="5771" y="10700"/>
                  </a:cubicBezTo>
                  <a:cubicBezTo>
                    <a:pt x="4545" y="10700"/>
                    <a:pt x="3331" y="10171"/>
                    <a:pt x="2500" y="9144"/>
                  </a:cubicBezTo>
                  <a:cubicBezTo>
                    <a:pt x="405" y="6573"/>
                    <a:pt x="2000" y="2715"/>
                    <a:pt x="5239" y="2322"/>
                  </a:cubicBezTo>
                  <a:cubicBezTo>
                    <a:pt x="5422" y="2297"/>
                    <a:pt x="5606" y="2285"/>
                    <a:pt x="5790" y="2285"/>
                  </a:cubicBezTo>
                  <a:close/>
                  <a:moveTo>
                    <a:pt x="4917" y="0"/>
                  </a:moveTo>
                  <a:cubicBezTo>
                    <a:pt x="4513" y="0"/>
                    <a:pt x="4203" y="322"/>
                    <a:pt x="4203" y="715"/>
                  </a:cubicBezTo>
                  <a:cubicBezTo>
                    <a:pt x="4203" y="1108"/>
                    <a:pt x="4525" y="1429"/>
                    <a:pt x="4917" y="1429"/>
                  </a:cubicBezTo>
                  <a:lnTo>
                    <a:pt x="5251" y="1429"/>
                  </a:lnTo>
                  <a:lnTo>
                    <a:pt x="5251" y="1989"/>
                  </a:lnTo>
                  <a:cubicBezTo>
                    <a:pt x="1727" y="2393"/>
                    <a:pt x="0" y="6573"/>
                    <a:pt x="2262" y="9359"/>
                  </a:cubicBezTo>
                  <a:cubicBezTo>
                    <a:pt x="3161" y="10454"/>
                    <a:pt x="4471" y="11023"/>
                    <a:pt x="5790" y="11023"/>
                  </a:cubicBezTo>
                  <a:cubicBezTo>
                    <a:pt x="6795" y="11023"/>
                    <a:pt x="7805" y="10693"/>
                    <a:pt x="8644" y="10013"/>
                  </a:cubicBezTo>
                  <a:cubicBezTo>
                    <a:pt x="10585" y="8430"/>
                    <a:pt x="10859" y="5561"/>
                    <a:pt x="9287" y="3632"/>
                  </a:cubicBezTo>
                  <a:cubicBezTo>
                    <a:pt x="8513" y="2679"/>
                    <a:pt x="7430" y="2120"/>
                    <a:pt x="6299" y="1989"/>
                  </a:cubicBezTo>
                  <a:lnTo>
                    <a:pt x="6299" y="1429"/>
                  </a:lnTo>
                  <a:lnTo>
                    <a:pt x="6644" y="1429"/>
                  </a:lnTo>
                  <a:cubicBezTo>
                    <a:pt x="7037" y="1429"/>
                    <a:pt x="7358" y="1096"/>
                    <a:pt x="7358" y="715"/>
                  </a:cubicBezTo>
                  <a:cubicBezTo>
                    <a:pt x="7358" y="310"/>
                    <a:pt x="7025" y="0"/>
                    <a:pt x="6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7" name="Google Shape;11397;p60"/>
            <p:cNvSpPr/>
            <p:nvPr/>
          </p:nvSpPr>
          <p:spPr>
            <a:xfrm>
              <a:off x="4939321" y="4009630"/>
              <a:ext cx="145929" cy="123618"/>
            </a:xfrm>
            <a:custGeom>
              <a:avLst/>
              <a:gdLst/>
              <a:ahLst/>
              <a:cxnLst/>
              <a:rect l="l" t="t" r="r" b="b"/>
              <a:pathLst>
                <a:path w="4585" h="3884" extrusionOk="0">
                  <a:moveTo>
                    <a:pt x="203" y="1"/>
                  </a:moveTo>
                  <a:cubicBezTo>
                    <a:pt x="119" y="1"/>
                    <a:pt x="48" y="72"/>
                    <a:pt x="48" y="155"/>
                  </a:cubicBezTo>
                  <a:cubicBezTo>
                    <a:pt x="48" y="203"/>
                    <a:pt x="0" y="965"/>
                    <a:pt x="429" y="1810"/>
                  </a:cubicBezTo>
                  <a:cubicBezTo>
                    <a:pt x="691" y="2334"/>
                    <a:pt x="1072" y="2799"/>
                    <a:pt x="1548" y="3156"/>
                  </a:cubicBezTo>
                  <a:cubicBezTo>
                    <a:pt x="2212" y="3644"/>
                    <a:pt x="2997" y="3883"/>
                    <a:pt x="3771" y="3883"/>
                  </a:cubicBezTo>
                  <a:cubicBezTo>
                    <a:pt x="3996" y="3883"/>
                    <a:pt x="4221" y="3863"/>
                    <a:pt x="4441" y="3823"/>
                  </a:cubicBezTo>
                  <a:cubicBezTo>
                    <a:pt x="4525" y="3811"/>
                    <a:pt x="4584" y="3715"/>
                    <a:pt x="4572" y="3632"/>
                  </a:cubicBezTo>
                  <a:cubicBezTo>
                    <a:pt x="4540" y="3545"/>
                    <a:pt x="4477" y="3488"/>
                    <a:pt x="4394" y="3488"/>
                  </a:cubicBezTo>
                  <a:cubicBezTo>
                    <a:pt x="4386" y="3488"/>
                    <a:pt x="4378" y="3488"/>
                    <a:pt x="4370" y="3489"/>
                  </a:cubicBezTo>
                  <a:cubicBezTo>
                    <a:pt x="4161" y="3528"/>
                    <a:pt x="3950" y="3547"/>
                    <a:pt x="3739" y="3547"/>
                  </a:cubicBezTo>
                  <a:cubicBezTo>
                    <a:pt x="3035" y="3547"/>
                    <a:pt x="2334" y="3331"/>
                    <a:pt x="1739" y="2882"/>
                  </a:cubicBezTo>
                  <a:cubicBezTo>
                    <a:pt x="286" y="1810"/>
                    <a:pt x="369" y="155"/>
                    <a:pt x="369" y="155"/>
                  </a:cubicBezTo>
                  <a:cubicBezTo>
                    <a:pt x="369" y="72"/>
                    <a:pt x="298"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8" name="Google Shape;11398;p60"/>
            <p:cNvSpPr/>
            <p:nvPr/>
          </p:nvSpPr>
          <p:spPr>
            <a:xfrm>
              <a:off x="4942344" y="3897629"/>
              <a:ext cx="205033" cy="101816"/>
            </a:xfrm>
            <a:custGeom>
              <a:avLst/>
              <a:gdLst/>
              <a:ahLst/>
              <a:cxnLst/>
              <a:rect l="l" t="t" r="r" b="b"/>
              <a:pathLst>
                <a:path w="6442" h="3199" extrusionOk="0">
                  <a:moveTo>
                    <a:pt x="3666" y="0"/>
                  </a:moveTo>
                  <a:cubicBezTo>
                    <a:pt x="1972" y="0"/>
                    <a:pt x="363" y="1175"/>
                    <a:pt x="24" y="3008"/>
                  </a:cubicBezTo>
                  <a:cubicBezTo>
                    <a:pt x="0" y="3115"/>
                    <a:pt x="72" y="3198"/>
                    <a:pt x="179" y="3198"/>
                  </a:cubicBezTo>
                  <a:cubicBezTo>
                    <a:pt x="251" y="3198"/>
                    <a:pt x="322" y="3139"/>
                    <a:pt x="334" y="3067"/>
                  </a:cubicBezTo>
                  <a:cubicBezTo>
                    <a:pt x="656" y="1384"/>
                    <a:pt x="2127" y="318"/>
                    <a:pt x="3670" y="318"/>
                  </a:cubicBezTo>
                  <a:cubicBezTo>
                    <a:pt x="4353" y="318"/>
                    <a:pt x="5050" y="527"/>
                    <a:pt x="5668" y="984"/>
                  </a:cubicBezTo>
                  <a:cubicBezTo>
                    <a:pt x="5846" y="1115"/>
                    <a:pt x="5989" y="1257"/>
                    <a:pt x="6144" y="1412"/>
                  </a:cubicBezTo>
                  <a:cubicBezTo>
                    <a:pt x="6180" y="1448"/>
                    <a:pt x="6228" y="1471"/>
                    <a:pt x="6274" y="1471"/>
                  </a:cubicBezTo>
                  <a:cubicBezTo>
                    <a:pt x="6305" y="1471"/>
                    <a:pt x="6334" y="1460"/>
                    <a:pt x="6358" y="1436"/>
                  </a:cubicBezTo>
                  <a:cubicBezTo>
                    <a:pt x="6430" y="1377"/>
                    <a:pt x="6442" y="1269"/>
                    <a:pt x="6382" y="1210"/>
                  </a:cubicBezTo>
                  <a:cubicBezTo>
                    <a:pt x="6216" y="1031"/>
                    <a:pt x="6049" y="876"/>
                    <a:pt x="5858" y="734"/>
                  </a:cubicBezTo>
                  <a:cubicBezTo>
                    <a:pt x="5179" y="230"/>
                    <a:pt x="4414" y="0"/>
                    <a:pt x="36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9" name="Google Shape;11399;p60"/>
            <p:cNvSpPr/>
            <p:nvPr/>
          </p:nvSpPr>
          <p:spPr>
            <a:xfrm>
              <a:off x="5092729" y="3950240"/>
              <a:ext cx="84597" cy="175465"/>
            </a:xfrm>
            <a:custGeom>
              <a:avLst/>
              <a:gdLst/>
              <a:ahLst/>
              <a:cxnLst/>
              <a:rect l="l" t="t" r="r" b="b"/>
              <a:pathLst>
                <a:path w="2658" h="5513" extrusionOk="0">
                  <a:moveTo>
                    <a:pt x="1939" y="0"/>
                  </a:moveTo>
                  <a:cubicBezTo>
                    <a:pt x="1907" y="0"/>
                    <a:pt x="1875" y="11"/>
                    <a:pt x="1848" y="33"/>
                  </a:cubicBezTo>
                  <a:cubicBezTo>
                    <a:pt x="1776" y="81"/>
                    <a:pt x="1741" y="176"/>
                    <a:pt x="1800" y="259"/>
                  </a:cubicBezTo>
                  <a:cubicBezTo>
                    <a:pt x="2145" y="795"/>
                    <a:pt x="2324" y="1414"/>
                    <a:pt x="2324" y="2057"/>
                  </a:cubicBezTo>
                  <a:cubicBezTo>
                    <a:pt x="2324" y="3486"/>
                    <a:pt x="1431" y="4724"/>
                    <a:pt x="169" y="5200"/>
                  </a:cubicBezTo>
                  <a:cubicBezTo>
                    <a:pt x="1" y="5263"/>
                    <a:pt x="55" y="5512"/>
                    <a:pt x="218" y="5512"/>
                  </a:cubicBezTo>
                  <a:cubicBezTo>
                    <a:pt x="239" y="5512"/>
                    <a:pt x="263" y="5508"/>
                    <a:pt x="288" y="5498"/>
                  </a:cubicBezTo>
                  <a:cubicBezTo>
                    <a:pt x="1669" y="4962"/>
                    <a:pt x="2657" y="3605"/>
                    <a:pt x="2657" y="2045"/>
                  </a:cubicBezTo>
                  <a:cubicBezTo>
                    <a:pt x="2622" y="1343"/>
                    <a:pt x="2431" y="676"/>
                    <a:pt x="2074" y="81"/>
                  </a:cubicBezTo>
                  <a:cubicBezTo>
                    <a:pt x="2044" y="29"/>
                    <a:pt x="1992" y="0"/>
                    <a:pt x="19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0" name="Google Shape;11400;p60"/>
            <p:cNvSpPr/>
            <p:nvPr/>
          </p:nvSpPr>
          <p:spPr>
            <a:xfrm>
              <a:off x="5004886" y="3993717"/>
              <a:ext cx="81478" cy="55348"/>
            </a:xfrm>
            <a:custGeom>
              <a:avLst/>
              <a:gdLst/>
              <a:ahLst/>
              <a:cxnLst/>
              <a:rect l="l" t="t" r="r" b="b"/>
              <a:pathLst>
                <a:path w="2560" h="1739" extrusionOk="0">
                  <a:moveTo>
                    <a:pt x="1691" y="334"/>
                  </a:moveTo>
                  <a:cubicBezTo>
                    <a:pt x="1976" y="334"/>
                    <a:pt x="2143" y="655"/>
                    <a:pt x="1976" y="882"/>
                  </a:cubicBezTo>
                  <a:cubicBezTo>
                    <a:pt x="1913" y="974"/>
                    <a:pt x="1806" y="1024"/>
                    <a:pt x="1698" y="1024"/>
                  </a:cubicBezTo>
                  <a:cubicBezTo>
                    <a:pt x="1625" y="1024"/>
                    <a:pt x="1551" y="1001"/>
                    <a:pt x="1488" y="953"/>
                  </a:cubicBezTo>
                  <a:cubicBezTo>
                    <a:pt x="1214" y="763"/>
                    <a:pt x="1369" y="334"/>
                    <a:pt x="1691" y="334"/>
                  </a:cubicBezTo>
                  <a:close/>
                  <a:moveTo>
                    <a:pt x="1691" y="1"/>
                  </a:moveTo>
                  <a:cubicBezTo>
                    <a:pt x="1584" y="1"/>
                    <a:pt x="1334" y="36"/>
                    <a:pt x="1155" y="274"/>
                  </a:cubicBezTo>
                  <a:cubicBezTo>
                    <a:pt x="1024" y="453"/>
                    <a:pt x="988" y="655"/>
                    <a:pt x="1048" y="846"/>
                  </a:cubicBezTo>
                  <a:lnTo>
                    <a:pt x="131" y="1441"/>
                  </a:lnTo>
                  <a:cubicBezTo>
                    <a:pt x="0" y="1536"/>
                    <a:pt x="60" y="1739"/>
                    <a:pt x="214" y="1739"/>
                  </a:cubicBezTo>
                  <a:cubicBezTo>
                    <a:pt x="310" y="1739"/>
                    <a:pt x="262" y="1727"/>
                    <a:pt x="1214" y="1132"/>
                  </a:cubicBezTo>
                  <a:cubicBezTo>
                    <a:pt x="1346" y="1279"/>
                    <a:pt x="1520" y="1349"/>
                    <a:pt x="1692" y="1349"/>
                  </a:cubicBezTo>
                  <a:cubicBezTo>
                    <a:pt x="1896" y="1349"/>
                    <a:pt x="2098" y="1252"/>
                    <a:pt x="2226" y="1072"/>
                  </a:cubicBezTo>
                  <a:cubicBezTo>
                    <a:pt x="2560" y="632"/>
                    <a:pt x="2238" y="1"/>
                    <a:pt x="1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1" name="Google Shape;11401;p60"/>
            <p:cNvSpPr/>
            <p:nvPr/>
          </p:nvSpPr>
          <p:spPr>
            <a:xfrm>
              <a:off x="5053391" y="3915262"/>
              <a:ext cx="10630" cy="29982"/>
            </a:xfrm>
            <a:custGeom>
              <a:avLst/>
              <a:gdLst/>
              <a:ahLst/>
              <a:cxnLst/>
              <a:rect l="l" t="t" r="r" b="b"/>
              <a:pathLst>
                <a:path w="334" h="942" extrusionOk="0">
                  <a:moveTo>
                    <a:pt x="167" y="1"/>
                  </a:moveTo>
                  <a:cubicBezTo>
                    <a:pt x="83" y="1"/>
                    <a:pt x="0" y="72"/>
                    <a:pt x="0" y="168"/>
                  </a:cubicBezTo>
                  <a:lnTo>
                    <a:pt x="0" y="775"/>
                  </a:lnTo>
                  <a:cubicBezTo>
                    <a:pt x="0" y="858"/>
                    <a:pt x="83" y="942"/>
                    <a:pt x="167" y="942"/>
                  </a:cubicBezTo>
                  <a:cubicBezTo>
                    <a:pt x="262" y="942"/>
                    <a:pt x="333" y="858"/>
                    <a:pt x="333" y="775"/>
                  </a:cubicBezTo>
                  <a:lnTo>
                    <a:pt x="333" y="168"/>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2" name="Google Shape;11402;p60"/>
            <p:cNvSpPr/>
            <p:nvPr/>
          </p:nvSpPr>
          <p:spPr>
            <a:xfrm>
              <a:off x="5005236" y="3928216"/>
              <a:ext cx="21261" cy="26894"/>
            </a:xfrm>
            <a:custGeom>
              <a:avLst/>
              <a:gdLst/>
              <a:ahLst/>
              <a:cxnLst/>
              <a:rect l="l" t="t" r="r" b="b"/>
              <a:pathLst>
                <a:path w="668" h="845" extrusionOk="0">
                  <a:moveTo>
                    <a:pt x="183" y="1"/>
                  </a:moveTo>
                  <a:cubicBezTo>
                    <a:pt x="156" y="1"/>
                    <a:pt x="130" y="8"/>
                    <a:pt x="108" y="23"/>
                  </a:cubicBezTo>
                  <a:cubicBezTo>
                    <a:pt x="25" y="70"/>
                    <a:pt x="1" y="177"/>
                    <a:pt x="49" y="249"/>
                  </a:cubicBezTo>
                  <a:lnTo>
                    <a:pt x="346" y="773"/>
                  </a:lnTo>
                  <a:cubicBezTo>
                    <a:pt x="382" y="808"/>
                    <a:pt x="430" y="844"/>
                    <a:pt x="489" y="844"/>
                  </a:cubicBezTo>
                  <a:cubicBezTo>
                    <a:pt x="525" y="844"/>
                    <a:pt x="549" y="844"/>
                    <a:pt x="561" y="832"/>
                  </a:cubicBezTo>
                  <a:cubicBezTo>
                    <a:pt x="644" y="785"/>
                    <a:pt x="668" y="677"/>
                    <a:pt x="620" y="606"/>
                  </a:cubicBezTo>
                  <a:lnTo>
                    <a:pt x="322" y="82"/>
                  </a:lnTo>
                  <a:cubicBezTo>
                    <a:pt x="298"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3" name="Google Shape;11403;p60"/>
            <p:cNvSpPr/>
            <p:nvPr/>
          </p:nvSpPr>
          <p:spPr>
            <a:xfrm>
              <a:off x="4970766" y="3962876"/>
              <a:ext cx="28454" cy="19510"/>
            </a:xfrm>
            <a:custGeom>
              <a:avLst/>
              <a:gdLst/>
              <a:ahLst/>
              <a:cxnLst/>
              <a:rect l="l" t="t" r="r" b="b"/>
              <a:pathLst>
                <a:path w="894" h="613" extrusionOk="0">
                  <a:moveTo>
                    <a:pt x="189" y="1"/>
                  </a:moveTo>
                  <a:cubicBezTo>
                    <a:pt x="130" y="1"/>
                    <a:pt x="69" y="27"/>
                    <a:pt x="36" y="77"/>
                  </a:cubicBezTo>
                  <a:cubicBezTo>
                    <a:pt x="0" y="160"/>
                    <a:pt x="24" y="255"/>
                    <a:pt x="96" y="303"/>
                  </a:cubicBezTo>
                  <a:lnTo>
                    <a:pt x="620" y="600"/>
                  </a:lnTo>
                  <a:cubicBezTo>
                    <a:pt x="655" y="612"/>
                    <a:pt x="679" y="612"/>
                    <a:pt x="691" y="612"/>
                  </a:cubicBezTo>
                  <a:cubicBezTo>
                    <a:pt x="751" y="612"/>
                    <a:pt x="798" y="589"/>
                    <a:pt x="834" y="541"/>
                  </a:cubicBezTo>
                  <a:cubicBezTo>
                    <a:pt x="893" y="470"/>
                    <a:pt x="858" y="362"/>
                    <a:pt x="786" y="315"/>
                  </a:cubicBezTo>
                  <a:lnTo>
                    <a:pt x="262" y="17"/>
                  </a:lnTo>
                  <a:cubicBezTo>
                    <a:pt x="240" y="6"/>
                    <a:pt x="215"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4" name="Google Shape;11404;p60"/>
            <p:cNvSpPr/>
            <p:nvPr/>
          </p:nvSpPr>
          <p:spPr>
            <a:xfrm>
              <a:off x="4958258" y="4010012"/>
              <a:ext cx="29982" cy="10248"/>
            </a:xfrm>
            <a:custGeom>
              <a:avLst/>
              <a:gdLst/>
              <a:ahLst/>
              <a:cxnLst/>
              <a:rect l="l" t="t" r="r" b="b"/>
              <a:pathLst>
                <a:path w="942" h="322" extrusionOk="0">
                  <a:moveTo>
                    <a:pt x="167" y="1"/>
                  </a:moveTo>
                  <a:cubicBezTo>
                    <a:pt x="72" y="1"/>
                    <a:pt x="1" y="72"/>
                    <a:pt x="1" y="167"/>
                  </a:cubicBezTo>
                  <a:cubicBezTo>
                    <a:pt x="1"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5" name="Google Shape;11405;p60"/>
            <p:cNvSpPr/>
            <p:nvPr/>
          </p:nvSpPr>
          <p:spPr>
            <a:xfrm>
              <a:off x="4969239" y="4047601"/>
              <a:ext cx="30363" cy="20051"/>
            </a:xfrm>
            <a:custGeom>
              <a:avLst/>
              <a:gdLst/>
              <a:ahLst/>
              <a:cxnLst/>
              <a:rect l="l" t="t" r="r" b="b"/>
              <a:pathLst>
                <a:path w="954" h="630" extrusionOk="0">
                  <a:moveTo>
                    <a:pt x="754" y="0"/>
                  </a:moveTo>
                  <a:cubicBezTo>
                    <a:pt x="728" y="0"/>
                    <a:pt x="702" y="7"/>
                    <a:pt x="679" y="22"/>
                  </a:cubicBezTo>
                  <a:lnTo>
                    <a:pt x="156" y="320"/>
                  </a:lnTo>
                  <a:cubicBezTo>
                    <a:pt x="1" y="415"/>
                    <a:pt x="60" y="629"/>
                    <a:pt x="239" y="629"/>
                  </a:cubicBezTo>
                  <a:cubicBezTo>
                    <a:pt x="310" y="629"/>
                    <a:pt x="310" y="605"/>
                    <a:pt x="846" y="308"/>
                  </a:cubicBezTo>
                  <a:cubicBezTo>
                    <a:pt x="918" y="260"/>
                    <a:pt x="953" y="153"/>
                    <a:pt x="906" y="82"/>
                  </a:cubicBezTo>
                  <a:cubicBezTo>
                    <a:pt x="873" y="33"/>
                    <a:pt x="812" y="0"/>
                    <a:pt x="7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6" name="Google Shape;11406;p60"/>
            <p:cNvSpPr/>
            <p:nvPr/>
          </p:nvSpPr>
          <p:spPr>
            <a:xfrm>
              <a:off x="5005236" y="4075641"/>
              <a:ext cx="21261" cy="26862"/>
            </a:xfrm>
            <a:custGeom>
              <a:avLst/>
              <a:gdLst/>
              <a:ahLst/>
              <a:cxnLst/>
              <a:rect l="l" t="t" r="r" b="b"/>
              <a:pathLst>
                <a:path w="668" h="844" extrusionOk="0">
                  <a:moveTo>
                    <a:pt x="491" y="0"/>
                  </a:moveTo>
                  <a:cubicBezTo>
                    <a:pt x="440" y="0"/>
                    <a:pt x="391" y="33"/>
                    <a:pt x="358" y="82"/>
                  </a:cubicBezTo>
                  <a:lnTo>
                    <a:pt x="60" y="606"/>
                  </a:lnTo>
                  <a:cubicBezTo>
                    <a:pt x="1" y="701"/>
                    <a:pt x="72" y="844"/>
                    <a:pt x="191" y="844"/>
                  </a:cubicBezTo>
                  <a:cubicBezTo>
                    <a:pt x="251" y="844"/>
                    <a:pt x="299" y="808"/>
                    <a:pt x="322" y="760"/>
                  </a:cubicBezTo>
                  <a:lnTo>
                    <a:pt x="620" y="248"/>
                  </a:lnTo>
                  <a:cubicBezTo>
                    <a:pt x="668" y="165"/>
                    <a:pt x="644" y="70"/>
                    <a:pt x="561" y="22"/>
                  </a:cubicBezTo>
                  <a:cubicBezTo>
                    <a:pt x="538" y="7"/>
                    <a:pt x="514" y="0"/>
                    <a:pt x="4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7" name="Google Shape;11407;p60"/>
            <p:cNvSpPr/>
            <p:nvPr/>
          </p:nvSpPr>
          <p:spPr>
            <a:xfrm>
              <a:off x="5053391" y="4085794"/>
              <a:ext cx="10630" cy="29982"/>
            </a:xfrm>
            <a:custGeom>
              <a:avLst/>
              <a:gdLst/>
              <a:ahLst/>
              <a:cxnLst/>
              <a:rect l="l" t="t" r="r" b="b"/>
              <a:pathLst>
                <a:path w="334" h="942" extrusionOk="0">
                  <a:moveTo>
                    <a:pt x="167" y="1"/>
                  </a:moveTo>
                  <a:cubicBezTo>
                    <a:pt x="83" y="1"/>
                    <a:pt x="0" y="72"/>
                    <a:pt x="0" y="167"/>
                  </a:cubicBezTo>
                  <a:lnTo>
                    <a:pt x="0" y="775"/>
                  </a:lnTo>
                  <a:cubicBezTo>
                    <a:pt x="0" y="858"/>
                    <a:pt x="83" y="941"/>
                    <a:pt x="167" y="941"/>
                  </a:cubicBezTo>
                  <a:cubicBezTo>
                    <a:pt x="250" y="941"/>
                    <a:pt x="333" y="858"/>
                    <a:pt x="333" y="775"/>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8" name="Google Shape;11408;p60"/>
            <p:cNvSpPr/>
            <p:nvPr/>
          </p:nvSpPr>
          <p:spPr>
            <a:xfrm>
              <a:off x="5090501" y="4075641"/>
              <a:ext cx="21261" cy="26894"/>
            </a:xfrm>
            <a:custGeom>
              <a:avLst/>
              <a:gdLst/>
              <a:ahLst/>
              <a:cxnLst/>
              <a:rect l="l" t="t" r="r" b="b"/>
              <a:pathLst>
                <a:path w="668" h="845" extrusionOk="0">
                  <a:moveTo>
                    <a:pt x="182" y="0"/>
                  </a:moveTo>
                  <a:cubicBezTo>
                    <a:pt x="156" y="0"/>
                    <a:pt x="130" y="7"/>
                    <a:pt x="108" y="22"/>
                  </a:cubicBezTo>
                  <a:cubicBezTo>
                    <a:pt x="25" y="70"/>
                    <a:pt x="1" y="165"/>
                    <a:pt x="48" y="248"/>
                  </a:cubicBezTo>
                  <a:lnTo>
                    <a:pt x="346" y="760"/>
                  </a:lnTo>
                  <a:cubicBezTo>
                    <a:pt x="370" y="815"/>
                    <a:pt x="424" y="844"/>
                    <a:pt x="479" y="844"/>
                  </a:cubicBezTo>
                  <a:cubicBezTo>
                    <a:pt x="507" y="844"/>
                    <a:pt x="536" y="836"/>
                    <a:pt x="560" y="820"/>
                  </a:cubicBezTo>
                  <a:cubicBezTo>
                    <a:pt x="644" y="784"/>
                    <a:pt x="668" y="677"/>
                    <a:pt x="620" y="606"/>
                  </a:cubicBezTo>
                  <a:lnTo>
                    <a:pt x="322" y="82"/>
                  </a:lnTo>
                  <a:cubicBezTo>
                    <a:pt x="298" y="33"/>
                    <a:pt x="240"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9" name="Google Shape;11409;p60"/>
            <p:cNvSpPr/>
            <p:nvPr/>
          </p:nvSpPr>
          <p:spPr>
            <a:xfrm>
              <a:off x="5117809" y="4048142"/>
              <a:ext cx="28454" cy="19510"/>
            </a:xfrm>
            <a:custGeom>
              <a:avLst/>
              <a:gdLst/>
              <a:ahLst/>
              <a:cxnLst/>
              <a:rect l="l" t="t" r="r" b="b"/>
              <a:pathLst>
                <a:path w="894" h="613" extrusionOk="0">
                  <a:moveTo>
                    <a:pt x="195" y="1"/>
                  </a:moveTo>
                  <a:cubicBezTo>
                    <a:pt x="136" y="1"/>
                    <a:pt x="81" y="27"/>
                    <a:pt x="48" y="77"/>
                  </a:cubicBezTo>
                  <a:cubicBezTo>
                    <a:pt x="0" y="160"/>
                    <a:pt x="36" y="243"/>
                    <a:pt x="107" y="291"/>
                  </a:cubicBezTo>
                  <a:cubicBezTo>
                    <a:pt x="643" y="588"/>
                    <a:pt x="631" y="612"/>
                    <a:pt x="714" y="612"/>
                  </a:cubicBezTo>
                  <a:cubicBezTo>
                    <a:pt x="774" y="612"/>
                    <a:pt x="822" y="588"/>
                    <a:pt x="845" y="541"/>
                  </a:cubicBezTo>
                  <a:cubicBezTo>
                    <a:pt x="893" y="469"/>
                    <a:pt x="869" y="362"/>
                    <a:pt x="786" y="315"/>
                  </a:cubicBezTo>
                  <a:lnTo>
                    <a:pt x="274" y="17"/>
                  </a:lnTo>
                  <a:cubicBezTo>
                    <a:pt x="248" y="6"/>
                    <a:pt x="221" y="1"/>
                    <a:pt x="1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0" name="Google Shape;11410;p60"/>
            <p:cNvSpPr/>
            <p:nvPr/>
          </p:nvSpPr>
          <p:spPr>
            <a:xfrm>
              <a:off x="5128790" y="4010012"/>
              <a:ext cx="29950" cy="10248"/>
            </a:xfrm>
            <a:custGeom>
              <a:avLst/>
              <a:gdLst/>
              <a:ahLst/>
              <a:cxnLst/>
              <a:rect l="l" t="t" r="r" b="b"/>
              <a:pathLst>
                <a:path w="941" h="322" extrusionOk="0">
                  <a:moveTo>
                    <a:pt x="167" y="1"/>
                  </a:moveTo>
                  <a:cubicBezTo>
                    <a:pt x="72" y="1"/>
                    <a:pt x="0" y="72"/>
                    <a:pt x="0" y="167"/>
                  </a:cubicBezTo>
                  <a:cubicBezTo>
                    <a:pt x="0" y="251"/>
                    <a:pt x="72" y="322"/>
                    <a:pt x="167" y="322"/>
                  </a:cubicBezTo>
                  <a:lnTo>
                    <a:pt x="774" y="322"/>
                  </a:ln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1" name="Google Shape;11411;p60"/>
            <p:cNvSpPr/>
            <p:nvPr/>
          </p:nvSpPr>
          <p:spPr>
            <a:xfrm>
              <a:off x="5117809" y="3962717"/>
              <a:ext cx="28454" cy="19669"/>
            </a:xfrm>
            <a:custGeom>
              <a:avLst/>
              <a:gdLst/>
              <a:ahLst/>
              <a:cxnLst/>
              <a:rect l="l" t="t" r="r" b="b"/>
              <a:pathLst>
                <a:path w="894" h="618" extrusionOk="0">
                  <a:moveTo>
                    <a:pt x="706" y="0"/>
                  </a:moveTo>
                  <a:cubicBezTo>
                    <a:pt x="679" y="0"/>
                    <a:pt x="654" y="7"/>
                    <a:pt x="631" y="22"/>
                  </a:cubicBezTo>
                  <a:lnTo>
                    <a:pt x="107" y="320"/>
                  </a:lnTo>
                  <a:cubicBezTo>
                    <a:pt x="36" y="367"/>
                    <a:pt x="0" y="475"/>
                    <a:pt x="48" y="546"/>
                  </a:cubicBezTo>
                  <a:cubicBezTo>
                    <a:pt x="83" y="594"/>
                    <a:pt x="143" y="617"/>
                    <a:pt x="202" y="617"/>
                  </a:cubicBezTo>
                  <a:cubicBezTo>
                    <a:pt x="226" y="617"/>
                    <a:pt x="262" y="617"/>
                    <a:pt x="274" y="605"/>
                  </a:cubicBezTo>
                  <a:lnTo>
                    <a:pt x="798" y="308"/>
                  </a:lnTo>
                  <a:cubicBezTo>
                    <a:pt x="869" y="260"/>
                    <a:pt x="893" y="165"/>
                    <a:pt x="857" y="82"/>
                  </a:cubicBezTo>
                  <a:cubicBezTo>
                    <a:pt x="825" y="33"/>
                    <a:pt x="764" y="0"/>
                    <a:pt x="7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2" name="Google Shape;11412;p60"/>
            <p:cNvSpPr/>
            <p:nvPr/>
          </p:nvSpPr>
          <p:spPr>
            <a:xfrm>
              <a:off x="5090501" y="3928152"/>
              <a:ext cx="20879" cy="26958"/>
            </a:xfrm>
            <a:custGeom>
              <a:avLst/>
              <a:gdLst/>
              <a:ahLst/>
              <a:cxnLst/>
              <a:rect l="l" t="t" r="r" b="b"/>
              <a:pathLst>
                <a:path w="656" h="847" extrusionOk="0">
                  <a:moveTo>
                    <a:pt x="475" y="0"/>
                  </a:moveTo>
                  <a:cubicBezTo>
                    <a:pt x="424" y="0"/>
                    <a:pt x="370" y="29"/>
                    <a:pt x="346" y="84"/>
                  </a:cubicBezTo>
                  <a:lnTo>
                    <a:pt x="48" y="608"/>
                  </a:lnTo>
                  <a:cubicBezTo>
                    <a:pt x="1" y="679"/>
                    <a:pt x="25" y="787"/>
                    <a:pt x="108" y="834"/>
                  </a:cubicBezTo>
                  <a:cubicBezTo>
                    <a:pt x="132" y="846"/>
                    <a:pt x="168" y="846"/>
                    <a:pt x="179" y="846"/>
                  </a:cubicBezTo>
                  <a:cubicBezTo>
                    <a:pt x="239" y="846"/>
                    <a:pt x="287" y="810"/>
                    <a:pt x="310" y="775"/>
                  </a:cubicBezTo>
                  <a:lnTo>
                    <a:pt x="608" y="251"/>
                  </a:lnTo>
                  <a:cubicBezTo>
                    <a:pt x="656" y="179"/>
                    <a:pt x="620" y="72"/>
                    <a:pt x="549" y="25"/>
                  </a:cubicBezTo>
                  <a:cubicBezTo>
                    <a:pt x="528" y="8"/>
                    <a:pt x="502" y="0"/>
                    <a:pt x="4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1416"/>
        <p:cNvGrpSpPr/>
        <p:nvPr/>
      </p:nvGrpSpPr>
      <p:grpSpPr>
        <a:xfrm>
          <a:off x="0" y="0"/>
          <a:ext cx="0" cy="0"/>
          <a:chOff x="0" y="0"/>
          <a:chExt cx="0" cy="0"/>
        </a:xfrm>
      </p:grpSpPr>
      <p:sp>
        <p:nvSpPr>
          <p:cNvPr id="11417" name="Google Shape;11417;p61"/>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1418" name="Google Shape;11418;p61"/>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1419" name="Google Shape;11419;p61"/>
          <p:cNvGrpSpPr/>
          <p:nvPr/>
        </p:nvGrpSpPr>
        <p:grpSpPr>
          <a:xfrm>
            <a:off x="2704005" y="4258781"/>
            <a:ext cx="342144" cy="362704"/>
            <a:chOff x="2704005" y="4258781"/>
            <a:chExt cx="342144" cy="362704"/>
          </a:xfrm>
        </p:grpSpPr>
        <p:sp>
          <p:nvSpPr>
            <p:cNvPr id="11420" name="Google Shape;11420;p61"/>
            <p:cNvSpPr/>
            <p:nvPr/>
          </p:nvSpPr>
          <p:spPr>
            <a:xfrm>
              <a:off x="2704005" y="4258781"/>
              <a:ext cx="173543" cy="183554"/>
            </a:xfrm>
            <a:custGeom>
              <a:avLst/>
              <a:gdLst/>
              <a:ahLst/>
              <a:cxnLst/>
              <a:rect l="l" t="t" r="r" b="b"/>
              <a:pathLst>
                <a:path w="5478" h="5794" extrusionOk="0">
                  <a:moveTo>
                    <a:pt x="2646" y="0"/>
                  </a:moveTo>
                  <a:cubicBezTo>
                    <a:pt x="2134" y="0"/>
                    <a:pt x="1626" y="154"/>
                    <a:pt x="1191" y="447"/>
                  </a:cubicBezTo>
                  <a:cubicBezTo>
                    <a:pt x="798" y="709"/>
                    <a:pt x="489" y="1066"/>
                    <a:pt x="298" y="1483"/>
                  </a:cubicBezTo>
                  <a:cubicBezTo>
                    <a:pt x="108" y="1876"/>
                    <a:pt x="1" y="2328"/>
                    <a:pt x="24" y="2769"/>
                  </a:cubicBezTo>
                  <a:cubicBezTo>
                    <a:pt x="24" y="2864"/>
                    <a:pt x="120" y="2936"/>
                    <a:pt x="203" y="2936"/>
                  </a:cubicBezTo>
                  <a:cubicBezTo>
                    <a:pt x="298" y="2936"/>
                    <a:pt x="370" y="2852"/>
                    <a:pt x="370" y="2757"/>
                  </a:cubicBezTo>
                  <a:cubicBezTo>
                    <a:pt x="346" y="1935"/>
                    <a:pt x="715" y="1197"/>
                    <a:pt x="1394" y="733"/>
                  </a:cubicBezTo>
                  <a:cubicBezTo>
                    <a:pt x="1786" y="473"/>
                    <a:pt x="2229" y="348"/>
                    <a:pt x="2668" y="348"/>
                  </a:cubicBezTo>
                  <a:cubicBezTo>
                    <a:pt x="3413" y="348"/>
                    <a:pt x="4146" y="709"/>
                    <a:pt x="4596" y="1376"/>
                  </a:cubicBezTo>
                  <a:cubicBezTo>
                    <a:pt x="5168" y="2209"/>
                    <a:pt x="5120" y="3293"/>
                    <a:pt x="4489" y="4079"/>
                  </a:cubicBezTo>
                  <a:cubicBezTo>
                    <a:pt x="4465" y="4114"/>
                    <a:pt x="4453" y="4162"/>
                    <a:pt x="4465" y="4198"/>
                  </a:cubicBezTo>
                  <a:lnTo>
                    <a:pt x="4525" y="5376"/>
                  </a:lnTo>
                  <a:lnTo>
                    <a:pt x="3453" y="4876"/>
                  </a:lnTo>
                  <a:cubicBezTo>
                    <a:pt x="3418" y="4852"/>
                    <a:pt x="3382" y="4852"/>
                    <a:pt x="3334" y="4852"/>
                  </a:cubicBezTo>
                  <a:cubicBezTo>
                    <a:pt x="3123" y="4915"/>
                    <a:pt x="2908" y="4945"/>
                    <a:pt x="2695" y="4945"/>
                  </a:cubicBezTo>
                  <a:cubicBezTo>
                    <a:pt x="1939" y="4945"/>
                    <a:pt x="1214" y="4565"/>
                    <a:pt x="786" y="3924"/>
                  </a:cubicBezTo>
                  <a:cubicBezTo>
                    <a:pt x="667" y="3745"/>
                    <a:pt x="584" y="3567"/>
                    <a:pt x="524" y="3352"/>
                  </a:cubicBezTo>
                  <a:cubicBezTo>
                    <a:pt x="495" y="3283"/>
                    <a:pt x="433" y="3239"/>
                    <a:pt x="359" y="3239"/>
                  </a:cubicBezTo>
                  <a:cubicBezTo>
                    <a:pt x="343" y="3239"/>
                    <a:pt x="327" y="3241"/>
                    <a:pt x="310" y="3245"/>
                  </a:cubicBezTo>
                  <a:cubicBezTo>
                    <a:pt x="227" y="3281"/>
                    <a:pt x="179" y="3364"/>
                    <a:pt x="203" y="3459"/>
                  </a:cubicBezTo>
                  <a:cubicBezTo>
                    <a:pt x="286" y="3686"/>
                    <a:pt x="382" y="3900"/>
                    <a:pt x="524" y="4090"/>
                  </a:cubicBezTo>
                  <a:cubicBezTo>
                    <a:pt x="1018" y="4840"/>
                    <a:pt x="1844" y="5272"/>
                    <a:pt x="2713" y="5272"/>
                  </a:cubicBezTo>
                  <a:cubicBezTo>
                    <a:pt x="2935" y="5272"/>
                    <a:pt x="3159" y="5244"/>
                    <a:pt x="3382" y="5186"/>
                  </a:cubicBezTo>
                  <a:lnTo>
                    <a:pt x="4644" y="5781"/>
                  </a:lnTo>
                  <a:cubicBezTo>
                    <a:pt x="4668" y="5793"/>
                    <a:pt x="4692" y="5793"/>
                    <a:pt x="4715" y="5793"/>
                  </a:cubicBezTo>
                  <a:cubicBezTo>
                    <a:pt x="4751" y="5793"/>
                    <a:pt x="4775" y="5781"/>
                    <a:pt x="4811" y="5757"/>
                  </a:cubicBezTo>
                  <a:cubicBezTo>
                    <a:pt x="4846" y="5734"/>
                    <a:pt x="4882" y="5674"/>
                    <a:pt x="4882" y="5614"/>
                  </a:cubicBezTo>
                  <a:lnTo>
                    <a:pt x="4823" y="4210"/>
                  </a:lnTo>
                  <a:cubicBezTo>
                    <a:pt x="5442" y="3328"/>
                    <a:pt x="5477" y="2102"/>
                    <a:pt x="4846" y="1162"/>
                  </a:cubicBezTo>
                  <a:cubicBezTo>
                    <a:pt x="4465" y="590"/>
                    <a:pt x="3870" y="185"/>
                    <a:pt x="3168" y="54"/>
                  </a:cubicBezTo>
                  <a:cubicBezTo>
                    <a:pt x="2995" y="18"/>
                    <a:pt x="2820" y="0"/>
                    <a:pt x="2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1" name="Google Shape;11421;p61"/>
            <p:cNvSpPr/>
            <p:nvPr/>
          </p:nvSpPr>
          <p:spPr>
            <a:xfrm>
              <a:off x="2733816" y="4278961"/>
              <a:ext cx="112052" cy="122633"/>
            </a:xfrm>
            <a:custGeom>
              <a:avLst/>
              <a:gdLst/>
              <a:ahLst/>
              <a:cxnLst/>
              <a:rect l="l" t="t" r="r" b="b"/>
              <a:pathLst>
                <a:path w="3537" h="3871" extrusionOk="0">
                  <a:moveTo>
                    <a:pt x="2285" y="0"/>
                  </a:moveTo>
                  <a:cubicBezTo>
                    <a:pt x="2256" y="0"/>
                    <a:pt x="2227" y="8"/>
                    <a:pt x="2203" y="24"/>
                  </a:cubicBezTo>
                  <a:cubicBezTo>
                    <a:pt x="2119" y="60"/>
                    <a:pt x="2096" y="167"/>
                    <a:pt x="2143" y="239"/>
                  </a:cubicBezTo>
                  <a:lnTo>
                    <a:pt x="2227" y="394"/>
                  </a:lnTo>
                  <a:cubicBezTo>
                    <a:pt x="2084" y="346"/>
                    <a:pt x="1917" y="334"/>
                    <a:pt x="1762" y="334"/>
                  </a:cubicBezTo>
                  <a:cubicBezTo>
                    <a:pt x="786" y="334"/>
                    <a:pt x="0" y="1120"/>
                    <a:pt x="0" y="2108"/>
                  </a:cubicBezTo>
                  <a:cubicBezTo>
                    <a:pt x="0" y="3084"/>
                    <a:pt x="786" y="3870"/>
                    <a:pt x="1762" y="3870"/>
                  </a:cubicBezTo>
                  <a:cubicBezTo>
                    <a:pt x="2750" y="3870"/>
                    <a:pt x="3536" y="3084"/>
                    <a:pt x="3536" y="2108"/>
                  </a:cubicBezTo>
                  <a:cubicBezTo>
                    <a:pt x="3477" y="1941"/>
                    <a:pt x="3465" y="1810"/>
                    <a:pt x="3429" y="1679"/>
                  </a:cubicBezTo>
                  <a:cubicBezTo>
                    <a:pt x="3420" y="1603"/>
                    <a:pt x="3349" y="1550"/>
                    <a:pt x="3279" y="1550"/>
                  </a:cubicBezTo>
                  <a:cubicBezTo>
                    <a:pt x="3261" y="1550"/>
                    <a:pt x="3243" y="1553"/>
                    <a:pt x="3227" y="1560"/>
                  </a:cubicBezTo>
                  <a:cubicBezTo>
                    <a:pt x="3131" y="1572"/>
                    <a:pt x="3072" y="1656"/>
                    <a:pt x="3108" y="1763"/>
                  </a:cubicBezTo>
                  <a:cubicBezTo>
                    <a:pt x="3131" y="1870"/>
                    <a:pt x="3155" y="1989"/>
                    <a:pt x="3155" y="2096"/>
                  </a:cubicBezTo>
                  <a:cubicBezTo>
                    <a:pt x="3155" y="2882"/>
                    <a:pt x="2512" y="3525"/>
                    <a:pt x="1715" y="3525"/>
                  </a:cubicBezTo>
                  <a:cubicBezTo>
                    <a:pt x="929" y="3525"/>
                    <a:pt x="286" y="2882"/>
                    <a:pt x="286" y="2096"/>
                  </a:cubicBezTo>
                  <a:cubicBezTo>
                    <a:pt x="286" y="1298"/>
                    <a:pt x="929" y="667"/>
                    <a:pt x="1715" y="667"/>
                  </a:cubicBezTo>
                  <a:cubicBezTo>
                    <a:pt x="1834" y="667"/>
                    <a:pt x="1941" y="679"/>
                    <a:pt x="2060" y="703"/>
                  </a:cubicBezTo>
                  <a:lnTo>
                    <a:pt x="1881" y="751"/>
                  </a:lnTo>
                  <a:cubicBezTo>
                    <a:pt x="1798" y="763"/>
                    <a:pt x="1738" y="858"/>
                    <a:pt x="1762" y="965"/>
                  </a:cubicBezTo>
                  <a:cubicBezTo>
                    <a:pt x="1772" y="1031"/>
                    <a:pt x="1834" y="1083"/>
                    <a:pt x="1913" y="1083"/>
                  </a:cubicBezTo>
                  <a:cubicBezTo>
                    <a:pt x="1934" y="1083"/>
                    <a:pt x="1955" y="1079"/>
                    <a:pt x="1977" y="1072"/>
                  </a:cubicBezTo>
                  <a:lnTo>
                    <a:pt x="2655" y="929"/>
                  </a:lnTo>
                  <a:cubicBezTo>
                    <a:pt x="2762" y="894"/>
                    <a:pt x="2822" y="775"/>
                    <a:pt x="2762" y="679"/>
                  </a:cubicBezTo>
                  <a:lnTo>
                    <a:pt x="2417" y="84"/>
                  </a:lnTo>
                  <a:cubicBezTo>
                    <a:pt x="2394" y="29"/>
                    <a:pt x="2339" y="0"/>
                    <a:pt x="22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2" name="Google Shape;11422;p61"/>
            <p:cNvSpPr/>
            <p:nvPr/>
          </p:nvSpPr>
          <p:spPr>
            <a:xfrm>
              <a:off x="2759445" y="4322711"/>
              <a:ext cx="33993" cy="44542"/>
            </a:xfrm>
            <a:custGeom>
              <a:avLst/>
              <a:gdLst/>
              <a:ahLst/>
              <a:cxnLst/>
              <a:rect l="l" t="t" r="r" b="b"/>
              <a:pathLst>
                <a:path w="1073" h="1406" extrusionOk="0">
                  <a:moveTo>
                    <a:pt x="513" y="1"/>
                  </a:moveTo>
                  <a:cubicBezTo>
                    <a:pt x="239" y="1"/>
                    <a:pt x="36" y="203"/>
                    <a:pt x="36" y="453"/>
                  </a:cubicBezTo>
                  <a:cubicBezTo>
                    <a:pt x="36" y="548"/>
                    <a:pt x="108" y="620"/>
                    <a:pt x="203" y="620"/>
                  </a:cubicBezTo>
                  <a:cubicBezTo>
                    <a:pt x="287" y="620"/>
                    <a:pt x="358" y="548"/>
                    <a:pt x="358" y="453"/>
                  </a:cubicBezTo>
                  <a:cubicBezTo>
                    <a:pt x="358" y="382"/>
                    <a:pt x="417" y="322"/>
                    <a:pt x="513" y="322"/>
                  </a:cubicBezTo>
                  <a:lnTo>
                    <a:pt x="560" y="322"/>
                  </a:lnTo>
                  <a:cubicBezTo>
                    <a:pt x="572" y="322"/>
                    <a:pt x="584" y="334"/>
                    <a:pt x="584" y="334"/>
                  </a:cubicBezTo>
                  <a:lnTo>
                    <a:pt x="584" y="358"/>
                  </a:lnTo>
                  <a:lnTo>
                    <a:pt x="48" y="1144"/>
                  </a:lnTo>
                  <a:cubicBezTo>
                    <a:pt x="13" y="1191"/>
                    <a:pt x="1" y="1263"/>
                    <a:pt x="36" y="1322"/>
                  </a:cubicBezTo>
                  <a:cubicBezTo>
                    <a:pt x="60" y="1382"/>
                    <a:pt x="120" y="1406"/>
                    <a:pt x="179" y="1406"/>
                  </a:cubicBezTo>
                  <a:lnTo>
                    <a:pt x="906" y="1406"/>
                  </a:lnTo>
                  <a:cubicBezTo>
                    <a:pt x="1001" y="1406"/>
                    <a:pt x="1072" y="1334"/>
                    <a:pt x="1072" y="1251"/>
                  </a:cubicBezTo>
                  <a:cubicBezTo>
                    <a:pt x="1072" y="1156"/>
                    <a:pt x="1037" y="1072"/>
                    <a:pt x="929" y="1072"/>
                  </a:cubicBezTo>
                  <a:lnTo>
                    <a:pt x="513" y="1072"/>
                  </a:lnTo>
                  <a:lnTo>
                    <a:pt x="870" y="548"/>
                  </a:lnTo>
                  <a:cubicBezTo>
                    <a:pt x="941" y="441"/>
                    <a:pt x="941" y="310"/>
                    <a:pt x="882" y="191"/>
                  </a:cubicBezTo>
                  <a:cubicBezTo>
                    <a:pt x="822" y="72"/>
                    <a:pt x="691"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3" name="Google Shape;11423;p61"/>
            <p:cNvSpPr/>
            <p:nvPr/>
          </p:nvSpPr>
          <p:spPr>
            <a:xfrm>
              <a:off x="2791885" y="4321951"/>
              <a:ext cx="26073" cy="44922"/>
            </a:xfrm>
            <a:custGeom>
              <a:avLst/>
              <a:gdLst/>
              <a:ahLst/>
              <a:cxnLst/>
              <a:rect l="l" t="t" r="r" b="b"/>
              <a:pathLst>
                <a:path w="823" h="1418" extrusionOk="0">
                  <a:moveTo>
                    <a:pt x="167" y="1"/>
                  </a:moveTo>
                  <a:cubicBezTo>
                    <a:pt x="84" y="1"/>
                    <a:pt x="1" y="84"/>
                    <a:pt x="1" y="168"/>
                  </a:cubicBezTo>
                  <a:lnTo>
                    <a:pt x="1" y="751"/>
                  </a:lnTo>
                  <a:cubicBezTo>
                    <a:pt x="1" y="834"/>
                    <a:pt x="84" y="918"/>
                    <a:pt x="167" y="918"/>
                  </a:cubicBezTo>
                  <a:lnTo>
                    <a:pt x="501" y="918"/>
                  </a:lnTo>
                  <a:lnTo>
                    <a:pt x="501" y="1251"/>
                  </a:lnTo>
                  <a:cubicBezTo>
                    <a:pt x="501" y="1346"/>
                    <a:pt x="572" y="1418"/>
                    <a:pt x="667" y="1418"/>
                  </a:cubicBezTo>
                  <a:cubicBezTo>
                    <a:pt x="751" y="1418"/>
                    <a:pt x="822" y="1346"/>
                    <a:pt x="822" y="1251"/>
                  </a:cubicBezTo>
                  <a:lnTo>
                    <a:pt x="822" y="751"/>
                  </a:lnTo>
                  <a:lnTo>
                    <a:pt x="822" y="168"/>
                  </a:lnTo>
                  <a:cubicBezTo>
                    <a:pt x="810" y="84"/>
                    <a:pt x="739" y="1"/>
                    <a:pt x="644" y="1"/>
                  </a:cubicBezTo>
                  <a:cubicBezTo>
                    <a:pt x="560" y="1"/>
                    <a:pt x="477" y="84"/>
                    <a:pt x="477" y="168"/>
                  </a:cubicBezTo>
                  <a:lnTo>
                    <a:pt x="477" y="572"/>
                  </a:lnTo>
                  <a:lnTo>
                    <a:pt x="334" y="572"/>
                  </a:lnTo>
                  <a:lnTo>
                    <a:pt x="334" y="168"/>
                  </a:ln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4" name="Google Shape;11424;p61"/>
            <p:cNvSpPr/>
            <p:nvPr/>
          </p:nvSpPr>
          <p:spPr>
            <a:xfrm>
              <a:off x="2828095" y="4322648"/>
              <a:ext cx="218053" cy="170597"/>
            </a:xfrm>
            <a:custGeom>
              <a:avLst/>
              <a:gdLst/>
              <a:ahLst/>
              <a:cxnLst/>
              <a:rect l="l" t="t" r="r" b="b"/>
              <a:pathLst>
                <a:path w="6883" h="5385" extrusionOk="0">
                  <a:moveTo>
                    <a:pt x="4111" y="0"/>
                  </a:moveTo>
                  <a:cubicBezTo>
                    <a:pt x="4032" y="0"/>
                    <a:pt x="3952" y="5"/>
                    <a:pt x="3870" y="15"/>
                  </a:cubicBezTo>
                  <a:cubicBezTo>
                    <a:pt x="3251" y="62"/>
                    <a:pt x="2632" y="372"/>
                    <a:pt x="2156" y="860"/>
                  </a:cubicBezTo>
                  <a:cubicBezTo>
                    <a:pt x="1679" y="1348"/>
                    <a:pt x="1382" y="1979"/>
                    <a:pt x="1334" y="2586"/>
                  </a:cubicBezTo>
                  <a:cubicBezTo>
                    <a:pt x="1310" y="3015"/>
                    <a:pt x="1382" y="3420"/>
                    <a:pt x="1549" y="3825"/>
                  </a:cubicBezTo>
                  <a:lnTo>
                    <a:pt x="72" y="5087"/>
                  </a:lnTo>
                  <a:cubicBezTo>
                    <a:pt x="1" y="5146"/>
                    <a:pt x="1" y="5253"/>
                    <a:pt x="60" y="5325"/>
                  </a:cubicBezTo>
                  <a:cubicBezTo>
                    <a:pt x="84" y="5372"/>
                    <a:pt x="132" y="5384"/>
                    <a:pt x="191" y="5384"/>
                  </a:cubicBezTo>
                  <a:cubicBezTo>
                    <a:pt x="227" y="5384"/>
                    <a:pt x="263" y="5372"/>
                    <a:pt x="298" y="5337"/>
                  </a:cubicBezTo>
                  <a:lnTo>
                    <a:pt x="1870" y="3991"/>
                  </a:lnTo>
                  <a:cubicBezTo>
                    <a:pt x="1930" y="3944"/>
                    <a:pt x="1941" y="3848"/>
                    <a:pt x="1918" y="3789"/>
                  </a:cubicBezTo>
                  <a:cubicBezTo>
                    <a:pt x="1739" y="3420"/>
                    <a:pt x="1668" y="3015"/>
                    <a:pt x="1691" y="2598"/>
                  </a:cubicBezTo>
                  <a:cubicBezTo>
                    <a:pt x="1763" y="1491"/>
                    <a:pt x="2811" y="431"/>
                    <a:pt x="3906" y="336"/>
                  </a:cubicBezTo>
                  <a:cubicBezTo>
                    <a:pt x="3965" y="333"/>
                    <a:pt x="4023" y="332"/>
                    <a:pt x="4081" y="332"/>
                  </a:cubicBezTo>
                  <a:cubicBezTo>
                    <a:pt x="4280" y="332"/>
                    <a:pt x="4474" y="350"/>
                    <a:pt x="4668" y="396"/>
                  </a:cubicBezTo>
                  <a:cubicBezTo>
                    <a:pt x="4716" y="419"/>
                    <a:pt x="4716" y="443"/>
                    <a:pt x="4727" y="455"/>
                  </a:cubicBezTo>
                  <a:cubicBezTo>
                    <a:pt x="4727" y="479"/>
                    <a:pt x="4739" y="503"/>
                    <a:pt x="4716" y="539"/>
                  </a:cubicBezTo>
                  <a:lnTo>
                    <a:pt x="3632" y="1622"/>
                  </a:lnTo>
                  <a:cubicBezTo>
                    <a:pt x="3477" y="1765"/>
                    <a:pt x="3394" y="1967"/>
                    <a:pt x="3394" y="2182"/>
                  </a:cubicBezTo>
                  <a:cubicBezTo>
                    <a:pt x="3394" y="2396"/>
                    <a:pt x="3477" y="2598"/>
                    <a:pt x="3632" y="2753"/>
                  </a:cubicBezTo>
                  <a:lnTo>
                    <a:pt x="4132" y="3253"/>
                  </a:lnTo>
                  <a:cubicBezTo>
                    <a:pt x="4287" y="3408"/>
                    <a:pt x="4489" y="3485"/>
                    <a:pt x="4692" y="3485"/>
                  </a:cubicBezTo>
                  <a:cubicBezTo>
                    <a:pt x="4894" y="3485"/>
                    <a:pt x="5097" y="3408"/>
                    <a:pt x="5251" y="3253"/>
                  </a:cubicBezTo>
                  <a:lnTo>
                    <a:pt x="6347" y="2158"/>
                  </a:lnTo>
                  <a:cubicBezTo>
                    <a:pt x="6369" y="2135"/>
                    <a:pt x="6387" y="2127"/>
                    <a:pt x="6403" y="2127"/>
                  </a:cubicBezTo>
                  <a:cubicBezTo>
                    <a:pt x="6413" y="2127"/>
                    <a:pt x="6421" y="2130"/>
                    <a:pt x="6430" y="2134"/>
                  </a:cubicBezTo>
                  <a:cubicBezTo>
                    <a:pt x="6442" y="2134"/>
                    <a:pt x="6466" y="2158"/>
                    <a:pt x="6478" y="2194"/>
                  </a:cubicBezTo>
                  <a:cubicBezTo>
                    <a:pt x="6537" y="2455"/>
                    <a:pt x="6573" y="2705"/>
                    <a:pt x="6537" y="2967"/>
                  </a:cubicBezTo>
                  <a:cubicBezTo>
                    <a:pt x="6478" y="3753"/>
                    <a:pt x="5966" y="4515"/>
                    <a:pt x="5216" y="4944"/>
                  </a:cubicBezTo>
                  <a:cubicBezTo>
                    <a:pt x="5144" y="4980"/>
                    <a:pt x="5108" y="5087"/>
                    <a:pt x="5156" y="5158"/>
                  </a:cubicBezTo>
                  <a:cubicBezTo>
                    <a:pt x="5187" y="5213"/>
                    <a:pt x="5244" y="5242"/>
                    <a:pt x="5300" y="5242"/>
                  </a:cubicBezTo>
                  <a:cubicBezTo>
                    <a:pt x="5329" y="5242"/>
                    <a:pt x="5358" y="5234"/>
                    <a:pt x="5382" y="5218"/>
                  </a:cubicBezTo>
                  <a:cubicBezTo>
                    <a:pt x="6228" y="4741"/>
                    <a:pt x="6823" y="3884"/>
                    <a:pt x="6883" y="2991"/>
                  </a:cubicBezTo>
                  <a:cubicBezTo>
                    <a:pt x="6871" y="2682"/>
                    <a:pt x="6859" y="2384"/>
                    <a:pt x="6775" y="2098"/>
                  </a:cubicBezTo>
                  <a:cubicBezTo>
                    <a:pt x="6752" y="1943"/>
                    <a:pt x="6632" y="1848"/>
                    <a:pt x="6478" y="1801"/>
                  </a:cubicBezTo>
                  <a:cubicBezTo>
                    <a:pt x="6440" y="1788"/>
                    <a:pt x="6402" y="1782"/>
                    <a:pt x="6364" y="1782"/>
                  </a:cubicBezTo>
                  <a:cubicBezTo>
                    <a:pt x="6258" y="1782"/>
                    <a:pt x="6155" y="1829"/>
                    <a:pt x="6085" y="1908"/>
                  </a:cubicBezTo>
                  <a:lnTo>
                    <a:pt x="4978" y="3003"/>
                  </a:lnTo>
                  <a:cubicBezTo>
                    <a:pt x="4888" y="3092"/>
                    <a:pt x="4772" y="3137"/>
                    <a:pt x="4658" y="3137"/>
                  </a:cubicBezTo>
                  <a:cubicBezTo>
                    <a:pt x="4543" y="3137"/>
                    <a:pt x="4430" y="3092"/>
                    <a:pt x="4346" y="3003"/>
                  </a:cubicBezTo>
                  <a:lnTo>
                    <a:pt x="3835" y="2503"/>
                  </a:lnTo>
                  <a:cubicBezTo>
                    <a:pt x="3751" y="2408"/>
                    <a:pt x="3704" y="2301"/>
                    <a:pt x="3704" y="2170"/>
                  </a:cubicBezTo>
                  <a:cubicBezTo>
                    <a:pt x="3704" y="2051"/>
                    <a:pt x="3751" y="1932"/>
                    <a:pt x="3835" y="1848"/>
                  </a:cubicBezTo>
                  <a:lnTo>
                    <a:pt x="4918" y="753"/>
                  </a:lnTo>
                  <a:cubicBezTo>
                    <a:pt x="5025" y="658"/>
                    <a:pt x="5073" y="491"/>
                    <a:pt x="5025" y="360"/>
                  </a:cubicBezTo>
                  <a:cubicBezTo>
                    <a:pt x="4978" y="205"/>
                    <a:pt x="4882" y="98"/>
                    <a:pt x="4727" y="74"/>
                  </a:cubicBezTo>
                  <a:cubicBezTo>
                    <a:pt x="4520" y="31"/>
                    <a:pt x="4320" y="0"/>
                    <a:pt x="41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5" name="Google Shape;11425;p61"/>
            <p:cNvSpPr/>
            <p:nvPr/>
          </p:nvSpPr>
          <p:spPr>
            <a:xfrm>
              <a:off x="2746995" y="4480034"/>
              <a:ext cx="232404" cy="141451"/>
            </a:xfrm>
            <a:custGeom>
              <a:avLst/>
              <a:gdLst/>
              <a:ahLst/>
              <a:cxnLst/>
              <a:rect l="l" t="t" r="r" b="b"/>
              <a:pathLst>
                <a:path w="7336" h="4465" extrusionOk="0">
                  <a:moveTo>
                    <a:pt x="5613" y="0"/>
                  </a:moveTo>
                  <a:cubicBezTo>
                    <a:pt x="5566" y="0"/>
                    <a:pt x="5522" y="19"/>
                    <a:pt x="5490" y="59"/>
                  </a:cubicBezTo>
                  <a:lnTo>
                    <a:pt x="2168" y="3905"/>
                  </a:lnTo>
                  <a:cubicBezTo>
                    <a:pt x="2049" y="4036"/>
                    <a:pt x="1870" y="4119"/>
                    <a:pt x="1692" y="4119"/>
                  </a:cubicBezTo>
                  <a:cubicBezTo>
                    <a:pt x="1513" y="4119"/>
                    <a:pt x="1334" y="4060"/>
                    <a:pt x="1203" y="3929"/>
                  </a:cubicBezTo>
                  <a:lnTo>
                    <a:pt x="549" y="3274"/>
                  </a:lnTo>
                  <a:cubicBezTo>
                    <a:pt x="429" y="3143"/>
                    <a:pt x="358" y="2976"/>
                    <a:pt x="358" y="2786"/>
                  </a:cubicBezTo>
                  <a:cubicBezTo>
                    <a:pt x="370" y="2607"/>
                    <a:pt x="441" y="2429"/>
                    <a:pt x="572" y="2321"/>
                  </a:cubicBezTo>
                  <a:lnTo>
                    <a:pt x="2334" y="821"/>
                  </a:lnTo>
                  <a:cubicBezTo>
                    <a:pt x="2406" y="762"/>
                    <a:pt x="2406" y="655"/>
                    <a:pt x="2346" y="583"/>
                  </a:cubicBezTo>
                  <a:cubicBezTo>
                    <a:pt x="2315" y="546"/>
                    <a:pt x="2271" y="528"/>
                    <a:pt x="2226" y="528"/>
                  </a:cubicBezTo>
                  <a:cubicBezTo>
                    <a:pt x="2185" y="528"/>
                    <a:pt x="2142" y="543"/>
                    <a:pt x="2108" y="571"/>
                  </a:cubicBezTo>
                  <a:lnTo>
                    <a:pt x="358" y="2071"/>
                  </a:lnTo>
                  <a:cubicBezTo>
                    <a:pt x="144" y="2250"/>
                    <a:pt x="25" y="2500"/>
                    <a:pt x="13" y="2786"/>
                  </a:cubicBezTo>
                  <a:cubicBezTo>
                    <a:pt x="1" y="3048"/>
                    <a:pt x="96" y="3322"/>
                    <a:pt x="299" y="3512"/>
                  </a:cubicBezTo>
                  <a:lnTo>
                    <a:pt x="953" y="4167"/>
                  </a:lnTo>
                  <a:cubicBezTo>
                    <a:pt x="1132" y="4357"/>
                    <a:pt x="1394" y="4465"/>
                    <a:pt x="1644" y="4465"/>
                  </a:cubicBezTo>
                  <a:lnTo>
                    <a:pt x="1680" y="4465"/>
                  </a:lnTo>
                  <a:cubicBezTo>
                    <a:pt x="1965" y="4453"/>
                    <a:pt x="2215" y="4334"/>
                    <a:pt x="2394" y="4119"/>
                  </a:cubicBezTo>
                  <a:lnTo>
                    <a:pt x="5633" y="369"/>
                  </a:lnTo>
                  <a:cubicBezTo>
                    <a:pt x="5970" y="502"/>
                    <a:pt x="6298" y="564"/>
                    <a:pt x="6648" y="564"/>
                  </a:cubicBezTo>
                  <a:cubicBezTo>
                    <a:pt x="6706" y="564"/>
                    <a:pt x="6764" y="563"/>
                    <a:pt x="6823" y="559"/>
                  </a:cubicBezTo>
                  <a:cubicBezTo>
                    <a:pt x="6942" y="559"/>
                    <a:pt x="7061" y="535"/>
                    <a:pt x="7180" y="524"/>
                  </a:cubicBezTo>
                  <a:cubicBezTo>
                    <a:pt x="7276" y="488"/>
                    <a:pt x="7335" y="404"/>
                    <a:pt x="7323" y="309"/>
                  </a:cubicBezTo>
                  <a:cubicBezTo>
                    <a:pt x="7301" y="233"/>
                    <a:pt x="7230" y="177"/>
                    <a:pt x="7145" y="177"/>
                  </a:cubicBezTo>
                  <a:cubicBezTo>
                    <a:pt x="7137" y="177"/>
                    <a:pt x="7129" y="177"/>
                    <a:pt x="7121" y="178"/>
                  </a:cubicBezTo>
                  <a:cubicBezTo>
                    <a:pt x="7026" y="190"/>
                    <a:pt x="6918" y="214"/>
                    <a:pt x="6823" y="226"/>
                  </a:cubicBezTo>
                  <a:cubicBezTo>
                    <a:pt x="6774" y="229"/>
                    <a:pt x="6725" y="230"/>
                    <a:pt x="6676" y="230"/>
                  </a:cubicBezTo>
                  <a:cubicBezTo>
                    <a:pt x="6335" y="230"/>
                    <a:pt x="6003" y="157"/>
                    <a:pt x="5680" y="12"/>
                  </a:cubicBezTo>
                  <a:cubicBezTo>
                    <a:pt x="5658" y="4"/>
                    <a:pt x="5635" y="0"/>
                    <a:pt x="56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6" name="Google Shape;11426;p61"/>
            <p:cNvSpPr/>
            <p:nvPr/>
          </p:nvSpPr>
          <p:spPr>
            <a:xfrm>
              <a:off x="2889206" y="4345046"/>
              <a:ext cx="46411" cy="47488"/>
            </a:xfrm>
            <a:custGeom>
              <a:avLst/>
              <a:gdLst/>
              <a:ahLst/>
              <a:cxnLst/>
              <a:rect l="l" t="t" r="r" b="b"/>
              <a:pathLst>
                <a:path w="1465" h="1499" extrusionOk="0">
                  <a:moveTo>
                    <a:pt x="1250" y="0"/>
                  </a:moveTo>
                  <a:cubicBezTo>
                    <a:pt x="1222" y="0"/>
                    <a:pt x="1193" y="7"/>
                    <a:pt x="1167" y="22"/>
                  </a:cubicBezTo>
                  <a:cubicBezTo>
                    <a:pt x="679" y="320"/>
                    <a:pt x="298" y="748"/>
                    <a:pt x="48" y="1260"/>
                  </a:cubicBezTo>
                  <a:cubicBezTo>
                    <a:pt x="1" y="1344"/>
                    <a:pt x="48" y="1439"/>
                    <a:pt x="120" y="1475"/>
                  </a:cubicBezTo>
                  <a:cubicBezTo>
                    <a:pt x="155" y="1498"/>
                    <a:pt x="167" y="1498"/>
                    <a:pt x="191" y="1498"/>
                  </a:cubicBezTo>
                  <a:cubicBezTo>
                    <a:pt x="251" y="1498"/>
                    <a:pt x="310" y="1463"/>
                    <a:pt x="346" y="1403"/>
                  </a:cubicBezTo>
                  <a:cubicBezTo>
                    <a:pt x="548" y="963"/>
                    <a:pt x="905" y="570"/>
                    <a:pt x="1322" y="308"/>
                  </a:cubicBezTo>
                  <a:cubicBezTo>
                    <a:pt x="1429" y="260"/>
                    <a:pt x="1465" y="153"/>
                    <a:pt x="1405" y="82"/>
                  </a:cubicBezTo>
                  <a:cubicBezTo>
                    <a:pt x="1373" y="33"/>
                    <a:pt x="1312" y="0"/>
                    <a:pt x="1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27" name="Google Shape;11427;p61"/>
          <p:cNvGrpSpPr/>
          <p:nvPr/>
        </p:nvGrpSpPr>
        <p:grpSpPr>
          <a:xfrm>
            <a:off x="2157462" y="4258496"/>
            <a:ext cx="347435" cy="363370"/>
            <a:chOff x="2157462" y="4258496"/>
            <a:chExt cx="347435" cy="363370"/>
          </a:xfrm>
        </p:grpSpPr>
        <p:sp>
          <p:nvSpPr>
            <p:cNvPr id="11428" name="Google Shape;11428;p61"/>
            <p:cNvSpPr/>
            <p:nvPr/>
          </p:nvSpPr>
          <p:spPr>
            <a:xfrm>
              <a:off x="2296252" y="4258496"/>
              <a:ext cx="208644" cy="220778"/>
            </a:xfrm>
            <a:custGeom>
              <a:avLst/>
              <a:gdLst/>
              <a:ahLst/>
              <a:cxnLst/>
              <a:rect l="l" t="t" r="r" b="b"/>
              <a:pathLst>
                <a:path w="6586" h="6969" extrusionOk="0">
                  <a:moveTo>
                    <a:pt x="3322" y="0"/>
                  </a:moveTo>
                  <a:cubicBezTo>
                    <a:pt x="3113" y="0"/>
                    <a:pt x="2902" y="21"/>
                    <a:pt x="2692" y="63"/>
                  </a:cubicBezTo>
                  <a:cubicBezTo>
                    <a:pt x="1858" y="218"/>
                    <a:pt x="1144" y="694"/>
                    <a:pt x="668" y="1409"/>
                  </a:cubicBezTo>
                  <a:lnTo>
                    <a:pt x="489" y="1730"/>
                  </a:lnTo>
                  <a:cubicBezTo>
                    <a:pt x="441" y="1813"/>
                    <a:pt x="477" y="1909"/>
                    <a:pt x="560" y="1944"/>
                  </a:cubicBezTo>
                  <a:cubicBezTo>
                    <a:pt x="592" y="1960"/>
                    <a:pt x="623" y="1968"/>
                    <a:pt x="651" y="1968"/>
                  </a:cubicBezTo>
                  <a:cubicBezTo>
                    <a:pt x="707" y="1968"/>
                    <a:pt x="755" y="1936"/>
                    <a:pt x="787" y="1873"/>
                  </a:cubicBezTo>
                  <a:cubicBezTo>
                    <a:pt x="834" y="1766"/>
                    <a:pt x="894" y="1682"/>
                    <a:pt x="953" y="1587"/>
                  </a:cubicBezTo>
                  <a:cubicBezTo>
                    <a:pt x="1370" y="968"/>
                    <a:pt x="2001" y="539"/>
                    <a:pt x="2751" y="385"/>
                  </a:cubicBezTo>
                  <a:cubicBezTo>
                    <a:pt x="2936" y="349"/>
                    <a:pt x="3122" y="331"/>
                    <a:pt x="3307" y="331"/>
                  </a:cubicBezTo>
                  <a:cubicBezTo>
                    <a:pt x="3862" y="331"/>
                    <a:pt x="4409" y="492"/>
                    <a:pt x="4882" y="813"/>
                  </a:cubicBezTo>
                  <a:cubicBezTo>
                    <a:pt x="5502" y="1254"/>
                    <a:pt x="5930" y="1873"/>
                    <a:pt x="6085" y="2623"/>
                  </a:cubicBezTo>
                  <a:cubicBezTo>
                    <a:pt x="6228" y="3361"/>
                    <a:pt x="6085" y="4123"/>
                    <a:pt x="5656" y="4742"/>
                  </a:cubicBezTo>
                  <a:cubicBezTo>
                    <a:pt x="5117" y="5552"/>
                    <a:pt x="4227" y="6005"/>
                    <a:pt x="3296" y="6005"/>
                  </a:cubicBezTo>
                  <a:cubicBezTo>
                    <a:pt x="3036" y="6005"/>
                    <a:pt x="2773" y="5970"/>
                    <a:pt x="2513" y="5897"/>
                  </a:cubicBezTo>
                  <a:cubicBezTo>
                    <a:pt x="2492" y="5887"/>
                    <a:pt x="2475" y="5881"/>
                    <a:pt x="2459" y="5881"/>
                  </a:cubicBezTo>
                  <a:cubicBezTo>
                    <a:pt x="2439" y="5881"/>
                    <a:pt x="2420" y="5890"/>
                    <a:pt x="2394" y="5909"/>
                  </a:cubicBezTo>
                  <a:lnTo>
                    <a:pt x="1037" y="6552"/>
                  </a:lnTo>
                  <a:lnTo>
                    <a:pt x="1108" y="5040"/>
                  </a:lnTo>
                  <a:cubicBezTo>
                    <a:pt x="1108" y="5004"/>
                    <a:pt x="1096" y="4969"/>
                    <a:pt x="1084" y="4921"/>
                  </a:cubicBezTo>
                  <a:cubicBezTo>
                    <a:pt x="549" y="4242"/>
                    <a:pt x="334" y="3337"/>
                    <a:pt x="549" y="2480"/>
                  </a:cubicBezTo>
                  <a:cubicBezTo>
                    <a:pt x="560" y="2397"/>
                    <a:pt x="513" y="2302"/>
                    <a:pt x="430" y="2278"/>
                  </a:cubicBezTo>
                  <a:cubicBezTo>
                    <a:pt x="418" y="2276"/>
                    <a:pt x="406" y="2276"/>
                    <a:pt x="395" y="2276"/>
                  </a:cubicBezTo>
                  <a:cubicBezTo>
                    <a:pt x="314" y="2276"/>
                    <a:pt x="247" y="2313"/>
                    <a:pt x="215" y="2397"/>
                  </a:cubicBezTo>
                  <a:cubicBezTo>
                    <a:pt x="1" y="3314"/>
                    <a:pt x="203" y="4314"/>
                    <a:pt x="775" y="5076"/>
                  </a:cubicBezTo>
                  <a:lnTo>
                    <a:pt x="691" y="6790"/>
                  </a:lnTo>
                  <a:cubicBezTo>
                    <a:pt x="691" y="6850"/>
                    <a:pt x="727" y="6909"/>
                    <a:pt x="775" y="6933"/>
                  </a:cubicBezTo>
                  <a:cubicBezTo>
                    <a:pt x="799" y="6945"/>
                    <a:pt x="834" y="6969"/>
                    <a:pt x="858" y="6969"/>
                  </a:cubicBezTo>
                  <a:cubicBezTo>
                    <a:pt x="894" y="6969"/>
                    <a:pt x="906" y="6969"/>
                    <a:pt x="930" y="6945"/>
                  </a:cubicBezTo>
                  <a:lnTo>
                    <a:pt x="2477" y="6219"/>
                  </a:lnTo>
                  <a:cubicBezTo>
                    <a:pt x="2747" y="6290"/>
                    <a:pt x="3020" y="6324"/>
                    <a:pt x="3290" y="6324"/>
                  </a:cubicBezTo>
                  <a:cubicBezTo>
                    <a:pt x="3652" y="6324"/>
                    <a:pt x="4011" y="6263"/>
                    <a:pt x="4359" y="6147"/>
                  </a:cubicBezTo>
                  <a:cubicBezTo>
                    <a:pt x="5002" y="5921"/>
                    <a:pt x="5549" y="5492"/>
                    <a:pt x="5918" y="4921"/>
                  </a:cubicBezTo>
                  <a:cubicBezTo>
                    <a:pt x="6406" y="4242"/>
                    <a:pt x="6585" y="3397"/>
                    <a:pt x="6430" y="2564"/>
                  </a:cubicBezTo>
                  <a:cubicBezTo>
                    <a:pt x="6264" y="1730"/>
                    <a:pt x="5787" y="1016"/>
                    <a:pt x="5073" y="539"/>
                  </a:cubicBezTo>
                  <a:cubicBezTo>
                    <a:pt x="4548" y="183"/>
                    <a:pt x="3943"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9" name="Google Shape;11429;p61"/>
            <p:cNvSpPr/>
            <p:nvPr/>
          </p:nvSpPr>
          <p:spPr>
            <a:xfrm>
              <a:off x="2157462" y="4323313"/>
              <a:ext cx="300643" cy="298552"/>
            </a:xfrm>
            <a:custGeom>
              <a:avLst/>
              <a:gdLst/>
              <a:ahLst/>
              <a:cxnLst/>
              <a:rect l="l" t="t" r="r" b="b"/>
              <a:pathLst>
                <a:path w="9490" h="9424" extrusionOk="0">
                  <a:moveTo>
                    <a:pt x="2453" y="410"/>
                  </a:moveTo>
                  <a:lnTo>
                    <a:pt x="3798" y="2684"/>
                  </a:lnTo>
                  <a:lnTo>
                    <a:pt x="3072" y="3113"/>
                  </a:lnTo>
                  <a:lnTo>
                    <a:pt x="1727" y="839"/>
                  </a:lnTo>
                  <a:lnTo>
                    <a:pt x="2453" y="410"/>
                  </a:lnTo>
                  <a:close/>
                  <a:moveTo>
                    <a:pt x="2533" y="1"/>
                  </a:moveTo>
                  <a:cubicBezTo>
                    <a:pt x="2503" y="1"/>
                    <a:pt x="2475" y="9"/>
                    <a:pt x="2441" y="17"/>
                  </a:cubicBezTo>
                  <a:lnTo>
                    <a:pt x="1429" y="613"/>
                  </a:lnTo>
                  <a:cubicBezTo>
                    <a:pt x="1358" y="660"/>
                    <a:pt x="1322" y="768"/>
                    <a:pt x="1370" y="839"/>
                  </a:cubicBezTo>
                  <a:lnTo>
                    <a:pt x="1477" y="1018"/>
                  </a:lnTo>
                  <a:lnTo>
                    <a:pt x="1060" y="1244"/>
                  </a:lnTo>
                  <a:cubicBezTo>
                    <a:pt x="631" y="1458"/>
                    <a:pt x="298" y="1851"/>
                    <a:pt x="143" y="2315"/>
                  </a:cubicBezTo>
                  <a:cubicBezTo>
                    <a:pt x="0" y="2780"/>
                    <a:pt x="24" y="3268"/>
                    <a:pt x="250" y="3708"/>
                  </a:cubicBezTo>
                  <a:cubicBezTo>
                    <a:pt x="465" y="4137"/>
                    <a:pt x="1084" y="4875"/>
                    <a:pt x="1572" y="5411"/>
                  </a:cubicBezTo>
                  <a:cubicBezTo>
                    <a:pt x="1608" y="5435"/>
                    <a:pt x="1655" y="5471"/>
                    <a:pt x="1691" y="5471"/>
                  </a:cubicBezTo>
                  <a:cubicBezTo>
                    <a:pt x="1739" y="5471"/>
                    <a:pt x="1774" y="5447"/>
                    <a:pt x="1810" y="5423"/>
                  </a:cubicBezTo>
                  <a:cubicBezTo>
                    <a:pt x="1893" y="5363"/>
                    <a:pt x="1893" y="5256"/>
                    <a:pt x="1834" y="5185"/>
                  </a:cubicBezTo>
                  <a:cubicBezTo>
                    <a:pt x="1155" y="4459"/>
                    <a:pt x="715" y="3875"/>
                    <a:pt x="560" y="3577"/>
                  </a:cubicBezTo>
                  <a:cubicBezTo>
                    <a:pt x="215" y="2851"/>
                    <a:pt x="489" y="1946"/>
                    <a:pt x="1215" y="1553"/>
                  </a:cubicBezTo>
                  <a:lnTo>
                    <a:pt x="1655" y="1327"/>
                  </a:lnTo>
                  <a:lnTo>
                    <a:pt x="2584" y="2923"/>
                  </a:lnTo>
                  <a:cubicBezTo>
                    <a:pt x="2501" y="2970"/>
                    <a:pt x="2405" y="3018"/>
                    <a:pt x="2334" y="3089"/>
                  </a:cubicBezTo>
                  <a:cubicBezTo>
                    <a:pt x="1965" y="3411"/>
                    <a:pt x="1905" y="3970"/>
                    <a:pt x="2191" y="4363"/>
                  </a:cubicBezTo>
                  <a:cubicBezTo>
                    <a:pt x="2334" y="4578"/>
                    <a:pt x="4930" y="7161"/>
                    <a:pt x="5132" y="7316"/>
                  </a:cubicBezTo>
                  <a:cubicBezTo>
                    <a:pt x="5299" y="7435"/>
                    <a:pt x="5501" y="7495"/>
                    <a:pt x="5703" y="7495"/>
                  </a:cubicBezTo>
                  <a:cubicBezTo>
                    <a:pt x="5965" y="7495"/>
                    <a:pt x="6215" y="7387"/>
                    <a:pt x="6418" y="7161"/>
                  </a:cubicBezTo>
                  <a:cubicBezTo>
                    <a:pt x="6489" y="7090"/>
                    <a:pt x="6537" y="7006"/>
                    <a:pt x="6585" y="6911"/>
                  </a:cubicBezTo>
                  <a:lnTo>
                    <a:pt x="8168" y="7852"/>
                  </a:lnTo>
                  <a:lnTo>
                    <a:pt x="7954" y="8280"/>
                  </a:lnTo>
                  <a:cubicBezTo>
                    <a:pt x="7676" y="8795"/>
                    <a:pt x="7141" y="9094"/>
                    <a:pt x="6590" y="9094"/>
                  </a:cubicBezTo>
                  <a:cubicBezTo>
                    <a:pt x="6363" y="9094"/>
                    <a:pt x="6133" y="9043"/>
                    <a:pt x="5918" y="8935"/>
                  </a:cubicBezTo>
                  <a:cubicBezTo>
                    <a:pt x="5346" y="8638"/>
                    <a:pt x="3798" y="7268"/>
                    <a:pt x="2334" y="5721"/>
                  </a:cubicBezTo>
                  <a:cubicBezTo>
                    <a:pt x="2304" y="5685"/>
                    <a:pt x="2263" y="5667"/>
                    <a:pt x="2219" y="5667"/>
                  </a:cubicBezTo>
                  <a:cubicBezTo>
                    <a:pt x="2176" y="5667"/>
                    <a:pt x="2132" y="5685"/>
                    <a:pt x="2096" y="5721"/>
                  </a:cubicBezTo>
                  <a:cubicBezTo>
                    <a:pt x="2024" y="5780"/>
                    <a:pt x="2024" y="5887"/>
                    <a:pt x="2096" y="5959"/>
                  </a:cubicBezTo>
                  <a:cubicBezTo>
                    <a:pt x="3394" y="7328"/>
                    <a:pt x="5072" y="8888"/>
                    <a:pt x="5787" y="9233"/>
                  </a:cubicBezTo>
                  <a:cubicBezTo>
                    <a:pt x="6037" y="9364"/>
                    <a:pt x="6323" y="9423"/>
                    <a:pt x="6608" y="9423"/>
                  </a:cubicBezTo>
                  <a:cubicBezTo>
                    <a:pt x="6799" y="9423"/>
                    <a:pt x="6989" y="9400"/>
                    <a:pt x="7192" y="9340"/>
                  </a:cubicBezTo>
                  <a:cubicBezTo>
                    <a:pt x="7644" y="9185"/>
                    <a:pt x="8037" y="8864"/>
                    <a:pt x="8263" y="8423"/>
                  </a:cubicBezTo>
                  <a:lnTo>
                    <a:pt x="8478" y="8007"/>
                  </a:lnTo>
                  <a:lnTo>
                    <a:pt x="8656" y="8114"/>
                  </a:lnTo>
                  <a:cubicBezTo>
                    <a:pt x="8692" y="8126"/>
                    <a:pt x="8716" y="8149"/>
                    <a:pt x="8751" y="8149"/>
                  </a:cubicBezTo>
                  <a:cubicBezTo>
                    <a:pt x="8811" y="8149"/>
                    <a:pt x="8871" y="8114"/>
                    <a:pt x="8894" y="8054"/>
                  </a:cubicBezTo>
                  <a:lnTo>
                    <a:pt x="9490" y="7042"/>
                  </a:lnTo>
                  <a:cubicBezTo>
                    <a:pt x="9442" y="6983"/>
                    <a:pt x="9454" y="6947"/>
                    <a:pt x="9442" y="6899"/>
                  </a:cubicBezTo>
                  <a:cubicBezTo>
                    <a:pt x="9418" y="6852"/>
                    <a:pt x="9394" y="6828"/>
                    <a:pt x="9359" y="6792"/>
                  </a:cubicBezTo>
                  <a:lnTo>
                    <a:pt x="8251" y="6137"/>
                  </a:lnTo>
                  <a:cubicBezTo>
                    <a:pt x="8225" y="6122"/>
                    <a:pt x="8198" y="6116"/>
                    <a:pt x="8171" y="6116"/>
                  </a:cubicBezTo>
                  <a:cubicBezTo>
                    <a:pt x="8113" y="6116"/>
                    <a:pt x="8058" y="6148"/>
                    <a:pt x="8025" y="6197"/>
                  </a:cubicBezTo>
                  <a:cubicBezTo>
                    <a:pt x="7978" y="6268"/>
                    <a:pt x="8001" y="6375"/>
                    <a:pt x="8085" y="6423"/>
                  </a:cubicBezTo>
                  <a:lnTo>
                    <a:pt x="9061" y="7006"/>
                  </a:lnTo>
                  <a:lnTo>
                    <a:pt x="8632" y="7733"/>
                  </a:lnTo>
                  <a:lnTo>
                    <a:pt x="6358" y="6387"/>
                  </a:lnTo>
                  <a:lnTo>
                    <a:pt x="6787" y="5661"/>
                  </a:lnTo>
                  <a:lnTo>
                    <a:pt x="7501" y="6078"/>
                  </a:lnTo>
                  <a:cubicBezTo>
                    <a:pt x="7524" y="6093"/>
                    <a:pt x="7550" y="6099"/>
                    <a:pt x="7576" y="6099"/>
                  </a:cubicBezTo>
                  <a:cubicBezTo>
                    <a:pt x="7634" y="6099"/>
                    <a:pt x="7695" y="6067"/>
                    <a:pt x="7728" y="6018"/>
                  </a:cubicBezTo>
                  <a:cubicBezTo>
                    <a:pt x="7775" y="5947"/>
                    <a:pt x="7739" y="5840"/>
                    <a:pt x="7668" y="5792"/>
                  </a:cubicBezTo>
                  <a:lnTo>
                    <a:pt x="6823" y="5292"/>
                  </a:lnTo>
                  <a:cubicBezTo>
                    <a:pt x="6796" y="5272"/>
                    <a:pt x="6770" y="5263"/>
                    <a:pt x="6744" y="5263"/>
                  </a:cubicBezTo>
                  <a:cubicBezTo>
                    <a:pt x="6723" y="5263"/>
                    <a:pt x="6701" y="5269"/>
                    <a:pt x="6680" y="5280"/>
                  </a:cubicBezTo>
                  <a:cubicBezTo>
                    <a:pt x="6644" y="5292"/>
                    <a:pt x="6608" y="5316"/>
                    <a:pt x="6585" y="5351"/>
                  </a:cubicBezTo>
                  <a:lnTo>
                    <a:pt x="5989" y="6364"/>
                  </a:lnTo>
                  <a:cubicBezTo>
                    <a:pt x="5942" y="6435"/>
                    <a:pt x="5965" y="6542"/>
                    <a:pt x="6049" y="6578"/>
                  </a:cubicBezTo>
                  <a:lnTo>
                    <a:pt x="6263" y="6721"/>
                  </a:lnTo>
                  <a:lnTo>
                    <a:pt x="6251" y="6745"/>
                  </a:lnTo>
                  <a:cubicBezTo>
                    <a:pt x="6227" y="6804"/>
                    <a:pt x="6192" y="6864"/>
                    <a:pt x="6144" y="6923"/>
                  </a:cubicBezTo>
                  <a:cubicBezTo>
                    <a:pt x="6026" y="7062"/>
                    <a:pt x="5856" y="7136"/>
                    <a:pt x="5680" y="7136"/>
                  </a:cubicBezTo>
                  <a:cubicBezTo>
                    <a:pt x="5554" y="7136"/>
                    <a:pt x="5425" y="7098"/>
                    <a:pt x="5311" y="7018"/>
                  </a:cubicBezTo>
                  <a:cubicBezTo>
                    <a:pt x="5132" y="6887"/>
                    <a:pt x="2572" y="4328"/>
                    <a:pt x="2441" y="4149"/>
                  </a:cubicBezTo>
                  <a:cubicBezTo>
                    <a:pt x="2251" y="3887"/>
                    <a:pt x="2298" y="3530"/>
                    <a:pt x="2536" y="3316"/>
                  </a:cubicBezTo>
                  <a:cubicBezTo>
                    <a:pt x="2572" y="3268"/>
                    <a:pt x="2632" y="3232"/>
                    <a:pt x="2715" y="3208"/>
                  </a:cubicBezTo>
                  <a:lnTo>
                    <a:pt x="2739" y="3196"/>
                  </a:lnTo>
                  <a:lnTo>
                    <a:pt x="2870" y="3411"/>
                  </a:lnTo>
                  <a:cubicBezTo>
                    <a:pt x="2906" y="3470"/>
                    <a:pt x="2965" y="3506"/>
                    <a:pt x="3025" y="3506"/>
                  </a:cubicBezTo>
                  <a:cubicBezTo>
                    <a:pt x="3048" y="3506"/>
                    <a:pt x="3084" y="3494"/>
                    <a:pt x="3108" y="3470"/>
                  </a:cubicBezTo>
                  <a:lnTo>
                    <a:pt x="4120" y="2875"/>
                  </a:lnTo>
                  <a:cubicBezTo>
                    <a:pt x="4168" y="2851"/>
                    <a:pt x="4179" y="2815"/>
                    <a:pt x="4203" y="2768"/>
                  </a:cubicBezTo>
                  <a:cubicBezTo>
                    <a:pt x="4215" y="2732"/>
                    <a:pt x="4203" y="2684"/>
                    <a:pt x="4179" y="2637"/>
                  </a:cubicBezTo>
                  <a:lnTo>
                    <a:pt x="2679" y="77"/>
                  </a:lnTo>
                  <a:cubicBezTo>
                    <a:pt x="2644" y="29"/>
                    <a:pt x="2620" y="17"/>
                    <a:pt x="2572" y="6"/>
                  </a:cubicBezTo>
                  <a:cubicBezTo>
                    <a:pt x="2558" y="2"/>
                    <a:pt x="2545" y="1"/>
                    <a:pt x="2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0" name="Google Shape;11430;p61"/>
            <p:cNvSpPr/>
            <p:nvPr/>
          </p:nvSpPr>
          <p:spPr>
            <a:xfrm>
              <a:off x="2339653" y="4297463"/>
              <a:ext cx="123362" cy="123742"/>
            </a:xfrm>
            <a:custGeom>
              <a:avLst/>
              <a:gdLst/>
              <a:ahLst/>
              <a:cxnLst/>
              <a:rect l="l" t="t" r="r" b="b"/>
              <a:pathLst>
                <a:path w="3894" h="3906" extrusionOk="0">
                  <a:moveTo>
                    <a:pt x="1941" y="345"/>
                  </a:moveTo>
                  <a:cubicBezTo>
                    <a:pt x="2834" y="345"/>
                    <a:pt x="3572" y="1072"/>
                    <a:pt x="3572" y="1965"/>
                  </a:cubicBezTo>
                  <a:cubicBezTo>
                    <a:pt x="3572" y="2060"/>
                    <a:pt x="3548" y="2143"/>
                    <a:pt x="3536" y="2238"/>
                  </a:cubicBezTo>
                  <a:lnTo>
                    <a:pt x="1203" y="524"/>
                  </a:lnTo>
                  <a:cubicBezTo>
                    <a:pt x="1429" y="405"/>
                    <a:pt x="1679" y="345"/>
                    <a:pt x="1941" y="345"/>
                  </a:cubicBezTo>
                  <a:close/>
                  <a:moveTo>
                    <a:pt x="893" y="714"/>
                  </a:moveTo>
                  <a:lnTo>
                    <a:pt x="3417" y="2560"/>
                  </a:lnTo>
                  <a:cubicBezTo>
                    <a:pt x="3346" y="2822"/>
                    <a:pt x="3179" y="3024"/>
                    <a:pt x="2989" y="3191"/>
                  </a:cubicBezTo>
                  <a:lnTo>
                    <a:pt x="441" y="1334"/>
                  </a:lnTo>
                  <a:cubicBezTo>
                    <a:pt x="548" y="1095"/>
                    <a:pt x="691" y="881"/>
                    <a:pt x="893" y="714"/>
                  </a:cubicBezTo>
                  <a:close/>
                  <a:moveTo>
                    <a:pt x="357" y="1667"/>
                  </a:moveTo>
                  <a:lnTo>
                    <a:pt x="2703" y="3381"/>
                  </a:lnTo>
                  <a:cubicBezTo>
                    <a:pt x="2465" y="3500"/>
                    <a:pt x="2215" y="3572"/>
                    <a:pt x="1941" y="3572"/>
                  </a:cubicBezTo>
                  <a:cubicBezTo>
                    <a:pt x="1048" y="3572"/>
                    <a:pt x="322" y="2846"/>
                    <a:pt x="322" y="1953"/>
                  </a:cubicBezTo>
                  <a:cubicBezTo>
                    <a:pt x="322" y="1846"/>
                    <a:pt x="333" y="1762"/>
                    <a:pt x="357" y="1667"/>
                  </a:cubicBezTo>
                  <a:close/>
                  <a:moveTo>
                    <a:pt x="1941" y="0"/>
                  </a:moveTo>
                  <a:cubicBezTo>
                    <a:pt x="869" y="0"/>
                    <a:pt x="0" y="881"/>
                    <a:pt x="0" y="1953"/>
                  </a:cubicBezTo>
                  <a:cubicBezTo>
                    <a:pt x="0" y="3024"/>
                    <a:pt x="869" y="3905"/>
                    <a:pt x="1941" y="3905"/>
                  </a:cubicBezTo>
                  <a:cubicBezTo>
                    <a:pt x="3012" y="3905"/>
                    <a:pt x="3893" y="3024"/>
                    <a:pt x="3893" y="1953"/>
                  </a:cubicBezTo>
                  <a:cubicBezTo>
                    <a:pt x="3893" y="881"/>
                    <a:pt x="3012" y="0"/>
                    <a:pt x="1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1" name="Google Shape;11431;p61"/>
          <p:cNvGrpSpPr/>
          <p:nvPr/>
        </p:nvGrpSpPr>
        <p:grpSpPr>
          <a:xfrm>
            <a:off x="4010963" y="3763781"/>
            <a:ext cx="343665" cy="363211"/>
            <a:chOff x="4010963" y="3763781"/>
            <a:chExt cx="343665" cy="363211"/>
          </a:xfrm>
        </p:grpSpPr>
        <p:sp>
          <p:nvSpPr>
            <p:cNvPr id="11432" name="Google Shape;11432;p61"/>
            <p:cNvSpPr/>
            <p:nvPr/>
          </p:nvSpPr>
          <p:spPr>
            <a:xfrm>
              <a:off x="4152415" y="3763781"/>
              <a:ext cx="202213" cy="221760"/>
            </a:xfrm>
            <a:custGeom>
              <a:avLst/>
              <a:gdLst/>
              <a:ahLst/>
              <a:cxnLst/>
              <a:rect l="l" t="t" r="r" b="b"/>
              <a:pathLst>
                <a:path w="6383" h="7000" extrusionOk="0">
                  <a:moveTo>
                    <a:pt x="3206" y="0"/>
                  </a:moveTo>
                  <a:cubicBezTo>
                    <a:pt x="3000" y="0"/>
                    <a:pt x="2792" y="20"/>
                    <a:pt x="2584" y="58"/>
                  </a:cubicBezTo>
                  <a:cubicBezTo>
                    <a:pt x="1751" y="225"/>
                    <a:pt x="1036" y="701"/>
                    <a:pt x="560" y="1416"/>
                  </a:cubicBezTo>
                  <a:cubicBezTo>
                    <a:pt x="179" y="1987"/>
                    <a:pt x="1" y="2654"/>
                    <a:pt x="24" y="3332"/>
                  </a:cubicBezTo>
                  <a:cubicBezTo>
                    <a:pt x="60" y="3987"/>
                    <a:pt x="274" y="4606"/>
                    <a:pt x="667" y="5107"/>
                  </a:cubicBezTo>
                  <a:lnTo>
                    <a:pt x="596" y="6821"/>
                  </a:lnTo>
                  <a:cubicBezTo>
                    <a:pt x="596" y="6881"/>
                    <a:pt x="620" y="6940"/>
                    <a:pt x="667" y="6964"/>
                  </a:cubicBezTo>
                  <a:cubicBezTo>
                    <a:pt x="691" y="6988"/>
                    <a:pt x="727" y="7000"/>
                    <a:pt x="751" y="7000"/>
                  </a:cubicBezTo>
                  <a:cubicBezTo>
                    <a:pt x="786" y="7000"/>
                    <a:pt x="798" y="7000"/>
                    <a:pt x="834" y="6988"/>
                  </a:cubicBezTo>
                  <a:lnTo>
                    <a:pt x="2382" y="6250"/>
                  </a:lnTo>
                  <a:cubicBezTo>
                    <a:pt x="2653" y="6322"/>
                    <a:pt x="2928" y="6359"/>
                    <a:pt x="3203" y="6359"/>
                  </a:cubicBezTo>
                  <a:cubicBezTo>
                    <a:pt x="3557" y="6359"/>
                    <a:pt x="3910" y="6299"/>
                    <a:pt x="4251" y="6178"/>
                  </a:cubicBezTo>
                  <a:cubicBezTo>
                    <a:pt x="4894" y="5952"/>
                    <a:pt x="5442" y="5523"/>
                    <a:pt x="5811" y="4964"/>
                  </a:cubicBezTo>
                  <a:cubicBezTo>
                    <a:pt x="6132" y="4487"/>
                    <a:pt x="6323" y="3952"/>
                    <a:pt x="6347" y="3380"/>
                  </a:cubicBezTo>
                  <a:cubicBezTo>
                    <a:pt x="6382" y="3249"/>
                    <a:pt x="6311" y="3178"/>
                    <a:pt x="6216" y="3178"/>
                  </a:cubicBezTo>
                  <a:cubicBezTo>
                    <a:pt x="6132" y="3178"/>
                    <a:pt x="6037" y="3237"/>
                    <a:pt x="6037" y="3332"/>
                  </a:cubicBezTo>
                  <a:cubicBezTo>
                    <a:pt x="6013" y="3844"/>
                    <a:pt x="5847" y="4333"/>
                    <a:pt x="5561" y="4749"/>
                  </a:cubicBezTo>
                  <a:cubicBezTo>
                    <a:pt x="5032" y="5547"/>
                    <a:pt x="4142" y="6005"/>
                    <a:pt x="3211" y="6005"/>
                  </a:cubicBezTo>
                  <a:cubicBezTo>
                    <a:pt x="2947" y="6005"/>
                    <a:pt x="2680" y="5969"/>
                    <a:pt x="2418" y="5892"/>
                  </a:cubicBezTo>
                  <a:cubicBezTo>
                    <a:pt x="2404" y="5888"/>
                    <a:pt x="2391" y="5885"/>
                    <a:pt x="2378" y="5885"/>
                  </a:cubicBezTo>
                  <a:cubicBezTo>
                    <a:pt x="2354" y="5885"/>
                    <a:pt x="2329" y="5893"/>
                    <a:pt x="2298" y="5916"/>
                  </a:cubicBezTo>
                  <a:lnTo>
                    <a:pt x="953" y="6547"/>
                  </a:lnTo>
                  <a:lnTo>
                    <a:pt x="1024" y="5047"/>
                  </a:lnTo>
                  <a:cubicBezTo>
                    <a:pt x="1024" y="4999"/>
                    <a:pt x="1013" y="4976"/>
                    <a:pt x="989" y="4928"/>
                  </a:cubicBezTo>
                  <a:cubicBezTo>
                    <a:pt x="215" y="3964"/>
                    <a:pt x="179" y="2618"/>
                    <a:pt x="858" y="1594"/>
                  </a:cubicBezTo>
                  <a:cubicBezTo>
                    <a:pt x="1275" y="975"/>
                    <a:pt x="1917" y="535"/>
                    <a:pt x="2656" y="392"/>
                  </a:cubicBezTo>
                  <a:cubicBezTo>
                    <a:pt x="2846" y="352"/>
                    <a:pt x="3037" y="333"/>
                    <a:pt x="3226" y="333"/>
                  </a:cubicBezTo>
                  <a:cubicBezTo>
                    <a:pt x="3783" y="333"/>
                    <a:pt x="4325" y="500"/>
                    <a:pt x="4787" y="820"/>
                  </a:cubicBezTo>
                  <a:cubicBezTo>
                    <a:pt x="5442" y="1273"/>
                    <a:pt x="5870" y="1939"/>
                    <a:pt x="6013" y="2713"/>
                  </a:cubicBezTo>
                  <a:cubicBezTo>
                    <a:pt x="6024" y="2790"/>
                    <a:pt x="6105" y="2846"/>
                    <a:pt x="6182" y="2846"/>
                  </a:cubicBezTo>
                  <a:cubicBezTo>
                    <a:pt x="6189" y="2846"/>
                    <a:pt x="6197" y="2845"/>
                    <a:pt x="6204" y="2844"/>
                  </a:cubicBezTo>
                  <a:cubicBezTo>
                    <a:pt x="6287" y="2832"/>
                    <a:pt x="6347" y="2737"/>
                    <a:pt x="6335" y="2654"/>
                  </a:cubicBezTo>
                  <a:cubicBezTo>
                    <a:pt x="6192" y="1785"/>
                    <a:pt x="5692" y="1011"/>
                    <a:pt x="4965" y="535"/>
                  </a:cubicBezTo>
                  <a:cubicBezTo>
                    <a:pt x="4438" y="177"/>
                    <a:pt x="3829" y="0"/>
                    <a:pt x="32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3" name="Google Shape;11433;p61"/>
            <p:cNvSpPr/>
            <p:nvPr/>
          </p:nvSpPr>
          <p:spPr>
            <a:xfrm>
              <a:off x="4010963" y="3828662"/>
              <a:ext cx="299154" cy="298331"/>
            </a:xfrm>
            <a:custGeom>
              <a:avLst/>
              <a:gdLst/>
              <a:ahLst/>
              <a:cxnLst/>
              <a:rect l="l" t="t" r="r" b="b"/>
              <a:pathLst>
                <a:path w="9443" h="9417" extrusionOk="0">
                  <a:moveTo>
                    <a:pt x="6752" y="5654"/>
                  </a:moveTo>
                  <a:lnTo>
                    <a:pt x="9038" y="6988"/>
                  </a:lnTo>
                  <a:lnTo>
                    <a:pt x="8597" y="7714"/>
                  </a:lnTo>
                  <a:lnTo>
                    <a:pt x="6323" y="6380"/>
                  </a:lnTo>
                  <a:lnTo>
                    <a:pt x="6752" y="5654"/>
                  </a:lnTo>
                  <a:close/>
                  <a:moveTo>
                    <a:pt x="2516" y="1"/>
                  </a:moveTo>
                  <a:cubicBezTo>
                    <a:pt x="2490" y="1"/>
                    <a:pt x="2464" y="7"/>
                    <a:pt x="2441" y="22"/>
                  </a:cubicBezTo>
                  <a:lnTo>
                    <a:pt x="1429" y="618"/>
                  </a:lnTo>
                  <a:cubicBezTo>
                    <a:pt x="1358" y="665"/>
                    <a:pt x="1322" y="773"/>
                    <a:pt x="1370" y="844"/>
                  </a:cubicBezTo>
                  <a:lnTo>
                    <a:pt x="1477" y="1023"/>
                  </a:lnTo>
                  <a:lnTo>
                    <a:pt x="1060" y="1249"/>
                  </a:lnTo>
                  <a:cubicBezTo>
                    <a:pt x="620" y="1463"/>
                    <a:pt x="298" y="1856"/>
                    <a:pt x="144" y="2320"/>
                  </a:cubicBezTo>
                  <a:cubicBezTo>
                    <a:pt x="1" y="2773"/>
                    <a:pt x="25" y="3273"/>
                    <a:pt x="251" y="3713"/>
                  </a:cubicBezTo>
                  <a:cubicBezTo>
                    <a:pt x="548" y="4297"/>
                    <a:pt x="1668" y="5547"/>
                    <a:pt x="2620" y="6511"/>
                  </a:cubicBezTo>
                  <a:cubicBezTo>
                    <a:pt x="2644" y="6547"/>
                    <a:pt x="2692" y="6559"/>
                    <a:pt x="2739" y="6559"/>
                  </a:cubicBezTo>
                  <a:cubicBezTo>
                    <a:pt x="2787" y="6559"/>
                    <a:pt x="2822" y="6547"/>
                    <a:pt x="2858" y="6511"/>
                  </a:cubicBezTo>
                  <a:cubicBezTo>
                    <a:pt x="2918" y="6452"/>
                    <a:pt x="2918" y="6333"/>
                    <a:pt x="2858" y="6273"/>
                  </a:cubicBezTo>
                  <a:cubicBezTo>
                    <a:pt x="1679" y="5083"/>
                    <a:pt x="775" y="4011"/>
                    <a:pt x="548" y="3570"/>
                  </a:cubicBezTo>
                  <a:cubicBezTo>
                    <a:pt x="191" y="2832"/>
                    <a:pt x="477" y="1927"/>
                    <a:pt x="1203" y="1546"/>
                  </a:cubicBezTo>
                  <a:lnTo>
                    <a:pt x="1632" y="1320"/>
                  </a:lnTo>
                  <a:lnTo>
                    <a:pt x="2572" y="2916"/>
                  </a:lnTo>
                  <a:cubicBezTo>
                    <a:pt x="2477" y="2951"/>
                    <a:pt x="2394" y="2999"/>
                    <a:pt x="2322" y="3070"/>
                  </a:cubicBezTo>
                  <a:cubicBezTo>
                    <a:pt x="1941" y="3404"/>
                    <a:pt x="1882" y="3951"/>
                    <a:pt x="2168" y="4356"/>
                  </a:cubicBezTo>
                  <a:cubicBezTo>
                    <a:pt x="2322" y="4559"/>
                    <a:pt x="4906" y="7154"/>
                    <a:pt x="5120" y="7297"/>
                  </a:cubicBezTo>
                  <a:cubicBezTo>
                    <a:pt x="5275" y="7416"/>
                    <a:pt x="5489" y="7476"/>
                    <a:pt x="5680" y="7476"/>
                  </a:cubicBezTo>
                  <a:cubicBezTo>
                    <a:pt x="5954" y="7476"/>
                    <a:pt x="6204" y="7380"/>
                    <a:pt x="6394" y="7154"/>
                  </a:cubicBezTo>
                  <a:cubicBezTo>
                    <a:pt x="6466" y="7083"/>
                    <a:pt x="6513" y="6988"/>
                    <a:pt x="6561" y="6904"/>
                  </a:cubicBezTo>
                  <a:lnTo>
                    <a:pt x="8156" y="7833"/>
                  </a:lnTo>
                  <a:lnTo>
                    <a:pt x="7930" y="8262"/>
                  </a:lnTo>
                  <a:cubicBezTo>
                    <a:pt x="7654" y="8781"/>
                    <a:pt x="7123" y="9083"/>
                    <a:pt x="6580" y="9083"/>
                  </a:cubicBezTo>
                  <a:cubicBezTo>
                    <a:pt x="6352" y="9083"/>
                    <a:pt x="6121" y="9029"/>
                    <a:pt x="5906" y="8916"/>
                  </a:cubicBezTo>
                  <a:cubicBezTo>
                    <a:pt x="5478" y="8702"/>
                    <a:pt x="4477" y="7869"/>
                    <a:pt x="3334" y="6749"/>
                  </a:cubicBezTo>
                  <a:cubicBezTo>
                    <a:pt x="3305" y="6720"/>
                    <a:pt x="3260" y="6705"/>
                    <a:pt x="3215" y="6705"/>
                  </a:cubicBezTo>
                  <a:cubicBezTo>
                    <a:pt x="3171" y="6705"/>
                    <a:pt x="3126" y="6720"/>
                    <a:pt x="3096" y="6749"/>
                  </a:cubicBezTo>
                  <a:cubicBezTo>
                    <a:pt x="3037" y="6809"/>
                    <a:pt x="3037" y="6928"/>
                    <a:pt x="3096" y="6988"/>
                  </a:cubicBezTo>
                  <a:cubicBezTo>
                    <a:pt x="4287" y="8142"/>
                    <a:pt x="5275" y="8976"/>
                    <a:pt x="5740" y="9214"/>
                  </a:cubicBezTo>
                  <a:cubicBezTo>
                    <a:pt x="5990" y="9357"/>
                    <a:pt x="6275" y="9416"/>
                    <a:pt x="6561" y="9416"/>
                  </a:cubicBezTo>
                  <a:cubicBezTo>
                    <a:pt x="6752" y="9416"/>
                    <a:pt x="6942" y="9381"/>
                    <a:pt x="7144" y="9321"/>
                  </a:cubicBezTo>
                  <a:cubicBezTo>
                    <a:pt x="7597" y="9178"/>
                    <a:pt x="7990" y="8845"/>
                    <a:pt x="8216" y="8416"/>
                  </a:cubicBezTo>
                  <a:lnTo>
                    <a:pt x="8430" y="8000"/>
                  </a:lnTo>
                  <a:lnTo>
                    <a:pt x="8609" y="8107"/>
                  </a:lnTo>
                  <a:cubicBezTo>
                    <a:pt x="8645" y="8119"/>
                    <a:pt x="8668" y="8131"/>
                    <a:pt x="8704" y="8131"/>
                  </a:cubicBezTo>
                  <a:cubicBezTo>
                    <a:pt x="8764" y="8131"/>
                    <a:pt x="8823" y="8107"/>
                    <a:pt x="8847" y="8047"/>
                  </a:cubicBezTo>
                  <a:lnTo>
                    <a:pt x="9442" y="7035"/>
                  </a:lnTo>
                  <a:cubicBezTo>
                    <a:pt x="9419" y="6976"/>
                    <a:pt x="9419" y="6928"/>
                    <a:pt x="9419" y="6880"/>
                  </a:cubicBezTo>
                  <a:cubicBezTo>
                    <a:pt x="9407" y="6845"/>
                    <a:pt x="9371" y="6809"/>
                    <a:pt x="9347" y="6785"/>
                  </a:cubicBezTo>
                  <a:lnTo>
                    <a:pt x="6787" y="5273"/>
                  </a:lnTo>
                  <a:cubicBezTo>
                    <a:pt x="6765" y="5262"/>
                    <a:pt x="6740" y="5257"/>
                    <a:pt x="6713" y="5257"/>
                  </a:cubicBezTo>
                  <a:cubicBezTo>
                    <a:pt x="6655" y="5257"/>
                    <a:pt x="6594" y="5283"/>
                    <a:pt x="6561" y="5333"/>
                  </a:cubicBezTo>
                  <a:lnTo>
                    <a:pt x="5966" y="6345"/>
                  </a:lnTo>
                  <a:cubicBezTo>
                    <a:pt x="5930" y="6392"/>
                    <a:pt x="5930" y="6440"/>
                    <a:pt x="5954" y="6476"/>
                  </a:cubicBezTo>
                  <a:cubicBezTo>
                    <a:pt x="5966" y="6523"/>
                    <a:pt x="5990" y="6559"/>
                    <a:pt x="6025" y="6583"/>
                  </a:cubicBezTo>
                  <a:lnTo>
                    <a:pt x="6251" y="6714"/>
                  </a:lnTo>
                  <a:lnTo>
                    <a:pt x="6228" y="6749"/>
                  </a:lnTo>
                  <a:cubicBezTo>
                    <a:pt x="6204" y="6809"/>
                    <a:pt x="6168" y="6869"/>
                    <a:pt x="6132" y="6928"/>
                  </a:cubicBezTo>
                  <a:cubicBezTo>
                    <a:pt x="6008" y="7067"/>
                    <a:pt x="5834" y="7141"/>
                    <a:pt x="5659" y="7141"/>
                  </a:cubicBezTo>
                  <a:cubicBezTo>
                    <a:pt x="5534" y="7141"/>
                    <a:pt x="5408" y="7103"/>
                    <a:pt x="5299" y="7023"/>
                  </a:cubicBezTo>
                  <a:cubicBezTo>
                    <a:pt x="5120" y="6880"/>
                    <a:pt x="2561" y="4321"/>
                    <a:pt x="2418" y="4142"/>
                  </a:cubicBezTo>
                  <a:cubicBezTo>
                    <a:pt x="2227" y="3892"/>
                    <a:pt x="2275" y="3535"/>
                    <a:pt x="2513" y="3309"/>
                  </a:cubicBezTo>
                  <a:cubicBezTo>
                    <a:pt x="2561" y="3273"/>
                    <a:pt x="2620" y="3237"/>
                    <a:pt x="2692" y="3213"/>
                  </a:cubicBezTo>
                  <a:lnTo>
                    <a:pt x="2727" y="3189"/>
                  </a:lnTo>
                  <a:lnTo>
                    <a:pt x="2858" y="3416"/>
                  </a:lnTo>
                  <a:cubicBezTo>
                    <a:pt x="2882" y="3475"/>
                    <a:pt x="2942" y="3511"/>
                    <a:pt x="3001" y="3511"/>
                  </a:cubicBezTo>
                  <a:cubicBezTo>
                    <a:pt x="3037" y="3511"/>
                    <a:pt x="3061" y="3487"/>
                    <a:pt x="3096" y="3475"/>
                  </a:cubicBezTo>
                  <a:lnTo>
                    <a:pt x="4108" y="2880"/>
                  </a:lnTo>
                  <a:cubicBezTo>
                    <a:pt x="4144" y="2844"/>
                    <a:pt x="4168" y="2820"/>
                    <a:pt x="4180" y="2773"/>
                  </a:cubicBezTo>
                  <a:cubicBezTo>
                    <a:pt x="4192" y="2737"/>
                    <a:pt x="4180" y="2689"/>
                    <a:pt x="4168" y="2642"/>
                  </a:cubicBezTo>
                  <a:lnTo>
                    <a:pt x="3442" y="1404"/>
                  </a:lnTo>
                  <a:cubicBezTo>
                    <a:pt x="3409" y="1355"/>
                    <a:pt x="3348" y="1322"/>
                    <a:pt x="3290" y="1322"/>
                  </a:cubicBezTo>
                  <a:cubicBezTo>
                    <a:pt x="3264" y="1322"/>
                    <a:pt x="3238" y="1329"/>
                    <a:pt x="3215" y="1344"/>
                  </a:cubicBezTo>
                  <a:cubicBezTo>
                    <a:pt x="3144" y="1392"/>
                    <a:pt x="3108" y="1499"/>
                    <a:pt x="3156" y="1570"/>
                  </a:cubicBezTo>
                  <a:lnTo>
                    <a:pt x="3787" y="2654"/>
                  </a:lnTo>
                  <a:lnTo>
                    <a:pt x="3061" y="3082"/>
                  </a:lnTo>
                  <a:lnTo>
                    <a:pt x="1727" y="808"/>
                  </a:lnTo>
                  <a:lnTo>
                    <a:pt x="2453" y="380"/>
                  </a:lnTo>
                  <a:lnTo>
                    <a:pt x="2822" y="1011"/>
                  </a:lnTo>
                  <a:cubicBezTo>
                    <a:pt x="2855" y="1060"/>
                    <a:pt x="2917" y="1087"/>
                    <a:pt x="2975" y="1087"/>
                  </a:cubicBezTo>
                  <a:cubicBezTo>
                    <a:pt x="3001" y="1087"/>
                    <a:pt x="3027" y="1081"/>
                    <a:pt x="3049" y="1070"/>
                  </a:cubicBezTo>
                  <a:cubicBezTo>
                    <a:pt x="3120" y="1023"/>
                    <a:pt x="3156" y="915"/>
                    <a:pt x="3108" y="844"/>
                  </a:cubicBezTo>
                  <a:lnTo>
                    <a:pt x="2656" y="82"/>
                  </a:lnTo>
                  <a:cubicBezTo>
                    <a:pt x="2631" y="33"/>
                    <a:pt x="2573" y="1"/>
                    <a:pt x="25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4" name="Google Shape;11434;p61"/>
            <p:cNvSpPr/>
            <p:nvPr/>
          </p:nvSpPr>
          <p:spPr>
            <a:xfrm>
              <a:off x="4187104" y="3787731"/>
              <a:ext cx="133943" cy="146520"/>
            </a:xfrm>
            <a:custGeom>
              <a:avLst/>
              <a:gdLst/>
              <a:ahLst/>
              <a:cxnLst/>
              <a:rect l="l" t="t" r="r" b="b"/>
              <a:pathLst>
                <a:path w="4228" h="4625" extrusionOk="0">
                  <a:moveTo>
                    <a:pt x="2742" y="0"/>
                  </a:moveTo>
                  <a:cubicBezTo>
                    <a:pt x="2716" y="0"/>
                    <a:pt x="2690" y="6"/>
                    <a:pt x="2668" y="17"/>
                  </a:cubicBezTo>
                  <a:cubicBezTo>
                    <a:pt x="2596" y="64"/>
                    <a:pt x="2561" y="171"/>
                    <a:pt x="2608" y="243"/>
                  </a:cubicBezTo>
                  <a:lnTo>
                    <a:pt x="2763" y="493"/>
                  </a:lnTo>
                  <a:cubicBezTo>
                    <a:pt x="2549" y="433"/>
                    <a:pt x="2346" y="398"/>
                    <a:pt x="2120" y="398"/>
                  </a:cubicBezTo>
                  <a:cubicBezTo>
                    <a:pt x="953" y="398"/>
                    <a:pt x="1" y="1350"/>
                    <a:pt x="1" y="2505"/>
                  </a:cubicBezTo>
                  <a:cubicBezTo>
                    <a:pt x="1" y="3672"/>
                    <a:pt x="953" y="4624"/>
                    <a:pt x="2120" y="4624"/>
                  </a:cubicBezTo>
                  <a:cubicBezTo>
                    <a:pt x="3275" y="4624"/>
                    <a:pt x="4228" y="3672"/>
                    <a:pt x="4228" y="2505"/>
                  </a:cubicBezTo>
                  <a:cubicBezTo>
                    <a:pt x="4228" y="2362"/>
                    <a:pt x="4204" y="2195"/>
                    <a:pt x="4168" y="2029"/>
                  </a:cubicBezTo>
                  <a:cubicBezTo>
                    <a:pt x="4158" y="1958"/>
                    <a:pt x="4096" y="1904"/>
                    <a:pt x="4012" y="1904"/>
                  </a:cubicBezTo>
                  <a:cubicBezTo>
                    <a:pt x="3998" y="1904"/>
                    <a:pt x="3982" y="1906"/>
                    <a:pt x="3966" y="1910"/>
                  </a:cubicBezTo>
                  <a:cubicBezTo>
                    <a:pt x="3870" y="1922"/>
                    <a:pt x="3811" y="2017"/>
                    <a:pt x="3847" y="2124"/>
                  </a:cubicBezTo>
                  <a:cubicBezTo>
                    <a:pt x="3870" y="2255"/>
                    <a:pt x="3894" y="2386"/>
                    <a:pt x="3894" y="2517"/>
                  </a:cubicBezTo>
                  <a:cubicBezTo>
                    <a:pt x="3894" y="3505"/>
                    <a:pt x="3085" y="4303"/>
                    <a:pt x="2108" y="4303"/>
                  </a:cubicBezTo>
                  <a:cubicBezTo>
                    <a:pt x="1120" y="4303"/>
                    <a:pt x="322" y="3505"/>
                    <a:pt x="322" y="2517"/>
                  </a:cubicBezTo>
                  <a:cubicBezTo>
                    <a:pt x="322" y="1541"/>
                    <a:pt x="1120" y="731"/>
                    <a:pt x="2108" y="731"/>
                  </a:cubicBezTo>
                  <a:cubicBezTo>
                    <a:pt x="2299" y="731"/>
                    <a:pt x="2477" y="767"/>
                    <a:pt x="2656" y="826"/>
                  </a:cubicBezTo>
                  <a:lnTo>
                    <a:pt x="2299" y="910"/>
                  </a:lnTo>
                  <a:cubicBezTo>
                    <a:pt x="2204" y="933"/>
                    <a:pt x="2144" y="1017"/>
                    <a:pt x="2180" y="1124"/>
                  </a:cubicBezTo>
                  <a:cubicBezTo>
                    <a:pt x="2190" y="1195"/>
                    <a:pt x="2260" y="1248"/>
                    <a:pt x="2339" y="1248"/>
                  </a:cubicBezTo>
                  <a:cubicBezTo>
                    <a:pt x="2353" y="1248"/>
                    <a:pt x="2368" y="1247"/>
                    <a:pt x="2382" y="1243"/>
                  </a:cubicBezTo>
                  <a:lnTo>
                    <a:pt x="3204" y="1052"/>
                  </a:lnTo>
                  <a:cubicBezTo>
                    <a:pt x="3311" y="1017"/>
                    <a:pt x="3370" y="898"/>
                    <a:pt x="3311" y="791"/>
                  </a:cubicBezTo>
                  <a:lnTo>
                    <a:pt x="2894" y="76"/>
                  </a:lnTo>
                  <a:cubicBezTo>
                    <a:pt x="2861" y="27"/>
                    <a:pt x="2800" y="0"/>
                    <a:pt x="27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5" name="Google Shape;11435;p61"/>
            <p:cNvSpPr/>
            <p:nvPr/>
          </p:nvSpPr>
          <p:spPr>
            <a:xfrm>
              <a:off x="4220685" y="3840669"/>
              <a:ext cx="39632" cy="52462"/>
            </a:xfrm>
            <a:custGeom>
              <a:avLst/>
              <a:gdLst/>
              <a:ahLst/>
              <a:cxnLst/>
              <a:rect l="l" t="t" r="r" b="b"/>
              <a:pathLst>
                <a:path w="1251" h="1656" extrusionOk="0">
                  <a:moveTo>
                    <a:pt x="572" y="1"/>
                  </a:moveTo>
                  <a:cubicBezTo>
                    <a:pt x="274" y="1"/>
                    <a:pt x="12" y="239"/>
                    <a:pt x="12" y="524"/>
                  </a:cubicBezTo>
                  <a:cubicBezTo>
                    <a:pt x="12" y="608"/>
                    <a:pt x="96" y="679"/>
                    <a:pt x="179" y="679"/>
                  </a:cubicBezTo>
                  <a:cubicBezTo>
                    <a:pt x="274" y="679"/>
                    <a:pt x="346" y="608"/>
                    <a:pt x="346" y="524"/>
                  </a:cubicBezTo>
                  <a:cubicBezTo>
                    <a:pt x="346" y="417"/>
                    <a:pt x="429" y="322"/>
                    <a:pt x="548" y="322"/>
                  </a:cubicBezTo>
                  <a:lnTo>
                    <a:pt x="608" y="322"/>
                  </a:lnTo>
                  <a:cubicBezTo>
                    <a:pt x="655" y="322"/>
                    <a:pt x="667" y="358"/>
                    <a:pt x="691" y="370"/>
                  </a:cubicBezTo>
                  <a:cubicBezTo>
                    <a:pt x="703" y="382"/>
                    <a:pt x="703" y="417"/>
                    <a:pt x="691" y="429"/>
                  </a:cubicBezTo>
                  <a:lnTo>
                    <a:pt x="48" y="1382"/>
                  </a:lnTo>
                  <a:cubicBezTo>
                    <a:pt x="12" y="1429"/>
                    <a:pt x="1" y="1501"/>
                    <a:pt x="36" y="1560"/>
                  </a:cubicBezTo>
                  <a:cubicBezTo>
                    <a:pt x="60" y="1620"/>
                    <a:pt x="120" y="1656"/>
                    <a:pt x="179" y="1656"/>
                  </a:cubicBezTo>
                  <a:lnTo>
                    <a:pt x="1072" y="1656"/>
                  </a:lnTo>
                  <a:cubicBezTo>
                    <a:pt x="1167" y="1656"/>
                    <a:pt x="1239" y="1572"/>
                    <a:pt x="1239" y="1489"/>
                  </a:cubicBezTo>
                  <a:cubicBezTo>
                    <a:pt x="1251" y="1406"/>
                    <a:pt x="1179" y="1322"/>
                    <a:pt x="1084" y="1322"/>
                  </a:cubicBezTo>
                  <a:lnTo>
                    <a:pt x="513" y="1322"/>
                  </a:lnTo>
                  <a:lnTo>
                    <a:pt x="989" y="620"/>
                  </a:lnTo>
                  <a:cubicBezTo>
                    <a:pt x="1072" y="513"/>
                    <a:pt x="1072" y="358"/>
                    <a:pt x="1001" y="227"/>
                  </a:cubicBezTo>
                  <a:cubicBezTo>
                    <a:pt x="929" y="84"/>
                    <a:pt x="786"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6" name="Google Shape;11436;p61"/>
            <p:cNvSpPr/>
            <p:nvPr/>
          </p:nvSpPr>
          <p:spPr>
            <a:xfrm>
              <a:off x="4259905" y="3840669"/>
              <a:ext cx="29082" cy="52082"/>
            </a:xfrm>
            <a:custGeom>
              <a:avLst/>
              <a:gdLst/>
              <a:ahLst/>
              <a:cxnLst/>
              <a:rect l="l" t="t" r="r" b="b"/>
              <a:pathLst>
                <a:path w="918" h="1644" extrusionOk="0">
                  <a:moveTo>
                    <a:pt x="156" y="1"/>
                  </a:moveTo>
                  <a:cubicBezTo>
                    <a:pt x="72" y="1"/>
                    <a:pt x="1" y="72"/>
                    <a:pt x="1" y="167"/>
                  </a:cubicBezTo>
                  <a:lnTo>
                    <a:pt x="1" y="870"/>
                  </a:lnTo>
                  <a:cubicBezTo>
                    <a:pt x="1" y="953"/>
                    <a:pt x="72" y="1025"/>
                    <a:pt x="156" y="1025"/>
                  </a:cubicBezTo>
                  <a:lnTo>
                    <a:pt x="596" y="1025"/>
                  </a:lnTo>
                  <a:lnTo>
                    <a:pt x="596" y="1477"/>
                  </a:lnTo>
                  <a:cubicBezTo>
                    <a:pt x="596" y="1560"/>
                    <a:pt x="668" y="1644"/>
                    <a:pt x="751" y="1644"/>
                  </a:cubicBezTo>
                  <a:cubicBezTo>
                    <a:pt x="846" y="1644"/>
                    <a:pt x="918" y="1560"/>
                    <a:pt x="918" y="1477"/>
                  </a:cubicBezTo>
                  <a:lnTo>
                    <a:pt x="918" y="846"/>
                  </a:lnTo>
                  <a:lnTo>
                    <a:pt x="918" y="155"/>
                  </a:lnTo>
                  <a:cubicBezTo>
                    <a:pt x="918" y="72"/>
                    <a:pt x="846" y="1"/>
                    <a:pt x="739" y="1"/>
                  </a:cubicBezTo>
                  <a:cubicBezTo>
                    <a:pt x="656" y="1"/>
                    <a:pt x="584" y="72"/>
                    <a:pt x="584" y="167"/>
                  </a:cubicBezTo>
                  <a:lnTo>
                    <a:pt x="584" y="703"/>
                  </a:lnTo>
                  <a:lnTo>
                    <a:pt x="322" y="703"/>
                  </a:ln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7" name="Google Shape;11437;p61"/>
          <p:cNvGrpSpPr/>
          <p:nvPr/>
        </p:nvGrpSpPr>
        <p:grpSpPr>
          <a:xfrm>
            <a:off x="2214042" y="3810509"/>
            <a:ext cx="368153" cy="311193"/>
            <a:chOff x="2214042" y="3810509"/>
            <a:chExt cx="368153" cy="311193"/>
          </a:xfrm>
        </p:grpSpPr>
        <p:sp>
          <p:nvSpPr>
            <p:cNvPr id="11438" name="Google Shape;11438;p61"/>
            <p:cNvSpPr/>
            <p:nvPr/>
          </p:nvSpPr>
          <p:spPr>
            <a:xfrm>
              <a:off x="2214042" y="3810509"/>
              <a:ext cx="368153" cy="311193"/>
            </a:xfrm>
            <a:custGeom>
              <a:avLst/>
              <a:gdLst/>
              <a:ahLst/>
              <a:cxnLst/>
              <a:rect l="l" t="t" r="r" b="b"/>
              <a:pathLst>
                <a:path w="11621" h="9823" extrusionOk="0">
                  <a:moveTo>
                    <a:pt x="11264" y="6227"/>
                  </a:moveTo>
                  <a:lnTo>
                    <a:pt x="11264" y="6834"/>
                  </a:lnTo>
                  <a:lnTo>
                    <a:pt x="9644" y="6834"/>
                  </a:lnTo>
                  <a:lnTo>
                    <a:pt x="9406" y="6525"/>
                  </a:lnTo>
                  <a:lnTo>
                    <a:pt x="9180" y="6227"/>
                  </a:lnTo>
                  <a:close/>
                  <a:moveTo>
                    <a:pt x="8787" y="6239"/>
                  </a:moveTo>
                  <a:lnTo>
                    <a:pt x="9061" y="6608"/>
                  </a:lnTo>
                  <a:lnTo>
                    <a:pt x="8406" y="7191"/>
                  </a:lnTo>
                  <a:lnTo>
                    <a:pt x="7894" y="7191"/>
                  </a:lnTo>
                  <a:lnTo>
                    <a:pt x="7025" y="6239"/>
                  </a:lnTo>
                  <a:close/>
                  <a:moveTo>
                    <a:pt x="8632" y="7537"/>
                  </a:moveTo>
                  <a:lnTo>
                    <a:pt x="8632" y="7953"/>
                  </a:lnTo>
                  <a:lnTo>
                    <a:pt x="7561" y="7953"/>
                  </a:lnTo>
                  <a:lnTo>
                    <a:pt x="7561" y="7537"/>
                  </a:lnTo>
                  <a:close/>
                  <a:moveTo>
                    <a:pt x="6584" y="0"/>
                  </a:moveTo>
                  <a:cubicBezTo>
                    <a:pt x="4596" y="0"/>
                    <a:pt x="2786" y="1179"/>
                    <a:pt x="1977" y="2977"/>
                  </a:cubicBezTo>
                  <a:cubicBezTo>
                    <a:pt x="1941" y="3072"/>
                    <a:pt x="1977" y="3167"/>
                    <a:pt x="2072" y="3203"/>
                  </a:cubicBezTo>
                  <a:cubicBezTo>
                    <a:pt x="2094" y="3216"/>
                    <a:pt x="2118" y="3222"/>
                    <a:pt x="2142" y="3222"/>
                  </a:cubicBezTo>
                  <a:cubicBezTo>
                    <a:pt x="2208" y="3222"/>
                    <a:pt x="2272" y="3177"/>
                    <a:pt x="2298" y="3108"/>
                  </a:cubicBezTo>
                  <a:cubicBezTo>
                    <a:pt x="3048" y="1429"/>
                    <a:pt x="4739" y="333"/>
                    <a:pt x="6584" y="333"/>
                  </a:cubicBezTo>
                  <a:cubicBezTo>
                    <a:pt x="9109" y="333"/>
                    <a:pt x="11192" y="2358"/>
                    <a:pt x="11287" y="4846"/>
                  </a:cubicBezTo>
                  <a:lnTo>
                    <a:pt x="10835" y="4846"/>
                  </a:lnTo>
                  <a:cubicBezTo>
                    <a:pt x="10716" y="4108"/>
                    <a:pt x="10371" y="3405"/>
                    <a:pt x="9823" y="2870"/>
                  </a:cubicBezTo>
                  <a:cubicBezTo>
                    <a:pt x="9240" y="2310"/>
                    <a:pt x="8489" y="1941"/>
                    <a:pt x="7680" y="1857"/>
                  </a:cubicBezTo>
                  <a:cubicBezTo>
                    <a:pt x="7674" y="1857"/>
                    <a:pt x="7668" y="1856"/>
                    <a:pt x="7661" y="1856"/>
                  </a:cubicBezTo>
                  <a:cubicBezTo>
                    <a:pt x="7583" y="1856"/>
                    <a:pt x="7500" y="1924"/>
                    <a:pt x="7489" y="2012"/>
                  </a:cubicBezTo>
                  <a:cubicBezTo>
                    <a:pt x="7477" y="2096"/>
                    <a:pt x="7549" y="2191"/>
                    <a:pt x="7632" y="2203"/>
                  </a:cubicBezTo>
                  <a:cubicBezTo>
                    <a:pt x="9061" y="2358"/>
                    <a:pt x="10240" y="3453"/>
                    <a:pt x="10478" y="4846"/>
                  </a:cubicBezTo>
                  <a:lnTo>
                    <a:pt x="4168" y="4846"/>
                  </a:lnTo>
                  <a:cubicBezTo>
                    <a:pt x="4406" y="3441"/>
                    <a:pt x="5584" y="2334"/>
                    <a:pt x="7013" y="2191"/>
                  </a:cubicBezTo>
                  <a:cubicBezTo>
                    <a:pt x="7096" y="2167"/>
                    <a:pt x="7180" y="2096"/>
                    <a:pt x="7156" y="2012"/>
                  </a:cubicBezTo>
                  <a:cubicBezTo>
                    <a:pt x="7145" y="1924"/>
                    <a:pt x="7083" y="1856"/>
                    <a:pt x="6998" y="1856"/>
                  </a:cubicBezTo>
                  <a:cubicBezTo>
                    <a:pt x="6991" y="1856"/>
                    <a:pt x="6984" y="1857"/>
                    <a:pt x="6977" y="1857"/>
                  </a:cubicBezTo>
                  <a:cubicBezTo>
                    <a:pt x="5370" y="2024"/>
                    <a:pt x="4060" y="3262"/>
                    <a:pt x="3822" y="4846"/>
                  </a:cubicBezTo>
                  <a:lnTo>
                    <a:pt x="1882" y="4846"/>
                  </a:lnTo>
                  <a:cubicBezTo>
                    <a:pt x="1893" y="4477"/>
                    <a:pt x="1953" y="4108"/>
                    <a:pt x="2060" y="3751"/>
                  </a:cubicBezTo>
                  <a:cubicBezTo>
                    <a:pt x="2084" y="3655"/>
                    <a:pt x="2024" y="3572"/>
                    <a:pt x="1941" y="3548"/>
                  </a:cubicBezTo>
                  <a:cubicBezTo>
                    <a:pt x="1922" y="3541"/>
                    <a:pt x="1903" y="3538"/>
                    <a:pt x="1885" y="3538"/>
                  </a:cubicBezTo>
                  <a:cubicBezTo>
                    <a:pt x="1814" y="3538"/>
                    <a:pt x="1755" y="3589"/>
                    <a:pt x="1727" y="3655"/>
                  </a:cubicBezTo>
                  <a:cubicBezTo>
                    <a:pt x="1608" y="4060"/>
                    <a:pt x="1548" y="4477"/>
                    <a:pt x="1536" y="4905"/>
                  </a:cubicBezTo>
                  <a:lnTo>
                    <a:pt x="119" y="5417"/>
                  </a:lnTo>
                  <a:cubicBezTo>
                    <a:pt x="48" y="5441"/>
                    <a:pt x="0" y="5501"/>
                    <a:pt x="0" y="5584"/>
                  </a:cubicBezTo>
                  <a:lnTo>
                    <a:pt x="0" y="6072"/>
                  </a:lnTo>
                  <a:cubicBezTo>
                    <a:pt x="0" y="6156"/>
                    <a:pt x="72" y="6239"/>
                    <a:pt x="167" y="6239"/>
                  </a:cubicBezTo>
                  <a:lnTo>
                    <a:pt x="2572" y="6239"/>
                  </a:lnTo>
                  <a:cubicBezTo>
                    <a:pt x="2667" y="6239"/>
                    <a:pt x="2739" y="6156"/>
                    <a:pt x="2739" y="6072"/>
                  </a:cubicBezTo>
                  <a:cubicBezTo>
                    <a:pt x="2739" y="5977"/>
                    <a:pt x="2667" y="5906"/>
                    <a:pt x="2572" y="5906"/>
                  </a:cubicBezTo>
                  <a:lnTo>
                    <a:pt x="346" y="5906"/>
                  </a:lnTo>
                  <a:lnTo>
                    <a:pt x="346" y="5703"/>
                  </a:lnTo>
                  <a:lnTo>
                    <a:pt x="1727" y="5203"/>
                  </a:lnTo>
                  <a:lnTo>
                    <a:pt x="11264" y="5203"/>
                  </a:lnTo>
                  <a:lnTo>
                    <a:pt x="11264" y="5739"/>
                  </a:lnTo>
                  <a:lnTo>
                    <a:pt x="11264" y="5906"/>
                  </a:lnTo>
                  <a:lnTo>
                    <a:pt x="3251" y="5906"/>
                  </a:lnTo>
                  <a:cubicBezTo>
                    <a:pt x="3155" y="5906"/>
                    <a:pt x="3084" y="5989"/>
                    <a:pt x="3084" y="6072"/>
                  </a:cubicBezTo>
                  <a:cubicBezTo>
                    <a:pt x="3084" y="6168"/>
                    <a:pt x="3155" y="6239"/>
                    <a:pt x="3251" y="6239"/>
                  </a:cubicBezTo>
                  <a:lnTo>
                    <a:pt x="6549" y="6239"/>
                  </a:lnTo>
                  <a:lnTo>
                    <a:pt x="7418" y="7191"/>
                  </a:lnTo>
                  <a:lnTo>
                    <a:pt x="7382" y="7191"/>
                  </a:lnTo>
                  <a:cubicBezTo>
                    <a:pt x="7299" y="7191"/>
                    <a:pt x="7216" y="7263"/>
                    <a:pt x="7216" y="7358"/>
                  </a:cubicBezTo>
                  <a:lnTo>
                    <a:pt x="7216" y="8108"/>
                  </a:lnTo>
                  <a:cubicBezTo>
                    <a:pt x="7216" y="8204"/>
                    <a:pt x="7299" y="8275"/>
                    <a:pt x="7382" y="8275"/>
                  </a:cubicBezTo>
                  <a:lnTo>
                    <a:pt x="7930" y="8275"/>
                  </a:lnTo>
                  <a:lnTo>
                    <a:pt x="7930" y="9656"/>
                  </a:lnTo>
                  <a:cubicBezTo>
                    <a:pt x="7930" y="9751"/>
                    <a:pt x="8013" y="9823"/>
                    <a:pt x="8097" y="9823"/>
                  </a:cubicBezTo>
                  <a:cubicBezTo>
                    <a:pt x="8192" y="9823"/>
                    <a:pt x="8263" y="9751"/>
                    <a:pt x="8263" y="9656"/>
                  </a:cubicBezTo>
                  <a:lnTo>
                    <a:pt x="8263" y="8275"/>
                  </a:lnTo>
                  <a:lnTo>
                    <a:pt x="8811" y="8275"/>
                  </a:lnTo>
                  <a:cubicBezTo>
                    <a:pt x="8906" y="8275"/>
                    <a:pt x="8978" y="8204"/>
                    <a:pt x="8978" y="8108"/>
                  </a:cubicBezTo>
                  <a:lnTo>
                    <a:pt x="8978" y="7358"/>
                  </a:lnTo>
                  <a:cubicBezTo>
                    <a:pt x="8978" y="7275"/>
                    <a:pt x="8930" y="7239"/>
                    <a:pt x="8882" y="7203"/>
                  </a:cubicBezTo>
                  <a:lnTo>
                    <a:pt x="9240" y="6882"/>
                  </a:lnTo>
                  <a:lnTo>
                    <a:pt x="9418" y="7096"/>
                  </a:lnTo>
                  <a:cubicBezTo>
                    <a:pt x="9454" y="7144"/>
                    <a:pt x="9513" y="7180"/>
                    <a:pt x="9561" y="7180"/>
                  </a:cubicBezTo>
                  <a:lnTo>
                    <a:pt x="11466" y="7180"/>
                  </a:lnTo>
                  <a:cubicBezTo>
                    <a:pt x="11549" y="7180"/>
                    <a:pt x="11621" y="7096"/>
                    <a:pt x="11621" y="7013"/>
                  </a:cubicBezTo>
                  <a:lnTo>
                    <a:pt x="11621" y="6072"/>
                  </a:lnTo>
                  <a:lnTo>
                    <a:pt x="11621" y="5739"/>
                  </a:lnTo>
                  <a:lnTo>
                    <a:pt x="11621" y="5036"/>
                  </a:lnTo>
                  <a:cubicBezTo>
                    <a:pt x="11621" y="3691"/>
                    <a:pt x="11109" y="2429"/>
                    <a:pt x="10156" y="1476"/>
                  </a:cubicBezTo>
                  <a:cubicBezTo>
                    <a:pt x="9204" y="524"/>
                    <a:pt x="7930" y="0"/>
                    <a:pt x="6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9" name="Google Shape;11439;p61"/>
            <p:cNvSpPr/>
            <p:nvPr/>
          </p:nvSpPr>
          <p:spPr>
            <a:xfrm>
              <a:off x="2451674" y="3927060"/>
              <a:ext cx="70932" cy="32092"/>
            </a:xfrm>
            <a:custGeom>
              <a:avLst/>
              <a:gdLst/>
              <a:ahLst/>
              <a:cxnLst/>
              <a:rect l="l" t="t" r="r" b="b"/>
              <a:pathLst>
                <a:path w="2239" h="1013" extrusionOk="0">
                  <a:moveTo>
                    <a:pt x="1727" y="322"/>
                  </a:moveTo>
                  <a:cubicBezTo>
                    <a:pt x="1822" y="322"/>
                    <a:pt x="1905" y="393"/>
                    <a:pt x="1905" y="500"/>
                  </a:cubicBezTo>
                  <a:cubicBezTo>
                    <a:pt x="1893" y="607"/>
                    <a:pt x="1822" y="679"/>
                    <a:pt x="1727" y="679"/>
                  </a:cubicBezTo>
                  <a:lnTo>
                    <a:pt x="512" y="679"/>
                  </a:lnTo>
                  <a:cubicBezTo>
                    <a:pt x="417" y="679"/>
                    <a:pt x="334" y="607"/>
                    <a:pt x="334" y="500"/>
                  </a:cubicBezTo>
                  <a:cubicBezTo>
                    <a:pt x="334" y="417"/>
                    <a:pt x="405" y="322"/>
                    <a:pt x="512" y="322"/>
                  </a:cubicBezTo>
                  <a:close/>
                  <a:moveTo>
                    <a:pt x="512" y="0"/>
                  </a:moveTo>
                  <a:cubicBezTo>
                    <a:pt x="226" y="0"/>
                    <a:pt x="0" y="226"/>
                    <a:pt x="0" y="500"/>
                  </a:cubicBezTo>
                  <a:cubicBezTo>
                    <a:pt x="0" y="786"/>
                    <a:pt x="226" y="1012"/>
                    <a:pt x="512" y="1012"/>
                  </a:cubicBezTo>
                  <a:lnTo>
                    <a:pt x="1727" y="1012"/>
                  </a:lnTo>
                  <a:cubicBezTo>
                    <a:pt x="2012" y="1012"/>
                    <a:pt x="2239" y="786"/>
                    <a:pt x="2239" y="500"/>
                  </a:cubicBezTo>
                  <a:cubicBezTo>
                    <a:pt x="2239" y="238"/>
                    <a:pt x="2012"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0" name="Google Shape;11440;p61"/>
          <p:cNvGrpSpPr/>
          <p:nvPr/>
        </p:nvGrpSpPr>
        <p:grpSpPr>
          <a:xfrm>
            <a:off x="1768938" y="3782219"/>
            <a:ext cx="367805" cy="367773"/>
            <a:chOff x="1768938" y="3782219"/>
            <a:chExt cx="367805" cy="367773"/>
          </a:xfrm>
        </p:grpSpPr>
        <p:sp>
          <p:nvSpPr>
            <p:cNvPr id="11441" name="Google Shape;11441;p61"/>
            <p:cNvSpPr/>
            <p:nvPr/>
          </p:nvSpPr>
          <p:spPr>
            <a:xfrm>
              <a:off x="1884380" y="3782219"/>
              <a:ext cx="252363" cy="198412"/>
            </a:xfrm>
            <a:custGeom>
              <a:avLst/>
              <a:gdLst/>
              <a:ahLst/>
              <a:cxnLst/>
              <a:rect l="l" t="t" r="r" b="b"/>
              <a:pathLst>
                <a:path w="7966" h="6263" extrusionOk="0">
                  <a:moveTo>
                    <a:pt x="5346" y="0"/>
                  </a:moveTo>
                  <a:cubicBezTo>
                    <a:pt x="5299" y="0"/>
                    <a:pt x="5263" y="12"/>
                    <a:pt x="5227" y="48"/>
                  </a:cubicBezTo>
                  <a:lnTo>
                    <a:pt x="3382" y="1893"/>
                  </a:lnTo>
                  <a:lnTo>
                    <a:pt x="2893" y="1405"/>
                  </a:lnTo>
                  <a:cubicBezTo>
                    <a:pt x="2864" y="1375"/>
                    <a:pt x="2819" y="1360"/>
                    <a:pt x="2774" y="1360"/>
                  </a:cubicBezTo>
                  <a:cubicBezTo>
                    <a:pt x="2730" y="1360"/>
                    <a:pt x="2685" y="1375"/>
                    <a:pt x="2655" y="1405"/>
                  </a:cubicBezTo>
                  <a:lnTo>
                    <a:pt x="60" y="3989"/>
                  </a:lnTo>
                  <a:cubicBezTo>
                    <a:pt x="0" y="4048"/>
                    <a:pt x="0" y="4167"/>
                    <a:pt x="60" y="4227"/>
                  </a:cubicBezTo>
                  <a:cubicBezTo>
                    <a:pt x="90" y="4257"/>
                    <a:pt x="134" y="4272"/>
                    <a:pt x="179" y="4272"/>
                  </a:cubicBezTo>
                  <a:cubicBezTo>
                    <a:pt x="223" y="4272"/>
                    <a:pt x="268" y="4257"/>
                    <a:pt x="298" y="4227"/>
                  </a:cubicBezTo>
                  <a:lnTo>
                    <a:pt x="2774" y="1762"/>
                  </a:lnTo>
                  <a:lnTo>
                    <a:pt x="6215" y="5191"/>
                  </a:lnTo>
                  <a:lnTo>
                    <a:pt x="5418" y="5989"/>
                  </a:lnTo>
                  <a:cubicBezTo>
                    <a:pt x="5358" y="6049"/>
                    <a:pt x="5358" y="6168"/>
                    <a:pt x="5418" y="6227"/>
                  </a:cubicBezTo>
                  <a:cubicBezTo>
                    <a:pt x="5453" y="6251"/>
                    <a:pt x="5501" y="6263"/>
                    <a:pt x="5537" y="6263"/>
                  </a:cubicBezTo>
                  <a:cubicBezTo>
                    <a:pt x="5584" y="6263"/>
                    <a:pt x="5632" y="6251"/>
                    <a:pt x="5656" y="6227"/>
                  </a:cubicBezTo>
                  <a:lnTo>
                    <a:pt x="6573" y="5310"/>
                  </a:lnTo>
                  <a:cubicBezTo>
                    <a:pt x="6632" y="5251"/>
                    <a:pt x="6632" y="5132"/>
                    <a:pt x="6573" y="5072"/>
                  </a:cubicBezTo>
                  <a:lnTo>
                    <a:pt x="6072" y="4584"/>
                  </a:lnTo>
                  <a:lnTo>
                    <a:pt x="7918" y="2739"/>
                  </a:lnTo>
                  <a:cubicBezTo>
                    <a:pt x="7966" y="2667"/>
                    <a:pt x="7966" y="2560"/>
                    <a:pt x="7906" y="2489"/>
                  </a:cubicBezTo>
                  <a:lnTo>
                    <a:pt x="6882" y="1465"/>
                  </a:lnTo>
                  <a:cubicBezTo>
                    <a:pt x="6852" y="1435"/>
                    <a:pt x="6808" y="1420"/>
                    <a:pt x="6763" y="1420"/>
                  </a:cubicBezTo>
                  <a:cubicBezTo>
                    <a:pt x="6718" y="1420"/>
                    <a:pt x="6674" y="1435"/>
                    <a:pt x="6644" y="1465"/>
                  </a:cubicBezTo>
                  <a:cubicBezTo>
                    <a:pt x="6584" y="1524"/>
                    <a:pt x="6584" y="1643"/>
                    <a:pt x="6644" y="1703"/>
                  </a:cubicBezTo>
                  <a:lnTo>
                    <a:pt x="7549" y="2608"/>
                  </a:lnTo>
                  <a:lnTo>
                    <a:pt x="5822" y="4334"/>
                  </a:lnTo>
                  <a:lnTo>
                    <a:pt x="3620" y="2131"/>
                  </a:lnTo>
                  <a:lnTo>
                    <a:pt x="5346" y="405"/>
                  </a:lnTo>
                  <a:lnTo>
                    <a:pt x="6168" y="1226"/>
                  </a:lnTo>
                  <a:cubicBezTo>
                    <a:pt x="6197" y="1256"/>
                    <a:pt x="6242" y="1271"/>
                    <a:pt x="6287" y="1271"/>
                  </a:cubicBezTo>
                  <a:cubicBezTo>
                    <a:pt x="6331" y="1271"/>
                    <a:pt x="6376" y="1256"/>
                    <a:pt x="6406" y="1226"/>
                  </a:cubicBezTo>
                  <a:cubicBezTo>
                    <a:pt x="6465" y="1167"/>
                    <a:pt x="6465" y="1048"/>
                    <a:pt x="6406" y="988"/>
                  </a:cubicBezTo>
                  <a:lnTo>
                    <a:pt x="5465" y="48"/>
                  </a:lnTo>
                  <a:cubicBezTo>
                    <a:pt x="5441" y="12"/>
                    <a:pt x="5394" y="0"/>
                    <a:pt x="5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2" name="Google Shape;11442;p61"/>
            <p:cNvSpPr/>
            <p:nvPr/>
          </p:nvSpPr>
          <p:spPr>
            <a:xfrm>
              <a:off x="2034480" y="3821914"/>
              <a:ext cx="31743" cy="31236"/>
            </a:xfrm>
            <a:custGeom>
              <a:avLst/>
              <a:gdLst/>
              <a:ahLst/>
              <a:cxnLst/>
              <a:rect l="l" t="t" r="r" b="b"/>
              <a:pathLst>
                <a:path w="1002" h="986" extrusionOk="0">
                  <a:moveTo>
                    <a:pt x="501" y="426"/>
                  </a:moveTo>
                  <a:lnTo>
                    <a:pt x="584" y="509"/>
                  </a:lnTo>
                  <a:lnTo>
                    <a:pt x="501" y="581"/>
                  </a:lnTo>
                  <a:lnTo>
                    <a:pt x="430" y="509"/>
                  </a:lnTo>
                  <a:lnTo>
                    <a:pt x="501" y="426"/>
                  </a:lnTo>
                  <a:close/>
                  <a:moveTo>
                    <a:pt x="501" y="0"/>
                  </a:moveTo>
                  <a:cubicBezTo>
                    <a:pt x="456" y="0"/>
                    <a:pt x="412" y="15"/>
                    <a:pt x="382" y="45"/>
                  </a:cubicBezTo>
                  <a:lnTo>
                    <a:pt x="60" y="366"/>
                  </a:lnTo>
                  <a:cubicBezTo>
                    <a:pt x="1" y="426"/>
                    <a:pt x="1" y="545"/>
                    <a:pt x="60" y="605"/>
                  </a:cubicBezTo>
                  <a:lnTo>
                    <a:pt x="382" y="938"/>
                  </a:lnTo>
                  <a:cubicBezTo>
                    <a:pt x="418" y="962"/>
                    <a:pt x="465" y="986"/>
                    <a:pt x="501" y="986"/>
                  </a:cubicBezTo>
                  <a:cubicBezTo>
                    <a:pt x="549" y="986"/>
                    <a:pt x="596" y="962"/>
                    <a:pt x="620" y="938"/>
                  </a:cubicBezTo>
                  <a:lnTo>
                    <a:pt x="953" y="605"/>
                  </a:lnTo>
                  <a:cubicBezTo>
                    <a:pt x="977" y="581"/>
                    <a:pt x="1001" y="533"/>
                    <a:pt x="1001" y="485"/>
                  </a:cubicBezTo>
                  <a:cubicBezTo>
                    <a:pt x="1001" y="450"/>
                    <a:pt x="977" y="402"/>
                    <a:pt x="953" y="366"/>
                  </a:cubicBezTo>
                  <a:lnTo>
                    <a:pt x="620" y="45"/>
                  </a:lnTo>
                  <a:cubicBezTo>
                    <a:pt x="590" y="15"/>
                    <a:pt x="54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3" name="Google Shape;11443;p61"/>
            <p:cNvSpPr/>
            <p:nvPr/>
          </p:nvSpPr>
          <p:spPr>
            <a:xfrm>
              <a:off x="2065431" y="3852359"/>
              <a:ext cx="31712" cy="31332"/>
            </a:xfrm>
            <a:custGeom>
              <a:avLst/>
              <a:gdLst/>
              <a:ahLst/>
              <a:cxnLst/>
              <a:rect l="l" t="t" r="r" b="b"/>
              <a:pathLst>
                <a:path w="1001" h="989" extrusionOk="0">
                  <a:moveTo>
                    <a:pt x="500" y="441"/>
                  </a:moveTo>
                  <a:lnTo>
                    <a:pt x="572" y="513"/>
                  </a:lnTo>
                  <a:lnTo>
                    <a:pt x="500" y="584"/>
                  </a:lnTo>
                  <a:lnTo>
                    <a:pt x="417" y="513"/>
                  </a:lnTo>
                  <a:lnTo>
                    <a:pt x="500" y="441"/>
                  </a:lnTo>
                  <a:close/>
                  <a:moveTo>
                    <a:pt x="500" y="1"/>
                  </a:moveTo>
                  <a:cubicBezTo>
                    <a:pt x="453" y="1"/>
                    <a:pt x="405" y="25"/>
                    <a:pt x="381" y="48"/>
                  </a:cubicBezTo>
                  <a:lnTo>
                    <a:pt x="48" y="382"/>
                  </a:lnTo>
                  <a:cubicBezTo>
                    <a:pt x="24" y="406"/>
                    <a:pt x="0" y="453"/>
                    <a:pt x="0" y="501"/>
                  </a:cubicBezTo>
                  <a:cubicBezTo>
                    <a:pt x="0" y="536"/>
                    <a:pt x="24" y="584"/>
                    <a:pt x="48" y="608"/>
                  </a:cubicBezTo>
                  <a:lnTo>
                    <a:pt x="381" y="941"/>
                  </a:lnTo>
                  <a:cubicBezTo>
                    <a:pt x="405" y="977"/>
                    <a:pt x="453" y="989"/>
                    <a:pt x="500" y="989"/>
                  </a:cubicBezTo>
                  <a:cubicBezTo>
                    <a:pt x="536" y="989"/>
                    <a:pt x="584" y="965"/>
                    <a:pt x="619" y="941"/>
                  </a:cubicBezTo>
                  <a:lnTo>
                    <a:pt x="941" y="608"/>
                  </a:lnTo>
                  <a:cubicBezTo>
                    <a:pt x="1000" y="560"/>
                    <a:pt x="1000" y="441"/>
                    <a:pt x="941" y="382"/>
                  </a:cubicBezTo>
                  <a:lnTo>
                    <a:pt x="619" y="48"/>
                  </a:lnTo>
                  <a:cubicBezTo>
                    <a:pt x="584" y="13"/>
                    <a:pt x="53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4" name="Google Shape;11444;p61"/>
            <p:cNvSpPr/>
            <p:nvPr/>
          </p:nvSpPr>
          <p:spPr>
            <a:xfrm>
              <a:off x="1768938" y="3922625"/>
              <a:ext cx="281413" cy="227367"/>
            </a:xfrm>
            <a:custGeom>
              <a:avLst/>
              <a:gdLst/>
              <a:ahLst/>
              <a:cxnLst/>
              <a:rect l="l" t="t" r="r" b="b"/>
              <a:pathLst>
                <a:path w="8883" h="7177" extrusionOk="0">
                  <a:moveTo>
                    <a:pt x="3347" y="0"/>
                  </a:moveTo>
                  <a:cubicBezTo>
                    <a:pt x="3302" y="0"/>
                    <a:pt x="3257" y="15"/>
                    <a:pt x="3228" y="45"/>
                  </a:cubicBezTo>
                  <a:lnTo>
                    <a:pt x="811" y="2450"/>
                  </a:lnTo>
                  <a:cubicBezTo>
                    <a:pt x="287" y="2962"/>
                    <a:pt x="1" y="3664"/>
                    <a:pt x="1" y="4414"/>
                  </a:cubicBezTo>
                  <a:cubicBezTo>
                    <a:pt x="1" y="5153"/>
                    <a:pt x="287" y="5843"/>
                    <a:pt x="811" y="6379"/>
                  </a:cubicBezTo>
                  <a:cubicBezTo>
                    <a:pt x="1323" y="6891"/>
                    <a:pt x="2025" y="7177"/>
                    <a:pt x="2775" y="7177"/>
                  </a:cubicBezTo>
                  <a:cubicBezTo>
                    <a:pt x="3513" y="7177"/>
                    <a:pt x="4204" y="6891"/>
                    <a:pt x="4740" y="6379"/>
                  </a:cubicBezTo>
                  <a:lnTo>
                    <a:pt x="8847" y="2271"/>
                  </a:lnTo>
                  <a:cubicBezTo>
                    <a:pt x="8883" y="2188"/>
                    <a:pt x="8883" y="2093"/>
                    <a:pt x="8812" y="2033"/>
                  </a:cubicBezTo>
                  <a:cubicBezTo>
                    <a:pt x="8782" y="2003"/>
                    <a:pt x="8737" y="1989"/>
                    <a:pt x="8693" y="1989"/>
                  </a:cubicBezTo>
                  <a:cubicBezTo>
                    <a:pt x="8648" y="1989"/>
                    <a:pt x="8603" y="2003"/>
                    <a:pt x="8573" y="2033"/>
                  </a:cubicBezTo>
                  <a:lnTo>
                    <a:pt x="4466" y="6141"/>
                  </a:lnTo>
                  <a:cubicBezTo>
                    <a:pt x="4001" y="6593"/>
                    <a:pt x="3394" y="6855"/>
                    <a:pt x="2751" y="6855"/>
                  </a:cubicBezTo>
                  <a:cubicBezTo>
                    <a:pt x="2096" y="6855"/>
                    <a:pt x="1489" y="6593"/>
                    <a:pt x="1049" y="6141"/>
                  </a:cubicBezTo>
                  <a:cubicBezTo>
                    <a:pt x="584" y="5677"/>
                    <a:pt x="322" y="5069"/>
                    <a:pt x="322" y="4426"/>
                  </a:cubicBezTo>
                  <a:cubicBezTo>
                    <a:pt x="322" y="3772"/>
                    <a:pt x="584" y="3164"/>
                    <a:pt x="1049" y="2712"/>
                  </a:cubicBezTo>
                  <a:lnTo>
                    <a:pt x="3466" y="283"/>
                  </a:lnTo>
                  <a:cubicBezTo>
                    <a:pt x="3525" y="223"/>
                    <a:pt x="3525" y="104"/>
                    <a:pt x="3466" y="45"/>
                  </a:cubicBezTo>
                  <a:cubicBezTo>
                    <a:pt x="3436" y="15"/>
                    <a:pt x="3391" y="0"/>
                    <a:pt x="33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5" name="Google Shape;11445;p61"/>
            <p:cNvSpPr/>
            <p:nvPr/>
          </p:nvSpPr>
          <p:spPr>
            <a:xfrm>
              <a:off x="1847790" y="3937704"/>
              <a:ext cx="143352" cy="127417"/>
            </a:xfrm>
            <a:custGeom>
              <a:avLst/>
              <a:gdLst/>
              <a:ahLst/>
              <a:cxnLst/>
              <a:rect l="l" t="t" r="r" b="b"/>
              <a:pathLst>
                <a:path w="4525" h="4022" extrusionOk="0">
                  <a:moveTo>
                    <a:pt x="3537" y="343"/>
                  </a:moveTo>
                  <a:cubicBezTo>
                    <a:pt x="3584" y="343"/>
                    <a:pt x="3632" y="367"/>
                    <a:pt x="3667" y="402"/>
                  </a:cubicBezTo>
                  <a:cubicBezTo>
                    <a:pt x="3751" y="486"/>
                    <a:pt x="3751" y="581"/>
                    <a:pt x="3667" y="664"/>
                  </a:cubicBezTo>
                  <a:cubicBezTo>
                    <a:pt x="3632" y="700"/>
                    <a:pt x="3587" y="718"/>
                    <a:pt x="3542" y="718"/>
                  </a:cubicBezTo>
                  <a:cubicBezTo>
                    <a:pt x="3498" y="718"/>
                    <a:pt x="3453" y="700"/>
                    <a:pt x="3417" y="664"/>
                  </a:cubicBezTo>
                  <a:cubicBezTo>
                    <a:pt x="3334" y="581"/>
                    <a:pt x="3334" y="462"/>
                    <a:pt x="3406" y="402"/>
                  </a:cubicBezTo>
                  <a:cubicBezTo>
                    <a:pt x="3441" y="379"/>
                    <a:pt x="3477" y="343"/>
                    <a:pt x="3537" y="343"/>
                  </a:cubicBezTo>
                  <a:close/>
                  <a:moveTo>
                    <a:pt x="2024" y="486"/>
                  </a:moveTo>
                  <a:cubicBezTo>
                    <a:pt x="2072" y="486"/>
                    <a:pt x="2108" y="498"/>
                    <a:pt x="2155" y="545"/>
                  </a:cubicBezTo>
                  <a:cubicBezTo>
                    <a:pt x="2227" y="617"/>
                    <a:pt x="2227" y="724"/>
                    <a:pt x="2155" y="795"/>
                  </a:cubicBezTo>
                  <a:cubicBezTo>
                    <a:pt x="2120" y="831"/>
                    <a:pt x="2075" y="849"/>
                    <a:pt x="2030" y="849"/>
                  </a:cubicBezTo>
                  <a:cubicBezTo>
                    <a:pt x="1986" y="849"/>
                    <a:pt x="1941" y="831"/>
                    <a:pt x="1905" y="795"/>
                  </a:cubicBezTo>
                  <a:cubicBezTo>
                    <a:pt x="1810" y="724"/>
                    <a:pt x="1810" y="605"/>
                    <a:pt x="1893" y="545"/>
                  </a:cubicBezTo>
                  <a:cubicBezTo>
                    <a:pt x="1917" y="509"/>
                    <a:pt x="1965" y="486"/>
                    <a:pt x="2024" y="486"/>
                  </a:cubicBezTo>
                  <a:close/>
                  <a:moveTo>
                    <a:pt x="3953" y="1676"/>
                  </a:moveTo>
                  <a:cubicBezTo>
                    <a:pt x="4001" y="1676"/>
                    <a:pt x="4048" y="1688"/>
                    <a:pt x="4084" y="1724"/>
                  </a:cubicBezTo>
                  <a:cubicBezTo>
                    <a:pt x="4156" y="1807"/>
                    <a:pt x="4156" y="1926"/>
                    <a:pt x="4072" y="1986"/>
                  </a:cubicBezTo>
                  <a:cubicBezTo>
                    <a:pt x="4037" y="2022"/>
                    <a:pt x="3992" y="2039"/>
                    <a:pt x="3947" y="2039"/>
                  </a:cubicBezTo>
                  <a:cubicBezTo>
                    <a:pt x="3903" y="2039"/>
                    <a:pt x="3858" y="2022"/>
                    <a:pt x="3822" y="1986"/>
                  </a:cubicBezTo>
                  <a:cubicBezTo>
                    <a:pt x="3751" y="1914"/>
                    <a:pt x="3751" y="1807"/>
                    <a:pt x="3822" y="1724"/>
                  </a:cubicBezTo>
                  <a:cubicBezTo>
                    <a:pt x="3858" y="1700"/>
                    <a:pt x="3894" y="1676"/>
                    <a:pt x="3953" y="1676"/>
                  </a:cubicBezTo>
                  <a:close/>
                  <a:moveTo>
                    <a:pt x="655" y="3129"/>
                  </a:moveTo>
                  <a:cubicBezTo>
                    <a:pt x="727" y="3129"/>
                    <a:pt x="786" y="3165"/>
                    <a:pt x="846" y="3200"/>
                  </a:cubicBezTo>
                  <a:cubicBezTo>
                    <a:pt x="893" y="3248"/>
                    <a:pt x="917" y="3319"/>
                    <a:pt x="917" y="3403"/>
                  </a:cubicBezTo>
                  <a:cubicBezTo>
                    <a:pt x="917" y="3474"/>
                    <a:pt x="893" y="3546"/>
                    <a:pt x="846" y="3593"/>
                  </a:cubicBezTo>
                  <a:cubicBezTo>
                    <a:pt x="798" y="3641"/>
                    <a:pt x="727" y="3665"/>
                    <a:pt x="655" y="3665"/>
                  </a:cubicBezTo>
                  <a:cubicBezTo>
                    <a:pt x="584" y="3665"/>
                    <a:pt x="524" y="3641"/>
                    <a:pt x="465" y="3593"/>
                  </a:cubicBezTo>
                  <a:cubicBezTo>
                    <a:pt x="417" y="3546"/>
                    <a:pt x="381" y="3474"/>
                    <a:pt x="381" y="3403"/>
                  </a:cubicBezTo>
                  <a:cubicBezTo>
                    <a:pt x="381" y="3319"/>
                    <a:pt x="417" y="3260"/>
                    <a:pt x="465" y="3200"/>
                  </a:cubicBezTo>
                  <a:cubicBezTo>
                    <a:pt x="512" y="3141"/>
                    <a:pt x="584" y="3129"/>
                    <a:pt x="655" y="3129"/>
                  </a:cubicBezTo>
                  <a:close/>
                  <a:moveTo>
                    <a:pt x="3513" y="0"/>
                  </a:moveTo>
                  <a:cubicBezTo>
                    <a:pt x="3379" y="0"/>
                    <a:pt x="3245" y="51"/>
                    <a:pt x="3144" y="152"/>
                  </a:cubicBezTo>
                  <a:cubicBezTo>
                    <a:pt x="2977" y="319"/>
                    <a:pt x="2941" y="557"/>
                    <a:pt x="3036" y="748"/>
                  </a:cubicBezTo>
                  <a:lnTo>
                    <a:pt x="2132" y="1652"/>
                  </a:lnTo>
                  <a:lnTo>
                    <a:pt x="1572" y="2212"/>
                  </a:lnTo>
                  <a:lnTo>
                    <a:pt x="1334" y="1974"/>
                  </a:lnTo>
                  <a:cubicBezTo>
                    <a:pt x="1215" y="1855"/>
                    <a:pt x="1215" y="1676"/>
                    <a:pt x="1334" y="1569"/>
                  </a:cubicBezTo>
                  <a:lnTo>
                    <a:pt x="1774" y="1141"/>
                  </a:lnTo>
                  <a:cubicBezTo>
                    <a:pt x="1846" y="1164"/>
                    <a:pt x="1917" y="1200"/>
                    <a:pt x="1989" y="1200"/>
                  </a:cubicBezTo>
                  <a:cubicBezTo>
                    <a:pt x="2132" y="1200"/>
                    <a:pt x="2263" y="1152"/>
                    <a:pt x="2370" y="1045"/>
                  </a:cubicBezTo>
                  <a:cubicBezTo>
                    <a:pt x="2572" y="843"/>
                    <a:pt x="2572" y="509"/>
                    <a:pt x="2370" y="307"/>
                  </a:cubicBezTo>
                  <a:cubicBezTo>
                    <a:pt x="2263" y="200"/>
                    <a:pt x="2129" y="146"/>
                    <a:pt x="1995" y="146"/>
                  </a:cubicBezTo>
                  <a:cubicBezTo>
                    <a:pt x="1861" y="146"/>
                    <a:pt x="1727" y="200"/>
                    <a:pt x="1620" y="307"/>
                  </a:cubicBezTo>
                  <a:cubicBezTo>
                    <a:pt x="1453" y="462"/>
                    <a:pt x="1429" y="700"/>
                    <a:pt x="1512" y="902"/>
                  </a:cubicBezTo>
                  <a:lnTo>
                    <a:pt x="1084" y="1331"/>
                  </a:lnTo>
                  <a:cubicBezTo>
                    <a:pt x="846" y="1569"/>
                    <a:pt x="846" y="1974"/>
                    <a:pt x="1084" y="2224"/>
                  </a:cubicBezTo>
                  <a:lnTo>
                    <a:pt x="1322" y="2462"/>
                  </a:lnTo>
                  <a:lnTo>
                    <a:pt x="905" y="2879"/>
                  </a:lnTo>
                  <a:cubicBezTo>
                    <a:pt x="812" y="2827"/>
                    <a:pt x="709" y="2802"/>
                    <a:pt x="607" y="2802"/>
                  </a:cubicBezTo>
                  <a:cubicBezTo>
                    <a:pt x="450" y="2802"/>
                    <a:pt x="295" y="2863"/>
                    <a:pt x="179" y="2986"/>
                  </a:cubicBezTo>
                  <a:cubicBezTo>
                    <a:pt x="60" y="3105"/>
                    <a:pt x="0" y="3248"/>
                    <a:pt x="0" y="3415"/>
                  </a:cubicBezTo>
                  <a:cubicBezTo>
                    <a:pt x="0" y="3581"/>
                    <a:pt x="60" y="3724"/>
                    <a:pt x="179" y="3843"/>
                  </a:cubicBezTo>
                  <a:cubicBezTo>
                    <a:pt x="298" y="3962"/>
                    <a:pt x="441" y="4022"/>
                    <a:pt x="608" y="4022"/>
                  </a:cubicBezTo>
                  <a:cubicBezTo>
                    <a:pt x="774" y="4022"/>
                    <a:pt x="917" y="3962"/>
                    <a:pt x="1036" y="3843"/>
                  </a:cubicBezTo>
                  <a:cubicBezTo>
                    <a:pt x="1155" y="3724"/>
                    <a:pt x="1215" y="3581"/>
                    <a:pt x="1215" y="3415"/>
                  </a:cubicBezTo>
                  <a:cubicBezTo>
                    <a:pt x="1215" y="3307"/>
                    <a:pt x="1191" y="3200"/>
                    <a:pt x="1143" y="3117"/>
                  </a:cubicBezTo>
                  <a:lnTo>
                    <a:pt x="2227" y="2033"/>
                  </a:lnTo>
                  <a:lnTo>
                    <a:pt x="2513" y="2307"/>
                  </a:lnTo>
                  <a:cubicBezTo>
                    <a:pt x="2679" y="2474"/>
                    <a:pt x="2905" y="2569"/>
                    <a:pt x="3108" y="2569"/>
                  </a:cubicBezTo>
                  <a:cubicBezTo>
                    <a:pt x="3322" y="2569"/>
                    <a:pt x="3513" y="2486"/>
                    <a:pt x="3679" y="2343"/>
                  </a:cubicBezTo>
                  <a:cubicBezTo>
                    <a:pt x="3751" y="2367"/>
                    <a:pt x="3822" y="2403"/>
                    <a:pt x="3894" y="2403"/>
                  </a:cubicBezTo>
                  <a:cubicBezTo>
                    <a:pt x="4037" y="2403"/>
                    <a:pt x="4168" y="2355"/>
                    <a:pt x="4275" y="2248"/>
                  </a:cubicBezTo>
                  <a:cubicBezTo>
                    <a:pt x="4525" y="2033"/>
                    <a:pt x="4525" y="1700"/>
                    <a:pt x="4310" y="1498"/>
                  </a:cubicBezTo>
                  <a:cubicBezTo>
                    <a:pt x="4209" y="1391"/>
                    <a:pt x="4075" y="1337"/>
                    <a:pt x="3941" y="1337"/>
                  </a:cubicBezTo>
                  <a:cubicBezTo>
                    <a:pt x="3807" y="1337"/>
                    <a:pt x="3673" y="1391"/>
                    <a:pt x="3572" y="1498"/>
                  </a:cubicBezTo>
                  <a:cubicBezTo>
                    <a:pt x="3406" y="1652"/>
                    <a:pt x="3382" y="1891"/>
                    <a:pt x="3465" y="2093"/>
                  </a:cubicBezTo>
                  <a:cubicBezTo>
                    <a:pt x="3377" y="2175"/>
                    <a:pt x="3267" y="2214"/>
                    <a:pt x="3155" y="2214"/>
                  </a:cubicBezTo>
                  <a:cubicBezTo>
                    <a:pt x="3023" y="2214"/>
                    <a:pt x="2889" y="2160"/>
                    <a:pt x="2786" y="2057"/>
                  </a:cubicBezTo>
                  <a:lnTo>
                    <a:pt x="2501" y="1772"/>
                  </a:lnTo>
                  <a:lnTo>
                    <a:pt x="3286" y="986"/>
                  </a:lnTo>
                  <a:cubicBezTo>
                    <a:pt x="3358" y="1021"/>
                    <a:pt x="3441" y="1045"/>
                    <a:pt x="3513" y="1045"/>
                  </a:cubicBezTo>
                  <a:cubicBezTo>
                    <a:pt x="3644" y="1045"/>
                    <a:pt x="3775" y="998"/>
                    <a:pt x="3882" y="902"/>
                  </a:cubicBezTo>
                  <a:cubicBezTo>
                    <a:pt x="4096" y="688"/>
                    <a:pt x="4096" y="367"/>
                    <a:pt x="3882" y="152"/>
                  </a:cubicBezTo>
                  <a:cubicBezTo>
                    <a:pt x="3781" y="51"/>
                    <a:pt x="3647" y="0"/>
                    <a:pt x="3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46" name="Google Shape;11446;p61"/>
          <p:cNvGrpSpPr/>
          <p:nvPr/>
        </p:nvGrpSpPr>
        <p:grpSpPr>
          <a:xfrm>
            <a:off x="2681385" y="3798439"/>
            <a:ext cx="325544" cy="327413"/>
            <a:chOff x="2681385" y="3798439"/>
            <a:chExt cx="325544" cy="327413"/>
          </a:xfrm>
        </p:grpSpPr>
        <p:sp>
          <p:nvSpPr>
            <p:cNvPr id="11447" name="Google Shape;11447;p61"/>
            <p:cNvSpPr/>
            <p:nvPr/>
          </p:nvSpPr>
          <p:spPr>
            <a:xfrm>
              <a:off x="2713826" y="3830975"/>
              <a:ext cx="58101" cy="56866"/>
            </a:xfrm>
            <a:custGeom>
              <a:avLst/>
              <a:gdLst/>
              <a:ahLst/>
              <a:cxnLst/>
              <a:rect l="l" t="t" r="r" b="b"/>
              <a:pathLst>
                <a:path w="1834" h="1795" extrusionOk="0">
                  <a:moveTo>
                    <a:pt x="165" y="0"/>
                  </a:moveTo>
                  <a:cubicBezTo>
                    <a:pt x="128" y="0"/>
                    <a:pt x="89" y="15"/>
                    <a:pt x="60" y="45"/>
                  </a:cubicBezTo>
                  <a:cubicBezTo>
                    <a:pt x="0" y="104"/>
                    <a:pt x="0" y="188"/>
                    <a:pt x="60" y="247"/>
                  </a:cubicBezTo>
                  <a:lnTo>
                    <a:pt x="1560" y="1747"/>
                  </a:lnTo>
                  <a:cubicBezTo>
                    <a:pt x="1596" y="1783"/>
                    <a:pt x="1643" y="1795"/>
                    <a:pt x="1667" y="1795"/>
                  </a:cubicBezTo>
                  <a:cubicBezTo>
                    <a:pt x="1703" y="1795"/>
                    <a:pt x="1738" y="1783"/>
                    <a:pt x="1774" y="1747"/>
                  </a:cubicBezTo>
                  <a:cubicBezTo>
                    <a:pt x="1834" y="1688"/>
                    <a:pt x="1834" y="1604"/>
                    <a:pt x="1774" y="1545"/>
                  </a:cubicBezTo>
                  <a:lnTo>
                    <a:pt x="262" y="45"/>
                  </a:lnTo>
                  <a:cubicBezTo>
                    <a:pt x="238" y="15"/>
                    <a:pt x="20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8" name="Google Shape;11448;p61"/>
            <p:cNvSpPr/>
            <p:nvPr/>
          </p:nvSpPr>
          <p:spPr>
            <a:xfrm>
              <a:off x="2683255" y="3880110"/>
              <a:ext cx="75462" cy="28100"/>
            </a:xfrm>
            <a:custGeom>
              <a:avLst/>
              <a:gdLst/>
              <a:ahLst/>
              <a:cxnLst/>
              <a:rect l="l" t="t" r="r" b="b"/>
              <a:pathLst>
                <a:path w="2382" h="887" extrusionOk="0">
                  <a:moveTo>
                    <a:pt x="189" y="0"/>
                  </a:moveTo>
                  <a:cubicBezTo>
                    <a:pt x="119" y="0"/>
                    <a:pt x="55" y="52"/>
                    <a:pt x="25" y="113"/>
                  </a:cubicBezTo>
                  <a:cubicBezTo>
                    <a:pt x="1" y="184"/>
                    <a:pt x="60" y="280"/>
                    <a:pt x="132" y="303"/>
                  </a:cubicBezTo>
                  <a:lnTo>
                    <a:pt x="2168" y="887"/>
                  </a:lnTo>
                  <a:lnTo>
                    <a:pt x="2215" y="887"/>
                  </a:lnTo>
                  <a:cubicBezTo>
                    <a:pt x="2275" y="887"/>
                    <a:pt x="2346" y="839"/>
                    <a:pt x="2370" y="780"/>
                  </a:cubicBezTo>
                  <a:cubicBezTo>
                    <a:pt x="2382" y="696"/>
                    <a:pt x="2334" y="613"/>
                    <a:pt x="2263" y="589"/>
                  </a:cubicBezTo>
                  <a:lnTo>
                    <a:pt x="227" y="6"/>
                  </a:lnTo>
                  <a:cubicBezTo>
                    <a:pt x="214" y="2"/>
                    <a:pt x="20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9" name="Google Shape;11449;p61"/>
            <p:cNvSpPr/>
            <p:nvPr/>
          </p:nvSpPr>
          <p:spPr>
            <a:xfrm>
              <a:off x="2681385" y="3918918"/>
              <a:ext cx="75082" cy="29272"/>
            </a:xfrm>
            <a:custGeom>
              <a:avLst/>
              <a:gdLst/>
              <a:ahLst/>
              <a:cxnLst/>
              <a:rect l="l" t="t" r="r" b="b"/>
              <a:pathLst>
                <a:path w="2370" h="924" extrusionOk="0">
                  <a:moveTo>
                    <a:pt x="2186" y="1"/>
                  </a:moveTo>
                  <a:cubicBezTo>
                    <a:pt x="2172" y="1"/>
                    <a:pt x="2158" y="3"/>
                    <a:pt x="2143" y="7"/>
                  </a:cubicBezTo>
                  <a:lnTo>
                    <a:pt x="119" y="626"/>
                  </a:lnTo>
                  <a:cubicBezTo>
                    <a:pt x="48" y="662"/>
                    <a:pt x="0" y="733"/>
                    <a:pt x="12" y="817"/>
                  </a:cubicBezTo>
                  <a:cubicBezTo>
                    <a:pt x="24" y="876"/>
                    <a:pt x="84" y="924"/>
                    <a:pt x="155" y="924"/>
                  </a:cubicBezTo>
                  <a:lnTo>
                    <a:pt x="203" y="924"/>
                  </a:lnTo>
                  <a:lnTo>
                    <a:pt x="2227" y="305"/>
                  </a:lnTo>
                  <a:cubicBezTo>
                    <a:pt x="2322" y="269"/>
                    <a:pt x="2370" y="198"/>
                    <a:pt x="2334" y="102"/>
                  </a:cubicBezTo>
                  <a:cubicBezTo>
                    <a:pt x="2304" y="44"/>
                    <a:pt x="2251" y="1"/>
                    <a:pt x="2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0" name="Google Shape;11450;p61"/>
            <p:cNvSpPr/>
            <p:nvPr/>
          </p:nvSpPr>
          <p:spPr>
            <a:xfrm>
              <a:off x="2762835" y="3800340"/>
              <a:ext cx="29462" cy="74321"/>
            </a:xfrm>
            <a:custGeom>
              <a:avLst/>
              <a:gdLst/>
              <a:ahLst/>
              <a:cxnLst/>
              <a:rect l="l" t="t" r="r" b="b"/>
              <a:pathLst>
                <a:path w="930" h="2346" extrusionOk="0">
                  <a:moveTo>
                    <a:pt x="188" y="1"/>
                  </a:moveTo>
                  <a:cubicBezTo>
                    <a:pt x="170" y="1"/>
                    <a:pt x="152" y="4"/>
                    <a:pt x="132" y="12"/>
                  </a:cubicBezTo>
                  <a:cubicBezTo>
                    <a:pt x="60" y="35"/>
                    <a:pt x="1" y="107"/>
                    <a:pt x="37" y="202"/>
                  </a:cubicBezTo>
                  <a:lnTo>
                    <a:pt x="608" y="2238"/>
                  </a:lnTo>
                  <a:cubicBezTo>
                    <a:pt x="632" y="2298"/>
                    <a:pt x="691" y="2345"/>
                    <a:pt x="763" y="2345"/>
                  </a:cubicBezTo>
                  <a:lnTo>
                    <a:pt x="799" y="2345"/>
                  </a:lnTo>
                  <a:cubicBezTo>
                    <a:pt x="882" y="2333"/>
                    <a:pt x="930" y="2238"/>
                    <a:pt x="906" y="2155"/>
                  </a:cubicBezTo>
                  <a:lnTo>
                    <a:pt x="334" y="107"/>
                  </a:lnTo>
                  <a:cubicBezTo>
                    <a:pt x="306" y="50"/>
                    <a:pt x="25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1" name="Google Shape;11451;p61"/>
            <p:cNvSpPr/>
            <p:nvPr/>
          </p:nvSpPr>
          <p:spPr>
            <a:xfrm>
              <a:off x="2801326" y="3798439"/>
              <a:ext cx="30951" cy="73941"/>
            </a:xfrm>
            <a:custGeom>
              <a:avLst/>
              <a:gdLst/>
              <a:ahLst/>
              <a:cxnLst/>
              <a:rect l="l" t="t" r="r" b="b"/>
              <a:pathLst>
                <a:path w="977" h="2334" extrusionOk="0">
                  <a:moveTo>
                    <a:pt x="802" y="0"/>
                  </a:moveTo>
                  <a:cubicBezTo>
                    <a:pt x="740" y="0"/>
                    <a:pt x="686" y="45"/>
                    <a:pt x="667" y="119"/>
                  </a:cubicBezTo>
                  <a:lnTo>
                    <a:pt x="36" y="2143"/>
                  </a:lnTo>
                  <a:cubicBezTo>
                    <a:pt x="0" y="2215"/>
                    <a:pt x="48" y="2298"/>
                    <a:pt x="143" y="2334"/>
                  </a:cubicBezTo>
                  <a:lnTo>
                    <a:pt x="179" y="2334"/>
                  </a:lnTo>
                  <a:cubicBezTo>
                    <a:pt x="238" y="2334"/>
                    <a:pt x="298" y="2286"/>
                    <a:pt x="334" y="2227"/>
                  </a:cubicBezTo>
                  <a:lnTo>
                    <a:pt x="965" y="203"/>
                  </a:lnTo>
                  <a:cubicBezTo>
                    <a:pt x="977" y="119"/>
                    <a:pt x="929" y="36"/>
                    <a:pt x="858" y="12"/>
                  </a:cubicBezTo>
                  <a:cubicBezTo>
                    <a:pt x="839" y="4"/>
                    <a:pt x="820" y="0"/>
                    <a:pt x="8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2" name="Google Shape;11452;p61"/>
            <p:cNvSpPr/>
            <p:nvPr/>
          </p:nvSpPr>
          <p:spPr>
            <a:xfrm>
              <a:off x="2851095" y="3944262"/>
              <a:ext cx="124534" cy="127670"/>
            </a:xfrm>
            <a:custGeom>
              <a:avLst/>
              <a:gdLst/>
              <a:ahLst/>
              <a:cxnLst/>
              <a:rect l="l" t="t" r="r" b="b"/>
              <a:pathLst>
                <a:path w="3931" h="4030" extrusionOk="0">
                  <a:moveTo>
                    <a:pt x="1918" y="1195"/>
                  </a:moveTo>
                  <a:lnTo>
                    <a:pt x="2144" y="1422"/>
                  </a:lnTo>
                  <a:lnTo>
                    <a:pt x="1989" y="1565"/>
                  </a:lnTo>
                  <a:lnTo>
                    <a:pt x="1775" y="1350"/>
                  </a:lnTo>
                  <a:lnTo>
                    <a:pt x="1918" y="1195"/>
                  </a:lnTo>
                  <a:close/>
                  <a:moveTo>
                    <a:pt x="1644" y="1624"/>
                  </a:moveTo>
                  <a:lnTo>
                    <a:pt x="1704" y="1684"/>
                  </a:lnTo>
                  <a:lnTo>
                    <a:pt x="1668" y="1731"/>
                  </a:lnTo>
                  <a:lnTo>
                    <a:pt x="1608" y="1672"/>
                  </a:lnTo>
                  <a:lnTo>
                    <a:pt x="1644" y="1624"/>
                  </a:lnTo>
                  <a:close/>
                  <a:moveTo>
                    <a:pt x="2632" y="1898"/>
                  </a:moveTo>
                  <a:lnTo>
                    <a:pt x="2858" y="2124"/>
                  </a:lnTo>
                  <a:lnTo>
                    <a:pt x="2704" y="2267"/>
                  </a:lnTo>
                  <a:lnTo>
                    <a:pt x="2477" y="2041"/>
                  </a:lnTo>
                  <a:lnTo>
                    <a:pt x="2632" y="1898"/>
                  </a:lnTo>
                  <a:close/>
                  <a:moveTo>
                    <a:pt x="2347" y="2338"/>
                  </a:moveTo>
                  <a:lnTo>
                    <a:pt x="2406" y="2398"/>
                  </a:lnTo>
                  <a:lnTo>
                    <a:pt x="2370" y="2446"/>
                  </a:lnTo>
                  <a:lnTo>
                    <a:pt x="2311" y="2386"/>
                  </a:lnTo>
                  <a:lnTo>
                    <a:pt x="2347" y="2338"/>
                  </a:lnTo>
                  <a:close/>
                  <a:moveTo>
                    <a:pt x="3335" y="2612"/>
                  </a:moveTo>
                  <a:lnTo>
                    <a:pt x="3561" y="2839"/>
                  </a:lnTo>
                  <a:lnTo>
                    <a:pt x="3406" y="2981"/>
                  </a:lnTo>
                  <a:lnTo>
                    <a:pt x="3180" y="2755"/>
                  </a:lnTo>
                  <a:lnTo>
                    <a:pt x="3335" y="2612"/>
                  </a:lnTo>
                  <a:close/>
                  <a:moveTo>
                    <a:pt x="3049" y="3041"/>
                  </a:moveTo>
                  <a:lnTo>
                    <a:pt x="3109" y="3100"/>
                  </a:lnTo>
                  <a:lnTo>
                    <a:pt x="3061" y="3148"/>
                  </a:lnTo>
                  <a:lnTo>
                    <a:pt x="3001" y="3089"/>
                  </a:lnTo>
                  <a:lnTo>
                    <a:pt x="3049" y="3041"/>
                  </a:lnTo>
                  <a:close/>
                  <a:moveTo>
                    <a:pt x="176" y="0"/>
                  </a:moveTo>
                  <a:cubicBezTo>
                    <a:pt x="154" y="0"/>
                    <a:pt x="130" y="6"/>
                    <a:pt x="108" y="17"/>
                  </a:cubicBezTo>
                  <a:cubicBezTo>
                    <a:pt x="25" y="64"/>
                    <a:pt x="1" y="160"/>
                    <a:pt x="49" y="231"/>
                  </a:cubicBezTo>
                  <a:cubicBezTo>
                    <a:pt x="322" y="719"/>
                    <a:pt x="668" y="1184"/>
                    <a:pt x="1073" y="1588"/>
                  </a:cubicBezTo>
                  <a:lnTo>
                    <a:pt x="1596" y="2100"/>
                  </a:lnTo>
                  <a:lnTo>
                    <a:pt x="2025" y="2541"/>
                  </a:lnTo>
                  <a:lnTo>
                    <a:pt x="2989" y="3505"/>
                  </a:lnTo>
                  <a:lnTo>
                    <a:pt x="3466" y="3982"/>
                  </a:lnTo>
                  <a:cubicBezTo>
                    <a:pt x="3501" y="4005"/>
                    <a:pt x="3537" y="4029"/>
                    <a:pt x="3573" y="4029"/>
                  </a:cubicBezTo>
                  <a:cubicBezTo>
                    <a:pt x="3597" y="4029"/>
                    <a:pt x="3644" y="4005"/>
                    <a:pt x="3680" y="3982"/>
                  </a:cubicBezTo>
                  <a:cubicBezTo>
                    <a:pt x="3740" y="3922"/>
                    <a:pt x="3740" y="3827"/>
                    <a:pt x="3680" y="3767"/>
                  </a:cubicBezTo>
                  <a:lnTo>
                    <a:pt x="3299" y="3398"/>
                  </a:lnTo>
                  <a:lnTo>
                    <a:pt x="3347" y="3350"/>
                  </a:lnTo>
                  <a:cubicBezTo>
                    <a:pt x="3347" y="3339"/>
                    <a:pt x="3370" y="3339"/>
                    <a:pt x="3406" y="3339"/>
                  </a:cubicBezTo>
                  <a:cubicBezTo>
                    <a:pt x="3454" y="3339"/>
                    <a:pt x="3478" y="3327"/>
                    <a:pt x="3513" y="3291"/>
                  </a:cubicBezTo>
                  <a:lnTo>
                    <a:pt x="3871" y="2934"/>
                  </a:lnTo>
                  <a:cubicBezTo>
                    <a:pt x="3930" y="2874"/>
                    <a:pt x="3930" y="2791"/>
                    <a:pt x="3871" y="2731"/>
                  </a:cubicBezTo>
                  <a:lnTo>
                    <a:pt x="3442" y="2303"/>
                  </a:lnTo>
                  <a:cubicBezTo>
                    <a:pt x="3412" y="2273"/>
                    <a:pt x="3373" y="2258"/>
                    <a:pt x="3335" y="2258"/>
                  </a:cubicBezTo>
                  <a:cubicBezTo>
                    <a:pt x="3296" y="2258"/>
                    <a:pt x="3257" y="2273"/>
                    <a:pt x="3228" y="2303"/>
                  </a:cubicBezTo>
                  <a:lnTo>
                    <a:pt x="2870" y="2660"/>
                  </a:lnTo>
                  <a:cubicBezTo>
                    <a:pt x="2847" y="2684"/>
                    <a:pt x="2823" y="2731"/>
                    <a:pt x="2823" y="2755"/>
                  </a:cubicBezTo>
                  <a:cubicBezTo>
                    <a:pt x="2823" y="2791"/>
                    <a:pt x="2847" y="2815"/>
                    <a:pt x="2858" y="2850"/>
                  </a:cubicBezTo>
                  <a:lnTo>
                    <a:pt x="2811" y="2898"/>
                  </a:lnTo>
                  <a:lnTo>
                    <a:pt x="2585" y="2672"/>
                  </a:lnTo>
                  <a:lnTo>
                    <a:pt x="2632" y="2624"/>
                  </a:lnTo>
                  <a:cubicBezTo>
                    <a:pt x="2668" y="2636"/>
                    <a:pt x="2692" y="2660"/>
                    <a:pt x="2728" y="2660"/>
                  </a:cubicBezTo>
                  <a:cubicBezTo>
                    <a:pt x="2763" y="2660"/>
                    <a:pt x="2799" y="2636"/>
                    <a:pt x="2823" y="2612"/>
                  </a:cubicBezTo>
                  <a:lnTo>
                    <a:pt x="3180" y="2255"/>
                  </a:lnTo>
                  <a:cubicBezTo>
                    <a:pt x="3239" y="2196"/>
                    <a:pt x="3239" y="2100"/>
                    <a:pt x="3180" y="2041"/>
                  </a:cubicBezTo>
                  <a:lnTo>
                    <a:pt x="2751" y="1612"/>
                  </a:lnTo>
                  <a:cubicBezTo>
                    <a:pt x="2722" y="1582"/>
                    <a:pt x="2686" y="1568"/>
                    <a:pt x="2650" y="1568"/>
                  </a:cubicBezTo>
                  <a:cubicBezTo>
                    <a:pt x="2614" y="1568"/>
                    <a:pt x="2579" y="1582"/>
                    <a:pt x="2549" y="1612"/>
                  </a:cubicBezTo>
                  <a:lnTo>
                    <a:pt x="2192" y="1969"/>
                  </a:lnTo>
                  <a:cubicBezTo>
                    <a:pt x="2156" y="2005"/>
                    <a:pt x="2144" y="2041"/>
                    <a:pt x="2144" y="2077"/>
                  </a:cubicBezTo>
                  <a:cubicBezTo>
                    <a:pt x="2144" y="2100"/>
                    <a:pt x="2156" y="2136"/>
                    <a:pt x="2168" y="2160"/>
                  </a:cubicBezTo>
                  <a:lnTo>
                    <a:pt x="2132" y="2207"/>
                  </a:lnTo>
                  <a:lnTo>
                    <a:pt x="1906" y="1981"/>
                  </a:lnTo>
                  <a:lnTo>
                    <a:pt x="1954" y="1946"/>
                  </a:lnTo>
                  <a:cubicBezTo>
                    <a:pt x="1977" y="1957"/>
                    <a:pt x="2013" y="1969"/>
                    <a:pt x="2037" y="1969"/>
                  </a:cubicBezTo>
                  <a:cubicBezTo>
                    <a:pt x="2085" y="1969"/>
                    <a:pt x="2108" y="1957"/>
                    <a:pt x="2144" y="1922"/>
                  </a:cubicBezTo>
                  <a:lnTo>
                    <a:pt x="2501" y="1565"/>
                  </a:lnTo>
                  <a:cubicBezTo>
                    <a:pt x="2525" y="1541"/>
                    <a:pt x="2549" y="1493"/>
                    <a:pt x="2549" y="1469"/>
                  </a:cubicBezTo>
                  <a:cubicBezTo>
                    <a:pt x="2549" y="1422"/>
                    <a:pt x="2525" y="1386"/>
                    <a:pt x="2501" y="1362"/>
                  </a:cubicBezTo>
                  <a:lnTo>
                    <a:pt x="2073" y="934"/>
                  </a:lnTo>
                  <a:cubicBezTo>
                    <a:pt x="2037" y="898"/>
                    <a:pt x="1989" y="886"/>
                    <a:pt x="1966" y="886"/>
                  </a:cubicBezTo>
                  <a:cubicBezTo>
                    <a:pt x="1930" y="886"/>
                    <a:pt x="1894" y="898"/>
                    <a:pt x="1858" y="934"/>
                  </a:cubicBezTo>
                  <a:lnTo>
                    <a:pt x="1501" y="1291"/>
                  </a:lnTo>
                  <a:cubicBezTo>
                    <a:pt x="1454" y="1326"/>
                    <a:pt x="1442" y="1422"/>
                    <a:pt x="1489" y="1481"/>
                  </a:cubicBezTo>
                  <a:lnTo>
                    <a:pt x="1442" y="1529"/>
                  </a:lnTo>
                  <a:lnTo>
                    <a:pt x="1299" y="1374"/>
                  </a:lnTo>
                  <a:cubicBezTo>
                    <a:pt x="906" y="993"/>
                    <a:pt x="584" y="553"/>
                    <a:pt x="311" y="76"/>
                  </a:cubicBezTo>
                  <a:cubicBezTo>
                    <a:pt x="278" y="27"/>
                    <a:pt x="228" y="0"/>
                    <a:pt x="1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3" name="Google Shape;11453;p61"/>
            <p:cNvSpPr/>
            <p:nvPr/>
          </p:nvSpPr>
          <p:spPr>
            <a:xfrm>
              <a:off x="2750416" y="3870163"/>
              <a:ext cx="256513" cy="255689"/>
            </a:xfrm>
            <a:custGeom>
              <a:avLst/>
              <a:gdLst/>
              <a:ahLst/>
              <a:cxnLst/>
              <a:rect l="l" t="t" r="r" b="b"/>
              <a:pathLst>
                <a:path w="8097" h="8071" extrusionOk="0">
                  <a:moveTo>
                    <a:pt x="3663" y="4506"/>
                  </a:moveTo>
                  <a:cubicBezTo>
                    <a:pt x="3704" y="4506"/>
                    <a:pt x="3745" y="4512"/>
                    <a:pt x="3786" y="4523"/>
                  </a:cubicBezTo>
                  <a:lnTo>
                    <a:pt x="3834" y="4558"/>
                  </a:lnTo>
                  <a:lnTo>
                    <a:pt x="3167" y="5237"/>
                  </a:lnTo>
                  <a:cubicBezTo>
                    <a:pt x="3108" y="5035"/>
                    <a:pt x="3143" y="4820"/>
                    <a:pt x="3298" y="4666"/>
                  </a:cubicBezTo>
                  <a:cubicBezTo>
                    <a:pt x="3399" y="4565"/>
                    <a:pt x="3528" y="4506"/>
                    <a:pt x="3663" y="4506"/>
                  </a:cubicBezTo>
                  <a:close/>
                  <a:moveTo>
                    <a:pt x="4036" y="4773"/>
                  </a:moveTo>
                  <a:lnTo>
                    <a:pt x="4084" y="4820"/>
                  </a:lnTo>
                  <a:lnTo>
                    <a:pt x="3369" y="5535"/>
                  </a:lnTo>
                  <a:lnTo>
                    <a:pt x="3310" y="5475"/>
                  </a:lnTo>
                  <a:lnTo>
                    <a:pt x="4036" y="4773"/>
                  </a:lnTo>
                  <a:close/>
                  <a:moveTo>
                    <a:pt x="4310" y="5035"/>
                  </a:moveTo>
                  <a:lnTo>
                    <a:pt x="4536" y="5261"/>
                  </a:lnTo>
                  <a:lnTo>
                    <a:pt x="3822" y="5975"/>
                  </a:lnTo>
                  <a:lnTo>
                    <a:pt x="3596" y="5749"/>
                  </a:lnTo>
                  <a:lnTo>
                    <a:pt x="4310" y="5035"/>
                  </a:lnTo>
                  <a:close/>
                  <a:moveTo>
                    <a:pt x="4739" y="5451"/>
                  </a:moveTo>
                  <a:lnTo>
                    <a:pt x="4798" y="5511"/>
                  </a:lnTo>
                  <a:lnTo>
                    <a:pt x="4084" y="6225"/>
                  </a:lnTo>
                  <a:lnTo>
                    <a:pt x="4024" y="6166"/>
                  </a:lnTo>
                  <a:lnTo>
                    <a:pt x="4739" y="5451"/>
                  </a:lnTo>
                  <a:close/>
                  <a:moveTo>
                    <a:pt x="5024" y="5737"/>
                  </a:moveTo>
                  <a:lnTo>
                    <a:pt x="5251" y="5963"/>
                  </a:lnTo>
                  <a:lnTo>
                    <a:pt x="4536" y="6678"/>
                  </a:lnTo>
                  <a:lnTo>
                    <a:pt x="4310" y="6451"/>
                  </a:lnTo>
                  <a:lnTo>
                    <a:pt x="5024" y="5737"/>
                  </a:lnTo>
                  <a:close/>
                  <a:moveTo>
                    <a:pt x="5453" y="6166"/>
                  </a:moveTo>
                  <a:lnTo>
                    <a:pt x="5513" y="6225"/>
                  </a:lnTo>
                  <a:lnTo>
                    <a:pt x="4798" y="6940"/>
                  </a:lnTo>
                  <a:lnTo>
                    <a:pt x="4739" y="6880"/>
                  </a:lnTo>
                  <a:lnTo>
                    <a:pt x="5453" y="6166"/>
                  </a:lnTo>
                  <a:close/>
                  <a:moveTo>
                    <a:pt x="5727" y="6440"/>
                  </a:moveTo>
                  <a:lnTo>
                    <a:pt x="5763" y="6487"/>
                  </a:lnTo>
                  <a:cubicBezTo>
                    <a:pt x="5798" y="6666"/>
                    <a:pt x="5739" y="6856"/>
                    <a:pt x="5620" y="6975"/>
                  </a:cubicBezTo>
                  <a:cubicBezTo>
                    <a:pt x="5509" y="7078"/>
                    <a:pt x="5367" y="7131"/>
                    <a:pt x="5221" y="7131"/>
                  </a:cubicBezTo>
                  <a:cubicBezTo>
                    <a:pt x="5163" y="7131"/>
                    <a:pt x="5105" y="7123"/>
                    <a:pt x="5048" y="7106"/>
                  </a:cubicBezTo>
                  <a:lnTo>
                    <a:pt x="5727" y="6440"/>
                  </a:lnTo>
                  <a:close/>
                  <a:moveTo>
                    <a:pt x="3274" y="4058"/>
                  </a:moveTo>
                  <a:cubicBezTo>
                    <a:pt x="3358" y="4118"/>
                    <a:pt x="3429" y="4177"/>
                    <a:pt x="3489" y="4249"/>
                  </a:cubicBezTo>
                  <a:cubicBezTo>
                    <a:pt x="3334" y="4273"/>
                    <a:pt x="3191" y="4368"/>
                    <a:pt x="3072" y="4475"/>
                  </a:cubicBezTo>
                  <a:cubicBezTo>
                    <a:pt x="2774" y="4773"/>
                    <a:pt x="2738" y="5249"/>
                    <a:pt x="2977" y="5582"/>
                  </a:cubicBezTo>
                  <a:cubicBezTo>
                    <a:pt x="3012" y="5618"/>
                    <a:pt x="3024" y="5642"/>
                    <a:pt x="3060" y="5678"/>
                  </a:cubicBezTo>
                  <a:lnTo>
                    <a:pt x="3250" y="5868"/>
                  </a:lnTo>
                  <a:lnTo>
                    <a:pt x="4584" y="7213"/>
                  </a:lnTo>
                  <a:cubicBezTo>
                    <a:pt x="4620" y="7237"/>
                    <a:pt x="4643" y="7273"/>
                    <a:pt x="4691" y="7297"/>
                  </a:cubicBezTo>
                  <a:cubicBezTo>
                    <a:pt x="4846" y="7404"/>
                    <a:pt x="5024" y="7464"/>
                    <a:pt x="5203" y="7464"/>
                  </a:cubicBezTo>
                  <a:cubicBezTo>
                    <a:pt x="5417" y="7464"/>
                    <a:pt x="5644" y="7368"/>
                    <a:pt x="5810" y="7213"/>
                  </a:cubicBezTo>
                  <a:cubicBezTo>
                    <a:pt x="5929" y="7094"/>
                    <a:pt x="6001" y="6940"/>
                    <a:pt x="6036" y="6797"/>
                  </a:cubicBezTo>
                  <a:lnTo>
                    <a:pt x="6227" y="6987"/>
                  </a:lnTo>
                  <a:cubicBezTo>
                    <a:pt x="6203" y="7118"/>
                    <a:pt x="6108" y="7261"/>
                    <a:pt x="5989" y="7356"/>
                  </a:cubicBezTo>
                  <a:cubicBezTo>
                    <a:pt x="5775" y="7577"/>
                    <a:pt x="5492" y="7687"/>
                    <a:pt x="5209" y="7687"/>
                  </a:cubicBezTo>
                  <a:cubicBezTo>
                    <a:pt x="4926" y="7687"/>
                    <a:pt x="4643" y="7577"/>
                    <a:pt x="4429" y="7356"/>
                  </a:cubicBezTo>
                  <a:lnTo>
                    <a:pt x="2905" y="5844"/>
                  </a:lnTo>
                  <a:cubicBezTo>
                    <a:pt x="2703" y="5630"/>
                    <a:pt x="2584" y="5356"/>
                    <a:pt x="2584" y="5070"/>
                  </a:cubicBezTo>
                  <a:cubicBezTo>
                    <a:pt x="2584" y="4785"/>
                    <a:pt x="2703" y="4499"/>
                    <a:pt x="2905" y="4296"/>
                  </a:cubicBezTo>
                  <a:cubicBezTo>
                    <a:pt x="3012" y="4189"/>
                    <a:pt x="3143" y="4106"/>
                    <a:pt x="3274" y="4058"/>
                  </a:cubicBezTo>
                  <a:close/>
                  <a:moveTo>
                    <a:pt x="7596" y="7047"/>
                  </a:moveTo>
                  <a:lnTo>
                    <a:pt x="7739" y="7202"/>
                  </a:lnTo>
                  <a:lnTo>
                    <a:pt x="7227" y="7714"/>
                  </a:lnTo>
                  <a:lnTo>
                    <a:pt x="7072" y="7571"/>
                  </a:lnTo>
                  <a:lnTo>
                    <a:pt x="7596" y="7047"/>
                  </a:lnTo>
                  <a:close/>
                  <a:moveTo>
                    <a:pt x="2470" y="1"/>
                  </a:moveTo>
                  <a:cubicBezTo>
                    <a:pt x="2432" y="1"/>
                    <a:pt x="2392" y="20"/>
                    <a:pt x="2357" y="46"/>
                  </a:cubicBezTo>
                  <a:lnTo>
                    <a:pt x="1298" y="1106"/>
                  </a:lnTo>
                  <a:cubicBezTo>
                    <a:pt x="1238" y="1165"/>
                    <a:pt x="1238" y="1260"/>
                    <a:pt x="1298" y="1320"/>
                  </a:cubicBezTo>
                  <a:cubicBezTo>
                    <a:pt x="1328" y="1350"/>
                    <a:pt x="1366" y="1365"/>
                    <a:pt x="1405" y="1365"/>
                  </a:cubicBezTo>
                  <a:cubicBezTo>
                    <a:pt x="1444" y="1365"/>
                    <a:pt x="1482" y="1350"/>
                    <a:pt x="1512" y="1320"/>
                  </a:cubicBezTo>
                  <a:lnTo>
                    <a:pt x="2381" y="439"/>
                  </a:lnTo>
                  <a:lnTo>
                    <a:pt x="2500" y="832"/>
                  </a:lnTo>
                  <a:lnTo>
                    <a:pt x="833" y="2499"/>
                  </a:lnTo>
                  <a:lnTo>
                    <a:pt x="452" y="2380"/>
                  </a:lnTo>
                  <a:lnTo>
                    <a:pt x="1095" y="1737"/>
                  </a:lnTo>
                  <a:cubicBezTo>
                    <a:pt x="1095" y="1737"/>
                    <a:pt x="1095" y="1725"/>
                    <a:pt x="1107" y="1725"/>
                  </a:cubicBezTo>
                  <a:cubicBezTo>
                    <a:pt x="1155" y="1665"/>
                    <a:pt x="1155" y="1570"/>
                    <a:pt x="1095" y="1510"/>
                  </a:cubicBezTo>
                  <a:cubicBezTo>
                    <a:pt x="1066" y="1481"/>
                    <a:pt x="1027" y="1466"/>
                    <a:pt x="988" y="1466"/>
                  </a:cubicBezTo>
                  <a:cubicBezTo>
                    <a:pt x="950" y="1466"/>
                    <a:pt x="911" y="1481"/>
                    <a:pt x="881" y="1510"/>
                  </a:cubicBezTo>
                  <a:lnTo>
                    <a:pt x="60" y="2332"/>
                  </a:lnTo>
                  <a:cubicBezTo>
                    <a:pt x="24" y="2380"/>
                    <a:pt x="0" y="2415"/>
                    <a:pt x="24" y="2475"/>
                  </a:cubicBezTo>
                  <a:cubicBezTo>
                    <a:pt x="36" y="2522"/>
                    <a:pt x="83" y="2570"/>
                    <a:pt x="119" y="2582"/>
                  </a:cubicBezTo>
                  <a:lnTo>
                    <a:pt x="833" y="2796"/>
                  </a:lnTo>
                  <a:lnTo>
                    <a:pt x="1107" y="2868"/>
                  </a:lnTo>
                  <a:cubicBezTo>
                    <a:pt x="1810" y="3070"/>
                    <a:pt x="2441" y="3392"/>
                    <a:pt x="3012" y="3820"/>
                  </a:cubicBezTo>
                  <a:cubicBezTo>
                    <a:pt x="2893" y="3880"/>
                    <a:pt x="2786" y="3963"/>
                    <a:pt x="2703" y="4058"/>
                  </a:cubicBezTo>
                  <a:cubicBezTo>
                    <a:pt x="2429" y="4320"/>
                    <a:pt x="2286" y="4677"/>
                    <a:pt x="2286" y="5058"/>
                  </a:cubicBezTo>
                  <a:cubicBezTo>
                    <a:pt x="2286" y="5428"/>
                    <a:pt x="2429" y="5785"/>
                    <a:pt x="2703" y="6047"/>
                  </a:cubicBezTo>
                  <a:lnTo>
                    <a:pt x="4215" y="7571"/>
                  </a:lnTo>
                  <a:cubicBezTo>
                    <a:pt x="4489" y="7833"/>
                    <a:pt x="4858" y="7987"/>
                    <a:pt x="5215" y="7987"/>
                  </a:cubicBezTo>
                  <a:cubicBezTo>
                    <a:pt x="5572" y="7987"/>
                    <a:pt x="5929" y="7856"/>
                    <a:pt x="6215" y="7571"/>
                  </a:cubicBezTo>
                  <a:cubicBezTo>
                    <a:pt x="6310" y="7464"/>
                    <a:pt x="6417" y="7333"/>
                    <a:pt x="6477" y="7178"/>
                  </a:cubicBezTo>
                  <a:lnTo>
                    <a:pt x="6763" y="7464"/>
                  </a:lnTo>
                  <a:cubicBezTo>
                    <a:pt x="6703" y="7523"/>
                    <a:pt x="6715" y="7618"/>
                    <a:pt x="6763" y="7678"/>
                  </a:cubicBezTo>
                  <a:lnTo>
                    <a:pt x="7120" y="8035"/>
                  </a:lnTo>
                  <a:cubicBezTo>
                    <a:pt x="7144" y="8059"/>
                    <a:pt x="7191" y="8071"/>
                    <a:pt x="7227" y="8071"/>
                  </a:cubicBezTo>
                  <a:cubicBezTo>
                    <a:pt x="7251" y="8071"/>
                    <a:pt x="7299" y="8059"/>
                    <a:pt x="7322" y="8035"/>
                  </a:cubicBezTo>
                  <a:lnTo>
                    <a:pt x="8061" y="7297"/>
                  </a:lnTo>
                  <a:cubicBezTo>
                    <a:pt x="8084" y="7273"/>
                    <a:pt x="8096" y="7225"/>
                    <a:pt x="8096" y="7202"/>
                  </a:cubicBezTo>
                  <a:cubicBezTo>
                    <a:pt x="8096" y="7166"/>
                    <a:pt x="8084" y="7142"/>
                    <a:pt x="8061" y="7106"/>
                  </a:cubicBezTo>
                  <a:lnTo>
                    <a:pt x="7703" y="6749"/>
                  </a:lnTo>
                  <a:cubicBezTo>
                    <a:pt x="7674" y="6719"/>
                    <a:pt x="7635" y="6704"/>
                    <a:pt x="7596" y="6704"/>
                  </a:cubicBezTo>
                  <a:cubicBezTo>
                    <a:pt x="7557" y="6704"/>
                    <a:pt x="7519" y="6719"/>
                    <a:pt x="7489" y="6749"/>
                  </a:cubicBezTo>
                  <a:lnTo>
                    <a:pt x="7251" y="6511"/>
                  </a:lnTo>
                  <a:cubicBezTo>
                    <a:pt x="7221" y="6481"/>
                    <a:pt x="7185" y="6466"/>
                    <a:pt x="7150" y="6466"/>
                  </a:cubicBezTo>
                  <a:cubicBezTo>
                    <a:pt x="7114" y="6466"/>
                    <a:pt x="7078" y="6481"/>
                    <a:pt x="7049" y="6511"/>
                  </a:cubicBezTo>
                  <a:cubicBezTo>
                    <a:pt x="6989" y="6571"/>
                    <a:pt x="6989" y="6666"/>
                    <a:pt x="7049" y="6725"/>
                  </a:cubicBezTo>
                  <a:lnTo>
                    <a:pt x="7287" y="6963"/>
                  </a:lnTo>
                  <a:lnTo>
                    <a:pt x="6977" y="7273"/>
                  </a:lnTo>
                  <a:lnTo>
                    <a:pt x="6525" y="6821"/>
                  </a:lnTo>
                  <a:lnTo>
                    <a:pt x="3905" y="4189"/>
                  </a:lnTo>
                  <a:cubicBezTo>
                    <a:pt x="3739" y="4023"/>
                    <a:pt x="3572" y="3880"/>
                    <a:pt x="3417" y="3749"/>
                  </a:cubicBezTo>
                  <a:cubicBezTo>
                    <a:pt x="2762" y="3213"/>
                    <a:pt x="2012" y="2820"/>
                    <a:pt x="1203" y="2582"/>
                  </a:cubicBezTo>
                  <a:lnTo>
                    <a:pt x="1179" y="2582"/>
                  </a:lnTo>
                  <a:lnTo>
                    <a:pt x="2607" y="1153"/>
                  </a:lnTo>
                  <a:lnTo>
                    <a:pt x="2607" y="1165"/>
                  </a:lnTo>
                  <a:cubicBezTo>
                    <a:pt x="2691" y="1439"/>
                    <a:pt x="2786" y="1701"/>
                    <a:pt x="2893" y="1963"/>
                  </a:cubicBezTo>
                  <a:cubicBezTo>
                    <a:pt x="2929" y="2022"/>
                    <a:pt x="2965" y="2046"/>
                    <a:pt x="3024" y="2046"/>
                  </a:cubicBezTo>
                  <a:cubicBezTo>
                    <a:pt x="3048" y="2046"/>
                    <a:pt x="3072" y="2046"/>
                    <a:pt x="3084" y="2034"/>
                  </a:cubicBezTo>
                  <a:cubicBezTo>
                    <a:pt x="3167" y="1999"/>
                    <a:pt x="3191" y="1915"/>
                    <a:pt x="3167" y="1844"/>
                  </a:cubicBezTo>
                  <a:cubicBezTo>
                    <a:pt x="3060" y="1606"/>
                    <a:pt x="2965" y="1344"/>
                    <a:pt x="2893" y="1094"/>
                  </a:cubicBezTo>
                  <a:lnTo>
                    <a:pt x="2607" y="117"/>
                  </a:lnTo>
                  <a:cubicBezTo>
                    <a:pt x="2596" y="70"/>
                    <a:pt x="2548" y="22"/>
                    <a:pt x="2512" y="10"/>
                  </a:cubicBezTo>
                  <a:cubicBezTo>
                    <a:pt x="2499" y="4"/>
                    <a:pt x="2485" y="1"/>
                    <a:pt x="24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54" name="Google Shape;11454;p61"/>
          <p:cNvGrpSpPr/>
          <p:nvPr/>
        </p:nvGrpSpPr>
        <p:grpSpPr>
          <a:xfrm>
            <a:off x="6243928" y="4263502"/>
            <a:ext cx="274254" cy="350824"/>
            <a:chOff x="6243928" y="4263502"/>
            <a:chExt cx="274254" cy="350824"/>
          </a:xfrm>
        </p:grpSpPr>
        <p:sp>
          <p:nvSpPr>
            <p:cNvPr id="11455" name="Google Shape;11455;p61"/>
            <p:cNvSpPr/>
            <p:nvPr/>
          </p:nvSpPr>
          <p:spPr>
            <a:xfrm>
              <a:off x="6342390" y="4373653"/>
              <a:ext cx="10581" cy="15872"/>
            </a:xfrm>
            <a:custGeom>
              <a:avLst/>
              <a:gdLst/>
              <a:ahLst/>
              <a:cxnLst/>
              <a:rect l="l" t="t" r="r" b="b"/>
              <a:pathLst>
                <a:path w="334" h="501" extrusionOk="0">
                  <a:moveTo>
                    <a:pt x="167" y="0"/>
                  </a:moveTo>
                  <a:cubicBezTo>
                    <a:pt x="72" y="0"/>
                    <a:pt x="0" y="72"/>
                    <a:pt x="0" y="155"/>
                  </a:cubicBezTo>
                  <a:lnTo>
                    <a:pt x="0" y="333"/>
                  </a:lnTo>
                  <a:cubicBezTo>
                    <a:pt x="0" y="429"/>
                    <a:pt x="72" y="500"/>
                    <a:pt x="167" y="500"/>
                  </a:cubicBezTo>
                  <a:cubicBezTo>
                    <a:pt x="250" y="500"/>
                    <a:pt x="334" y="429"/>
                    <a:pt x="334" y="333"/>
                  </a:cubicBezTo>
                  <a:lnTo>
                    <a:pt x="334" y="155"/>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6" name="Google Shape;11456;p61"/>
            <p:cNvSpPr/>
            <p:nvPr/>
          </p:nvSpPr>
          <p:spPr>
            <a:xfrm>
              <a:off x="6407999" y="4373653"/>
              <a:ext cx="10233" cy="15872"/>
            </a:xfrm>
            <a:custGeom>
              <a:avLst/>
              <a:gdLst/>
              <a:ahLst/>
              <a:cxnLst/>
              <a:rect l="l" t="t" r="r" b="b"/>
              <a:pathLst>
                <a:path w="323" h="501" extrusionOk="0">
                  <a:moveTo>
                    <a:pt x="168" y="0"/>
                  </a:moveTo>
                  <a:cubicBezTo>
                    <a:pt x="72" y="0"/>
                    <a:pt x="1" y="72"/>
                    <a:pt x="1" y="155"/>
                  </a:cubicBezTo>
                  <a:lnTo>
                    <a:pt x="1" y="333"/>
                  </a:lnTo>
                  <a:cubicBezTo>
                    <a:pt x="1" y="429"/>
                    <a:pt x="72" y="500"/>
                    <a:pt x="168" y="500"/>
                  </a:cubicBezTo>
                  <a:cubicBezTo>
                    <a:pt x="251" y="500"/>
                    <a:pt x="322" y="429"/>
                    <a:pt x="322" y="333"/>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7" name="Google Shape;11457;p61"/>
            <p:cNvSpPr/>
            <p:nvPr/>
          </p:nvSpPr>
          <p:spPr>
            <a:xfrm>
              <a:off x="6336719" y="4357053"/>
              <a:ext cx="21162" cy="10201"/>
            </a:xfrm>
            <a:custGeom>
              <a:avLst/>
              <a:gdLst/>
              <a:ahLst/>
              <a:cxnLst/>
              <a:rect l="l" t="t" r="r" b="b"/>
              <a:pathLst>
                <a:path w="668" h="322" extrusionOk="0">
                  <a:moveTo>
                    <a:pt x="167" y="0"/>
                  </a:moveTo>
                  <a:cubicBezTo>
                    <a:pt x="72" y="0"/>
                    <a:pt x="1" y="72"/>
                    <a:pt x="1" y="167"/>
                  </a:cubicBezTo>
                  <a:cubicBezTo>
                    <a:pt x="1" y="250"/>
                    <a:pt x="72" y="322"/>
                    <a:pt x="167" y="322"/>
                  </a:cubicBezTo>
                  <a:lnTo>
                    <a:pt x="513" y="322"/>
                  </a:lnTo>
                  <a:cubicBezTo>
                    <a:pt x="596" y="322"/>
                    <a:pt x="667" y="250"/>
                    <a:pt x="667" y="167"/>
                  </a:cubicBezTo>
                  <a:cubicBezTo>
                    <a:pt x="667" y="72"/>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8" name="Google Shape;11458;p61"/>
            <p:cNvSpPr/>
            <p:nvPr/>
          </p:nvSpPr>
          <p:spPr>
            <a:xfrm>
              <a:off x="6402740" y="4357053"/>
              <a:ext cx="21131" cy="10201"/>
            </a:xfrm>
            <a:custGeom>
              <a:avLst/>
              <a:gdLst/>
              <a:ahLst/>
              <a:cxnLst/>
              <a:rect l="l" t="t" r="r" b="b"/>
              <a:pathLst>
                <a:path w="667" h="322" extrusionOk="0">
                  <a:moveTo>
                    <a:pt x="167" y="0"/>
                  </a:moveTo>
                  <a:cubicBezTo>
                    <a:pt x="72" y="0"/>
                    <a:pt x="0" y="72"/>
                    <a:pt x="0" y="167"/>
                  </a:cubicBezTo>
                  <a:cubicBezTo>
                    <a:pt x="0" y="250"/>
                    <a:pt x="72" y="322"/>
                    <a:pt x="167" y="322"/>
                  </a:cubicBezTo>
                  <a:lnTo>
                    <a:pt x="512" y="322"/>
                  </a:lnTo>
                  <a:cubicBezTo>
                    <a:pt x="596" y="322"/>
                    <a:pt x="667" y="250"/>
                    <a:pt x="667" y="167"/>
                  </a:cubicBezTo>
                  <a:cubicBezTo>
                    <a:pt x="667"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9" name="Google Shape;11459;p61"/>
            <p:cNvSpPr/>
            <p:nvPr/>
          </p:nvSpPr>
          <p:spPr>
            <a:xfrm>
              <a:off x="6243928" y="4263502"/>
              <a:ext cx="274254" cy="350824"/>
            </a:xfrm>
            <a:custGeom>
              <a:avLst/>
              <a:gdLst/>
              <a:ahLst/>
              <a:cxnLst/>
              <a:rect l="l" t="t" r="r" b="b"/>
              <a:pathLst>
                <a:path w="8657" h="11074" extrusionOk="0">
                  <a:moveTo>
                    <a:pt x="1501" y="4406"/>
                  </a:moveTo>
                  <a:cubicBezTo>
                    <a:pt x="1596" y="4453"/>
                    <a:pt x="1691" y="4489"/>
                    <a:pt x="1799" y="4489"/>
                  </a:cubicBezTo>
                  <a:lnTo>
                    <a:pt x="1918" y="4489"/>
                  </a:lnTo>
                  <a:cubicBezTo>
                    <a:pt x="1977" y="4942"/>
                    <a:pt x="2191" y="5382"/>
                    <a:pt x="2489" y="5739"/>
                  </a:cubicBezTo>
                  <a:cubicBezTo>
                    <a:pt x="2584" y="5858"/>
                    <a:pt x="2692" y="5954"/>
                    <a:pt x="2811" y="6049"/>
                  </a:cubicBezTo>
                  <a:cubicBezTo>
                    <a:pt x="2156" y="5977"/>
                    <a:pt x="1620" y="5644"/>
                    <a:pt x="1358" y="5442"/>
                  </a:cubicBezTo>
                  <a:cubicBezTo>
                    <a:pt x="1275" y="5382"/>
                    <a:pt x="1263" y="5287"/>
                    <a:pt x="1298" y="5215"/>
                  </a:cubicBezTo>
                  <a:cubicBezTo>
                    <a:pt x="1370" y="5049"/>
                    <a:pt x="1453" y="4787"/>
                    <a:pt x="1501" y="4406"/>
                  </a:cubicBezTo>
                  <a:close/>
                  <a:moveTo>
                    <a:pt x="7097" y="4394"/>
                  </a:moveTo>
                  <a:cubicBezTo>
                    <a:pt x="7156" y="4787"/>
                    <a:pt x="7252" y="5049"/>
                    <a:pt x="7323" y="5215"/>
                  </a:cubicBezTo>
                  <a:cubicBezTo>
                    <a:pt x="7347" y="5287"/>
                    <a:pt x="7335" y="5394"/>
                    <a:pt x="7264" y="5442"/>
                  </a:cubicBezTo>
                  <a:cubicBezTo>
                    <a:pt x="6990" y="5644"/>
                    <a:pt x="6454" y="5977"/>
                    <a:pt x="5787" y="6049"/>
                  </a:cubicBezTo>
                  <a:cubicBezTo>
                    <a:pt x="5906" y="5942"/>
                    <a:pt x="6025" y="5835"/>
                    <a:pt x="6132" y="5715"/>
                  </a:cubicBezTo>
                  <a:cubicBezTo>
                    <a:pt x="6430" y="5358"/>
                    <a:pt x="6621" y="4930"/>
                    <a:pt x="6692" y="4489"/>
                  </a:cubicBezTo>
                  <a:lnTo>
                    <a:pt x="6787" y="4489"/>
                  </a:lnTo>
                  <a:cubicBezTo>
                    <a:pt x="6906" y="4489"/>
                    <a:pt x="7002" y="4453"/>
                    <a:pt x="7097" y="4394"/>
                  </a:cubicBezTo>
                  <a:close/>
                  <a:moveTo>
                    <a:pt x="4299" y="334"/>
                  </a:moveTo>
                  <a:cubicBezTo>
                    <a:pt x="5835" y="334"/>
                    <a:pt x="7085" y="1584"/>
                    <a:pt x="7085" y="3120"/>
                  </a:cubicBezTo>
                  <a:lnTo>
                    <a:pt x="7085" y="3370"/>
                  </a:lnTo>
                  <a:cubicBezTo>
                    <a:pt x="6990" y="3322"/>
                    <a:pt x="6906" y="3310"/>
                    <a:pt x="6811" y="3310"/>
                  </a:cubicBezTo>
                  <a:lnTo>
                    <a:pt x="6728" y="3310"/>
                  </a:lnTo>
                  <a:cubicBezTo>
                    <a:pt x="6680" y="3310"/>
                    <a:pt x="6632" y="3299"/>
                    <a:pt x="6585" y="3251"/>
                  </a:cubicBezTo>
                  <a:cubicBezTo>
                    <a:pt x="6561" y="3215"/>
                    <a:pt x="6525" y="3179"/>
                    <a:pt x="6525" y="3120"/>
                  </a:cubicBezTo>
                  <a:cubicBezTo>
                    <a:pt x="6525" y="2382"/>
                    <a:pt x="6168" y="1715"/>
                    <a:pt x="5597" y="1286"/>
                  </a:cubicBezTo>
                  <a:cubicBezTo>
                    <a:pt x="5503" y="1224"/>
                    <a:pt x="5373" y="1189"/>
                    <a:pt x="5255" y="1189"/>
                  </a:cubicBezTo>
                  <a:cubicBezTo>
                    <a:pt x="5237" y="1189"/>
                    <a:pt x="5220" y="1190"/>
                    <a:pt x="5204" y="1191"/>
                  </a:cubicBezTo>
                  <a:cubicBezTo>
                    <a:pt x="5073" y="1227"/>
                    <a:pt x="4954" y="1298"/>
                    <a:pt x="4882" y="1417"/>
                  </a:cubicBezTo>
                  <a:cubicBezTo>
                    <a:pt x="4739" y="1608"/>
                    <a:pt x="4525" y="1727"/>
                    <a:pt x="4287" y="1727"/>
                  </a:cubicBezTo>
                  <a:cubicBezTo>
                    <a:pt x="4049" y="1727"/>
                    <a:pt x="3823" y="1608"/>
                    <a:pt x="3692" y="1417"/>
                  </a:cubicBezTo>
                  <a:cubicBezTo>
                    <a:pt x="3608" y="1298"/>
                    <a:pt x="3489" y="1227"/>
                    <a:pt x="3358" y="1191"/>
                  </a:cubicBezTo>
                  <a:cubicBezTo>
                    <a:pt x="3327" y="1185"/>
                    <a:pt x="3296" y="1183"/>
                    <a:pt x="3266" y="1183"/>
                  </a:cubicBezTo>
                  <a:cubicBezTo>
                    <a:pt x="3166" y="1183"/>
                    <a:pt x="3068" y="1214"/>
                    <a:pt x="2977" y="1286"/>
                  </a:cubicBezTo>
                  <a:cubicBezTo>
                    <a:pt x="2858" y="1358"/>
                    <a:pt x="2751" y="1465"/>
                    <a:pt x="2668" y="1548"/>
                  </a:cubicBezTo>
                  <a:cubicBezTo>
                    <a:pt x="2596" y="1608"/>
                    <a:pt x="2596" y="1715"/>
                    <a:pt x="2668" y="1775"/>
                  </a:cubicBezTo>
                  <a:cubicBezTo>
                    <a:pt x="2697" y="1804"/>
                    <a:pt x="2736" y="1819"/>
                    <a:pt x="2775" y="1819"/>
                  </a:cubicBezTo>
                  <a:cubicBezTo>
                    <a:pt x="2814" y="1819"/>
                    <a:pt x="2852" y="1804"/>
                    <a:pt x="2882" y="1775"/>
                  </a:cubicBezTo>
                  <a:cubicBezTo>
                    <a:pt x="2977" y="1691"/>
                    <a:pt x="3061" y="1608"/>
                    <a:pt x="3156" y="1536"/>
                  </a:cubicBezTo>
                  <a:cubicBezTo>
                    <a:pt x="3181" y="1520"/>
                    <a:pt x="3212" y="1503"/>
                    <a:pt x="3245" y="1503"/>
                  </a:cubicBezTo>
                  <a:cubicBezTo>
                    <a:pt x="3259" y="1503"/>
                    <a:pt x="3273" y="1506"/>
                    <a:pt x="3287" y="1513"/>
                  </a:cubicBezTo>
                  <a:cubicBezTo>
                    <a:pt x="3334" y="1524"/>
                    <a:pt x="3382" y="1536"/>
                    <a:pt x="3406" y="1584"/>
                  </a:cubicBezTo>
                  <a:cubicBezTo>
                    <a:pt x="3596" y="1882"/>
                    <a:pt x="3918" y="2048"/>
                    <a:pt x="4275" y="2048"/>
                  </a:cubicBezTo>
                  <a:cubicBezTo>
                    <a:pt x="4608" y="2048"/>
                    <a:pt x="4942" y="1870"/>
                    <a:pt x="5132" y="1584"/>
                  </a:cubicBezTo>
                  <a:cubicBezTo>
                    <a:pt x="5168" y="1536"/>
                    <a:pt x="5192" y="1524"/>
                    <a:pt x="5251" y="1513"/>
                  </a:cubicBezTo>
                  <a:cubicBezTo>
                    <a:pt x="5265" y="1506"/>
                    <a:pt x="5278" y="1503"/>
                    <a:pt x="5291" y="1503"/>
                  </a:cubicBezTo>
                  <a:cubicBezTo>
                    <a:pt x="5321" y="1503"/>
                    <a:pt x="5349" y="1520"/>
                    <a:pt x="5382" y="1536"/>
                  </a:cubicBezTo>
                  <a:cubicBezTo>
                    <a:pt x="5894" y="1894"/>
                    <a:pt x="6192" y="2477"/>
                    <a:pt x="6192" y="3096"/>
                  </a:cubicBezTo>
                  <a:cubicBezTo>
                    <a:pt x="6192" y="3239"/>
                    <a:pt x="6251" y="3370"/>
                    <a:pt x="6335" y="3453"/>
                  </a:cubicBezTo>
                  <a:cubicBezTo>
                    <a:pt x="6430" y="3549"/>
                    <a:pt x="6561" y="3608"/>
                    <a:pt x="6692" y="3608"/>
                  </a:cubicBezTo>
                  <a:lnTo>
                    <a:pt x="6787" y="3608"/>
                  </a:lnTo>
                  <a:cubicBezTo>
                    <a:pt x="6859" y="3608"/>
                    <a:pt x="6930" y="3632"/>
                    <a:pt x="6990" y="3691"/>
                  </a:cubicBezTo>
                  <a:cubicBezTo>
                    <a:pt x="7037" y="3751"/>
                    <a:pt x="7073" y="3834"/>
                    <a:pt x="7073" y="3906"/>
                  </a:cubicBezTo>
                  <a:cubicBezTo>
                    <a:pt x="7049" y="4037"/>
                    <a:pt x="6918" y="4144"/>
                    <a:pt x="6775" y="4144"/>
                  </a:cubicBezTo>
                  <a:lnTo>
                    <a:pt x="6692" y="4144"/>
                  </a:lnTo>
                  <a:lnTo>
                    <a:pt x="6692" y="4156"/>
                  </a:lnTo>
                  <a:cubicBezTo>
                    <a:pt x="6692" y="4072"/>
                    <a:pt x="6621" y="3989"/>
                    <a:pt x="6537" y="3989"/>
                  </a:cubicBezTo>
                  <a:cubicBezTo>
                    <a:pt x="6442" y="3989"/>
                    <a:pt x="6371" y="4072"/>
                    <a:pt x="6371" y="4156"/>
                  </a:cubicBezTo>
                  <a:cubicBezTo>
                    <a:pt x="6371" y="4668"/>
                    <a:pt x="6192" y="5144"/>
                    <a:pt x="5859" y="5513"/>
                  </a:cubicBezTo>
                  <a:cubicBezTo>
                    <a:pt x="5597" y="5823"/>
                    <a:pt x="5251" y="6049"/>
                    <a:pt x="4870" y="6156"/>
                  </a:cubicBezTo>
                  <a:lnTo>
                    <a:pt x="4954" y="5942"/>
                  </a:lnTo>
                  <a:cubicBezTo>
                    <a:pt x="4966" y="5894"/>
                    <a:pt x="4966" y="5835"/>
                    <a:pt x="4942" y="5799"/>
                  </a:cubicBezTo>
                  <a:cubicBezTo>
                    <a:pt x="4906" y="5751"/>
                    <a:pt x="4870" y="5715"/>
                    <a:pt x="4811" y="5715"/>
                  </a:cubicBezTo>
                  <a:lnTo>
                    <a:pt x="3763" y="5715"/>
                  </a:lnTo>
                  <a:cubicBezTo>
                    <a:pt x="3704" y="5715"/>
                    <a:pt x="3656" y="5751"/>
                    <a:pt x="3632" y="5799"/>
                  </a:cubicBezTo>
                  <a:cubicBezTo>
                    <a:pt x="3596" y="5835"/>
                    <a:pt x="3596" y="5894"/>
                    <a:pt x="3620" y="5942"/>
                  </a:cubicBezTo>
                  <a:lnTo>
                    <a:pt x="3704" y="6156"/>
                  </a:lnTo>
                  <a:cubicBezTo>
                    <a:pt x="3346" y="6049"/>
                    <a:pt x="2989" y="5823"/>
                    <a:pt x="2739" y="5525"/>
                  </a:cubicBezTo>
                  <a:cubicBezTo>
                    <a:pt x="2406" y="5144"/>
                    <a:pt x="2227" y="4668"/>
                    <a:pt x="2227" y="4156"/>
                  </a:cubicBezTo>
                  <a:cubicBezTo>
                    <a:pt x="2227" y="4072"/>
                    <a:pt x="2156" y="3989"/>
                    <a:pt x="2072" y="3989"/>
                  </a:cubicBezTo>
                  <a:cubicBezTo>
                    <a:pt x="1977" y="3989"/>
                    <a:pt x="1906" y="4072"/>
                    <a:pt x="1906" y="4156"/>
                  </a:cubicBezTo>
                  <a:lnTo>
                    <a:pt x="1906" y="4168"/>
                  </a:lnTo>
                  <a:lnTo>
                    <a:pt x="1799" y="4168"/>
                  </a:lnTo>
                  <a:cubicBezTo>
                    <a:pt x="1727" y="4168"/>
                    <a:pt x="1656" y="4144"/>
                    <a:pt x="1596" y="4084"/>
                  </a:cubicBezTo>
                  <a:cubicBezTo>
                    <a:pt x="1549" y="4025"/>
                    <a:pt x="1513" y="3953"/>
                    <a:pt x="1513" y="3870"/>
                  </a:cubicBezTo>
                  <a:cubicBezTo>
                    <a:pt x="1525" y="3739"/>
                    <a:pt x="1668" y="3632"/>
                    <a:pt x="1810" y="3632"/>
                  </a:cubicBezTo>
                  <a:lnTo>
                    <a:pt x="1870" y="3632"/>
                  </a:lnTo>
                  <a:cubicBezTo>
                    <a:pt x="2013" y="3632"/>
                    <a:pt x="2144" y="3572"/>
                    <a:pt x="2227" y="3489"/>
                  </a:cubicBezTo>
                  <a:cubicBezTo>
                    <a:pt x="2322" y="3394"/>
                    <a:pt x="2382" y="3263"/>
                    <a:pt x="2382" y="3132"/>
                  </a:cubicBezTo>
                  <a:cubicBezTo>
                    <a:pt x="2382" y="2846"/>
                    <a:pt x="2441" y="2584"/>
                    <a:pt x="2561" y="2322"/>
                  </a:cubicBezTo>
                  <a:cubicBezTo>
                    <a:pt x="2608" y="2251"/>
                    <a:pt x="2561" y="2144"/>
                    <a:pt x="2489" y="2120"/>
                  </a:cubicBezTo>
                  <a:cubicBezTo>
                    <a:pt x="2466" y="2107"/>
                    <a:pt x="2442" y="2101"/>
                    <a:pt x="2418" y="2101"/>
                  </a:cubicBezTo>
                  <a:cubicBezTo>
                    <a:pt x="2357" y="2101"/>
                    <a:pt x="2301" y="2140"/>
                    <a:pt x="2275" y="2191"/>
                  </a:cubicBezTo>
                  <a:cubicBezTo>
                    <a:pt x="2144" y="2489"/>
                    <a:pt x="2072" y="2798"/>
                    <a:pt x="2072" y="3132"/>
                  </a:cubicBezTo>
                  <a:cubicBezTo>
                    <a:pt x="2072" y="3179"/>
                    <a:pt x="2049" y="3215"/>
                    <a:pt x="2001" y="3263"/>
                  </a:cubicBezTo>
                  <a:cubicBezTo>
                    <a:pt x="1977" y="3299"/>
                    <a:pt x="1930" y="3322"/>
                    <a:pt x="1870" y="3322"/>
                  </a:cubicBezTo>
                  <a:lnTo>
                    <a:pt x="1810" y="3322"/>
                  </a:lnTo>
                  <a:cubicBezTo>
                    <a:pt x="1703" y="3322"/>
                    <a:pt x="1608" y="3358"/>
                    <a:pt x="1513" y="3394"/>
                  </a:cubicBezTo>
                  <a:lnTo>
                    <a:pt x="1513" y="3120"/>
                  </a:lnTo>
                  <a:cubicBezTo>
                    <a:pt x="1513" y="1584"/>
                    <a:pt x="2763" y="334"/>
                    <a:pt x="4299" y="334"/>
                  </a:cubicBezTo>
                  <a:close/>
                  <a:moveTo>
                    <a:pt x="4585" y="6049"/>
                  </a:moveTo>
                  <a:lnTo>
                    <a:pt x="4394" y="6525"/>
                  </a:lnTo>
                  <a:cubicBezTo>
                    <a:pt x="4370" y="6549"/>
                    <a:pt x="4346" y="6585"/>
                    <a:pt x="4299" y="6585"/>
                  </a:cubicBezTo>
                  <a:cubicBezTo>
                    <a:pt x="4251" y="6585"/>
                    <a:pt x="4227" y="6549"/>
                    <a:pt x="4216" y="6525"/>
                  </a:cubicBezTo>
                  <a:lnTo>
                    <a:pt x="4013" y="6049"/>
                  </a:lnTo>
                  <a:close/>
                  <a:moveTo>
                    <a:pt x="2822" y="7001"/>
                  </a:moveTo>
                  <a:lnTo>
                    <a:pt x="4013" y="7668"/>
                  </a:lnTo>
                  <a:lnTo>
                    <a:pt x="3156" y="8394"/>
                  </a:lnTo>
                  <a:lnTo>
                    <a:pt x="3144" y="8394"/>
                  </a:lnTo>
                  <a:lnTo>
                    <a:pt x="2584" y="7442"/>
                  </a:lnTo>
                  <a:lnTo>
                    <a:pt x="2811" y="7001"/>
                  </a:lnTo>
                  <a:close/>
                  <a:moveTo>
                    <a:pt x="5335" y="6347"/>
                  </a:moveTo>
                  <a:lnTo>
                    <a:pt x="5335" y="6870"/>
                  </a:lnTo>
                  <a:lnTo>
                    <a:pt x="5144" y="6966"/>
                  </a:lnTo>
                  <a:cubicBezTo>
                    <a:pt x="5073" y="7013"/>
                    <a:pt x="5037" y="7120"/>
                    <a:pt x="5085" y="7192"/>
                  </a:cubicBezTo>
                  <a:cubicBezTo>
                    <a:pt x="5117" y="7241"/>
                    <a:pt x="5178" y="7273"/>
                    <a:pt x="5236" y="7273"/>
                  </a:cubicBezTo>
                  <a:cubicBezTo>
                    <a:pt x="5263" y="7273"/>
                    <a:pt x="5288" y="7266"/>
                    <a:pt x="5311" y="7251"/>
                  </a:cubicBezTo>
                  <a:lnTo>
                    <a:pt x="5775" y="7001"/>
                  </a:lnTo>
                  <a:lnTo>
                    <a:pt x="5787" y="7001"/>
                  </a:lnTo>
                  <a:lnTo>
                    <a:pt x="6013" y="7442"/>
                  </a:lnTo>
                  <a:lnTo>
                    <a:pt x="5489" y="8394"/>
                  </a:lnTo>
                  <a:lnTo>
                    <a:pt x="5478" y="8394"/>
                  </a:lnTo>
                  <a:lnTo>
                    <a:pt x="4597" y="7656"/>
                  </a:lnTo>
                  <a:lnTo>
                    <a:pt x="4751" y="7585"/>
                  </a:lnTo>
                  <a:cubicBezTo>
                    <a:pt x="4823" y="7537"/>
                    <a:pt x="4847" y="7430"/>
                    <a:pt x="4811" y="7359"/>
                  </a:cubicBezTo>
                  <a:cubicBezTo>
                    <a:pt x="4778" y="7310"/>
                    <a:pt x="4717" y="7277"/>
                    <a:pt x="4659" y="7277"/>
                  </a:cubicBezTo>
                  <a:cubicBezTo>
                    <a:pt x="4633" y="7277"/>
                    <a:pt x="4607" y="7284"/>
                    <a:pt x="4585" y="7299"/>
                  </a:cubicBezTo>
                  <a:lnTo>
                    <a:pt x="4311" y="7442"/>
                  </a:lnTo>
                  <a:lnTo>
                    <a:pt x="3263" y="6870"/>
                  </a:lnTo>
                  <a:lnTo>
                    <a:pt x="3263" y="6347"/>
                  </a:lnTo>
                  <a:cubicBezTo>
                    <a:pt x="3454" y="6430"/>
                    <a:pt x="3656" y="6513"/>
                    <a:pt x="3870" y="6537"/>
                  </a:cubicBezTo>
                  <a:lnTo>
                    <a:pt x="3918" y="6656"/>
                  </a:lnTo>
                  <a:cubicBezTo>
                    <a:pt x="3977" y="6823"/>
                    <a:pt x="4132" y="6918"/>
                    <a:pt x="4299" y="6918"/>
                  </a:cubicBezTo>
                  <a:cubicBezTo>
                    <a:pt x="4477" y="6918"/>
                    <a:pt x="4632" y="6823"/>
                    <a:pt x="4680" y="6656"/>
                  </a:cubicBezTo>
                  <a:lnTo>
                    <a:pt x="4727" y="6537"/>
                  </a:lnTo>
                  <a:cubicBezTo>
                    <a:pt x="4942" y="6489"/>
                    <a:pt x="5144" y="6430"/>
                    <a:pt x="5335" y="6347"/>
                  </a:cubicBezTo>
                  <a:close/>
                  <a:moveTo>
                    <a:pt x="4311" y="0"/>
                  </a:moveTo>
                  <a:cubicBezTo>
                    <a:pt x="2608" y="0"/>
                    <a:pt x="1203" y="1405"/>
                    <a:pt x="1203" y="3120"/>
                  </a:cubicBezTo>
                  <a:lnTo>
                    <a:pt x="1203" y="3977"/>
                  </a:lnTo>
                  <a:cubicBezTo>
                    <a:pt x="1203" y="4525"/>
                    <a:pt x="1096" y="4870"/>
                    <a:pt x="1013" y="5084"/>
                  </a:cubicBezTo>
                  <a:cubicBezTo>
                    <a:pt x="906" y="5299"/>
                    <a:pt x="965" y="5561"/>
                    <a:pt x="1156" y="5704"/>
                  </a:cubicBezTo>
                  <a:cubicBezTo>
                    <a:pt x="1489" y="5942"/>
                    <a:pt x="2132" y="6347"/>
                    <a:pt x="2930" y="6406"/>
                  </a:cubicBezTo>
                  <a:lnTo>
                    <a:pt x="2930" y="6692"/>
                  </a:lnTo>
                  <a:cubicBezTo>
                    <a:pt x="2894" y="6674"/>
                    <a:pt x="2861" y="6665"/>
                    <a:pt x="2828" y="6665"/>
                  </a:cubicBezTo>
                  <a:cubicBezTo>
                    <a:pt x="2796" y="6665"/>
                    <a:pt x="2763" y="6674"/>
                    <a:pt x="2727" y="6692"/>
                  </a:cubicBezTo>
                  <a:cubicBezTo>
                    <a:pt x="2632" y="6716"/>
                    <a:pt x="2561" y="6775"/>
                    <a:pt x="2525" y="6847"/>
                  </a:cubicBezTo>
                  <a:lnTo>
                    <a:pt x="2275" y="7359"/>
                  </a:lnTo>
                  <a:lnTo>
                    <a:pt x="858" y="7775"/>
                  </a:lnTo>
                  <a:cubicBezTo>
                    <a:pt x="358" y="7918"/>
                    <a:pt x="1" y="8394"/>
                    <a:pt x="1" y="8918"/>
                  </a:cubicBezTo>
                  <a:lnTo>
                    <a:pt x="1" y="10919"/>
                  </a:lnTo>
                  <a:cubicBezTo>
                    <a:pt x="1" y="11002"/>
                    <a:pt x="72" y="11073"/>
                    <a:pt x="167" y="11073"/>
                  </a:cubicBezTo>
                  <a:cubicBezTo>
                    <a:pt x="251" y="11073"/>
                    <a:pt x="322" y="11002"/>
                    <a:pt x="322" y="10919"/>
                  </a:cubicBezTo>
                  <a:lnTo>
                    <a:pt x="322" y="8918"/>
                  </a:lnTo>
                  <a:cubicBezTo>
                    <a:pt x="322" y="8752"/>
                    <a:pt x="370" y="8609"/>
                    <a:pt x="441" y="8478"/>
                  </a:cubicBezTo>
                  <a:lnTo>
                    <a:pt x="1370" y="9264"/>
                  </a:lnTo>
                  <a:cubicBezTo>
                    <a:pt x="1489" y="9371"/>
                    <a:pt x="1549" y="9514"/>
                    <a:pt x="1549" y="9668"/>
                  </a:cubicBezTo>
                  <a:lnTo>
                    <a:pt x="1549" y="10895"/>
                  </a:lnTo>
                  <a:cubicBezTo>
                    <a:pt x="1549" y="10990"/>
                    <a:pt x="1620" y="11061"/>
                    <a:pt x="1703" y="11061"/>
                  </a:cubicBezTo>
                  <a:cubicBezTo>
                    <a:pt x="1799" y="11061"/>
                    <a:pt x="1870" y="10990"/>
                    <a:pt x="1870" y="10895"/>
                  </a:cubicBezTo>
                  <a:lnTo>
                    <a:pt x="1870" y="9668"/>
                  </a:lnTo>
                  <a:cubicBezTo>
                    <a:pt x="1870" y="9406"/>
                    <a:pt x="1763" y="9168"/>
                    <a:pt x="1572" y="9014"/>
                  </a:cubicBezTo>
                  <a:lnTo>
                    <a:pt x="656" y="8216"/>
                  </a:lnTo>
                  <a:cubicBezTo>
                    <a:pt x="739" y="8144"/>
                    <a:pt x="834" y="8097"/>
                    <a:pt x="953" y="8073"/>
                  </a:cubicBezTo>
                  <a:lnTo>
                    <a:pt x="2346" y="7656"/>
                  </a:lnTo>
                  <a:lnTo>
                    <a:pt x="2858" y="8549"/>
                  </a:lnTo>
                  <a:cubicBezTo>
                    <a:pt x="2894" y="8633"/>
                    <a:pt x="2989" y="8692"/>
                    <a:pt x="3096" y="8716"/>
                  </a:cubicBezTo>
                  <a:lnTo>
                    <a:pt x="3156" y="8716"/>
                  </a:lnTo>
                  <a:cubicBezTo>
                    <a:pt x="3227" y="8716"/>
                    <a:pt x="3311" y="8680"/>
                    <a:pt x="3382" y="8633"/>
                  </a:cubicBezTo>
                  <a:lnTo>
                    <a:pt x="4335" y="7823"/>
                  </a:lnTo>
                  <a:lnTo>
                    <a:pt x="5287" y="8633"/>
                  </a:lnTo>
                  <a:cubicBezTo>
                    <a:pt x="5347" y="8692"/>
                    <a:pt x="5418" y="8716"/>
                    <a:pt x="5501" y="8716"/>
                  </a:cubicBezTo>
                  <a:lnTo>
                    <a:pt x="5561" y="8716"/>
                  </a:lnTo>
                  <a:cubicBezTo>
                    <a:pt x="5668" y="8692"/>
                    <a:pt x="5740" y="8633"/>
                    <a:pt x="5799" y="8549"/>
                  </a:cubicBezTo>
                  <a:lnTo>
                    <a:pt x="6311" y="7656"/>
                  </a:lnTo>
                  <a:lnTo>
                    <a:pt x="7704" y="8073"/>
                  </a:lnTo>
                  <a:cubicBezTo>
                    <a:pt x="7811" y="8097"/>
                    <a:pt x="7918" y="8156"/>
                    <a:pt x="8002" y="8216"/>
                  </a:cubicBezTo>
                  <a:lnTo>
                    <a:pt x="7085" y="9014"/>
                  </a:lnTo>
                  <a:cubicBezTo>
                    <a:pt x="6894" y="9168"/>
                    <a:pt x="6787" y="9406"/>
                    <a:pt x="6787" y="9668"/>
                  </a:cubicBezTo>
                  <a:lnTo>
                    <a:pt x="6787" y="10895"/>
                  </a:lnTo>
                  <a:cubicBezTo>
                    <a:pt x="6787" y="10990"/>
                    <a:pt x="6859" y="11061"/>
                    <a:pt x="6954" y="11061"/>
                  </a:cubicBezTo>
                  <a:cubicBezTo>
                    <a:pt x="7037" y="11061"/>
                    <a:pt x="7109" y="10990"/>
                    <a:pt x="7109" y="10895"/>
                  </a:cubicBezTo>
                  <a:lnTo>
                    <a:pt x="7109" y="9668"/>
                  </a:lnTo>
                  <a:cubicBezTo>
                    <a:pt x="7109" y="9514"/>
                    <a:pt x="7192" y="9371"/>
                    <a:pt x="7287" y="9264"/>
                  </a:cubicBezTo>
                  <a:lnTo>
                    <a:pt x="8216" y="8478"/>
                  </a:lnTo>
                  <a:cubicBezTo>
                    <a:pt x="8287" y="8609"/>
                    <a:pt x="8335" y="8752"/>
                    <a:pt x="8335" y="8918"/>
                  </a:cubicBezTo>
                  <a:lnTo>
                    <a:pt x="8335" y="10919"/>
                  </a:lnTo>
                  <a:cubicBezTo>
                    <a:pt x="8335" y="11002"/>
                    <a:pt x="8407" y="11073"/>
                    <a:pt x="8502" y="11073"/>
                  </a:cubicBezTo>
                  <a:cubicBezTo>
                    <a:pt x="8585" y="11073"/>
                    <a:pt x="8657" y="11002"/>
                    <a:pt x="8657" y="10919"/>
                  </a:cubicBezTo>
                  <a:lnTo>
                    <a:pt x="8657" y="8918"/>
                  </a:lnTo>
                  <a:cubicBezTo>
                    <a:pt x="8633" y="8382"/>
                    <a:pt x="8276" y="7906"/>
                    <a:pt x="7764" y="7763"/>
                  </a:cubicBezTo>
                  <a:lnTo>
                    <a:pt x="6359" y="7347"/>
                  </a:lnTo>
                  <a:lnTo>
                    <a:pt x="6097" y="6835"/>
                  </a:lnTo>
                  <a:cubicBezTo>
                    <a:pt x="6061" y="6763"/>
                    <a:pt x="5978" y="6692"/>
                    <a:pt x="5906" y="6668"/>
                  </a:cubicBezTo>
                  <a:cubicBezTo>
                    <a:pt x="5870" y="6662"/>
                    <a:pt x="5835" y="6659"/>
                    <a:pt x="5801" y="6659"/>
                  </a:cubicBezTo>
                  <a:cubicBezTo>
                    <a:pt x="5766" y="6659"/>
                    <a:pt x="5734" y="6662"/>
                    <a:pt x="5704" y="6668"/>
                  </a:cubicBezTo>
                  <a:lnTo>
                    <a:pt x="5704" y="6394"/>
                  </a:lnTo>
                  <a:cubicBezTo>
                    <a:pt x="6502" y="6347"/>
                    <a:pt x="7156" y="5942"/>
                    <a:pt x="7466" y="5692"/>
                  </a:cubicBezTo>
                  <a:cubicBezTo>
                    <a:pt x="7668" y="5537"/>
                    <a:pt x="7728" y="5287"/>
                    <a:pt x="7621" y="5061"/>
                  </a:cubicBezTo>
                  <a:cubicBezTo>
                    <a:pt x="7525" y="4870"/>
                    <a:pt x="7430" y="4513"/>
                    <a:pt x="7430" y="3965"/>
                  </a:cubicBezTo>
                  <a:lnTo>
                    <a:pt x="7430" y="3120"/>
                  </a:lnTo>
                  <a:cubicBezTo>
                    <a:pt x="7430" y="1405"/>
                    <a:pt x="6025" y="0"/>
                    <a:pt x="4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0" name="Google Shape;11460;p61"/>
            <p:cNvSpPr/>
            <p:nvPr/>
          </p:nvSpPr>
          <p:spPr>
            <a:xfrm>
              <a:off x="6375559" y="4549033"/>
              <a:ext cx="10233" cy="10201"/>
            </a:xfrm>
            <a:custGeom>
              <a:avLst/>
              <a:gdLst/>
              <a:ahLst/>
              <a:cxnLst/>
              <a:rect l="l" t="t" r="r" b="b"/>
              <a:pathLst>
                <a:path w="323" h="322" extrusionOk="0">
                  <a:moveTo>
                    <a:pt x="156" y="1"/>
                  </a:moveTo>
                  <a:cubicBezTo>
                    <a:pt x="72" y="1"/>
                    <a:pt x="1" y="72"/>
                    <a:pt x="1" y="155"/>
                  </a:cubicBezTo>
                  <a:cubicBezTo>
                    <a:pt x="1" y="251"/>
                    <a:pt x="72" y="322"/>
                    <a:pt x="156" y="322"/>
                  </a:cubicBezTo>
                  <a:cubicBezTo>
                    <a:pt x="251" y="322"/>
                    <a:pt x="322" y="251"/>
                    <a:pt x="322" y="155"/>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1" name="Google Shape;11461;p61"/>
            <p:cNvSpPr/>
            <p:nvPr/>
          </p:nvSpPr>
          <p:spPr>
            <a:xfrm>
              <a:off x="6375559" y="4587493"/>
              <a:ext cx="10233" cy="10613"/>
            </a:xfrm>
            <a:custGeom>
              <a:avLst/>
              <a:gdLst/>
              <a:ahLst/>
              <a:cxnLst/>
              <a:rect l="l" t="t" r="r" b="b"/>
              <a:pathLst>
                <a:path w="323" h="335" extrusionOk="0">
                  <a:moveTo>
                    <a:pt x="156" y="1"/>
                  </a:moveTo>
                  <a:cubicBezTo>
                    <a:pt x="72" y="1"/>
                    <a:pt x="1" y="72"/>
                    <a:pt x="1" y="168"/>
                  </a:cubicBezTo>
                  <a:cubicBezTo>
                    <a:pt x="1" y="251"/>
                    <a:pt x="72" y="334"/>
                    <a:pt x="156" y="334"/>
                  </a:cubicBezTo>
                  <a:cubicBezTo>
                    <a:pt x="251" y="334"/>
                    <a:pt x="322" y="251"/>
                    <a:pt x="322" y="168"/>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2" name="Google Shape;11462;p61"/>
            <p:cNvSpPr/>
            <p:nvPr/>
          </p:nvSpPr>
          <p:spPr>
            <a:xfrm>
              <a:off x="6342009" y="4406442"/>
              <a:ext cx="76222" cy="32472"/>
            </a:xfrm>
            <a:custGeom>
              <a:avLst/>
              <a:gdLst/>
              <a:ahLst/>
              <a:cxnLst/>
              <a:rect l="l" t="t" r="r" b="b"/>
              <a:pathLst>
                <a:path w="2406" h="1025" extrusionOk="0">
                  <a:moveTo>
                    <a:pt x="1012" y="334"/>
                  </a:moveTo>
                  <a:cubicBezTo>
                    <a:pt x="953" y="430"/>
                    <a:pt x="834" y="525"/>
                    <a:pt x="703" y="525"/>
                  </a:cubicBezTo>
                  <a:lnTo>
                    <a:pt x="381" y="525"/>
                  </a:lnTo>
                  <a:cubicBezTo>
                    <a:pt x="441" y="406"/>
                    <a:pt x="560" y="334"/>
                    <a:pt x="703" y="334"/>
                  </a:cubicBezTo>
                  <a:close/>
                  <a:moveTo>
                    <a:pt x="1727" y="334"/>
                  </a:moveTo>
                  <a:cubicBezTo>
                    <a:pt x="1858" y="334"/>
                    <a:pt x="1977" y="406"/>
                    <a:pt x="2036" y="525"/>
                  </a:cubicBezTo>
                  <a:lnTo>
                    <a:pt x="1727" y="525"/>
                  </a:lnTo>
                  <a:cubicBezTo>
                    <a:pt x="1584" y="525"/>
                    <a:pt x="1477" y="453"/>
                    <a:pt x="1417" y="334"/>
                  </a:cubicBezTo>
                  <a:close/>
                  <a:moveTo>
                    <a:pt x="679" y="1"/>
                  </a:moveTo>
                  <a:cubicBezTo>
                    <a:pt x="310" y="1"/>
                    <a:pt x="0" y="311"/>
                    <a:pt x="0" y="692"/>
                  </a:cubicBezTo>
                  <a:lnTo>
                    <a:pt x="0" y="870"/>
                  </a:lnTo>
                  <a:cubicBezTo>
                    <a:pt x="0" y="953"/>
                    <a:pt x="72" y="1025"/>
                    <a:pt x="167" y="1025"/>
                  </a:cubicBezTo>
                  <a:cubicBezTo>
                    <a:pt x="250" y="1025"/>
                    <a:pt x="322" y="953"/>
                    <a:pt x="322" y="870"/>
                  </a:cubicBezTo>
                  <a:lnTo>
                    <a:pt x="322" y="846"/>
                  </a:lnTo>
                  <a:lnTo>
                    <a:pt x="679" y="846"/>
                  </a:lnTo>
                  <a:cubicBezTo>
                    <a:pt x="893" y="846"/>
                    <a:pt x="1084" y="763"/>
                    <a:pt x="1203" y="608"/>
                  </a:cubicBezTo>
                  <a:cubicBezTo>
                    <a:pt x="1322" y="763"/>
                    <a:pt x="1512" y="846"/>
                    <a:pt x="1727" y="846"/>
                  </a:cubicBezTo>
                  <a:lnTo>
                    <a:pt x="2084" y="846"/>
                  </a:lnTo>
                  <a:lnTo>
                    <a:pt x="2084" y="870"/>
                  </a:lnTo>
                  <a:cubicBezTo>
                    <a:pt x="2084" y="953"/>
                    <a:pt x="2155" y="1025"/>
                    <a:pt x="2251" y="1025"/>
                  </a:cubicBezTo>
                  <a:cubicBezTo>
                    <a:pt x="2334" y="1025"/>
                    <a:pt x="2405" y="953"/>
                    <a:pt x="2405" y="870"/>
                  </a:cubicBezTo>
                  <a:lnTo>
                    <a:pt x="2405" y="692"/>
                  </a:lnTo>
                  <a:cubicBezTo>
                    <a:pt x="2405" y="299"/>
                    <a:pt x="2108"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3" name="Google Shape;11463;p61"/>
          <p:cNvGrpSpPr/>
          <p:nvPr/>
        </p:nvGrpSpPr>
        <p:grpSpPr>
          <a:xfrm>
            <a:off x="3560600" y="3763338"/>
            <a:ext cx="352345" cy="363655"/>
            <a:chOff x="3560600" y="3763338"/>
            <a:chExt cx="352345" cy="363655"/>
          </a:xfrm>
        </p:grpSpPr>
        <p:sp>
          <p:nvSpPr>
            <p:cNvPr id="11464" name="Google Shape;11464;p61"/>
            <p:cNvSpPr/>
            <p:nvPr/>
          </p:nvSpPr>
          <p:spPr>
            <a:xfrm>
              <a:off x="3665841" y="3763338"/>
              <a:ext cx="143352" cy="173543"/>
            </a:xfrm>
            <a:custGeom>
              <a:avLst/>
              <a:gdLst/>
              <a:ahLst/>
              <a:cxnLst/>
              <a:rect l="l" t="t" r="r" b="b"/>
              <a:pathLst>
                <a:path w="4525" h="5478" extrusionOk="0">
                  <a:moveTo>
                    <a:pt x="2251" y="1"/>
                  </a:moveTo>
                  <a:cubicBezTo>
                    <a:pt x="1691" y="1"/>
                    <a:pt x="1179" y="191"/>
                    <a:pt x="774" y="549"/>
                  </a:cubicBezTo>
                  <a:cubicBezTo>
                    <a:pt x="370" y="906"/>
                    <a:pt x="108" y="1382"/>
                    <a:pt x="12" y="1918"/>
                  </a:cubicBezTo>
                  <a:cubicBezTo>
                    <a:pt x="0" y="2013"/>
                    <a:pt x="60" y="2096"/>
                    <a:pt x="143" y="2120"/>
                  </a:cubicBezTo>
                  <a:cubicBezTo>
                    <a:pt x="151" y="2121"/>
                    <a:pt x="159" y="2122"/>
                    <a:pt x="167" y="2122"/>
                  </a:cubicBezTo>
                  <a:cubicBezTo>
                    <a:pt x="252" y="2122"/>
                    <a:pt x="324" y="2064"/>
                    <a:pt x="346" y="1977"/>
                  </a:cubicBezTo>
                  <a:cubicBezTo>
                    <a:pt x="477" y="1049"/>
                    <a:pt x="1286" y="346"/>
                    <a:pt x="2239" y="346"/>
                  </a:cubicBezTo>
                  <a:cubicBezTo>
                    <a:pt x="3299" y="346"/>
                    <a:pt x="4168" y="1203"/>
                    <a:pt x="4168" y="2263"/>
                  </a:cubicBezTo>
                  <a:cubicBezTo>
                    <a:pt x="4168" y="3096"/>
                    <a:pt x="3632" y="3847"/>
                    <a:pt x="2822" y="4097"/>
                  </a:cubicBezTo>
                  <a:cubicBezTo>
                    <a:pt x="2775" y="4108"/>
                    <a:pt x="2751" y="4144"/>
                    <a:pt x="2739" y="4168"/>
                  </a:cubicBezTo>
                  <a:lnTo>
                    <a:pt x="2239" y="4990"/>
                  </a:lnTo>
                  <a:lnTo>
                    <a:pt x="1751" y="4168"/>
                  </a:lnTo>
                  <a:cubicBezTo>
                    <a:pt x="1739" y="4144"/>
                    <a:pt x="1691" y="4108"/>
                    <a:pt x="1667" y="4097"/>
                  </a:cubicBezTo>
                  <a:cubicBezTo>
                    <a:pt x="977" y="3870"/>
                    <a:pt x="477" y="3287"/>
                    <a:pt x="358" y="2573"/>
                  </a:cubicBezTo>
                  <a:cubicBezTo>
                    <a:pt x="347" y="2496"/>
                    <a:pt x="266" y="2440"/>
                    <a:pt x="189" y="2440"/>
                  </a:cubicBezTo>
                  <a:cubicBezTo>
                    <a:pt x="182" y="2440"/>
                    <a:pt x="174" y="2441"/>
                    <a:pt x="167" y="2442"/>
                  </a:cubicBezTo>
                  <a:cubicBezTo>
                    <a:pt x="72" y="2454"/>
                    <a:pt x="12" y="2549"/>
                    <a:pt x="24" y="2632"/>
                  </a:cubicBezTo>
                  <a:cubicBezTo>
                    <a:pt x="108" y="3049"/>
                    <a:pt x="286" y="3418"/>
                    <a:pt x="548" y="3739"/>
                  </a:cubicBezTo>
                  <a:cubicBezTo>
                    <a:pt x="798" y="4037"/>
                    <a:pt x="1132" y="4251"/>
                    <a:pt x="1501" y="4394"/>
                  </a:cubicBezTo>
                  <a:lnTo>
                    <a:pt x="2108" y="5406"/>
                  </a:lnTo>
                  <a:cubicBezTo>
                    <a:pt x="2144" y="5442"/>
                    <a:pt x="2203" y="5478"/>
                    <a:pt x="2263" y="5478"/>
                  </a:cubicBezTo>
                  <a:cubicBezTo>
                    <a:pt x="2322" y="5478"/>
                    <a:pt x="2382" y="5442"/>
                    <a:pt x="2406" y="5406"/>
                  </a:cubicBezTo>
                  <a:lnTo>
                    <a:pt x="3025" y="4394"/>
                  </a:lnTo>
                  <a:cubicBezTo>
                    <a:pt x="3930" y="4073"/>
                    <a:pt x="4525" y="3227"/>
                    <a:pt x="4525" y="2263"/>
                  </a:cubicBezTo>
                  <a:cubicBezTo>
                    <a:pt x="4489" y="1013"/>
                    <a:pt x="3477" y="1"/>
                    <a:pt x="2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5" name="Google Shape;11465;p61"/>
            <p:cNvSpPr/>
            <p:nvPr/>
          </p:nvSpPr>
          <p:spPr>
            <a:xfrm>
              <a:off x="3696761" y="3794099"/>
              <a:ext cx="82653" cy="78661"/>
            </a:xfrm>
            <a:custGeom>
              <a:avLst/>
              <a:gdLst/>
              <a:ahLst/>
              <a:cxnLst/>
              <a:rect l="l" t="t" r="r" b="b"/>
              <a:pathLst>
                <a:path w="2609" h="2483" extrusionOk="0">
                  <a:moveTo>
                    <a:pt x="1584" y="328"/>
                  </a:moveTo>
                  <a:cubicBezTo>
                    <a:pt x="1727" y="328"/>
                    <a:pt x="1882" y="387"/>
                    <a:pt x="2001" y="506"/>
                  </a:cubicBezTo>
                  <a:cubicBezTo>
                    <a:pt x="2239" y="732"/>
                    <a:pt x="2239" y="1102"/>
                    <a:pt x="2001" y="1340"/>
                  </a:cubicBezTo>
                  <a:cubicBezTo>
                    <a:pt x="1888" y="1453"/>
                    <a:pt x="1736" y="1509"/>
                    <a:pt x="1584" y="1509"/>
                  </a:cubicBezTo>
                  <a:cubicBezTo>
                    <a:pt x="1433" y="1509"/>
                    <a:pt x="1281" y="1453"/>
                    <a:pt x="1168" y="1340"/>
                  </a:cubicBezTo>
                  <a:cubicBezTo>
                    <a:pt x="941" y="1113"/>
                    <a:pt x="941" y="732"/>
                    <a:pt x="1168" y="506"/>
                  </a:cubicBezTo>
                  <a:cubicBezTo>
                    <a:pt x="1287" y="387"/>
                    <a:pt x="1430" y="328"/>
                    <a:pt x="1584" y="328"/>
                  </a:cubicBezTo>
                  <a:close/>
                  <a:moveTo>
                    <a:pt x="1584" y="0"/>
                  </a:moveTo>
                  <a:cubicBezTo>
                    <a:pt x="1346" y="0"/>
                    <a:pt x="1108" y="89"/>
                    <a:pt x="929" y="268"/>
                  </a:cubicBezTo>
                  <a:cubicBezTo>
                    <a:pt x="596" y="590"/>
                    <a:pt x="572" y="1090"/>
                    <a:pt x="822" y="1447"/>
                  </a:cubicBezTo>
                  <a:lnTo>
                    <a:pt x="60" y="2197"/>
                  </a:lnTo>
                  <a:cubicBezTo>
                    <a:pt x="1" y="2256"/>
                    <a:pt x="1" y="2375"/>
                    <a:pt x="60" y="2435"/>
                  </a:cubicBezTo>
                  <a:cubicBezTo>
                    <a:pt x="96" y="2471"/>
                    <a:pt x="144" y="2483"/>
                    <a:pt x="179" y="2483"/>
                  </a:cubicBezTo>
                  <a:cubicBezTo>
                    <a:pt x="227" y="2483"/>
                    <a:pt x="275" y="2471"/>
                    <a:pt x="298" y="2435"/>
                  </a:cubicBezTo>
                  <a:lnTo>
                    <a:pt x="1060" y="1685"/>
                  </a:lnTo>
                  <a:cubicBezTo>
                    <a:pt x="1227" y="1780"/>
                    <a:pt x="1406" y="1840"/>
                    <a:pt x="1584" y="1840"/>
                  </a:cubicBezTo>
                  <a:cubicBezTo>
                    <a:pt x="1822" y="1840"/>
                    <a:pt x="2061" y="1756"/>
                    <a:pt x="2239" y="1578"/>
                  </a:cubicBezTo>
                  <a:cubicBezTo>
                    <a:pt x="2608" y="1209"/>
                    <a:pt x="2608" y="625"/>
                    <a:pt x="2239" y="268"/>
                  </a:cubicBezTo>
                  <a:cubicBezTo>
                    <a:pt x="2061" y="89"/>
                    <a:pt x="1822" y="0"/>
                    <a:pt x="1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6" name="Google Shape;11466;p61"/>
            <p:cNvSpPr/>
            <p:nvPr/>
          </p:nvSpPr>
          <p:spPr>
            <a:xfrm>
              <a:off x="3560600" y="3916574"/>
              <a:ext cx="352345" cy="210419"/>
            </a:xfrm>
            <a:custGeom>
              <a:avLst/>
              <a:gdLst/>
              <a:ahLst/>
              <a:cxnLst/>
              <a:rect l="l" t="t" r="r" b="b"/>
              <a:pathLst>
                <a:path w="11122" h="6642" extrusionOk="0">
                  <a:moveTo>
                    <a:pt x="3037" y="391"/>
                  </a:moveTo>
                  <a:lnTo>
                    <a:pt x="5394" y="1176"/>
                  </a:lnTo>
                  <a:lnTo>
                    <a:pt x="5394" y="1296"/>
                  </a:lnTo>
                  <a:lnTo>
                    <a:pt x="3037" y="510"/>
                  </a:lnTo>
                  <a:lnTo>
                    <a:pt x="3037" y="391"/>
                  </a:lnTo>
                  <a:close/>
                  <a:moveTo>
                    <a:pt x="8085" y="391"/>
                  </a:moveTo>
                  <a:lnTo>
                    <a:pt x="8085" y="510"/>
                  </a:lnTo>
                  <a:lnTo>
                    <a:pt x="5728" y="1296"/>
                  </a:lnTo>
                  <a:lnTo>
                    <a:pt x="5728" y="1176"/>
                  </a:lnTo>
                  <a:lnTo>
                    <a:pt x="8085" y="391"/>
                  </a:lnTo>
                  <a:close/>
                  <a:moveTo>
                    <a:pt x="2691" y="855"/>
                  </a:moveTo>
                  <a:lnTo>
                    <a:pt x="2691" y="4975"/>
                  </a:lnTo>
                  <a:lnTo>
                    <a:pt x="2680" y="4975"/>
                  </a:lnTo>
                  <a:lnTo>
                    <a:pt x="786" y="5594"/>
                  </a:lnTo>
                  <a:lnTo>
                    <a:pt x="786" y="1486"/>
                  </a:lnTo>
                  <a:lnTo>
                    <a:pt x="2691" y="855"/>
                  </a:lnTo>
                  <a:close/>
                  <a:moveTo>
                    <a:pt x="8085" y="867"/>
                  </a:moveTo>
                  <a:lnTo>
                    <a:pt x="8085" y="4975"/>
                  </a:lnTo>
                  <a:lnTo>
                    <a:pt x="8049" y="4975"/>
                  </a:lnTo>
                  <a:lnTo>
                    <a:pt x="5728" y="5748"/>
                  </a:lnTo>
                  <a:lnTo>
                    <a:pt x="5728" y="1641"/>
                  </a:lnTo>
                  <a:lnTo>
                    <a:pt x="5763" y="1641"/>
                  </a:lnTo>
                  <a:lnTo>
                    <a:pt x="8085" y="867"/>
                  </a:lnTo>
                  <a:close/>
                  <a:moveTo>
                    <a:pt x="3037" y="879"/>
                  </a:moveTo>
                  <a:lnTo>
                    <a:pt x="5358" y="1653"/>
                  </a:lnTo>
                  <a:lnTo>
                    <a:pt x="5394" y="1653"/>
                  </a:lnTo>
                  <a:lnTo>
                    <a:pt x="5394" y="5760"/>
                  </a:lnTo>
                  <a:lnTo>
                    <a:pt x="3072" y="4986"/>
                  </a:lnTo>
                  <a:lnTo>
                    <a:pt x="3037" y="4986"/>
                  </a:lnTo>
                  <a:lnTo>
                    <a:pt x="3037" y="879"/>
                  </a:lnTo>
                  <a:close/>
                  <a:moveTo>
                    <a:pt x="3037" y="5320"/>
                  </a:moveTo>
                  <a:lnTo>
                    <a:pt x="5394" y="6106"/>
                  </a:lnTo>
                  <a:lnTo>
                    <a:pt x="5394" y="6225"/>
                  </a:lnTo>
                  <a:lnTo>
                    <a:pt x="3037" y="5439"/>
                  </a:lnTo>
                  <a:lnTo>
                    <a:pt x="3037" y="5320"/>
                  </a:lnTo>
                  <a:close/>
                  <a:moveTo>
                    <a:pt x="8085" y="5320"/>
                  </a:moveTo>
                  <a:lnTo>
                    <a:pt x="8085" y="5439"/>
                  </a:lnTo>
                  <a:lnTo>
                    <a:pt x="5728" y="6225"/>
                  </a:lnTo>
                  <a:lnTo>
                    <a:pt x="5728" y="6106"/>
                  </a:lnTo>
                  <a:lnTo>
                    <a:pt x="8085" y="5320"/>
                  </a:lnTo>
                  <a:close/>
                  <a:moveTo>
                    <a:pt x="2715" y="414"/>
                  </a:moveTo>
                  <a:lnTo>
                    <a:pt x="2715" y="510"/>
                  </a:lnTo>
                  <a:lnTo>
                    <a:pt x="584" y="1224"/>
                  </a:lnTo>
                  <a:cubicBezTo>
                    <a:pt x="513" y="1248"/>
                    <a:pt x="465" y="1307"/>
                    <a:pt x="465" y="1391"/>
                  </a:cubicBezTo>
                  <a:lnTo>
                    <a:pt x="465" y="5856"/>
                  </a:lnTo>
                  <a:cubicBezTo>
                    <a:pt x="465" y="5915"/>
                    <a:pt x="489" y="5951"/>
                    <a:pt x="536" y="5987"/>
                  </a:cubicBezTo>
                  <a:cubicBezTo>
                    <a:pt x="571" y="6004"/>
                    <a:pt x="613" y="6015"/>
                    <a:pt x="651" y="6015"/>
                  </a:cubicBezTo>
                  <a:cubicBezTo>
                    <a:pt x="665" y="6015"/>
                    <a:pt x="678" y="6014"/>
                    <a:pt x="691" y="6010"/>
                  </a:cubicBezTo>
                  <a:lnTo>
                    <a:pt x="2715" y="5344"/>
                  </a:lnTo>
                  <a:lnTo>
                    <a:pt x="2715" y="5463"/>
                  </a:lnTo>
                  <a:lnTo>
                    <a:pt x="358" y="6249"/>
                  </a:lnTo>
                  <a:lnTo>
                    <a:pt x="358" y="1200"/>
                  </a:lnTo>
                  <a:lnTo>
                    <a:pt x="2715" y="414"/>
                  </a:lnTo>
                  <a:close/>
                  <a:moveTo>
                    <a:pt x="2864" y="1"/>
                  </a:moveTo>
                  <a:cubicBezTo>
                    <a:pt x="2846" y="1"/>
                    <a:pt x="2828" y="4"/>
                    <a:pt x="2811" y="10"/>
                  </a:cubicBezTo>
                  <a:lnTo>
                    <a:pt x="120" y="903"/>
                  </a:lnTo>
                  <a:cubicBezTo>
                    <a:pt x="48" y="938"/>
                    <a:pt x="1" y="998"/>
                    <a:pt x="1" y="1069"/>
                  </a:cubicBezTo>
                  <a:lnTo>
                    <a:pt x="1" y="6475"/>
                  </a:lnTo>
                  <a:cubicBezTo>
                    <a:pt x="1" y="6534"/>
                    <a:pt x="36" y="6582"/>
                    <a:pt x="72" y="6606"/>
                  </a:cubicBezTo>
                  <a:cubicBezTo>
                    <a:pt x="108" y="6618"/>
                    <a:pt x="132" y="6641"/>
                    <a:pt x="179" y="6641"/>
                  </a:cubicBezTo>
                  <a:cubicBezTo>
                    <a:pt x="191" y="6641"/>
                    <a:pt x="215" y="6641"/>
                    <a:pt x="239" y="6618"/>
                  </a:cubicBezTo>
                  <a:lnTo>
                    <a:pt x="2870" y="5748"/>
                  </a:lnTo>
                  <a:lnTo>
                    <a:pt x="5513" y="6618"/>
                  </a:lnTo>
                  <a:cubicBezTo>
                    <a:pt x="5525" y="6630"/>
                    <a:pt x="5543" y="6635"/>
                    <a:pt x="5561" y="6635"/>
                  </a:cubicBezTo>
                  <a:cubicBezTo>
                    <a:pt x="5579" y="6635"/>
                    <a:pt x="5597" y="6630"/>
                    <a:pt x="5608" y="6618"/>
                  </a:cubicBezTo>
                  <a:lnTo>
                    <a:pt x="8252" y="5737"/>
                  </a:lnTo>
                  <a:lnTo>
                    <a:pt x="10883" y="6606"/>
                  </a:lnTo>
                  <a:cubicBezTo>
                    <a:pt x="10895" y="6606"/>
                    <a:pt x="10907" y="6630"/>
                    <a:pt x="10942" y="6630"/>
                  </a:cubicBezTo>
                  <a:cubicBezTo>
                    <a:pt x="10966" y="6630"/>
                    <a:pt x="11014" y="6606"/>
                    <a:pt x="11050" y="6594"/>
                  </a:cubicBezTo>
                  <a:cubicBezTo>
                    <a:pt x="11085" y="6558"/>
                    <a:pt x="11121" y="6510"/>
                    <a:pt x="11121" y="6463"/>
                  </a:cubicBezTo>
                  <a:lnTo>
                    <a:pt x="11121" y="3510"/>
                  </a:lnTo>
                  <a:cubicBezTo>
                    <a:pt x="11121" y="3427"/>
                    <a:pt x="11050" y="3355"/>
                    <a:pt x="10954" y="3355"/>
                  </a:cubicBezTo>
                  <a:cubicBezTo>
                    <a:pt x="10871" y="3355"/>
                    <a:pt x="10788" y="3427"/>
                    <a:pt x="10788" y="3510"/>
                  </a:cubicBezTo>
                  <a:lnTo>
                    <a:pt x="10788" y="6225"/>
                  </a:lnTo>
                  <a:lnTo>
                    <a:pt x="8442" y="5439"/>
                  </a:lnTo>
                  <a:lnTo>
                    <a:pt x="8442" y="5320"/>
                  </a:lnTo>
                  <a:lnTo>
                    <a:pt x="10466" y="5987"/>
                  </a:lnTo>
                  <a:cubicBezTo>
                    <a:pt x="10482" y="5991"/>
                    <a:pt x="10499" y="5993"/>
                    <a:pt x="10516" y="5993"/>
                  </a:cubicBezTo>
                  <a:cubicBezTo>
                    <a:pt x="10551" y="5993"/>
                    <a:pt x="10585" y="5983"/>
                    <a:pt x="10609" y="5951"/>
                  </a:cubicBezTo>
                  <a:cubicBezTo>
                    <a:pt x="10657" y="5927"/>
                    <a:pt x="10692" y="5868"/>
                    <a:pt x="10692" y="5820"/>
                  </a:cubicBezTo>
                  <a:lnTo>
                    <a:pt x="10692" y="3486"/>
                  </a:lnTo>
                  <a:cubicBezTo>
                    <a:pt x="10692" y="3391"/>
                    <a:pt x="10609" y="3320"/>
                    <a:pt x="10526" y="3320"/>
                  </a:cubicBezTo>
                  <a:cubicBezTo>
                    <a:pt x="10431" y="3320"/>
                    <a:pt x="10359" y="3391"/>
                    <a:pt x="10359" y="3486"/>
                  </a:cubicBezTo>
                  <a:lnTo>
                    <a:pt x="10359" y="5582"/>
                  </a:lnTo>
                  <a:lnTo>
                    <a:pt x="8466" y="4963"/>
                  </a:lnTo>
                  <a:lnTo>
                    <a:pt x="8442" y="4963"/>
                  </a:lnTo>
                  <a:lnTo>
                    <a:pt x="8442" y="855"/>
                  </a:lnTo>
                  <a:lnTo>
                    <a:pt x="10347" y="1486"/>
                  </a:lnTo>
                  <a:lnTo>
                    <a:pt x="10347" y="2843"/>
                  </a:lnTo>
                  <a:cubicBezTo>
                    <a:pt x="10347" y="2939"/>
                    <a:pt x="10419" y="3010"/>
                    <a:pt x="10514" y="3010"/>
                  </a:cubicBezTo>
                  <a:cubicBezTo>
                    <a:pt x="10597" y="3010"/>
                    <a:pt x="10669" y="2939"/>
                    <a:pt x="10669" y="2843"/>
                  </a:cubicBezTo>
                  <a:lnTo>
                    <a:pt x="10669" y="1367"/>
                  </a:lnTo>
                  <a:cubicBezTo>
                    <a:pt x="10669" y="1296"/>
                    <a:pt x="10633" y="1236"/>
                    <a:pt x="10550" y="1212"/>
                  </a:cubicBezTo>
                  <a:lnTo>
                    <a:pt x="8430" y="498"/>
                  </a:lnTo>
                  <a:lnTo>
                    <a:pt x="8430" y="379"/>
                  </a:lnTo>
                  <a:lnTo>
                    <a:pt x="10776" y="1165"/>
                  </a:lnTo>
                  <a:lnTo>
                    <a:pt x="10776" y="2831"/>
                  </a:lnTo>
                  <a:cubicBezTo>
                    <a:pt x="10776" y="2939"/>
                    <a:pt x="10847" y="3022"/>
                    <a:pt x="10942" y="3022"/>
                  </a:cubicBezTo>
                  <a:cubicBezTo>
                    <a:pt x="11026" y="3022"/>
                    <a:pt x="11109" y="2951"/>
                    <a:pt x="11109" y="2855"/>
                  </a:cubicBezTo>
                  <a:lnTo>
                    <a:pt x="11109" y="1069"/>
                  </a:lnTo>
                  <a:cubicBezTo>
                    <a:pt x="11109" y="998"/>
                    <a:pt x="11062" y="938"/>
                    <a:pt x="10990" y="903"/>
                  </a:cubicBezTo>
                  <a:lnTo>
                    <a:pt x="8287" y="10"/>
                  </a:lnTo>
                  <a:cubicBezTo>
                    <a:pt x="8275" y="4"/>
                    <a:pt x="8258" y="1"/>
                    <a:pt x="8240" y="1"/>
                  </a:cubicBezTo>
                  <a:cubicBezTo>
                    <a:pt x="8222" y="1"/>
                    <a:pt x="8204" y="4"/>
                    <a:pt x="8192" y="10"/>
                  </a:cubicBezTo>
                  <a:lnTo>
                    <a:pt x="5549" y="891"/>
                  </a:lnTo>
                  <a:lnTo>
                    <a:pt x="2918" y="10"/>
                  </a:lnTo>
                  <a:cubicBezTo>
                    <a:pt x="2900" y="4"/>
                    <a:pt x="2882" y="1"/>
                    <a:pt x="2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67" name="Google Shape;11467;p61"/>
          <p:cNvGrpSpPr/>
          <p:nvPr/>
        </p:nvGrpSpPr>
        <p:grpSpPr>
          <a:xfrm>
            <a:off x="5790556" y="4261252"/>
            <a:ext cx="279513" cy="356083"/>
            <a:chOff x="5790556" y="4261252"/>
            <a:chExt cx="279513" cy="356083"/>
          </a:xfrm>
        </p:grpSpPr>
        <p:sp>
          <p:nvSpPr>
            <p:cNvPr id="11468" name="Google Shape;11468;p61"/>
            <p:cNvSpPr/>
            <p:nvPr/>
          </p:nvSpPr>
          <p:spPr>
            <a:xfrm>
              <a:off x="5892027" y="4400423"/>
              <a:ext cx="10581" cy="15872"/>
            </a:xfrm>
            <a:custGeom>
              <a:avLst/>
              <a:gdLst/>
              <a:ahLst/>
              <a:cxnLst/>
              <a:rect l="l" t="t" r="r" b="b"/>
              <a:pathLst>
                <a:path w="334" h="501" extrusionOk="0">
                  <a:moveTo>
                    <a:pt x="167" y="0"/>
                  </a:moveTo>
                  <a:cubicBezTo>
                    <a:pt x="84" y="0"/>
                    <a:pt x="0" y="72"/>
                    <a:pt x="0" y="167"/>
                  </a:cubicBezTo>
                  <a:lnTo>
                    <a:pt x="0" y="346"/>
                  </a:lnTo>
                  <a:cubicBezTo>
                    <a:pt x="0" y="429"/>
                    <a:pt x="84" y="501"/>
                    <a:pt x="167" y="501"/>
                  </a:cubicBezTo>
                  <a:cubicBezTo>
                    <a:pt x="262" y="501"/>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9" name="Google Shape;11469;p61"/>
            <p:cNvSpPr/>
            <p:nvPr/>
          </p:nvSpPr>
          <p:spPr>
            <a:xfrm>
              <a:off x="5959157" y="4400423"/>
              <a:ext cx="10201" cy="15872"/>
            </a:xfrm>
            <a:custGeom>
              <a:avLst/>
              <a:gdLst/>
              <a:ahLst/>
              <a:cxnLst/>
              <a:rect l="l" t="t" r="r" b="b"/>
              <a:pathLst>
                <a:path w="322" h="501" extrusionOk="0">
                  <a:moveTo>
                    <a:pt x="167" y="0"/>
                  </a:moveTo>
                  <a:cubicBezTo>
                    <a:pt x="72" y="0"/>
                    <a:pt x="0" y="72"/>
                    <a:pt x="0" y="167"/>
                  </a:cubicBezTo>
                  <a:lnTo>
                    <a:pt x="0" y="346"/>
                  </a:lnTo>
                  <a:cubicBezTo>
                    <a:pt x="0" y="429"/>
                    <a:pt x="72" y="501"/>
                    <a:pt x="167" y="501"/>
                  </a:cubicBezTo>
                  <a:cubicBezTo>
                    <a:pt x="251" y="501"/>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0" name="Google Shape;11470;p61"/>
            <p:cNvSpPr/>
            <p:nvPr/>
          </p:nvSpPr>
          <p:spPr>
            <a:xfrm>
              <a:off x="5907867" y="4450667"/>
              <a:ext cx="45651" cy="16157"/>
            </a:xfrm>
            <a:custGeom>
              <a:avLst/>
              <a:gdLst/>
              <a:ahLst/>
              <a:cxnLst/>
              <a:rect l="l" t="t" r="r" b="b"/>
              <a:pathLst>
                <a:path w="1441" h="510" extrusionOk="0">
                  <a:moveTo>
                    <a:pt x="183" y="1"/>
                  </a:moveTo>
                  <a:cubicBezTo>
                    <a:pt x="140" y="1"/>
                    <a:pt x="95" y="16"/>
                    <a:pt x="60" y="46"/>
                  </a:cubicBezTo>
                  <a:cubicBezTo>
                    <a:pt x="0" y="105"/>
                    <a:pt x="0" y="212"/>
                    <a:pt x="60" y="284"/>
                  </a:cubicBezTo>
                  <a:cubicBezTo>
                    <a:pt x="203" y="427"/>
                    <a:pt x="441" y="510"/>
                    <a:pt x="691" y="510"/>
                  </a:cubicBezTo>
                  <a:cubicBezTo>
                    <a:pt x="965" y="510"/>
                    <a:pt x="1203" y="427"/>
                    <a:pt x="1334" y="284"/>
                  </a:cubicBezTo>
                  <a:cubicBezTo>
                    <a:pt x="1441" y="212"/>
                    <a:pt x="1441" y="105"/>
                    <a:pt x="1358" y="46"/>
                  </a:cubicBezTo>
                  <a:cubicBezTo>
                    <a:pt x="1328" y="16"/>
                    <a:pt x="1289" y="1"/>
                    <a:pt x="1249" y="1"/>
                  </a:cubicBezTo>
                  <a:cubicBezTo>
                    <a:pt x="1209" y="1"/>
                    <a:pt x="1167" y="16"/>
                    <a:pt x="1131" y="46"/>
                  </a:cubicBezTo>
                  <a:cubicBezTo>
                    <a:pt x="1060" y="105"/>
                    <a:pt x="917" y="188"/>
                    <a:pt x="715" y="188"/>
                  </a:cubicBezTo>
                  <a:cubicBezTo>
                    <a:pt x="500" y="188"/>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1" name="Google Shape;11471;p61"/>
            <p:cNvSpPr/>
            <p:nvPr/>
          </p:nvSpPr>
          <p:spPr>
            <a:xfrm>
              <a:off x="5790556" y="4261252"/>
              <a:ext cx="279513" cy="356083"/>
            </a:xfrm>
            <a:custGeom>
              <a:avLst/>
              <a:gdLst/>
              <a:ahLst/>
              <a:cxnLst/>
              <a:rect l="l" t="t" r="r" b="b"/>
              <a:pathLst>
                <a:path w="8823" h="11240" extrusionOk="0">
                  <a:moveTo>
                    <a:pt x="4441" y="2893"/>
                  </a:moveTo>
                  <a:cubicBezTo>
                    <a:pt x="4608" y="3048"/>
                    <a:pt x="4787" y="3203"/>
                    <a:pt x="4965" y="3334"/>
                  </a:cubicBezTo>
                  <a:lnTo>
                    <a:pt x="3906" y="3334"/>
                  </a:lnTo>
                  <a:cubicBezTo>
                    <a:pt x="4084" y="3203"/>
                    <a:pt x="4251" y="3048"/>
                    <a:pt x="4441" y="2893"/>
                  </a:cubicBezTo>
                  <a:close/>
                  <a:moveTo>
                    <a:pt x="6215" y="810"/>
                  </a:moveTo>
                  <a:cubicBezTo>
                    <a:pt x="6954" y="1262"/>
                    <a:pt x="7430" y="1976"/>
                    <a:pt x="7430" y="2798"/>
                  </a:cubicBezTo>
                  <a:cubicBezTo>
                    <a:pt x="7430" y="3310"/>
                    <a:pt x="7251" y="3798"/>
                    <a:pt x="6894" y="4203"/>
                  </a:cubicBezTo>
                  <a:cubicBezTo>
                    <a:pt x="6632" y="4060"/>
                    <a:pt x="5727" y="3608"/>
                    <a:pt x="4668" y="2655"/>
                  </a:cubicBezTo>
                  <a:cubicBezTo>
                    <a:pt x="5192" y="2155"/>
                    <a:pt x="5727" y="1548"/>
                    <a:pt x="6215" y="810"/>
                  </a:cubicBezTo>
                  <a:close/>
                  <a:moveTo>
                    <a:pt x="4430" y="333"/>
                  </a:moveTo>
                  <a:cubicBezTo>
                    <a:pt x="4977" y="333"/>
                    <a:pt x="5477" y="441"/>
                    <a:pt x="5930" y="667"/>
                  </a:cubicBezTo>
                  <a:cubicBezTo>
                    <a:pt x="4322" y="3012"/>
                    <a:pt x="2346" y="4036"/>
                    <a:pt x="1953" y="4215"/>
                  </a:cubicBezTo>
                  <a:cubicBezTo>
                    <a:pt x="1620" y="3786"/>
                    <a:pt x="1417" y="3310"/>
                    <a:pt x="1417" y="2798"/>
                  </a:cubicBezTo>
                  <a:cubicBezTo>
                    <a:pt x="1417" y="1429"/>
                    <a:pt x="2763" y="333"/>
                    <a:pt x="4430" y="333"/>
                  </a:cubicBezTo>
                  <a:close/>
                  <a:moveTo>
                    <a:pt x="5370" y="3643"/>
                  </a:moveTo>
                  <a:cubicBezTo>
                    <a:pt x="6037" y="4143"/>
                    <a:pt x="6561" y="4393"/>
                    <a:pt x="6739" y="4477"/>
                  </a:cubicBezTo>
                  <a:cubicBezTo>
                    <a:pt x="6799" y="4513"/>
                    <a:pt x="6858" y="4524"/>
                    <a:pt x="6930" y="4524"/>
                  </a:cubicBezTo>
                  <a:cubicBezTo>
                    <a:pt x="7073" y="4524"/>
                    <a:pt x="7216" y="4632"/>
                    <a:pt x="7227" y="4774"/>
                  </a:cubicBezTo>
                  <a:cubicBezTo>
                    <a:pt x="7239" y="4858"/>
                    <a:pt x="7216" y="4929"/>
                    <a:pt x="7156" y="4989"/>
                  </a:cubicBezTo>
                  <a:cubicBezTo>
                    <a:pt x="7097" y="5048"/>
                    <a:pt x="7013" y="5072"/>
                    <a:pt x="6942" y="5072"/>
                  </a:cubicBezTo>
                  <a:lnTo>
                    <a:pt x="6835" y="5072"/>
                  </a:lnTo>
                  <a:lnTo>
                    <a:pt x="6835" y="5060"/>
                  </a:lnTo>
                  <a:cubicBezTo>
                    <a:pt x="6835" y="4977"/>
                    <a:pt x="6763" y="4894"/>
                    <a:pt x="6680" y="4894"/>
                  </a:cubicBezTo>
                  <a:cubicBezTo>
                    <a:pt x="6585" y="4894"/>
                    <a:pt x="6513" y="4977"/>
                    <a:pt x="6513" y="5060"/>
                  </a:cubicBezTo>
                  <a:lnTo>
                    <a:pt x="6513" y="5251"/>
                  </a:lnTo>
                  <a:lnTo>
                    <a:pt x="6323" y="5251"/>
                  </a:lnTo>
                  <a:cubicBezTo>
                    <a:pt x="6227" y="5251"/>
                    <a:pt x="6156" y="5334"/>
                    <a:pt x="6156" y="5417"/>
                  </a:cubicBezTo>
                  <a:cubicBezTo>
                    <a:pt x="6156" y="5513"/>
                    <a:pt x="6227" y="5584"/>
                    <a:pt x="6323" y="5584"/>
                  </a:cubicBezTo>
                  <a:lnTo>
                    <a:pt x="6513" y="5584"/>
                  </a:lnTo>
                  <a:lnTo>
                    <a:pt x="6513" y="6656"/>
                  </a:lnTo>
                  <a:cubicBezTo>
                    <a:pt x="6549" y="7834"/>
                    <a:pt x="5608" y="8787"/>
                    <a:pt x="4430" y="8787"/>
                  </a:cubicBezTo>
                  <a:cubicBezTo>
                    <a:pt x="3251" y="8787"/>
                    <a:pt x="2298" y="7834"/>
                    <a:pt x="2298" y="6656"/>
                  </a:cubicBezTo>
                  <a:lnTo>
                    <a:pt x="2298" y="5584"/>
                  </a:lnTo>
                  <a:lnTo>
                    <a:pt x="5644" y="5584"/>
                  </a:lnTo>
                  <a:cubicBezTo>
                    <a:pt x="5739" y="5584"/>
                    <a:pt x="5811" y="5513"/>
                    <a:pt x="5811" y="5417"/>
                  </a:cubicBezTo>
                  <a:cubicBezTo>
                    <a:pt x="5811" y="5334"/>
                    <a:pt x="5739" y="5251"/>
                    <a:pt x="5644" y="5251"/>
                  </a:cubicBezTo>
                  <a:lnTo>
                    <a:pt x="2298" y="5251"/>
                  </a:lnTo>
                  <a:lnTo>
                    <a:pt x="2298" y="5060"/>
                  </a:lnTo>
                  <a:cubicBezTo>
                    <a:pt x="2298" y="4977"/>
                    <a:pt x="2227" y="4894"/>
                    <a:pt x="2132" y="4894"/>
                  </a:cubicBezTo>
                  <a:cubicBezTo>
                    <a:pt x="2048" y="4894"/>
                    <a:pt x="1977" y="4977"/>
                    <a:pt x="1977" y="5060"/>
                  </a:cubicBezTo>
                  <a:lnTo>
                    <a:pt x="1977" y="5072"/>
                  </a:lnTo>
                  <a:lnTo>
                    <a:pt x="1870" y="5072"/>
                  </a:lnTo>
                  <a:cubicBezTo>
                    <a:pt x="1798" y="5072"/>
                    <a:pt x="1715" y="5048"/>
                    <a:pt x="1655" y="4989"/>
                  </a:cubicBezTo>
                  <a:cubicBezTo>
                    <a:pt x="1596" y="4929"/>
                    <a:pt x="1584" y="4858"/>
                    <a:pt x="1584" y="4774"/>
                  </a:cubicBezTo>
                  <a:cubicBezTo>
                    <a:pt x="1596" y="4643"/>
                    <a:pt x="1739" y="4524"/>
                    <a:pt x="1882" y="4524"/>
                  </a:cubicBezTo>
                  <a:cubicBezTo>
                    <a:pt x="1953" y="4524"/>
                    <a:pt x="2013" y="4513"/>
                    <a:pt x="2072" y="4477"/>
                  </a:cubicBezTo>
                  <a:cubicBezTo>
                    <a:pt x="2251" y="4393"/>
                    <a:pt x="2775" y="4143"/>
                    <a:pt x="3441" y="3643"/>
                  </a:cubicBezTo>
                  <a:close/>
                  <a:moveTo>
                    <a:pt x="4418" y="0"/>
                  </a:moveTo>
                  <a:cubicBezTo>
                    <a:pt x="2584" y="0"/>
                    <a:pt x="1084" y="1250"/>
                    <a:pt x="1084" y="2798"/>
                  </a:cubicBezTo>
                  <a:cubicBezTo>
                    <a:pt x="1084" y="3334"/>
                    <a:pt x="1262" y="3846"/>
                    <a:pt x="1584" y="4286"/>
                  </a:cubicBezTo>
                  <a:cubicBezTo>
                    <a:pt x="1405" y="4382"/>
                    <a:pt x="1274" y="4560"/>
                    <a:pt x="1262" y="4763"/>
                  </a:cubicBezTo>
                  <a:cubicBezTo>
                    <a:pt x="1239" y="4929"/>
                    <a:pt x="1298" y="5108"/>
                    <a:pt x="1405" y="5227"/>
                  </a:cubicBezTo>
                  <a:cubicBezTo>
                    <a:pt x="1524" y="5346"/>
                    <a:pt x="1691" y="5417"/>
                    <a:pt x="1858" y="5417"/>
                  </a:cubicBezTo>
                  <a:lnTo>
                    <a:pt x="1953" y="5417"/>
                  </a:lnTo>
                  <a:lnTo>
                    <a:pt x="1953" y="6668"/>
                  </a:lnTo>
                  <a:cubicBezTo>
                    <a:pt x="1953" y="7144"/>
                    <a:pt x="2096" y="7596"/>
                    <a:pt x="2334" y="7977"/>
                  </a:cubicBezTo>
                  <a:lnTo>
                    <a:pt x="881" y="8394"/>
                  </a:lnTo>
                  <a:cubicBezTo>
                    <a:pt x="369" y="8537"/>
                    <a:pt x="0" y="9037"/>
                    <a:pt x="0" y="9573"/>
                  </a:cubicBezTo>
                  <a:lnTo>
                    <a:pt x="0" y="11073"/>
                  </a:lnTo>
                  <a:cubicBezTo>
                    <a:pt x="0" y="11156"/>
                    <a:pt x="84" y="11240"/>
                    <a:pt x="167" y="11240"/>
                  </a:cubicBezTo>
                  <a:cubicBezTo>
                    <a:pt x="262" y="11240"/>
                    <a:pt x="334" y="11156"/>
                    <a:pt x="334" y="11073"/>
                  </a:cubicBezTo>
                  <a:lnTo>
                    <a:pt x="334" y="9573"/>
                  </a:lnTo>
                  <a:cubicBezTo>
                    <a:pt x="334" y="9180"/>
                    <a:pt x="596" y="8823"/>
                    <a:pt x="977" y="8715"/>
                  </a:cubicBezTo>
                  <a:lnTo>
                    <a:pt x="1405" y="8584"/>
                  </a:lnTo>
                  <a:lnTo>
                    <a:pt x="1405" y="11073"/>
                  </a:lnTo>
                  <a:cubicBezTo>
                    <a:pt x="1405" y="11156"/>
                    <a:pt x="1477" y="11240"/>
                    <a:pt x="1572" y="11240"/>
                  </a:cubicBezTo>
                  <a:cubicBezTo>
                    <a:pt x="1655" y="11240"/>
                    <a:pt x="1727" y="11156"/>
                    <a:pt x="1727" y="11073"/>
                  </a:cubicBezTo>
                  <a:lnTo>
                    <a:pt x="1727" y="8501"/>
                  </a:lnTo>
                  <a:lnTo>
                    <a:pt x="2525" y="8263"/>
                  </a:lnTo>
                  <a:cubicBezTo>
                    <a:pt x="2560" y="8299"/>
                    <a:pt x="2596" y="8346"/>
                    <a:pt x="2644" y="8394"/>
                  </a:cubicBezTo>
                  <a:lnTo>
                    <a:pt x="2644" y="8954"/>
                  </a:lnTo>
                  <a:cubicBezTo>
                    <a:pt x="2644" y="9049"/>
                    <a:pt x="2715" y="9120"/>
                    <a:pt x="2798" y="9120"/>
                  </a:cubicBezTo>
                  <a:cubicBezTo>
                    <a:pt x="2894" y="9120"/>
                    <a:pt x="2965" y="9049"/>
                    <a:pt x="2965" y="8954"/>
                  </a:cubicBezTo>
                  <a:lnTo>
                    <a:pt x="2965" y="8680"/>
                  </a:lnTo>
                  <a:cubicBezTo>
                    <a:pt x="3370" y="8954"/>
                    <a:pt x="3858" y="9120"/>
                    <a:pt x="4382" y="9120"/>
                  </a:cubicBezTo>
                  <a:cubicBezTo>
                    <a:pt x="4906" y="9120"/>
                    <a:pt x="5394" y="8954"/>
                    <a:pt x="5799" y="8680"/>
                  </a:cubicBezTo>
                  <a:lnTo>
                    <a:pt x="5799" y="11073"/>
                  </a:lnTo>
                  <a:cubicBezTo>
                    <a:pt x="5799" y="11156"/>
                    <a:pt x="5870" y="11240"/>
                    <a:pt x="5954" y="11240"/>
                  </a:cubicBezTo>
                  <a:cubicBezTo>
                    <a:pt x="6049" y="11240"/>
                    <a:pt x="6120" y="11156"/>
                    <a:pt x="6120" y="11073"/>
                  </a:cubicBezTo>
                  <a:lnTo>
                    <a:pt x="6120" y="8394"/>
                  </a:lnTo>
                  <a:cubicBezTo>
                    <a:pt x="6168" y="8346"/>
                    <a:pt x="6192" y="8299"/>
                    <a:pt x="6239" y="8263"/>
                  </a:cubicBezTo>
                  <a:lnTo>
                    <a:pt x="7025" y="8477"/>
                  </a:lnTo>
                  <a:lnTo>
                    <a:pt x="7025" y="11061"/>
                  </a:lnTo>
                  <a:cubicBezTo>
                    <a:pt x="7025" y="11144"/>
                    <a:pt x="7108" y="11216"/>
                    <a:pt x="7192" y="11216"/>
                  </a:cubicBezTo>
                  <a:cubicBezTo>
                    <a:pt x="7287" y="11216"/>
                    <a:pt x="7358" y="11144"/>
                    <a:pt x="7358" y="11061"/>
                  </a:cubicBezTo>
                  <a:lnTo>
                    <a:pt x="7358" y="8573"/>
                  </a:lnTo>
                  <a:lnTo>
                    <a:pt x="7787" y="8704"/>
                  </a:lnTo>
                  <a:cubicBezTo>
                    <a:pt x="8156" y="8811"/>
                    <a:pt x="8430" y="9168"/>
                    <a:pt x="8430" y="9549"/>
                  </a:cubicBezTo>
                  <a:lnTo>
                    <a:pt x="8430" y="11061"/>
                  </a:lnTo>
                  <a:cubicBezTo>
                    <a:pt x="8430" y="11144"/>
                    <a:pt x="8501" y="11216"/>
                    <a:pt x="8597" y="11216"/>
                  </a:cubicBezTo>
                  <a:cubicBezTo>
                    <a:pt x="8680" y="11216"/>
                    <a:pt x="8751" y="11144"/>
                    <a:pt x="8751" y="11061"/>
                  </a:cubicBezTo>
                  <a:lnTo>
                    <a:pt x="8751" y="9549"/>
                  </a:lnTo>
                  <a:cubicBezTo>
                    <a:pt x="8823" y="9037"/>
                    <a:pt x="8466" y="8549"/>
                    <a:pt x="7942" y="8394"/>
                  </a:cubicBezTo>
                  <a:lnTo>
                    <a:pt x="6501" y="7977"/>
                  </a:lnTo>
                  <a:cubicBezTo>
                    <a:pt x="6739" y="7608"/>
                    <a:pt x="6870" y="7144"/>
                    <a:pt x="6870" y="6668"/>
                  </a:cubicBezTo>
                  <a:lnTo>
                    <a:pt x="6870" y="5417"/>
                  </a:lnTo>
                  <a:lnTo>
                    <a:pt x="6977" y="5417"/>
                  </a:lnTo>
                  <a:cubicBezTo>
                    <a:pt x="7132" y="5417"/>
                    <a:pt x="7299" y="5346"/>
                    <a:pt x="7418" y="5227"/>
                  </a:cubicBezTo>
                  <a:cubicBezTo>
                    <a:pt x="7537" y="5108"/>
                    <a:pt x="7585" y="4929"/>
                    <a:pt x="7573" y="4763"/>
                  </a:cubicBezTo>
                  <a:cubicBezTo>
                    <a:pt x="7549" y="4560"/>
                    <a:pt x="7418" y="4393"/>
                    <a:pt x="7239" y="4286"/>
                  </a:cubicBezTo>
                  <a:cubicBezTo>
                    <a:pt x="7573" y="3846"/>
                    <a:pt x="7751" y="3334"/>
                    <a:pt x="7751" y="2798"/>
                  </a:cubicBezTo>
                  <a:cubicBezTo>
                    <a:pt x="7751" y="1250"/>
                    <a:pt x="6263" y="0"/>
                    <a:pt x="4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2" name="Google Shape;11472;p61"/>
            <p:cNvSpPr/>
            <p:nvPr/>
          </p:nvSpPr>
          <p:spPr>
            <a:xfrm>
              <a:off x="5875807" y="4562244"/>
              <a:ext cx="10201" cy="55092"/>
            </a:xfrm>
            <a:custGeom>
              <a:avLst/>
              <a:gdLst/>
              <a:ahLst/>
              <a:cxnLst/>
              <a:rect l="l" t="t" r="r" b="b"/>
              <a:pathLst>
                <a:path w="322" h="1739" extrusionOk="0">
                  <a:moveTo>
                    <a:pt x="155" y="0"/>
                  </a:moveTo>
                  <a:cubicBezTo>
                    <a:pt x="72" y="0"/>
                    <a:pt x="0" y="72"/>
                    <a:pt x="0" y="155"/>
                  </a:cubicBezTo>
                  <a:lnTo>
                    <a:pt x="0" y="1572"/>
                  </a:lnTo>
                  <a:cubicBezTo>
                    <a:pt x="0" y="1667"/>
                    <a:pt x="72" y="1739"/>
                    <a:pt x="155" y="1739"/>
                  </a:cubicBezTo>
                  <a:cubicBezTo>
                    <a:pt x="250" y="1739"/>
                    <a:pt x="322" y="1667"/>
                    <a:pt x="322" y="1572"/>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3" name="Google Shape;11473;p61"/>
            <p:cNvSpPr/>
            <p:nvPr/>
          </p:nvSpPr>
          <p:spPr>
            <a:xfrm>
              <a:off x="5925576" y="4567883"/>
              <a:ext cx="10613" cy="10233"/>
            </a:xfrm>
            <a:custGeom>
              <a:avLst/>
              <a:gdLst/>
              <a:ahLst/>
              <a:cxnLst/>
              <a:rect l="l" t="t" r="r" b="b"/>
              <a:pathLst>
                <a:path w="335" h="323" extrusionOk="0">
                  <a:moveTo>
                    <a:pt x="168" y="1"/>
                  </a:moveTo>
                  <a:cubicBezTo>
                    <a:pt x="72" y="1"/>
                    <a:pt x="1" y="72"/>
                    <a:pt x="1" y="156"/>
                  </a:cubicBezTo>
                  <a:cubicBezTo>
                    <a:pt x="1" y="251"/>
                    <a:pt x="72" y="322"/>
                    <a:pt x="168" y="322"/>
                  </a:cubicBezTo>
                  <a:cubicBezTo>
                    <a:pt x="251" y="322"/>
                    <a:pt x="322" y="251"/>
                    <a:pt x="322" y="156"/>
                  </a:cubicBezTo>
                  <a:cubicBezTo>
                    <a:pt x="334" y="60"/>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4" name="Google Shape;11474;p61"/>
            <p:cNvSpPr/>
            <p:nvPr/>
          </p:nvSpPr>
          <p:spPr>
            <a:xfrm>
              <a:off x="5925576" y="4600703"/>
              <a:ext cx="10613" cy="10613"/>
            </a:xfrm>
            <a:custGeom>
              <a:avLst/>
              <a:gdLst/>
              <a:ahLst/>
              <a:cxnLst/>
              <a:rect l="l" t="t" r="r" b="b"/>
              <a:pathLst>
                <a:path w="335" h="335" extrusionOk="0">
                  <a:moveTo>
                    <a:pt x="168" y="1"/>
                  </a:moveTo>
                  <a:cubicBezTo>
                    <a:pt x="72" y="1"/>
                    <a:pt x="1" y="72"/>
                    <a:pt x="1" y="167"/>
                  </a:cubicBezTo>
                  <a:cubicBezTo>
                    <a:pt x="1" y="251"/>
                    <a:pt x="72" y="334"/>
                    <a:pt x="168" y="334"/>
                  </a:cubicBezTo>
                  <a:cubicBezTo>
                    <a:pt x="251" y="334"/>
                    <a:pt x="322" y="251"/>
                    <a:pt x="322" y="167"/>
                  </a:cubicBez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75" name="Google Shape;11475;p61"/>
          <p:cNvGrpSpPr/>
          <p:nvPr/>
        </p:nvGrpSpPr>
        <p:grpSpPr>
          <a:xfrm>
            <a:off x="5341333" y="4261252"/>
            <a:ext cx="278752" cy="356463"/>
            <a:chOff x="5341333" y="4261252"/>
            <a:chExt cx="278752" cy="356463"/>
          </a:xfrm>
        </p:grpSpPr>
        <p:sp>
          <p:nvSpPr>
            <p:cNvPr id="11476" name="Google Shape;11476;p61"/>
            <p:cNvSpPr/>
            <p:nvPr/>
          </p:nvSpPr>
          <p:spPr>
            <a:xfrm>
              <a:off x="5442773" y="4383442"/>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34" y="429"/>
                    <a:pt x="334" y="346"/>
                  </a:cubicBezTo>
                  <a:lnTo>
                    <a:pt x="334"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7" name="Google Shape;11477;p61"/>
            <p:cNvSpPr/>
            <p:nvPr/>
          </p:nvSpPr>
          <p:spPr>
            <a:xfrm>
              <a:off x="5509174" y="4383442"/>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50" y="501"/>
                    <a:pt x="334" y="429"/>
                    <a:pt x="334" y="346"/>
                  </a:cubicBezTo>
                  <a:lnTo>
                    <a:pt x="334" y="167"/>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8" name="Google Shape;11478;p61"/>
            <p:cNvSpPr/>
            <p:nvPr/>
          </p:nvSpPr>
          <p:spPr>
            <a:xfrm>
              <a:off x="5458232" y="4422377"/>
              <a:ext cx="45302" cy="16157"/>
            </a:xfrm>
            <a:custGeom>
              <a:avLst/>
              <a:gdLst/>
              <a:ahLst/>
              <a:cxnLst/>
              <a:rect l="l" t="t" r="r" b="b"/>
              <a:pathLst>
                <a:path w="1430" h="510" extrusionOk="0">
                  <a:moveTo>
                    <a:pt x="189" y="1"/>
                  </a:moveTo>
                  <a:cubicBezTo>
                    <a:pt x="147" y="1"/>
                    <a:pt x="102" y="16"/>
                    <a:pt x="61" y="46"/>
                  </a:cubicBezTo>
                  <a:cubicBezTo>
                    <a:pt x="1" y="105"/>
                    <a:pt x="1" y="212"/>
                    <a:pt x="61" y="284"/>
                  </a:cubicBezTo>
                  <a:cubicBezTo>
                    <a:pt x="215" y="427"/>
                    <a:pt x="453" y="510"/>
                    <a:pt x="703" y="510"/>
                  </a:cubicBezTo>
                  <a:cubicBezTo>
                    <a:pt x="953" y="510"/>
                    <a:pt x="1215" y="427"/>
                    <a:pt x="1346" y="284"/>
                  </a:cubicBezTo>
                  <a:cubicBezTo>
                    <a:pt x="1430" y="224"/>
                    <a:pt x="1430" y="129"/>
                    <a:pt x="1370" y="46"/>
                  </a:cubicBezTo>
                  <a:cubicBezTo>
                    <a:pt x="1340" y="16"/>
                    <a:pt x="1302" y="1"/>
                    <a:pt x="1260" y="1"/>
                  </a:cubicBezTo>
                  <a:cubicBezTo>
                    <a:pt x="1218" y="1"/>
                    <a:pt x="1174" y="16"/>
                    <a:pt x="1132" y="46"/>
                  </a:cubicBezTo>
                  <a:cubicBezTo>
                    <a:pt x="1073" y="105"/>
                    <a:pt x="930" y="189"/>
                    <a:pt x="715" y="189"/>
                  </a:cubicBezTo>
                  <a:cubicBezTo>
                    <a:pt x="513" y="189"/>
                    <a:pt x="358" y="105"/>
                    <a:pt x="299" y="46"/>
                  </a:cubicBezTo>
                  <a:cubicBezTo>
                    <a:pt x="269" y="16"/>
                    <a:pt x="230"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9" name="Google Shape;11479;p61"/>
            <p:cNvSpPr/>
            <p:nvPr/>
          </p:nvSpPr>
          <p:spPr>
            <a:xfrm>
              <a:off x="5437134" y="4572793"/>
              <a:ext cx="10581" cy="44162"/>
            </a:xfrm>
            <a:custGeom>
              <a:avLst/>
              <a:gdLst/>
              <a:ahLst/>
              <a:cxnLst/>
              <a:rect l="l" t="t" r="r" b="b"/>
              <a:pathLst>
                <a:path w="334" h="1394" extrusionOk="0">
                  <a:moveTo>
                    <a:pt x="167" y="1"/>
                  </a:moveTo>
                  <a:cubicBezTo>
                    <a:pt x="72" y="1"/>
                    <a:pt x="0" y="84"/>
                    <a:pt x="0" y="167"/>
                  </a:cubicBezTo>
                  <a:lnTo>
                    <a:pt x="0" y="1227"/>
                  </a:lnTo>
                  <a:cubicBezTo>
                    <a:pt x="0" y="1310"/>
                    <a:pt x="72" y="1394"/>
                    <a:pt x="167" y="1394"/>
                  </a:cubicBezTo>
                  <a:cubicBezTo>
                    <a:pt x="250" y="1394"/>
                    <a:pt x="334" y="1310"/>
                    <a:pt x="334" y="1227"/>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0" name="Google Shape;11480;p61"/>
            <p:cNvSpPr/>
            <p:nvPr/>
          </p:nvSpPr>
          <p:spPr>
            <a:xfrm>
              <a:off x="5341333" y="4261252"/>
              <a:ext cx="278752" cy="356463"/>
            </a:xfrm>
            <a:custGeom>
              <a:avLst/>
              <a:gdLst/>
              <a:ahLst/>
              <a:cxnLst/>
              <a:rect l="l" t="t" r="r" b="b"/>
              <a:pathLst>
                <a:path w="8799" h="11252" extrusionOk="0">
                  <a:moveTo>
                    <a:pt x="4941" y="333"/>
                  </a:moveTo>
                  <a:cubicBezTo>
                    <a:pt x="4941" y="333"/>
                    <a:pt x="4953" y="333"/>
                    <a:pt x="4953" y="345"/>
                  </a:cubicBezTo>
                  <a:lnTo>
                    <a:pt x="4953" y="1084"/>
                  </a:lnTo>
                  <a:cubicBezTo>
                    <a:pt x="4953" y="1250"/>
                    <a:pt x="4894" y="1417"/>
                    <a:pt x="4798" y="1536"/>
                  </a:cubicBezTo>
                  <a:lnTo>
                    <a:pt x="4429" y="2000"/>
                  </a:lnTo>
                  <a:lnTo>
                    <a:pt x="4393" y="2000"/>
                  </a:lnTo>
                  <a:lnTo>
                    <a:pt x="4024" y="1536"/>
                  </a:lnTo>
                  <a:cubicBezTo>
                    <a:pt x="3917" y="1417"/>
                    <a:pt x="3858" y="1250"/>
                    <a:pt x="3858" y="1084"/>
                  </a:cubicBezTo>
                  <a:lnTo>
                    <a:pt x="3893" y="333"/>
                  </a:lnTo>
                  <a:close/>
                  <a:moveTo>
                    <a:pt x="2310" y="3143"/>
                  </a:moveTo>
                  <a:lnTo>
                    <a:pt x="2310" y="3500"/>
                  </a:lnTo>
                  <a:cubicBezTo>
                    <a:pt x="2310" y="3608"/>
                    <a:pt x="2227" y="3691"/>
                    <a:pt x="2119" y="3691"/>
                  </a:cubicBezTo>
                  <a:lnTo>
                    <a:pt x="1941" y="3691"/>
                  </a:lnTo>
                  <a:lnTo>
                    <a:pt x="1941" y="3143"/>
                  </a:lnTo>
                  <a:close/>
                  <a:moveTo>
                    <a:pt x="6894" y="3143"/>
                  </a:moveTo>
                  <a:lnTo>
                    <a:pt x="6894" y="3691"/>
                  </a:lnTo>
                  <a:lnTo>
                    <a:pt x="6703" y="3691"/>
                  </a:lnTo>
                  <a:cubicBezTo>
                    <a:pt x="6596" y="3691"/>
                    <a:pt x="6513" y="3608"/>
                    <a:pt x="6513" y="3500"/>
                  </a:cubicBezTo>
                  <a:lnTo>
                    <a:pt x="6513" y="3143"/>
                  </a:lnTo>
                  <a:close/>
                  <a:moveTo>
                    <a:pt x="1607" y="3191"/>
                  </a:moveTo>
                  <a:lnTo>
                    <a:pt x="1607" y="3751"/>
                  </a:lnTo>
                  <a:cubicBezTo>
                    <a:pt x="1417" y="3846"/>
                    <a:pt x="1286" y="4012"/>
                    <a:pt x="1274" y="4227"/>
                  </a:cubicBezTo>
                  <a:cubicBezTo>
                    <a:pt x="1250" y="4393"/>
                    <a:pt x="1310" y="4572"/>
                    <a:pt x="1417" y="4691"/>
                  </a:cubicBezTo>
                  <a:cubicBezTo>
                    <a:pt x="1536" y="4810"/>
                    <a:pt x="1703" y="4882"/>
                    <a:pt x="1869" y="4882"/>
                  </a:cubicBezTo>
                  <a:lnTo>
                    <a:pt x="1976" y="4882"/>
                  </a:lnTo>
                  <a:cubicBezTo>
                    <a:pt x="2012" y="5132"/>
                    <a:pt x="2096" y="5394"/>
                    <a:pt x="2203" y="5608"/>
                  </a:cubicBezTo>
                  <a:lnTo>
                    <a:pt x="1953" y="5608"/>
                  </a:lnTo>
                  <a:lnTo>
                    <a:pt x="1953" y="5632"/>
                  </a:lnTo>
                  <a:cubicBezTo>
                    <a:pt x="1274" y="5632"/>
                    <a:pt x="703" y="5072"/>
                    <a:pt x="703" y="4382"/>
                  </a:cubicBezTo>
                  <a:cubicBezTo>
                    <a:pt x="703" y="3810"/>
                    <a:pt x="1084" y="3334"/>
                    <a:pt x="1607" y="3191"/>
                  </a:cubicBezTo>
                  <a:close/>
                  <a:moveTo>
                    <a:pt x="7239" y="3194"/>
                  </a:moveTo>
                  <a:cubicBezTo>
                    <a:pt x="7745" y="3341"/>
                    <a:pt x="8132" y="3814"/>
                    <a:pt x="8132" y="4382"/>
                  </a:cubicBezTo>
                  <a:cubicBezTo>
                    <a:pt x="8132" y="5060"/>
                    <a:pt x="7572" y="5632"/>
                    <a:pt x="6882" y="5632"/>
                  </a:cubicBezTo>
                  <a:lnTo>
                    <a:pt x="6620" y="5632"/>
                  </a:lnTo>
                  <a:cubicBezTo>
                    <a:pt x="6727" y="5405"/>
                    <a:pt x="6799" y="5155"/>
                    <a:pt x="6846" y="4894"/>
                  </a:cubicBezTo>
                  <a:lnTo>
                    <a:pt x="6953" y="4894"/>
                  </a:lnTo>
                  <a:cubicBezTo>
                    <a:pt x="7275" y="4894"/>
                    <a:pt x="7549" y="4655"/>
                    <a:pt x="7572" y="4358"/>
                  </a:cubicBezTo>
                  <a:cubicBezTo>
                    <a:pt x="7596" y="4203"/>
                    <a:pt x="7537" y="4024"/>
                    <a:pt x="7430" y="3905"/>
                  </a:cubicBezTo>
                  <a:cubicBezTo>
                    <a:pt x="7370" y="3846"/>
                    <a:pt x="7310" y="3798"/>
                    <a:pt x="7239" y="3751"/>
                  </a:cubicBezTo>
                  <a:lnTo>
                    <a:pt x="7239" y="3194"/>
                  </a:lnTo>
                  <a:close/>
                  <a:moveTo>
                    <a:pt x="5239" y="655"/>
                  </a:moveTo>
                  <a:cubicBezTo>
                    <a:pt x="5703" y="822"/>
                    <a:pt x="6096" y="1084"/>
                    <a:pt x="6406" y="1465"/>
                  </a:cubicBezTo>
                  <a:cubicBezTo>
                    <a:pt x="6727" y="1846"/>
                    <a:pt x="6929" y="2322"/>
                    <a:pt x="7001" y="2810"/>
                  </a:cubicBezTo>
                  <a:lnTo>
                    <a:pt x="5953" y="2810"/>
                  </a:lnTo>
                  <a:cubicBezTo>
                    <a:pt x="5870" y="2810"/>
                    <a:pt x="5798" y="2893"/>
                    <a:pt x="5798" y="2977"/>
                  </a:cubicBezTo>
                  <a:cubicBezTo>
                    <a:pt x="5798" y="3072"/>
                    <a:pt x="5870" y="3143"/>
                    <a:pt x="5953" y="3143"/>
                  </a:cubicBezTo>
                  <a:lnTo>
                    <a:pt x="6144" y="3143"/>
                  </a:lnTo>
                  <a:lnTo>
                    <a:pt x="6144" y="3500"/>
                  </a:lnTo>
                  <a:cubicBezTo>
                    <a:pt x="6144" y="3786"/>
                    <a:pt x="6382" y="4024"/>
                    <a:pt x="6668" y="4024"/>
                  </a:cubicBezTo>
                  <a:lnTo>
                    <a:pt x="6941" y="4024"/>
                  </a:lnTo>
                  <a:cubicBezTo>
                    <a:pt x="7013" y="4024"/>
                    <a:pt x="7084" y="4048"/>
                    <a:pt x="7144" y="4108"/>
                  </a:cubicBezTo>
                  <a:cubicBezTo>
                    <a:pt x="7203" y="4167"/>
                    <a:pt x="7227" y="4239"/>
                    <a:pt x="7227" y="4322"/>
                  </a:cubicBezTo>
                  <a:cubicBezTo>
                    <a:pt x="7203" y="4453"/>
                    <a:pt x="7072" y="4572"/>
                    <a:pt x="6929" y="4572"/>
                  </a:cubicBezTo>
                  <a:lnTo>
                    <a:pt x="6846" y="4572"/>
                  </a:lnTo>
                  <a:lnTo>
                    <a:pt x="6846" y="4560"/>
                  </a:lnTo>
                  <a:cubicBezTo>
                    <a:pt x="6846" y="4465"/>
                    <a:pt x="6775" y="4393"/>
                    <a:pt x="6691" y="4393"/>
                  </a:cubicBezTo>
                  <a:cubicBezTo>
                    <a:pt x="6596" y="4393"/>
                    <a:pt x="6525" y="4465"/>
                    <a:pt x="6525" y="4560"/>
                  </a:cubicBezTo>
                  <a:cubicBezTo>
                    <a:pt x="6537" y="5727"/>
                    <a:pt x="5584" y="6679"/>
                    <a:pt x="4405" y="6679"/>
                  </a:cubicBezTo>
                  <a:cubicBezTo>
                    <a:pt x="3239" y="6679"/>
                    <a:pt x="2286" y="5727"/>
                    <a:pt x="2286" y="4560"/>
                  </a:cubicBezTo>
                  <a:cubicBezTo>
                    <a:pt x="2286" y="4465"/>
                    <a:pt x="2203" y="4393"/>
                    <a:pt x="2119" y="4393"/>
                  </a:cubicBezTo>
                  <a:cubicBezTo>
                    <a:pt x="2024" y="4393"/>
                    <a:pt x="1953" y="4465"/>
                    <a:pt x="1953" y="4560"/>
                  </a:cubicBezTo>
                  <a:lnTo>
                    <a:pt x="1953" y="4572"/>
                  </a:lnTo>
                  <a:lnTo>
                    <a:pt x="1846" y="4572"/>
                  </a:lnTo>
                  <a:cubicBezTo>
                    <a:pt x="1774" y="4572"/>
                    <a:pt x="1703" y="4536"/>
                    <a:pt x="1643" y="4477"/>
                  </a:cubicBezTo>
                  <a:cubicBezTo>
                    <a:pt x="1584" y="4417"/>
                    <a:pt x="1572" y="4346"/>
                    <a:pt x="1572" y="4274"/>
                  </a:cubicBezTo>
                  <a:cubicBezTo>
                    <a:pt x="1584" y="4143"/>
                    <a:pt x="1715" y="4024"/>
                    <a:pt x="1869" y="4024"/>
                  </a:cubicBezTo>
                  <a:lnTo>
                    <a:pt x="2107" y="4024"/>
                  </a:lnTo>
                  <a:cubicBezTo>
                    <a:pt x="2381" y="4024"/>
                    <a:pt x="2619" y="3786"/>
                    <a:pt x="2619" y="3500"/>
                  </a:cubicBezTo>
                  <a:lnTo>
                    <a:pt x="2619" y="3143"/>
                  </a:lnTo>
                  <a:lnTo>
                    <a:pt x="5275" y="3143"/>
                  </a:lnTo>
                  <a:cubicBezTo>
                    <a:pt x="5358" y="3143"/>
                    <a:pt x="5441" y="3072"/>
                    <a:pt x="5441" y="2977"/>
                  </a:cubicBezTo>
                  <a:cubicBezTo>
                    <a:pt x="5441" y="2893"/>
                    <a:pt x="5358" y="2810"/>
                    <a:pt x="5275" y="2810"/>
                  </a:cubicBezTo>
                  <a:lnTo>
                    <a:pt x="1762" y="2810"/>
                  </a:lnTo>
                  <a:cubicBezTo>
                    <a:pt x="1822" y="2310"/>
                    <a:pt x="2024" y="1846"/>
                    <a:pt x="2357" y="1465"/>
                  </a:cubicBezTo>
                  <a:cubicBezTo>
                    <a:pt x="2667" y="1084"/>
                    <a:pt x="3072" y="810"/>
                    <a:pt x="3512" y="655"/>
                  </a:cubicBezTo>
                  <a:lnTo>
                    <a:pt x="3512" y="1084"/>
                  </a:lnTo>
                  <a:cubicBezTo>
                    <a:pt x="3512" y="1322"/>
                    <a:pt x="3596" y="1548"/>
                    <a:pt x="3739" y="1738"/>
                  </a:cubicBezTo>
                  <a:lnTo>
                    <a:pt x="4108" y="2203"/>
                  </a:lnTo>
                  <a:cubicBezTo>
                    <a:pt x="4167" y="2274"/>
                    <a:pt x="4274" y="2334"/>
                    <a:pt x="4382" y="2334"/>
                  </a:cubicBezTo>
                  <a:cubicBezTo>
                    <a:pt x="4489" y="2334"/>
                    <a:pt x="4572" y="2298"/>
                    <a:pt x="4643" y="2203"/>
                  </a:cubicBezTo>
                  <a:lnTo>
                    <a:pt x="5024" y="1738"/>
                  </a:lnTo>
                  <a:cubicBezTo>
                    <a:pt x="5167" y="1560"/>
                    <a:pt x="5239" y="1322"/>
                    <a:pt x="5239" y="1084"/>
                  </a:cubicBezTo>
                  <a:lnTo>
                    <a:pt x="5239" y="655"/>
                  </a:lnTo>
                  <a:close/>
                  <a:moveTo>
                    <a:pt x="5477" y="6763"/>
                  </a:moveTo>
                  <a:lnTo>
                    <a:pt x="5477" y="7953"/>
                  </a:lnTo>
                  <a:cubicBezTo>
                    <a:pt x="5215" y="8263"/>
                    <a:pt x="4822" y="8442"/>
                    <a:pt x="4405" y="8442"/>
                  </a:cubicBezTo>
                  <a:cubicBezTo>
                    <a:pt x="3989" y="8442"/>
                    <a:pt x="3608" y="8263"/>
                    <a:pt x="3334" y="7953"/>
                  </a:cubicBezTo>
                  <a:lnTo>
                    <a:pt x="3334" y="6763"/>
                  </a:lnTo>
                  <a:cubicBezTo>
                    <a:pt x="3667" y="6918"/>
                    <a:pt x="4024" y="7001"/>
                    <a:pt x="4405" y="7001"/>
                  </a:cubicBezTo>
                  <a:cubicBezTo>
                    <a:pt x="4798" y="7001"/>
                    <a:pt x="5155" y="6906"/>
                    <a:pt x="5477" y="6763"/>
                  </a:cubicBezTo>
                  <a:close/>
                  <a:moveTo>
                    <a:pt x="5477" y="8406"/>
                  </a:moveTo>
                  <a:lnTo>
                    <a:pt x="5477" y="8858"/>
                  </a:lnTo>
                  <a:cubicBezTo>
                    <a:pt x="5155" y="9049"/>
                    <a:pt x="4798" y="9144"/>
                    <a:pt x="4405" y="9144"/>
                  </a:cubicBezTo>
                  <a:cubicBezTo>
                    <a:pt x="4024" y="9144"/>
                    <a:pt x="3667" y="9037"/>
                    <a:pt x="3334" y="8858"/>
                  </a:cubicBezTo>
                  <a:lnTo>
                    <a:pt x="3334" y="8406"/>
                  </a:lnTo>
                  <a:cubicBezTo>
                    <a:pt x="3631" y="8644"/>
                    <a:pt x="4001" y="8763"/>
                    <a:pt x="4405" y="8763"/>
                  </a:cubicBezTo>
                  <a:cubicBezTo>
                    <a:pt x="4810" y="8763"/>
                    <a:pt x="5167" y="8632"/>
                    <a:pt x="5477" y="8406"/>
                  </a:cubicBezTo>
                  <a:close/>
                  <a:moveTo>
                    <a:pt x="3870" y="0"/>
                  </a:moveTo>
                  <a:cubicBezTo>
                    <a:pt x="3691" y="0"/>
                    <a:pt x="3548" y="131"/>
                    <a:pt x="3536" y="298"/>
                  </a:cubicBezTo>
                  <a:cubicBezTo>
                    <a:pt x="2977" y="464"/>
                    <a:pt x="2488" y="786"/>
                    <a:pt x="2107" y="1238"/>
                  </a:cubicBezTo>
                  <a:cubicBezTo>
                    <a:pt x="1715" y="1715"/>
                    <a:pt x="1476" y="2274"/>
                    <a:pt x="1417" y="2893"/>
                  </a:cubicBezTo>
                  <a:cubicBezTo>
                    <a:pt x="798" y="3096"/>
                    <a:pt x="345" y="3691"/>
                    <a:pt x="345" y="4382"/>
                  </a:cubicBezTo>
                  <a:cubicBezTo>
                    <a:pt x="345" y="5239"/>
                    <a:pt x="1048" y="5953"/>
                    <a:pt x="1929" y="5953"/>
                  </a:cubicBezTo>
                  <a:lnTo>
                    <a:pt x="2369" y="5953"/>
                  </a:lnTo>
                  <a:lnTo>
                    <a:pt x="2500" y="6132"/>
                  </a:lnTo>
                  <a:lnTo>
                    <a:pt x="1298" y="6846"/>
                  </a:lnTo>
                  <a:cubicBezTo>
                    <a:pt x="1167" y="6918"/>
                    <a:pt x="1072" y="7060"/>
                    <a:pt x="1060" y="7203"/>
                  </a:cubicBezTo>
                  <a:cubicBezTo>
                    <a:pt x="1036" y="7358"/>
                    <a:pt x="1072" y="7501"/>
                    <a:pt x="1167" y="7620"/>
                  </a:cubicBezTo>
                  <a:lnTo>
                    <a:pt x="1512" y="8037"/>
                  </a:lnTo>
                  <a:lnTo>
                    <a:pt x="1000" y="8192"/>
                  </a:lnTo>
                  <a:cubicBezTo>
                    <a:pt x="405" y="8370"/>
                    <a:pt x="0" y="8918"/>
                    <a:pt x="0" y="9525"/>
                  </a:cubicBezTo>
                  <a:lnTo>
                    <a:pt x="0" y="11073"/>
                  </a:lnTo>
                  <a:cubicBezTo>
                    <a:pt x="0" y="11168"/>
                    <a:pt x="83" y="11240"/>
                    <a:pt x="167" y="11240"/>
                  </a:cubicBezTo>
                  <a:cubicBezTo>
                    <a:pt x="262" y="11240"/>
                    <a:pt x="333" y="11168"/>
                    <a:pt x="333" y="11073"/>
                  </a:cubicBezTo>
                  <a:lnTo>
                    <a:pt x="333" y="9525"/>
                  </a:lnTo>
                  <a:cubicBezTo>
                    <a:pt x="333" y="9049"/>
                    <a:pt x="643" y="8632"/>
                    <a:pt x="1095" y="8501"/>
                  </a:cubicBezTo>
                  <a:lnTo>
                    <a:pt x="1726" y="8311"/>
                  </a:lnTo>
                  <a:lnTo>
                    <a:pt x="2203" y="8906"/>
                  </a:lnTo>
                  <a:cubicBezTo>
                    <a:pt x="2250" y="8965"/>
                    <a:pt x="2286" y="9049"/>
                    <a:pt x="2286" y="9120"/>
                  </a:cubicBezTo>
                  <a:lnTo>
                    <a:pt x="2286" y="11049"/>
                  </a:lnTo>
                  <a:cubicBezTo>
                    <a:pt x="2286" y="11132"/>
                    <a:pt x="2357" y="11204"/>
                    <a:pt x="2441" y="11204"/>
                  </a:cubicBezTo>
                  <a:cubicBezTo>
                    <a:pt x="2536" y="11204"/>
                    <a:pt x="2608" y="11132"/>
                    <a:pt x="2608" y="11049"/>
                  </a:cubicBezTo>
                  <a:lnTo>
                    <a:pt x="2608" y="9144"/>
                  </a:lnTo>
                  <a:cubicBezTo>
                    <a:pt x="2608" y="8977"/>
                    <a:pt x="2548" y="8823"/>
                    <a:pt x="2465" y="8704"/>
                  </a:cubicBezTo>
                  <a:lnTo>
                    <a:pt x="1417" y="7418"/>
                  </a:lnTo>
                  <a:cubicBezTo>
                    <a:pt x="1393" y="7370"/>
                    <a:pt x="1369" y="7322"/>
                    <a:pt x="1369" y="7263"/>
                  </a:cubicBezTo>
                  <a:cubicBezTo>
                    <a:pt x="1393" y="7203"/>
                    <a:pt x="1417" y="7156"/>
                    <a:pt x="1465" y="7132"/>
                  </a:cubicBezTo>
                  <a:lnTo>
                    <a:pt x="2727" y="6370"/>
                  </a:lnTo>
                  <a:cubicBezTo>
                    <a:pt x="2798" y="6441"/>
                    <a:pt x="2893" y="6501"/>
                    <a:pt x="2977" y="6560"/>
                  </a:cubicBezTo>
                  <a:lnTo>
                    <a:pt x="2977" y="9299"/>
                  </a:lnTo>
                  <a:cubicBezTo>
                    <a:pt x="2977" y="9394"/>
                    <a:pt x="3060" y="9466"/>
                    <a:pt x="3143" y="9466"/>
                  </a:cubicBezTo>
                  <a:cubicBezTo>
                    <a:pt x="3239" y="9466"/>
                    <a:pt x="3310" y="9394"/>
                    <a:pt x="3310" y="9299"/>
                  </a:cubicBezTo>
                  <a:lnTo>
                    <a:pt x="3310" y="9227"/>
                  </a:lnTo>
                  <a:cubicBezTo>
                    <a:pt x="3631" y="9394"/>
                    <a:pt x="4012" y="9477"/>
                    <a:pt x="4382" y="9477"/>
                  </a:cubicBezTo>
                  <a:cubicBezTo>
                    <a:pt x="4751" y="9477"/>
                    <a:pt x="5108" y="9394"/>
                    <a:pt x="5453" y="9227"/>
                  </a:cubicBezTo>
                  <a:lnTo>
                    <a:pt x="5453" y="11073"/>
                  </a:lnTo>
                  <a:cubicBezTo>
                    <a:pt x="5453" y="11156"/>
                    <a:pt x="5525" y="11240"/>
                    <a:pt x="5620" y="11240"/>
                  </a:cubicBezTo>
                  <a:cubicBezTo>
                    <a:pt x="5703" y="11240"/>
                    <a:pt x="5775" y="11156"/>
                    <a:pt x="5775" y="11073"/>
                  </a:cubicBezTo>
                  <a:lnTo>
                    <a:pt x="5775" y="6572"/>
                  </a:lnTo>
                  <a:cubicBezTo>
                    <a:pt x="5870" y="6513"/>
                    <a:pt x="5953" y="6441"/>
                    <a:pt x="6037" y="6382"/>
                  </a:cubicBezTo>
                  <a:lnTo>
                    <a:pt x="7299" y="7144"/>
                  </a:lnTo>
                  <a:cubicBezTo>
                    <a:pt x="7334" y="7180"/>
                    <a:pt x="7370" y="7215"/>
                    <a:pt x="7382" y="7275"/>
                  </a:cubicBezTo>
                  <a:cubicBezTo>
                    <a:pt x="7394" y="7334"/>
                    <a:pt x="7382" y="7382"/>
                    <a:pt x="7334" y="7430"/>
                  </a:cubicBezTo>
                  <a:lnTo>
                    <a:pt x="6298" y="8727"/>
                  </a:lnTo>
                  <a:cubicBezTo>
                    <a:pt x="6191" y="8834"/>
                    <a:pt x="6144" y="9001"/>
                    <a:pt x="6144" y="9156"/>
                  </a:cubicBezTo>
                  <a:lnTo>
                    <a:pt x="6144" y="11073"/>
                  </a:lnTo>
                  <a:cubicBezTo>
                    <a:pt x="6144" y="11156"/>
                    <a:pt x="6227" y="11240"/>
                    <a:pt x="6310" y="11240"/>
                  </a:cubicBezTo>
                  <a:cubicBezTo>
                    <a:pt x="6406" y="11240"/>
                    <a:pt x="6477" y="11156"/>
                    <a:pt x="6477" y="11073"/>
                  </a:cubicBezTo>
                  <a:lnTo>
                    <a:pt x="6477" y="9144"/>
                  </a:lnTo>
                  <a:cubicBezTo>
                    <a:pt x="6477" y="9049"/>
                    <a:pt x="6501" y="8977"/>
                    <a:pt x="6548" y="8918"/>
                  </a:cubicBezTo>
                  <a:lnTo>
                    <a:pt x="7025" y="8323"/>
                  </a:lnTo>
                  <a:lnTo>
                    <a:pt x="7668" y="8513"/>
                  </a:lnTo>
                  <a:cubicBezTo>
                    <a:pt x="8108" y="8644"/>
                    <a:pt x="8430" y="9061"/>
                    <a:pt x="8430" y="9537"/>
                  </a:cubicBezTo>
                  <a:lnTo>
                    <a:pt x="8430" y="11085"/>
                  </a:lnTo>
                  <a:cubicBezTo>
                    <a:pt x="8430" y="11180"/>
                    <a:pt x="8501" y="11251"/>
                    <a:pt x="8584" y="11251"/>
                  </a:cubicBezTo>
                  <a:cubicBezTo>
                    <a:pt x="8680" y="11251"/>
                    <a:pt x="8751" y="11180"/>
                    <a:pt x="8751" y="11085"/>
                  </a:cubicBezTo>
                  <a:lnTo>
                    <a:pt x="8751" y="9537"/>
                  </a:lnTo>
                  <a:cubicBezTo>
                    <a:pt x="8799" y="8906"/>
                    <a:pt x="8394" y="8346"/>
                    <a:pt x="7799" y="8192"/>
                  </a:cubicBezTo>
                  <a:lnTo>
                    <a:pt x="7299" y="8037"/>
                  </a:lnTo>
                  <a:lnTo>
                    <a:pt x="7632" y="7620"/>
                  </a:lnTo>
                  <a:cubicBezTo>
                    <a:pt x="7727" y="7501"/>
                    <a:pt x="7775" y="7358"/>
                    <a:pt x="7739" y="7203"/>
                  </a:cubicBezTo>
                  <a:cubicBezTo>
                    <a:pt x="7715" y="7060"/>
                    <a:pt x="7620" y="6941"/>
                    <a:pt x="7501" y="6846"/>
                  </a:cubicBezTo>
                  <a:lnTo>
                    <a:pt x="6298" y="6132"/>
                  </a:lnTo>
                  <a:lnTo>
                    <a:pt x="6429" y="5953"/>
                  </a:lnTo>
                  <a:lnTo>
                    <a:pt x="6882" y="5953"/>
                  </a:lnTo>
                  <a:cubicBezTo>
                    <a:pt x="7739" y="5953"/>
                    <a:pt x="8453" y="5251"/>
                    <a:pt x="8453" y="4382"/>
                  </a:cubicBezTo>
                  <a:cubicBezTo>
                    <a:pt x="8453" y="3691"/>
                    <a:pt x="8013" y="3096"/>
                    <a:pt x="7382" y="2893"/>
                  </a:cubicBezTo>
                  <a:cubicBezTo>
                    <a:pt x="7346" y="2274"/>
                    <a:pt x="7108" y="1715"/>
                    <a:pt x="6703" y="1238"/>
                  </a:cubicBezTo>
                  <a:cubicBezTo>
                    <a:pt x="6334" y="786"/>
                    <a:pt x="5834" y="464"/>
                    <a:pt x="5275" y="298"/>
                  </a:cubicBezTo>
                  <a:cubicBezTo>
                    <a:pt x="5263" y="131"/>
                    <a:pt x="510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1" name="Google Shape;11481;p61"/>
            <p:cNvSpPr/>
            <p:nvPr/>
          </p:nvSpPr>
          <p:spPr>
            <a:xfrm>
              <a:off x="5436753" y="4366842"/>
              <a:ext cx="21511" cy="10613"/>
            </a:xfrm>
            <a:custGeom>
              <a:avLst/>
              <a:gdLst/>
              <a:ahLst/>
              <a:cxnLst/>
              <a:rect l="l" t="t" r="r" b="b"/>
              <a:pathLst>
                <a:path w="679" h="335" extrusionOk="0">
                  <a:moveTo>
                    <a:pt x="155" y="1"/>
                  </a:moveTo>
                  <a:cubicBezTo>
                    <a:pt x="72" y="1"/>
                    <a:pt x="0" y="72"/>
                    <a:pt x="0" y="167"/>
                  </a:cubicBezTo>
                  <a:cubicBezTo>
                    <a:pt x="0" y="251"/>
                    <a:pt x="72" y="334"/>
                    <a:pt x="155" y="334"/>
                  </a:cubicBezTo>
                  <a:lnTo>
                    <a:pt x="524" y="334"/>
                  </a:lnTo>
                  <a:cubicBezTo>
                    <a:pt x="608" y="334"/>
                    <a:pt x="679" y="251"/>
                    <a:pt x="679" y="167"/>
                  </a:cubicBezTo>
                  <a:cubicBezTo>
                    <a:pt x="679"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2" name="Google Shape;11482;p61"/>
            <p:cNvSpPr/>
            <p:nvPr/>
          </p:nvSpPr>
          <p:spPr>
            <a:xfrm>
              <a:off x="5503503" y="4366842"/>
              <a:ext cx="21923" cy="10613"/>
            </a:xfrm>
            <a:custGeom>
              <a:avLst/>
              <a:gdLst/>
              <a:ahLst/>
              <a:cxnLst/>
              <a:rect l="l" t="t" r="r" b="b"/>
              <a:pathLst>
                <a:path w="692" h="335" extrusionOk="0">
                  <a:moveTo>
                    <a:pt x="167" y="1"/>
                  </a:moveTo>
                  <a:cubicBezTo>
                    <a:pt x="84" y="1"/>
                    <a:pt x="1" y="72"/>
                    <a:pt x="1" y="167"/>
                  </a:cubicBezTo>
                  <a:cubicBezTo>
                    <a:pt x="1" y="251"/>
                    <a:pt x="84" y="334"/>
                    <a:pt x="167" y="334"/>
                  </a:cubicBezTo>
                  <a:lnTo>
                    <a:pt x="525" y="334"/>
                  </a:lnTo>
                  <a:cubicBezTo>
                    <a:pt x="620" y="334"/>
                    <a:pt x="691" y="251"/>
                    <a:pt x="691" y="167"/>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483" name="Google Shape;11483;p61"/>
          <p:cNvSpPr/>
          <p:nvPr/>
        </p:nvSpPr>
        <p:spPr>
          <a:xfrm>
            <a:off x="1322345" y="3836582"/>
            <a:ext cx="367805" cy="259871"/>
          </a:xfrm>
          <a:custGeom>
            <a:avLst/>
            <a:gdLst/>
            <a:ahLst/>
            <a:cxnLst/>
            <a:rect l="l" t="t" r="r" b="b"/>
            <a:pathLst>
              <a:path w="11610" h="8203" extrusionOk="0">
                <a:moveTo>
                  <a:pt x="8950" y="1"/>
                </a:moveTo>
                <a:cubicBezTo>
                  <a:pt x="8803" y="1"/>
                  <a:pt x="8662" y="36"/>
                  <a:pt x="8597" y="153"/>
                </a:cubicBezTo>
                <a:cubicBezTo>
                  <a:pt x="8276" y="749"/>
                  <a:pt x="7228" y="1975"/>
                  <a:pt x="6633" y="2642"/>
                </a:cubicBezTo>
                <a:cubicBezTo>
                  <a:pt x="6359" y="2939"/>
                  <a:pt x="5978" y="3118"/>
                  <a:pt x="5573" y="3154"/>
                </a:cubicBezTo>
                <a:lnTo>
                  <a:pt x="4978" y="3154"/>
                </a:lnTo>
                <a:lnTo>
                  <a:pt x="4978" y="2999"/>
                </a:lnTo>
                <a:cubicBezTo>
                  <a:pt x="4978" y="2916"/>
                  <a:pt x="4906" y="2832"/>
                  <a:pt x="4811" y="2832"/>
                </a:cubicBezTo>
                <a:lnTo>
                  <a:pt x="3263" y="2832"/>
                </a:lnTo>
                <a:lnTo>
                  <a:pt x="3263" y="2749"/>
                </a:lnTo>
                <a:cubicBezTo>
                  <a:pt x="3263" y="2666"/>
                  <a:pt x="3192" y="2582"/>
                  <a:pt x="3097" y="2582"/>
                </a:cubicBezTo>
                <a:lnTo>
                  <a:pt x="168" y="2582"/>
                </a:lnTo>
                <a:cubicBezTo>
                  <a:pt x="72" y="2582"/>
                  <a:pt x="1" y="2666"/>
                  <a:pt x="1" y="2749"/>
                </a:cubicBezTo>
                <a:lnTo>
                  <a:pt x="1" y="5440"/>
                </a:lnTo>
                <a:cubicBezTo>
                  <a:pt x="1" y="5535"/>
                  <a:pt x="72" y="5606"/>
                  <a:pt x="168" y="5606"/>
                </a:cubicBezTo>
                <a:cubicBezTo>
                  <a:pt x="263" y="5606"/>
                  <a:pt x="334" y="5535"/>
                  <a:pt x="334" y="5440"/>
                </a:cubicBezTo>
                <a:lnTo>
                  <a:pt x="334" y="2916"/>
                </a:lnTo>
                <a:lnTo>
                  <a:pt x="2894" y="2916"/>
                </a:lnTo>
                <a:lnTo>
                  <a:pt x="2894" y="7857"/>
                </a:lnTo>
                <a:lnTo>
                  <a:pt x="334" y="7857"/>
                </a:lnTo>
                <a:lnTo>
                  <a:pt x="334" y="6118"/>
                </a:lnTo>
                <a:cubicBezTo>
                  <a:pt x="334" y="6023"/>
                  <a:pt x="263" y="5952"/>
                  <a:pt x="168" y="5952"/>
                </a:cubicBezTo>
                <a:cubicBezTo>
                  <a:pt x="72" y="5952"/>
                  <a:pt x="1" y="6023"/>
                  <a:pt x="1" y="6118"/>
                </a:cubicBezTo>
                <a:lnTo>
                  <a:pt x="1" y="8035"/>
                </a:lnTo>
                <a:cubicBezTo>
                  <a:pt x="1" y="8119"/>
                  <a:pt x="72" y="8202"/>
                  <a:pt x="168" y="8202"/>
                </a:cubicBezTo>
                <a:lnTo>
                  <a:pt x="3073" y="8202"/>
                </a:lnTo>
                <a:cubicBezTo>
                  <a:pt x="3156" y="8202"/>
                  <a:pt x="3239" y="8119"/>
                  <a:pt x="3239" y="8035"/>
                </a:cubicBezTo>
                <a:lnTo>
                  <a:pt x="3239" y="7964"/>
                </a:lnTo>
                <a:lnTo>
                  <a:pt x="4787" y="7964"/>
                </a:lnTo>
                <a:cubicBezTo>
                  <a:pt x="4871" y="7964"/>
                  <a:pt x="4942" y="7881"/>
                  <a:pt x="4942" y="7797"/>
                </a:cubicBezTo>
                <a:lnTo>
                  <a:pt x="4942" y="7642"/>
                </a:lnTo>
                <a:lnTo>
                  <a:pt x="5859" y="7642"/>
                </a:lnTo>
                <a:cubicBezTo>
                  <a:pt x="5954" y="7642"/>
                  <a:pt x="6061" y="7690"/>
                  <a:pt x="6156" y="7750"/>
                </a:cubicBezTo>
                <a:cubicBezTo>
                  <a:pt x="6287" y="7869"/>
                  <a:pt x="6430" y="7964"/>
                  <a:pt x="6597" y="8023"/>
                </a:cubicBezTo>
                <a:cubicBezTo>
                  <a:pt x="6764" y="8083"/>
                  <a:pt x="6930" y="8107"/>
                  <a:pt x="7109" y="8107"/>
                </a:cubicBezTo>
                <a:lnTo>
                  <a:pt x="7776" y="8107"/>
                </a:lnTo>
                <a:cubicBezTo>
                  <a:pt x="7859" y="8107"/>
                  <a:pt x="7942" y="8035"/>
                  <a:pt x="7942" y="7940"/>
                </a:cubicBezTo>
                <a:cubicBezTo>
                  <a:pt x="7942" y="7857"/>
                  <a:pt x="7859" y="7785"/>
                  <a:pt x="7776" y="7785"/>
                </a:cubicBezTo>
                <a:lnTo>
                  <a:pt x="7109" y="7785"/>
                </a:lnTo>
                <a:cubicBezTo>
                  <a:pt x="6966" y="7785"/>
                  <a:pt x="6835" y="7750"/>
                  <a:pt x="6716" y="7702"/>
                </a:cubicBezTo>
                <a:cubicBezTo>
                  <a:pt x="6597" y="7666"/>
                  <a:pt x="6478" y="7583"/>
                  <a:pt x="6371" y="7500"/>
                </a:cubicBezTo>
                <a:cubicBezTo>
                  <a:pt x="6228" y="7381"/>
                  <a:pt x="6049" y="7309"/>
                  <a:pt x="5859" y="7309"/>
                </a:cubicBezTo>
                <a:lnTo>
                  <a:pt x="4942" y="7309"/>
                </a:lnTo>
                <a:lnTo>
                  <a:pt x="4942" y="4987"/>
                </a:lnTo>
                <a:cubicBezTo>
                  <a:pt x="4942" y="4892"/>
                  <a:pt x="4871" y="4821"/>
                  <a:pt x="4775" y="4821"/>
                </a:cubicBezTo>
                <a:cubicBezTo>
                  <a:pt x="4692" y="4821"/>
                  <a:pt x="4621" y="4892"/>
                  <a:pt x="4621" y="4987"/>
                </a:cubicBezTo>
                <a:lnTo>
                  <a:pt x="4621" y="7619"/>
                </a:lnTo>
                <a:lnTo>
                  <a:pt x="3251" y="7619"/>
                </a:lnTo>
                <a:lnTo>
                  <a:pt x="3251" y="3166"/>
                </a:lnTo>
                <a:lnTo>
                  <a:pt x="4621" y="3166"/>
                </a:lnTo>
                <a:lnTo>
                  <a:pt x="4621" y="4309"/>
                </a:lnTo>
                <a:cubicBezTo>
                  <a:pt x="4621" y="4404"/>
                  <a:pt x="4692" y="4475"/>
                  <a:pt x="4775" y="4475"/>
                </a:cubicBezTo>
                <a:cubicBezTo>
                  <a:pt x="4871" y="4475"/>
                  <a:pt x="4942" y="4404"/>
                  <a:pt x="4942" y="4309"/>
                </a:cubicBezTo>
                <a:lnTo>
                  <a:pt x="4942" y="3475"/>
                </a:lnTo>
                <a:lnTo>
                  <a:pt x="5561" y="3475"/>
                </a:lnTo>
                <a:cubicBezTo>
                  <a:pt x="6049" y="3451"/>
                  <a:pt x="6526" y="3225"/>
                  <a:pt x="6847" y="2868"/>
                </a:cubicBezTo>
                <a:cubicBezTo>
                  <a:pt x="7597" y="2047"/>
                  <a:pt x="8538" y="951"/>
                  <a:pt x="8859" y="344"/>
                </a:cubicBezTo>
                <a:cubicBezTo>
                  <a:pt x="8877" y="337"/>
                  <a:pt x="8900" y="334"/>
                  <a:pt x="8928" y="334"/>
                </a:cubicBezTo>
                <a:cubicBezTo>
                  <a:pt x="8994" y="334"/>
                  <a:pt x="9085" y="351"/>
                  <a:pt x="9169" y="368"/>
                </a:cubicBezTo>
                <a:cubicBezTo>
                  <a:pt x="9443" y="534"/>
                  <a:pt x="9574" y="856"/>
                  <a:pt x="9502" y="1177"/>
                </a:cubicBezTo>
                <a:lnTo>
                  <a:pt x="8812" y="2797"/>
                </a:lnTo>
                <a:cubicBezTo>
                  <a:pt x="8800" y="2856"/>
                  <a:pt x="8800" y="2916"/>
                  <a:pt x="8835" y="2963"/>
                </a:cubicBezTo>
                <a:cubicBezTo>
                  <a:pt x="8859" y="2999"/>
                  <a:pt x="8919" y="3035"/>
                  <a:pt x="8978" y="3035"/>
                </a:cubicBezTo>
                <a:lnTo>
                  <a:pt x="10836" y="3035"/>
                </a:lnTo>
                <a:cubicBezTo>
                  <a:pt x="11074" y="3035"/>
                  <a:pt x="11276" y="3225"/>
                  <a:pt x="11276" y="3463"/>
                </a:cubicBezTo>
                <a:lnTo>
                  <a:pt x="11276" y="3523"/>
                </a:lnTo>
                <a:cubicBezTo>
                  <a:pt x="11276" y="3761"/>
                  <a:pt x="11074" y="3952"/>
                  <a:pt x="10836" y="3952"/>
                </a:cubicBezTo>
                <a:lnTo>
                  <a:pt x="9859" y="3952"/>
                </a:lnTo>
                <a:cubicBezTo>
                  <a:pt x="9764" y="3952"/>
                  <a:pt x="9693" y="4035"/>
                  <a:pt x="9693" y="4118"/>
                </a:cubicBezTo>
                <a:cubicBezTo>
                  <a:pt x="9693" y="4213"/>
                  <a:pt x="9764" y="4285"/>
                  <a:pt x="9859" y="4285"/>
                </a:cubicBezTo>
                <a:lnTo>
                  <a:pt x="10621" y="4285"/>
                </a:lnTo>
                <a:cubicBezTo>
                  <a:pt x="10859" y="4285"/>
                  <a:pt x="11038" y="4475"/>
                  <a:pt x="11038" y="4702"/>
                </a:cubicBezTo>
                <a:lnTo>
                  <a:pt x="11038" y="4785"/>
                </a:lnTo>
                <a:cubicBezTo>
                  <a:pt x="11038" y="5023"/>
                  <a:pt x="10836" y="5202"/>
                  <a:pt x="10621" y="5202"/>
                </a:cubicBezTo>
                <a:lnTo>
                  <a:pt x="9859" y="5202"/>
                </a:lnTo>
                <a:cubicBezTo>
                  <a:pt x="9764" y="5202"/>
                  <a:pt x="9693" y="5285"/>
                  <a:pt x="9693" y="5368"/>
                </a:cubicBezTo>
                <a:cubicBezTo>
                  <a:pt x="9693" y="5464"/>
                  <a:pt x="9764" y="5535"/>
                  <a:pt x="9859" y="5535"/>
                </a:cubicBezTo>
                <a:lnTo>
                  <a:pt x="10443" y="5535"/>
                </a:lnTo>
                <a:cubicBezTo>
                  <a:pt x="10657" y="5535"/>
                  <a:pt x="10859" y="5714"/>
                  <a:pt x="10859" y="5952"/>
                </a:cubicBezTo>
                <a:lnTo>
                  <a:pt x="10859" y="6071"/>
                </a:lnTo>
                <a:cubicBezTo>
                  <a:pt x="10859" y="6297"/>
                  <a:pt x="10681" y="6488"/>
                  <a:pt x="10443" y="6488"/>
                </a:cubicBezTo>
                <a:lnTo>
                  <a:pt x="9859" y="6488"/>
                </a:lnTo>
                <a:cubicBezTo>
                  <a:pt x="9764" y="6488"/>
                  <a:pt x="9693" y="6559"/>
                  <a:pt x="9693" y="6654"/>
                </a:cubicBezTo>
                <a:cubicBezTo>
                  <a:pt x="9693" y="6738"/>
                  <a:pt x="9764" y="6809"/>
                  <a:pt x="9859" y="6809"/>
                </a:cubicBezTo>
                <a:lnTo>
                  <a:pt x="10086" y="6809"/>
                </a:lnTo>
                <a:cubicBezTo>
                  <a:pt x="10288" y="6809"/>
                  <a:pt x="10467" y="6988"/>
                  <a:pt x="10467" y="7202"/>
                </a:cubicBezTo>
                <a:lnTo>
                  <a:pt x="10467" y="7369"/>
                </a:lnTo>
                <a:cubicBezTo>
                  <a:pt x="10467" y="7571"/>
                  <a:pt x="10288" y="7750"/>
                  <a:pt x="10086" y="7750"/>
                </a:cubicBezTo>
                <a:lnTo>
                  <a:pt x="8442" y="7750"/>
                </a:lnTo>
                <a:cubicBezTo>
                  <a:pt x="8359" y="7750"/>
                  <a:pt x="8276" y="7821"/>
                  <a:pt x="8276" y="7916"/>
                </a:cubicBezTo>
                <a:cubicBezTo>
                  <a:pt x="8276" y="8000"/>
                  <a:pt x="8359" y="8083"/>
                  <a:pt x="8442" y="8083"/>
                </a:cubicBezTo>
                <a:lnTo>
                  <a:pt x="10086" y="8083"/>
                </a:lnTo>
                <a:cubicBezTo>
                  <a:pt x="10478" y="8083"/>
                  <a:pt x="10812" y="7750"/>
                  <a:pt x="10812" y="7345"/>
                </a:cubicBezTo>
                <a:lnTo>
                  <a:pt x="10812" y="7214"/>
                </a:lnTo>
                <a:cubicBezTo>
                  <a:pt x="10812" y="7047"/>
                  <a:pt x="10764" y="6904"/>
                  <a:pt x="10681" y="6785"/>
                </a:cubicBezTo>
                <a:cubicBezTo>
                  <a:pt x="10979" y="6678"/>
                  <a:pt x="11181" y="6392"/>
                  <a:pt x="11181" y="6071"/>
                </a:cubicBezTo>
                <a:lnTo>
                  <a:pt x="11181" y="5952"/>
                </a:lnTo>
                <a:cubicBezTo>
                  <a:pt x="11181" y="5761"/>
                  <a:pt x="11109" y="5583"/>
                  <a:pt x="10990" y="5440"/>
                </a:cubicBezTo>
                <a:cubicBezTo>
                  <a:pt x="11217" y="5309"/>
                  <a:pt x="11371" y="5071"/>
                  <a:pt x="11371" y="4785"/>
                </a:cubicBezTo>
                <a:lnTo>
                  <a:pt x="11371" y="4702"/>
                </a:lnTo>
                <a:cubicBezTo>
                  <a:pt x="11371" y="4511"/>
                  <a:pt x="11300" y="4333"/>
                  <a:pt x="11181" y="4190"/>
                </a:cubicBezTo>
                <a:cubicBezTo>
                  <a:pt x="11431" y="4059"/>
                  <a:pt x="11598" y="3809"/>
                  <a:pt x="11598" y="3511"/>
                </a:cubicBezTo>
                <a:lnTo>
                  <a:pt x="11598" y="3451"/>
                </a:lnTo>
                <a:cubicBezTo>
                  <a:pt x="11610" y="3023"/>
                  <a:pt x="11276" y="2678"/>
                  <a:pt x="10836" y="2678"/>
                </a:cubicBezTo>
                <a:lnTo>
                  <a:pt x="9228" y="2678"/>
                </a:lnTo>
                <a:lnTo>
                  <a:pt x="9824" y="1273"/>
                </a:lnTo>
                <a:cubicBezTo>
                  <a:pt x="9824" y="1273"/>
                  <a:pt x="9824" y="1261"/>
                  <a:pt x="9847" y="1261"/>
                </a:cubicBezTo>
                <a:cubicBezTo>
                  <a:pt x="9978" y="784"/>
                  <a:pt x="9764" y="296"/>
                  <a:pt x="9335" y="58"/>
                </a:cubicBezTo>
                <a:cubicBezTo>
                  <a:pt x="9324" y="46"/>
                  <a:pt x="9312" y="46"/>
                  <a:pt x="9288" y="46"/>
                </a:cubicBezTo>
                <a:cubicBezTo>
                  <a:pt x="9196" y="25"/>
                  <a:pt x="9071" y="1"/>
                  <a:pt x="89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484" name="Google Shape;11484;p61"/>
          <p:cNvGrpSpPr/>
          <p:nvPr/>
        </p:nvGrpSpPr>
        <p:grpSpPr>
          <a:xfrm>
            <a:off x="3103646" y="3766076"/>
            <a:ext cx="360233" cy="362451"/>
            <a:chOff x="3107608" y="3763401"/>
            <a:chExt cx="360233" cy="362451"/>
          </a:xfrm>
        </p:grpSpPr>
        <p:sp>
          <p:nvSpPr>
            <p:cNvPr id="11485" name="Google Shape;11485;p61"/>
            <p:cNvSpPr/>
            <p:nvPr/>
          </p:nvSpPr>
          <p:spPr>
            <a:xfrm>
              <a:off x="3323349" y="3763401"/>
              <a:ext cx="144492" cy="152729"/>
            </a:xfrm>
            <a:custGeom>
              <a:avLst/>
              <a:gdLst/>
              <a:ahLst/>
              <a:cxnLst/>
              <a:rect l="l" t="t" r="r" b="b"/>
              <a:pathLst>
                <a:path w="4561" h="4821" extrusionOk="0">
                  <a:moveTo>
                    <a:pt x="2354" y="0"/>
                  </a:moveTo>
                  <a:cubicBezTo>
                    <a:pt x="1649" y="0"/>
                    <a:pt x="958" y="340"/>
                    <a:pt x="524" y="975"/>
                  </a:cubicBezTo>
                  <a:cubicBezTo>
                    <a:pt x="1" y="1761"/>
                    <a:pt x="36" y="2761"/>
                    <a:pt x="584" y="3511"/>
                  </a:cubicBezTo>
                  <a:lnTo>
                    <a:pt x="536" y="4642"/>
                  </a:lnTo>
                  <a:cubicBezTo>
                    <a:pt x="536" y="4702"/>
                    <a:pt x="572" y="4761"/>
                    <a:pt x="620" y="4797"/>
                  </a:cubicBezTo>
                  <a:cubicBezTo>
                    <a:pt x="644" y="4809"/>
                    <a:pt x="679" y="4821"/>
                    <a:pt x="703" y="4821"/>
                  </a:cubicBezTo>
                  <a:cubicBezTo>
                    <a:pt x="739" y="4821"/>
                    <a:pt x="751" y="4821"/>
                    <a:pt x="775" y="4809"/>
                  </a:cubicBezTo>
                  <a:lnTo>
                    <a:pt x="1810" y="4333"/>
                  </a:lnTo>
                  <a:cubicBezTo>
                    <a:pt x="1987" y="4375"/>
                    <a:pt x="2166" y="4395"/>
                    <a:pt x="2342" y="4395"/>
                  </a:cubicBezTo>
                  <a:cubicBezTo>
                    <a:pt x="3067" y="4395"/>
                    <a:pt x="3756" y="4048"/>
                    <a:pt x="4168" y="3416"/>
                  </a:cubicBezTo>
                  <a:cubicBezTo>
                    <a:pt x="4323" y="3214"/>
                    <a:pt x="4430" y="2975"/>
                    <a:pt x="4489" y="2725"/>
                  </a:cubicBezTo>
                  <a:cubicBezTo>
                    <a:pt x="4501" y="2630"/>
                    <a:pt x="4454" y="2547"/>
                    <a:pt x="4370" y="2511"/>
                  </a:cubicBezTo>
                  <a:cubicBezTo>
                    <a:pt x="4360" y="2510"/>
                    <a:pt x="4351" y="2509"/>
                    <a:pt x="4341" y="2509"/>
                  </a:cubicBezTo>
                  <a:cubicBezTo>
                    <a:pt x="4258" y="2509"/>
                    <a:pt x="4188" y="2555"/>
                    <a:pt x="4156" y="2630"/>
                  </a:cubicBezTo>
                  <a:cubicBezTo>
                    <a:pt x="4108" y="2844"/>
                    <a:pt x="4025" y="3035"/>
                    <a:pt x="3906" y="3225"/>
                  </a:cubicBezTo>
                  <a:cubicBezTo>
                    <a:pt x="3551" y="3749"/>
                    <a:pt x="2961" y="4059"/>
                    <a:pt x="2349" y="4059"/>
                  </a:cubicBezTo>
                  <a:cubicBezTo>
                    <a:pt x="2182" y="4059"/>
                    <a:pt x="2013" y="4036"/>
                    <a:pt x="1846" y="3987"/>
                  </a:cubicBezTo>
                  <a:cubicBezTo>
                    <a:pt x="1831" y="3982"/>
                    <a:pt x="1816" y="3980"/>
                    <a:pt x="1801" y="3980"/>
                  </a:cubicBezTo>
                  <a:cubicBezTo>
                    <a:pt x="1779" y="3980"/>
                    <a:pt x="1755" y="3985"/>
                    <a:pt x="1727" y="3999"/>
                  </a:cubicBezTo>
                  <a:lnTo>
                    <a:pt x="894" y="4392"/>
                  </a:lnTo>
                  <a:lnTo>
                    <a:pt x="941" y="3464"/>
                  </a:lnTo>
                  <a:cubicBezTo>
                    <a:pt x="941" y="3416"/>
                    <a:pt x="929" y="3392"/>
                    <a:pt x="917" y="3344"/>
                  </a:cubicBezTo>
                  <a:cubicBezTo>
                    <a:pt x="405" y="2713"/>
                    <a:pt x="382" y="1832"/>
                    <a:pt x="822" y="1154"/>
                  </a:cubicBezTo>
                  <a:cubicBezTo>
                    <a:pt x="1096" y="749"/>
                    <a:pt x="1513" y="475"/>
                    <a:pt x="2001" y="368"/>
                  </a:cubicBezTo>
                  <a:cubicBezTo>
                    <a:pt x="2120" y="348"/>
                    <a:pt x="2239" y="337"/>
                    <a:pt x="2357" y="337"/>
                  </a:cubicBezTo>
                  <a:cubicBezTo>
                    <a:pt x="2723" y="337"/>
                    <a:pt x="3079" y="438"/>
                    <a:pt x="3394" y="654"/>
                  </a:cubicBezTo>
                  <a:cubicBezTo>
                    <a:pt x="3870" y="963"/>
                    <a:pt x="4168" y="1475"/>
                    <a:pt x="4215" y="2035"/>
                  </a:cubicBezTo>
                  <a:cubicBezTo>
                    <a:pt x="4226" y="2123"/>
                    <a:pt x="4299" y="2191"/>
                    <a:pt x="4376" y="2191"/>
                  </a:cubicBezTo>
                  <a:cubicBezTo>
                    <a:pt x="4382" y="2191"/>
                    <a:pt x="4388" y="2190"/>
                    <a:pt x="4394" y="2190"/>
                  </a:cubicBezTo>
                  <a:cubicBezTo>
                    <a:pt x="4489" y="2166"/>
                    <a:pt x="4561" y="2094"/>
                    <a:pt x="4549" y="2011"/>
                  </a:cubicBezTo>
                  <a:cubicBezTo>
                    <a:pt x="4489" y="1332"/>
                    <a:pt x="4132" y="737"/>
                    <a:pt x="3572" y="368"/>
                  </a:cubicBezTo>
                  <a:cubicBezTo>
                    <a:pt x="3196" y="120"/>
                    <a:pt x="2773" y="0"/>
                    <a:pt x="23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6" name="Google Shape;11486;p61"/>
            <p:cNvSpPr/>
            <p:nvPr/>
          </p:nvSpPr>
          <p:spPr>
            <a:xfrm>
              <a:off x="3107608" y="3863256"/>
              <a:ext cx="333844" cy="262596"/>
            </a:xfrm>
            <a:custGeom>
              <a:avLst/>
              <a:gdLst/>
              <a:ahLst/>
              <a:cxnLst/>
              <a:rect l="l" t="t" r="r" b="b"/>
              <a:pathLst>
                <a:path w="10538" h="8289" extrusionOk="0">
                  <a:moveTo>
                    <a:pt x="4894" y="2121"/>
                  </a:moveTo>
                  <a:lnTo>
                    <a:pt x="5108" y="2324"/>
                  </a:lnTo>
                  <a:lnTo>
                    <a:pt x="4822" y="2609"/>
                  </a:lnTo>
                  <a:lnTo>
                    <a:pt x="4537" y="2883"/>
                  </a:lnTo>
                  <a:lnTo>
                    <a:pt x="4334" y="2681"/>
                  </a:lnTo>
                  <a:lnTo>
                    <a:pt x="4894" y="2121"/>
                  </a:lnTo>
                  <a:close/>
                  <a:moveTo>
                    <a:pt x="5894" y="3431"/>
                  </a:moveTo>
                  <a:cubicBezTo>
                    <a:pt x="5965" y="3431"/>
                    <a:pt x="6025" y="3455"/>
                    <a:pt x="6084" y="3502"/>
                  </a:cubicBezTo>
                  <a:lnTo>
                    <a:pt x="6275" y="3693"/>
                  </a:lnTo>
                  <a:cubicBezTo>
                    <a:pt x="6382" y="3800"/>
                    <a:pt x="6382" y="3967"/>
                    <a:pt x="6275" y="4062"/>
                  </a:cubicBezTo>
                  <a:cubicBezTo>
                    <a:pt x="6227" y="4110"/>
                    <a:pt x="6156" y="4145"/>
                    <a:pt x="6084" y="4145"/>
                  </a:cubicBezTo>
                  <a:cubicBezTo>
                    <a:pt x="6013" y="4145"/>
                    <a:pt x="5953" y="4110"/>
                    <a:pt x="5894" y="4062"/>
                  </a:cubicBezTo>
                  <a:lnTo>
                    <a:pt x="5703" y="3872"/>
                  </a:lnTo>
                  <a:cubicBezTo>
                    <a:pt x="5596" y="3764"/>
                    <a:pt x="5596" y="3586"/>
                    <a:pt x="5703" y="3502"/>
                  </a:cubicBezTo>
                  <a:cubicBezTo>
                    <a:pt x="5739" y="3455"/>
                    <a:pt x="5810" y="3431"/>
                    <a:pt x="5894" y="3431"/>
                  </a:cubicBezTo>
                  <a:close/>
                  <a:moveTo>
                    <a:pt x="6453" y="1955"/>
                  </a:moveTo>
                  <a:lnTo>
                    <a:pt x="8085" y="3919"/>
                  </a:lnTo>
                  <a:cubicBezTo>
                    <a:pt x="8406" y="4324"/>
                    <a:pt x="8454" y="4812"/>
                    <a:pt x="8192" y="5062"/>
                  </a:cubicBezTo>
                  <a:lnTo>
                    <a:pt x="7275" y="5991"/>
                  </a:lnTo>
                  <a:cubicBezTo>
                    <a:pt x="7159" y="6102"/>
                    <a:pt x="7004" y="6155"/>
                    <a:pt x="6835" y="6155"/>
                  </a:cubicBezTo>
                  <a:cubicBezTo>
                    <a:pt x="6606" y="6155"/>
                    <a:pt x="6351" y="6057"/>
                    <a:pt x="6132" y="5872"/>
                  </a:cubicBezTo>
                  <a:lnTo>
                    <a:pt x="4167" y="4241"/>
                  </a:lnTo>
                  <a:lnTo>
                    <a:pt x="4167" y="4062"/>
                  </a:lnTo>
                  <a:cubicBezTo>
                    <a:pt x="4191" y="3824"/>
                    <a:pt x="4298" y="3610"/>
                    <a:pt x="4465" y="3443"/>
                  </a:cubicBezTo>
                  <a:lnTo>
                    <a:pt x="4941" y="2967"/>
                  </a:lnTo>
                  <a:lnTo>
                    <a:pt x="5358" y="3383"/>
                  </a:lnTo>
                  <a:cubicBezTo>
                    <a:pt x="5239" y="3610"/>
                    <a:pt x="5263" y="3907"/>
                    <a:pt x="5453" y="4098"/>
                  </a:cubicBezTo>
                  <a:lnTo>
                    <a:pt x="5656" y="4288"/>
                  </a:lnTo>
                  <a:cubicBezTo>
                    <a:pt x="5775" y="4407"/>
                    <a:pt x="5918" y="4467"/>
                    <a:pt x="6084" y="4467"/>
                  </a:cubicBezTo>
                  <a:cubicBezTo>
                    <a:pt x="6191" y="4467"/>
                    <a:pt x="6287" y="4431"/>
                    <a:pt x="6370" y="4395"/>
                  </a:cubicBezTo>
                  <a:lnTo>
                    <a:pt x="7239" y="5265"/>
                  </a:lnTo>
                  <a:cubicBezTo>
                    <a:pt x="7275" y="5300"/>
                    <a:pt x="7323" y="5312"/>
                    <a:pt x="7358" y="5312"/>
                  </a:cubicBezTo>
                  <a:cubicBezTo>
                    <a:pt x="7406" y="5312"/>
                    <a:pt x="7454" y="5300"/>
                    <a:pt x="7477" y="5265"/>
                  </a:cubicBezTo>
                  <a:cubicBezTo>
                    <a:pt x="7537" y="5217"/>
                    <a:pt x="7537" y="5086"/>
                    <a:pt x="7477" y="5026"/>
                  </a:cubicBezTo>
                  <a:lnTo>
                    <a:pt x="6608" y="4157"/>
                  </a:lnTo>
                  <a:cubicBezTo>
                    <a:pt x="6727" y="3931"/>
                    <a:pt x="6692" y="3633"/>
                    <a:pt x="6501" y="3443"/>
                  </a:cubicBezTo>
                  <a:lnTo>
                    <a:pt x="6311" y="3252"/>
                  </a:lnTo>
                  <a:cubicBezTo>
                    <a:pt x="6188" y="3130"/>
                    <a:pt x="6032" y="3073"/>
                    <a:pt x="5880" y="3073"/>
                  </a:cubicBezTo>
                  <a:cubicBezTo>
                    <a:pt x="5779" y="3073"/>
                    <a:pt x="5681" y="3098"/>
                    <a:pt x="5596" y="3145"/>
                  </a:cubicBezTo>
                  <a:lnTo>
                    <a:pt x="5179" y="2729"/>
                  </a:lnTo>
                  <a:lnTo>
                    <a:pt x="5453" y="2443"/>
                  </a:lnTo>
                  <a:lnTo>
                    <a:pt x="5656" y="2252"/>
                  </a:lnTo>
                  <a:cubicBezTo>
                    <a:pt x="5834" y="2074"/>
                    <a:pt x="6084" y="1967"/>
                    <a:pt x="6334" y="1955"/>
                  </a:cubicBezTo>
                  <a:close/>
                  <a:moveTo>
                    <a:pt x="1928" y="1"/>
                  </a:moveTo>
                  <a:cubicBezTo>
                    <a:pt x="1921" y="1"/>
                    <a:pt x="1913" y="1"/>
                    <a:pt x="1905" y="2"/>
                  </a:cubicBezTo>
                  <a:cubicBezTo>
                    <a:pt x="1477" y="62"/>
                    <a:pt x="1072" y="252"/>
                    <a:pt x="762" y="550"/>
                  </a:cubicBezTo>
                  <a:cubicBezTo>
                    <a:pt x="0" y="1312"/>
                    <a:pt x="0" y="2562"/>
                    <a:pt x="762" y="3324"/>
                  </a:cubicBezTo>
                  <a:lnTo>
                    <a:pt x="1393" y="3967"/>
                  </a:lnTo>
                  <a:cubicBezTo>
                    <a:pt x="1750" y="4324"/>
                    <a:pt x="1810" y="4884"/>
                    <a:pt x="1524" y="5300"/>
                  </a:cubicBezTo>
                  <a:cubicBezTo>
                    <a:pt x="1489" y="5360"/>
                    <a:pt x="1500" y="5455"/>
                    <a:pt x="1548" y="5515"/>
                  </a:cubicBezTo>
                  <a:lnTo>
                    <a:pt x="2131" y="6086"/>
                  </a:lnTo>
                  <a:cubicBezTo>
                    <a:pt x="2155" y="6122"/>
                    <a:pt x="2203" y="6134"/>
                    <a:pt x="2239" y="6134"/>
                  </a:cubicBezTo>
                  <a:lnTo>
                    <a:pt x="2262" y="6134"/>
                  </a:lnTo>
                  <a:cubicBezTo>
                    <a:pt x="2298" y="6134"/>
                    <a:pt x="2346" y="6110"/>
                    <a:pt x="2381" y="6074"/>
                  </a:cubicBezTo>
                  <a:cubicBezTo>
                    <a:pt x="3084" y="5193"/>
                    <a:pt x="3001" y="3931"/>
                    <a:pt x="2215" y="3145"/>
                  </a:cubicBezTo>
                  <a:lnTo>
                    <a:pt x="1572" y="2502"/>
                  </a:lnTo>
                  <a:cubicBezTo>
                    <a:pt x="1429" y="2359"/>
                    <a:pt x="1334" y="2145"/>
                    <a:pt x="1334" y="1919"/>
                  </a:cubicBezTo>
                  <a:cubicBezTo>
                    <a:pt x="1334" y="1705"/>
                    <a:pt x="1429" y="1502"/>
                    <a:pt x="1572" y="1347"/>
                  </a:cubicBezTo>
                  <a:cubicBezTo>
                    <a:pt x="1727" y="1193"/>
                    <a:pt x="1929" y="1109"/>
                    <a:pt x="2155" y="1109"/>
                  </a:cubicBezTo>
                  <a:cubicBezTo>
                    <a:pt x="2381" y="1109"/>
                    <a:pt x="2572" y="1193"/>
                    <a:pt x="2739" y="1347"/>
                  </a:cubicBezTo>
                  <a:lnTo>
                    <a:pt x="3965" y="2574"/>
                  </a:lnTo>
                  <a:cubicBezTo>
                    <a:pt x="3941" y="2609"/>
                    <a:pt x="3929" y="2657"/>
                    <a:pt x="3929" y="2693"/>
                  </a:cubicBezTo>
                  <a:cubicBezTo>
                    <a:pt x="3929" y="2740"/>
                    <a:pt x="3941" y="2788"/>
                    <a:pt x="3965" y="2812"/>
                  </a:cubicBezTo>
                  <a:lnTo>
                    <a:pt x="4298" y="3145"/>
                  </a:lnTo>
                  <a:lnTo>
                    <a:pt x="4227" y="3217"/>
                  </a:lnTo>
                  <a:cubicBezTo>
                    <a:pt x="3929" y="3514"/>
                    <a:pt x="3775" y="3931"/>
                    <a:pt x="3834" y="4348"/>
                  </a:cubicBezTo>
                  <a:cubicBezTo>
                    <a:pt x="3870" y="4586"/>
                    <a:pt x="3965" y="4812"/>
                    <a:pt x="4120" y="5003"/>
                  </a:cubicBezTo>
                  <a:lnTo>
                    <a:pt x="6275" y="7777"/>
                  </a:lnTo>
                  <a:cubicBezTo>
                    <a:pt x="6513" y="8086"/>
                    <a:pt x="6870" y="8265"/>
                    <a:pt x="7263" y="8289"/>
                  </a:cubicBezTo>
                  <a:lnTo>
                    <a:pt x="7346" y="8289"/>
                  </a:lnTo>
                  <a:cubicBezTo>
                    <a:pt x="7704" y="8289"/>
                    <a:pt x="8049" y="8146"/>
                    <a:pt x="8311" y="7896"/>
                  </a:cubicBezTo>
                  <a:lnTo>
                    <a:pt x="9549" y="6658"/>
                  </a:lnTo>
                  <a:cubicBezTo>
                    <a:pt x="9609" y="6598"/>
                    <a:pt x="9609" y="6479"/>
                    <a:pt x="9549" y="6419"/>
                  </a:cubicBezTo>
                  <a:cubicBezTo>
                    <a:pt x="9519" y="6390"/>
                    <a:pt x="9475" y="6375"/>
                    <a:pt x="9430" y="6375"/>
                  </a:cubicBezTo>
                  <a:cubicBezTo>
                    <a:pt x="9385" y="6375"/>
                    <a:pt x="9341" y="6390"/>
                    <a:pt x="9311" y="6419"/>
                  </a:cubicBezTo>
                  <a:lnTo>
                    <a:pt x="8073" y="7658"/>
                  </a:lnTo>
                  <a:cubicBezTo>
                    <a:pt x="7880" y="7850"/>
                    <a:pt x="7613" y="7956"/>
                    <a:pt x="7332" y="7956"/>
                  </a:cubicBezTo>
                  <a:cubicBezTo>
                    <a:pt x="7317" y="7956"/>
                    <a:pt x="7302" y="7956"/>
                    <a:pt x="7287" y="7955"/>
                  </a:cubicBezTo>
                  <a:cubicBezTo>
                    <a:pt x="6989" y="7932"/>
                    <a:pt x="6727" y="7789"/>
                    <a:pt x="6549" y="7562"/>
                  </a:cubicBezTo>
                  <a:lnTo>
                    <a:pt x="4501" y="4943"/>
                  </a:lnTo>
                  <a:lnTo>
                    <a:pt x="5918" y="6122"/>
                  </a:lnTo>
                  <a:cubicBezTo>
                    <a:pt x="6203" y="6360"/>
                    <a:pt x="6525" y="6479"/>
                    <a:pt x="6846" y="6479"/>
                  </a:cubicBezTo>
                  <a:cubicBezTo>
                    <a:pt x="7108" y="6479"/>
                    <a:pt x="7346" y="6384"/>
                    <a:pt x="7525" y="6205"/>
                  </a:cubicBezTo>
                  <a:lnTo>
                    <a:pt x="8454" y="5288"/>
                  </a:lnTo>
                  <a:cubicBezTo>
                    <a:pt x="8835" y="4895"/>
                    <a:pt x="8787" y="4217"/>
                    <a:pt x="8358" y="3681"/>
                  </a:cubicBezTo>
                  <a:lnTo>
                    <a:pt x="7192" y="2264"/>
                  </a:lnTo>
                  <a:lnTo>
                    <a:pt x="9811" y="4300"/>
                  </a:lnTo>
                  <a:cubicBezTo>
                    <a:pt x="10049" y="4479"/>
                    <a:pt x="10180" y="4753"/>
                    <a:pt x="10192" y="5050"/>
                  </a:cubicBezTo>
                  <a:cubicBezTo>
                    <a:pt x="10204" y="5348"/>
                    <a:pt x="10109" y="5634"/>
                    <a:pt x="9894" y="5836"/>
                  </a:cubicBezTo>
                  <a:cubicBezTo>
                    <a:pt x="9835" y="5896"/>
                    <a:pt x="9835" y="6015"/>
                    <a:pt x="9894" y="6074"/>
                  </a:cubicBezTo>
                  <a:cubicBezTo>
                    <a:pt x="9924" y="6104"/>
                    <a:pt x="9969" y="6119"/>
                    <a:pt x="10013" y="6119"/>
                  </a:cubicBezTo>
                  <a:cubicBezTo>
                    <a:pt x="10058" y="6119"/>
                    <a:pt x="10103" y="6104"/>
                    <a:pt x="10132" y="6074"/>
                  </a:cubicBezTo>
                  <a:cubicBezTo>
                    <a:pt x="10382" y="5824"/>
                    <a:pt x="10537" y="5455"/>
                    <a:pt x="10502" y="5062"/>
                  </a:cubicBezTo>
                  <a:cubicBezTo>
                    <a:pt x="10478" y="4681"/>
                    <a:pt x="10299" y="4324"/>
                    <a:pt x="9990" y="4086"/>
                  </a:cubicBezTo>
                  <a:lnTo>
                    <a:pt x="7227" y="1943"/>
                  </a:lnTo>
                  <a:lnTo>
                    <a:pt x="7215" y="1919"/>
                  </a:lnTo>
                  <a:cubicBezTo>
                    <a:pt x="7025" y="1776"/>
                    <a:pt x="6799" y="1669"/>
                    <a:pt x="6561" y="1645"/>
                  </a:cubicBezTo>
                  <a:cubicBezTo>
                    <a:pt x="6498" y="1636"/>
                    <a:pt x="6436" y="1632"/>
                    <a:pt x="6374" y="1632"/>
                  </a:cubicBezTo>
                  <a:cubicBezTo>
                    <a:pt x="6022" y="1632"/>
                    <a:pt x="5683" y="1773"/>
                    <a:pt x="5429" y="2026"/>
                  </a:cubicBezTo>
                  <a:lnTo>
                    <a:pt x="5358" y="2097"/>
                  </a:lnTo>
                  <a:lnTo>
                    <a:pt x="5025" y="1776"/>
                  </a:lnTo>
                  <a:cubicBezTo>
                    <a:pt x="5001" y="1740"/>
                    <a:pt x="4953" y="1728"/>
                    <a:pt x="4906" y="1728"/>
                  </a:cubicBezTo>
                  <a:cubicBezTo>
                    <a:pt x="4870" y="1728"/>
                    <a:pt x="4822" y="1740"/>
                    <a:pt x="4787" y="1776"/>
                  </a:cubicBezTo>
                  <a:lnTo>
                    <a:pt x="3560" y="538"/>
                  </a:lnTo>
                  <a:cubicBezTo>
                    <a:pt x="3298" y="288"/>
                    <a:pt x="2989" y="109"/>
                    <a:pt x="2643" y="38"/>
                  </a:cubicBezTo>
                  <a:cubicBezTo>
                    <a:pt x="2627" y="31"/>
                    <a:pt x="2610" y="27"/>
                    <a:pt x="2593" y="27"/>
                  </a:cubicBezTo>
                  <a:cubicBezTo>
                    <a:pt x="2525" y="27"/>
                    <a:pt x="2460" y="81"/>
                    <a:pt x="2441" y="157"/>
                  </a:cubicBezTo>
                  <a:cubicBezTo>
                    <a:pt x="2405" y="240"/>
                    <a:pt x="2465" y="335"/>
                    <a:pt x="2560" y="359"/>
                  </a:cubicBezTo>
                  <a:cubicBezTo>
                    <a:pt x="2846" y="431"/>
                    <a:pt x="3096" y="585"/>
                    <a:pt x="3298" y="788"/>
                  </a:cubicBezTo>
                  <a:lnTo>
                    <a:pt x="4537" y="2026"/>
                  </a:lnTo>
                  <a:lnTo>
                    <a:pt x="4215" y="2359"/>
                  </a:lnTo>
                  <a:lnTo>
                    <a:pt x="2977" y="1121"/>
                  </a:lnTo>
                  <a:cubicBezTo>
                    <a:pt x="2751" y="895"/>
                    <a:pt x="2465" y="776"/>
                    <a:pt x="2155" y="776"/>
                  </a:cubicBezTo>
                  <a:cubicBezTo>
                    <a:pt x="1846" y="776"/>
                    <a:pt x="1560" y="895"/>
                    <a:pt x="1334" y="1121"/>
                  </a:cubicBezTo>
                  <a:cubicBezTo>
                    <a:pt x="1119" y="1347"/>
                    <a:pt x="1000" y="1621"/>
                    <a:pt x="1000" y="1943"/>
                  </a:cubicBezTo>
                  <a:cubicBezTo>
                    <a:pt x="1000" y="2252"/>
                    <a:pt x="1119" y="2538"/>
                    <a:pt x="1334" y="2752"/>
                  </a:cubicBezTo>
                  <a:lnTo>
                    <a:pt x="1977" y="3395"/>
                  </a:lnTo>
                  <a:cubicBezTo>
                    <a:pt x="2608" y="4026"/>
                    <a:pt x="2703" y="4991"/>
                    <a:pt x="2227" y="5729"/>
                  </a:cubicBezTo>
                  <a:lnTo>
                    <a:pt x="1893" y="5396"/>
                  </a:lnTo>
                  <a:cubicBezTo>
                    <a:pt x="2167" y="4860"/>
                    <a:pt x="2084" y="4181"/>
                    <a:pt x="1655" y="3741"/>
                  </a:cubicBezTo>
                  <a:lnTo>
                    <a:pt x="1012" y="3098"/>
                  </a:lnTo>
                  <a:cubicBezTo>
                    <a:pt x="381" y="2478"/>
                    <a:pt x="381" y="1431"/>
                    <a:pt x="1012" y="812"/>
                  </a:cubicBezTo>
                  <a:cubicBezTo>
                    <a:pt x="1262" y="550"/>
                    <a:pt x="1596" y="395"/>
                    <a:pt x="1953" y="347"/>
                  </a:cubicBezTo>
                  <a:cubicBezTo>
                    <a:pt x="2036" y="335"/>
                    <a:pt x="2108" y="252"/>
                    <a:pt x="2096" y="157"/>
                  </a:cubicBezTo>
                  <a:cubicBezTo>
                    <a:pt x="2085" y="69"/>
                    <a:pt x="2023" y="1"/>
                    <a:pt x="19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7" name="Google Shape;11487;p61"/>
            <p:cNvSpPr/>
            <p:nvPr/>
          </p:nvSpPr>
          <p:spPr>
            <a:xfrm>
              <a:off x="3361840" y="3799453"/>
              <a:ext cx="74701" cy="71438"/>
            </a:xfrm>
            <a:custGeom>
              <a:avLst/>
              <a:gdLst/>
              <a:ahLst/>
              <a:cxnLst/>
              <a:rect l="l" t="t" r="r" b="b"/>
              <a:pathLst>
                <a:path w="2358" h="2255" extrusionOk="0">
                  <a:moveTo>
                    <a:pt x="1441" y="337"/>
                  </a:moveTo>
                  <a:cubicBezTo>
                    <a:pt x="1572" y="337"/>
                    <a:pt x="1691" y="385"/>
                    <a:pt x="1798" y="480"/>
                  </a:cubicBezTo>
                  <a:cubicBezTo>
                    <a:pt x="1988" y="682"/>
                    <a:pt x="1988" y="1004"/>
                    <a:pt x="1798" y="1194"/>
                  </a:cubicBezTo>
                  <a:cubicBezTo>
                    <a:pt x="1703" y="1296"/>
                    <a:pt x="1572" y="1346"/>
                    <a:pt x="1441" y="1346"/>
                  </a:cubicBezTo>
                  <a:cubicBezTo>
                    <a:pt x="1310" y="1346"/>
                    <a:pt x="1179" y="1296"/>
                    <a:pt x="1084" y="1194"/>
                  </a:cubicBezTo>
                  <a:cubicBezTo>
                    <a:pt x="893" y="1004"/>
                    <a:pt x="893" y="682"/>
                    <a:pt x="1084" y="480"/>
                  </a:cubicBezTo>
                  <a:cubicBezTo>
                    <a:pt x="1191" y="385"/>
                    <a:pt x="1310" y="337"/>
                    <a:pt x="1441" y="337"/>
                  </a:cubicBezTo>
                  <a:close/>
                  <a:moveTo>
                    <a:pt x="1424" y="1"/>
                  </a:moveTo>
                  <a:cubicBezTo>
                    <a:pt x="1209" y="1"/>
                    <a:pt x="994" y="81"/>
                    <a:pt x="833" y="242"/>
                  </a:cubicBezTo>
                  <a:cubicBezTo>
                    <a:pt x="548" y="528"/>
                    <a:pt x="500" y="980"/>
                    <a:pt x="726" y="1302"/>
                  </a:cubicBezTo>
                  <a:lnTo>
                    <a:pt x="60" y="1968"/>
                  </a:lnTo>
                  <a:cubicBezTo>
                    <a:pt x="0" y="2028"/>
                    <a:pt x="0" y="2147"/>
                    <a:pt x="60" y="2206"/>
                  </a:cubicBezTo>
                  <a:cubicBezTo>
                    <a:pt x="83" y="2242"/>
                    <a:pt x="131" y="2254"/>
                    <a:pt x="167" y="2254"/>
                  </a:cubicBezTo>
                  <a:cubicBezTo>
                    <a:pt x="214" y="2254"/>
                    <a:pt x="262" y="2242"/>
                    <a:pt x="286" y="2206"/>
                  </a:cubicBezTo>
                  <a:lnTo>
                    <a:pt x="964" y="1540"/>
                  </a:lnTo>
                  <a:cubicBezTo>
                    <a:pt x="1095" y="1635"/>
                    <a:pt x="1262" y="1671"/>
                    <a:pt x="1417" y="1671"/>
                  </a:cubicBezTo>
                  <a:cubicBezTo>
                    <a:pt x="1643" y="1671"/>
                    <a:pt x="1857" y="1587"/>
                    <a:pt x="2012" y="1421"/>
                  </a:cubicBezTo>
                  <a:cubicBezTo>
                    <a:pt x="2357" y="1111"/>
                    <a:pt x="2357" y="575"/>
                    <a:pt x="2024" y="242"/>
                  </a:cubicBezTo>
                  <a:cubicBezTo>
                    <a:pt x="1857" y="81"/>
                    <a:pt x="1640" y="1"/>
                    <a:pt x="14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88" name="Google Shape;11488;p61"/>
          <p:cNvGrpSpPr/>
          <p:nvPr/>
        </p:nvGrpSpPr>
        <p:grpSpPr>
          <a:xfrm>
            <a:off x="889343" y="3801227"/>
            <a:ext cx="351585" cy="339705"/>
            <a:chOff x="889343" y="3801227"/>
            <a:chExt cx="351585" cy="339705"/>
          </a:xfrm>
        </p:grpSpPr>
        <p:sp>
          <p:nvSpPr>
            <p:cNvPr id="11489" name="Google Shape;11489;p61"/>
            <p:cNvSpPr/>
            <p:nvPr/>
          </p:nvSpPr>
          <p:spPr>
            <a:xfrm>
              <a:off x="1014954" y="4068479"/>
              <a:ext cx="35862" cy="10233"/>
            </a:xfrm>
            <a:custGeom>
              <a:avLst/>
              <a:gdLst/>
              <a:ahLst/>
              <a:cxnLst/>
              <a:rect l="l" t="t" r="r" b="b"/>
              <a:pathLst>
                <a:path w="1132" h="323" extrusionOk="0">
                  <a:moveTo>
                    <a:pt x="167" y="1"/>
                  </a:moveTo>
                  <a:cubicBezTo>
                    <a:pt x="84" y="1"/>
                    <a:pt x="0" y="72"/>
                    <a:pt x="0" y="168"/>
                  </a:cubicBezTo>
                  <a:cubicBezTo>
                    <a:pt x="0" y="251"/>
                    <a:pt x="84" y="322"/>
                    <a:pt x="167" y="322"/>
                  </a:cubicBezTo>
                  <a:lnTo>
                    <a:pt x="977" y="322"/>
                  </a:lnTo>
                  <a:cubicBezTo>
                    <a:pt x="1060" y="322"/>
                    <a:pt x="1131" y="251"/>
                    <a:pt x="1131" y="168"/>
                  </a:cubicBezTo>
                  <a:cubicBezTo>
                    <a:pt x="1131" y="72"/>
                    <a:pt x="1060"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0" name="Google Shape;11490;p61"/>
            <p:cNvSpPr/>
            <p:nvPr/>
          </p:nvSpPr>
          <p:spPr>
            <a:xfrm>
              <a:off x="889343" y="3801227"/>
              <a:ext cx="351585" cy="339705"/>
            </a:xfrm>
            <a:custGeom>
              <a:avLst/>
              <a:gdLst/>
              <a:ahLst/>
              <a:cxnLst/>
              <a:rect l="l" t="t" r="r" b="b"/>
              <a:pathLst>
                <a:path w="11098" h="10723" extrusionOk="0">
                  <a:moveTo>
                    <a:pt x="3894" y="746"/>
                  </a:moveTo>
                  <a:lnTo>
                    <a:pt x="3894" y="746"/>
                  </a:lnTo>
                  <a:cubicBezTo>
                    <a:pt x="3763" y="1079"/>
                    <a:pt x="3572" y="1281"/>
                    <a:pt x="3418" y="1400"/>
                  </a:cubicBezTo>
                  <a:cubicBezTo>
                    <a:pt x="3465" y="1115"/>
                    <a:pt x="3644" y="865"/>
                    <a:pt x="3894" y="746"/>
                  </a:cubicBezTo>
                  <a:close/>
                  <a:moveTo>
                    <a:pt x="4823" y="662"/>
                  </a:moveTo>
                  <a:cubicBezTo>
                    <a:pt x="5275" y="662"/>
                    <a:pt x="5656" y="1043"/>
                    <a:pt x="5656" y="1496"/>
                  </a:cubicBezTo>
                  <a:lnTo>
                    <a:pt x="5656" y="2008"/>
                  </a:lnTo>
                  <a:cubicBezTo>
                    <a:pt x="4715" y="1912"/>
                    <a:pt x="4418" y="1067"/>
                    <a:pt x="4323" y="662"/>
                  </a:cubicBezTo>
                  <a:close/>
                  <a:moveTo>
                    <a:pt x="3108" y="2377"/>
                  </a:moveTo>
                  <a:lnTo>
                    <a:pt x="3108" y="2508"/>
                  </a:lnTo>
                  <a:cubicBezTo>
                    <a:pt x="3108" y="2591"/>
                    <a:pt x="3108" y="2674"/>
                    <a:pt x="3120" y="2746"/>
                  </a:cubicBezTo>
                  <a:cubicBezTo>
                    <a:pt x="3060" y="2710"/>
                    <a:pt x="3037" y="2651"/>
                    <a:pt x="3037" y="2555"/>
                  </a:cubicBezTo>
                  <a:cubicBezTo>
                    <a:pt x="3037" y="2484"/>
                    <a:pt x="3060" y="2424"/>
                    <a:pt x="3108" y="2377"/>
                  </a:cubicBezTo>
                  <a:close/>
                  <a:moveTo>
                    <a:pt x="5966" y="2377"/>
                  </a:moveTo>
                  <a:cubicBezTo>
                    <a:pt x="6013" y="2424"/>
                    <a:pt x="6037" y="2484"/>
                    <a:pt x="6037" y="2555"/>
                  </a:cubicBezTo>
                  <a:cubicBezTo>
                    <a:pt x="6037" y="2627"/>
                    <a:pt x="5989" y="2710"/>
                    <a:pt x="5954" y="2746"/>
                  </a:cubicBezTo>
                  <a:cubicBezTo>
                    <a:pt x="5966" y="2674"/>
                    <a:pt x="5966" y="2603"/>
                    <a:pt x="5966" y="2508"/>
                  </a:cubicBezTo>
                  <a:lnTo>
                    <a:pt x="5966" y="2377"/>
                  </a:lnTo>
                  <a:close/>
                  <a:moveTo>
                    <a:pt x="6870" y="3460"/>
                  </a:moveTo>
                  <a:lnTo>
                    <a:pt x="6870" y="3746"/>
                  </a:lnTo>
                  <a:lnTo>
                    <a:pt x="5430" y="3746"/>
                  </a:lnTo>
                  <a:cubicBezTo>
                    <a:pt x="5513" y="3651"/>
                    <a:pt x="5608" y="3567"/>
                    <a:pt x="5680" y="3460"/>
                  </a:cubicBezTo>
                  <a:close/>
                  <a:moveTo>
                    <a:pt x="4108" y="1055"/>
                  </a:moveTo>
                  <a:cubicBezTo>
                    <a:pt x="4323" y="1698"/>
                    <a:pt x="4823" y="2258"/>
                    <a:pt x="5656" y="2317"/>
                  </a:cubicBezTo>
                  <a:lnTo>
                    <a:pt x="5656" y="2508"/>
                  </a:lnTo>
                  <a:cubicBezTo>
                    <a:pt x="5656" y="2984"/>
                    <a:pt x="5394" y="3424"/>
                    <a:pt x="5001" y="3663"/>
                  </a:cubicBezTo>
                  <a:lnTo>
                    <a:pt x="4799" y="3758"/>
                  </a:lnTo>
                  <a:cubicBezTo>
                    <a:pt x="4721" y="3811"/>
                    <a:pt x="4629" y="3838"/>
                    <a:pt x="4535" y="3838"/>
                  </a:cubicBezTo>
                  <a:cubicBezTo>
                    <a:pt x="4442" y="3838"/>
                    <a:pt x="4346" y="3811"/>
                    <a:pt x="4263" y="3758"/>
                  </a:cubicBezTo>
                  <a:lnTo>
                    <a:pt x="4073" y="3663"/>
                  </a:lnTo>
                  <a:cubicBezTo>
                    <a:pt x="3668" y="3424"/>
                    <a:pt x="3418" y="2984"/>
                    <a:pt x="3418" y="2508"/>
                  </a:cubicBezTo>
                  <a:lnTo>
                    <a:pt x="3418" y="2174"/>
                  </a:lnTo>
                  <a:lnTo>
                    <a:pt x="3418" y="1769"/>
                  </a:lnTo>
                  <a:cubicBezTo>
                    <a:pt x="3584" y="1698"/>
                    <a:pt x="3882" y="1484"/>
                    <a:pt x="4108" y="1055"/>
                  </a:cubicBezTo>
                  <a:close/>
                  <a:moveTo>
                    <a:pt x="4977" y="4055"/>
                  </a:moveTo>
                  <a:lnTo>
                    <a:pt x="4977" y="4591"/>
                  </a:lnTo>
                  <a:lnTo>
                    <a:pt x="4537" y="4913"/>
                  </a:lnTo>
                  <a:lnTo>
                    <a:pt x="4084" y="4591"/>
                  </a:lnTo>
                  <a:lnTo>
                    <a:pt x="4084" y="4055"/>
                  </a:lnTo>
                  <a:lnTo>
                    <a:pt x="4120" y="4055"/>
                  </a:lnTo>
                  <a:cubicBezTo>
                    <a:pt x="4251" y="4139"/>
                    <a:pt x="4382" y="4163"/>
                    <a:pt x="4537" y="4163"/>
                  </a:cubicBezTo>
                  <a:cubicBezTo>
                    <a:pt x="4680" y="4163"/>
                    <a:pt x="4823" y="4139"/>
                    <a:pt x="4954" y="4055"/>
                  </a:cubicBezTo>
                  <a:close/>
                  <a:moveTo>
                    <a:pt x="4084" y="4972"/>
                  </a:moveTo>
                  <a:lnTo>
                    <a:pt x="4299" y="5115"/>
                  </a:lnTo>
                  <a:lnTo>
                    <a:pt x="4084" y="5365"/>
                  </a:lnTo>
                  <a:lnTo>
                    <a:pt x="4084" y="4972"/>
                  </a:lnTo>
                  <a:close/>
                  <a:moveTo>
                    <a:pt x="4977" y="4984"/>
                  </a:moveTo>
                  <a:lnTo>
                    <a:pt x="4977" y="5389"/>
                  </a:lnTo>
                  <a:lnTo>
                    <a:pt x="4775" y="5127"/>
                  </a:lnTo>
                  <a:lnTo>
                    <a:pt x="4977" y="4984"/>
                  </a:lnTo>
                  <a:close/>
                  <a:moveTo>
                    <a:pt x="4977" y="5925"/>
                  </a:moveTo>
                  <a:lnTo>
                    <a:pt x="4977" y="6330"/>
                  </a:lnTo>
                  <a:lnTo>
                    <a:pt x="4942" y="6008"/>
                  </a:lnTo>
                  <a:lnTo>
                    <a:pt x="4977" y="5925"/>
                  </a:lnTo>
                  <a:close/>
                  <a:moveTo>
                    <a:pt x="4084" y="5925"/>
                  </a:moveTo>
                  <a:lnTo>
                    <a:pt x="4144" y="6008"/>
                  </a:lnTo>
                  <a:lnTo>
                    <a:pt x="4084" y="6353"/>
                  </a:lnTo>
                  <a:lnTo>
                    <a:pt x="4084" y="5925"/>
                  </a:lnTo>
                  <a:close/>
                  <a:moveTo>
                    <a:pt x="3775" y="4889"/>
                  </a:moveTo>
                  <a:lnTo>
                    <a:pt x="3775" y="7139"/>
                  </a:lnTo>
                  <a:lnTo>
                    <a:pt x="1632" y="7139"/>
                  </a:lnTo>
                  <a:lnTo>
                    <a:pt x="1632" y="6615"/>
                  </a:lnTo>
                  <a:cubicBezTo>
                    <a:pt x="1632" y="6044"/>
                    <a:pt x="1977" y="5520"/>
                    <a:pt x="2513" y="5306"/>
                  </a:cubicBezTo>
                  <a:cubicBezTo>
                    <a:pt x="2537" y="5294"/>
                    <a:pt x="2584" y="5282"/>
                    <a:pt x="2620" y="5270"/>
                  </a:cubicBezTo>
                  <a:lnTo>
                    <a:pt x="3775" y="4889"/>
                  </a:lnTo>
                  <a:close/>
                  <a:moveTo>
                    <a:pt x="4537" y="5341"/>
                  </a:moveTo>
                  <a:lnTo>
                    <a:pt x="4775" y="5627"/>
                  </a:lnTo>
                  <a:lnTo>
                    <a:pt x="4620" y="5901"/>
                  </a:lnTo>
                  <a:cubicBezTo>
                    <a:pt x="4608" y="5937"/>
                    <a:pt x="4596" y="5960"/>
                    <a:pt x="4608" y="6008"/>
                  </a:cubicBezTo>
                  <a:lnTo>
                    <a:pt x="4787" y="7139"/>
                  </a:lnTo>
                  <a:lnTo>
                    <a:pt x="4299" y="7139"/>
                  </a:lnTo>
                  <a:lnTo>
                    <a:pt x="4477" y="6008"/>
                  </a:lnTo>
                  <a:cubicBezTo>
                    <a:pt x="4477" y="5984"/>
                    <a:pt x="4465" y="5937"/>
                    <a:pt x="4442" y="5901"/>
                  </a:cubicBezTo>
                  <a:lnTo>
                    <a:pt x="4299" y="5627"/>
                  </a:lnTo>
                  <a:lnTo>
                    <a:pt x="4537" y="5341"/>
                  </a:lnTo>
                  <a:close/>
                  <a:moveTo>
                    <a:pt x="6882" y="4044"/>
                  </a:moveTo>
                  <a:lnTo>
                    <a:pt x="6859" y="4591"/>
                  </a:lnTo>
                  <a:cubicBezTo>
                    <a:pt x="6859" y="4651"/>
                    <a:pt x="6882" y="4698"/>
                    <a:pt x="6930" y="4734"/>
                  </a:cubicBezTo>
                  <a:cubicBezTo>
                    <a:pt x="6966" y="4746"/>
                    <a:pt x="6990" y="4758"/>
                    <a:pt x="7025" y="4758"/>
                  </a:cubicBezTo>
                  <a:cubicBezTo>
                    <a:pt x="7049" y="4758"/>
                    <a:pt x="7061" y="4758"/>
                    <a:pt x="7085" y="4746"/>
                  </a:cubicBezTo>
                  <a:lnTo>
                    <a:pt x="8109" y="4270"/>
                  </a:lnTo>
                  <a:cubicBezTo>
                    <a:pt x="8156" y="4282"/>
                    <a:pt x="8180" y="4282"/>
                    <a:pt x="8228" y="4294"/>
                  </a:cubicBezTo>
                  <a:lnTo>
                    <a:pt x="8192" y="7985"/>
                  </a:lnTo>
                  <a:lnTo>
                    <a:pt x="870" y="7985"/>
                  </a:lnTo>
                  <a:lnTo>
                    <a:pt x="870" y="4055"/>
                  </a:lnTo>
                  <a:lnTo>
                    <a:pt x="3775" y="4055"/>
                  </a:lnTo>
                  <a:lnTo>
                    <a:pt x="3775" y="4567"/>
                  </a:lnTo>
                  <a:lnTo>
                    <a:pt x="2525" y="4972"/>
                  </a:lnTo>
                  <a:cubicBezTo>
                    <a:pt x="2275" y="5044"/>
                    <a:pt x="2060" y="5175"/>
                    <a:pt x="1870" y="5341"/>
                  </a:cubicBezTo>
                  <a:cubicBezTo>
                    <a:pt x="1525" y="5663"/>
                    <a:pt x="1322" y="6115"/>
                    <a:pt x="1322" y="6615"/>
                  </a:cubicBezTo>
                  <a:lnTo>
                    <a:pt x="1322" y="7294"/>
                  </a:lnTo>
                  <a:cubicBezTo>
                    <a:pt x="1322" y="7377"/>
                    <a:pt x="1394" y="7449"/>
                    <a:pt x="1477" y="7449"/>
                  </a:cubicBezTo>
                  <a:lnTo>
                    <a:pt x="7621" y="7449"/>
                  </a:lnTo>
                  <a:cubicBezTo>
                    <a:pt x="7704" y="7449"/>
                    <a:pt x="7775" y="7377"/>
                    <a:pt x="7775" y="7294"/>
                  </a:cubicBezTo>
                  <a:lnTo>
                    <a:pt x="7775" y="6711"/>
                  </a:lnTo>
                  <a:cubicBezTo>
                    <a:pt x="7775" y="6615"/>
                    <a:pt x="7704" y="6544"/>
                    <a:pt x="7621" y="6544"/>
                  </a:cubicBezTo>
                  <a:cubicBezTo>
                    <a:pt x="7525" y="6544"/>
                    <a:pt x="7454" y="6615"/>
                    <a:pt x="7454" y="6711"/>
                  </a:cubicBezTo>
                  <a:lnTo>
                    <a:pt x="7454" y="7139"/>
                  </a:lnTo>
                  <a:lnTo>
                    <a:pt x="5311" y="7139"/>
                  </a:lnTo>
                  <a:lnTo>
                    <a:pt x="5311" y="4889"/>
                  </a:lnTo>
                  <a:lnTo>
                    <a:pt x="6466" y="5270"/>
                  </a:lnTo>
                  <a:cubicBezTo>
                    <a:pt x="6882" y="5401"/>
                    <a:pt x="7228" y="5722"/>
                    <a:pt x="7382" y="6139"/>
                  </a:cubicBezTo>
                  <a:cubicBezTo>
                    <a:pt x="7401" y="6212"/>
                    <a:pt x="7461" y="6243"/>
                    <a:pt x="7525" y="6243"/>
                  </a:cubicBezTo>
                  <a:cubicBezTo>
                    <a:pt x="7545" y="6243"/>
                    <a:pt x="7565" y="6240"/>
                    <a:pt x="7585" y="6234"/>
                  </a:cubicBezTo>
                  <a:cubicBezTo>
                    <a:pt x="7680" y="6199"/>
                    <a:pt x="7704" y="6115"/>
                    <a:pt x="7680" y="6020"/>
                  </a:cubicBezTo>
                  <a:cubicBezTo>
                    <a:pt x="7502" y="5520"/>
                    <a:pt x="7085" y="5115"/>
                    <a:pt x="6573" y="4948"/>
                  </a:cubicBezTo>
                  <a:lnTo>
                    <a:pt x="5323" y="4556"/>
                  </a:lnTo>
                  <a:lnTo>
                    <a:pt x="5323" y="4044"/>
                  </a:lnTo>
                  <a:close/>
                  <a:moveTo>
                    <a:pt x="4787" y="9199"/>
                  </a:moveTo>
                  <a:lnTo>
                    <a:pt x="4918" y="9818"/>
                  </a:lnTo>
                  <a:lnTo>
                    <a:pt x="4120" y="9818"/>
                  </a:lnTo>
                  <a:lnTo>
                    <a:pt x="4263" y="9199"/>
                  </a:lnTo>
                  <a:close/>
                  <a:moveTo>
                    <a:pt x="5858" y="10128"/>
                  </a:moveTo>
                  <a:lnTo>
                    <a:pt x="5858" y="10425"/>
                  </a:lnTo>
                  <a:lnTo>
                    <a:pt x="3227" y="10425"/>
                  </a:lnTo>
                  <a:lnTo>
                    <a:pt x="3227" y="10128"/>
                  </a:lnTo>
                  <a:close/>
                  <a:moveTo>
                    <a:pt x="8622" y="1"/>
                  </a:moveTo>
                  <a:cubicBezTo>
                    <a:pt x="8115" y="1"/>
                    <a:pt x="7612" y="175"/>
                    <a:pt x="7216" y="519"/>
                  </a:cubicBezTo>
                  <a:cubicBezTo>
                    <a:pt x="7156" y="579"/>
                    <a:pt x="7144" y="686"/>
                    <a:pt x="7204" y="746"/>
                  </a:cubicBezTo>
                  <a:cubicBezTo>
                    <a:pt x="7237" y="778"/>
                    <a:pt x="7280" y="797"/>
                    <a:pt x="7322" y="797"/>
                  </a:cubicBezTo>
                  <a:cubicBezTo>
                    <a:pt x="7357" y="797"/>
                    <a:pt x="7391" y="784"/>
                    <a:pt x="7418" y="757"/>
                  </a:cubicBezTo>
                  <a:cubicBezTo>
                    <a:pt x="7764" y="464"/>
                    <a:pt x="8195" y="314"/>
                    <a:pt x="8630" y="314"/>
                  </a:cubicBezTo>
                  <a:cubicBezTo>
                    <a:pt x="8989" y="314"/>
                    <a:pt x="9351" y="416"/>
                    <a:pt x="9668" y="626"/>
                  </a:cubicBezTo>
                  <a:cubicBezTo>
                    <a:pt x="10514" y="1186"/>
                    <a:pt x="10752" y="2353"/>
                    <a:pt x="10180" y="3198"/>
                  </a:cubicBezTo>
                  <a:cubicBezTo>
                    <a:pt x="9883" y="3639"/>
                    <a:pt x="9430" y="3925"/>
                    <a:pt x="8930" y="3996"/>
                  </a:cubicBezTo>
                  <a:lnTo>
                    <a:pt x="8883" y="3996"/>
                  </a:lnTo>
                  <a:cubicBezTo>
                    <a:pt x="8799" y="4014"/>
                    <a:pt x="8716" y="4023"/>
                    <a:pt x="8631" y="4023"/>
                  </a:cubicBezTo>
                  <a:cubicBezTo>
                    <a:pt x="8546" y="4023"/>
                    <a:pt x="8460" y="4014"/>
                    <a:pt x="8371" y="3996"/>
                  </a:cubicBezTo>
                  <a:cubicBezTo>
                    <a:pt x="8287" y="3984"/>
                    <a:pt x="8192" y="3972"/>
                    <a:pt x="8109" y="3936"/>
                  </a:cubicBezTo>
                  <a:cubicBezTo>
                    <a:pt x="8099" y="3933"/>
                    <a:pt x="8089" y="3932"/>
                    <a:pt x="8078" y="3932"/>
                  </a:cubicBezTo>
                  <a:cubicBezTo>
                    <a:pt x="8049" y="3932"/>
                    <a:pt x="8019" y="3943"/>
                    <a:pt x="8002" y="3960"/>
                  </a:cubicBezTo>
                  <a:lnTo>
                    <a:pt x="7156" y="4341"/>
                  </a:lnTo>
                  <a:lnTo>
                    <a:pt x="7204" y="3401"/>
                  </a:lnTo>
                  <a:cubicBezTo>
                    <a:pt x="7204" y="3365"/>
                    <a:pt x="7180" y="3329"/>
                    <a:pt x="7168" y="3305"/>
                  </a:cubicBezTo>
                  <a:cubicBezTo>
                    <a:pt x="6680" y="2686"/>
                    <a:pt x="6632" y="1829"/>
                    <a:pt x="7049" y="1174"/>
                  </a:cubicBezTo>
                  <a:cubicBezTo>
                    <a:pt x="7097" y="1103"/>
                    <a:pt x="7085" y="996"/>
                    <a:pt x="7001" y="948"/>
                  </a:cubicBezTo>
                  <a:cubicBezTo>
                    <a:pt x="6976" y="931"/>
                    <a:pt x="6946" y="923"/>
                    <a:pt x="6917" y="923"/>
                  </a:cubicBezTo>
                  <a:cubicBezTo>
                    <a:pt x="6863" y="923"/>
                    <a:pt x="6810" y="949"/>
                    <a:pt x="6787" y="996"/>
                  </a:cubicBezTo>
                  <a:cubicBezTo>
                    <a:pt x="6382" y="1650"/>
                    <a:pt x="6347" y="2448"/>
                    <a:pt x="6692" y="3103"/>
                  </a:cubicBezTo>
                  <a:lnTo>
                    <a:pt x="5858" y="3103"/>
                  </a:lnTo>
                  <a:cubicBezTo>
                    <a:pt x="5858" y="3091"/>
                    <a:pt x="5870" y="3091"/>
                    <a:pt x="5870" y="3079"/>
                  </a:cubicBezTo>
                  <a:cubicBezTo>
                    <a:pt x="6156" y="3043"/>
                    <a:pt x="6382" y="2805"/>
                    <a:pt x="6382" y="2531"/>
                  </a:cubicBezTo>
                  <a:cubicBezTo>
                    <a:pt x="6382" y="2270"/>
                    <a:pt x="6216" y="2067"/>
                    <a:pt x="5978" y="1996"/>
                  </a:cubicBezTo>
                  <a:lnTo>
                    <a:pt x="5978" y="1460"/>
                  </a:lnTo>
                  <a:cubicBezTo>
                    <a:pt x="5978" y="817"/>
                    <a:pt x="5454" y="305"/>
                    <a:pt x="4835" y="305"/>
                  </a:cubicBezTo>
                  <a:lnTo>
                    <a:pt x="4263" y="305"/>
                  </a:lnTo>
                  <a:cubicBezTo>
                    <a:pt x="4227" y="305"/>
                    <a:pt x="4180" y="305"/>
                    <a:pt x="4132" y="329"/>
                  </a:cubicBezTo>
                  <a:cubicBezTo>
                    <a:pt x="3549" y="400"/>
                    <a:pt x="3120" y="888"/>
                    <a:pt x="3120" y="1472"/>
                  </a:cubicBezTo>
                  <a:lnTo>
                    <a:pt x="3120" y="2008"/>
                  </a:lnTo>
                  <a:cubicBezTo>
                    <a:pt x="2894" y="2079"/>
                    <a:pt x="2715" y="2293"/>
                    <a:pt x="2715" y="2543"/>
                  </a:cubicBezTo>
                  <a:cubicBezTo>
                    <a:pt x="2715" y="2829"/>
                    <a:pt x="2941" y="3079"/>
                    <a:pt x="3227" y="3091"/>
                  </a:cubicBezTo>
                  <a:cubicBezTo>
                    <a:pt x="3227" y="3103"/>
                    <a:pt x="3239" y="3103"/>
                    <a:pt x="3239" y="3127"/>
                  </a:cubicBezTo>
                  <a:lnTo>
                    <a:pt x="155" y="3127"/>
                  </a:lnTo>
                  <a:cubicBezTo>
                    <a:pt x="72" y="3127"/>
                    <a:pt x="1" y="3198"/>
                    <a:pt x="1" y="3282"/>
                  </a:cubicBezTo>
                  <a:lnTo>
                    <a:pt x="1" y="9020"/>
                  </a:lnTo>
                  <a:cubicBezTo>
                    <a:pt x="1" y="9104"/>
                    <a:pt x="72" y="9175"/>
                    <a:pt x="155" y="9175"/>
                  </a:cubicBezTo>
                  <a:lnTo>
                    <a:pt x="1441" y="9175"/>
                  </a:lnTo>
                  <a:cubicBezTo>
                    <a:pt x="1525" y="9175"/>
                    <a:pt x="1608" y="9104"/>
                    <a:pt x="1608" y="9020"/>
                  </a:cubicBezTo>
                  <a:cubicBezTo>
                    <a:pt x="1608" y="8925"/>
                    <a:pt x="1525" y="8854"/>
                    <a:pt x="1441" y="8854"/>
                  </a:cubicBezTo>
                  <a:lnTo>
                    <a:pt x="322" y="8854"/>
                  </a:lnTo>
                  <a:lnTo>
                    <a:pt x="322" y="3436"/>
                  </a:lnTo>
                  <a:lnTo>
                    <a:pt x="3418" y="3436"/>
                  </a:lnTo>
                  <a:cubicBezTo>
                    <a:pt x="3489" y="3544"/>
                    <a:pt x="3572" y="3627"/>
                    <a:pt x="3668" y="3722"/>
                  </a:cubicBezTo>
                  <a:lnTo>
                    <a:pt x="739" y="3722"/>
                  </a:lnTo>
                  <a:cubicBezTo>
                    <a:pt x="655" y="3722"/>
                    <a:pt x="572" y="3794"/>
                    <a:pt x="572" y="3877"/>
                  </a:cubicBezTo>
                  <a:lnTo>
                    <a:pt x="572" y="8127"/>
                  </a:lnTo>
                  <a:cubicBezTo>
                    <a:pt x="572" y="8211"/>
                    <a:pt x="655" y="8282"/>
                    <a:pt x="739" y="8282"/>
                  </a:cubicBezTo>
                  <a:lnTo>
                    <a:pt x="8394" y="8282"/>
                  </a:lnTo>
                  <a:cubicBezTo>
                    <a:pt x="8478" y="8282"/>
                    <a:pt x="8549" y="8211"/>
                    <a:pt x="8549" y="8127"/>
                  </a:cubicBezTo>
                  <a:lnTo>
                    <a:pt x="8549" y="4317"/>
                  </a:lnTo>
                  <a:lnTo>
                    <a:pt x="8787" y="4317"/>
                  </a:lnTo>
                  <a:lnTo>
                    <a:pt x="8787" y="8842"/>
                  </a:lnTo>
                  <a:lnTo>
                    <a:pt x="2096" y="8842"/>
                  </a:lnTo>
                  <a:cubicBezTo>
                    <a:pt x="2001" y="8842"/>
                    <a:pt x="1929" y="8913"/>
                    <a:pt x="1929" y="8997"/>
                  </a:cubicBezTo>
                  <a:cubicBezTo>
                    <a:pt x="1929" y="9092"/>
                    <a:pt x="2001" y="9163"/>
                    <a:pt x="2096" y="9163"/>
                  </a:cubicBezTo>
                  <a:lnTo>
                    <a:pt x="3989" y="9163"/>
                  </a:lnTo>
                  <a:lnTo>
                    <a:pt x="3846" y="9794"/>
                  </a:lnTo>
                  <a:lnTo>
                    <a:pt x="3108" y="9794"/>
                  </a:lnTo>
                  <a:cubicBezTo>
                    <a:pt x="3013" y="9794"/>
                    <a:pt x="2941" y="9866"/>
                    <a:pt x="2941" y="9949"/>
                  </a:cubicBezTo>
                  <a:lnTo>
                    <a:pt x="2941" y="10568"/>
                  </a:lnTo>
                  <a:cubicBezTo>
                    <a:pt x="2941" y="10652"/>
                    <a:pt x="3013" y="10723"/>
                    <a:pt x="3108" y="10723"/>
                  </a:cubicBezTo>
                  <a:lnTo>
                    <a:pt x="6049" y="10723"/>
                  </a:lnTo>
                  <a:cubicBezTo>
                    <a:pt x="6144" y="10723"/>
                    <a:pt x="6216" y="10652"/>
                    <a:pt x="6216" y="10568"/>
                  </a:cubicBezTo>
                  <a:lnTo>
                    <a:pt x="6216" y="9973"/>
                  </a:lnTo>
                  <a:cubicBezTo>
                    <a:pt x="6216" y="9878"/>
                    <a:pt x="6144" y="9806"/>
                    <a:pt x="6049" y="9806"/>
                  </a:cubicBezTo>
                  <a:lnTo>
                    <a:pt x="5311" y="9806"/>
                  </a:lnTo>
                  <a:lnTo>
                    <a:pt x="5180" y="9175"/>
                  </a:lnTo>
                  <a:lnTo>
                    <a:pt x="8930" y="9175"/>
                  </a:lnTo>
                  <a:cubicBezTo>
                    <a:pt x="9014" y="9175"/>
                    <a:pt x="9085" y="9104"/>
                    <a:pt x="9085" y="9008"/>
                  </a:cubicBezTo>
                  <a:lnTo>
                    <a:pt x="9085" y="4282"/>
                  </a:lnTo>
                  <a:cubicBezTo>
                    <a:pt x="9621" y="4163"/>
                    <a:pt x="10121" y="3853"/>
                    <a:pt x="10442" y="3353"/>
                  </a:cubicBezTo>
                  <a:cubicBezTo>
                    <a:pt x="11097" y="2377"/>
                    <a:pt x="10835" y="1019"/>
                    <a:pt x="9835" y="365"/>
                  </a:cubicBezTo>
                  <a:cubicBezTo>
                    <a:pt x="9467" y="121"/>
                    <a:pt x="9043" y="1"/>
                    <a:pt x="86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1" name="Google Shape;11491;p61"/>
            <p:cNvSpPr/>
            <p:nvPr/>
          </p:nvSpPr>
          <p:spPr>
            <a:xfrm>
              <a:off x="1148865" y="3851598"/>
              <a:ext cx="27181" cy="51733"/>
            </a:xfrm>
            <a:custGeom>
              <a:avLst/>
              <a:gdLst/>
              <a:ahLst/>
              <a:cxnLst/>
              <a:rect l="l" t="t" r="r" b="b"/>
              <a:pathLst>
                <a:path w="858" h="1633" extrusionOk="0">
                  <a:moveTo>
                    <a:pt x="179" y="1"/>
                  </a:moveTo>
                  <a:cubicBezTo>
                    <a:pt x="95" y="1"/>
                    <a:pt x="24" y="72"/>
                    <a:pt x="24" y="168"/>
                  </a:cubicBezTo>
                  <a:cubicBezTo>
                    <a:pt x="24" y="251"/>
                    <a:pt x="95" y="322"/>
                    <a:pt x="179" y="322"/>
                  </a:cubicBezTo>
                  <a:lnTo>
                    <a:pt x="274" y="322"/>
                  </a:lnTo>
                  <a:lnTo>
                    <a:pt x="274" y="1311"/>
                  </a:lnTo>
                  <a:lnTo>
                    <a:pt x="167" y="1311"/>
                  </a:lnTo>
                  <a:cubicBezTo>
                    <a:pt x="83" y="1311"/>
                    <a:pt x="0" y="1382"/>
                    <a:pt x="0" y="1477"/>
                  </a:cubicBezTo>
                  <a:cubicBezTo>
                    <a:pt x="0" y="1561"/>
                    <a:pt x="83" y="1632"/>
                    <a:pt x="167" y="1632"/>
                  </a:cubicBezTo>
                  <a:lnTo>
                    <a:pt x="691" y="1632"/>
                  </a:lnTo>
                  <a:cubicBezTo>
                    <a:pt x="774" y="1632"/>
                    <a:pt x="857" y="1561"/>
                    <a:pt x="857" y="1477"/>
                  </a:cubicBezTo>
                  <a:cubicBezTo>
                    <a:pt x="857" y="1358"/>
                    <a:pt x="774" y="1299"/>
                    <a:pt x="691" y="1299"/>
                  </a:cubicBezTo>
                  <a:lnTo>
                    <a:pt x="583" y="1299"/>
                  </a:lnTo>
                  <a:lnTo>
                    <a:pt x="583" y="168"/>
                  </a:lnTo>
                  <a:cubicBezTo>
                    <a:pt x="583" y="72"/>
                    <a:pt x="512"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2" name="Google Shape;11492;p61"/>
            <p:cNvSpPr/>
            <p:nvPr/>
          </p:nvSpPr>
          <p:spPr>
            <a:xfrm>
              <a:off x="1152255" y="3836138"/>
              <a:ext cx="15111" cy="15111"/>
            </a:xfrm>
            <a:custGeom>
              <a:avLst/>
              <a:gdLst/>
              <a:ahLst/>
              <a:cxnLst/>
              <a:rect l="l" t="t" r="r" b="b"/>
              <a:pathLst>
                <a:path w="477" h="477" extrusionOk="0">
                  <a:moveTo>
                    <a:pt x="238" y="1"/>
                  </a:moveTo>
                  <a:cubicBezTo>
                    <a:pt x="107" y="1"/>
                    <a:pt x="0" y="96"/>
                    <a:pt x="0" y="239"/>
                  </a:cubicBezTo>
                  <a:cubicBezTo>
                    <a:pt x="0" y="370"/>
                    <a:pt x="107" y="477"/>
                    <a:pt x="238" y="477"/>
                  </a:cubicBezTo>
                  <a:cubicBezTo>
                    <a:pt x="369" y="477"/>
                    <a:pt x="476" y="370"/>
                    <a:pt x="476" y="239"/>
                  </a:cubicBezTo>
                  <a:cubicBezTo>
                    <a:pt x="476" y="96"/>
                    <a:pt x="369" y="1"/>
                    <a:pt x="2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3" name="Google Shape;11493;p61"/>
            <p:cNvSpPr/>
            <p:nvPr/>
          </p:nvSpPr>
          <p:spPr>
            <a:xfrm>
              <a:off x="1022494" y="3867438"/>
              <a:ext cx="19642" cy="29843"/>
            </a:xfrm>
            <a:custGeom>
              <a:avLst/>
              <a:gdLst/>
              <a:ahLst/>
              <a:cxnLst/>
              <a:rect l="l" t="t" r="r" b="b"/>
              <a:pathLst>
                <a:path w="620" h="942" extrusionOk="0">
                  <a:moveTo>
                    <a:pt x="167" y="1"/>
                  </a:moveTo>
                  <a:cubicBezTo>
                    <a:pt x="84" y="1"/>
                    <a:pt x="0" y="84"/>
                    <a:pt x="0" y="168"/>
                  </a:cubicBezTo>
                  <a:lnTo>
                    <a:pt x="0" y="775"/>
                  </a:lnTo>
                  <a:cubicBezTo>
                    <a:pt x="0" y="870"/>
                    <a:pt x="84" y="942"/>
                    <a:pt x="167" y="942"/>
                  </a:cubicBezTo>
                  <a:lnTo>
                    <a:pt x="441" y="942"/>
                  </a:lnTo>
                  <a:cubicBezTo>
                    <a:pt x="524" y="942"/>
                    <a:pt x="596" y="870"/>
                    <a:pt x="596" y="775"/>
                  </a:cubicBezTo>
                  <a:cubicBezTo>
                    <a:pt x="620" y="692"/>
                    <a:pt x="536" y="620"/>
                    <a:pt x="453" y="620"/>
                  </a:cubicBezTo>
                  <a:lnTo>
                    <a:pt x="334" y="620"/>
                  </a:ln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94" name="Google Shape;11494;p61"/>
          <p:cNvGrpSpPr/>
          <p:nvPr/>
        </p:nvGrpSpPr>
        <p:grpSpPr>
          <a:xfrm>
            <a:off x="4896609" y="4260872"/>
            <a:ext cx="278784" cy="355323"/>
            <a:chOff x="4896609" y="4260872"/>
            <a:chExt cx="278784" cy="355323"/>
          </a:xfrm>
        </p:grpSpPr>
        <p:sp>
          <p:nvSpPr>
            <p:cNvPr id="11495" name="Google Shape;11495;p61"/>
            <p:cNvSpPr/>
            <p:nvPr/>
          </p:nvSpPr>
          <p:spPr>
            <a:xfrm>
              <a:off x="4997700" y="4378151"/>
              <a:ext cx="10201" cy="16252"/>
            </a:xfrm>
            <a:custGeom>
              <a:avLst/>
              <a:gdLst/>
              <a:ahLst/>
              <a:cxnLst/>
              <a:rect l="l" t="t" r="r" b="b"/>
              <a:pathLst>
                <a:path w="322" h="513" extrusionOk="0">
                  <a:moveTo>
                    <a:pt x="167" y="1"/>
                  </a:moveTo>
                  <a:cubicBezTo>
                    <a:pt x="72" y="1"/>
                    <a:pt x="0" y="72"/>
                    <a:pt x="0" y="168"/>
                  </a:cubicBezTo>
                  <a:lnTo>
                    <a:pt x="0" y="346"/>
                  </a:lnTo>
                  <a:cubicBezTo>
                    <a:pt x="0" y="430"/>
                    <a:pt x="72" y="513"/>
                    <a:pt x="167" y="513"/>
                  </a:cubicBezTo>
                  <a:cubicBezTo>
                    <a:pt x="250" y="513"/>
                    <a:pt x="322" y="430"/>
                    <a:pt x="322" y="346"/>
                  </a:cubicBezTo>
                  <a:lnTo>
                    <a:pt x="322" y="168"/>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6" name="Google Shape;11496;p61"/>
            <p:cNvSpPr/>
            <p:nvPr/>
          </p:nvSpPr>
          <p:spPr>
            <a:xfrm>
              <a:off x="5064830" y="4378151"/>
              <a:ext cx="10233" cy="16252"/>
            </a:xfrm>
            <a:custGeom>
              <a:avLst/>
              <a:gdLst/>
              <a:ahLst/>
              <a:cxnLst/>
              <a:rect l="l" t="t" r="r" b="b"/>
              <a:pathLst>
                <a:path w="323" h="513" extrusionOk="0">
                  <a:moveTo>
                    <a:pt x="156" y="1"/>
                  </a:moveTo>
                  <a:cubicBezTo>
                    <a:pt x="72" y="1"/>
                    <a:pt x="1" y="72"/>
                    <a:pt x="1" y="168"/>
                  </a:cubicBezTo>
                  <a:lnTo>
                    <a:pt x="1" y="346"/>
                  </a:lnTo>
                  <a:cubicBezTo>
                    <a:pt x="1" y="430"/>
                    <a:pt x="72" y="513"/>
                    <a:pt x="156" y="513"/>
                  </a:cubicBezTo>
                  <a:cubicBezTo>
                    <a:pt x="251" y="513"/>
                    <a:pt x="322" y="430"/>
                    <a:pt x="322" y="346"/>
                  </a:cubicBezTo>
                  <a:lnTo>
                    <a:pt x="322" y="168"/>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7" name="Google Shape;11497;p61"/>
            <p:cNvSpPr/>
            <p:nvPr/>
          </p:nvSpPr>
          <p:spPr>
            <a:xfrm>
              <a:off x="5013160" y="4417498"/>
              <a:ext cx="46063" cy="15777"/>
            </a:xfrm>
            <a:custGeom>
              <a:avLst/>
              <a:gdLst/>
              <a:ahLst/>
              <a:cxnLst/>
              <a:rect l="l" t="t" r="r" b="b"/>
              <a:pathLst>
                <a:path w="1454" h="498" extrusionOk="0">
                  <a:moveTo>
                    <a:pt x="188" y="0"/>
                  </a:moveTo>
                  <a:cubicBezTo>
                    <a:pt x="146" y="0"/>
                    <a:pt x="102" y="15"/>
                    <a:pt x="60" y="45"/>
                  </a:cubicBezTo>
                  <a:cubicBezTo>
                    <a:pt x="1" y="104"/>
                    <a:pt x="1" y="200"/>
                    <a:pt x="60" y="283"/>
                  </a:cubicBezTo>
                  <a:cubicBezTo>
                    <a:pt x="215" y="414"/>
                    <a:pt x="453" y="497"/>
                    <a:pt x="703" y="497"/>
                  </a:cubicBezTo>
                  <a:cubicBezTo>
                    <a:pt x="953" y="497"/>
                    <a:pt x="1215" y="414"/>
                    <a:pt x="1346" y="283"/>
                  </a:cubicBezTo>
                  <a:cubicBezTo>
                    <a:pt x="1453" y="200"/>
                    <a:pt x="1453" y="104"/>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8" name="Google Shape;11498;p61"/>
            <p:cNvSpPr/>
            <p:nvPr/>
          </p:nvSpPr>
          <p:spPr>
            <a:xfrm>
              <a:off x="4896609" y="4260872"/>
              <a:ext cx="278784" cy="355323"/>
            </a:xfrm>
            <a:custGeom>
              <a:avLst/>
              <a:gdLst/>
              <a:ahLst/>
              <a:cxnLst/>
              <a:rect l="l" t="t" r="r" b="b"/>
              <a:pathLst>
                <a:path w="8800" h="11216" extrusionOk="0">
                  <a:moveTo>
                    <a:pt x="4418" y="322"/>
                  </a:moveTo>
                  <a:cubicBezTo>
                    <a:pt x="5108" y="322"/>
                    <a:pt x="5751" y="441"/>
                    <a:pt x="6299" y="655"/>
                  </a:cubicBezTo>
                  <a:cubicBezTo>
                    <a:pt x="6454" y="715"/>
                    <a:pt x="6537" y="845"/>
                    <a:pt x="6537" y="1000"/>
                  </a:cubicBezTo>
                  <a:lnTo>
                    <a:pt x="6537" y="1441"/>
                  </a:lnTo>
                  <a:cubicBezTo>
                    <a:pt x="5978" y="1203"/>
                    <a:pt x="5227" y="1048"/>
                    <a:pt x="4418" y="1048"/>
                  </a:cubicBezTo>
                  <a:cubicBezTo>
                    <a:pt x="3596" y="1048"/>
                    <a:pt x="2870" y="1203"/>
                    <a:pt x="2287" y="1441"/>
                  </a:cubicBezTo>
                  <a:lnTo>
                    <a:pt x="2287" y="1000"/>
                  </a:lnTo>
                  <a:cubicBezTo>
                    <a:pt x="2287" y="845"/>
                    <a:pt x="2394" y="715"/>
                    <a:pt x="2525" y="655"/>
                  </a:cubicBezTo>
                  <a:cubicBezTo>
                    <a:pt x="3060" y="441"/>
                    <a:pt x="3715" y="322"/>
                    <a:pt x="4418" y="322"/>
                  </a:cubicBezTo>
                  <a:close/>
                  <a:moveTo>
                    <a:pt x="1870" y="4715"/>
                  </a:moveTo>
                  <a:cubicBezTo>
                    <a:pt x="1929" y="4715"/>
                    <a:pt x="1977" y="4763"/>
                    <a:pt x="1977" y="4822"/>
                  </a:cubicBezTo>
                  <a:cubicBezTo>
                    <a:pt x="1953" y="4882"/>
                    <a:pt x="1917" y="4929"/>
                    <a:pt x="1870" y="4929"/>
                  </a:cubicBezTo>
                  <a:cubicBezTo>
                    <a:pt x="1810" y="4929"/>
                    <a:pt x="1763" y="4882"/>
                    <a:pt x="1763" y="4822"/>
                  </a:cubicBezTo>
                  <a:cubicBezTo>
                    <a:pt x="1763" y="4763"/>
                    <a:pt x="1810" y="4715"/>
                    <a:pt x="1870" y="4715"/>
                  </a:cubicBezTo>
                  <a:close/>
                  <a:moveTo>
                    <a:pt x="6954" y="4715"/>
                  </a:moveTo>
                  <a:cubicBezTo>
                    <a:pt x="7013" y="4715"/>
                    <a:pt x="7061" y="4763"/>
                    <a:pt x="7061" y="4822"/>
                  </a:cubicBezTo>
                  <a:cubicBezTo>
                    <a:pt x="7061" y="4882"/>
                    <a:pt x="7013" y="4929"/>
                    <a:pt x="6954" y="4929"/>
                  </a:cubicBezTo>
                  <a:cubicBezTo>
                    <a:pt x="6894" y="4929"/>
                    <a:pt x="6859" y="4882"/>
                    <a:pt x="6859" y="4822"/>
                  </a:cubicBezTo>
                  <a:cubicBezTo>
                    <a:pt x="6859" y="4763"/>
                    <a:pt x="6894" y="4715"/>
                    <a:pt x="6954" y="4715"/>
                  </a:cubicBezTo>
                  <a:close/>
                  <a:moveTo>
                    <a:pt x="4382" y="1417"/>
                  </a:moveTo>
                  <a:cubicBezTo>
                    <a:pt x="6001" y="1417"/>
                    <a:pt x="7394" y="2072"/>
                    <a:pt x="7394" y="2822"/>
                  </a:cubicBezTo>
                  <a:cubicBezTo>
                    <a:pt x="7394" y="3143"/>
                    <a:pt x="7168" y="3382"/>
                    <a:pt x="6954" y="3536"/>
                  </a:cubicBezTo>
                  <a:lnTo>
                    <a:pt x="6656" y="3536"/>
                  </a:lnTo>
                  <a:cubicBezTo>
                    <a:pt x="6561" y="3536"/>
                    <a:pt x="6466" y="3453"/>
                    <a:pt x="6466" y="3346"/>
                  </a:cubicBezTo>
                  <a:lnTo>
                    <a:pt x="6466" y="2643"/>
                  </a:lnTo>
                  <a:cubicBezTo>
                    <a:pt x="6466" y="2500"/>
                    <a:pt x="6394" y="2286"/>
                    <a:pt x="6025" y="2096"/>
                  </a:cubicBezTo>
                  <a:cubicBezTo>
                    <a:pt x="6000" y="2081"/>
                    <a:pt x="5973" y="2074"/>
                    <a:pt x="5947" y="2074"/>
                  </a:cubicBezTo>
                  <a:cubicBezTo>
                    <a:pt x="5888" y="2074"/>
                    <a:pt x="5832" y="2109"/>
                    <a:pt x="5799" y="2167"/>
                  </a:cubicBezTo>
                  <a:cubicBezTo>
                    <a:pt x="5751" y="2250"/>
                    <a:pt x="5787" y="2346"/>
                    <a:pt x="5870" y="2393"/>
                  </a:cubicBezTo>
                  <a:cubicBezTo>
                    <a:pt x="6037" y="2489"/>
                    <a:pt x="6144" y="2572"/>
                    <a:pt x="6144" y="2643"/>
                  </a:cubicBezTo>
                  <a:lnTo>
                    <a:pt x="6144" y="3346"/>
                  </a:lnTo>
                  <a:cubicBezTo>
                    <a:pt x="6144" y="3632"/>
                    <a:pt x="6382" y="3870"/>
                    <a:pt x="6656" y="3870"/>
                  </a:cubicBezTo>
                  <a:lnTo>
                    <a:pt x="6930" y="3870"/>
                  </a:lnTo>
                  <a:cubicBezTo>
                    <a:pt x="7001" y="3870"/>
                    <a:pt x="7073" y="3893"/>
                    <a:pt x="7132" y="3953"/>
                  </a:cubicBezTo>
                  <a:cubicBezTo>
                    <a:pt x="7192" y="4013"/>
                    <a:pt x="7216" y="4096"/>
                    <a:pt x="7216" y="4167"/>
                  </a:cubicBezTo>
                  <a:cubicBezTo>
                    <a:pt x="7192" y="4298"/>
                    <a:pt x="7061" y="4417"/>
                    <a:pt x="6918" y="4417"/>
                  </a:cubicBezTo>
                  <a:lnTo>
                    <a:pt x="6835" y="4417"/>
                  </a:lnTo>
                  <a:lnTo>
                    <a:pt x="6835" y="4394"/>
                  </a:lnTo>
                  <a:cubicBezTo>
                    <a:pt x="6835" y="4298"/>
                    <a:pt x="6763" y="4227"/>
                    <a:pt x="6680" y="4227"/>
                  </a:cubicBezTo>
                  <a:cubicBezTo>
                    <a:pt x="6585" y="4227"/>
                    <a:pt x="6513" y="4298"/>
                    <a:pt x="6513" y="4394"/>
                  </a:cubicBezTo>
                  <a:cubicBezTo>
                    <a:pt x="6537" y="5227"/>
                    <a:pt x="6049" y="5977"/>
                    <a:pt x="5287" y="6322"/>
                  </a:cubicBezTo>
                  <a:lnTo>
                    <a:pt x="4573" y="6037"/>
                  </a:lnTo>
                  <a:lnTo>
                    <a:pt x="4573" y="5977"/>
                  </a:lnTo>
                  <a:cubicBezTo>
                    <a:pt x="4573" y="5894"/>
                    <a:pt x="4501" y="5822"/>
                    <a:pt x="4418" y="5822"/>
                  </a:cubicBezTo>
                  <a:cubicBezTo>
                    <a:pt x="4323" y="5822"/>
                    <a:pt x="4251" y="5894"/>
                    <a:pt x="4251" y="5977"/>
                  </a:cubicBezTo>
                  <a:lnTo>
                    <a:pt x="4251" y="6037"/>
                  </a:lnTo>
                  <a:lnTo>
                    <a:pt x="3537" y="6322"/>
                  </a:lnTo>
                  <a:cubicBezTo>
                    <a:pt x="2775" y="5977"/>
                    <a:pt x="2287" y="5227"/>
                    <a:pt x="2287" y="4394"/>
                  </a:cubicBezTo>
                  <a:cubicBezTo>
                    <a:pt x="2287" y="4298"/>
                    <a:pt x="2215" y="4227"/>
                    <a:pt x="2120" y="4227"/>
                  </a:cubicBezTo>
                  <a:cubicBezTo>
                    <a:pt x="2037" y="4227"/>
                    <a:pt x="1953" y="4298"/>
                    <a:pt x="1953" y="4394"/>
                  </a:cubicBezTo>
                  <a:lnTo>
                    <a:pt x="1953" y="4405"/>
                  </a:lnTo>
                  <a:lnTo>
                    <a:pt x="1858" y="4405"/>
                  </a:lnTo>
                  <a:cubicBezTo>
                    <a:pt x="1775" y="4405"/>
                    <a:pt x="1703" y="4370"/>
                    <a:pt x="1644" y="4310"/>
                  </a:cubicBezTo>
                  <a:cubicBezTo>
                    <a:pt x="1584" y="4251"/>
                    <a:pt x="1572" y="4179"/>
                    <a:pt x="1572" y="4108"/>
                  </a:cubicBezTo>
                  <a:cubicBezTo>
                    <a:pt x="1584" y="3977"/>
                    <a:pt x="1715" y="3858"/>
                    <a:pt x="1870" y="3858"/>
                  </a:cubicBezTo>
                  <a:lnTo>
                    <a:pt x="2108" y="3858"/>
                  </a:lnTo>
                  <a:cubicBezTo>
                    <a:pt x="2394" y="3858"/>
                    <a:pt x="2632" y="3620"/>
                    <a:pt x="2632" y="3334"/>
                  </a:cubicBezTo>
                  <a:lnTo>
                    <a:pt x="2632" y="2631"/>
                  </a:lnTo>
                  <a:cubicBezTo>
                    <a:pt x="2632" y="2560"/>
                    <a:pt x="2751" y="2405"/>
                    <a:pt x="3084" y="2286"/>
                  </a:cubicBezTo>
                  <a:cubicBezTo>
                    <a:pt x="3430" y="2155"/>
                    <a:pt x="3906" y="2096"/>
                    <a:pt x="4394" y="2096"/>
                  </a:cubicBezTo>
                  <a:cubicBezTo>
                    <a:pt x="4692" y="2096"/>
                    <a:pt x="4989" y="2131"/>
                    <a:pt x="5251" y="2167"/>
                  </a:cubicBezTo>
                  <a:cubicBezTo>
                    <a:pt x="5264" y="2171"/>
                    <a:pt x="5276" y="2172"/>
                    <a:pt x="5289" y="2172"/>
                  </a:cubicBezTo>
                  <a:cubicBezTo>
                    <a:pt x="5361" y="2172"/>
                    <a:pt x="5432" y="2117"/>
                    <a:pt x="5442" y="2036"/>
                  </a:cubicBezTo>
                  <a:cubicBezTo>
                    <a:pt x="5454" y="1953"/>
                    <a:pt x="5394" y="1858"/>
                    <a:pt x="5299" y="1846"/>
                  </a:cubicBezTo>
                  <a:cubicBezTo>
                    <a:pt x="5025" y="1786"/>
                    <a:pt x="4704" y="1774"/>
                    <a:pt x="4394" y="1774"/>
                  </a:cubicBezTo>
                  <a:cubicBezTo>
                    <a:pt x="3858" y="1774"/>
                    <a:pt x="3358" y="1846"/>
                    <a:pt x="2965" y="1988"/>
                  </a:cubicBezTo>
                  <a:cubicBezTo>
                    <a:pt x="2418" y="2203"/>
                    <a:pt x="2298" y="2453"/>
                    <a:pt x="2298" y="2643"/>
                  </a:cubicBezTo>
                  <a:lnTo>
                    <a:pt x="2298" y="3346"/>
                  </a:lnTo>
                  <a:cubicBezTo>
                    <a:pt x="2298" y="3453"/>
                    <a:pt x="2215" y="3536"/>
                    <a:pt x="2108" y="3536"/>
                  </a:cubicBezTo>
                  <a:lnTo>
                    <a:pt x="1810" y="3536"/>
                  </a:lnTo>
                  <a:cubicBezTo>
                    <a:pt x="1596" y="3382"/>
                    <a:pt x="1382" y="3143"/>
                    <a:pt x="1382" y="2822"/>
                  </a:cubicBezTo>
                  <a:cubicBezTo>
                    <a:pt x="1382" y="2048"/>
                    <a:pt x="2751" y="1417"/>
                    <a:pt x="4382" y="1417"/>
                  </a:cubicBezTo>
                  <a:close/>
                  <a:moveTo>
                    <a:pt x="4394" y="6322"/>
                  </a:moveTo>
                  <a:lnTo>
                    <a:pt x="4977" y="6560"/>
                  </a:lnTo>
                  <a:lnTo>
                    <a:pt x="4668" y="6894"/>
                  </a:lnTo>
                  <a:cubicBezTo>
                    <a:pt x="4590" y="6965"/>
                    <a:pt x="4498" y="7001"/>
                    <a:pt x="4406" y="7001"/>
                  </a:cubicBezTo>
                  <a:cubicBezTo>
                    <a:pt x="4314" y="7001"/>
                    <a:pt x="4221" y="6965"/>
                    <a:pt x="4144" y="6894"/>
                  </a:cubicBezTo>
                  <a:lnTo>
                    <a:pt x="3811" y="6560"/>
                  </a:lnTo>
                  <a:lnTo>
                    <a:pt x="4394" y="6322"/>
                  </a:lnTo>
                  <a:close/>
                  <a:moveTo>
                    <a:pt x="4406" y="0"/>
                  </a:moveTo>
                  <a:cubicBezTo>
                    <a:pt x="3680" y="0"/>
                    <a:pt x="2989" y="119"/>
                    <a:pt x="2406" y="345"/>
                  </a:cubicBezTo>
                  <a:cubicBezTo>
                    <a:pt x="2132" y="441"/>
                    <a:pt x="1953" y="703"/>
                    <a:pt x="1953" y="1000"/>
                  </a:cubicBezTo>
                  <a:lnTo>
                    <a:pt x="1953" y="1607"/>
                  </a:lnTo>
                  <a:cubicBezTo>
                    <a:pt x="1406" y="1917"/>
                    <a:pt x="1072" y="2334"/>
                    <a:pt x="1072" y="2798"/>
                  </a:cubicBezTo>
                  <a:cubicBezTo>
                    <a:pt x="1072" y="3096"/>
                    <a:pt x="1215" y="3393"/>
                    <a:pt x="1489" y="3643"/>
                  </a:cubicBezTo>
                  <a:cubicBezTo>
                    <a:pt x="1358" y="3751"/>
                    <a:pt x="1286" y="3882"/>
                    <a:pt x="1275" y="4048"/>
                  </a:cubicBezTo>
                  <a:cubicBezTo>
                    <a:pt x="1251" y="4215"/>
                    <a:pt x="1310" y="4394"/>
                    <a:pt x="1417" y="4513"/>
                  </a:cubicBezTo>
                  <a:cubicBezTo>
                    <a:pt x="1453" y="4536"/>
                    <a:pt x="1477" y="4572"/>
                    <a:pt x="1513" y="4584"/>
                  </a:cubicBezTo>
                  <a:cubicBezTo>
                    <a:pt x="1465" y="4644"/>
                    <a:pt x="1453" y="4715"/>
                    <a:pt x="1453" y="4810"/>
                  </a:cubicBezTo>
                  <a:cubicBezTo>
                    <a:pt x="1453" y="5048"/>
                    <a:pt x="1644" y="5239"/>
                    <a:pt x="1882" y="5239"/>
                  </a:cubicBezTo>
                  <a:cubicBezTo>
                    <a:pt x="1965" y="5239"/>
                    <a:pt x="2048" y="5203"/>
                    <a:pt x="2120" y="5167"/>
                  </a:cubicBezTo>
                  <a:cubicBezTo>
                    <a:pt x="2346" y="5798"/>
                    <a:pt x="2822" y="6334"/>
                    <a:pt x="3453" y="6620"/>
                  </a:cubicBezTo>
                  <a:lnTo>
                    <a:pt x="3930" y="7096"/>
                  </a:lnTo>
                  <a:cubicBezTo>
                    <a:pt x="4073" y="7227"/>
                    <a:pt x="4251" y="7311"/>
                    <a:pt x="4430" y="7311"/>
                  </a:cubicBezTo>
                  <a:cubicBezTo>
                    <a:pt x="4608" y="7311"/>
                    <a:pt x="4787" y="7227"/>
                    <a:pt x="4918" y="7096"/>
                  </a:cubicBezTo>
                  <a:lnTo>
                    <a:pt x="5394" y="6620"/>
                  </a:lnTo>
                  <a:lnTo>
                    <a:pt x="5477" y="6572"/>
                  </a:lnTo>
                  <a:lnTo>
                    <a:pt x="5477" y="7144"/>
                  </a:lnTo>
                  <a:cubicBezTo>
                    <a:pt x="5477" y="7442"/>
                    <a:pt x="5692" y="7727"/>
                    <a:pt x="5978" y="7811"/>
                  </a:cubicBezTo>
                  <a:lnTo>
                    <a:pt x="6942" y="8096"/>
                  </a:lnTo>
                  <a:cubicBezTo>
                    <a:pt x="6573" y="8513"/>
                    <a:pt x="5537" y="9597"/>
                    <a:pt x="4406" y="10180"/>
                  </a:cubicBezTo>
                  <a:cubicBezTo>
                    <a:pt x="3275" y="9608"/>
                    <a:pt x="2251" y="8525"/>
                    <a:pt x="1882" y="8096"/>
                  </a:cubicBezTo>
                  <a:lnTo>
                    <a:pt x="2846" y="7811"/>
                  </a:lnTo>
                  <a:cubicBezTo>
                    <a:pt x="3144" y="7727"/>
                    <a:pt x="3334" y="7453"/>
                    <a:pt x="3334" y="7144"/>
                  </a:cubicBezTo>
                  <a:lnTo>
                    <a:pt x="3334" y="7013"/>
                  </a:lnTo>
                  <a:cubicBezTo>
                    <a:pt x="3334" y="6918"/>
                    <a:pt x="3263" y="6846"/>
                    <a:pt x="3180" y="6846"/>
                  </a:cubicBezTo>
                  <a:cubicBezTo>
                    <a:pt x="3084" y="6846"/>
                    <a:pt x="3013" y="6918"/>
                    <a:pt x="3013" y="7013"/>
                  </a:cubicBezTo>
                  <a:lnTo>
                    <a:pt x="3013" y="7144"/>
                  </a:lnTo>
                  <a:cubicBezTo>
                    <a:pt x="3013" y="7311"/>
                    <a:pt x="2906" y="7442"/>
                    <a:pt x="2739" y="7489"/>
                  </a:cubicBezTo>
                  <a:lnTo>
                    <a:pt x="882" y="8037"/>
                  </a:lnTo>
                  <a:cubicBezTo>
                    <a:pt x="358" y="8180"/>
                    <a:pt x="1" y="8680"/>
                    <a:pt x="1" y="9216"/>
                  </a:cubicBezTo>
                  <a:lnTo>
                    <a:pt x="1" y="11061"/>
                  </a:lnTo>
                  <a:cubicBezTo>
                    <a:pt x="1" y="11144"/>
                    <a:pt x="84" y="11216"/>
                    <a:pt x="167" y="11216"/>
                  </a:cubicBezTo>
                  <a:cubicBezTo>
                    <a:pt x="263" y="11216"/>
                    <a:pt x="334" y="11144"/>
                    <a:pt x="334" y="11061"/>
                  </a:cubicBezTo>
                  <a:lnTo>
                    <a:pt x="334" y="9216"/>
                  </a:lnTo>
                  <a:cubicBezTo>
                    <a:pt x="334" y="8823"/>
                    <a:pt x="596" y="8465"/>
                    <a:pt x="977" y="8358"/>
                  </a:cubicBezTo>
                  <a:lnTo>
                    <a:pt x="1513" y="8192"/>
                  </a:lnTo>
                  <a:cubicBezTo>
                    <a:pt x="1775" y="8525"/>
                    <a:pt x="2965" y="9847"/>
                    <a:pt x="4323" y="10501"/>
                  </a:cubicBezTo>
                  <a:cubicBezTo>
                    <a:pt x="4346" y="10525"/>
                    <a:pt x="4370" y="10525"/>
                    <a:pt x="4394" y="10525"/>
                  </a:cubicBezTo>
                  <a:cubicBezTo>
                    <a:pt x="4430" y="10525"/>
                    <a:pt x="4442" y="10525"/>
                    <a:pt x="4465" y="10501"/>
                  </a:cubicBezTo>
                  <a:cubicBezTo>
                    <a:pt x="5823" y="9847"/>
                    <a:pt x="7013" y="8525"/>
                    <a:pt x="7287" y="8192"/>
                  </a:cubicBezTo>
                  <a:lnTo>
                    <a:pt x="7823" y="8358"/>
                  </a:lnTo>
                  <a:cubicBezTo>
                    <a:pt x="8192" y="8465"/>
                    <a:pt x="8454" y="8823"/>
                    <a:pt x="8454" y="9216"/>
                  </a:cubicBezTo>
                  <a:lnTo>
                    <a:pt x="8454" y="11061"/>
                  </a:lnTo>
                  <a:cubicBezTo>
                    <a:pt x="8454" y="11144"/>
                    <a:pt x="8537" y="11216"/>
                    <a:pt x="8621" y="11216"/>
                  </a:cubicBezTo>
                  <a:cubicBezTo>
                    <a:pt x="8716" y="11216"/>
                    <a:pt x="8787" y="11144"/>
                    <a:pt x="8787" y="11061"/>
                  </a:cubicBezTo>
                  <a:lnTo>
                    <a:pt x="8787" y="9216"/>
                  </a:lnTo>
                  <a:cubicBezTo>
                    <a:pt x="8799" y="8692"/>
                    <a:pt x="8442" y="8215"/>
                    <a:pt x="7930" y="8049"/>
                  </a:cubicBezTo>
                  <a:lnTo>
                    <a:pt x="6061" y="7501"/>
                  </a:lnTo>
                  <a:cubicBezTo>
                    <a:pt x="5918" y="7453"/>
                    <a:pt x="5799" y="7311"/>
                    <a:pt x="5799" y="7156"/>
                  </a:cubicBezTo>
                  <a:lnTo>
                    <a:pt x="5799" y="6394"/>
                  </a:lnTo>
                  <a:cubicBezTo>
                    <a:pt x="6228" y="6096"/>
                    <a:pt x="6561" y="5668"/>
                    <a:pt x="6716" y="5179"/>
                  </a:cubicBezTo>
                  <a:cubicBezTo>
                    <a:pt x="6799" y="5215"/>
                    <a:pt x="6870" y="5251"/>
                    <a:pt x="6954" y="5251"/>
                  </a:cubicBezTo>
                  <a:cubicBezTo>
                    <a:pt x="7192" y="5251"/>
                    <a:pt x="7394" y="5060"/>
                    <a:pt x="7394" y="4822"/>
                  </a:cubicBezTo>
                  <a:cubicBezTo>
                    <a:pt x="7394" y="4727"/>
                    <a:pt x="7359" y="4655"/>
                    <a:pt x="7335" y="4596"/>
                  </a:cubicBezTo>
                  <a:cubicBezTo>
                    <a:pt x="7466" y="4489"/>
                    <a:pt x="7549" y="4346"/>
                    <a:pt x="7573" y="4179"/>
                  </a:cubicBezTo>
                  <a:cubicBezTo>
                    <a:pt x="7585" y="4013"/>
                    <a:pt x="7525" y="3834"/>
                    <a:pt x="7418" y="3715"/>
                  </a:cubicBezTo>
                  <a:cubicBezTo>
                    <a:pt x="7406" y="3691"/>
                    <a:pt x="7371" y="3679"/>
                    <a:pt x="7347" y="3643"/>
                  </a:cubicBezTo>
                  <a:cubicBezTo>
                    <a:pt x="7609" y="3393"/>
                    <a:pt x="7752" y="3096"/>
                    <a:pt x="7752" y="2798"/>
                  </a:cubicBezTo>
                  <a:cubicBezTo>
                    <a:pt x="7752" y="2334"/>
                    <a:pt x="7418" y="1917"/>
                    <a:pt x="6870" y="1607"/>
                  </a:cubicBezTo>
                  <a:lnTo>
                    <a:pt x="6870" y="1000"/>
                  </a:lnTo>
                  <a:cubicBezTo>
                    <a:pt x="6870" y="715"/>
                    <a:pt x="6692" y="453"/>
                    <a:pt x="6418" y="345"/>
                  </a:cubicBezTo>
                  <a:cubicBezTo>
                    <a:pt x="5835" y="119"/>
                    <a:pt x="5144"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9" name="Google Shape;11499;p61"/>
            <p:cNvSpPr/>
            <p:nvPr/>
          </p:nvSpPr>
          <p:spPr>
            <a:xfrm>
              <a:off x="4992030" y="4361203"/>
              <a:ext cx="21923" cy="10581"/>
            </a:xfrm>
            <a:custGeom>
              <a:avLst/>
              <a:gdLst/>
              <a:ahLst/>
              <a:cxnLst/>
              <a:rect l="l" t="t" r="r" b="b"/>
              <a:pathLst>
                <a:path w="692" h="334" extrusionOk="0">
                  <a:moveTo>
                    <a:pt x="168" y="0"/>
                  </a:moveTo>
                  <a:cubicBezTo>
                    <a:pt x="72" y="0"/>
                    <a:pt x="1" y="72"/>
                    <a:pt x="1" y="167"/>
                  </a:cubicBezTo>
                  <a:cubicBezTo>
                    <a:pt x="1" y="250"/>
                    <a:pt x="72" y="334"/>
                    <a:pt x="168" y="334"/>
                  </a:cubicBezTo>
                  <a:lnTo>
                    <a:pt x="525" y="334"/>
                  </a:lnTo>
                  <a:cubicBezTo>
                    <a:pt x="608" y="334"/>
                    <a:pt x="691" y="250"/>
                    <a:pt x="691" y="167"/>
                  </a:cubicBezTo>
                  <a:cubicBezTo>
                    <a:pt x="691" y="72"/>
                    <a:pt x="608"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0" name="Google Shape;11500;p61"/>
            <p:cNvSpPr/>
            <p:nvPr/>
          </p:nvSpPr>
          <p:spPr>
            <a:xfrm>
              <a:off x="5059191" y="4361203"/>
              <a:ext cx="21511" cy="10581"/>
            </a:xfrm>
            <a:custGeom>
              <a:avLst/>
              <a:gdLst/>
              <a:ahLst/>
              <a:cxnLst/>
              <a:rect l="l" t="t" r="r" b="b"/>
              <a:pathLst>
                <a:path w="679" h="334" extrusionOk="0">
                  <a:moveTo>
                    <a:pt x="155" y="0"/>
                  </a:moveTo>
                  <a:cubicBezTo>
                    <a:pt x="72" y="0"/>
                    <a:pt x="0" y="72"/>
                    <a:pt x="0" y="167"/>
                  </a:cubicBezTo>
                  <a:cubicBezTo>
                    <a:pt x="0" y="250"/>
                    <a:pt x="72" y="334"/>
                    <a:pt x="155" y="334"/>
                  </a:cubicBezTo>
                  <a:lnTo>
                    <a:pt x="512" y="334"/>
                  </a:lnTo>
                  <a:cubicBezTo>
                    <a:pt x="607" y="334"/>
                    <a:pt x="679" y="250"/>
                    <a:pt x="679" y="167"/>
                  </a:cubicBezTo>
                  <a:cubicBezTo>
                    <a:pt x="679" y="72"/>
                    <a:pt x="607"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1" name="Google Shape;11501;p61"/>
          <p:cNvGrpSpPr/>
          <p:nvPr/>
        </p:nvGrpSpPr>
        <p:grpSpPr>
          <a:xfrm>
            <a:off x="7598438" y="4266131"/>
            <a:ext cx="260283" cy="345914"/>
            <a:chOff x="7598438" y="4266131"/>
            <a:chExt cx="260283" cy="345914"/>
          </a:xfrm>
        </p:grpSpPr>
        <p:sp>
          <p:nvSpPr>
            <p:cNvPr id="11502" name="Google Shape;11502;p61"/>
            <p:cNvSpPr/>
            <p:nvPr/>
          </p:nvSpPr>
          <p:spPr>
            <a:xfrm>
              <a:off x="7598438" y="4266131"/>
              <a:ext cx="260283" cy="345914"/>
            </a:xfrm>
            <a:custGeom>
              <a:avLst/>
              <a:gdLst/>
              <a:ahLst/>
              <a:cxnLst/>
              <a:rect l="l" t="t" r="r" b="b"/>
              <a:pathLst>
                <a:path w="8216" h="10919" extrusionOk="0">
                  <a:moveTo>
                    <a:pt x="6525" y="3477"/>
                  </a:moveTo>
                  <a:cubicBezTo>
                    <a:pt x="6644" y="3513"/>
                    <a:pt x="6763" y="3525"/>
                    <a:pt x="6882" y="3537"/>
                  </a:cubicBezTo>
                  <a:lnTo>
                    <a:pt x="6882" y="4430"/>
                  </a:lnTo>
                  <a:cubicBezTo>
                    <a:pt x="6882" y="4882"/>
                    <a:pt x="6941" y="5251"/>
                    <a:pt x="7060" y="5549"/>
                  </a:cubicBezTo>
                  <a:cubicBezTo>
                    <a:pt x="7072" y="5597"/>
                    <a:pt x="7072" y="5656"/>
                    <a:pt x="7060" y="5692"/>
                  </a:cubicBezTo>
                  <a:cubicBezTo>
                    <a:pt x="7037" y="5740"/>
                    <a:pt x="7001" y="5775"/>
                    <a:pt x="6953" y="5787"/>
                  </a:cubicBezTo>
                  <a:cubicBezTo>
                    <a:pt x="6608" y="5906"/>
                    <a:pt x="6120" y="6049"/>
                    <a:pt x="5572" y="6156"/>
                  </a:cubicBezTo>
                  <a:cubicBezTo>
                    <a:pt x="6144" y="5728"/>
                    <a:pt x="6525" y="5025"/>
                    <a:pt x="6525" y="4251"/>
                  </a:cubicBezTo>
                  <a:lnTo>
                    <a:pt x="6525" y="3477"/>
                  </a:lnTo>
                  <a:close/>
                  <a:moveTo>
                    <a:pt x="4120" y="334"/>
                  </a:moveTo>
                  <a:cubicBezTo>
                    <a:pt x="5644" y="334"/>
                    <a:pt x="6882" y="1572"/>
                    <a:pt x="6882" y="3096"/>
                  </a:cubicBezTo>
                  <a:lnTo>
                    <a:pt x="6882" y="3239"/>
                  </a:lnTo>
                  <a:cubicBezTo>
                    <a:pt x="6596" y="3192"/>
                    <a:pt x="6322" y="3132"/>
                    <a:pt x="6060" y="3061"/>
                  </a:cubicBezTo>
                  <a:cubicBezTo>
                    <a:pt x="6043" y="3054"/>
                    <a:pt x="6026" y="3051"/>
                    <a:pt x="6010" y="3051"/>
                  </a:cubicBezTo>
                  <a:cubicBezTo>
                    <a:pt x="5937" y="3051"/>
                    <a:pt x="5880" y="3112"/>
                    <a:pt x="5870" y="3180"/>
                  </a:cubicBezTo>
                  <a:cubicBezTo>
                    <a:pt x="5834" y="3263"/>
                    <a:pt x="5894" y="3358"/>
                    <a:pt x="5989" y="3370"/>
                  </a:cubicBezTo>
                  <a:cubicBezTo>
                    <a:pt x="6060" y="3382"/>
                    <a:pt x="6132" y="3418"/>
                    <a:pt x="6203" y="3430"/>
                  </a:cubicBezTo>
                  <a:lnTo>
                    <a:pt x="6203" y="4275"/>
                  </a:lnTo>
                  <a:cubicBezTo>
                    <a:pt x="6191" y="5394"/>
                    <a:pt x="5275" y="6323"/>
                    <a:pt x="4120" y="6323"/>
                  </a:cubicBezTo>
                  <a:cubicBezTo>
                    <a:pt x="2989" y="6323"/>
                    <a:pt x="2060" y="5394"/>
                    <a:pt x="2060" y="4251"/>
                  </a:cubicBezTo>
                  <a:lnTo>
                    <a:pt x="2060" y="3573"/>
                  </a:lnTo>
                  <a:cubicBezTo>
                    <a:pt x="2060" y="3477"/>
                    <a:pt x="1976" y="3406"/>
                    <a:pt x="1893" y="3406"/>
                  </a:cubicBezTo>
                  <a:cubicBezTo>
                    <a:pt x="1798" y="3406"/>
                    <a:pt x="1726" y="3477"/>
                    <a:pt x="1726" y="3573"/>
                  </a:cubicBezTo>
                  <a:lnTo>
                    <a:pt x="1726" y="4251"/>
                  </a:lnTo>
                  <a:cubicBezTo>
                    <a:pt x="1726" y="5025"/>
                    <a:pt x="2096" y="5716"/>
                    <a:pt x="2679" y="6156"/>
                  </a:cubicBezTo>
                  <a:cubicBezTo>
                    <a:pt x="2131" y="6037"/>
                    <a:pt x="1643" y="5906"/>
                    <a:pt x="1298" y="5787"/>
                  </a:cubicBezTo>
                  <a:cubicBezTo>
                    <a:pt x="1250" y="5775"/>
                    <a:pt x="1203" y="5740"/>
                    <a:pt x="1191" y="5692"/>
                  </a:cubicBezTo>
                  <a:cubicBezTo>
                    <a:pt x="1179" y="5656"/>
                    <a:pt x="1179" y="5609"/>
                    <a:pt x="1191" y="5561"/>
                  </a:cubicBezTo>
                  <a:cubicBezTo>
                    <a:pt x="1310" y="5263"/>
                    <a:pt x="1369" y="4882"/>
                    <a:pt x="1369" y="4442"/>
                  </a:cubicBezTo>
                  <a:lnTo>
                    <a:pt x="1369" y="3239"/>
                  </a:lnTo>
                  <a:cubicBezTo>
                    <a:pt x="1405" y="3239"/>
                    <a:pt x="1417" y="3227"/>
                    <a:pt x="1429" y="3227"/>
                  </a:cubicBezTo>
                  <a:cubicBezTo>
                    <a:pt x="1476" y="3216"/>
                    <a:pt x="2417" y="2942"/>
                    <a:pt x="3227" y="2275"/>
                  </a:cubicBezTo>
                  <a:cubicBezTo>
                    <a:pt x="3286" y="2221"/>
                    <a:pt x="3361" y="2195"/>
                    <a:pt x="3435" y="2195"/>
                  </a:cubicBezTo>
                  <a:cubicBezTo>
                    <a:pt x="3509" y="2195"/>
                    <a:pt x="3584" y="2221"/>
                    <a:pt x="3643" y="2275"/>
                  </a:cubicBezTo>
                  <a:cubicBezTo>
                    <a:pt x="3965" y="2513"/>
                    <a:pt x="4501" y="2858"/>
                    <a:pt x="5251" y="3132"/>
                  </a:cubicBezTo>
                  <a:cubicBezTo>
                    <a:pt x="5273" y="3141"/>
                    <a:pt x="5295" y="3144"/>
                    <a:pt x="5315" y="3144"/>
                  </a:cubicBezTo>
                  <a:cubicBezTo>
                    <a:pt x="5382" y="3144"/>
                    <a:pt x="5438" y="3104"/>
                    <a:pt x="5465" y="3049"/>
                  </a:cubicBezTo>
                  <a:cubicBezTo>
                    <a:pt x="5489" y="2954"/>
                    <a:pt x="5453" y="2870"/>
                    <a:pt x="5370" y="2835"/>
                  </a:cubicBezTo>
                  <a:cubicBezTo>
                    <a:pt x="4655" y="2573"/>
                    <a:pt x="4155" y="2239"/>
                    <a:pt x="3858" y="2025"/>
                  </a:cubicBezTo>
                  <a:cubicBezTo>
                    <a:pt x="3735" y="1931"/>
                    <a:pt x="3591" y="1883"/>
                    <a:pt x="3449" y="1883"/>
                  </a:cubicBezTo>
                  <a:cubicBezTo>
                    <a:pt x="3302" y="1883"/>
                    <a:pt x="3157" y="1934"/>
                    <a:pt x="3036" y="2037"/>
                  </a:cubicBezTo>
                  <a:cubicBezTo>
                    <a:pt x="2357" y="2584"/>
                    <a:pt x="1560" y="2870"/>
                    <a:pt x="1381" y="2918"/>
                  </a:cubicBezTo>
                  <a:cubicBezTo>
                    <a:pt x="1476" y="1465"/>
                    <a:pt x="2667" y="334"/>
                    <a:pt x="4120" y="334"/>
                  </a:cubicBezTo>
                  <a:close/>
                  <a:moveTo>
                    <a:pt x="4989" y="6466"/>
                  </a:moveTo>
                  <a:lnTo>
                    <a:pt x="4989" y="6823"/>
                  </a:lnTo>
                  <a:lnTo>
                    <a:pt x="4715" y="7871"/>
                  </a:lnTo>
                  <a:cubicBezTo>
                    <a:pt x="4536" y="7978"/>
                    <a:pt x="4334" y="8014"/>
                    <a:pt x="4120" y="8014"/>
                  </a:cubicBezTo>
                  <a:cubicBezTo>
                    <a:pt x="3917" y="8014"/>
                    <a:pt x="3703" y="7954"/>
                    <a:pt x="3524" y="7871"/>
                  </a:cubicBezTo>
                  <a:lnTo>
                    <a:pt x="3262" y="6823"/>
                  </a:lnTo>
                  <a:lnTo>
                    <a:pt x="3262" y="6466"/>
                  </a:lnTo>
                  <a:cubicBezTo>
                    <a:pt x="3524" y="6573"/>
                    <a:pt x="3822" y="6633"/>
                    <a:pt x="4120" y="6633"/>
                  </a:cubicBezTo>
                  <a:cubicBezTo>
                    <a:pt x="4417" y="6633"/>
                    <a:pt x="4715" y="6573"/>
                    <a:pt x="4989" y="6466"/>
                  </a:cubicBezTo>
                  <a:close/>
                  <a:moveTo>
                    <a:pt x="2619" y="9895"/>
                  </a:moveTo>
                  <a:lnTo>
                    <a:pt x="2619" y="10597"/>
                  </a:lnTo>
                  <a:lnTo>
                    <a:pt x="1226" y="10597"/>
                  </a:lnTo>
                  <a:lnTo>
                    <a:pt x="1226" y="9895"/>
                  </a:lnTo>
                  <a:lnTo>
                    <a:pt x="1762" y="9895"/>
                  </a:lnTo>
                  <a:lnTo>
                    <a:pt x="1762" y="9907"/>
                  </a:lnTo>
                  <a:cubicBezTo>
                    <a:pt x="1762" y="10002"/>
                    <a:pt x="1834" y="10074"/>
                    <a:pt x="1917" y="10074"/>
                  </a:cubicBezTo>
                  <a:cubicBezTo>
                    <a:pt x="2012" y="10074"/>
                    <a:pt x="2084" y="10002"/>
                    <a:pt x="2084" y="9907"/>
                  </a:cubicBezTo>
                  <a:lnTo>
                    <a:pt x="2084" y="9895"/>
                  </a:lnTo>
                  <a:close/>
                  <a:moveTo>
                    <a:pt x="4108" y="1"/>
                  </a:moveTo>
                  <a:cubicBezTo>
                    <a:pt x="2417" y="1"/>
                    <a:pt x="1048" y="1370"/>
                    <a:pt x="1048" y="3061"/>
                  </a:cubicBezTo>
                  <a:lnTo>
                    <a:pt x="1048" y="4430"/>
                  </a:lnTo>
                  <a:cubicBezTo>
                    <a:pt x="1048" y="4942"/>
                    <a:pt x="953" y="5251"/>
                    <a:pt x="881" y="5430"/>
                  </a:cubicBezTo>
                  <a:cubicBezTo>
                    <a:pt x="833" y="5561"/>
                    <a:pt x="833" y="5692"/>
                    <a:pt x="893" y="5811"/>
                  </a:cubicBezTo>
                  <a:cubicBezTo>
                    <a:pt x="953" y="5930"/>
                    <a:pt x="1060" y="6037"/>
                    <a:pt x="1191" y="6085"/>
                  </a:cubicBezTo>
                  <a:cubicBezTo>
                    <a:pt x="1607" y="6216"/>
                    <a:pt x="2238" y="6406"/>
                    <a:pt x="2917" y="6525"/>
                  </a:cubicBezTo>
                  <a:lnTo>
                    <a:pt x="2917" y="6752"/>
                  </a:lnTo>
                  <a:lnTo>
                    <a:pt x="2250" y="7061"/>
                  </a:lnTo>
                  <a:cubicBezTo>
                    <a:pt x="2143" y="7109"/>
                    <a:pt x="2060" y="7216"/>
                    <a:pt x="2024" y="7335"/>
                  </a:cubicBezTo>
                  <a:cubicBezTo>
                    <a:pt x="2012" y="7407"/>
                    <a:pt x="2012" y="7466"/>
                    <a:pt x="2024" y="7537"/>
                  </a:cubicBezTo>
                  <a:lnTo>
                    <a:pt x="786" y="7978"/>
                  </a:lnTo>
                  <a:cubicBezTo>
                    <a:pt x="310" y="8133"/>
                    <a:pt x="0" y="8585"/>
                    <a:pt x="0" y="9085"/>
                  </a:cubicBezTo>
                  <a:lnTo>
                    <a:pt x="0" y="10752"/>
                  </a:lnTo>
                  <a:cubicBezTo>
                    <a:pt x="0" y="10847"/>
                    <a:pt x="71" y="10919"/>
                    <a:pt x="167" y="10919"/>
                  </a:cubicBezTo>
                  <a:cubicBezTo>
                    <a:pt x="250" y="10919"/>
                    <a:pt x="333" y="10847"/>
                    <a:pt x="333" y="10752"/>
                  </a:cubicBezTo>
                  <a:lnTo>
                    <a:pt x="333" y="9085"/>
                  </a:lnTo>
                  <a:cubicBezTo>
                    <a:pt x="333" y="8716"/>
                    <a:pt x="572" y="8395"/>
                    <a:pt x="905" y="8276"/>
                  </a:cubicBezTo>
                  <a:lnTo>
                    <a:pt x="2203" y="7811"/>
                  </a:lnTo>
                  <a:lnTo>
                    <a:pt x="2369" y="8014"/>
                  </a:lnTo>
                  <a:lnTo>
                    <a:pt x="2191" y="8276"/>
                  </a:lnTo>
                  <a:cubicBezTo>
                    <a:pt x="2096" y="8419"/>
                    <a:pt x="2084" y="8597"/>
                    <a:pt x="2143" y="8764"/>
                  </a:cubicBezTo>
                  <a:lnTo>
                    <a:pt x="2512" y="9550"/>
                  </a:lnTo>
                  <a:lnTo>
                    <a:pt x="2024" y="9550"/>
                  </a:lnTo>
                  <a:lnTo>
                    <a:pt x="2024" y="9371"/>
                  </a:lnTo>
                  <a:cubicBezTo>
                    <a:pt x="2024" y="9276"/>
                    <a:pt x="1953" y="9204"/>
                    <a:pt x="1857" y="9204"/>
                  </a:cubicBezTo>
                  <a:cubicBezTo>
                    <a:pt x="1774" y="9204"/>
                    <a:pt x="1703" y="9276"/>
                    <a:pt x="1703" y="9371"/>
                  </a:cubicBezTo>
                  <a:lnTo>
                    <a:pt x="1703" y="9550"/>
                  </a:lnTo>
                  <a:lnTo>
                    <a:pt x="1000" y="9550"/>
                  </a:lnTo>
                  <a:cubicBezTo>
                    <a:pt x="905" y="9550"/>
                    <a:pt x="833" y="9621"/>
                    <a:pt x="833" y="9716"/>
                  </a:cubicBezTo>
                  <a:lnTo>
                    <a:pt x="833" y="10740"/>
                  </a:lnTo>
                  <a:cubicBezTo>
                    <a:pt x="833" y="10836"/>
                    <a:pt x="905" y="10907"/>
                    <a:pt x="1000" y="10907"/>
                  </a:cubicBezTo>
                  <a:lnTo>
                    <a:pt x="2715" y="10907"/>
                  </a:lnTo>
                  <a:cubicBezTo>
                    <a:pt x="2798" y="10907"/>
                    <a:pt x="2869" y="10836"/>
                    <a:pt x="2869" y="10740"/>
                  </a:cubicBezTo>
                  <a:lnTo>
                    <a:pt x="2869" y="10359"/>
                  </a:lnTo>
                  <a:lnTo>
                    <a:pt x="3084" y="10800"/>
                  </a:lnTo>
                  <a:cubicBezTo>
                    <a:pt x="3108" y="10859"/>
                    <a:pt x="3167" y="10895"/>
                    <a:pt x="3227" y="10895"/>
                  </a:cubicBezTo>
                  <a:cubicBezTo>
                    <a:pt x="3262" y="10895"/>
                    <a:pt x="3274" y="10895"/>
                    <a:pt x="3286" y="10871"/>
                  </a:cubicBezTo>
                  <a:cubicBezTo>
                    <a:pt x="3370" y="10847"/>
                    <a:pt x="3405" y="10740"/>
                    <a:pt x="3370" y="10669"/>
                  </a:cubicBezTo>
                  <a:lnTo>
                    <a:pt x="2417" y="8609"/>
                  </a:lnTo>
                  <a:cubicBezTo>
                    <a:pt x="2381" y="8550"/>
                    <a:pt x="2393" y="8490"/>
                    <a:pt x="2429" y="8430"/>
                  </a:cubicBezTo>
                  <a:lnTo>
                    <a:pt x="2667" y="8073"/>
                  </a:lnTo>
                  <a:cubicBezTo>
                    <a:pt x="2715" y="8014"/>
                    <a:pt x="2691" y="7942"/>
                    <a:pt x="2667" y="7895"/>
                  </a:cubicBezTo>
                  <a:lnTo>
                    <a:pt x="2334" y="7454"/>
                  </a:lnTo>
                  <a:cubicBezTo>
                    <a:pt x="2322" y="7418"/>
                    <a:pt x="2322" y="7395"/>
                    <a:pt x="2322" y="7383"/>
                  </a:cubicBezTo>
                  <a:cubicBezTo>
                    <a:pt x="2322" y="7359"/>
                    <a:pt x="2334" y="7335"/>
                    <a:pt x="2369" y="7323"/>
                  </a:cubicBezTo>
                  <a:lnTo>
                    <a:pt x="2953" y="7049"/>
                  </a:lnTo>
                  <a:lnTo>
                    <a:pt x="3286" y="8371"/>
                  </a:lnTo>
                  <a:cubicBezTo>
                    <a:pt x="3316" y="8450"/>
                    <a:pt x="3370" y="8496"/>
                    <a:pt x="3442" y="8496"/>
                  </a:cubicBezTo>
                  <a:cubicBezTo>
                    <a:pt x="3457" y="8496"/>
                    <a:pt x="3472" y="8494"/>
                    <a:pt x="3489" y="8490"/>
                  </a:cubicBezTo>
                  <a:cubicBezTo>
                    <a:pt x="3572" y="8466"/>
                    <a:pt x="3620" y="8383"/>
                    <a:pt x="3608" y="8299"/>
                  </a:cubicBezTo>
                  <a:lnTo>
                    <a:pt x="3584" y="8252"/>
                  </a:lnTo>
                  <a:lnTo>
                    <a:pt x="3584" y="8252"/>
                  </a:lnTo>
                  <a:cubicBezTo>
                    <a:pt x="3751" y="8311"/>
                    <a:pt x="3917" y="8335"/>
                    <a:pt x="4084" y="8335"/>
                  </a:cubicBezTo>
                  <a:cubicBezTo>
                    <a:pt x="4239" y="8335"/>
                    <a:pt x="4405" y="8299"/>
                    <a:pt x="4572" y="8252"/>
                  </a:cubicBezTo>
                  <a:lnTo>
                    <a:pt x="4572" y="8252"/>
                  </a:lnTo>
                  <a:lnTo>
                    <a:pt x="4084" y="10121"/>
                  </a:lnTo>
                  <a:lnTo>
                    <a:pt x="3786" y="9002"/>
                  </a:lnTo>
                  <a:cubicBezTo>
                    <a:pt x="3755" y="8918"/>
                    <a:pt x="3696" y="8881"/>
                    <a:pt x="3618" y="8881"/>
                  </a:cubicBezTo>
                  <a:cubicBezTo>
                    <a:pt x="3607" y="8881"/>
                    <a:pt x="3596" y="8881"/>
                    <a:pt x="3584" y="8883"/>
                  </a:cubicBezTo>
                  <a:cubicBezTo>
                    <a:pt x="3500" y="8907"/>
                    <a:pt x="3453" y="8990"/>
                    <a:pt x="3465" y="9073"/>
                  </a:cubicBezTo>
                  <a:lnTo>
                    <a:pt x="3917" y="10788"/>
                  </a:lnTo>
                  <a:cubicBezTo>
                    <a:pt x="3929" y="10859"/>
                    <a:pt x="4001" y="10907"/>
                    <a:pt x="4060" y="10907"/>
                  </a:cubicBezTo>
                  <a:cubicBezTo>
                    <a:pt x="4143" y="10907"/>
                    <a:pt x="4203" y="10859"/>
                    <a:pt x="4215" y="10788"/>
                  </a:cubicBezTo>
                  <a:lnTo>
                    <a:pt x="5191" y="7061"/>
                  </a:lnTo>
                  <a:lnTo>
                    <a:pt x="5775" y="7335"/>
                  </a:lnTo>
                  <a:cubicBezTo>
                    <a:pt x="5810" y="7347"/>
                    <a:pt x="5822" y="7383"/>
                    <a:pt x="5822" y="7395"/>
                  </a:cubicBezTo>
                  <a:cubicBezTo>
                    <a:pt x="5822" y="7407"/>
                    <a:pt x="5822" y="7430"/>
                    <a:pt x="5810" y="7466"/>
                  </a:cubicBezTo>
                  <a:lnTo>
                    <a:pt x="5477" y="7918"/>
                  </a:lnTo>
                  <a:cubicBezTo>
                    <a:pt x="5429" y="7978"/>
                    <a:pt x="5429" y="8049"/>
                    <a:pt x="5477" y="8097"/>
                  </a:cubicBezTo>
                  <a:lnTo>
                    <a:pt x="5715" y="8454"/>
                  </a:lnTo>
                  <a:cubicBezTo>
                    <a:pt x="5751" y="8514"/>
                    <a:pt x="5763" y="8573"/>
                    <a:pt x="5727" y="8633"/>
                  </a:cubicBezTo>
                  <a:lnTo>
                    <a:pt x="4774" y="10681"/>
                  </a:lnTo>
                  <a:cubicBezTo>
                    <a:pt x="4751" y="10752"/>
                    <a:pt x="4774" y="10859"/>
                    <a:pt x="4858" y="10895"/>
                  </a:cubicBezTo>
                  <a:cubicBezTo>
                    <a:pt x="4870" y="10907"/>
                    <a:pt x="4894" y="10907"/>
                    <a:pt x="4917" y="10907"/>
                  </a:cubicBezTo>
                  <a:cubicBezTo>
                    <a:pt x="4977" y="10907"/>
                    <a:pt x="5036" y="10871"/>
                    <a:pt x="5060" y="10812"/>
                  </a:cubicBezTo>
                  <a:lnTo>
                    <a:pt x="6013" y="8764"/>
                  </a:lnTo>
                  <a:cubicBezTo>
                    <a:pt x="6084" y="8597"/>
                    <a:pt x="6072" y="8419"/>
                    <a:pt x="5965" y="8276"/>
                  </a:cubicBezTo>
                  <a:lnTo>
                    <a:pt x="5786" y="8014"/>
                  </a:lnTo>
                  <a:lnTo>
                    <a:pt x="5953" y="7811"/>
                  </a:lnTo>
                  <a:lnTo>
                    <a:pt x="7251" y="8276"/>
                  </a:lnTo>
                  <a:cubicBezTo>
                    <a:pt x="7596" y="8395"/>
                    <a:pt x="7834" y="8716"/>
                    <a:pt x="7834" y="9085"/>
                  </a:cubicBezTo>
                  <a:lnTo>
                    <a:pt x="7834" y="10752"/>
                  </a:lnTo>
                  <a:cubicBezTo>
                    <a:pt x="7834" y="10847"/>
                    <a:pt x="7906" y="10919"/>
                    <a:pt x="7989" y="10919"/>
                  </a:cubicBezTo>
                  <a:cubicBezTo>
                    <a:pt x="8084" y="10919"/>
                    <a:pt x="8156" y="10847"/>
                    <a:pt x="8156" y="10752"/>
                  </a:cubicBezTo>
                  <a:lnTo>
                    <a:pt x="8156" y="9085"/>
                  </a:lnTo>
                  <a:cubicBezTo>
                    <a:pt x="8215" y="8585"/>
                    <a:pt x="7906" y="8133"/>
                    <a:pt x="7430" y="7978"/>
                  </a:cubicBezTo>
                  <a:lnTo>
                    <a:pt x="6191" y="7537"/>
                  </a:lnTo>
                  <a:cubicBezTo>
                    <a:pt x="6203" y="7478"/>
                    <a:pt x="6203" y="7407"/>
                    <a:pt x="6191" y="7335"/>
                  </a:cubicBezTo>
                  <a:cubicBezTo>
                    <a:pt x="6167" y="7216"/>
                    <a:pt x="6084" y="7121"/>
                    <a:pt x="5965" y="7061"/>
                  </a:cubicBezTo>
                  <a:lnTo>
                    <a:pt x="5298" y="6752"/>
                  </a:lnTo>
                  <a:lnTo>
                    <a:pt x="5298" y="6525"/>
                  </a:lnTo>
                  <a:cubicBezTo>
                    <a:pt x="5989" y="6406"/>
                    <a:pt x="6608" y="6228"/>
                    <a:pt x="7025" y="6085"/>
                  </a:cubicBezTo>
                  <a:cubicBezTo>
                    <a:pt x="7156" y="6037"/>
                    <a:pt x="7263" y="5954"/>
                    <a:pt x="7322" y="5811"/>
                  </a:cubicBezTo>
                  <a:cubicBezTo>
                    <a:pt x="7382" y="5692"/>
                    <a:pt x="7382" y="5549"/>
                    <a:pt x="7334" y="5430"/>
                  </a:cubicBezTo>
                  <a:cubicBezTo>
                    <a:pt x="7263" y="5251"/>
                    <a:pt x="7180" y="4918"/>
                    <a:pt x="7180" y="4430"/>
                  </a:cubicBezTo>
                  <a:lnTo>
                    <a:pt x="7180" y="3061"/>
                  </a:lnTo>
                  <a:cubicBezTo>
                    <a:pt x="7180" y="1370"/>
                    <a:pt x="5810" y="1"/>
                    <a:pt x="4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3" name="Google Shape;11503;p61"/>
            <p:cNvSpPr/>
            <p:nvPr/>
          </p:nvSpPr>
          <p:spPr>
            <a:xfrm>
              <a:off x="7686319" y="4368743"/>
              <a:ext cx="21131" cy="10581"/>
            </a:xfrm>
            <a:custGeom>
              <a:avLst/>
              <a:gdLst/>
              <a:ahLst/>
              <a:cxnLst/>
              <a:rect l="l" t="t" r="r" b="b"/>
              <a:pathLst>
                <a:path w="667" h="334" extrusionOk="0">
                  <a:moveTo>
                    <a:pt x="155" y="0"/>
                  </a:moveTo>
                  <a:cubicBezTo>
                    <a:pt x="72" y="0"/>
                    <a:pt x="0" y="72"/>
                    <a:pt x="0" y="167"/>
                  </a:cubicBezTo>
                  <a:cubicBezTo>
                    <a:pt x="0" y="250"/>
                    <a:pt x="72" y="334"/>
                    <a:pt x="155" y="334"/>
                  </a:cubicBezTo>
                  <a:lnTo>
                    <a:pt x="500" y="334"/>
                  </a:lnTo>
                  <a:cubicBezTo>
                    <a:pt x="596" y="334"/>
                    <a:pt x="667" y="250"/>
                    <a:pt x="667" y="167"/>
                  </a:cubicBezTo>
                  <a:cubicBezTo>
                    <a:pt x="667" y="72"/>
                    <a:pt x="59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4" name="Google Shape;11504;p61"/>
            <p:cNvSpPr/>
            <p:nvPr/>
          </p:nvSpPr>
          <p:spPr>
            <a:xfrm>
              <a:off x="7751199" y="4368743"/>
              <a:ext cx="21131" cy="10581"/>
            </a:xfrm>
            <a:custGeom>
              <a:avLst/>
              <a:gdLst/>
              <a:ahLst/>
              <a:cxnLst/>
              <a:rect l="l" t="t" r="r" b="b"/>
              <a:pathLst>
                <a:path w="667" h="334" extrusionOk="0">
                  <a:moveTo>
                    <a:pt x="167" y="0"/>
                  </a:moveTo>
                  <a:cubicBezTo>
                    <a:pt x="72" y="0"/>
                    <a:pt x="0" y="72"/>
                    <a:pt x="0" y="167"/>
                  </a:cubicBezTo>
                  <a:cubicBezTo>
                    <a:pt x="0" y="250"/>
                    <a:pt x="72" y="334"/>
                    <a:pt x="167" y="334"/>
                  </a:cubicBezTo>
                  <a:lnTo>
                    <a:pt x="512" y="334"/>
                  </a:lnTo>
                  <a:cubicBezTo>
                    <a:pt x="595" y="334"/>
                    <a:pt x="667" y="250"/>
                    <a:pt x="667" y="167"/>
                  </a:cubicBezTo>
                  <a:cubicBezTo>
                    <a:pt x="667" y="72"/>
                    <a:pt x="595"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5" name="Google Shape;11505;p61"/>
            <p:cNvSpPr/>
            <p:nvPr/>
          </p:nvSpPr>
          <p:spPr>
            <a:xfrm>
              <a:off x="7794189" y="4558474"/>
              <a:ext cx="37731" cy="37731"/>
            </a:xfrm>
            <a:custGeom>
              <a:avLst/>
              <a:gdLst/>
              <a:ahLst/>
              <a:cxnLst/>
              <a:rect l="l" t="t" r="r" b="b"/>
              <a:pathLst>
                <a:path w="1191" h="1191" extrusionOk="0">
                  <a:moveTo>
                    <a:pt x="596" y="0"/>
                  </a:moveTo>
                  <a:cubicBezTo>
                    <a:pt x="500" y="0"/>
                    <a:pt x="429" y="72"/>
                    <a:pt x="429" y="155"/>
                  </a:cubicBezTo>
                  <a:lnTo>
                    <a:pt x="429" y="429"/>
                  </a:lnTo>
                  <a:lnTo>
                    <a:pt x="167" y="429"/>
                  </a:lnTo>
                  <a:cubicBezTo>
                    <a:pt x="72" y="429"/>
                    <a:pt x="0" y="500"/>
                    <a:pt x="0" y="595"/>
                  </a:cubicBezTo>
                  <a:cubicBezTo>
                    <a:pt x="0" y="679"/>
                    <a:pt x="72" y="750"/>
                    <a:pt x="167" y="750"/>
                  </a:cubicBezTo>
                  <a:lnTo>
                    <a:pt x="429" y="750"/>
                  </a:lnTo>
                  <a:lnTo>
                    <a:pt x="429" y="1024"/>
                  </a:lnTo>
                  <a:cubicBezTo>
                    <a:pt x="429" y="1107"/>
                    <a:pt x="500" y="1191"/>
                    <a:pt x="596" y="1191"/>
                  </a:cubicBezTo>
                  <a:cubicBezTo>
                    <a:pt x="679" y="1191"/>
                    <a:pt x="762" y="1107"/>
                    <a:pt x="762" y="1024"/>
                  </a:cubicBezTo>
                  <a:lnTo>
                    <a:pt x="762" y="750"/>
                  </a:lnTo>
                  <a:lnTo>
                    <a:pt x="1024" y="750"/>
                  </a:lnTo>
                  <a:cubicBezTo>
                    <a:pt x="1120" y="750"/>
                    <a:pt x="1191" y="679"/>
                    <a:pt x="1191" y="595"/>
                  </a:cubicBezTo>
                  <a:cubicBezTo>
                    <a:pt x="1191" y="500"/>
                    <a:pt x="1120" y="429"/>
                    <a:pt x="1024" y="429"/>
                  </a:cubicBezTo>
                  <a:lnTo>
                    <a:pt x="762" y="429"/>
                  </a:lnTo>
                  <a:lnTo>
                    <a:pt x="762" y="155"/>
                  </a:lnTo>
                  <a:cubicBezTo>
                    <a:pt x="762" y="72"/>
                    <a:pt x="67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6" name="Google Shape;11506;p61"/>
            <p:cNvSpPr/>
            <p:nvPr/>
          </p:nvSpPr>
          <p:spPr>
            <a:xfrm>
              <a:off x="7691197" y="4385343"/>
              <a:ext cx="10613" cy="15492"/>
            </a:xfrm>
            <a:custGeom>
              <a:avLst/>
              <a:gdLst/>
              <a:ahLst/>
              <a:cxnLst/>
              <a:rect l="l" t="t" r="r" b="b"/>
              <a:pathLst>
                <a:path w="335" h="489" extrusionOk="0">
                  <a:moveTo>
                    <a:pt x="168" y="0"/>
                  </a:moveTo>
                  <a:cubicBezTo>
                    <a:pt x="84" y="0"/>
                    <a:pt x="1" y="72"/>
                    <a:pt x="1" y="167"/>
                  </a:cubicBezTo>
                  <a:lnTo>
                    <a:pt x="1" y="322"/>
                  </a:lnTo>
                  <a:cubicBezTo>
                    <a:pt x="1" y="417"/>
                    <a:pt x="84" y="488"/>
                    <a:pt x="168" y="488"/>
                  </a:cubicBezTo>
                  <a:cubicBezTo>
                    <a:pt x="263" y="488"/>
                    <a:pt x="334" y="417"/>
                    <a:pt x="334" y="322"/>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7" name="Google Shape;11507;p61"/>
            <p:cNvSpPr/>
            <p:nvPr/>
          </p:nvSpPr>
          <p:spPr>
            <a:xfrm>
              <a:off x="7756458" y="4385343"/>
              <a:ext cx="10233" cy="15492"/>
            </a:xfrm>
            <a:custGeom>
              <a:avLst/>
              <a:gdLst/>
              <a:ahLst/>
              <a:cxnLst/>
              <a:rect l="l" t="t" r="r" b="b"/>
              <a:pathLst>
                <a:path w="323" h="489" extrusionOk="0">
                  <a:moveTo>
                    <a:pt x="167" y="0"/>
                  </a:moveTo>
                  <a:cubicBezTo>
                    <a:pt x="72" y="0"/>
                    <a:pt x="1" y="72"/>
                    <a:pt x="1" y="167"/>
                  </a:cubicBezTo>
                  <a:lnTo>
                    <a:pt x="1" y="322"/>
                  </a:lnTo>
                  <a:cubicBezTo>
                    <a:pt x="1" y="417"/>
                    <a:pt x="72" y="488"/>
                    <a:pt x="167" y="488"/>
                  </a:cubicBezTo>
                  <a:cubicBezTo>
                    <a:pt x="251" y="488"/>
                    <a:pt x="322" y="417"/>
                    <a:pt x="322" y="322"/>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8" name="Google Shape;11508;p61"/>
            <p:cNvSpPr/>
            <p:nvPr/>
          </p:nvSpPr>
          <p:spPr>
            <a:xfrm>
              <a:off x="7699878" y="4415122"/>
              <a:ext cx="58893" cy="32092"/>
            </a:xfrm>
            <a:custGeom>
              <a:avLst/>
              <a:gdLst/>
              <a:ahLst/>
              <a:cxnLst/>
              <a:rect l="l" t="t" r="r" b="b"/>
              <a:pathLst>
                <a:path w="1859" h="1013" extrusionOk="0">
                  <a:moveTo>
                    <a:pt x="1501" y="322"/>
                  </a:moveTo>
                  <a:cubicBezTo>
                    <a:pt x="1430" y="537"/>
                    <a:pt x="1191" y="679"/>
                    <a:pt x="918" y="679"/>
                  </a:cubicBezTo>
                  <a:cubicBezTo>
                    <a:pt x="656" y="679"/>
                    <a:pt x="418" y="537"/>
                    <a:pt x="346" y="322"/>
                  </a:cubicBezTo>
                  <a:close/>
                  <a:moveTo>
                    <a:pt x="168" y="1"/>
                  </a:moveTo>
                  <a:cubicBezTo>
                    <a:pt x="72" y="1"/>
                    <a:pt x="1" y="72"/>
                    <a:pt x="1" y="156"/>
                  </a:cubicBezTo>
                  <a:cubicBezTo>
                    <a:pt x="1" y="620"/>
                    <a:pt x="418" y="1013"/>
                    <a:pt x="918" y="1013"/>
                  </a:cubicBezTo>
                  <a:cubicBezTo>
                    <a:pt x="1430" y="1013"/>
                    <a:pt x="1846" y="632"/>
                    <a:pt x="1846" y="156"/>
                  </a:cubicBezTo>
                  <a:cubicBezTo>
                    <a:pt x="1858" y="72"/>
                    <a:pt x="1787" y="1"/>
                    <a:pt x="1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09" name="Google Shape;11509;p61"/>
          <p:cNvGrpSpPr/>
          <p:nvPr/>
        </p:nvGrpSpPr>
        <p:grpSpPr>
          <a:xfrm>
            <a:off x="1767069" y="3360146"/>
            <a:ext cx="286324" cy="348163"/>
            <a:chOff x="1767069" y="3360146"/>
            <a:chExt cx="286324" cy="348163"/>
          </a:xfrm>
        </p:grpSpPr>
        <p:sp>
          <p:nvSpPr>
            <p:cNvPr id="11510" name="Google Shape;11510;p61"/>
            <p:cNvSpPr/>
            <p:nvPr/>
          </p:nvSpPr>
          <p:spPr>
            <a:xfrm>
              <a:off x="1767069" y="3404277"/>
              <a:ext cx="228223" cy="304033"/>
            </a:xfrm>
            <a:custGeom>
              <a:avLst/>
              <a:gdLst/>
              <a:ahLst/>
              <a:cxnLst/>
              <a:rect l="l" t="t" r="r" b="b"/>
              <a:pathLst>
                <a:path w="7204" h="9597" extrusionOk="0">
                  <a:moveTo>
                    <a:pt x="2072" y="7537"/>
                  </a:moveTo>
                  <a:lnTo>
                    <a:pt x="2072" y="9049"/>
                  </a:lnTo>
                  <a:lnTo>
                    <a:pt x="572" y="7537"/>
                  </a:lnTo>
                  <a:close/>
                  <a:moveTo>
                    <a:pt x="167" y="0"/>
                  </a:moveTo>
                  <a:cubicBezTo>
                    <a:pt x="72" y="0"/>
                    <a:pt x="0" y="72"/>
                    <a:pt x="0" y="155"/>
                  </a:cubicBezTo>
                  <a:lnTo>
                    <a:pt x="0" y="7382"/>
                  </a:lnTo>
                  <a:cubicBezTo>
                    <a:pt x="0" y="7418"/>
                    <a:pt x="12" y="7465"/>
                    <a:pt x="48" y="7501"/>
                  </a:cubicBezTo>
                  <a:lnTo>
                    <a:pt x="2096" y="9549"/>
                  </a:lnTo>
                  <a:cubicBezTo>
                    <a:pt x="2132" y="9585"/>
                    <a:pt x="2179" y="9597"/>
                    <a:pt x="2215" y="9597"/>
                  </a:cubicBezTo>
                  <a:lnTo>
                    <a:pt x="7025" y="9597"/>
                  </a:lnTo>
                  <a:cubicBezTo>
                    <a:pt x="7120" y="9597"/>
                    <a:pt x="7192" y="9513"/>
                    <a:pt x="7192" y="9430"/>
                  </a:cubicBezTo>
                  <a:lnTo>
                    <a:pt x="7192" y="7811"/>
                  </a:lnTo>
                  <a:cubicBezTo>
                    <a:pt x="7204" y="7715"/>
                    <a:pt x="7132" y="7644"/>
                    <a:pt x="7037" y="7644"/>
                  </a:cubicBezTo>
                  <a:cubicBezTo>
                    <a:pt x="6954" y="7644"/>
                    <a:pt x="6882" y="7715"/>
                    <a:pt x="6882" y="7811"/>
                  </a:cubicBezTo>
                  <a:lnTo>
                    <a:pt x="6882" y="9263"/>
                  </a:lnTo>
                  <a:lnTo>
                    <a:pt x="2382" y="9263"/>
                  </a:lnTo>
                  <a:lnTo>
                    <a:pt x="2382" y="7382"/>
                  </a:lnTo>
                  <a:cubicBezTo>
                    <a:pt x="2382" y="7287"/>
                    <a:pt x="2310" y="7215"/>
                    <a:pt x="2215" y="7215"/>
                  </a:cubicBezTo>
                  <a:lnTo>
                    <a:pt x="334" y="7215"/>
                  </a:lnTo>
                  <a:lnTo>
                    <a:pt x="334" y="322"/>
                  </a:lnTo>
                  <a:lnTo>
                    <a:pt x="1858" y="322"/>
                  </a:lnTo>
                  <a:cubicBezTo>
                    <a:pt x="1953" y="322"/>
                    <a:pt x="2024" y="250"/>
                    <a:pt x="2024" y="155"/>
                  </a:cubicBezTo>
                  <a:cubicBezTo>
                    <a:pt x="2024" y="72"/>
                    <a:pt x="1953"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1" name="Google Shape;11511;p61"/>
            <p:cNvSpPr/>
            <p:nvPr/>
          </p:nvSpPr>
          <p:spPr>
            <a:xfrm>
              <a:off x="1799509" y="3360146"/>
              <a:ext cx="253884" cy="276883"/>
            </a:xfrm>
            <a:custGeom>
              <a:avLst/>
              <a:gdLst/>
              <a:ahLst/>
              <a:cxnLst/>
              <a:rect l="l" t="t" r="r" b="b"/>
              <a:pathLst>
                <a:path w="8014" h="8740" extrusionOk="0">
                  <a:moveTo>
                    <a:pt x="4406" y="3751"/>
                  </a:moveTo>
                  <a:cubicBezTo>
                    <a:pt x="4525" y="3870"/>
                    <a:pt x="4680" y="3965"/>
                    <a:pt x="4822" y="4048"/>
                  </a:cubicBezTo>
                  <a:lnTo>
                    <a:pt x="4822" y="4132"/>
                  </a:lnTo>
                  <a:lnTo>
                    <a:pt x="334" y="4132"/>
                  </a:lnTo>
                  <a:lnTo>
                    <a:pt x="334" y="3751"/>
                  </a:lnTo>
                  <a:close/>
                  <a:moveTo>
                    <a:pt x="5870" y="0"/>
                  </a:moveTo>
                  <a:cubicBezTo>
                    <a:pt x="4941" y="0"/>
                    <a:pt x="4156" y="583"/>
                    <a:pt x="3846" y="1405"/>
                  </a:cubicBezTo>
                  <a:lnTo>
                    <a:pt x="1477" y="1405"/>
                  </a:lnTo>
                  <a:cubicBezTo>
                    <a:pt x="1393" y="1405"/>
                    <a:pt x="1310" y="1476"/>
                    <a:pt x="1310" y="1572"/>
                  </a:cubicBezTo>
                  <a:cubicBezTo>
                    <a:pt x="1310" y="1655"/>
                    <a:pt x="1393" y="1726"/>
                    <a:pt x="1477" y="1726"/>
                  </a:cubicBezTo>
                  <a:lnTo>
                    <a:pt x="3739" y="1726"/>
                  </a:lnTo>
                  <a:cubicBezTo>
                    <a:pt x="3715" y="1869"/>
                    <a:pt x="3691" y="2012"/>
                    <a:pt x="3691" y="2167"/>
                  </a:cubicBezTo>
                  <a:cubicBezTo>
                    <a:pt x="3691" y="2643"/>
                    <a:pt x="3858" y="3084"/>
                    <a:pt x="4108" y="3441"/>
                  </a:cubicBezTo>
                  <a:lnTo>
                    <a:pt x="167" y="3441"/>
                  </a:lnTo>
                  <a:cubicBezTo>
                    <a:pt x="84" y="3441"/>
                    <a:pt x="0" y="3512"/>
                    <a:pt x="0" y="3608"/>
                  </a:cubicBezTo>
                  <a:lnTo>
                    <a:pt x="0" y="4310"/>
                  </a:lnTo>
                  <a:cubicBezTo>
                    <a:pt x="0" y="4393"/>
                    <a:pt x="84" y="4465"/>
                    <a:pt x="167" y="4465"/>
                  </a:cubicBezTo>
                  <a:lnTo>
                    <a:pt x="4977" y="4465"/>
                  </a:lnTo>
                  <a:cubicBezTo>
                    <a:pt x="5061" y="4465"/>
                    <a:pt x="5144" y="4393"/>
                    <a:pt x="5144" y="4310"/>
                  </a:cubicBezTo>
                  <a:lnTo>
                    <a:pt x="5144" y="4203"/>
                  </a:lnTo>
                  <a:cubicBezTo>
                    <a:pt x="5358" y="4274"/>
                    <a:pt x="5596" y="4322"/>
                    <a:pt x="5834" y="4322"/>
                  </a:cubicBezTo>
                  <a:lnTo>
                    <a:pt x="5834" y="8573"/>
                  </a:lnTo>
                  <a:cubicBezTo>
                    <a:pt x="5834" y="8668"/>
                    <a:pt x="5918" y="8739"/>
                    <a:pt x="6001" y="8739"/>
                  </a:cubicBezTo>
                  <a:cubicBezTo>
                    <a:pt x="6096" y="8739"/>
                    <a:pt x="6168" y="8668"/>
                    <a:pt x="6168" y="8573"/>
                  </a:cubicBezTo>
                  <a:lnTo>
                    <a:pt x="6168" y="4286"/>
                  </a:lnTo>
                  <a:cubicBezTo>
                    <a:pt x="6549" y="4227"/>
                    <a:pt x="6906" y="4084"/>
                    <a:pt x="7204" y="3834"/>
                  </a:cubicBezTo>
                  <a:cubicBezTo>
                    <a:pt x="7585" y="3512"/>
                    <a:pt x="7847" y="3096"/>
                    <a:pt x="7954" y="2619"/>
                  </a:cubicBezTo>
                  <a:cubicBezTo>
                    <a:pt x="7978" y="2536"/>
                    <a:pt x="7918" y="2441"/>
                    <a:pt x="7835" y="2429"/>
                  </a:cubicBezTo>
                  <a:cubicBezTo>
                    <a:pt x="7825" y="2428"/>
                    <a:pt x="7815" y="2427"/>
                    <a:pt x="7806" y="2427"/>
                  </a:cubicBezTo>
                  <a:cubicBezTo>
                    <a:pt x="7723" y="2427"/>
                    <a:pt x="7655" y="2473"/>
                    <a:pt x="7644" y="2548"/>
                  </a:cubicBezTo>
                  <a:cubicBezTo>
                    <a:pt x="7466" y="3381"/>
                    <a:pt x="6704" y="3989"/>
                    <a:pt x="5858" y="3989"/>
                  </a:cubicBezTo>
                  <a:cubicBezTo>
                    <a:pt x="4846" y="3989"/>
                    <a:pt x="4025" y="3179"/>
                    <a:pt x="4025" y="2167"/>
                  </a:cubicBezTo>
                  <a:cubicBezTo>
                    <a:pt x="4025" y="1155"/>
                    <a:pt x="4846" y="333"/>
                    <a:pt x="5858" y="333"/>
                  </a:cubicBezTo>
                  <a:cubicBezTo>
                    <a:pt x="6787" y="333"/>
                    <a:pt x="7585" y="1048"/>
                    <a:pt x="7680" y="1965"/>
                  </a:cubicBezTo>
                  <a:cubicBezTo>
                    <a:pt x="7704" y="2060"/>
                    <a:pt x="7775" y="2119"/>
                    <a:pt x="7858" y="2119"/>
                  </a:cubicBezTo>
                  <a:cubicBezTo>
                    <a:pt x="7954" y="2107"/>
                    <a:pt x="8013" y="2024"/>
                    <a:pt x="8013" y="1941"/>
                  </a:cubicBezTo>
                  <a:cubicBezTo>
                    <a:pt x="7954" y="1417"/>
                    <a:pt x="7716" y="929"/>
                    <a:pt x="7311" y="572"/>
                  </a:cubicBezTo>
                  <a:cubicBezTo>
                    <a:pt x="6906" y="214"/>
                    <a:pt x="6406" y="0"/>
                    <a:pt x="5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2" name="Google Shape;11512;p61"/>
            <p:cNvSpPr/>
            <p:nvPr/>
          </p:nvSpPr>
          <p:spPr>
            <a:xfrm>
              <a:off x="1948120" y="3388532"/>
              <a:ext cx="78852" cy="75367"/>
            </a:xfrm>
            <a:custGeom>
              <a:avLst/>
              <a:gdLst/>
              <a:ahLst/>
              <a:cxnLst/>
              <a:rect l="l" t="t" r="r" b="b"/>
              <a:pathLst>
                <a:path w="2489" h="2379" extrusionOk="0">
                  <a:moveTo>
                    <a:pt x="1513" y="330"/>
                  </a:moveTo>
                  <a:cubicBezTo>
                    <a:pt x="1667" y="330"/>
                    <a:pt x="1798" y="390"/>
                    <a:pt x="1917" y="497"/>
                  </a:cubicBezTo>
                  <a:cubicBezTo>
                    <a:pt x="2132" y="700"/>
                    <a:pt x="2132" y="1057"/>
                    <a:pt x="1905" y="1283"/>
                  </a:cubicBezTo>
                  <a:cubicBezTo>
                    <a:pt x="1792" y="1396"/>
                    <a:pt x="1646" y="1453"/>
                    <a:pt x="1504" y="1453"/>
                  </a:cubicBezTo>
                  <a:cubicBezTo>
                    <a:pt x="1361" y="1453"/>
                    <a:pt x="1221" y="1396"/>
                    <a:pt x="1120" y="1283"/>
                  </a:cubicBezTo>
                  <a:cubicBezTo>
                    <a:pt x="893" y="1057"/>
                    <a:pt x="893" y="700"/>
                    <a:pt x="1120" y="497"/>
                  </a:cubicBezTo>
                  <a:cubicBezTo>
                    <a:pt x="1215" y="390"/>
                    <a:pt x="1370" y="330"/>
                    <a:pt x="1513" y="330"/>
                  </a:cubicBezTo>
                  <a:close/>
                  <a:moveTo>
                    <a:pt x="1518" y="0"/>
                  </a:moveTo>
                  <a:cubicBezTo>
                    <a:pt x="1292" y="0"/>
                    <a:pt x="1066" y="86"/>
                    <a:pt x="893" y="259"/>
                  </a:cubicBezTo>
                  <a:cubicBezTo>
                    <a:pt x="584" y="569"/>
                    <a:pt x="548" y="1033"/>
                    <a:pt x="786" y="1390"/>
                  </a:cubicBezTo>
                  <a:lnTo>
                    <a:pt x="60" y="2116"/>
                  </a:lnTo>
                  <a:cubicBezTo>
                    <a:pt x="0" y="2176"/>
                    <a:pt x="0" y="2283"/>
                    <a:pt x="60" y="2343"/>
                  </a:cubicBezTo>
                  <a:cubicBezTo>
                    <a:pt x="96" y="2366"/>
                    <a:pt x="131" y="2378"/>
                    <a:pt x="179" y="2378"/>
                  </a:cubicBezTo>
                  <a:cubicBezTo>
                    <a:pt x="227" y="2378"/>
                    <a:pt x="274" y="2366"/>
                    <a:pt x="298" y="2343"/>
                  </a:cubicBezTo>
                  <a:lnTo>
                    <a:pt x="1024" y="1604"/>
                  </a:lnTo>
                  <a:cubicBezTo>
                    <a:pt x="1179" y="1712"/>
                    <a:pt x="1358" y="1759"/>
                    <a:pt x="1536" y="1759"/>
                  </a:cubicBezTo>
                  <a:cubicBezTo>
                    <a:pt x="1763" y="1759"/>
                    <a:pt x="1977" y="1664"/>
                    <a:pt x="2155" y="1509"/>
                  </a:cubicBezTo>
                  <a:cubicBezTo>
                    <a:pt x="2489" y="1164"/>
                    <a:pt x="2489" y="592"/>
                    <a:pt x="2144" y="259"/>
                  </a:cubicBezTo>
                  <a:cubicBezTo>
                    <a:pt x="1971" y="86"/>
                    <a:pt x="1745" y="0"/>
                    <a:pt x="15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3" name="Google Shape;11513;p61"/>
            <p:cNvSpPr/>
            <p:nvPr/>
          </p:nvSpPr>
          <p:spPr>
            <a:xfrm>
              <a:off x="1800270" y="3513636"/>
              <a:ext cx="162582" cy="10233"/>
            </a:xfrm>
            <a:custGeom>
              <a:avLst/>
              <a:gdLst/>
              <a:ahLst/>
              <a:cxnLst/>
              <a:rect l="l" t="t" r="r" b="b"/>
              <a:pathLst>
                <a:path w="5132" h="323" extrusionOk="0">
                  <a:moveTo>
                    <a:pt x="155" y="1"/>
                  </a:moveTo>
                  <a:cubicBezTo>
                    <a:pt x="72" y="1"/>
                    <a:pt x="0" y="72"/>
                    <a:pt x="0" y="156"/>
                  </a:cubicBezTo>
                  <a:cubicBezTo>
                    <a:pt x="0" y="251"/>
                    <a:pt x="72" y="322"/>
                    <a:pt x="155" y="322"/>
                  </a:cubicBezTo>
                  <a:lnTo>
                    <a:pt x="4965" y="322"/>
                  </a:lnTo>
                  <a:cubicBezTo>
                    <a:pt x="5060" y="322"/>
                    <a:pt x="5132" y="251"/>
                    <a:pt x="5132" y="156"/>
                  </a:cubicBezTo>
                  <a:cubicBezTo>
                    <a:pt x="5132" y="72"/>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4" name="Google Shape;11514;p61"/>
            <p:cNvSpPr/>
            <p:nvPr/>
          </p:nvSpPr>
          <p:spPr>
            <a:xfrm>
              <a:off x="1800270" y="3536287"/>
              <a:ext cx="162582" cy="10201"/>
            </a:xfrm>
            <a:custGeom>
              <a:avLst/>
              <a:gdLst/>
              <a:ahLst/>
              <a:cxnLst/>
              <a:rect l="l" t="t" r="r" b="b"/>
              <a:pathLst>
                <a:path w="5132" h="322" extrusionOk="0">
                  <a:moveTo>
                    <a:pt x="155" y="0"/>
                  </a:moveTo>
                  <a:cubicBezTo>
                    <a:pt x="72" y="0"/>
                    <a:pt x="0" y="72"/>
                    <a:pt x="0" y="155"/>
                  </a:cubicBezTo>
                  <a:cubicBezTo>
                    <a:pt x="0" y="250"/>
                    <a:pt x="72" y="322"/>
                    <a:pt x="155" y="322"/>
                  </a:cubicBezTo>
                  <a:lnTo>
                    <a:pt x="4965" y="322"/>
                  </a:lnTo>
                  <a:cubicBezTo>
                    <a:pt x="5060" y="322"/>
                    <a:pt x="5132" y="250"/>
                    <a:pt x="5132" y="155"/>
                  </a:cubicBezTo>
                  <a:cubicBezTo>
                    <a:pt x="5132" y="72"/>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5" name="Google Shape;11515;p61"/>
            <p:cNvSpPr/>
            <p:nvPr/>
          </p:nvSpPr>
          <p:spPr>
            <a:xfrm>
              <a:off x="1800270" y="3558146"/>
              <a:ext cx="162582" cy="10613"/>
            </a:xfrm>
            <a:custGeom>
              <a:avLst/>
              <a:gdLst/>
              <a:ahLst/>
              <a:cxnLst/>
              <a:rect l="l" t="t" r="r" b="b"/>
              <a:pathLst>
                <a:path w="5132" h="335" extrusionOk="0">
                  <a:moveTo>
                    <a:pt x="155" y="1"/>
                  </a:moveTo>
                  <a:cubicBezTo>
                    <a:pt x="72" y="1"/>
                    <a:pt x="0" y="84"/>
                    <a:pt x="0" y="168"/>
                  </a:cubicBezTo>
                  <a:cubicBezTo>
                    <a:pt x="0" y="263"/>
                    <a:pt x="72" y="334"/>
                    <a:pt x="155" y="334"/>
                  </a:cubicBezTo>
                  <a:lnTo>
                    <a:pt x="4965" y="334"/>
                  </a:lnTo>
                  <a:cubicBezTo>
                    <a:pt x="5060" y="334"/>
                    <a:pt x="5132" y="263"/>
                    <a:pt x="5132" y="168"/>
                  </a:cubicBezTo>
                  <a:cubicBezTo>
                    <a:pt x="5132" y="84"/>
                    <a:pt x="5060" y="1"/>
                    <a:pt x="4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6" name="Google Shape;11516;p61"/>
            <p:cNvSpPr/>
            <p:nvPr/>
          </p:nvSpPr>
          <p:spPr>
            <a:xfrm>
              <a:off x="1800270" y="3580798"/>
              <a:ext cx="162582" cy="10581"/>
            </a:xfrm>
            <a:custGeom>
              <a:avLst/>
              <a:gdLst/>
              <a:ahLst/>
              <a:cxnLst/>
              <a:rect l="l" t="t" r="r" b="b"/>
              <a:pathLst>
                <a:path w="5132" h="334" extrusionOk="0">
                  <a:moveTo>
                    <a:pt x="155" y="0"/>
                  </a:moveTo>
                  <a:cubicBezTo>
                    <a:pt x="72" y="0"/>
                    <a:pt x="0" y="84"/>
                    <a:pt x="0" y="167"/>
                  </a:cubicBezTo>
                  <a:cubicBezTo>
                    <a:pt x="0" y="262"/>
                    <a:pt x="72" y="334"/>
                    <a:pt x="155" y="334"/>
                  </a:cubicBezTo>
                  <a:lnTo>
                    <a:pt x="4965" y="334"/>
                  </a:lnTo>
                  <a:cubicBezTo>
                    <a:pt x="5060" y="334"/>
                    <a:pt x="5132" y="262"/>
                    <a:pt x="5132" y="167"/>
                  </a:cubicBezTo>
                  <a:cubicBezTo>
                    <a:pt x="5132" y="84"/>
                    <a:pt x="5060" y="0"/>
                    <a:pt x="4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17" name="Google Shape;11517;p61"/>
          <p:cNvGrpSpPr/>
          <p:nvPr/>
        </p:nvGrpSpPr>
        <p:grpSpPr>
          <a:xfrm>
            <a:off x="7149944" y="4266131"/>
            <a:ext cx="260283" cy="345914"/>
            <a:chOff x="7149944" y="4266131"/>
            <a:chExt cx="260283" cy="345914"/>
          </a:xfrm>
        </p:grpSpPr>
        <p:sp>
          <p:nvSpPr>
            <p:cNvPr id="11518" name="Google Shape;11518;p61"/>
            <p:cNvSpPr/>
            <p:nvPr/>
          </p:nvSpPr>
          <p:spPr>
            <a:xfrm>
              <a:off x="7149944" y="4266131"/>
              <a:ext cx="260283" cy="345914"/>
            </a:xfrm>
            <a:custGeom>
              <a:avLst/>
              <a:gdLst/>
              <a:ahLst/>
              <a:cxnLst/>
              <a:rect l="l" t="t" r="r" b="b"/>
              <a:pathLst>
                <a:path w="8216" h="10919" extrusionOk="0">
                  <a:moveTo>
                    <a:pt x="4096" y="1025"/>
                  </a:moveTo>
                  <a:cubicBezTo>
                    <a:pt x="5001" y="1025"/>
                    <a:pt x="5775" y="1608"/>
                    <a:pt x="6049" y="2442"/>
                  </a:cubicBezTo>
                  <a:cubicBezTo>
                    <a:pt x="5882" y="2358"/>
                    <a:pt x="5704" y="2299"/>
                    <a:pt x="5489" y="2239"/>
                  </a:cubicBezTo>
                  <a:cubicBezTo>
                    <a:pt x="5477" y="2236"/>
                    <a:pt x="5464" y="2234"/>
                    <a:pt x="5451" y="2234"/>
                  </a:cubicBezTo>
                  <a:cubicBezTo>
                    <a:pt x="5379" y="2234"/>
                    <a:pt x="5309" y="2288"/>
                    <a:pt x="5299" y="2358"/>
                  </a:cubicBezTo>
                  <a:cubicBezTo>
                    <a:pt x="5275" y="2454"/>
                    <a:pt x="5335" y="2537"/>
                    <a:pt x="5418" y="2561"/>
                  </a:cubicBezTo>
                  <a:cubicBezTo>
                    <a:pt x="5704" y="2632"/>
                    <a:pt x="5942" y="2739"/>
                    <a:pt x="6132" y="2835"/>
                  </a:cubicBezTo>
                  <a:cubicBezTo>
                    <a:pt x="6144" y="2930"/>
                    <a:pt x="6144" y="3013"/>
                    <a:pt x="6144" y="3108"/>
                  </a:cubicBezTo>
                  <a:lnTo>
                    <a:pt x="6144" y="4442"/>
                  </a:lnTo>
                  <a:cubicBezTo>
                    <a:pt x="6156" y="5561"/>
                    <a:pt x="5227" y="6502"/>
                    <a:pt x="4096" y="6502"/>
                  </a:cubicBezTo>
                  <a:cubicBezTo>
                    <a:pt x="2965" y="6502"/>
                    <a:pt x="2025" y="5573"/>
                    <a:pt x="2025" y="4430"/>
                  </a:cubicBezTo>
                  <a:lnTo>
                    <a:pt x="2025" y="3096"/>
                  </a:lnTo>
                  <a:cubicBezTo>
                    <a:pt x="2025" y="3001"/>
                    <a:pt x="2025" y="2918"/>
                    <a:pt x="2048" y="2823"/>
                  </a:cubicBezTo>
                  <a:cubicBezTo>
                    <a:pt x="2525" y="2537"/>
                    <a:pt x="3275" y="2382"/>
                    <a:pt x="4084" y="2382"/>
                  </a:cubicBezTo>
                  <a:cubicBezTo>
                    <a:pt x="4311" y="2382"/>
                    <a:pt x="4525" y="2394"/>
                    <a:pt x="4751" y="2418"/>
                  </a:cubicBezTo>
                  <a:cubicBezTo>
                    <a:pt x="4762" y="2421"/>
                    <a:pt x="4773" y="2422"/>
                    <a:pt x="4784" y="2422"/>
                  </a:cubicBezTo>
                  <a:cubicBezTo>
                    <a:pt x="4863" y="2422"/>
                    <a:pt x="4919" y="2350"/>
                    <a:pt x="4930" y="2287"/>
                  </a:cubicBezTo>
                  <a:cubicBezTo>
                    <a:pt x="4942" y="2203"/>
                    <a:pt x="4870" y="2120"/>
                    <a:pt x="4799" y="2108"/>
                  </a:cubicBezTo>
                  <a:cubicBezTo>
                    <a:pt x="4573" y="2073"/>
                    <a:pt x="4334" y="2061"/>
                    <a:pt x="4096" y="2061"/>
                  </a:cubicBezTo>
                  <a:cubicBezTo>
                    <a:pt x="3358" y="2061"/>
                    <a:pt x="2656" y="2203"/>
                    <a:pt x="2144" y="2442"/>
                  </a:cubicBezTo>
                  <a:cubicBezTo>
                    <a:pt x="2417" y="1608"/>
                    <a:pt x="3203" y="1025"/>
                    <a:pt x="4096" y="1025"/>
                  </a:cubicBezTo>
                  <a:close/>
                  <a:moveTo>
                    <a:pt x="4132" y="322"/>
                  </a:moveTo>
                  <a:cubicBezTo>
                    <a:pt x="5442" y="322"/>
                    <a:pt x="6549" y="1263"/>
                    <a:pt x="6775" y="2537"/>
                  </a:cubicBezTo>
                  <a:lnTo>
                    <a:pt x="7680" y="7645"/>
                  </a:lnTo>
                  <a:cubicBezTo>
                    <a:pt x="7692" y="7716"/>
                    <a:pt x="7668" y="7799"/>
                    <a:pt x="7597" y="7835"/>
                  </a:cubicBezTo>
                  <a:lnTo>
                    <a:pt x="7001" y="8180"/>
                  </a:lnTo>
                  <a:lnTo>
                    <a:pt x="5632" y="7692"/>
                  </a:lnTo>
                  <a:cubicBezTo>
                    <a:pt x="5418" y="7621"/>
                    <a:pt x="5287" y="7418"/>
                    <a:pt x="5287" y="7204"/>
                  </a:cubicBezTo>
                  <a:lnTo>
                    <a:pt x="5287" y="6502"/>
                  </a:lnTo>
                  <a:cubicBezTo>
                    <a:pt x="6001" y="6085"/>
                    <a:pt x="6478" y="5311"/>
                    <a:pt x="6478" y="4430"/>
                  </a:cubicBezTo>
                  <a:lnTo>
                    <a:pt x="6478" y="3096"/>
                  </a:lnTo>
                  <a:cubicBezTo>
                    <a:pt x="6478" y="2954"/>
                    <a:pt x="6466" y="2811"/>
                    <a:pt x="6454" y="2680"/>
                  </a:cubicBezTo>
                  <a:cubicBezTo>
                    <a:pt x="6358" y="2120"/>
                    <a:pt x="6061" y="1620"/>
                    <a:pt x="5644" y="1251"/>
                  </a:cubicBezTo>
                  <a:cubicBezTo>
                    <a:pt x="5215" y="894"/>
                    <a:pt x="4668" y="679"/>
                    <a:pt x="4108" y="679"/>
                  </a:cubicBezTo>
                  <a:cubicBezTo>
                    <a:pt x="3549" y="679"/>
                    <a:pt x="3001" y="870"/>
                    <a:pt x="2584" y="1251"/>
                  </a:cubicBezTo>
                  <a:cubicBezTo>
                    <a:pt x="2144" y="1608"/>
                    <a:pt x="1870" y="2108"/>
                    <a:pt x="1775" y="2680"/>
                  </a:cubicBezTo>
                  <a:cubicBezTo>
                    <a:pt x="1751" y="2811"/>
                    <a:pt x="1751" y="2954"/>
                    <a:pt x="1751" y="3096"/>
                  </a:cubicBezTo>
                  <a:lnTo>
                    <a:pt x="1751" y="4430"/>
                  </a:lnTo>
                  <a:cubicBezTo>
                    <a:pt x="1751" y="5311"/>
                    <a:pt x="2227" y="6085"/>
                    <a:pt x="2941" y="6502"/>
                  </a:cubicBezTo>
                  <a:lnTo>
                    <a:pt x="2941" y="7204"/>
                  </a:lnTo>
                  <a:cubicBezTo>
                    <a:pt x="2941" y="7418"/>
                    <a:pt x="2798" y="7621"/>
                    <a:pt x="2596" y="7692"/>
                  </a:cubicBezTo>
                  <a:lnTo>
                    <a:pt x="1227" y="8180"/>
                  </a:lnTo>
                  <a:lnTo>
                    <a:pt x="655" y="7835"/>
                  </a:lnTo>
                  <a:cubicBezTo>
                    <a:pt x="596" y="7799"/>
                    <a:pt x="560" y="7716"/>
                    <a:pt x="572" y="7645"/>
                  </a:cubicBezTo>
                  <a:lnTo>
                    <a:pt x="1477" y="2537"/>
                  </a:lnTo>
                  <a:cubicBezTo>
                    <a:pt x="1703" y="1251"/>
                    <a:pt x="2822" y="322"/>
                    <a:pt x="4132" y="322"/>
                  </a:cubicBezTo>
                  <a:close/>
                  <a:moveTo>
                    <a:pt x="4096" y="1"/>
                  </a:moveTo>
                  <a:cubicBezTo>
                    <a:pt x="2644" y="1"/>
                    <a:pt x="1382" y="1037"/>
                    <a:pt x="1120" y="2477"/>
                  </a:cubicBezTo>
                  <a:lnTo>
                    <a:pt x="215" y="7585"/>
                  </a:lnTo>
                  <a:cubicBezTo>
                    <a:pt x="179" y="7799"/>
                    <a:pt x="274" y="8002"/>
                    <a:pt x="453" y="8109"/>
                  </a:cubicBezTo>
                  <a:lnTo>
                    <a:pt x="786" y="8311"/>
                  </a:lnTo>
                  <a:cubicBezTo>
                    <a:pt x="310" y="8478"/>
                    <a:pt x="1" y="8931"/>
                    <a:pt x="1" y="9431"/>
                  </a:cubicBezTo>
                  <a:lnTo>
                    <a:pt x="1" y="10752"/>
                  </a:lnTo>
                  <a:cubicBezTo>
                    <a:pt x="1" y="10847"/>
                    <a:pt x="84" y="10919"/>
                    <a:pt x="167" y="10919"/>
                  </a:cubicBezTo>
                  <a:cubicBezTo>
                    <a:pt x="251" y="10919"/>
                    <a:pt x="334" y="10847"/>
                    <a:pt x="334" y="10752"/>
                  </a:cubicBezTo>
                  <a:lnTo>
                    <a:pt x="334" y="9431"/>
                  </a:lnTo>
                  <a:cubicBezTo>
                    <a:pt x="334" y="9121"/>
                    <a:pt x="489" y="8835"/>
                    <a:pt x="763" y="8669"/>
                  </a:cubicBezTo>
                  <a:cubicBezTo>
                    <a:pt x="1024" y="8931"/>
                    <a:pt x="1382" y="9133"/>
                    <a:pt x="1822" y="9300"/>
                  </a:cubicBezTo>
                  <a:cubicBezTo>
                    <a:pt x="1834" y="9312"/>
                    <a:pt x="1858" y="9312"/>
                    <a:pt x="1882" y="9312"/>
                  </a:cubicBezTo>
                  <a:cubicBezTo>
                    <a:pt x="1941" y="9312"/>
                    <a:pt x="2001" y="9264"/>
                    <a:pt x="2025" y="9204"/>
                  </a:cubicBezTo>
                  <a:cubicBezTo>
                    <a:pt x="2060" y="9121"/>
                    <a:pt x="2025" y="9026"/>
                    <a:pt x="1941" y="9002"/>
                  </a:cubicBezTo>
                  <a:cubicBezTo>
                    <a:pt x="1608" y="8871"/>
                    <a:pt x="1334" y="8716"/>
                    <a:pt x="1108" y="8538"/>
                  </a:cubicBezTo>
                  <a:lnTo>
                    <a:pt x="2679" y="7990"/>
                  </a:lnTo>
                  <a:cubicBezTo>
                    <a:pt x="3025" y="7871"/>
                    <a:pt x="3251" y="7561"/>
                    <a:pt x="3251" y="7204"/>
                  </a:cubicBezTo>
                  <a:lnTo>
                    <a:pt x="3251" y="6645"/>
                  </a:lnTo>
                  <a:cubicBezTo>
                    <a:pt x="3513" y="6752"/>
                    <a:pt x="3811" y="6811"/>
                    <a:pt x="4108" y="6811"/>
                  </a:cubicBezTo>
                  <a:cubicBezTo>
                    <a:pt x="4406" y="6811"/>
                    <a:pt x="4703" y="6752"/>
                    <a:pt x="4977" y="6645"/>
                  </a:cubicBezTo>
                  <a:lnTo>
                    <a:pt x="4977" y="7204"/>
                  </a:lnTo>
                  <a:cubicBezTo>
                    <a:pt x="4977" y="7561"/>
                    <a:pt x="5192" y="7871"/>
                    <a:pt x="5537" y="7990"/>
                  </a:cubicBezTo>
                  <a:lnTo>
                    <a:pt x="7120" y="8538"/>
                  </a:lnTo>
                  <a:cubicBezTo>
                    <a:pt x="6442" y="9073"/>
                    <a:pt x="5335" y="9383"/>
                    <a:pt x="4108" y="9383"/>
                  </a:cubicBezTo>
                  <a:cubicBezTo>
                    <a:pt x="3572" y="9383"/>
                    <a:pt x="3072" y="9323"/>
                    <a:pt x="2596" y="9204"/>
                  </a:cubicBezTo>
                  <a:cubicBezTo>
                    <a:pt x="2586" y="9203"/>
                    <a:pt x="2577" y="9203"/>
                    <a:pt x="2567" y="9203"/>
                  </a:cubicBezTo>
                  <a:cubicBezTo>
                    <a:pt x="2484" y="9203"/>
                    <a:pt x="2415" y="9249"/>
                    <a:pt x="2394" y="9323"/>
                  </a:cubicBezTo>
                  <a:cubicBezTo>
                    <a:pt x="2382" y="9419"/>
                    <a:pt x="2429" y="9502"/>
                    <a:pt x="2513" y="9514"/>
                  </a:cubicBezTo>
                  <a:cubicBezTo>
                    <a:pt x="2775" y="9573"/>
                    <a:pt x="3037" y="9621"/>
                    <a:pt x="3310" y="9669"/>
                  </a:cubicBezTo>
                  <a:lnTo>
                    <a:pt x="3632" y="10800"/>
                  </a:lnTo>
                  <a:cubicBezTo>
                    <a:pt x="3644" y="10871"/>
                    <a:pt x="3727" y="10919"/>
                    <a:pt x="3787" y="10919"/>
                  </a:cubicBezTo>
                  <a:lnTo>
                    <a:pt x="3822" y="10919"/>
                  </a:lnTo>
                  <a:cubicBezTo>
                    <a:pt x="3918" y="10883"/>
                    <a:pt x="3965" y="10800"/>
                    <a:pt x="3930" y="10728"/>
                  </a:cubicBezTo>
                  <a:lnTo>
                    <a:pt x="3644" y="9716"/>
                  </a:lnTo>
                  <a:lnTo>
                    <a:pt x="3644" y="9716"/>
                  </a:lnTo>
                  <a:cubicBezTo>
                    <a:pt x="3811" y="9728"/>
                    <a:pt x="3965" y="9728"/>
                    <a:pt x="4120" y="9728"/>
                  </a:cubicBezTo>
                  <a:cubicBezTo>
                    <a:pt x="4287" y="9728"/>
                    <a:pt x="4442" y="9728"/>
                    <a:pt x="4596" y="9716"/>
                  </a:cubicBezTo>
                  <a:lnTo>
                    <a:pt x="4596" y="9716"/>
                  </a:lnTo>
                  <a:lnTo>
                    <a:pt x="4322" y="10728"/>
                  </a:lnTo>
                  <a:cubicBezTo>
                    <a:pt x="4287" y="10812"/>
                    <a:pt x="4346" y="10907"/>
                    <a:pt x="4418" y="10919"/>
                  </a:cubicBezTo>
                  <a:lnTo>
                    <a:pt x="4465" y="10919"/>
                  </a:lnTo>
                  <a:cubicBezTo>
                    <a:pt x="4537" y="10919"/>
                    <a:pt x="4596" y="10871"/>
                    <a:pt x="4620" y="10800"/>
                  </a:cubicBezTo>
                  <a:lnTo>
                    <a:pt x="4942" y="9669"/>
                  </a:lnTo>
                  <a:cubicBezTo>
                    <a:pt x="5989" y="9550"/>
                    <a:pt x="6894" y="9192"/>
                    <a:pt x="7454" y="8669"/>
                  </a:cubicBezTo>
                  <a:cubicBezTo>
                    <a:pt x="7728" y="8823"/>
                    <a:pt x="7894" y="9097"/>
                    <a:pt x="7894" y="9419"/>
                  </a:cubicBezTo>
                  <a:lnTo>
                    <a:pt x="7894" y="10740"/>
                  </a:lnTo>
                  <a:cubicBezTo>
                    <a:pt x="7894" y="10824"/>
                    <a:pt x="7966" y="10907"/>
                    <a:pt x="8049" y="10907"/>
                  </a:cubicBezTo>
                  <a:cubicBezTo>
                    <a:pt x="8144" y="10907"/>
                    <a:pt x="8216" y="10824"/>
                    <a:pt x="8216" y="10740"/>
                  </a:cubicBezTo>
                  <a:lnTo>
                    <a:pt x="8216" y="9431"/>
                  </a:lnTo>
                  <a:cubicBezTo>
                    <a:pt x="8192" y="8931"/>
                    <a:pt x="7859" y="8478"/>
                    <a:pt x="7406" y="8311"/>
                  </a:cubicBezTo>
                  <a:lnTo>
                    <a:pt x="7740" y="8109"/>
                  </a:lnTo>
                  <a:cubicBezTo>
                    <a:pt x="7918" y="8002"/>
                    <a:pt x="8013" y="7799"/>
                    <a:pt x="7978" y="7585"/>
                  </a:cubicBezTo>
                  <a:lnTo>
                    <a:pt x="7073" y="2477"/>
                  </a:lnTo>
                  <a:cubicBezTo>
                    <a:pt x="6823" y="1037"/>
                    <a:pt x="5573" y="1"/>
                    <a:pt x="4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9" name="Google Shape;11519;p61"/>
            <p:cNvSpPr/>
            <p:nvPr/>
          </p:nvSpPr>
          <p:spPr>
            <a:xfrm>
              <a:off x="7257815" y="4428808"/>
              <a:ext cx="43782" cy="15396"/>
            </a:xfrm>
            <a:custGeom>
              <a:avLst/>
              <a:gdLst/>
              <a:ahLst/>
              <a:cxnLst/>
              <a:rect l="l" t="t" r="r" b="b"/>
              <a:pathLst>
                <a:path w="1382" h="486" extrusionOk="0">
                  <a:moveTo>
                    <a:pt x="178" y="0"/>
                  </a:moveTo>
                  <a:cubicBezTo>
                    <a:pt x="138" y="0"/>
                    <a:pt x="96" y="15"/>
                    <a:pt x="60" y="45"/>
                  </a:cubicBezTo>
                  <a:cubicBezTo>
                    <a:pt x="1" y="105"/>
                    <a:pt x="1" y="200"/>
                    <a:pt x="60" y="259"/>
                  </a:cubicBezTo>
                  <a:cubicBezTo>
                    <a:pt x="203" y="402"/>
                    <a:pt x="441" y="486"/>
                    <a:pt x="691" y="486"/>
                  </a:cubicBezTo>
                  <a:cubicBezTo>
                    <a:pt x="941" y="486"/>
                    <a:pt x="1179" y="414"/>
                    <a:pt x="1322" y="259"/>
                  </a:cubicBezTo>
                  <a:cubicBezTo>
                    <a:pt x="1382" y="200"/>
                    <a:pt x="1382" y="105"/>
                    <a:pt x="1322" y="45"/>
                  </a:cubicBezTo>
                  <a:cubicBezTo>
                    <a:pt x="1287" y="15"/>
                    <a:pt x="1245" y="0"/>
                    <a:pt x="1205" y="0"/>
                  </a:cubicBezTo>
                  <a:cubicBezTo>
                    <a:pt x="1165" y="0"/>
                    <a:pt x="1126" y="15"/>
                    <a:pt x="1096" y="45"/>
                  </a:cubicBezTo>
                  <a:cubicBezTo>
                    <a:pt x="1037" y="105"/>
                    <a:pt x="906" y="164"/>
                    <a:pt x="691" y="164"/>
                  </a:cubicBezTo>
                  <a:cubicBezTo>
                    <a:pt x="477" y="164"/>
                    <a:pt x="346" y="81"/>
                    <a:pt x="286" y="45"/>
                  </a:cubicBezTo>
                  <a:cubicBezTo>
                    <a:pt x="257" y="15"/>
                    <a:pt x="218"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0" name="Google Shape;11520;p61"/>
            <p:cNvSpPr/>
            <p:nvPr/>
          </p:nvSpPr>
          <p:spPr>
            <a:xfrm>
              <a:off x="7241975" y="4390602"/>
              <a:ext cx="10581" cy="15523"/>
            </a:xfrm>
            <a:custGeom>
              <a:avLst/>
              <a:gdLst/>
              <a:ahLst/>
              <a:cxnLst/>
              <a:rect l="l" t="t" r="r" b="b"/>
              <a:pathLst>
                <a:path w="334" h="490" extrusionOk="0">
                  <a:moveTo>
                    <a:pt x="167" y="1"/>
                  </a:moveTo>
                  <a:cubicBezTo>
                    <a:pt x="72" y="1"/>
                    <a:pt x="1" y="72"/>
                    <a:pt x="1" y="156"/>
                  </a:cubicBezTo>
                  <a:lnTo>
                    <a:pt x="1" y="322"/>
                  </a:lnTo>
                  <a:cubicBezTo>
                    <a:pt x="1" y="418"/>
                    <a:pt x="72" y="489"/>
                    <a:pt x="167" y="489"/>
                  </a:cubicBezTo>
                  <a:cubicBezTo>
                    <a:pt x="251" y="489"/>
                    <a:pt x="334" y="418"/>
                    <a:pt x="334" y="322"/>
                  </a:cubicBezTo>
                  <a:lnTo>
                    <a:pt x="334" y="156"/>
                  </a:lnTo>
                  <a:cubicBezTo>
                    <a:pt x="310"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1" name="Google Shape;11521;p61"/>
            <p:cNvSpPr/>
            <p:nvPr/>
          </p:nvSpPr>
          <p:spPr>
            <a:xfrm>
              <a:off x="7307236" y="4390602"/>
              <a:ext cx="10201" cy="15523"/>
            </a:xfrm>
            <a:custGeom>
              <a:avLst/>
              <a:gdLst/>
              <a:ahLst/>
              <a:cxnLst/>
              <a:rect l="l" t="t" r="r" b="b"/>
              <a:pathLst>
                <a:path w="322" h="490" extrusionOk="0">
                  <a:moveTo>
                    <a:pt x="155" y="1"/>
                  </a:moveTo>
                  <a:cubicBezTo>
                    <a:pt x="72" y="1"/>
                    <a:pt x="0" y="72"/>
                    <a:pt x="0" y="156"/>
                  </a:cubicBezTo>
                  <a:lnTo>
                    <a:pt x="0" y="322"/>
                  </a:lnTo>
                  <a:cubicBezTo>
                    <a:pt x="0" y="418"/>
                    <a:pt x="72" y="489"/>
                    <a:pt x="155" y="489"/>
                  </a:cubicBezTo>
                  <a:cubicBezTo>
                    <a:pt x="250" y="489"/>
                    <a:pt x="322" y="418"/>
                    <a:pt x="322" y="322"/>
                  </a:cubicBezTo>
                  <a:lnTo>
                    <a:pt x="322" y="156"/>
                  </a:lnTo>
                  <a:cubicBezTo>
                    <a:pt x="310"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2" name="Google Shape;11522;p61"/>
            <p:cNvSpPr/>
            <p:nvPr/>
          </p:nvSpPr>
          <p:spPr>
            <a:xfrm>
              <a:off x="7236336" y="4374382"/>
              <a:ext cx="21131" cy="10613"/>
            </a:xfrm>
            <a:custGeom>
              <a:avLst/>
              <a:gdLst/>
              <a:ahLst/>
              <a:cxnLst/>
              <a:rect l="l" t="t" r="r" b="b"/>
              <a:pathLst>
                <a:path w="667" h="335" extrusionOk="0">
                  <a:moveTo>
                    <a:pt x="167" y="1"/>
                  </a:moveTo>
                  <a:cubicBezTo>
                    <a:pt x="71" y="1"/>
                    <a:pt x="0" y="72"/>
                    <a:pt x="0" y="168"/>
                  </a:cubicBezTo>
                  <a:cubicBezTo>
                    <a:pt x="0" y="251"/>
                    <a:pt x="71" y="334"/>
                    <a:pt x="167" y="334"/>
                  </a:cubicBezTo>
                  <a:lnTo>
                    <a:pt x="512" y="334"/>
                  </a:lnTo>
                  <a:cubicBezTo>
                    <a:pt x="595" y="334"/>
                    <a:pt x="667" y="251"/>
                    <a:pt x="667" y="168"/>
                  </a:cubicBezTo>
                  <a:cubicBezTo>
                    <a:pt x="667" y="72"/>
                    <a:pt x="595"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3" name="Google Shape;11523;p61"/>
            <p:cNvSpPr/>
            <p:nvPr/>
          </p:nvSpPr>
          <p:spPr>
            <a:xfrm>
              <a:off x="7301565" y="4374382"/>
              <a:ext cx="21162" cy="10613"/>
            </a:xfrm>
            <a:custGeom>
              <a:avLst/>
              <a:gdLst/>
              <a:ahLst/>
              <a:cxnLst/>
              <a:rect l="l" t="t" r="r" b="b"/>
              <a:pathLst>
                <a:path w="668" h="335" extrusionOk="0">
                  <a:moveTo>
                    <a:pt x="156" y="1"/>
                  </a:moveTo>
                  <a:cubicBezTo>
                    <a:pt x="72" y="1"/>
                    <a:pt x="1" y="72"/>
                    <a:pt x="1" y="168"/>
                  </a:cubicBezTo>
                  <a:cubicBezTo>
                    <a:pt x="1" y="251"/>
                    <a:pt x="72" y="334"/>
                    <a:pt x="156" y="334"/>
                  </a:cubicBezTo>
                  <a:lnTo>
                    <a:pt x="501" y="334"/>
                  </a:lnTo>
                  <a:cubicBezTo>
                    <a:pt x="596" y="334"/>
                    <a:pt x="668" y="251"/>
                    <a:pt x="668" y="168"/>
                  </a:cubicBezTo>
                  <a:cubicBezTo>
                    <a:pt x="668" y="72"/>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4" name="Google Shape;11524;p61"/>
          <p:cNvGrpSpPr/>
          <p:nvPr/>
        </p:nvGrpSpPr>
        <p:grpSpPr>
          <a:xfrm>
            <a:off x="6695051" y="4259351"/>
            <a:ext cx="270104" cy="360233"/>
            <a:chOff x="6695051" y="4259351"/>
            <a:chExt cx="270104" cy="360233"/>
          </a:xfrm>
        </p:grpSpPr>
        <p:sp>
          <p:nvSpPr>
            <p:cNvPr id="11525" name="Google Shape;11525;p61"/>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6" name="Google Shape;11526;p61"/>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7" name="Google Shape;11527;p61"/>
            <p:cNvSpPr/>
            <p:nvPr/>
          </p:nvSpPr>
          <p:spPr>
            <a:xfrm>
              <a:off x="6695051"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8" name="Google Shape;11528;p61"/>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29" name="Google Shape;11529;p61"/>
          <p:cNvGrpSpPr/>
          <p:nvPr/>
        </p:nvGrpSpPr>
        <p:grpSpPr>
          <a:xfrm>
            <a:off x="8047661" y="4257451"/>
            <a:ext cx="277263" cy="362514"/>
            <a:chOff x="8047661" y="4257451"/>
            <a:chExt cx="277263" cy="362514"/>
          </a:xfrm>
        </p:grpSpPr>
        <p:sp>
          <p:nvSpPr>
            <p:cNvPr id="11530" name="Google Shape;11530;p61"/>
            <p:cNvSpPr/>
            <p:nvPr/>
          </p:nvSpPr>
          <p:spPr>
            <a:xfrm>
              <a:off x="8164211" y="4425418"/>
              <a:ext cx="44542" cy="16157"/>
            </a:xfrm>
            <a:custGeom>
              <a:avLst/>
              <a:gdLst/>
              <a:ahLst/>
              <a:cxnLst/>
              <a:rect l="l" t="t" r="r" b="b"/>
              <a:pathLst>
                <a:path w="1406" h="510" extrusionOk="0">
                  <a:moveTo>
                    <a:pt x="179" y="0"/>
                  </a:moveTo>
                  <a:cubicBezTo>
                    <a:pt x="134" y="0"/>
                    <a:pt x="90" y="15"/>
                    <a:pt x="60" y="45"/>
                  </a:cubicBezTo>
                  <a:cubicBezTo>
                    <a:pt x="0" y="104"/>
                    <a:pt x="0" y="223"/>
                    <a:pt x="60" y="283"/>
                  </a:cubicBezTo>
                  <a:cubicBezTo>
                    <a:pt x="215" y="414"/>
                    <a:pt x="453" y="509"/>
                    <a:pt x="703" y="509"/>
                  </a:cubicBezTo>
                  <a:cubicBezTo>
                    <a:pt x="953" y="509"/>
                    <a:pt x="1203" y="414"/>
                    <a:pt x="1346" y="283"/>
                  </a:cubicBezTo>
                  <a:cubicBezTo>
                    <a:pt x="1405" y="223"/>
                    <a:pt x="1405" y="116"/>
                    <a:pt x="1346" y="45"/>
                  </a:cubicBezTo>
                  <a:cubicBezTo>
                    <a:pt x="1316" y="15"/>
                    <a:pt x="1274" y="0"/>
                    <a:pt x="1231" y="0"/>
                  </a:cubicBezTo>
                  <a:cubicBezTo>
                    <a:pt x="1188" y="0"/>
                    <a:pt x="1143" y="15"/>
                    <a:pt x="1108" y="45"/>
                  </a:cubicBezTo>
                  <a:cubicBezTo>
                    <a:pt x="1048" y="104"/>
                    <a:pt x="893" y="176"/>
                    <a:pt x="703" y="176"/>
                  </a:cubicBezTo>
                  <a:cubicBezTo>
                    <a:pt x="512" y="176"/>
                    <a:pt x="358" y="104"/>
                    <a:pt x="298" y="45"/>
                  </a:cubicBez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1" name="Google Shape;11531;p61"/>
            <p:cNvSpPr/>
            <p:nvPr/>
          </p:nvSpPr>
          <p:spPr>
            <a:xfrm>
              <a:off x="8141940" y="4575423"/>
              <a:ext cx="10613" cy="43813"/>
            </a:xfrm>
            <a:custGeom>
              <a:avLst/>
              <a:gdLst/>
              <a:ahLst/>
              <a:cxnLst/>
              <a:rect l="l" t="t" r="r" b="b"/>
              <a:pathLst>
                <a:path w="335" h="1383" extrusionOk="0">
                  <a:moveTo>
                    <a:pt x="168" y="1"/>
                  </a:moveTo>
                  <a:cubicBezTo>
                    <a:pt x="84" y="1"/>
                    <a:pt x="1" y="72"/>
                    <a:pt x="1" y="156"/>
                  </a:cubicBezTo>
                  <a:lnTo>
                    <a:pt x="1" y="1215"/>
                  </a:lnTo>
                  <a:cubicBezTo>
                    <a:pt x="1" y="1311"/>
                    <a:pt x="84" y="1382"/>
                    <a:pt x="168" y="1382"/>
                  </a:cubicBezTo>
                  <a:cubicBezTo>
                    <a:pt x="263" y="1382"/>
                    <a:pt x="334" y="1311"/>
                    <a:pt x="334" y="1215"/>
                  </a:cubicBezTo>
                  <a:lnTo>
                    <a:pt x="334" y="156"/>
                  </a:lnTo>
                  <a:cubicBezTo>
                    <a:pt x="334"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2" name="Google Shape;11532;p61"/>
            <p:cNvSpPr/>
            <p:nvPr/>
          </p:nvSpPr>
          <p:spPr>
            <a:xfrm>
              <a:off x="8125720" y="4375522"/>
              <a:ext cx="121873" cy="42293"/>
            </a:xfrm>
            <a:custGeom>
              <a:avLst/>
              <a:gdLst/>
              <a:ahLst/>
              <a:cxnLst/>
              <a:rect l="l" t="t" r="r" b="b"/>
              <a:pathLst>
                <a:path w="3847" h="1335" extrusionOk="0">
                  <a:moveTo>
                    <a:pt x="3156" y="322"/>
                  </a:moveTo>
                  <a:cubicBezTo>
                    <a:pt x="3335" y="322"/>
                    <a:pt x="3490" y="477"/>
                    <a:pt x="3490" y="667"/>
                  </a:cubicBezTo>
                  <a:cubicBezTo>
                    <a:pt x="3490" y="775"/>
                    <a:pt x="3454" y="870"/>
                    <a:pt x="3359" y="929"/>
                  </a:cubicBezTo>
                  <a:cubicBezTo>
                    <a:pt x="3302" y="970"/>
                    <a:pt x="3229" y="994"/>
                    <a:pt x="3154" y="994"/>
                  </a:cubicBezTo>
                  <a:cubicBezTo>
                    <a:pt x="3119" y="994"/>
                    <a:pt x="3083" y="988"/>
                    <a:pt x="3049" y="977"/>
                  </a:cubicBezTo>
                  <a:lnTo>
                    <a:pt x="2644" y="834"/>
                  </a:lnTo>
                  <a:cubicBezTo>
                    <a:pt x="2513" y="786"/>
                    <a:pt x="2418" y="655"/>
                    <a:pt x="2418" y="513"/>
                  </a:cubicBezTo>
                  <a:lnTo>
                    <a:pt x="2418" y="322"/>
                  </a:lnTo>
                  <a:lnTo>
                    <a:pt x="2799" y="322"/>
                  </a:lnTo>
                  <a:lnTo>
                    <a:pt x="2799" y="489"/>
                  </a:lnTo>
                  <a:cubicBezTo>
                    <a:pt x="2799" y="572"/>
                    <a:pt x="2870" y="655"/>
                    <a:pt x="2954" y="655"/>
                  </a:cubicBezTo>
                  <a:cubicBezTo>
                    <a:pt x="3049" y="655"/>
                    <a:pt x="3120" y="572"/>
                    <a:pt x="3120" y="489"/>
                  </a:cubicBezTo>
                  <a:lnTo>
                    <a:pt x="3120" y="322"/>
                  </a:lnTo>
                  <a:close/>
                  <a:moveTo>
                    <a:pt x="680" y="310"/>
                  </a:moveTo>
                  <a:lnTo>
                    <a:pt x="680" y="477"/>
                  </a:lnTo>
                  <a:cubicBezTo>
                    <a:pt x="680" y="560"/>
                    <a:pt x="751" y="632"/>
                    <a:pt x="846" y="632"/>
                  </a:cubicBezTo>
                  <a:cubicBezTo>
                    <a:pt x="930" y="632"/>
                    <a:pt x="1013" y="560"/>
                    <a:pt x="1013" y="477"/>
                  </a:cubicBezTo>
                  <a:lnTo>
                    <a:pt x="1013" y="322"/>
                  </a:lnTo>
                  <a:lnTo>
                    <a:pt x="1382" y="322"/>
                  </a:lnTo>
                  <a:lnTo>
                    <a:pt x="1382" y="513"/>
                  </a:lnTo>
                  <a:lnTo>
                    <a:pt x="1394" y="513"/>
                  </a:lnTo>
                  <a:cubicBezTo>
                    <a:pt x="1394" y="655"/>
                    <a:pt x="1311" y="786"/>
                    <a:pt x="1168" y="834"/>
                  </a:cubicBezTo>
                  <a:lnTo>
                    <a:pt x="775" y="977"/>
                  </a:lnTo>
                  <a:cubicBezTo>
                    <a:pt x="734" y="995"/>
                    <a:pt x="691" y="1005"/>
                    <a:pt x="648" y="1005"/>
                  </a:cubicBezTo>
                  <a:cubicBezTo>
                    <a:pt x="580" y="1005"/>
                    <a:pt x="512" y="981"/>
                    <a:pt x="453" y="929"/>
                  </a:cubicBezTo>
                  <a:cubicBezTo>
                    <a:pt x="370" y="870"/>
                    <a:pt x="311" y="775"/>
                    <a:pt x="311" y="655"/>
                  </a:cubicBezTo>
                  <a:cubicBezTo>
                    <a:pt x="311" y="477"/>
                    <a:pt x="453" y="310"/>
                    <a:pt x="656" y="310"/>
                  </a:cubicBezTo>
                  <a:close/>
                  <a:moveTo>
                    <a:pt x="668" y="1"/>
                  </a:moveTo>
                  <a:cubicBezTo>
                    <a:pt x="299" y="1"/>
                    <a:pt x="1" y="298"/>
                    <a:pt x="1" y="667"/>
                  </a:cubicBezTo>
                  <a:cubicBezTo>
                    <a:pt x="1" y="894"/>
                    <a:pt x="96" y="1096"/>
                    <a:pt x="275" y="1215"/>
                  </a:cubicBezTo>
                  <a:cubicBezTo>
                    <a:pt x="394" y="1287"/>
                    <a:pt x="537" y="1334"/>
                    <a:pt x="668" y="1334"/>
                  </a:cubicBezTo>
                  <a:cubicBezTo>
                    <a:pt x="739" y="1334"/>
                    <a:pt x="834" y="1322"/>
                    <a:pt x="906" y="1287"/>
                  </a:cubicBezTo>
                  <a:lnTo>
                    <a:pt x="1311" y="1144"/>
                  </a:lnTo>
                  <a:cubicBezTo>
                    <a:pt x="1561" y="1036"/>
                    <a:pt x="1739" y="798"/>
                    <a:pt x="1739" y="513"/>
                  </a:cubicBezTo>
                  <a:lnTo>
                    <a:pt x="1739" y="322"/>
                  </a:lnTo>
                  <a:lnTo>
                    <a:pt x="2108" y="322"/>
                  </a:lnTo>
                  <a:lnTo>
                    <a:pt x="2108" y="513"/>
                  </a:lnTo>
                  <a:cubicBezTo>
                    <a:pt x="2108" y="798"/>
                    <a:pt x="2287" y="1048"/>
                    <a:pt x="2537" y="1144"/>
                  </a:cubicBezTo>
                  <a:lnTo>
                    <a:pt x="2942" y="1287"/>
                  </a:lnTo>
                  <a:cubicBezTo>
                    <a:pt x="3013" y="1322"/>
                    <a:pt x="3097" y="1334"/>
                    <a:pt x="3180" y="1334"/>
                  </a:cubicBezTo>
                  <a:cubicBezTo>
                    <a:pt x="3311" y="1334"/>
                    <a:pt x="3454" y="1287"/>
                    <a:pt x="3573" y="1215"/>
                  </a:cubicBezTo>
                  <a:cubicBezTo>
                    <a:pt x="3751" y="1096"/>
                    <a:pt x="3847" y="894"/>
                    <a:pt x="3847" y="667"/>
                  </a:cubicBezTo>
                  <a:cubicBezTo>
                    <a:pt x="3835" y="298"/>
                    <a:pt x="3537" y="1"/>
                    <a:pt x="3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3" name="Google Shape;11533;p61"/>
            <p:cNvSpPr/>
            <p:nvPr/>
          </p:nvSpPr>
          <p:spPr>
            <a:xfrm>
              <a:off x="8047661" y="4257451"/>
              <a:ext cx="277263" cy="362514"/>
            </a:xfrm>
            <a:custGeom>
              <a:avLst/>
              <a:gdLst/>
              <a:ahLst/>
              <a:cxnLst/>
              <a:rect l="l" t="t" r="r" b="b"/>
              <a:pathLst>
                <a:path w="8752" h="11443" extrusionOk="0">
                  <a:moveTo>
                    <a:pt x="5168" y="370"/>
                  </a:moveTo>
                  <a:cubicBezTo>
                    <a:pt x="6775" y="370"/>
                    <a:pt x="8073" y="1680"/>
                    <a:pt x="8073" y="3275"/>
                  </a:cubicBezTo>
                  <a:cubicBezTo>
                    <a:pt x="8073" y="4394"/>
                    <a:pt x="7430" y="5383"/>
                    <a:pt x="6465" y="5883"/>
                  </a:cubicBezTo>
                  <a:cubicBezTo>
                    <a:pt x="6644" y="5597"/>
                    <a:pt x="6763" y="5287"/>
                    <a:pt x="6811" y="4942"/>
                  </a:cubicBezTo>
                  <a:lnTo>
                    <a:pt x="6894" y="4942"/>
                  </a:lnTo>
                  <a:cubicBezTo>
                    <a:pt x="7227" y="4942"/>
                    <a:pt x="7489" y="4704"/>
                    <a:pt x="7525" y="4394"/>
                  </a:cubicBezTo>
                  <a:cubicBezTo>
                    <a:pt x="7537" y="4228"/>
                    <a:pt x="7478" y="4049"/>
                    <a:pt x="7370" y="3930"/>
                  </a:cubicBezTo>
                  <a:cubicBezTo>
                    <a:pt x="7251" y="3799"/>
                    <a:pt x="7085" y="3740"/>
                    <a:pt x="6930" y="3740"/>
                  </a:cubicBezTo>
                  <a:lnTo>
                    <a:pt x="6656" y="3740"/>
                  </a:lnTo>
                  <a:cubicBezTo>
                    <a:pt x="6549" y="3740"/>
                    <a:pt x="6477" y="3644"/>
                    <a:pt x="6477" y="3561"/>
                  </a:cubicBezTo>
                  <a:lnTo>
                    <a:pt x="6477" y="2680"/>
                  </a:lnTo>
                  <a:cubicBezTo>
                    <a:pt x="6477" y="2394"/>
                    <a:pt x="6239" y="2156"/>
                    <a:pt x="5954" y="2156"/>
                  </a:cubicBezTo>
                  <a:lnTo>
                    <a:pt x="5775" y="2156"/>
                  </a:lnTo>
                  <a:cubicBezTo>
                    <a:pt x="5692" y="2156"/>
                    <a:pt x="5620" y="2227"/>
                    <a:pt x="5620" y="2323"/>
                  </a:cubicBezTo>
                  <a:cubicBezTo>
                    <a:pt x="5620" y="2406"/>
                    <a:pt x="5692" y="2489"/>
                    <a:pt x="5775" y="2489"/>
                  </a:cubicBezTo>
                  <a:lnTo>
                    <a:pt x="5954" y="2489"/>
                  </a:lnTo>
                  <a:cubicBezTo>
                    <a:pt x="6061" y="2489"/>
                    <a:pt x="6132" y="2573"/>
                    <a:pt x="6132" y="2668"/>
                  </a:cubicBezTo>
                  <a:lnTo>
                    <a:pt x="6132" y="3537"/>
                  </a:lnTo>
                  <a:cubicBezTo>
                    <a:pt x="6132" y="3823"/>
                    <a:pt x="6370" y="4061"/>
                    <a:pt x="6656" y="4061"/>
                  </a:cubicBezTo>
                  <a:lnTo>
                    <a:pt x="6930" y="4061"/>
                  </a:lnTo>
                  <a:cubicBezTo>
                    <a:pt x="7001" y="4061"/>
                    <a:pt x="7073" y="4097"/>
                    <a:pt x="7132" y="4156"/>
                  </a:cubicBezTo>
                  <a:cubicBezTo>
                    <a:pt x="7192" y="4216"/>
                    <a:pt x="7204" y="4287"/>
                    <a:pt x="7204" y="4359"/>
                  </a:cubicBezTo>
                  <a:cubicBezTo>
                    <a:pt x="7192" y="4490"/>
                    <a:pt x="7061" y="4597"/>
                    <a:pt x="6906" y="4597"/>
                  </a:cubicBezTo>
                  <a:lnTo>
                    <a:pt x="6835" y="4597"/>
                  </a:lnTo>
                  <a:cubicBezTo>
                    <a:pt x="6835" y="4513"/>
                    <a:pt x="6763" y="4430"/>
                    <a:pt x="6668" y="4430"/>
                  </a:cubicBezTo>
                  <a:cubicBezTo>
                    <a:pt x="6585" y="4430"/>
                    <a:pt x="6513" y="4513"/>
                    <a:pt x="6513" y="4597"/>
                  </a:cubicBezTo>
                  <a:cubicBezTo>
                    <a:pt x="6489" y="5764"/>
                    <a:pt x="5537" y="6704"/>
                    <a:pt x="4382" y="6704"/>
                  </a:cubicBezTo>
                  <a:cubicBezTo>
                    <a:pt x="3215" y="6704"/>
                    <a:pt x="2263" y="5752"/>
                    <a:pt x="2263" y="4585"/>
                  </a:cubicBezTo>
                  <a:cubicBezTo>
                    <a:pt x="2263" y="4490"/>
                    <a:pt x="2191" y="4418"/>
                    <a:pt x="2108" y="4418"/>
                  </a:cubicBezTo>
                  <a:cubicBezTo>
                    <a:pt x="2013" y="4418"/>
                    <a:pt x="1941" y="4490"/>
                    <a:pt x="1941" y="4585"/>
                  </a:cubicBezTo>
                  <a:lnTo>
                    <a:pt x="1941" y="4597"/>
                  </a:lnTo>
                  <a:lnTo>
                    <a:pt x="1846" y="4597"/>
                  </a:lnTo>
                  <a:cubicBezTo>
                    <a:pt x="1774" y="4597"/>
                    <a:pt x="1703" y="4573"/>
                    <a:pt x="1643" y="4513"/>
                  </a:cubicBezTo>
                  <a:cubicBezTo>
                    <a:pt x="1584" y="4454"/>
                    <a:pt x="1572" y="4382"/>
                    <a:pt x="1572" y="4299"/>
                  </a:cubicBezTo>
                  <a:cubicBezTo>
                    <a:pt x="1584" y="4168"/>
                    <a:pt x="1715" y="4061"/>
                    <a:pt x="1870" y="4061"/>
                  </a:cubicBezTo>
                  <a:lnTo>
                    <a:pt x="2108" y="4061"/>
                  </a:lnTo>
                  <a:cubicBezTo>
                    <a:pt x="2382" y="4061"/>
                    <a:pt x="2620" y="3823"/>
                    <a:pt x="2620" y="3537"/>
                  </a:cubicBezTo>
                  <a:lnTo>
                    <a:pt x="2620" y="2668"/>
                  </a:lnTo>
                  <a:cubicBezTo>
                    <a:pt x="2620" y="2561"/>
                    <a:pt x="2715" y="2489"/>
                    <a:pt x="2798" y="2489"/>
                  </a:cubicBezTo>
                  <a:lnTo>
                    <a:pt x="5084" y="2489"/>
                  </a:lnTo>
                  <a:cubicBezTo>
                    <a:pt x="5168" y="2489"/>
                    <a:pt x="5239" y="2406"/>
                    <a:pt x="5239" y="2323"/>
                  </a:cubicBezTo>
                  <a:cubicBezTo>
                    <a:pt x="5239" y="2227"/>
                    <a:pt x="5168" y="2156"/>
                    <a:pt x="5084" y="2156"/>
                  </a:cubicBezTo>
                  <a:lnTo>
                    <a:pt x="2798" y="2156"/>
                  </a:lnTo>
                  <a:cubicBezTo>
                    <a:pt x="2525" y="2156"/>
                    <a:pt x="2286" y="2394"/>
                    <a:pt x="2286" y="2680"/>
                  </a:cubicBezTo>
                  <a:lnTo>
                    <a:pt x="2286" y="3561"/>
                  </a:lnTo>
                  <a:cubicBezTo>
                    <a:pt x="2286" y="3656"/>
                    <a:pt x="2191" y="3740"/>
                    <a:pt x="2108" y="3740"/>
                  </a:cubicBezTo>
                  <a:lnTo>
                    <a:pt x="1870" y="3740"/>
                  </a:lnTo>
                  <a:cubicBezTo>
                    <a:pt x="1536" y="3740"/>
                    <a:pt x="1274" y="3978"/>
                    <a:pt x="1239" y="4287"/>
                  </a:cubicBezTo>
                  <a:cubicBezTo>
                    <a:pt x="1227" y="4454"/>
                    <a:pt x="1286" y="4633"/>
                    <a:pt x="1393" y="4752"/>
                  </a:cubicBezTo>
                  <a:cubicBezTo>
                    <a:pt x="1512" y="4883"/>
                    <a:pt x="1667" y="4942"/>
                    <a:pt x="1834" y="4942"/>
                  </a:cubicBezTo>
                  <a:lnTo>
                    <a:pt x="1953" y="4942"/>
                  </a:lnTo>
                  <a:cubicBezTo>
                    <a:pt x="2001" y="5287"/>
                    <a:pt x="2120" y="5597"/>
                    <a:pt x="2298" y="5883"/>
                  </a:cubicBezTo>
                  <a:cubicBezTo>
                    <a:pt x="1334" y="5406"/>
                    <a:pt x="691" y="4394"/>
                    <a:pt x="691" y="3275"/>
                  </a:cubicBezTo>
                  <a:cubicBezTo>
                    <a:pt x="691" y="1668"/>
                    <a:pt x="2001" y="370"/>
                    <a:pt x="3596" y="370"/>
                  </a:cubicBezTo>
                  <a:close/>
                  <a:moveTo>
                    <a:pt x="5442" y="6799"/>
                  </a:moveTo>
                  <a:lnTo>
                    <a:pt x="5442" y="8157"/>
                  </a:lnTo>
                  <a:cubicBezTo>
                    <a:pt x="5168" y="8466"/>
                    <a:pt x="4787" y="8633"/>
                    <a:pt x="4382" y="8633"/>
                  </a:cubicBezTo>
                  <a:cubicBezTo>
                    <a:pt x="3977" y="8633"/>
                    <a:pt x="3596" y="8454"/>
                    <a:pt x="3322" y="8157"/>
                  </a:cubicBezTo>
                  <a:lnTo>
                    <a:pt x="3322" y="6799"/>
                  </a:lnTo>
                  <a:cubicBezTo>
                    <a:pt x="3656" y="6954"/>
                    <a:pt x="4013" y="7038"/>
                    <a:pt x="4382" y="7038"/>
                  </a:cubicBezTo>
                  <a:cubicBezTo>
                    <a:pt x="4763" y="7038"/>
                    <a:pt x="5120" y="6954"/>
                    <a:pt x="5442" y="6799"/>
                  </a:cubicBezTo>
                  <a:close/>
                  <a:moveTo>
                    <a:pt x="5442" y="8609"/>
                  </a:moveTo>
                  <a:lnTo>
                    <a:pt x="5442" y="9050"/>
                  </a:lnTo>
                  <a:cubicBezTo>
                    <a:pt x="5108" y="9240"/>
                    <a:pt x="4751" y="9335"/>
                    <a:pt x="4382" y="9335"/>
                  </a:cubicBezTo>
                  <a:cubicBezTo>
                    <a:pt x="4013" y="9335"/>
                    <a:pt x="3632" y="9228"/>
                    <a:pt x="3322" y="9050"/>
                  </a:cubicBezTo>
                  <a:lnTo>
                    <a:pt x="3322" y="8609"/>
                  </a:lnTo>
                  <a:cubicBezTo>
                    <a:pt x="3620" y="8847"/>
                    <a:pt x="3989" y="8966"/>
                    <a:pt x="4382" y="8966"/>
                  </a:cubicBezTo>
                  <a:cubicBezTo>
                    <a:pt x="4763" y="8966"/>
                    <a:pt x="5144" y="8824"/>
                    <a:pt x="5442" y="8609"/>
                  </a:cubicBezTo>
                  <a:close/>
                  <a:moveTo>
                    <a:pt x="3596" y="1"/>
                  </a:moveTo>
                  <a:cubicBezTo>
                    <a:pt x="1810" y="1"/>
                    <a:pt x="346" y="1465"/>
                    <a:pt x="346" y="3251"/>
                  </a:cubicBezTo>
                  <a:cubicBezTo>
                    <a:pt x="346" y="4704"/>
                    <a:pt x="1334" y="5990"/>
                    <a:pt x="2727" y="6371"/>
                  </a:cubicBezTo>
                  <a:cubicBezTo>
                    <a:pt x="2798" y="6442"/>
                    <a:pt x="2894" y="6526"/>
                    <a:pt x="2977" y="6585"/>
                  </a:cubicBezTo>
                  <a:lnTo>
                    <a:pt x="2977" y="7192"/>
                  </a:lnTo>
                  <a:cubicBezTo>
                    <a:pt x="2644" y="7264"/>
                    <a:pt x="2382" y="7514"/>
                    <a:pt x="2251" y="7669"/>
                  </a:cubicBezTo>
                  <a:cubicBezTo>
                    <a:pt x="2203" y="7728"/>
                    <a:pt x="2167" y="7788"/>
                    <a:pt x="2144" y="7859"/>
                  </a:cubicBezTo>
                  <a:lnTo>
                    <a:pt x="1001" y="8204"/>
                  </a:lnTo>
                  <a:cubicBezTo>
                    <a:pt x="405" y="8383"/>
                    <a:pt x="0" y="8931"/>
                    <a:pt x="0" y="9538"/>
                  </a:cubicBezTo>
                  <a:lnTo>
                    <a:pt x="0" y="11252"/>
                  </a:lnTo>
                  <a:cubicBezTo>
                    <a:pt x="0" y="11348"/>
                    <a:pt x="84" y="11419"/>
                    <a:pt x="167" y="11419"/>
                  </a:cubicBezTo>
                  <a:cubicBezTo>
                    <a:pt x="250" y="11419"/>
                    <a:pt x="334" y="11348"/>
                    <a:pt x="334" y="11252"/>
                  </a:cubicBezTo>
                  <a:lnTo>
                    <a:pt x="334" y="9538"/>
                  </a:lnTo>
                  <a:cubicBezTo>
                    <a:pt x="334" y="9085"/>
                    <a:pt x="643" y="8645"/>
                    <a:pt x="1084" y="8526"/>
                  </a:cubicBezTo>
                  <a:lnTo>
                    <a:pt x="2144" y="8216"/>
                  </a:lnTo>
                  <a:lnTo>
                    <a:pt x="2251" y="8978"/>
                  </a:lnTo>
                  <a:cubicBezTo>
                    <a:pt x="2263" y="9038"/>
                    <a:pt x="2239" y="9109"/>
                    <a:pt x="2179" y="9157"/>
                  </a:cubicBezTo>
                  <a:lnTo>
                    <a:pt x="1822" y="9419"/>
                  </a:lnTo>
                  <a:cubicBezTo>
                    <a:pt x="1655" y="9538"/>
                    <a:pt x="1584" y="9752"/>
                    <a:pt x="1620" y="9943"/>
                  </a:cubicBezTo>
                  <a:lnTo>
                    <a:pt x="1917" y="11300"/>
                  </a:lnTo>
                  <a:cubicBezTo>
                    <a:pt x="1941" y="11371"/>
                    <a:pt x="2013" y="11431"/>
                    <a:pt x="2084" y="11431"/>
                  </a:cubicBezTo>
                  <a:lnTo>
                    <a:pt x="2120" y="11431"/>
                  </a:lnTo>
                  <a:cubicBezTo>
                    <a:pt x="2203" y="11419"/>
                    <a:pt x="2263" y="11324"/>
                    <a:pt x="2251" y="11240"/>
                  </a:cubicBezTo>
                  <a:lnTo>
                    <a:pt x="1953" y="9883"/>
                  </a:lnTo>
                  <a:cubicBezTo>
                    <a:pt x="1941" y="9812"/>
                    <a:pt x="1965" y="9740"/>
                    <a:pt x="2024" y="9693"/>
                  </a:cubicBezTo>
                  <a:lnTo>
                    <a:pt x="2382" y="9419"/>
                  </a:lnTo>
                  <a:cubicBezTo>
                    <a:pt x="2536" y="9300"/>
                    <a:pt x="2608" y="9121"/>
                    <a:pt x="2596" y="8931"/>
                  </a:cubicBezTo>
                  <a:lnTo>
                    <a:pt x="2477" y="8050"/>
                  </a:lnTo>
                  <a:cubicBezTo>
                    <a:pt x="2465" y="7990"/>
                    <a:pt x="2489" y="7954"/>
                    <a:pt x="2513" y="7907"/>
                  </a:cubicBezTo>
                  <a:cubicBezTo>
                    <a:pt x="2608" y="7800"/>
                    <a:pt x="2786" y="7633"/>
                    <a:pt x="3001" y="7561"/>
                  </a:cubicBezTo>
                  <a:lnTo>
                    <a:pt x="3001" y="9514"/>
                  </a:lnTo>
                  <a:cubicBezTo>
                    <a:pt x="3001" y="9597"/>
                    <a:pt x="3072" y="9681"/>
                    <a:pt x="3156" y="9681"/>
                  </a:cubicBezTo>
                  <a:cubicBezTo>
                    <a:pt x="3251" y="9681"/>
                    <a:pt x="3322" y="9597"/>
                    <a:pt x="3322" y="9514"/>
                  </a:cubicBezTo>
                  <a:lnTo>
                    <a:pt x="3322" y="9443"/>
                  </a:lnTo>
                  <a:cubicBezTo>
                    <a:pt x="3644" y="9597"/>
                    <a:pt x="4025" y="9681"/>
                    <a:pt x="4382" y="9681"/>
                  </a:cubicBezTo>
                  <a:cubicBezTo>
                    <a:pt x="4739" y="9681"/>
                    <a:pt x="5108" y="9586"/>
                    <a:pt x="5430" y="9443"/>
                  </a:cubicBezTo>
                  <a:lnTo>
                    <a:pt x="5430" y="11264"/>
                  </a:lnTo>
                  <a:cubicBezTo>
                    <a:pt x="5430" y="11360"/>
                    <a:pt x="5513" y="11431"/>
                    <a:pt x="5596" y="11431"/>
                  </a:cubicBezTo>
                  <a:cubicBezTo>
                    <a:pt x="5692" y="11431"/>
                    <a:pt x="5763" y="11360"/>
                    <a:pt x="5763" y="11264"/>
                  </a:cubicBezTo>
                  <a:lnTo>
                    <a:pt x="5763" y="7573"/>
                  </a:lnTo>
                  <a:cubicBezTo>
                    <a:pt x="5989" y="7657"/>
                    <a:pt x="6144" y="7811"/>
                    <a:pt x="6239" y="7919"/>
                  </a:cubicBezTo>
                  <a:cubicBezTo>
                    <a:pt x="6263" y="7966"/>
                    <a:pt x="6287" y="8014"/>
                    <a:pt x="6287" y="8073"/>
                  </a:cubicBezTo>
                  <a:lnTo>
                    <a:pt x="6168" y="8943"/>
                  </a:lnTo>
                  <a:cubicBezTo>
                    <a:pt x="6132" y="9145"/>
                    <a:pt x="6204" y="9324"/>
                    <a:pt x="6370" y="9443"/>
                  </a:cubicBezTo>
                  <a:lnTo>
                    <a:pt x="6727" y="9705"/>
                  </a:lnTo>
                  <a:cubicBezTo>
                    <a:pt x="6787" y="9752"/>
                    <a:pt x="6823" y="9824"/>
                    <a:pt x="6799" y="9895"/>
                  </a:cubicBezTo>
                  <a:lnTo>
                    <a:pt x="6501" y="11252"/>
                  </a:lnTo>
                  <a:cubicBezTo>
                    <a:pt x="6489" y="11348"/>
                    <a:pt x="6537" y="11431"/>
                    <a:pt x="6644" y="11443"/>
                  </a:cubicBezTo>
                  <a:lnTo>
                    <a:pt x="6668" y="11443"/>
                  </a:lnTo>
                  <a:cubicBezTo>
                    <a:pt x="6739" y="11443"/>
                    <a:pt x="6823" y="11383"/>
                    <a:pt x="6835" y="11312"/>
                  </a:cubicBezTo>
                  <a:lnTo>
                    <a:pt x="7132" y="9955"/>
                  </a:lnTo>
                  <a:cubicBezTo>
                    <a:pt x="7180" y="9764"/>
                    <a:pt x="7097" y="9562"/>
                    <a:pt x="6942" y="9443"/>
                  </a:cubicBezTo>
                  <a:lnTo>
                    <a:pt x="6585" y="9169"/>
                  </a:lnTo>
                  <a:cubicBezTo>
                    <a:pt x="6525" y="9121"/>
                    <a:pt x="6501" y="9062"/>
                    <a:pt x="6501" y="8990"/>
                  </a:cubicBezTo>
                  <a:lnTo>
                    <a:pt x="6608" y="8228"/>
                  </a:lnTo>
                  <a:lnTo>
                    <a:pt x="7668" y="8550"/>
                  </a:lnTo>
                  <a:cubicBezTo>
                    <a:pt x="8109" y="8681"/>
                    <a:pt x="8430" y="9097"/>
                    <a:pt x="8430" y="9562"/>
                  </a:cubicBezTo>
                  <a:lnTo>
                    <a:pt x="8430" y="11264"/>
                  </a:lnTo>
                  <a:cubicBezTo>
                    <a:pt x="8430" y="11360"/>
                    <a:pt x="8501" y="11431"/>
                    <a:pt x="8585" y="11431"/>
                  </a:cubicBezTo>
                  <a:cubicBezTo>
                    <a:pt x="8680" y="11431"/>
                    <a:pt x="8751" y="11360"/>
                    <a:pt x="8751" y="11264"/>
                  </a:cubicBezTo>
                  <a:lnTo>
                    <a:pt x="8751" y="9562"/>
                  </a:lnTo>
                  <a:cubicBezTo>
                    <a:pt x="8751" y="8931"/>
                    <a:pt x="8335" y="8383"/>
                    <a:pt x="7763" y="8204"/>
                  </a:cubicBezTo>
                  <a:lnTo>
                    <a:pt x="6608" y="7859"/>
                  </a:lnTo>
                  <a:cubicBezTo>
                    <a:pt x="6596" y="7788"/>
                    <a:pt x="6549" y="7728"/>
                    <a:pt x="6513" y="7669"/>
                  </a:cubicBezTo>
                  <a:cubicBezTo>
                    <a:pt x="6370" y="7514"/>
                    <a:pt x="6120" y="7276"/>
                    <a:pt x="5775" y="7192"/>
                  </a:cubicBezTo>
                  <a:lnTo>
                    <a:pt x="5775" y="6585"/>
                  </a:lnTo>
                  <a:cubicBezTo>
                    <a:pt x="5870" y="6526"/>
                    <a:pt x="5954" y="6442"/>
                    <a:pt x="6037" y="6371"/>
                  </a:cubicBezTo>
                  <a:cubicBezTo>
                    <a:pt x="7430" y="5990"/>
                    <a:pt x="8418" y="4704"/>
                    <a:pt x="8418" y="3251"/>
                  </a:cubicBezTo>
                  <a:cubicBezTo>
                    <a:pt x="8418" y="1465"/>
                    <a:pt x="6954"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4" name="Google Shape;11534;p61"/>
          <p:cNvGrpSpPr/>
          <p:nvPr/>
        </p:nvGrpSpPr>
        <p:grpSpPr>
          <a:xfrm>
            <a:off x="6248078" y="3784468"/>
            <a:ext cx="277263" cy="356115"/>
            <a:chOff x="6248078" y="3784468"/>
            <a:chExt cx="277263" cy="356115"/>
          </a:xfrm>
        </p:grpSpPr>
        <p:sp>
          <p:nvSpPr>
            <p:cNvPr id="11535" name="Google Shape;11535;p61"/>
            <p:cNvSpPr/>
            <p:nvPr/>
          </p:nvSpPr>
          <p:spPr>
            <a:xfrm>
              <a:off x="6337099" y="3874630"/>
              <a:ext cx="43402" cy="43402"/>
            </a:xfrm>
            <a:custGeom>
              <a:avLst/>
              <a:gdLst/>
              <a:ahLst/>
              <a:cxnLst/>
              <a:rect l="l" t="t" r="r" b="b"/>
              <a:pathLst>
                <a:path w="1370" h="1370" extrusionOk="0">
                  <a:moveTo>
                    <a:pt x="691" y="334"/>
                  </a:moveTo>
                  <a:cubicBezTo>
                    <a:pt x="882" y="334"/>
                    <a:pt x="1048" y="488"/>
                    <a:pt x="1048" y="691"/>
                  </a:cubicBezTo>
                  <a:cubicBezTo>
                    <a:pt x="1048" y="881"/>
                    <a:pt x="882" y="1048"/>
                    <a:pt x="691" y="1048"/>
                  </a:cubicBezTo>
                  <a:cubicBezTo>
                    <a:pt x="501" y="1048"/>
                    <a:pt x="334" y="881"/>
                    <a:pt x="334" y="691"/>
                  </a:cubicBezTo>
                  <a:cubicBezTo>
                    <a:pt x="334" y="488"/>
                    <a:pt x="489" y="334"/>
                    <a:pt x="691" y="334"/>
                  </a:cubicBezTo>
                  <a:close/>
                  <a:moveTo>
                    <a:pt x="691" y="0"/>
                  </a:moveTo>
                  <a:cubicBezTo>
                    <a:pt x="298" y="0"/>
                    <a:pt x="1" y="310"/>
                    <a:pt x="1" y="691"/>
                  </a:cubicBezTo>
                  <a:cubicBezTo>
                    <a:pt x="1" y="1072"/>
                    <a:pt x="322" y="1369"/>
                    <a:pt x="691" y="1369"/>
                  </a:cubicBezTo>
                  <a:cubicBezTo>
                    <a:pt x="1072" y="1369"/>
                    <a:pt x="1370" y="1060"/>
                    <a:pt x="1370" y="691"/>
                  </a:cubicBezTo>
                  <a:cubicBezTo>
                    <a:pt x="1370" y="298"/>
                    <a:pt x="1060"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6" name="Google Shape;11536;p61"/>
            <p:cNvSpPr/>
            <p:nvPr/>
          </p:nvSpPr>
          <p:spPr>
            <a:xfrm>
              <a:off x="6392919" y="3874630"/>
              <a:ext cx="43402" cy="43402"/>
            </a:xfrm>
            <a:custGeom>
              <a:avLst/>
              <a:gdLst/>
              <a:ahLst/>
              <a:cxnLst/>
              <a:rect l="l" t="t" r="r" b="b"/>
              <a:pathLst>
                <a:path w="1370" h="1370" extrusionOk="0">
                  <a:moveTo>
                    <a:pt x="679" y="334"/>
                  </a:moveTo>
                  <a:cubicBezTo>
                    <a:pt x="882" y="334"/>
                    <a:pt x="1037" y="488"/>
                    <a:pt x="1037" y="691"/>
                  </a:cubicBezTo>
                  <a:cubicBezTo>
                    <a:pt x="1037" y="881"/>
                    <a:pt x="882" y="1048"/>
                    <a:pt x="679" y="1048"/>
                  </a:cubicBezTo>
                  <a:cubicBezTo>
                    <a:pt x="489" y="1048"/>
                    <a:pt x="322" y="881"/>
                    <a:pt x="322" y="691"/>
                  </a:cubicBezTo>
                  <a:cubicBezTo>
                    <a:pt x="322" y="488"/>
                    <a:pt x="489" y="334"/>
                    <a:pt x="679" y="334"/>
                  </a:cubicBezTo>
                  <a:close/>
                  <a:moveTo>
                    <a:pt x="679" y="0"/>
                  </a:moveTo>
                  <a:cubicBezTo>
                    <a:pt x="298" y="0"/>
                    <a:pt x="1" y="310"/>
                    <a:pt x="1" y="691"/>
                  </a:cubicBezTo>
                  <a:cubicBezTo>
                    <a:pt x="1" y="1072"/>
                    <a:pt x="310" y="1369"/>
                    <a:pt x="679" y="1369"/>
                  </a:cubicBezTo>
                  <a:cubicBezTo>
                    <a:pt x="1060" y="1369"/>
                    <a:pt x="1370" y="1060"/>
                    <a:pt x="1370" y="691"/>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7" name="Google Shape;11537;p61"/>
            <p:cNvSpPr/>
            <p:nvPr/>
          </p:nvSpPr>
          <p:spPr>
            <a:xfrm>
              <a:off x="6381609" y="3913469"/>
              <a:ext cx="10201" cy="15872"/>
            </a:xfrm>
            <a:custGeom>
              <a:avLst/>
              <a:gdLst/>
              <a:ahLst/>
              <a:cxnLst/>
              <a:rect l="l" t="t" r="r" b="b"/>
              <a:pathLst>
                <a:path w="322" h="501" extrusionOk="0">
                  <a:moveTo>
                    <a:pt x="167" y="1"/>
                  </a:moveTo>
                  <a:cubicBezTo>
                    <a:pt x="72" y="1"/>
                    <a:pt x="0" y="72"/>
                    <a:pt x="0" y="155"/>
                  </a:cubicBezTo>
                  <a:lnTo>
                    <a:pt x="0" y="334"/>
                  </a:lnTo>
                  <a:cubicBezTo>
                    <a:pt x="0" y="429"/>
                    <a:pt x="72" y="501"/>
                    <a:pt x="167" y="501"/>
                  </a:cubicBezTo>
                  <a:cubicBezTo>
                    <a:pt x="251" y="501"/>
                    <a:pt x="322" y="429"/>
                    <a:pt x="322" y="334"/>
                  </a:cubicBezTo>
                  <a:lnTo>
                    <a:pt x="322" y="155"/>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8" name="Google Shape;11538;p61"/>
            <p:cNvSpPr/>
            <p:nvPr/>
          </p:nvSpPr>
          <p:spPr>
            <a:xfrm>
              <a:off x="6248078" y="3784468"/>
              <a:ext cx="277263" cy="356115"/>
            </a:xfrm>
            <a:custGeom>
              <a:avLst/>
              <a:gdLst/>
              <a:ahLst/>
              <a:cxnLst/>
              <a:rect l="l" t="t" r="r" b="b"/>
              <a:pathLst>
                <a:path w="8752" h="11241" extrusionOk="0">
                  <a:moveTo>
                    <a:pt x="5954" y="4751"/>
                  </a:moveTo>
                  <a:lnTo>
                    <a:pt x="5954" y="5335"/>
                  </a:lnTo>
                  <a:cubicBezTo>
                    <a:pt x="5954" y="5561"/>
                    <a:pt x="5823" y="5751"/>
                    <a:pt x="5609" y="5835"/>
                  </a:cubicBezTo>
                  <a:lnTo>
                    <a:pt x="4751" y="6180"/>
                  </a:lnTo>
                  <a:cubicBezTo>
                    <a:pt x="4632" y="6233"/>
                    <a:pt x="4501" y="6260"/>
                    <a:pt x="4369" y="6260"/>
                  </a:cubicBezTo>
                  <a:cubicBezTo>
                    <a:pt x="4236" y="6260"/>
                    <a:pt x="4102" y="6233"/>
                    <a:pt x="3977" y="6180"/>
                  </a:cubicBezTo>
                  <a:lnTo>
                    <a:pt x="3108" y="5835"/>
                  </a:lnTo>
                  <a:cubicBezTo>
                    <a:pt x="2906" y="5751"/>
                    <a:pt x="2775" y="5561"/>
                    <a:pt x="2775" y="5335"/>
                  </a:cubicBezTo>
                  <a:lnTo>
                    <a:pt x="2775" y="4751"/>
                  </a:lnTo>
                  <a:lnTo>
                    <a:pt x="3156" y="4882"/>
                  </a:lnTo>
                  <a:cubicBezTo>
                    <a:pt x="3215" y="5108"/>
                    <a:pt x="3406" y="5275"/>
                    <a:pt x="3668" y="5275"/>
                  </a:cubicBezTo>
                  <a:lnTo>
                    <a:pt x="3680" y="5275"/>
                  </a:lnTo>
                  <a:lnTo>
                    <a:pt x="3680" y="5287"/>
                  </a:lnTo>
                  <a:cubicBezTo>
                    <a:pt x="3680" y="5382"/>
                    <a:pt x="3751" y="5454"/>
                    <a:pt x="3846" y="5454"/>
                  </a:cubicBezTo>
                  <a:cubicBezTo>
                    <a:pt x="3930" y="5454"/>
                    <a:pt x="4001" y="5382"/>
                    <a:pt x="4001" y="5287"/>
                  </a:cubicBezTo>
                  <a:lnTo>
                    <a:pt x="4001" y="5275"/>
                  </a:lnTo>
                  <a:lnTo>
                    <a:pt x="4192" y="5275"/>
                  </a:lnTo>
                  <a:lnTo>
                    <a:pt x="4192" y="5287"/>
                  </a:lnTo>
                  <a:cubicBezTo>
                    <a:pt x="4192" y="5382"/>
                    <a:pt x="4275" y="5454"/>
                    <a:pt x="4358" y="5454"/>
                  </a:cubicBezTo>
                  <a:cubicBezTo>
                    <a:pt x="4454" y="5454"/>
                    <a:pt x="4525" y="5382"/>
                    <a:pt x="4525" y="5287"/>
                  </a:cubicBezTo>
                  <a:lnTo>
                    <a:pt x="4525" y="5275"/>
                  </a:lnTo>
                  <a:lnTo>
                    <a:pt x="4716" y="5275"/>
                  </a:lnTo>
                  <a:lnTo>
                    <a:pt x="4716" y="5287"/>
                  </a:lnTo>
                  <a:cubicBezTo>
                    <a:pt x="4716" y="5382"/>
                    <a:pt x="4787" y="5454"/>
                    <a:pt x="4882" y="5454"/>
                  </a:cubicBezTo>
                  <a:cubicBezTo>
                    <a:pt x="4966" y="5454"/>
                    <a:pt x="5049" y="5382"/>
                    <a:pt x="5049" y="5287"/>
                  </a:cubicBezTo>
                  <a:lnTo>
                    <a:pt x="5049" y="5275"/>
                  </a:lnTo>
                  <a:lnTo>
                    <a:pt x="5061" y="5275"/>
                  </a:lnTo>
                  <a:cubicBezTo>
                    <a:pt x="5299" y="5275"/>
                    <a:pt x="5501" y="5108"/>
                    <a:pt x="5561" y="4882"/>
                  </a:cubicBezTo>
                  <a:lnTo>
                    <a:pt x="5954" y="4751"/>
                  </a:lnTo>
                  <a:close/>
                  <a:moveTo>
                    <a:pt x="4716" y="6537"/>
                  </a:moveTo>
                  <a:lnTo>
                    <a:pt x="4716" y="6882"/>
                  </a:lnTo>
                  <a:lnTo>
                    <a:pt x="4001" y="6882"/>
                  </a:lnTo>
                  <a:lnTo>
                    <a:pt x="4001" y="6537"/>
                  </a:lnTo>
                  <a:cubicBezTo>
                    <a:pt x="4120" y="6573"/>
                    <a:pt x="4239" y="6585"/>
                    <a:pt x="4358" y="6585"/>
                  </a:cubicBezTo>
                  <a:cubicBezTo>
                    <a:pt x="4477" y="6585"/>
                    <a:pt x="4596" y="6573"/>
                    <a:pt x="4716" y="6537"/>
                  </a:cubicBezTo>
                  <a:close/>
                  <a:moveTo>
                    <a:pt x="4739" y="7204"/>
                  </a:moveTo>
                  <a:lnTo>
                    <a:pt x="4739" y="7585"/>
                  </a:lnTo>
                  <a:lnTo>
                    <a:pt x="4001" y="7585"/>
                  </a:lnTo>
                  <a:lnTo>
                    <a:pt x="4001" y="7204"/>
                  </a:lnTo>
                  <a:close/>
                  <a:moveTo>
                    <a:pt x="4358" y="346"/>
                  </a:moveTo>
                  <a:cubicBezTo>
                    <a:pt x="5823" y="346"/>
                    <a:pt x="7013" y="1536"/>
                    <a:pt x="7013" y="3001"/>
                  </a:cubicBezTo>
                  <a:lnTo>
                    <a:pt x="7013" y="4227"/>
                  </a:lnTo>
                  <a:cubicBezTo>
                    <a:pt x="7013" y="4906"/>
                    <a:pt x="6823" y="5501"/>
                    <a:pt x="6442" y="6073"/>
                  </a:cubicBezTo>
                  <a:cubicBezTo>
                    <a:pt x="6109" y="6597"/>
                    <a:pt x="5668" y="7013"/>
                    <a:pt x="5275" y="7382"/>
                  </a:cubicBezTo>
                  <a:cubicBezTo>
                    <a:pt x="5192" y="7466"/>
                    <a:pt x="5132" y="7525"/>
                    <a:pt x="5061" y="7585"/>
                  </a:cubicBezTo>
                  <a:lnTo>
                    <a:pt x="5061" y="6406"/>
                  </a:lnTo>
                  <a:lnTo>
                    <a:pt x="5739" y="6132"/>
                  </a:lnTo>
                  <a:cubicBezTo>
                    <a:pt x="6073" y="6001"/>
                    <a:pt x="6299" y="5692"/>
                    <a:pt x="6299" y="5335"/>
                  </a:cubicBezTo>
                  <a:lnTo>
                    <a:pt x="6299" y="4620"/>
                  </a:lnTo>
                  <a:cubicBezTo>
                    <a:pt x="6501" y="4501"/>
                    <a:pt x="6656" y="4275"/>
                    <a:pt x="6656" y="4025"/>
                  </a:cubicBezTo>
                  <a:lnTo>
                    <a:pt x="6656" y="3001"/>
                  </a:lnTo>
                  <a:cubicBezTo>
                    <a:pt x="6656" y="2441"/>
                    <a:pt x="6442" y="1906"/>
                    <a:pt x="6085" y="1489"/>
                  </a:cubicBezTo>
                  <a:cubicBezTo>
                    <a:pt x="6054" y="1452"/>
                    <a:pt x="6013" y="1434"/>
                    <a:pt x="5969" y="1434"/>
                  </a:cubicBezTo>
                  <a:cubicBezTo>
                    <a:pt x="5929" y="1434"/>
                    <a:pt x="5886" y="1449"/>
                    <a:pt x="5847" y="1477"/>
                  </a:cubicBezTo>
                  <a:cubicBezTo>
                    <a:pt x="5775" y="1536"/>
                    <a:pt x="5775" y="1644"/>
                    <a:pt x="5835" y="1715"/>
                  </a:cubicBezTo>
                  <a:cubicBezTo>
                    <a:pt x="6144" y="2072"/>
                    <a:pt x="6323" y="2537"/>
                    <a:pt x="6323" y="3001"/>
                  </a:cubicBezTo>
                  <a:lnTo>
                    <a:pt x="6323" y="4025"/>
                  </a:lnTo>
                  <a:cubicBezTo>
                    <a:pt x="6323" y="4168"/>
                    <a:pt x="6228" y="4323"/>
                    <a:pt x="6073" y="4370"/>
                  </a:cubicBezTo>
                  <a:lnTo>
                    <a:pt x="5370" y="4608"/>
                  </a:lnTo>
                  <a:cubicBezTo>
                    <a:pt x="5299" y="4632"/>
                    <a:pt x="5251" y="4692"/>
                    <a:pt x="5251" y="4751"/>
                  </a:cubicBezTo>
                  <a:cubicBezTo>
                    <a:pt x="5251" y="4858"/>
                    <a:pt x="5168" y="4942"/>
                    <a:pt x="5061" y="4942"/>
                  </a:cubicBezTo>
                  <a:lnTo>
                    <a:pt x="3668" y="4942"/>
                  </a:lnTo>
                  <a:cubicBezTo>
                    <a:pt x="3561" y="4942"/>
                    <a:pt x="3465" y="4858"/>
                    <a:pt x="3465" y="4751"/>
                  </a:cubicBezTo>
                  <a:cubicBezTo>
                    <a:pt x="3465" y="4680"/>
                    <a:pt x="3430" y="4620"/>
                    <a:pt x="3346" y="4608"/>
                  </a:cubicBezTo>
                  <a:lnTo>
                    <a:pt x="2656" y="4370"/>
                  </a:lnTo>
                  <a:cubicBezTo>
                    <a:pt x="2501" y="4323"/>
                    <a:pt x="2394" y="4168"/>
                    <a:pt x="2394" y="4025"/>
                  </a:cubicBezTo>
                  <a:lnTo>
                    <a:pt x="2394" y="3001"/>
                  </a:lnTo>
                  <a:cubicBezTo>
                    <a:pt x="2394" y="1929"/>
                    <a:pt x="3275" y="1048"/>
                    <a:pt x="4346" y="1048"/>
                  </a:cubicBezTo>
                  <a:cubicBezTo>
                    <a:pt x="4692" y="1048"/>
                    <a:pt x="5037" y="1132"/>
                    <a:pt x="5311" y="1298"/>
                  </a:cubicBezTo>
                  <a:cubicBezTo>
                    <a:pt x="5337" y="1313"/>
                    <a:pt x="5364" y="1320"/>
                    <a:pt x="5391" y="1320"/>
                  </a:cubicBezTo>
                  <a:cubicBezTo>
                    <a:pt x="5449" y="1320"/>
                    <a:pt x="5504" y="1288"/>
                    <a:pt x="5537" y="1239"/>
                  </a:cubicBezTo>
                  <a:cubicBezTo>
                    <a:pt x="5585" y="1167"/>
                    <a:pt x="5549" y="1060"/>
                    <a:pt x="5478" y="1013"/>
                  </a:cubicBezTo>
                  <a:cubicBezTo>
                    <a:pt x="5132" y="822"/>
                    <a:pt x="4739" y="715"/>
                    <a:pt x="4346" y="715"/>
                  </a:cubicBezTo>
                  <a:cubicBezTo>
                    <a:pt x="3096" y="715"/>
                    <a:pt x="2072" y="1727"/>
                    <a:pt x="2072" y="3001"/>
                  </a:cubicBezTo>
                  <a:lnTo>
                    <a:pt x="2072" y="4025"/>
                  </a:lnTo>
                  <a:cubicBezTo>
                    <a:pt x="2072" y="4275"/>
                    <a:pt x="2203" y="4501"/>
                    <a:pt x="2430" y="4620"/>
                  </a:cubicBezTo>
                  <a:lnTo>
                    <a:pt x="2430" y="5335"/>
                  </a:lnTo>
                  <a:cubicBezTo>
                    <a:pt x="2430" y="5692"/>
                    <a:pt x="2632" y="6001"/>
                    <a:pt x="2977" y="6132"/>
                  </a:cubicBezTo>
                  <a:lnTo>
                    <a:pt x="3668" y="6406"/>
                  </a:lnTo>
                  <a:lnTo>
                    <a:pt x="3668" y="7585"/>
                  </a:lnTo>
                  <a:cubicBezTo>
                    <a:pt x="3584" y="7525"/>
                    <a:pt x="3525" y="7442"/>
                    <a:pt x="3453" y="7382"/>
                  </a:cubicBezTo>
                  <a:cubicBezTo>
                    <a:pt x="3072" y="7013"/>
                    <a:pt x="2620" y="6585"/>
                    <a:pt x="2275" y="6073"/>
                  </a:cubicBezTo>
                  <a:cubicBezTo>
                    <a:pt x="1894" y="5501"/>
                    <a:pt x="1715" y="4882"/>
                    <a:pt x="1715" y="4227"/>
                  </a:cubicBezTo>
                  <a:lnTo>
                    <a:pt x="1715" y="3001"/>
                  </a:lnTo>
                  <a:cubicBezTo>
                    <a:pt x="1715" y="1536"/>
                    <a:pt x="2906" y="346"/>
                    <a:pt x="4358" y="346"/>
                  </a:cubicBezTo>
                  <a:close/>
                  <a:moveTo>
                    <a:pt x="4751" y="7906"/>
                  </a:moveTo>
                  <a:lnTo>
                    <a:pt x="4751" y="7918"/>
                  </a:lnTo>
                  <a:lnTo>
                    <a:pt x="4739" y="7918"/>
                  </a:lnTo>
                  <a:cubicBezTo>
                    <a:pt x="4585" y="8085"/>
                    <a:pt x="4466" y="8240"/>
                    <a:pt x="4382" y="8394"/>
                  </a:cubicBezTo>
                  <a:cubicBezTo>
                    <a:pt x="4287" y="8240"/>
                    <a:pt x="4156" y="8085"/>
                    <a:pt x="4025" y="7918"/>
                  </a:cubicBezTo>
                  <a:lnTo>
                    <a:pt x="4025" y="7906"/>
                  </a:lnTo>
                  <a:close/>
                  <a:moveTo>
                    <a:pt x="4382" y="1"/>
                  </a:moveTo>
                  <a:cubicBezTo>
                    <a:pt x="2739" y="1"/>
                    <a:pt x="1406" y="1346"/>
                    <a:pt x="1406" y="2977"/>
                  </a:cubicBezTo>
                  <a:lnTo>
                    <a:pt x="1406" y="4215"/>
                  </a:lnTo>
                  <a:cubicBezTo>
                    <a:pt x="1406" y="5477"/>
                    <a:pt x="2013" y="6347"/>
                    <a:pt x="2668" y="7049"/>
                  </a:cubicBezTo>
                  <a:cubicBezTo>
                    <a:pt x="2549" y="7156"/>
                    <a:pt x="2382" y="7251"/>
                    <a:pt x="2215" y="7311"/>
                  </a:cubicBezTo>
                  <a:lnTo>
                    <a:pt x="882" y="7716"/>
                  </a:lnTo>
                  <a:cubicBezTo>
                    <a:pt x="358" y="7859"/>
                    <a:pt x="1" y="8335"/>
                    <a:pt x="1" y="8871"/>
                  </a:cubicBezTo>
                  <a:lnTo>
                    <a:pt x="1" y="11073"/>
                  </a:lnTo>
                  <a:cubicBezTo>
                    <a:pt x="1" y="11169"/>
                    <a:pt x="72" y="11240"/>
                    <a:pt x="167" y="11240"/>
                  </a:cubicBezTo>
                  <a:cubicBezTo>
                    <a:pt x="251" y="11240"/>
                    <a:pt x="322" y="11169"/>
                    <a:pt x="322" y="11073"/>
                  </a:cubicBezTo>
                  <a:lnTo>
                    <a:pt x="322" y="8871"/>
                  </a:lnTo>
                  <a:cubicBezTo>
                    <a:pt x="322" y="8752"/>
                    <a:pt x="358" y="8633"/>
                    <a:pt x="405" y="8537"/>
                  </a:cubicBezTo>
                  <a:lnTo>
                    <a:pt x="1394" y="9407"/>
                  </a:lnTo>
                  <a:cubicBezTo>
                    <a:pt x="1513" y="9514"/>
                    <a:pt x="1572" y="9668"/>
                    <a:pt x="1572" y="9811"/>
                  </a:cubicBezTo>
                  <a:lnTo>
                    <a:pt x="1572" y="11073"/>
                  </a:lnTo>
                  <a:cubicBezTo>
                    <a:pt x="1572" y="11169"/>
                    <a:pt x="1656" y="11240"/>
                    <a:pt x="1739" y="11240"/>
                  </a:cubicBezTo>
                  <a:cubicBezTo>
                    <a:pt x="1834" y="11240"/>
                    <a:pt x="1906" y="11169"/>
                    <a:pt x="1906" y="11073"/>
                  </a:cubicBezTo>
                  <a:lnTo>
                    <a:pt x="1906" y="9811"/>
                  </a:lnTo>
                  <a:cubicBezTo>
                    <a:pt x="1906" y="9561"/>
                    <a:pt x="1799" y="9323"/>
                    <a:pt x="1608" y="9156"/>
                  </a:cubicBezTo>
                  <a:lnTo>
                    <a:pt x="584" y="8252"/>
                  </a:lnTo>
                  <a:cubicBezTo>
                    <a:pt x="679" y="8144"/>
                    <a:pt x="822" y="8061"/>
                    <a:pt x="965" y="8013"/>
                  </a:cubicBezTo>
                  <a:lnTo>
                    <a:pt x="2310" y="7609"/>
                  </a:lnTo>
                  <a:cubicBezTo>
                    <a:pt x="2525" y="7549"/>
                    <a:pt x="2727" y="7430"/>
                    <a:pt x="2882" y="7263"/>
                  </a:cubicBezTo>
                  <a:cubicBezTo>
                    <a:pt x="3001" y="7382"/>
                    <a:pt x="3120" y="7502"/>
                    <a:pt x="3239" y="7609"/>
                  </a:cubicBezTo>
                  <a:cubicBezTo>
                    <a:pt x="3763" y="8097"/>
                    <a:pt x="4215" y="8537"/>
                    <a:pt x="4215" y="8942"/>
                  </a:cubicBezTo>
                  <a:cubicBezTo>
                    <a:pt x="4215" y="9037"/>
                    <a:pt x="4287" y="9109"/>
                    <a:pt x="4370" y="9109"/>
                  </a:cubicBezTo>
                  <a:cubicBezTo>
                    <a:pt x="4466" y="9109"/>
                    <a:pt x="4537" y="9037"/>
                    <a:pt x="4537" y="8942"/>
                  </a:cubicBezTo>
                  <a:cubicBezTo>
                    <a:pt x="4537" y="8514"/>
                    <a:pt x="4989" y="8097"/>
                    <a:pt x="5501" y="7609"/>
                  </a:cubicBezTo>
                  <a:cubicBezTo>
                    <a:pt x="5620" y="7502"/>
                    <a:pt x="5739" y="7382"/>
                    <a:pt x="5859" y="7263"/>
                  </a:cubicBezTo>
                  <a:cubicBezTo>
                    <a:pt x="6025" y="7430"/>
                    <a:pt x="6216" y="7549"/>
                    <a:pt x="6442" y="7609"/>
                  </a:cubicBezTo>
                  <a:lnTo>
                    <a:pt x="7787" y="8013"/>
                  </a:lnTo>
                  <a:cubicBezTo>
                    <a:pt x="7930" y="8049"/>
                    <a:pt x="8061" y="8133"/>
                    <a:pt x="8168" y="8252"/>
                  </a:cubicBezTo>
                  <a:lnTo>
                    <a:pt x="7144" y="9156"/>
                  </a:lnTo>
                  <a:cubicBezTo>
                    <a:pt x="6954" y="9323"/>
                    <a:pt x="6847" y="9561"/>
                    <a:pt x="6847" y="9811"/>
                  </a:cubicBezTo>
                  <a:lnTo>
                    <a:pt x="6847" y="11073"/>
                  </a:lnTo>
                  <a:cubicBezTo>
                    <a:pt x="6847" y="11169"/>
                    <a:pt x="6918" y="11240"/>
                    <a:pt x="7013" y="11240"/>
                  </a:cubicBezTo>
                  <a:cubicBezTo>
                    <a:pt x="7097" y="11240"/>
                    <a:pt x="7168" y="11169"/>
                    <a:pt x="7168" y="11073"/>
                  </a:cubicBezTo>
                  <a:lnTo>
                    <a:pt x="7168" y="9811"/>
                  </a:lnTo>
                  <a:cubicBezTo>
                    <a:pt x="7168" y="9668"/>
                    <a:pt x="7252" y="9514"/>
                    <a:pt x="7347" y="9407"/>
                  </a:cubicBezTo>
                  <a:lnTo>
                    <a:pt x="8347" y="8537"/>
                  </a:lnTo>
                  <a:cubicBezTo>
                    <a:pt x="8395" y="8633"/>
                    <a:pt x="8418" y="8752"/>
                    <a:pt x="8418" y="8871"/>
                  </a:cubicBezTo>
                  <a:lnTo>
                    <a:pt x="8418" y="11073"/>
                  </a:lnTo>
                  <a:cubicBezTo>
                    <a:pt x="8418" y="11169"/>
                    <a:pt x="8502" y="11240"/>
                    <a:pt x="8585" y="11240"/>
                  </a:cubicBezTo>
                  <a:cubicBezTo>
                    <a:pt x="8680" y="11240"/>
                    <a:pt x="8752" y="11169"/>
                    <a:pt x="8752" y="11073"/>
                  </a:cubicBezTo>
                  <a:lnTo>
                    <a:pt x="8752" y="8871"/>
                  </a:lnTo>
                  <a:cubicBezTo>
                    <a:pt x="8752" y="8359"/>
                    <a:pt x="8395" y="7859"/>
                    <a:pt x="7871" y="7716"/>
                  </a:cubicBezTo>
                  <a:lnTo>
                    <a:pt x="6537" y="7311"/>
                  </a:lnTo>
                  <a:cubicBezTo>
                    <a:pt x="6359" y="7263"/>
                    <a:pt x="6204" y="7180"/>
                    <a:pt x="6085" y="7049"/>
                  </a:cubicBezTo>
                  <a:cubicBezTo>
                    <a:pt x="6740" y="6359"/>
                    <a:pt x="7359" y="5477"/>
                    <a:pt x="7359" y="4215"/>
                  </a:cubicBezTo>
                  <a:lnTo>
                    <a:pt x="7359" y="2977"/>
                  </a:lnTo>
                  <a:cubicBezTo>
                    <a:pt x="7359" y="1346"/>
                    <a:pt x="6013" y="1"/>
                    <a:pt x="4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9" name="Google Shape;11539;p61"/>
            <p:cNvSpPr/>
            <p:nvPr/>
          </p:nvSpPr>
          <p:spPr>
            <a:xfrm>
              <a:off x="6381609" y="4085840"/>
              <a:ext cx="10201" cy="54743"/>
            </a:xfrm>
            <a:custGeom>
              <a:avLst/>
              <a:gdLst/>
              <a:ahLst/>
              <a:cxnLst/>
              <a:rect l="l" t="t" r="r" b="b"/>
              <a:pathLst>
                <a:path w="322" h="1728" extrusionOk="0">
                  <a:moveTo>
                    <a:pt x="167" y="1"/>
                  </a:moveTo>
                  <a:cubicBezTo>
                    <a:pt x="72" y="1"/>
                    <a:pt x="0" y="72"/>
                    <a:pt x="0" y="167"/>
                  </a:cubicBezTo>
                  <a:lnTo>
                    <a:pt x="0" y="1560"/>
                  </a:lnTo>
                  <a:cubicBezTo>
                    <a:pt x="0" y="1656"/>
                    <a:pt x="72" y="1727"/>
                    <a:pt x="167" y="1727"/>
                  </a:cubicBezTo>
                  <a:cubicBezTo>
                    <a:pt x="251" y="1727"/>
                    <a:pt x="322" y="1656"/>
                    <a:pt x="322" y="1560"/>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0" name="Google Shape;11540;p61"/>
          <p:cNvGrpSpPr/>
          <p:nvPr/>
        </p:nvGrpSpPr>
        <p:grpSpPr>
          <a:xfrm>
            <a:off x="5800725" y="3785989"/>
            <a:ext cx="277644" cy="354594"/>
            <a:chOff x="5800725" y="3785989"/>
            <a:chExt cx="277644" cy="354594"/>
          </a:xfrm>
        </p:grpSpPr>
        <p:sp>
          <p:nvSpPr>
            <p:cNvPr id="11541" name="Google Shape;11541;p61"/>
            <p:cNvSpPr/>
            <p:nvPr/>
          </p:nvSpPr>
          <p:spPr>
            <a:xfrm>
              <a:off x="5901055" y="3896869"/>
              <a:ext cx="10613" cy="15872"/>
            </a:xfrm>
            <a:custGeom>
              <a:avLst/>
              <a:gdLst/>
              <a:ahLst/>
              <a:cxnLst/>
              <a:rect l="l" t="t" r="r" b="b"/>
              <a:pathLst>
                <a:path w="335"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34" y="72"/>
                    <a:pt x="251"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2" name="Google Shape;11542;p61"/>
            <p:cNvSpPr/>
            <p:nvPr/>
          </p:nvSpPr>
          <p:spPr>
            <a:xfrm>
              <a:off x="5968217" y="3896869"/>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3" name="Google Shape;11543;p61"/>
            <p:cNvSpPr/>
            <p:nvPr/>
          </p:nvSpPr>
          <p:spPr>
            <a:xfrm>
              <a:off x="5916547" y="3935804"/>
              <a:ext cx="45271" cy="16157"/>
            </a:xfrm>
            <a:custGeom>
              <a:avLst/>
              <a:gdLst/>
              <a:ahLst/>
              <a:cxnLst/>
              <a:rect l="l" t="t" r="r" b="b"/>
              <a:pathLst>
                <a:path w="1429" h="510" extrusionOk="0">
                  <a:moveTo>
                    <a:pt x="188" y="1"/>
                  </a:moveTo>
                  <a:cubicBezTo>
                    <a:pt x="146" y="1"/>
                    <a:pt x="101" y="16"/>
                    <a:pt x="60" y="46"/>
                  </a:cubicBezTo>
                  <a:cubicBezTo>
                    <a:pt x="0" y="105"/>
                    <a:pt x="0" y="212"/>
                    <a:pt x="60" y="284"/>
                  </a:cubicBezTo>
                  <a:cubicBezTo>
                    <a:pt x="214" y="427"/>
                    <a:pt x="453" y="510"/>
                    <a:pt x="703" y="510"/>
                  </a:cubicBezTo>
                  <a:cubicBezTo>
                    <a:pt x="976" y="510"/>
                    <a:pt x="1215" y="427"/>
                    <a:pt x="1345" y="284"/>
                  </a:cubicBezTo>
                  <a:cubicBezTo>
                    <a:pt x="1429" y="212"/>
                    <a:pt x="1429" y="105"/>
                    <a:pt x="1369" y="46"/>
                  </a:cubicBezTo>
                  <a:cubicBezTo>
                    <a:pt x="1340" y="16"/>
                    <a:pt x="1301" y="1"/>
                    <a:pt x="1259" y="1"/>
                  </a:cubicBezTo>
                  <a:cubicBezTo>
                    <a:pt x="1217" y="1"/>
                    <a:pt x="1173" y="16"/>
                    <a:pt x="1131" y="46"/>
                  </a:cubicBezTo>
                  <a:cubicBezTo>
                    <a:pt x="1072" y="105"/>
                    <a:pt x="929" y="188"/>
                    <a:pt x="714" y="188"/>
                  </a:cubicBezTo>
                  <a:cubicBezTo>
                    <a:pt x="512" y="188"/>
                    <a:pt x="357" y="105"/>
                    <a:pt x="298" y="46"/>
                  </a:cubicBezTo>
                  <a:cubicBezTo>
                    <a:pt x="268" y="16"/>
                    <a:pt x="229"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4" name="Google Shape;11544;p61"/>
            <p:cNvSpPr/>
            <p:nvPr/>
          </p:nvSpPr>
          <p:spPr>
            <a:xfrm>
              <a:off x="5895416" y="3879888"/>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79" y="251"/>
                    <a:pt x="679" y="168"/>
                  </a:cubicBez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5" name="Google Shape;11545;p61"/>
            <p:cNvSpPr/>
            <p:nvPr/>
          </p:nvSpPr>
          <p:spPr>
            <a:xfrm>
              <a:off x="5961786" y="3879888"/>
              <a:ext cx="21923" cy="10233"/>
            </a:xfrm>
            <a:custGeom>
              <a:avLst/>
              <a:gdLst/>
              <a:ahLst/>
              <a:cxnLst/>
              <a:rect l="l" t="t" r="r" b="b"/>
              <a:pathLst>
                <a:path w="692" h="323" extrusionOk="0">
                  <a:moveTo>
                    <a:pt x="168" y="1"/>
                  </a:moveTo>
                  <a:cubicBezTo>
                    <a:pt x="84" y="1"/>
                    <a:pt x="1" y="72"/>
                    <a:pt x="1" y="168"/>
                  </a:cubicBezTo>
                  <a:cubicBezTo>
                    <a:pt x="1" y="251"/>
                    <a:pt x="84" y="322"/>
                    <a:pt x="168" y="322"/>
                  </a:cubicBezTo>
                  <a:lnTo>
                    <a:pt x="525" y="322"/>
                  </a:lnTo>
                  <a:cubicBezTo>
                    <a:pt x="620" y="322"/>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6" name="Google Shape;11546;p61"/>
            <p:cNvSpPr/>
            <p:nvPr/>
          </p:nvSpPr>
          <p:spPr>
            <a:xfrm>
              <a:off x="5800725" y="3785989"/>
              <a:ext cx="277644" cy="354594"/>
            </a:xfrm>
            <a:custGeom>
              <a:avLst/>
              <a:gdLst/>
              <a:ahLst/>
              <a:cxnLst/>
              <a:rect l="l" t="t" r="r" b="b"/>
              <a:pathLst>
                <a:path w="8764" h="11193" extrusionOk="0">
                  <a:moveTo>
                    <a:pt x="4716" y="310"/>
                  </a:moveTo>
                  <a:cubicBezTo>
                    <a:pt x="5323" y="310"/>
                    <a:pt x="5859" y="572"/>
                    <a:pt x="5978" y="905"/>
                  </a:cubicBezTo>
                  <a:cubicBezTo>
                    <a:pt x="6005" y="979"/>
                    <a:pt x="6062" y="1024"/>
                    <a:pt x="6130" y="1024"/>
                  </a:cubicBezTo>
                  <a:cubicBezTo>
                    <a:pt x="6150" y="1024"/>
                    <a:pt x="6171" y="1020"/>
                    <a:pt x="6192" y="1012"/>
                  </a:cubicBezTo>
                  <a:cubicBezTo>
                    <a:pt x="6275" y="988"/>
                    <a:pt x="6323" y="893"/>
                    <a:pt x="6299" y="810"/>
                  </a:cubicBezTo>
                  <a:cubicBezTo>
                    <a:pt x="6275" y="774"/>
                    <a:pt x="6275" y="750"/>
                    <a:pt x="6264" y="715"/>
                  </a:cubicBezTo>
                  <a:lnTo>
                    <a:pt x="6264" y="715"/>
                  </a:lnTo>
                  <a:cubicBezTo>
                    <a:pt x="6609" y="834"/>
                    <a:pt x="6859" y="1167"/>
                    <a:pt x="6859" y="1548"/>
                  </a:cubicBezTo>
                  <a:lnTo>
                    <a:pt x="6859" y="3322"/>
                  </a:lnTo>
                  <a:lnTo>
                    <a:pt x="6668" y="3322"/>
                  </a:lnTo>
                  <a:cubicBezTo>
                    <a:pt x="6561" y="3322"/>
                    <a:pt x="6478" y="3227"/>
                    <a:pt x="6478" y="3132"/>
                  </a:cubicBezTo>
                  <a:lnTo>
                    <a:pt x="6478" y="2953"/>
                  </a:lnTo>
                  <a:cubicBezTo>
                    <a:pt x="6478" y="2191"/>
                    <a:pt x="5918" y="1619"/>
                    <a:pt x="5894" y="1608"/>
                  </a:cubicBezTo>
                  <a:cubicBezTo>
                    <a:pt x="5858" y="1571"/>
                    <a:pt x="5815" y="1556"/>
                    <a:pt x="5770" y="1556"/>
                  </a:cubicBezTo>
                  <a:cubicBezTo>
                    <a:pt x="5756" y="1556"/>
                    <a:pt x="5742" y="1557"/>
                    <a:pt x="5728" y="1560"/>
                  </a:cubicBezTo>
                  <a:cubicBezTo>
                    <a:pt x="5195" y="1728"/>
                    <a:pt x="4526" y="1884"/>
                    <a:pt x="3873" y="1884"/>
                  </a:cubicBezTo>
                  <a:cubicBezTo>
                    <a:pt x="3418" y="1884"/>
                    <a:pt x="2971" y="1808"/>
                    <a:pt x="2585" y="1608"/>
                  </a:cubicBezTo>
                  <a:cubicBezTo>
                    <a:pt x="2251" y="1441"/>
                    <a:pt x="2049" y="1227"/>
                    <a:pt x="1953" y="1072"/>
                  </a:cubicBezTo>
                  <a:cubicBezTo>
                    <a:pt x="2311" y="988"/>
                    <a:pt x="2573" y="846"/>
                    <a:pt x="2811" y="750"/>
                  </a:cubicBezTo>
                  <a:cubicBezTo>
                    <a:pt x="3347" y="512"/>
                    <a:pt x="3763" y="310"/>
                    <a:pt x="4716" y="310"/>
                  </a:cubicBezTo>
                  <a:close/>
                  <a:moveTo>
                    <a:pt x="2049" y="1679"/>
                  </a:moveTo>
                  <a:cubicBezTo>
                    <a:pt x="2156" y="1762"/>
                    <a:pt x="2275" y="1846"/>
                    <a:pt x="2406" y="1905"/>
                  </a:cubicBezTo>
                  <a:cubicBezTo>
                    <a:pt x="2787" y="2096"/>
                    <a:pt x="3227" y="2203"/>
                    <a:pt x="3716" y="2215"/>
                  </a:cubicBezTo>
                  <a:cubicBezTo>
                    <a:pt x="3770" y="2217"/>
                    <a:pt x="3825" y="2218"/>
                    <a:pt x="3881" y="2218"/>
                  </a:cubicBezTo>
                  <a:cubicBezTo>
                    <a:pt x="4435" y="2218"/>
                    <a:pt x="5056" y="2111"/>
                    <a:pt x="5716" y="1905"/>
                  </a:cubicBezTo>
                  <a:cubicBezTo>
                    <a:pt x="5847" y="2072"/>
                    <a:pt x="6133" y="2453"/>
                    <a:pt x="6133" y="2953"/>
                  </a:cubicBezTo>
                  <a:lnTo>
                    <a:pt x="6133" y="3132"/>
                  </a:lnTo>
                  <a:cubicBezTo>
                    <a:pt x="6133" y="3405"/>
                    <a:pt x="6371" y="3644"/>
                    <a:pt x="6656" y="3644"/>
                  </a:cubicBezTo>
                  <a:lnTo>
                    <a:pt x="6918" y="3644"/>
                  </a:lnTo>
                  <a:cubicBezTo>
                    <a:pt x="6990" y="3644"/>
                    <a:pt x="7073" y="3679"/>
                    <a:pt x="7133" y="3739"/>
                  </a:cubicBezTo>
                  <a:cubicBezTo>
                    <a:pt x="7192" y="3798"/>
                    <a:pt x="7204" y="3870"/>
                    <a:pt x="7204" y="3941"/>
                  </a:cubicBezTo>
                  <a:cubicBezTo>
                    <a:pt x="7192" y="4084"/>
                    <a:pt x="7049" y="4203"/>
                    <a:pt x="6906" y="4203"/>
                  </a:cubicBezTo>
                  <a:lnTo>
                    <a:pt x="6835" y="4203"/>
                  </a:lnTo>
                  <a:lnTo>
                    <a:pt x="6835" y="4179"/>
                  </a:lnTo>
                  <a:cubicBezTo>
                    <a:pt x="6835" y="4096"/>
                    <a:pt x="6752" y="4025"/>
                    <a:pt x="6668" y="4025"/>
                  </a:cubicBezTo>
                  <a:cubicBezTo>
                    <a:pt x="6573" y="4025"/>
                    <a:pt x="6502" y="4096"/>
                    <a:pt x="6502" y="4179"/>
                  </a:cubicBezTo>
                  <a:cubicBezTo>
                    <a:pt x="6502" y="5358"/>
                    <a:pt x="5549" y="6311"/>
                    <a:pt x="4394" y="6311"/>
                  </a:cubicBezTo>
                  <a:cubicBezTo>
                    <a:pt x="3227" y="6311"/>
                    <a:pt x="2275" y="5358"/>
                    <a:pt x="2275" y="4203"/>
                  </a:cubicBezTo>
                  <a:cubicBezTo>
                    <a:pt x="2275" y="4108"/>
                    <a:pt x="2204" y="4036"/>
                    <a:pt x="2108" y="4036"/>
                  </a:cubicBezTo>
                  <a:cubicBezTo>
                    <a:pt x="2025" y="4036"/>
                    <a:pt x="1953" y="4108"/>
                    <a:pt x="1953" y="4203"/>
                  </a:cubicBezTo>
                  <a:lnTo>
                    <a:pt x="1953" y="4215"/>
                  </a:lnTo>
                  <a:lnTo>
                    <a:pt x="1846" y="4215"/>
                  </a:lnTo>
                  <a:cubicBezTo>
                    <a:pt x="1775" y="4215"/>
                    <a:pt x="1692" y="4179"/>
                    <a:pt x="1632" y="4120"/>
                  </a:cubicBezTo>
                  <a:cubicBezTo>
                    <a:pt x="1572" y="4060"/>
                    <a:pt x="1561" y="3989"/>
                    <a:pt x="1561" y="3917"/>
                  </a:cubicBezTo>
                  <a:cubicBezTo>
                    <a:pt x="1572" y="3786"/>
                    <a:pt x="1715" y="3667"/>
                    <a:pt x="1858" y="3667"/>
                  </a:cubicBezTo>
                  <a:lnTo>
                    <a:pt x="2096" y="3667"/>
                  </a:lnTo>
                  <a:cubicBezTo>
                    <a:pt x="2382" y="3667"/>
                    <a:pt x="2620" y="3429"/>
                    <a:pt x="2620" y="3143"/>
                  </a:cubicBezTo>
                  <a:lnTo>
                    <a:pt x="2620" y="2512"/>
                  </a:lnTo>
                  <a:cubicBezTo>
                    <a:pt x="2620" y="2429"/>
                    <a:pt x="2549" y="2346"/>
                    <a:pt x="2454" y="2346"/>
                  </a:cubicBezTo>
                  <a:cubicBezTo>
                    <a:pt x="2370" y="2346"/>
                    <a:pt x="2287" y="2429"/>
                    <a:pt x="2287" y="2512"/>
                  </a:cubicBezTo>
                  <a:lnTo>
                    <a:pt x="2287" y="3143"/>
                  </a:lnTo>
                  <a:cubicBezTo>
                    <a:pt x="2287" y="3251"/>
                    <a:pt x="2204" y="3334"/>
                    <a:pt x="2096" y="3334"/>
                  </a:cubicBezTo>
                  <a:lnTo>
                    <a:pt x="1906" y="3334"/>
                  </a:lnTo>
                  <a:lnTo>
                    <a:pt x="1906" y="2322"/>
                  </a:lnTo>
                  <a:cubicBezTo>
                    <a:pt x="1906" y="1941"/>
                    <a:pt x="2013" y="1762"/>
                    <a:pt x="2049" y="1679"/>
                  </a:cubicBezTo>
                  <a:close/>
                  <a:moveTo>
                    <a:pt x="5478" y="6406"/>
                  </a:moveTo>
                  <a:lnTo>
                    <a:pt x="5478" y="6799"/>
                  </a:lnTo>
                  <a:lnTo>
                    <a:pt x="5442" y="6799"/>
                  </a:lnTo>
                  <a:lnTo>
                    <a:pt x="5132" y="7870"/>
                  </a:lnTo>
                  <a:cubicBezTo>
                    <a:pt x="4906" y="7989"/>
                    <a:pt x="4644" y="8073"/>
                    <a:pt x="4394" y="8073"/>
                  </a:cubicBezTo>
                  <a:cubicBezTo>
                    <a:pt x="4120" y="8073"/>
                    <a:pt x="3870" y="8013"/>
                    <a:pt x="3644" y="7870"/>
                  </a:cubicBezTo>
                  <a:lnTo>
                    <a:pt x="3335" y="6799"/>
                  </a:lnTo>
                  <a:lnTo>
                    <a:pt x="3335" y="6406"/>
                  </a:lnTo>
                  <a:cubicBezTo>
                    <a:pt x="3656" y="6561"/>
                    <a:pt x="4013" y="6644"/>
                    <a:pt x="4406" y="6644"/>
                  </a:cubicBezTo>
                  <a:cubicBezTo>
                    <a:pt x="4787" y="6644"/>
                    <a:pt x="5144" y="6549"/>
                    <a:pt x="5478" y="6406"/>
                  </a:cubicBezTo>
                  <a:close/>
                  <a:moveTo>
                    <a:pt x="2644" y="10156"/>
                  </a:moveTo>
                  <a:lnTo>
                    <a:pt x="2644" y="10871"/>
                  </a:lnTo>
                  <a:lnTo>
                    <a:pt x="1215" y="10871"/>
                  </a:lnTo>
                  <a:lnTo>
                    <a:pt x="1215" y="10156"/>
                  </a:lnTo>
                  <a:lnTo>
                    <a:pt x="1775" y="10156"/>
                  </a:lnTo>
                  <a:lnTo>
                    <a:pt x="1775" y="10168"/>
                  </a:lnTo>
                  <a:cubicBezTo>
                    <a:pt x="1775" y="10251"/>
                    <a:pt x="1846" y="10335"/>
                    <a:pt x="1930" y="10335"/>
                  </a:cubicBezTo>
                  <a:cubicBezTo>
                    <a:pt x="2025" y="10335"/>
                    <a:pt x="2096" y="10251"/>
                    <a:pt x="2096" y="10168"/>
                  </a:cubicBezTo>
                  <a:lnTo>
                    <a:pt x="2096" y="10156"/>
                  </a:lnTo>
                  <a:close/>
                  <a:moveTo>
                    <a:pt x="4728" y="0"/>
                  </a:moveTo>
                  <a:cubicBezTo>
                    <a:pt x="3704" y="0"/>
                    <a:pt x="3227" y="203"/>
                    <a:pt x="2692" y="465"/>
                  </a:cubicBezTo>
                  <a:cubicBezTo>
                    <a:pt x="2394" y="596"/>
                    <a:pt x="2096" y="726"/>
                    <a:pt x="1668" y="846"/>
                  </a:cubicBezTo>
                  <a:cubicBezTo>
                    <a:pt x="1620" y="857"/>
                    <a:pt x="1572" y="893"/>
                    <a:pt x="1561" y="941"/>
                  </a:cubicBezTo>
                  <a:cubicBezTo>
                    <a:pt x="1549" y="977"/>
                    <a:pt x="1549" y="1024"/>
                    <a:pt x="1561" y="1072"/>
                  </a:cubicBezTo>
                  <a:cubicBezTo>
                    <a:pt x="1561" y="1084"/>
                    <a:pt x="1632" y="1250"/>
                    <a:pt x="1834" y="1453"/>
                  </a:cubicBezTo>
                  <a:cubicBezTo>
                    <a:pt x="1751" y="1560"/>
                    <a:pt x="1596" y="1810"/>
                    <a:pt x="1596" y="2322"/>
                  </a:cubicBezTo>
                  <a:lnTo>
                    <a:pt x="1596" y="3393"/>
                  </a:lnTo>
                  <a:cubicBezTo>
                    <a:pt x="1394" y="3477"/>
                    <a:pt x="1263" y="3655"/>
                    <a:pt x="1251" y="3870"/>
                  </a:cubicBezTo>
                  <a:cubicBezTo>
                    <a:pt x="1239" y="4036"/>
                    <a:pt x="1299" y="4215"/>
                    <a:pt x="1394" y="4334"/>
                  </a:cubicBezTo>
                  <a:cubicBezTo>
                    <a:pt x="1513" y="4453"/>
                    <a:pt x="1680" y="4525"/>
                    <a:pt x="1846" y="4525"/>
                  </a:cubicBezTo>
                  <a:lnTo>
                    <a:pt x="1965" y="4525"/>
                  </a:lnTo>
                  <a:cubicBezTo>
                    <a:pt x="2049" y="5203"/>
                    <a:pt x="2442" y="5822"/>
                    <a:pt x="2989" y="6191"/>
                  </a:cubicBezTo>
                  <a:lnTo>
                    <a:pt x="2989" y="6715"/>
                  </a:lnTo>
                  <a:lnTo>
                    <a:pt x="2263" y="7084"/>
                  </a:lnTo>
                  <a:cubicBezTo>
                    <a:pt x="2156" y="7132"/>
                    <a:pt x="2084" y="7227"/>
                    <a:pt x="2073" y="7334"/>
                  </a:cubicBezTo>
                  <a:cubicBezTo>
                    <a:pt x="2049" y="7370"/>
                    <a:pt x="2049" y="7406"/>
                    <a:pt x="2049" y="7442"/>
                  </a:cubicBezTo>
                  <a:lnTo>
                    <a:pt x="858" y="7799"/>
                  </a:lnTo>
                  <a:cubicBezTo>
                    <a:pt x="346" y="7965"/>
                    <a:pt x="1" y="8430"/>
                    <a:pt x="1" y="8954"/>
                  </a:cubicBezTo>
                  <a:lnTo>
                    <a:pt x="1" y="11025"/>
                  </a:lnTo>
                  <a:cubicBezTo>
                    <a:pt x="1" y="11121"/>
                    <a:pt x="72" y="11192"/>
                    <a:pt x="168" y="11192"/>
                  </a:cubicBezTo>
                  <a:cubicBezTo>
                    <a:pt x="251" y="11192"/>
                    <a:pt x="322" y="11121"/>
                    <a:pt x="322" y="11025"/>
                  </a:cubicBezTo>
                  <a:lnTo>
                    <a:pt x="322" y="8954"/>
                  </a:lnTo>
                  <a:cubicBezTo>
                    <a:pt x="322" y="8573"/>
                    <a:pt x="584" y="8227"/>
                    <a:pt x="953" y="8108"/>
                  </a:cubicBezTo>
                  <a:lnTo>
                    <a:pt x="2192" y="7739"/>
                  </a:lnTo>
                  <a:lnTo>
                    <a:pt x="2406" y="8025"/>
                  </a:lnTo>
                  <a:lnTo>
                    <a:pt x="2156" y="8275"/>
                  </a:lnTo>
                  <a:cubicBezTo>
                    <a:pt x="1989" y="8442"/>
                    <a:pt x="1965" y="8680"/>
                    <a:pt x="2073" y="8870"/>
                  </a:cubicBezTo>
                  <a:lnTo>
                    <a:pt x="2549" y="9811"/>
                  </a:lnTo>
                  <a:lnTo>
                    <a:pt x="2096" y="9811"/>
                  </a:lnTo>
                  <a:lnTo>
                    <a:pt x="2096" y="9609"/>
                  </a:lnTo>
                  <a:cubicBezTo>
                    <a:pt x="2096" y="9525"/>
                    <a:pt x="2025" y="9454"/>
                    <a:pt x="1930" y="9454"/>
                  </a:cubicBezTo>
                  <a:cubicBezTo>
                    <a:pt x="1846" y="9454"/>
                    <a:pt x="1775" y="9525"/>
                    <a:pt x="1775" y="9609"/>
                  </a:cubicBezTo>
                  <a:lnTo>
                    <a:pt x="1775" y="9811"/>
                  </a:lnTo>
                  <a:lnTo>
                    <a:pt x="1061" y="9811"/>
                  </a:lnTo>
                  <a:cubicBezTo>
                    <a:pt x="965" y="9811"/>
                    <a:pt x="894" y="9882"/>
                    <a:pt x="894" y="9966"/>
                  </a:cubicBezTo>
                  <a:lnTo>
                    <a:pt x="894" y="11025"/>
                  </a:lnTo>
                  <a:cubicBezTo>
                    <a:pt x="894" y="11121"/>
                    <a:pt x="965" y="11192"/>
                    <a:pt x="1061" y="11192"/>
                  </a:cubicBezTo>
                  <a:lnTo>
                    <a:pt x="2811" y="11192"/>
                  </a:lnTo>
                  <a:cubicBezTo>
                    <a:pt x="2906" y="11192"/>
                    <a:pt x="2977" y="11121"/>
                    <a:pt x="2977" y="11025"/>
                  </a:cubicBezTo>
                  <a:lnTo>
                    <a:pt x="2977" y="10668"/>
                  </a:lnTo>
                  <a:lnTo>
                    <a:pt x="3180" y="11097"/>
                  </a:lnTo>
                  <a:cubicBezTo>
                    <a:pt x="3216" y="11156"/>
                    <a:pt x="3275" y="11192"/>
                    <a:pt x="3335" y="11192"/>
                  </a:cubicBezTo>
                  <a:cubicBezTo>
                    <a:pt x="3358" y="11192"/>
                    <a:pt x="3382" y="11192"/>
                    <a:pt x="3406" y="11180"/>
                  </a:cubicBezTo>
                  <a:cubicBezTo>
                    <a:pt x="3477" y="11133"/>
                    <a:pt x="3525" y="11037"/>
                    <a:pt x="3477" y="10954"/>
                  </a:cubicBezTo>
                  <a:lnTo>
                    <a:pt x="2370" y="8716"/>
                  </a:lnTo>
                  <a:cubicBezTo>
                    <a:pt x="2334" y="8644"/>
                    <a:pt x="2346" y="8561"/>
                    <a:pt x="2394" y="8513"/>
                  </a:cubicBezTo>
                  <a:lnTo>
                    <a:pt x="2739" y="8168"/>
                  </a:lnTo>
                  <a:cubicBezTo>
                    <a:pt x="2799" y="8108"/>
                    <a:pt x="2799" y="8025"/>
                    <a:pt x="2751" y="7965"/>
                  </a:cubicBezTo>
                  <a:lnTo>
                    <a:pt x="2382" y="7477"/>
                  </a:lnTo>
                  <a:cubicBezTo>
                    <a:pt x="2370" y="7454"/>
                    <a:pt x="2370" y="7442"/>
                    <a:pt x="2370" y="7430"/>
                  </a:cubicBezTo>
                  <a:cubicBezTo>
                    <a:pt x="2370" y="7418"/>
                    <a:pt x="2382" y="7394"/>
                    <a:pt x="2394" y="7394"/>
                  </a:cubicBezTo>
                  <a:lnTo>
                    <a:pt x="3037" y="7073"/>
                  </a:lnTo>
                  <a:lnTo>
                    <a:pt x="3501" y="8632"/>
                  </a:lnTo>
                  <a:cubicBezTo>
                    <a:pt x="3522" y="8716"/>
                    <a:pt x="3598" y="8754"/>
                    <a:pt x="3673" y="8754"/>
                  </a:cubicBezTo>
                  <a:cubicBezTo>
                    <a:pt x="3683" y="8754"/>
                    <a:pt x="3693" y="8753"/>
                    <a:pt x="3704" y="8751"/>
                  </a:cubicBezTo>
                  <a:cubicBezTo>
                    <a:pt x="3799" y="8716"/>
                    <a:pt x="3835" y="8632"/>
                    <a:pt x="3823" y="8549"/>
                  </a:cubicBezTo>
                  <a:lnTo>
                    <a:pt x="3751" y="8287"/>
                  </a:lnTo>
                  <a:lnTo>
                    <a:pt x="3751" y="8287"/>
                  </a:lnTo>
                  <a:cubicBezTo>
                    <a:pt x="3954" y="8358"/>
                    <a:pt x="4168" y="8394"/>
                    <a:pt x="4370" y="8394"/>
                  </a:cubicBezTo>
                  <a:cubicBezTo>
                    <a:pt x="4597" y="8394"/>
                    <a:pt x="4811" y="8358"/>
                    <a:pt x="5001" y="8287"/>
                  </a:cubicBezTo>
                  <a:lnTo>
                    <a:pt x="5001" y="8287"/>
                  </a:lnTo>
                  <a:lnTo>
                    <a:pt x="4370" y="10442"/>
                  </a:lnTo>
                  <a:lnTo>
                    <a:pt x="4013" y="9228"/>
                  </a:lnTo>
                  <a:cubicBezTo>
                    <a:pt x="3992" y="9144"/>
                    <a:pt x="3917" y="9106"/>
                    <a:pt x="3842" y="9106"/>
                  </a:cubicBezTo>
                  <a:cubicBezTo>
                    <a:pt x="3832" y="9106"/>
                    <a:pt x="3821" y="9107"/>
                    <a:pt x="3811" y="9108"/>
                  </a:cubicBezTo>
                  <a:cubicBezTo>
                    <a:pt x="3716" y="9120"/>
                    <a:pt x="3680" y="9228"/>
                    <a:pt x="3692" y="9311"/>
                  </a:cubicBezTo>
                  <a:lnTo>
                    <a:pt x="4192" y="11073"/>
                  </a:lnTo>
                  <a:cubicBezTo>
                    <a:pt x="4216" y="11144"/>
                    <a:pt x="4287" y="11192"/>
                    <a:pt x="4359" y="11192"/>
                  </a:cubicBezTo>
                  <a:cubicBezTo>
                    <a:pt x="4430" y="11192"/>
                    <a:pt x="4490" y="11144"/>
                    <a:pt x="4525" y="11073"/>
                  </a:cubicBezTo>
                  <a:lnTo>
                    <a:pt x="5704" y="7049"/>
                  </a:lnTo>
                  <a:lnTo>
                    <a:pt x="6335" y="7382"/>
                  </a:lnTo>
                  <a:lnTo>
                    <a:pt x="6371" y="7406"/>
                  </a:lnTo>
                  <a:cubicBezTo>
                    <a:pt x="6371" y="7430"/>
                    <a:pt x="6371" y="7442"/>
                    <a:pt x="6359" y="7454"/>
                  </a:cubicBezTo>
                  <a:lnTo>
                    <a:pt x="5978" y="7942"/>
                  </a:lnTo>
                  <a:cubicBezTo>
                    <a:pt x="5942" y="8001"/>
                    <a:pt x="5942" y="8108"/>
                    <a:pt x="6002" y="8156"/>
                  </a:cubicBezTo>
                  <a:lnTo>
                    <a:pt x="6335" y="8501"/>
                  </a:lnTo>
                  <a:cubicBezTo>
                    <a:pt x="6395" y="8561"/>
                    <a:pt x="6418" y="8644"/>
                    <a:pt x="6371" y="8704"/>
                  </a:cubicBezTo>
                  <a:lnTo>
                    <a:pt x="5252" y="10942"/>
                  </a:lnTo>
                  <a:cubicBezTo>
                    <a:pt x="5204" y="11013"/>
                    <a:pt x="5240" y="11121"/>
                    <a:pt x="5323" y="11156"/>
                  </a:cubicBezTo>
                  <a:cubicBezTo>
                    <a:pt x="5359" y="11180"/>
                    <a:pt x="5371" y="11180"/>
                    <a:pt x="5406" y="11180"/>
                  </a:cubicBezTo>
                  <a:cubicBezTo>
                    <a:pt x="5466" y="11180"/>
                    <a:pt x="5525" y="11144"/>
                    <a:pt x="5549" y="11085"/>
                  </a:cubicBezTo>
                  <a:lnTo>
                    <a:pt x="6668" y="8858"/>
                  </a:lnTo>
                  <a:cubicBezTo>
                    <a:pt x="6776" y="8656"/>
                    <a:pt x="6728" y="8418"/>
                    <a:pt x="6573" y="8263"/>
                  </a:cubicBezTo>
                  <a:lnTo>
                    <a:pt x="6323" y="8001"/>
                  </a:lnTo>
                  <a:lnTo>
                    <a:pt x="6549" y="7727"/>
                  </a:lnTo>
                  <a:lnTo>
                    <a:pt x="7788" y="8096"/>
                  </a:lnTo>
                  <a:cubicBezTo>
                    <a:pt x="8157" y="8216"/>
                    <a:pt x="8407" y="8561"/>
                    <a:pt x="8407" y="8942"/>
                  </a:cubicBezTo>
                  <a:lnTo>
                    <a:pt x="8407" y="11013"/>
                  </a:lnTo>
                  <a:cubicBezTo>
                    <a:pt x="8407" y="11097"/>
                    <a:pt x="8478" y="11180"/>
                    <a:pt x="8573" y="11180"/>
                  </a:cubicBezTo>
                  <a:cubicBezTo>
                    <a:pt x="8657" y="11180"/>
                    <a:pt x="8740" y="11097"/>
                    <a:pt x="8740" y="11013"/>
                  </a:cubicBezTo>
                  <a:lnTo>
                    <a:pt x="8740" y="8942"/>
                  </a:lnTo>
                  <a:cubicBezTo>
                    <a:pt x="8764" y="8442"/>
                    <a:pt x="8419" y="7965"/>
                    <a:pt x="7907" y="7811"/>
                  </a:cubicBezTo>
                  <a:lnTo>
                    <a:pt x="6716" y="7454"/>
                  </a:lnTo>
                  <a:cubicBezTo>
                    <a:pt x="6716" y="7430"/>
                    <a:pt x="6716" y="7382"/>
                    <a:pt x="6692" y="7358"/>
                  </a:cubicBezTo>
                  <a:cubicBezTo>
                    <a:pt x="6668" y="7251"/>
                    <a:pt x="6597" y="7144"/>
                    <a:pt x="6502" y="7096"/>
                  </a:cubicBezTo>
                  <a:lnTo>
                    <a:pt x="5775" y="6727"/>
                  </a:lnTo>
                  <a:lnTo>
                    <a:pt x="5775" y="6203"/>
                  </a:lnTo>
                  <a:cubicBezTo>
                    <a:pt x="6323" y="5822"/>
                    <a:pt x="6716" y="5227"/>
                    <a:pt x="6799" y="4536"/>
                  </a:cubicBezTo>
                  <a:lnTo>
                    <a:pt x="6906" y="4536"/>
                  </a:lnTo>
                  <a:cubicBezTo>
                    <a:pt x="7228" y="4536"/>
                    <a:pt x="7502" y="4298"/>
                    <a:pt x="7526" y="4001"/>
                  </a:cubicBezTo>
                  <a:cubicBezTo>
                    <a:pt x="7549" y="3834"/>
                    <a:pt x="7490" y="3655"/>
                    <a:pt x="7383" y="3536"/>
                  </a:cubicBezTo>
                  <a:cubicBezTo>
                    <a:pt x="7323" y="3477"/>
                    <a:pt x="7264" y="3441"/>
                    <a:pt x="7192" y="3393"/>
                  </a:cubicBezTo>
                  <a:lnTo>
                    <a:pt x="7192" y="1572"/>
                  </a:lnTo>
                  <a:cubicBezTo>
                    <a:pt x="7192" y="905"/>
                    <a:pt x="6633" y="357"/>
                    <a:pt x="5966" y="357"/>
                  </a:cubicBezTo>
                  <a:lnTo>
                    <a:pt x="5942" y="357"/>
                  </a:lnTo>
                  <a:cubicBezTo>
                    <a:pt x="5644" y="131"/>
                    <a:pt x="5204" y="0"/>
                    <a:pt x="4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7" name="Google Shape;11547;p61"/>
            <p:cNvSpPr/>
            <p:nvPr/>
          </p:nvSpPr>
          <p:spPr>
            <a:xfrm>
              <a:off x="6012727" y="4085840"/>
              <a:ext cx="37731" cy="37763"/>
            </a:xfrm>
            <a:custGeom>
              <a:avLst/>
              <a:gdLst/>
              <a:ahLst/>
              <a:cxnLst/>
              <a:rect l="l" t="t" r="r" b="b"/>
              <a:pathLst>
                <a:path w="1191" h="1192" extrusionOk="0">
                  <a:moveTo>
                    <a:pt x="595" y="1"/>
                  </a:moveTo>
                  <a:cubicBezTo>
                    <a:pt x="512" y="1"/>
                    <a:pt x="441" y="72"/>
                    <a:pt x="441" y="167"/>
                  </a:cubicBezTo>
                  <a:lnTo>
                    <a:pt x="441" y="429"/>
                  </a:lnTo>
                  <a:lnTo>
                    <a:pt x="167" y="429"/>
                  </a:lnTo>
                  <a:cubicBezTo>
                    <a:pt x="84" y="429"/>
                    <a:pt x="0" y="513"/>
                    <a:pt x="0" y="596"/>
                  </a:cubicBezTo>
                  <a:cubicBezTo>
                    <a:pt x="0" y="691"/>
                    <a:pt x="84" y="763"/>
                    <a:pt x="167" y="763"/>
                  </a:cubicBezTo>
                  <a:lnTo>
                    <a:pt x="441" y="763"/>
                  </a:lnTo>
                  <a:lnTo>
                    <a:pt x="441" y="1025"/>
                  </a:lnTo>
                  <a:cubicBezTo>
                    <a:pt x="441" y="1120"/>
                    <a:pt x="512" y="1191"/>
                    <a:pt x="595" y="1191"/>
                  </a:cubicBezTo>
                  <a:cubicBezTo>
                    <a:pt x="691" y="1191"/>
                    <a:pt x="762" y="1120"/>
                    <a:pt x="762" y="1025"/>
                  </a:cubicBezTo>
                  <a:lnTo>
                    <a:pt x="762" y="763"/>
                  </a:lnTo>
                  <a:lnTo>
                    <a:pt x="1024" y="763"/>
                  </a:lnTo>
                  <a:cubicBezTo>
                    <a:pt x="1119" y="763"/>
                    <a:pt x="1191" y="691"/>
                    <a:pt x="1191" y="596"/>
                  </a:cubicBezTo>
                  <a:cubicBezTo>
                    <a:pt x="1191" y="513"/>
                    <a:pt x="1119" y="429"/>
                    <a:pt x="1024" y="429"/>
                  </a:cubicBezTo>
                  <a:lnTo>
                    <a:pt x="762" y="429"/>
                  </a:lnTo>
                  <a:lnTo>
                    <a:pt x="762" y="167"/>
                  </a:lnTo>
                  <a:cubicBezTo>
                    <a:pt x="762" y="72"/>
                    <a:pt x="691" y="1"/>
                    <a:pt x="5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48" name="Google Shape;11548;p61"/>
          <p:cNvGrpSpPr/>
          <p:nvPr/>
        </p:nvGrpSpPr>
        <p:grpSpPr>
          <a:xfrm>
            <a:off x="2206122" y="3360748"/>
            <a:ext cx="308183" cy="347561"/>
            <a:chOff x="2206122" y="3360748"/>
            <a:chExt cx="308183" cy="347561"/>
          </a:xfrm>
        </p:grpSpPr>
        <p:sp>
          <p:nvSpPr>
            <p:cNvPr id="11549" name="Google Shape;11549;p61"/>
            <p:cNvSpPr/>
            <p:nvPr/>
          </p:nvSpPr>
          <p:spPr>
            <a:xfrm>
              <a:off x="2206122" y="3543859"/>
              <a:ext cx="199932" cy="164451"/>
            </a:xfrm>
            <a:custGeom>
              <a:avLst/>
              <a:gdLst/>
              <a:ahLst/>
              <a:cxnLst/>
              <a:rect l="l" t="t" r="r" b="b"/>
              <a:pathLst>
                <a:path w="6311" h="5191" extrusionOk="0">
                  <a:moveTo>
                    <a:pt x="289" y="1"/>
                  </a:moveTo>
                  <a:cubicBezTo>
                    <a:pt x="219" y="1"/>
                    <a:pt x="162" y="52"/>
                    <a:pt x="143" y="118"/>
                  </a:cubicBezTo>
                  <a:cubicBezTo>
                    <a:pt x="48" y="476"/>
                    <a:pt x="0" y="845"/>
                    <a:pt x="0" y="1214"/>
                  </a:cubicBezTo>
                  <a:cubicBezTo>
                    <a:pt x="0" y="3405"/>
                    <a:pt x="1786" y="5191"/>
                    <a:pt x="3977" y="5191"/>
                  </a:cubicBezTo>
                  <a:cubicBezTo>
                    <a:pt x="4787" y="5191"/>
                    <a:pt x="5584" y="4941"/>
                    <a:pt x="6251" y="4476"/>
                  </a:cubicBezTo>
                  <a:cubicBezTo>
                    <a:pt x="6275" y="4429"/>
                    <a:pt x="6311" y="4321"/>
                    <a:pt x="6251" y="4250"/>
                  </a:cubicBezTo>
                  <a:cubicBezTo>
                    <a:pt x="6221" y="4204"/>
                    <a:pt x="6166" y="4183"/>
                    <a:pt x="6111" y="4183"/>
                  </a:cubicBezTo>
                  <a:cubicBezTo>
                    <a:pt x="6081" y="4183"/>
                    <a:pt x="6050" y="4189"/>
                    <a:pt x="6025" y="4202"/>
                  </a:cubicBezTo>
                  <a:cubicBezTo>
                    <a:pt x="5418" y="4643"/>
                    <a:pt x="4691" y="4857"/>
                    <a:pt x="3941" y="4857"/>
                  </a:cubicBezTo>
                  <a:cubicBezTo>
                    <a:pt x="1929" y="4857"/>
                    <a:pt x="298" y="3226"/>
                    <a:pt x="298" y="1214"/>
                  </a:cubicBezTo>
                  <a:cubicBezTo>
                    <a:pt x="298" y="869"/>
                    <a:pt x="346" y="535"/>
                    <a:pt x="441" y="202"/>
                  </a:cubicBezTo>
                  <a:cubicBezTo>
                    <a:pt x="477" y="118"/>
                    <a:pt x="417" y="23"/>
                    <a:pt x="346" y="11"/>
                  </a:cubicBezTo>
                  <a:cubicBezTo>
                    <a:pt x="326" y="4"/>
                    <a:pt x="307" y="1"/>
                    <a:pt x="2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0" name="Google Shape;11550;p61"/>
            <p:cNvSpPr/>
            <p:nvPr/>
          </p:nvSpPr>
          <p:spPr>
            <a:xfrm>
              <a:off x="2216291" y="3360748"/>
              <a:ext cx="298014" cy="312872"/>
            </a:xfrm>
            <a:custGeom>
              <a:avLst/>
              <a:gdLst/>
              <a:ahLst/>
              <a:cxnLst/>
              <a:rect l="l" t="t" r="r" b="b"/>
              <a:pathLst>
                <a:path w="9407" h="9876" extrusionOk="0">
                  <a:moveTo>
                    <a:pt x="6830" y="0"/>
                  </a:moveTo>
                  <a:cubicBezTo>
                    <a:pt x="6032" y="0"/>
                    <a:pt x="5248" y="384"/>
                    <a:pt x="4763" y="1100"/>
                  </a:cubicBezTo>
                  <a:cubicBezTo>
                    <a:pt x="4632" y="1315"/>
                    <a:pt x="4513" y="1529"/>
                    <a:pt x="4454" y="1791"/>
                  </a:cubicBezTo>
                  <a:cubicBezTo>
                    <a:pt x="4418" y="1874"/>
                    <a:pt x="4478" y="1969"/>
                    <a:pt x="4561" y="1981"/>
                  </a:cubicBezTo>
                  <a:cubicBezTo>
                    <a:pt x="4574" y="1985"/>
                    <a:pt x="4587" y="1987"/>
                    <a:pt x="4600" y="1987"/>
                  </a:cubicBezTo>
                  <a:cubicBezTo>
                    <a:pt x="4671" y="1987"/>
                    <a:pt x="4741" y="1935"/>
                    <a:pt x="4751" y="1874"/>
                  </a:cubicBezTo>
                  <a:cubicBezTo>
                    <a:pt x="4811" y="1672"/>
                    <a:pt x="4894" y="1469"/>
                    <a:pt x="5037" y="1279"/>
                  </a:cubicBezTo>
                  <a:cubicBezTo>
                    <a:pt x="5455" y="652"/>
                    <a:pt x="6135" y="315"/>
                    <a:pt x="6830" y="315"/>
                  </a:cubicBezTo>
                  <a:cubicBezTo>
                    <a:pt x="7244" y="315"/>
                    <a:pt x="7664" y="435"/>
                    <a:pt x="8037" y="684"/>
                  </a:cubicBezTo>
                  <a:cubicBezTo>
                    <a:pt x="8514" y="1017"/>
                    <a:pt x="8847" y="1481"/>
                    <a:pt x="8966" y="2065"/>
                  </a:cubicBezTo>
                  <a:cubicBezTo>
                    <a:pt x="9085" y="2636"/>
                    <a:pt x="8966" y="3220"/>
                    <a:pt x="8633" y="3684"/>
                  </a:cubicBezTo>
                  <a:cubicBezTo>
                    <a:pt x="8230" y="4289"/>
                    <a:pt x="7574" y="4641"/>
                    <a:pt x="6873" y="4641"/>
                  </a:cubicBezTo>
                  <a:cubicBezTo>
                    <a:pt x="6829" y="4641"/>
                    <a:pt x="6784" y="4639"/>
                    <a:pt x="6740" y="4636"/>
                  </a:cubicBezTo>
                  <a:lnTo>
                    <a:pt x="6716" y="4636"/>
                  </a:lnTo>
                  <a:cubicBezTo>
                    <a:pt x="6549" y="4625"/>
                    <a:pt x="6406" y="4613"/>
                    <a:pt x="6240" y="4565"/>
                  </a:cubicBezTo>
                  <a:cubicBezTo>
                    <a:pt x="6220" y="4560"/>
                    <a:pt x="6204" y="4557"/>
                    <a:pt x="6189" y="4557"/>
                  </a:cubicBezTo>
                  <a:cubicBezTo>
                    <a:pt x="6168" y="4557"/>
                    <a:pt x="6148" y="4563"/>
                    <a:pt x="6121" y="4577"/>
                  </a:cubicBezTo>
                  <a:lnTo>
                    <a:pt x="5120" y="5053"/>
                  </a:lnTo>
                  <a:lnTo>
                    <a:pt x="5168" y="3958"/>
                  </a:lnTo>
                  <a:cubicBezTo>
                    <a:pt x="5168" y="3910"/>
                    <a:pt x="5156" y="3886"/>
                    <a:pt x="5144" y="3851"/>
                  </a:cubicBezTo>
                  <a:cubicBezTo>
                    <a:pt x="4823" y="3470"/>
                    <a:pt x="4668" y="2993"/>
                    <a:pt x="4680" y="2481"/>
                  </a:cubicBezTo>
                  <a:cubicBezTo>
                    <a:pt x="4680" y="2398"/>
                    <a:pt x="4608" y="2315"/>
                    <a:pt x="4513" y="2315"/>
                  </a:cubicBezTo>
                  <a:cubicBezTo>
                    <a:pt x="4418" y="2315"/>
                    <a:pt x="4347" y="2398"/>
                    <a:pt x="4347" y="2481"/>
                  </a:cubicBezTo>
                  <a:cubicBezTo>
                    <a:pt x="4347" y="2708"/>
                    <a:pt x="4382" y="2934"/>
                    <a:pt x="4442" y="3136"/>
                  </a:cubicBezTo>
                  <a:cubicBezTo>
                    <a:pt x="4168" y="3077"/>
                    <a:pt x="3894" y="3053"/>
                    <a:pt x="3620" y="3053"/>
                  </a:cubicBezTo>
                  <a:cubicBezTo>
                    <a:pt x="2858" y="3053"/>
                    <a:pt x="2132" y="3255"/>
                    <a:pt x="1489" y="3660"/>
                  </a:cubicBezTo>
                  <a:cubicBezTo>
                    <a:pt x="882" y="4041"/>
                    <a:pt x="370" y="4601"/>
                    <a:pt x="48" y="5256"/>
                  </a:cubicBezTo>
                  <a:cubicBezTo>
                    <a:pt x="1" y="5327"/>
                    <a:pt x="48" y="5434"/>
                    <a:pt x="120" y="5458"/>
                  </a:cubicBezTo>
                  <a:cubicBezTo>
                    <a:pt x="156" y="5470"/>
                    <a:pt x="167" y="5470"/>
                    <a:pt x="191" y="5470"/>
                  </a:cubicBezTo>
                  <a:cubicBezTo>
                    <a:pt x="251" y="5470"/>
                    <a:pt x="322" y="5446"/>
                    <a:pt x="346" y="5387"/>
                  </a:cubicBezTo>
                  <a:cubicBezTo>
                    <a:pt x="965" y="4136"/>
                    <a:pt x="2227" y="3362"/>
                    <a:pt x="3620" y="3362"/>
                  </a:cubicBezTo>
                  <a:cubicBezTo>
                    <a:pt x="3942" y="3362"/>
                    <a:pt x="4263" y="3410"/>
                    <a:pt x="4573" y="3482"/>
                  </a:cubicBezTo>
                  <a:cubicBezTo>
                    <a:pt x="4644" y="3660"/>
                    <a:pt x="4751" y="3827"/>
                    <a:pt x="4859" y="3970"/>
                  </a:cubicBezTo>
                  <a:lnTo>
                    <a:pt x="4799" y="5279"/>
                  </a:lnTo>
                  <a:cubicBezTo>
                    <a:pt x="4799" y="5339"/>
                    <a:pt x="4823" y="5387"/>
                    <a:pt x="4870" y="5410"/>
                  </a:cubicBezTo>
                  <a:cubicBezTo>
                    <a:pt x="4894" y="5434"/>
                    <a:pt x="4930" y="5446"/>
                    <a:pt x="4954" y="5446"/>
                  </a:cubicBezTo>
                  <a:cubicBezTo>
                    <a:pt x="4989" y="5446"/>
                    <a:pt x="5001" y="5446"/>
                    <a:pt x="5037" y="5434"/>
                  </a:cubicBezTo>
                  <a:lnTo>
                    <a:pt x="6228" y="4875"/>
                  </a:lnTo>
                  <a:cubicBezTo>
                    <a:pt x="6359" y="4910"/>
                    <a:pt x="6502" y="4934"/>
                    <a:pt x="6644" y="4958"/>
                  </a:cubicBezTo>
                  <a:cubicBezTo>
                    <a:pt x="7061" y="5565"/>
                    <a:pt x="7264" y="6268"/>
                    <a:pt x="7264" y="7006"/>
                  </a:cubicBezTo>
                  <a:cubicBezTo>
                    <a:pt x="7264" y="7994"/>
                    <a:pt x="6883" y="8911"/>
                    <a:pt x="6180" y="9613"/>
                  </a:cubicBezTo>
                  <a:cubicBezTo>
                    <a:pt x="6121" y="9673"/>
                    <a:pt x="6121" y="9780"/>
                    <a:pt x="6180" y="9839"/>
                  </a:cubicBezTo>
                  <a:cubicBezTo>
                    <a:pt x="6204" y="9863"/>
                    <a:pt x="6252" y="9875"/>
                    <a:pt x="6299" y="9875"/>
                  </a:cubicBezTo>
                  <a:cubicBezTo>
                    <a:pt x="6347" y="9875"/>
                    <a:pt x="6371" y="9863"/>
                    <a:pt x="6418" y="9839"/>
                  </a:cubicBezTo>
                  <a:cubicBezTo>
                    <a:pt x="7192" y="9077"/>
                    <a:pt x="7609" y="8077"/>
                    <a:pt x="7609" y="7006"/>
                  </a:cubicBezTo>
                  <a:cubicBezTo>
                    <a:pt x="7609" y="6279"/>
                    <a:pt x="7418" y="5577"/>
                    <a:pt x="7037" y="4958"/>
                  </a:cubicBezTo>
                  <a:cubicBezTo>
                    <a:pt x="7787" y="4898"/>
                    <a:pt x="8490" y="4505"/>
                    <a:pt x="8930" y="3851"/>
                  </a:cubicBezTo>
                  <a:cubicBezTo>
                    <a:pt x="9276" y="3303"/>
                    <a:pt x="9407" y="2648"/>
                    <a:pt x="9276" y="1993"/>
                  </a:cubicBezTo>
                  <a:cubicBezTo>
                    <a:pt x="9145" y="1338"/>
                    <a:pt x="8776" y="791"/>
                    <a:pt x="8216" y="422"/>
                  </a:cubicBezTo>
                  <a:cubicBezTo>
                    <a:pt x="7789" y="137"/>
                    <a:pt x="7307" y="0"/>
                    <a:pt x="68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1" name="Google Shape;11551;p61"/>
            <p:cNvSpPr/>
            <p:nvPr/>
          </p:nvSpPr>
          <p:spPr>
            <a:xfrm>
              <a:off x="2392812" y="3401615"/>
              <a:ext cx="83033" cy="80372"/>
            </a:xfrm>
            <a:custGeom>
              <a:avLst/>
              <a:gdLst/>
              <a:ahLst/>
              <a:cxnLst/>
              <a:rect l="l" t="t" r="r" b="b"/>
              <a:pathLst>
                <a:path w="2621" h="2537" extrusionOk="0">
                  <a:moveTo>
                    <a:pt x="1608" y="334"/>
                  </a:moveTo>
                  <a:cubicBezTo>
                    <a:pt x="1775" y="334"/>
                    <a:pt x="1918" y="394"/>
                    <a:pt x="2037" y="513"/>
                  </a:cubicBezTo>
                  <a:cubicBezTo>
                    <a:pt x="2275" y="739"/>
                    <a:pt x="2275" y="1132"/>
                    <a:pt x="2037" y="1370"/>
                  </a:cubicBezTo>
                  <a:cubicBezTo>
                    <a:pt x="1918" y="1489"/>
                    <a:pt x="1763" y="1549"/>
                    <a:pt x="1608" y="1549"/>
                  </a:cubicBezTo>
                  <a:cubicBezTo>
                    <a:pt x="1453" y="1549"/>
                    <a:pt x="1299" y="1489"/>
                    <a:pt x="1180" y="1370"/>
                  </a:cubicBezTo>
                  <a:cubicBezTo>
                    <a:pt x="941" y="1132"/>
                    <a:pt x="941" y="751"/>
                    <a:pt x="1180" y="513"/>
                  </a:cubicBezTo>
                  <a:cubicBezTo>
                    <a:pt x="1299" y="394"/>
                    <a:pt x="1442" y="334"/>
                    <a:pt x="1608" y="334"/>
                  </a:cubicBezTo>
                  <a:close/>
                  <a:moveTo>
                    <a:pt x="1608" y="1"/>
                  </a:moveTo>
                  <a:cubicBezTo>
                    <a:pt x="1358" y="1"/>
                    <a:pt x="1120" y="108"/>
                    <a:pt x="953" y="275"/>
                  </a:cubicBezTo>
                  <a:cubicBezTo>
                    <a:pt x="620" y="596"/>
                    <a:pt x="596" y="1108"/>
                    <a:pt x="846" y="1477"/>
                  </a:cubicBezTo>
                  <a:lnTo>
                    <a:pt x="60" y="2263"/>
                  </a:lnTo>
                  <a:cubicBezTo>
                    <a:pt x="1" y="2322"/>
                    <a:pt x="1" y="2430"/>
                    <a:pt x="60" y="2489"/>
                  </a:cubicBezTo>
                  <a:cubicBezTo>
                    <a:pt x="84" y="2525"/>
                    <a:pt x="132" y="2537"/>
                    <a:pt x="179" y="2537"/>
                  </a:cubicBezTo>
                  <a:cubicBezTo>
                    <a:pt x="227" y="2537"/>
                    <a:pt x="263" y="2525"/>
                    <a:pt x="299" y="2489"/>
                  </a:cubicBezTo>
                  <a:lnTo>
                    <a:pt x="1084" y="1703"/>
                  </a:lnTo>
                  <a:cubicBezTo>
                    <a:pt x="1251" y="1822"/>
                    <a:pt x="1430" y="1870"/>
                    <a:pt x="1620" y="1870"/>
                  </a:cubicBezTo>
                  <a:cubicBezTo>
                    <a:pt x="1858" y="1870"/>
                    <a:pt x="2096" y="1775"/>
                    <a:pt x="2275" y="1596"/>
                  </a:cubicBezTo>
                  <a:cubicBezTo>
                    <a:pt x="2620" y="1227"/>
                    <a:pt x="2620" y="644"/>
                    <a:pt x="2263" y="275"/>
                  </a:cubicBezTo>
                  <a:cubicBezTo>
                    <a:pt x="2084" y="96"/>
                    <a:pt x="1846"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2" name="Google Shape;11552;p61"/>
            <p:cNvSpPr/>
            <p:nvPr/>
          </p:nvSpPr>
          <p:spPr>
            <a:xfrm>
              <a:off x="2229502" y="3535147"/>
              <a:ext cx="201833" cy="94723"/>
            </a:xfrm>
            <a:custGeom>
              <a:avLst/>
              <a:gdLst/>
              <a:ahLst/>
              <a:cxnLst/>
              <a:rect l="l" t="t" r="r" b="b"/>
              <a:pathLst>
                <a:path w="6371" h="2990" extrusionOk="0">
                  <a:moveTo>
                    <a:pt x="3191" y="310"/>
                  </a:moveTo>
                  <a:cubicBezTo>
                    <a:pt x="3477" y="310"/>
                    <a:pt x="3751" y="346"/>
                    <a:pt x="4025" y="393"/>
                  </a:cubicBezTo>
                  <a:cubicBezTo>
                    <a:pt x="4191" y="584"/>
                    <a:pt x="4275" y="834"/>
                    <a:pt x="4275" y="1084"/>
                  </a:cubicBezTo>
                  <a:cubicBezTo>
                    <a:pt x="4275" y="1703"/>
                    <a:pt x="3787" y="2191"/>
                    <a:pt x="3179" y="2191"/>
                  </a:cubicBezTo>
                  <a:cubicBezTo>
                    <a:pt x="2560" y="2191"/>
                    <a:pt x="2072" y="1703"/>
                    <a:pt x="2072" y="1084"/>
                  </a:cubicBezTo>
                  <a:cubicBezTo>
                    <a:pt x="2108" y="846"/>
                    <a:pt x="2191" y="596"/>
                    <a:pt x="2358" y="393"/>
                  </a:cubicBezTo>
                  <a:cubicBezTo>
                    <a:pt x="2620" y="346"/>
                    <a:pt x="2906" y="310"/>
                    <a:pt x="3191" y="310"/>
                  </a:cubicBezTo>
                  <a:close/>
                  <a:moveTo>
                    <a:pt x="1905" y="489"/>
                  </a:moveTo>
                  <a:lnTo>
                    <a:pt x="1905" y="489"/>
                  </a:lnTo>
                  <a:cubicBezTo>
                    <a:pt x="1822" y="691"/>
                    <a:pt x="1775" y="894"/>
                    <a:pt x="1775" y="1108"/>
                  </a:cubicBezTo>
                  <a:cubicBezTo>
                    <a:pt x="1775" y="1894"/>
                    <a:pt x="2417" y="2513"/>
                    <a:pt x="3191" y="2513"/>
                  </a:cubicBezTo>
                  <a:cubicBezTo>
                    <a:pt x="3965" y="2513"/>
                    <a:pt x="4608" y="1882"/>
                    <a:pt x="4608" y="1108"/>
                  </a:cubicBezTo>
                  <a:cubicBezTo>
                    <a:pt x="4608" y="894"/>
                    <a:pt x="4561" y="691"/>
                    <a:pt x="4465" y="489"/>
                  </a:cubicBezTo>
                  <a:lnTo>
                    <a:pt x="4465" y="489"/>
                  </a:lnTo>
                  <a:cubicBezTo>
                    <a:pt x="5180" y="691"/>
                    <a:pt x="5751" y="1060"/>
                    <a:pt x="6001" y="1489"/>
                  </a:cubicBezTo>
                  <a:cubicBezTo>
                    <a:pt x="5620" y="2191"/>
                    <a:pt x="4465" y="2668"/>
                    <a:pt x="3203" y="2668"/>
                  </a:cubicBezTo>
                  <a:cubicBezTo>
                    <a:pt x="1929" y="2668"/>
                    <a:pt x="798" y="2191"/>
                    <a:pt x="381" y="1489"/>
                  </a:cubicBezTo>
                  <a:cubicBezTo>
                    <a:pt x="632" y="1060"/>
                    <a:pt x="1191" y="691"/>
                    <a:pt x="1905" y="489"/>
                  </a:cubicBezTo>
                  <a:close/>
                  <a:moveTo>
                    <a:pt x="3191" y="1"/>
                  </a:moveTo>
                  <a:cubicBezTo>
                    <a:pt x="2858" y="1"/>
                    <a:pt x="2548" y="36"/>
                    <a:pt x="2239" y="96"/>
                  </a:cubicBezTo>
                  <a:cubicBezTo>
                    <a:pt x="1179" y="286"/>
                    <a:pt x="358" y="786"/>
                    <a:pt x="36" y="1429"/>
                  </a:cubicBezTo>
                  <a:cubicBezTo>
                    <a:pt x="0" y="1477"/>
                    <a:pt x="0" y="1536"/>
                    <a:pt x="36" y="1584"/>
                  </a:cubicBezTo>
                  <a:cubicBezTo>
                    <a:pt x="465" y="2429"/>
                    <a:pt x="1727" y="2989"/>
                    <a:pt x="3191" y="2989"/>
                  </a:cubicBezTo>
                  <a:cubicBezTo>
                    <a:pt x="4644" y="2989"/>
                    <a:pt x="5918" y="2429"/>
                    <a:pt x="6347" y="1584"/>
                  </a:cubicBezTo>
                  <a:cubicBezTo>
                    <a:pt x="6370" y="1525"/>
                    <a:pt x="6370" y="1477"/>
                    <a:pt x="6347" y="1429"/>
                  </a:cubicBezTo>
                  <a:cubicBezTo>
                    <a:pt x="6013" y="786"/>
                    <a:pt x="5204" y="286"/>
                    <a:pt x="4144" y="96"/>
                  </a:cubicBezTo>
                  <a:cubicBezTo>
                    <a:pt x="3822" y="36"/>
                    <a:pt x="3513" y="1"/>
                    <a:pt x="3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3" name="Google Shape;11553;p61"/>
            <p:cNvSpPr/>
            <p:nvPr/>
          </p:nvSpPr>
          <p:spPr>
            <a:xfrm>
              <a:off x="2236281" y="3609215"/>
              <a:ext cx="81893" cy="38364"/>
            </a:xfrm>
            <a:custGeom>
              <a:avLst/>
              <a:gdLst/>
              <a:ahLst/>
              <a:cxnLst/>
              <a:rect l="l" t="t" r="r" b="b"/>
              <a:pathLst>
                <a:path w="2585" h="1211" extrusionOk="0">
                  <a:moveTo>
                    <a:pt x="180" y="1"/>
                  </a:moveTo>
                  <a:cubicBezTo>
                    <a:pt x="140" y="1"/>
                    <a:pt x="101" y="15"/>
                    <a:pt x="72" y="44"/>
                  </a:cubicBezTo>
                  <a:cubicBezTo>
                    <a:pt x="1" y="103"/>
                    <a:pt x="1" y="211"/>
                    <a:pt x="60" y="270"/>
                  </a:cubicBezTo>
                  <a:cubicBezTo>
                    <a:pt x="525" y="818"/>
                    <a:pt x="1418" y="1175"/>
                    <a:pt x="2406" y="1211"/>
                  </a:cubicBezTo>
                  <a:cubicBezTo>
                    <a:pt x="2501" y="1211"/>
                    <a:pt x="2573" y="1127"/>
                    <a:pt x="2573" y="1056"/>
                  </a:cubicBezTo>
                  <a:cubicBezTo>
                    <a:pt x="2584" y="949"/>
                    <a:pt x="2513" y="877"/>
                    <a:pt x="2430" y="877"/>
                  </a:cubicBezTo>
                  <a:cubicBezTo>
                    <a:pt x="1513" y="853"/>
                    <a:pt x="703" y="532"/>
                    <a:pt x="298" y="56"/>
                  </a:cubicBezTo>
                  <a:cubicBezTo>
                    <a:pt x="267" y="18"/>
                    <a:pt x="223"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54" name="Google Shape;11554;p61"/>
          <p:cNvGrpSpPr/>
          <p:nvPr/>
        </p:nvGrpSpPr>
        <p:grpSpPr>
          <a:xfrm>
            <a:off x="5353403" y="3785609"/>
            <a:ext cx="277992" cy="354974"/>
            <a:chOff x="5353403" y="3785609"/>
            <a:chExt cx="277992" cy="354974"/>
          </a:xfrm>
        </p:grpSpPr>
        <p:sp>
          <p:nvSpPr>
            <p:cNvPr id="11555" name="Google Shape;11555;p61"/>
            <p:cNvSpPr/>
            <p:nvPr/>
          </p:nvSpPr>
          <p:spPr>
            <a:xfrm>
              <a:off x="5476734" y="3952562"/>
              <a:ext cx="33232" cy="15998"/>
            </a:xfrm>
            <a:custGeom>
              <a:avLst/>
              <a:gdLst/>
              <a:ahLst/>
              <a:cxnLst/>
              <a:rect l="l" t="t" r="r" b="b"/>
              <a:pathLst>
                <a:path w="1049" h="505" extrusionOk="0">
                  <a:moveTo>
                    <a:pt x="189" y="0"/>
                  </a:moveTo>
                  <a:cubicBezTo>
                    <a:pt x="154" y="0"/>
                    <a:pt x="117" y="10"/>
                    <a:pt x="84" y="29"/>
                  </a:cubicBezTo>
                  <a:cubicBezTo>
                    <a:pt x="12" y="64"/>
                    <a:pt x="0" y="171"/>
                    <a:pt x="48" y="255"/>
                  </a:cubicBezTo>
                  <a:cubicBezTo>
                    <a:pt x="155" y="398"/>
                    <a:pt x="334" y="505"/>
                    <a:pt x="536" y="505"/>
                  </a:cubicBezTo>
                  <a:cubicBezTo>
                    <a:pt x="727" y="505"/>
                    <a:pt x="917" y="410"/>
                    <a:pt x="1024" y="255"/>
                  </a:cubicBezTo>
                  <a:cubicBezTo>
                    <a:pt x="1048" y="171"/>
                    <a:pt x="1024" y="76"/>
                    <a:pt x="953" y="29"/>
                  </a:cubicBezTo>
                  <a:cubicBezTo>
                    <a:pt x="924" y="10"/>
                    <a:pt x="890" y="0"/>
                    <a:pt x="856" y="0"/>
                  </a:cubicBezTo>
                  <a:cubicBezTo>
                    <a:pt x="805" y="0"/>
                    <a:pt x="755" y="21"/>
                    <a:pt x="727" y="64"/>
                  </a:cubicBezTo>
                  <a:cubicBezTo>
                    <a:pt x="691" y="124"/>
                    <a:pt x="608" y="171"/>
                    <a:pt x="524" y="171"/>
                  </a:cubicBezTo>
                  <a:cubicBezTo>
                    <a:pt x="429" y="171"/>
                    <a:pt x="346" y="136"/>
                    <a:pt x="310" y="64"/>
                  </a:cubicBezTo>
                  <a:cubicBezTo>
                    <a:pt x="289" y="21"/>
                    <a:pt x="241"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6" name="Google Shape;11556;p61"/>
            <p:cNvSpPr/>
            <p:nvPr/>
          </p:nvSpPr>
          <p:spPr>
            <a:xfrm>
              <a:off x="5457124" y="3902540"/>
              <a:ext cx="10201" cy="15872"/>
            </a:xfrm>
            <a:custGeom>
              <a:avLst/>
              <a:gdLst/>
              <a:ahLst/>
              <a:cxnLst/>
              <a:rect l="l" t="t" r="r" b="b"/>
              <a:pathLst>
                <a:path w="322" h="501" extrusionOk="0">
                  <a:moveTo>
                    <a:pt x="155" y="0"/>
                  </a:moveTo>
                  <a:cubicBezTo>
                    <a:pt x="72" y="0"/>
                    <a:pt x="0" y="72"/>
                    <a:pt x="0" y="167"/>
                  </a:cubicBezTo>
                  <a:lnTo>
                    <a:pt x="0" y="346"/>
                  </a:lnTo>
                  <a:cubicBezTo>
                    <a:pt x="0" y="429"/>
                    <a:pt x="72" y="500"/>
                    <a:pt x="155" y="500"/>
                  </a:cubicBezTo>
                  <a:cubicBezTo>
                    <a:pt x="250" y="500"/>
                    <a:pt x="322" y="429"/>
                    <a:pt x="322" y="346"/>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7" name="Google Shape;11557;p61"/>
            <p:cNvSpPr/>
            <p:nvPr/>
          </p:nvSpPr>
          <p:spPr>
            <a:xfrm>
              <a:off x="5518234" y="3902540"/>
              <a:ext cx="10581" cy="15872"/>
            </a:xfrm>
            <a:custGeom>
              <a:avLst/>
              <a:gdLst/>
              <a:ahLst/>
              <a:cxnLst/>
              <a:rect l="l" t="t" r="r" b="b"/>
              <a:pathLst>
                <a:path w="334" h="501" extrusionOk="0">
                  <a:moveTo>
                    <a:pt x="167" y="0"/>
                  </a:moveTo>
                  <a:cubicBezTo>
                    <a:pt x="72" y="0"/>
                    <a:pt x="0" y="72"/>
                    <a:pt x="0" y="167"/>
                  </a:cubicBezTo>
                  <a:lnTo>
                    <a:pt x="0" y="346"/>
                  </a:lnTo>
                  <a:cubicBezTo>
                    <a:pt x="0" y="429"/>
                    <a:pt x="72" y="500"/>
                    <a:pt x="167" y="500"/>
                  </a:cubicBezTo>
                  <a:cubicBezTo>
                    <a:pt x="250" y="500"/>
                    <a:pt x="333" y="429"/>
                    <a:pt x="333" y="346"/>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8" name="Google Shape;11558;p61"/>
            <p:cNvSpPr/>
            <p:nvPr/>
          </p:nvSpPr>
          <p:spPr>
            <a:xfrm>
              <a:off x="5353403" y="3785609"/>
              <a:ext cx="277992" cy="354974"/>
            </a:xfrm>
            <a:custGeom>
              <a:avLst/>
              <a:gdLst/>
              <a:ahLst/>
              <a:cxnLst/>
              <a:rect l="l" t="t" r="r" b="b"/>
              <a:pathLst>
                <a:path w="8775" h="11205" extrusionOk="0">
                  <a:moveTo>
                    <a:pt x="2822" y="846"/>
                  </a:moveTo>
                  <a:lnTo>
                    <a:pt x="2822" y="2274"/>
                  </a:lnTo>
                  <a:cubicBezTo>
                    <a:pt x="2822" y="2274"/>
                    <a:pt x="2822" y="2286"/>
                    <a:pt x="2810" y="2286"/>
                  </a:cubicBezTo>
                  <a:lnTo>
                    <a:pt x="2453" y="2286"/>
                  </a:lnTo>
                  <a:cubicBezTo>
                    <a:pt x="2453" y="2286"/>
                    <a:pt x="2441" y="2286"/>
                    <a:pt x="2441" y="2274"/>
                  </a:cubicBezTo>
                  <a:lnTo>
                    <a:pt x="2441" y="1215"/>
                  </a:lnTo>
                  <a:lnTo>
                    <a:pt x="2453" y="1215"/>
                  </a:lnTo>
                  <a:cubicBezTo>
                    <a:pt x="2453" y="1155"/>
                    <a:pt x="2477" y="1096"/>
                    <a:pt x="2524" y="1072"/>
                  </a:cubicBezTo>
                  <a:lnTo>
                    <a:pt x="2822" y="846"/>
                  </a:lnTo>
                  <a:close/>
                  <a:moveTo>
                    <a:pt x="4739" y="322"/>
                  </a:moveTo>
                  <a:cubicBezTo>
                    <a:pt x="4739" y="322"/>
                    <a:pt x="4763" y="322"/>
                    <a:pt x="4763" y="346"/>
                  </a:cubicBezTo>
                  <a:lnTo>
                    <a:pt x="4763" y="2274"/>
                  </a:lnTo>
                  <a:cubicBezTo>
                    <a:pt x="4763" y="2274"/>
                    <a:pt x="4763" y="2286"/>
                    <a:pt x="4739" y="2286"/>
                  </a:cubicBezTo>
                  <a:lnTo>
                    <a:pt x="4048" y="2286"/>
                  </a:lnTo>
                  <a:cubicBezTo>
                    <a:pt x="4048" y="2286"/>
                    <a:pt x="4024" y="2286"/>
                    <a:pt x="4024" y="2274"/>
                  </a:cubicBezTo>
                  <a:lnTo>
                    <a:pt x="4024" y="346"/>
                  </a:lnTo>
                  <a:cubicBezTo>
                    <a:pt x="4024" y="334"/>
                    <a:pt x="4030" y="328"/>
                    <a:pt x="4033" y="328"/>
                  </a:cubicBezTo>
                  <a:cubicBezTo>
                    <a:pt x="4036" y="328"/>
                    <a:pt x="4036" y="334"/>
                    <a:pt x="4024" y="346"/>
                  </a:cubicBezTo>
                  <a:lnTo>
                    <a:pt x="4739" y="322"/>
                  </a:lnTo>
                  <a:close/>
                  <a:moveTo>
                    <a:pt x="5965" y="846"/>
                  </a:moveTo>
                  <a:lnTo>
                    <a:pt x="6263" y="1072"/>
                  </a:lnTo>
                  <a:cubicBezTo>
                    <a:pt x="6310" y="1096"/>
                    <a:pt x="6334" y="1155"/>
                    <a:pt x="6334" y="1215"/>
                  </a:cubicBezTo>
                  <a:lnTo>
                    <a:pt x="6334" y="2274"/>
                  </a:lnTo>
                  <a:cubicBezTo>
                    <a:pt x="6334" y="2274"/>
                    <a:pt x="6334" y="2286"/>
                    <a:pt x="6322" y="2286"/>
                  </a:cubicBezTo>
                  <a:lnTo>
                    <a:pt x="5965" y="2286"/>
                  </a:lnTo>
                  <a:cubicBezTo>
                    <a:pt x="5965" y="2286"/>
                    <a:pt x="5953" y="2286"/>
                    <a:pt x="5953" y="2274"/>
                  </a:cubicBezTo>
                  <a:lnTo>
                    <a:pt x="5953" y="846"/>
                  </a:lnTo>
                  <a:close/>
                  <a:moveTo>
                    <a:pt x="5072" y="596"/>
                  </a:moveTo>
                  <a:cubicBezTo>
                    <a:pt x="5263" y="631"/>
                    <a:pt x="5441" y="715"/>
                    <a:pt x="5620" y="822"/>
                  </a:cubicBezTo>
                  <a:lnTo>
                    <a:pt x="5620" y="2274"/>
                  </a:lnTo>
                  <a:cubicBezTo>
                    <a:pt x="5620" y="2465"/>
                    <a:pt x="5775" y="2620"/>
                    <a:pt x="5965" y="2620"/>
                  </a:cubicBezTo>
                  <a:lnTo>
                    <a:pt x="6322" y="2620"/>
                  </a:lnTo>
                  <a:cubicBezTo>
                    <a:pt x="6513" y="2620"/>
                    <a:pt x="6668" y="2465"/>
                    <a:pt x="6668" y="2274"/>
                  </a:cubicBezTo>
                  <a:lnTo>
                    <a:pt x="6668" y="1798"/>
                  </a:lnTo>
                  <a:cubicBezTo>
                    <a:pt x="6870" y="2155"/>
                    <a:pt x="7001" y="2572"/>
                    <a:pt x="7037" y="2989"/>
                  </a:cubicBezTo>
                  <a:lnTo>
                    <a:pt x="6501" y="2989"/>
                  </a:lnTo>
                  <a:cubicBezTo>
                    <a:pt x="6406" y="2989"/>
                    <a:pt x="6334" y="3060"/>
                    <a:pt x="6334" y="3155"/>
                  </a:cubicBezTo>
                  <a:cubicBezTo>
                    <a:pt x="6334" y="3239"/>
                    <a:pt x="6406" y="3310"/>
                    <a:pt x="6501" y="3310"/>
                  </a:cubicBezTo>
                  <a:lnTo>
                    <a:pt x="6858" y="3310"/>
                  </a:lnTo>
                  <a:lnTo>
                    <a:pt x="6858" y="3536"/>
                  </a:lnTo>
                  <a:cubicBezTo>
                    <a:pt x="6799" y="3572"/>
                    <a:pt x="6763" y="3632"/>
                    <a:pt x="6763" y="3691"/>
                  </a:cubicBezTo>
                  <a:cubicBezTo>
                    <a:pt x="6763" y="3775"/>
                    <a:pt x="6846" y="3846"/>
                    <a:pt x="6929" y="3846"/>
                  </a:cubicBezTo>
                  <a:cubicBezTo>
                    <a:pt x="7001" y="3846"/>
                    <a:pt x="7084" y="3882"/>
                    <a:pt x="7144" y="3941"/>
                  </a:cubicBezTo>
                  <a:cubicBezTo>
                    <a:pt x="7203" y="4001"/>
                    <a:pt x="7215" y="4072"/>
                    <a:pt x="7215" y="4144"/>
                  </a:cubicBezTo>
                  <a:cubicBezTo>
                    <a:pt x="7203" y="4287"/>
                    <a:pt x="7060" y="4406"/>
                    <a:pt x="6918" y="4406"/>
                  </a:cubicBezTo>
                  <a:lnTo>
                    <a:pt x="6846" y="4406"/>
                  </a:lnTo>
                  <a:lnTo>
                    <a:pt x="6846" y="4394"/>
                  </a:lnTo>
                  <a:cubicBezTo>
                    <a:pt x="6846" y="4298"/>
                    <a:pt x="6763" y="4227"/>
                    <a:pt x="6679" y="4227"/>
                  </a:cubicBezTo>
                  <a:cubicBezTo>
                    <a:pt x="6584" y="4227"/>
                    <a:pt x="6513" y="4298"/>
                    <a:pt x="6513" y="4394"/>
                  </a:cubicBezTo>
                  <a:cubicBezTo>
                    <a:pt x="6513" y="5096"/>
                    <a:pt x="6156" y="5763"/>
                    <a:pt x="5572" y="6144"/>
                  </a:cubicBezTo>
                  <a:lnTo>
                    <a:pt x="5572" y="6108"/>
                  </a:lnTo>
                  <a:lnTo>
                    <a:pt x="5489" y="5370"/>
                  </a:lnTo>
                  <a:cubicBezTo>
                    <a:pt x="5441" y="5013"/>
                    <a:pt x="5155" y="4763"/>
                    <a:pt x="4798" y="4763"/>
                  </a:cubicBezTo>
                  <a:lnTo>
                    <a:pt x="3989" y="4763"/>
                  </a:lnTo>
                  <a:cubicBezTo>
                    <a:pt x="3631" y="4763"/>
                    <a:pt x="3334" y="5025"/>
                    <a:pt x="3298" y="5370"/>
                  </a:cubicBezTo>
                  <a:lnTo>
                    <a:pt x="3215" y="6108"/>
                  </a:lnTo>
                  <a:lnTo>
                    <a:pt x="3215" y="6144"/>
                  </a:lnTo>
                  <a:cubicBezTo>
                    <a:pt x="2977" y="5965"/>
                    <a:pt x="2774" y="5763"/>
                    <a:pt x="2619" y="5525"/>
                  </a:cubicBezTo>
                  <a:cubicBezTo>
                    <a:pt x="2393" y="5180"/>
                    <a:pt x="2274" y="4787"/>
                    <a:pt x="2274" y="4370"/>
                  </a:cubicBezTo>
                  <a:cubicBezTo>
                    <a:pt x="2274" y="4287"/>
                    <a:pt x="2203" y="4203"/>
                    <a:pt x="2107" y="4203"/>
                  </a:cubicBezTo>
                  <a:cubicBezTo>
                    <a:pt x="2024" y="4203"/>
                    <a:pt x="1941" y="4287"/>
                    <a:pt x="1941" y="4370"/>
                  </a:cubicBezTo>
                  <a:lnTo>
                    <a:pt x="1941" y="4394"/>
                  </a:lnTo>
                  <a:lnTo>
                    <a:pt x="1846" y="4394"/>
                  </a:lnTo>
                  <a:cubicBezTo>
                    <a:pt x="1762" y="4394"/>
                    <a:pt x="1691" y="4358"/>
                    <a:pt x="1631" y="4298"/>
                  </a:cubicBezTo>
                  <a:cubicBezTo>
                    <a:pt x="1572" y="4239"/>
                    <a:pt x="1560" y="4167"/>
                    <a:pt x="1560" y="4096"/>
                  </a:cubicBezTo>
                  <a:cubicBezTo>
                    <a:pt x="1572" y="3953"/>
                    <a:pt x="1703" y="3834"/>
                    <a:pt x="1857" y="3834"/>
                  </a:cubicBezTo>
                  <a:cubicBezTo>
                    <a:pt x="1941" y="3834"/>
                    <a:pt x="2024" y="3763"/>
                    <a:pt x="2024" y="3667"/>
                  </a:cubicBezTo>
                  <a:cubicBezTo>
                    <a:pt x="2024" y="3596"/>
                    <a:pt x="1976" y="3536"/>
                    <a:pt x="1905" y="3525"/>
                  </a:cubicBezTo>
                  <a:lnTo>
                    <a:pt x="1905" y="3310"/>
                  </a:lnTo>
                  <a:lnTo>
                    <a:pt x="5775" y="3310"/>
                  </a:lnTo>
                  <a:cubicBezTo>
                    <a:pt x="5858" y="3310"/>
                    <a:pt x="5929" y="3239"/>
                    <a:pt x="5929" y="3155"/>
                  </a:cubicBezTo>
                  <a:cubicBezTo>
                    <a:pt x="5929" y="3060"/>
                    <a:pt x="5858" y="2989"/>
                    <a:pt x="5775" y="2989"/>
                  </a:cubicBezTo>
                  <a:lnTo>
                    <a:pt x="1726" y="2989"/>
                  </a:lnTo>
                  <a:cubicBezTo>
                    <a:pt x="1750" y="2572"/>
                    <a:pt x="1869" y="2155"/>
                    <a:pt x="2096" y="1798"/>
                  </a:cubicBezTo>
                  <a:lnTo>
                    <a:pt x="2096" y="2274"/>
                  </a:lnTo>
                  <a:cubicBezTo>
                    <a:pt x="2096" y="2465"/>
                    <a:pt x="2238" y="2620"/>
                    <a:pt x="2441" y="2620"/>
                  </a:cubicBezTo>
                  <a:lnTo>
                    <a:pt x="2798" y="2620"/>
                  </a:lnTo>
                  <a:cubicBezTo>
                    <a:pt x="2989" y="2620"/>
                    <a:pt x="3131" y="2465"/>
                    <a:pt x="3131" y="2274"/>
                  </a:cubicBezTo>
                  <a:lnTo>
                    <a:pt x="3131" y="822"/>
                  </a:lnTo>
                  <a:cubicBezTo>
                    <a:pt x="3310" y="727"/>
                    <a:pt x="3489" y="655"/>
                    <a:pt x="3691" y="596"/>
                  </a:cubicBezTo>
                  <a:lnTo>
                    <a:pt x="3691" y="2274"/>
                  </a:lnTo>
                  <a:cubicBezTo>
                    <a:pt x="3691" y="2465"/>
                    <a:pt x="3834" y="2620"/>
                    <a:pt x="4024" y="2620"/>
                  </a:cubicBezTo>
                  <a:lnTo>
                    <a:pt x="4727" y="2620"/>
                  </a:lnTo>
                  <a:cubicBezTo>
                    <a:pt x="4917" y="2620"/>
                    <a:pt x="5072" y="2465"/>
                    <a:pt x="5072" y="2274"/>
                  </a:cubicBezTo>
                  <a:lnTo>
                    <a:pt x="5072" y="596"/>
                  </a:lnTo>
                  <a:close/>
                  <a:moveTo>
                    <a:pt x="4822" y="5072"/>
                  </a:moveTo>
                  <a:cubicBezTo>
                    <a:pt x="5001" y="5072"/>
                    <a:pt x="5155" y="5203"/>
                    <a:pt x="5179" y="5406"/>
                  </a:cubicBezTo>
                  <a:lnTo>
                    <a:pt x="5263" y="6144"/>
                  </a:lnTo>
                  <a:cubicBezTo>
                    <a:pt x="5263" y="6275"/>
                    <a:pt x="5191" y="6430"/>
                    <a:pt x="5060" y="6501"/>
                  </a:cubicBezTo>
                  <a:lnTo>
                    <a:pt x="4560" y="6739"/>
                  </a:lnTo>
                  <a:cubicBezTo>
                    <a:pt x="4513" y="6763"/>
                    <a:pt x="4459" y="6775"/>
                    <a:pt x="4404" y="6775"/>
                  </a:cubicBezTo>
                  <a:cubicBezTo>
                    <a:pt x="4349" y="6775"/>
                    <a:pt x="4292" y="6763"/>
                    <a:pt x="4239" y="6739"/>
                  </a:cubicBezTo>
                  <a:lnTo>
                    <a:pt x="3751" y="6501"/>
                  </a:lnTo>
                  <a:cubicBezTo>
                    <a:pt x="3608" y="6430"/>
                    <a:pt x="3536" y="6299"/>
                    <a:pt x="3548" y="6144"/>
                  </a:cubicBezTo>
                  <a:lnTo>
                    <a:pt x="3643" y="5406"/>
                  </a:lnTo>
                  <a:cubicBezTo>
                    <a:pt x="3655" y="5227"/>
                    <a:pt x="3822" y="5072"/>
                    <a:pt x="4001" y="5072"/>
                  </a:cubicBezTo>
                  <a:close/>
                  <a:moveTo>
                    <a:pt x="5489" y="6561"/>
                  </a:moveTo>
                  <a:lnTo>
                    <a:pt x="5489" y="7120"/>
                  </a:lnTo>
                  <a:cubicBezTo>
                    <a:pt x="5489" y="7370"/>
                    <a:pt x="5620" y="7608"/>
                    <a:pt x="5822" y="7716"/>
                  </a:cubicBezTo>
                  <a:cubicBezTo>
                    <a:pt x="5465" y="8168"/>
                    <a:pt x="4953" y="8418"/>
                    <a:pt x="4405" y="8418"/>
                  </a:cubicBezTo>
                  <a:cubicBezTo>
                    <a:pt x="3846" y="8418"/>
                    <a:pt x="3334" y="8168"/>
                    <a:pt x="3000" y="7739"/>
                  </a:cubicBezTo>
                  <a:cubicBezTo>
                    <a:pt x="3215" y="7620"/>
                    <a:pt x="3346" y="7394"/>
                    <a:pt x="3346" y="7144"/>
                  </a:cubicBezTo>
                  <a:lnTo>
                    <a:pt x="3346" y="6573"/>
                  </a:lnTo>
                  <a:lnTo>
                    <a:pt x="3370" y="6573"/>
                  </a:lnTo>
                  <a:cubicBezTo>
                    <a:pt x="3429" y="6668"/>
                    <a:pt x="3524" y="6727"/>
                    <a:pt x="3608" y="6787"/>
                  </a:cubicBezTo>
                  <a:lnTo>
                    <a:pt x="4096" y="7025"/>
                  </a:lnTo>
                  <a:cubicBezTo>
                    <a:pt x="4203" y="7073"/>
                    <a:pt x="4310" y="7096"/>
                    <a:pt x="4417" y="7096"/>
                  </a:cubicBezTo>
                  <a:cubicBezTo>
                    <a:pt x="4513" y="7096"/>
                    <a:pt x="4620" y="7073"/>
                    <a:pt x="4727" y="7025"/>
                  </a:cubicBezTo>
                  <a:lnTo>
                    <a:pt x="5215" y="6787"/>
                  </a:lnTo>
                  <a:cubicBezTo>
                    <a:pt x="5322" y="6739"/>
                    <a:pt x="5394" y="6668"/>
                    <a:pt x="5453" y="6573"/>
                  </a:cubicBezTo>
                  <a:cubicBezTo>
                    <a:pt x="5465" y="6573"/>
                    <a:pt x="5465" y="6573"/>
                    <a:pt x="5489" y="6561"/>
                  </a:cubicBezTo>
                  <a:close/>
                  <a:moveTo>
                    <a:pt x="2298" y="7966"/>
                  </a:moveTo>
                  <a:lnTo>
                    <a:pt x="2298" y="9299"/>
                  </a:lnTo>
                  <a:lnTo>
                    <a:pt x="2107" y="9299"/>
                  </a:lnTo>
                  <a:cubicBezTo>
                    <a:pt x="1976" y="9299"/>
                    <a:pt x="1857" y="9347"/>
                    <a:pt x="1750" y="9406"/>
                  </a:cubicBezTo>
                  <a:lnTo>
                    <a:pt x="1750" y="8120"/>
                  </a:lnTo>
                  <a:lnTo>
                    <a:pt x="2298" y="7966"/>
                  </a:lnTo>
                  <a:close/>
                  <a:moveTo>
                    <a:pt x="6501" y="7966"/>
                  </a:moveTo>
                  <a:lnTo>
                    <a:pt x="7049" y="8120"/>
                  </a:lnTo>
                  <a:lnTo>
                    <a:pt x="7049" y="9406"/>
                  </a:lnTo>
                  <a:cubicBezTo>
                    <a:pt x="6941" y="9347"/>
                    <a:pt x="6822" y="9299"/>
                    <a:pt x="6691" y="9299"/>
                  </a:cubicBezTo>
                  <a:lnTo>
                    <a:pt x="6501" y="9299"/>
                  </a:lnTo>
                  <a:lnTo>
                    <a:pt x="6501" y="7966"/>
                  </a:lnTo>
                  <a:close/>
                  <a:moveTo>
                    <a:pt x="4048" y="0"/>
                  </a:moveTo>
                  <a:cubicBezTo>
                    <a:pt x="3881" y="0"/>
                    <a:pt x="3762" y="96"/>
                    <a:pt x="3715" y="250"/>
                  </a:cubicBezTo>
                  <a:cubicBezTo>
                    <a:pt x="3477" y="310"/>
                    <a:pt x="3239" y="381"/>
                    <a:pt x="3036" y="500"/>
                  </a:cubicBezTo>
                  <a:cubicBezTo>
                    <a:pt x="3012" y="500"/>
                    <a:pt x="3012" y="488"/>
                    <a:pt x="3000" y="488"/>
                  </a:cubicBezTo>
                  <a:cubicBezTo>
                    <a:pt x="2965" y="468"/>
                    <a:pt x="2922" y="456"/>
                    <a:pt x="2878" y="456"/>
                  </a:cubicBezTo>
                  <a:cubicBezTo>
                    <a:pt x="2819" y="456"/>
                    <a:pt x="2757" y="477"/>
                    <a:pt x="2703" y="524"/>
                  </a:cubicBezTo>
                  <a:lnTo>
                    <a:pt x="2322" y="798"/>
                  </a:lnTo>
                  <a:cubicBezTo>
                    <a:pt x="2179" y="905"/>
                    <a:pt x="2107" y="1060"/>
                    <a:pt x="2107" y="1215"/>
                  </a:cubicBezTo>
                  <a:lnTo>
                    <a:pt x="2107" y="1227"/>
                  </a:lnTo>
                  <a:cubicBezTo>
                    <a:pt x="1691" y="1727"/>
                    <a:pt x="1453" y="2346"/>
                    <a:pt x="1405" y="2989"/>
                  </a:cubicBezTo>
                  <a:lnTo>
                    <a:pt x="1214" y="2989"/>
                  </a:lnTo>
                  <a:cubicBezTo>
                    <a:pt x="1131" y="2989"/>
                    <a:pt x="1048" y="3060"/>
                    <a:pt x="1048" y="3155"/>
                  </a:cubicBezTo>
                  <a:cubicBezTo>
                    <a:pt x="1048" y="3239"/>
                    <a:pt x="1131" y="3310"/>
                    <a:pt x="1214" y="3310"/>
                  </a:cubicBezTo>
                  <a:lnTo>
                    <a:pt x="1572" y="3310"/>
                  </a:lnTo>
                  <a:lnTo>
                    <a:pt x="1572" y="3584"/>
                  </a:lnTo>
                  <a:cubicBezTo>
                    <a:pt x="1381" y="3667"/>
                    <a:pt x="1250" y="3846"/>
                    <a:pt x="1226" y="4060"/>
                  </a:cubicBezTo>
                  <a:cubicBezTo>
                    <a:pt x="1214" y="4227"/>
                    <a:pt x="1274" y="4406"/>
                    <a:pt x="1381" y="4525"/>
                  </a:cubicBezTo>
                  <a:cubicBezTo>
                    <a:pt x="1500" y="4644"/>
                    <a:pt x="1667" y="4715"/>
                    <a:pt x="1822" y="4715"/>
                  </a:cubicBezTo>
                  <a:lnTo>
                    <a:pt x="1941" y="4715"/>
                  </a:lnTo>
                  <a:cubicBezTo>
                    <a:pt x="1988" y="5060"/>
                    <a:pt x="2119" y="5394"/>
                    <a:pt x="2298" y="5691"/>
                  </a:cubicBezTo>
                  <a:cubicBezTo>
                    <a:pt x="2477" y="5965"/>
                    <a:pt x="2703" y="6203"/>
                    <a:pt x="2977" y="6382"/>
                  </a:cubicBezTo>
                  <a:lnTo>
                    <a:pt x="2977" y="7144"/>
                  </a:lnTo>
                  <a:cubicBezTo>
                    <a:pt x="2977" y="7311"/>
                    <a:pt x="2869" y="7442"/>
                    <a:pt x="2715" y="7477"/>
                  </a:cubicBezTo>
                  <a:lnTo>
                    <a:pt x="869" y="8037"/>
                  </a:lnTo>
                  <a:cubicBezTo>
                    <a:pt x="357" y="8180"/>
                    <a:pt x="0" y="8656"/>
                    <a:pt x="0" y="9192"/>
                  </a:cubicBezTo>
                  <a:lnTo>
                    <a:pt x="0" y="11037"/>
                  </a:lnTo>
                  <a:cubicBezTo>
                    <a:pt x="0" y="11133"/>
                    <a:pt x="71" y="11204"/>
                    <a:pt x="155" y="11204"/>
                  </a:cubicBezTo>
                  <a:cubicBezTo>
                    <a:pt x="250" y="11204"/>
                    <a:pt x="322" y="11133"/>
                    <a:pt x="322" y="11037"/>
                  </a:cubicBezTo>
                  <a:lnTo>
                    <a:pt x="322" y="9192"/>
                  </a:lnTo>
                  <a:cubicBezTo>
                    <a:pt x="322" y="8811"/>
                    <a:pt x="595" y="8454"/>
                    <a:pt x="964" y="8347"/>
                  </a:cubicBezTo>
                  <a:lnTo>
                    <a:pt x="1393" y="8216"/>
                  </a:lnTo>
                  <a:lnTo>
                    <a:pt x="1393" y="11037"/>
                  </a:lnTo>
                  <a:cubicBezTo>
                    <a:pt x="1393" y="11133"/>
                    <a:pt x="1465" y="11204"/>
                    <a:pt x="1560" y="11204"/>
                  </a:cubicBezTo>
                  <a:cubicBezTo>
                    <a:pt x="1643" y="11204"/>
                    <a:pt x="1715" y="11133"/>
                    <a:pt x="1715" y="11037"/>
                  </a:cubicBezTo>
                  <a:lnTo>
                    <a:pt x="1715" y="9978"/>
                  </a:lnTo>
                  <a:cubicBezTo>
                    <a:pt x="1715" y="9787"/>
                    <a:pt x="1881" y="9621"/>
                    <a:pt x="2084" y="9621"/>
                  </a:cubicBezTo>
                  <a:lnTo>
                    <a:pt x="2774" y="9621"/>
                  </a:lnTo>
                  <a:cubicBezTo>
                    <a:pt x="2869" y="9621"/>
                    <a:pt x="2941" y="9549"/>
                    <a:pt x="2941" y="9466"/>
                  </a:cubicBezTo>
                  <a:cubicBezTo>
                    <a:pt x="2941" y="9371"/>
                    <a:pt x="2869" y="9299"/>
                    <a:pt x="2774" y="9299"/>
                  </a:cubicBezTo>
                  <a:lnTo>
                    <a:pt x="2584" y="9299"/>
                  </a:lnTo>
                  <a:lnTo>
                    <a:pt x="2584" y="7858"/>
                  </a:lnTo>
                  <a:lnTo>
                    <a:pt x="2631" y="7835"/>
                  </a:lnTo>
                  <a:cubicBezTo>
                    <a:pt x="3012" y="8406"/>
                    <a:pt x="3655" y="8751"/>
                    <a:pt x="4358" y="8751"/>
                  </a:cubicBezTo>
                  <a:cubicBezTo>
                    <a:pt x="5060" y="8751"/>
                    <a:pt x="5679" y="8406"/>
                    <a:pt x="6084" y="7835"/>
                  </a:cubicBezTo>
                  <a:lnTo>
                    <a:pt x="6120" y="7858"/>
                  </a:lnTo>
                  <a:lnTo>
                    <a:pt x="6120" y="9299"/>
                  </a:lnTo>
                  <a:lnTo>
                    <a:pt x="3477" y="9299"/>
                  </a:lnTo>
                  <a:cubicBezTo>
                    <a:pt x="3381" y="9299"/>
                    <a:pt x="3310" y="9371"/>
                    <a:pt x="3310" y="9466"/>
                  </a:cubicBezTo>
                  <a:cubicBezTo>
                    <a:pt x="3310" y="9549"/>
                    <a:pt x="3381" y="9621"/>
                    <a:pt x="3477" y="9621"/>
                  </a:cubicBezTo>
                  <a:lnTo>
                    <a:pt x="6632" y="9621"/>
                  </a:lnTo>
                  <a:cubicBezTo>
                    <a:pt x="6822" y="9621"/>
                    <a:pt x="6989" y="9787"/>
                    <a:pt x="6989" y="9978"/>
                  </a:cubicBezTo>
                  <a:lnTo>
                    <a:pt x="6989" y="11037"/>
                  </a:lnTo>
                  <a:cubicBezTo>
                    <a:pt x="6989" y="11133"/>
                    <a:pt x="7060" y="11204"/>
                    <a:pt x="7156" y="11204"/>
                  </a:cubicBezTo>
                  <a:cubicBezTo>
                    <a:pt x="7239" y="11204"/>
                    <a:pt x="7310" y="11133"/>
                    <a:pt x="7310" y="11037"/>
                  </a:cubicBezTo>
                  <a:lnTo>
                    <a:pt x="7310" y="8216"/>
                  </a:lnTo>
                  <a:lnTo>
                    <a:pt x="7751" y="8347"/>
                  </a:lnTo>
                  <a:cubicBezTo>
                    <a:pt x="8120" y="8454"/>
                    <a:pt x="8382" y="8811"/>
                    <a:pt x="8382" y="9192"/>
                  </a:cubicBezTo>
                  <a:lnTo>
                    <a:pt x="8382" y="11037"/>
                  </a:lnTo>
                  <a:cubicBezTo>
                    <a:pt x="8382" y="11133"/>
                    <a:pt x="8465" y="11204"/>
                    <a:pt x="8549" y="11204"/>
                  </a:cubicBezTo>
                  <a:cubicBezTo>
                    <a:pt x="8644" y="11204"/>
                    <a:pt x="8715" y="11133"/>
                    <a:pt x="8715" y="11037"/>
                  </a:cubicBezTo>
                  <a:lnTo>
                    <a:pt x="8715" y="9192"/>
                  </a:lnTo>
                  <a:cubicBezTo>
                    <a:pt x="8775" y="8656"/>
                    <a:pt x="8418" y="8180"/>
                    <a:pt x="7894" y="8037"/>
                  </a:cubicBezTo>
                  <a:lnTo>
                    <a:pt x="6048" y="7489"/>
                  </a:lnTo>
                  <a:cubicBezTo>
                    <a:pt x="5906" y="7442"/>
                    <a:pt x="5798" y="7287"/>
                    <a:pt x="5798" y="7144"/>
                  </a:cubicBezTo>
                  <a:lnTo>
                    <a:pt x="5798" y="6382"/>
                  </a:lnTo>
                  <a:cubicBezTo>
                    <a:pt x="6358" y="6001"/>
                    <a:pt x="6739" y="5382"/>
                    <a:pt x="6822" y="4715"/>
                  </a:cubicBezTo>
                  <a:lnTo>
                    <a:pt x="6929" y="4715"/>
                  </a:lnTo>
                  <a:cubicBezTo>
                    <a:pt x="7263" y="4715"/>
                    <a:pt x="7525" y="4477"/>
                    <a:pt x="7561" y="4179"/>
                  </a:cubicBezTo>
                  <a:cubicBezTo>
                    <a:pt x="7572" y="4013"/>
                    <a:pt x="7513" y="3834"/>
                    <a:pt x="7406" y="3715"/>
                  </a:cubicBezTo>
                  <a:cubicBezTo>
                    <a:pt x="7346" y="3656"/>
                    <a:pt x="7287" y="3608"/>
                    <a:pt x="7215" y="3572"/>
                  </a:cubicBezTo>
                  <a:lnTo>
                    <a:pt x="7215" y="3310"/>
                  </a:lnTo>
                  <a:lnTo>
                    <a:pt x="7572" y="3310"/>
                  </a:lnTo>
                  <a:cubicBezTo>
                    <a:pt x="7656" y="3310"/>
                    <a:pt x="7739" y="3239"/>
                    <a:pt x="7739" y="3155"/>
                  </a:cubicBezTo>
                  <a:cubicBezTo>
                    <a:pt x="7739" y="3060"/>
                    <a:pt x="7656" y="2989"/>
                    <a:pt x="7572" y="2989"/>
                  </a:cubicBezTo>
                  <a:lnTo>
                    <a:pt x="7382" y="2989"/>
                  </a:lnTo>
                  <a:cubicBezTo>
                    <a:pt x="7346" y="2346"/>
                    <a:pt x="7096" y="1727"/>
                    <a:pt x="6679" y="1227"/>
                  </a:cubicBezTo>
                  <a:lnTo>
                    <a:pt x="6679" y="1215"/>
                  </a:lnTo>
                  <a:cubicBezTo>
                    <a:pt x="6679" y="1048"/>
                    <a:pt x="6608" y="905"/>
                    <a:pt x="6465" y="798"/>
                  </a:cubicBezTo>
                  <a:lnTo>
                    <a:pt x="6084" y="524"/>
                  </a:lnTo>
                  <a:cubicBezTo>
                    <a:pt x="6024" y="487"/>
                    <a:pt x="5964" y="463"/>
                    <a:pt x="5900" y="463"/>
                  </a:cubicBezTo>
                  <a:cubicBezTo>
                    <a:pt x="5864" y="463"/>
                    <a:pt x="5826" y="471"/>
                    <a:pt x="5786" y="488"/>
                  </a:cubicBezTo>
                  <a:cubicBezTo>
                    <a:pt x="5775" y="488"/>
                    <a:pt x="5775" y="500"/>
                    <a:pt x="5751" y="500"/>
                  </a:cubicBezTo>
                  <a:cubicBezTo>
                    <a:pt x="5536" y="381"/>
                    <a:pt x="5310" y="310"/>
                    <a:pt x="5072" y="250"/>
                  </a:cubicBezTo>
                  <a:cubicBezTo>
                    <a:pt x="5024" y="96"/>
                    <a:pt x="4905" y="0"/>
                    <a:pt x="4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9" name="Google Shape;11559;p61"/>
            <p:cNvSpPr/>
            <p:nvPr/>
          </p:nvSpPr>
          <p:spPr>
            <a:xfrm>
              <a:off x="5420533" y="4102440"/>
              <a:ext cx="10581" cy="10201"/>
            </a:xfrm>
            <a:custGeom>
              <a:avLst/>
              <a:gdLst/>
              <a:ahLst/>
              <a:cxnLst/>
              <a:rect l="l" t="t" r="r" b="b"/>
              <a:pathLst>
                <a:path w="334" h="322" extrusionOk="0">
                  <a:moveTo>
                    <a:pt x="167" y="1"/>
                  </a:moveTo>
                  <a:cubicBezTo>
                    <a:pt x="84" y="1"/>
                    <a:pt x="0" y="72"/>
                    <a:pt x="0" y="167"/>
                  </a:cubicBezTo>
                  <a:cubicBezTo>
                    <a:pt x="0" y="251"/>
                    <a:pt x="84" y="322"/>
                    <a:pt x="167" y="322"/>
                  </a:cubicBezTo>
                  <a:cubicBezTo>
                    <a:pt x="262" y="322"/>
                    <a:pt x="334" y="251"/>
                    <a:pt x="334" y="167"/>
                  </a:cubicBez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0" name="Google Shape;11560;p61"/>
            <p:cNvSpPr/>
            <p:nvPr/>
          </p:nvSpPr>
          <p:spPr>
            <a:xfrm>
              <a:off x="5554064" y="4102440"/>
              <a:ext cx="10201" cy="10201"/>
            </a:xfrm>
            <a:custGeom>
              <a:avLst/>
              <a:gdLst/>
              <a:ahLst/>
              <a:cxnLst/>
              <a:rect l="l" t="t" r="r" b="b"/>
              <a:pathLst>
                <a:path w="322" h="322" extrusionOk="0">
                  <a:moveTo>
                    <a:pt x="167" y="1"/>
                  </a:moveTo>
                  <a:cubicBezTo>
                    <a:pt x="72" y="1"/>
                    <a:pt x="0" y="72"/>
                    <a:pt x="0" y="167"/>
                  </a:cubicBezTo>
                  <a:cubicBezTo>
                    <a:pt x="0" y="251"/>
                    <a:pt x="72" y="322"/>
                    <a:pt x="167" y="322"/>
                  </a:cubicBezTo>
                  <a:cubicBezTo>
                    <a:pt x="250" y="322"/>
                    <a:pt x="322" y="251"/>
                    <a:pt x="322" y="167"/>
                  </a:cubicBezTo>
                  <a:cubicBezTo>
                    <a:pt x="322"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1" name="Google Shape;11561;p61"/>
          <p:cNvGrpSpPr/>
          <p:nvPr/>
        </p:nvGrpSpPr>
        <p:grpSpPr>
          <a:xfrm>
            <a:off x="4896229" y="3785989"/>
            <a:ext cx="278784" cy="354594"/>
            <a:chOff x="4896229" y="3785989"/>
            <a:chExt cx="278784" cy="354594"/>
          </a:xfrm>
        </p:grpSpPr>
        <p:sp>
          <p:nvSpPr>
            <p:cNvPr id="11562" name="Google Shape;11562;p61"/>
            <p:cNvSpPr/>
            <p:nvPr/>
          </p:nvSpPr>
          <p:spPr>
            <a:xfrm>
              <a:off x="4896229" y="3785989"/>
              <a:ext cx="278784" cy="354594"/>
            </a:xfrm>
            <a:custGeom>
              <a:avLst/>
              <a:gdLst/>
              <a:ahLst/>
              <a:cxnLst/>
              <a:rect l="l" t="t" r="r" b="b"/>
              <a:pathLst>
                <a:path w="8800" h="11193" extrusionOk="0">
                  <a:moveTo>
                    <a:pt x="4418" y="488"/>
                  </a:moveTo>
                  <a:lnTo>
                    <a:pt x="4763" y="1536"/>
                  </a:lnTo>
                  <a:lnTo>
                    <a:pt x="4442" y="2072"/>
                  </a:lnTo>
                  <a:cubicBezTo>
                    <a:pt x="4442" y="2072"/>
                    <a:pt x="4442" y="2084"/>
                    <a:pt x="4418" y="2084"/>
                  </a:cubicBezTo>
                  <a:cubicBezTo>
                    <a:pt x="4406" y="2084"/>
                    <a:pt x="4406" y="2084"/>
                    <a:pt x="4406" y="2072"/>
                  </a:cubicBezTo>
                  <a:lnTo>
                    <a:pt x="4085" y="1536"/>
                  </a:lnTo>
                  <a:lnTo>
                    <a:pt x="4418" y="488"/>
                  </a:lnTo>
                  <a:close/>
                  <a:moveTo>
                    <a:pt x="5049" y="1703"/>
                  </a:moveTo>
                  <a:cubicBezTo>
                    <a:pt x="6120" y="1977"/>
                    <a:pt x="6882" y="2965"/>
                    <a:pt x="6882" y="4084"/>
                  </a:cubicBezTo>
                  <a:lnTo>
                    <a:pt x="6882" y="4465"/>
                  </a:lnTo>
                  <a:cubicBezTo>
                    <a:pt x="6823" y="4501"/>
                    <a:pt x="6787" y="4560"/>
                    <a:pt x="6787" y="4620"/>
                  </a:cubicBezTo>
                  <a:cubicBezTo>
                    <a:pt x="6787" y="4703"/>
                    <a:pt x="6871" y="4775"/>
                    <a:pt x="6954" y="4775"/>
                  </a:cubicBezTo>
                  <a:cubicBezTo>
                    <a:pt x="7025" y="4775"/>
                    <a:pt x="7097" y="4810"/>
                    <a:pt x="7168" y="4870"/>
                  </a:cubicBezTo>
                  <a:cubicBezTo>
                    <a:pt x="7228" y="4929"/>
                    <a:pt x="7240" y="5001"/>
                    <a:pt x="7240" y="5072"/>
                  </a:cubicBezTo>
                  <a:cubicBezTo>
                    <a:pt x="7228" y="5215"/>
                    <a:pt x="7085" y="5334"/>
                    <a:pt x="6942" y="5334"/>
                  </a:cubicBezTo>
                  <a:lnTo>
                    <a:pt x="6871" y="5334"/>
                  </a:lnTo>
                  <a:lnTo>
                    <a:pt x="6871" y="5310"/>
                  </a:lnTo>
                  <a:cubicBezTo>
                    <a:pt x="6871" y="5227"/>
                    <a:pt x="6787" y="5156"/>
                    <a:pt x="6704" y="5156"/>
                  </a:cubicBezTo>
                  <a:cubicBezTo>
                    <a:pt x="6609" y="5156"/>
                    <a:pt x="6537" y="5227"/>
                    <a:pt x="6537" y="5310"/>
                  </a:cubicBezTo>
                  <a:cubicBezTo>
                    <a:pt x="6537" y="6477"/>
                    <a:pt x="5585" y="7430"/>
                    <a:pt x="4430" y="7430"/>
                  </a:cubicBezTo>
                  <a:cubicBezTo>
                    <a:pt x="3263" y="7418"/>
                    <a:pt x="2310" y="6465"/>
                    <a:pt x="2310" y="5298"/>
                  </a:cubicBezTo>
                  <a:cubicBezTo>
                    <a:pt x="2310" y="5215"/>
                    <a:pt x="2239" y="5132"/>
                    <a:pt x="2144" y="5132"/>
                  </a:cubicBezTo>
                  <a:cubicBezTo>
                    <a:pt x="2060" y="5132"/>
                    <a:pt x="1989" y="5215"/>
                    <a:pt x="1989" y="5298"/>
                  </a:cubicBezTo>
                  <a:lnTo>
                    <a:pt x="1989" y="5310"/>
                  </a:lnTo>
                  <a:lnTo>
                    <a:pt x="1882" y="5310"/>
                  </a:lnTo>
                  <a:cubicBezTo>
                    <a:pt x="1810" y="5310"/>
                    <a:pt x="1727" y="5287"/>
                    <a:pt x="1668" y="5227"/>
                  </a:cubicBezTo>
                  <a:cubicBezTo>
                    <a:pt x="1608" y="5168"/>
                    <a:pt x="1596" y="5096"/>
                    <a:pt x="1596" y="5013"/>
                  </a:cubicBezTo>
                  <a:cubicBezTo>
                    <a:pt x="1608" y="4882"/>
                    <a:pt x="1751" y="4763"/>
                    <a:pt x="1894" y="4763"/>
                  </a:cubicBezTo>
                  <a:cubicBezTo>
                    <a:pt x="1989" y="4763"/>
                    <a:pt x="2060" y="4691"/>
                    <a:pt x="2060" y="4596"/>
                  </a:cubicBezTo>
                  <a:cubicBezTo>
                    <a:pt x="2060" y="4525"/>
                    <a:pt x="2013" y="4465"/>
                    <a:pt x="1941" y="4453"/>
                  </a:cubicBezTo>
                  <a:lnTo>
                    <a:pt x="1941" y="4084"/>
                  </a:lnTo>
                  <a:cubicBezTo>
                    <a:pt x="1941" y="2965"/>
                    <a:pt x="2703" y="1977"/>
                    <a:pt x="3775" y="1703"/>
                  </a:cubicBezTo>
                  <a:lnTo>
                    <a:pt x="4108" y="2250"/>
                  </a:lnTo>
                  <a:cubicBezTo>
                    <a:pt x="4168" y="2358"/>
                    <a:pt x="4287" y="2417"/>
                    <a:pt x="4406" y="2417"/>
                  </a:cubicBezTo>
                  <a:cubicBezTo>
                    <a:pt x="4525" y="2417"/>
                    <a:pt x="4644" y="2358"/>
                    <a:pt x="4704" y="2250"/>
                  </a:cubicBezTo>
                  <a:lnTo>
                    <a:pt x="5049" y="1703"/>
                  </a:lnTo>
                  <a:close/>
                  <a:moveTo>
                    <a:pt x="3025" y="7846"/>
                  </a:moveTo>
                  <a:lnTo>
                    <a:pt x="3025" y="7858"/>
                  </a:lnTo>
                  <a:lnTo>
                    <a:pt x="3025" y="8168"/>
                  </a:lnTo>
                  <a:cubicBezTo>
                    <a:pt x="3025" y="8323"/>
                    <a:pt x="2942" y="8454"/>
                    <a:pt x="2787" y="8513"/>
                  </a:cubicBezTo>
                  <a:lnTo>
                    <a:pt x="2418" y="8263"/>
                  </a:lnTo>
                  <a:cubicBezTo>
                    <a:pt x="2310" y="8192"/>
                    <a:pt x="2299" y="8085"/>
                    <a:pt x="2322" y="8001"/>
                  </a:cubicBezTo>
                  <a:cubicBezTo>
                    <a:pt x="2358" y="7930"/>
                    <a:pt x="2418" y="7846"/>
                    <a:pt x="2537" y="7846"/>
                  </a:cubicBezTo>
                  <a:close/>
                  <a:moveTo>
                    <a:pt x="6311" y="7870"/>
                  </a:moveTo>
                  <a:cubicBezTo>
                    <a:pt x="6430" y="7870"/>
                    <a:pt x="6501" y="7954"/>
                    <a:pt x="6525" y="8037"/>
                  </a:cubicBezTo>
                  <a:cubicBezTo>
                    <a:pt x="6549" y="8108"/>
                    <a:pt x="6537" y="8216"/>
                    <a:pt x="6430" y="8287"/>
                  </a:cubicBezTo>
                  <a:lnTo>
                    <a:pt x="6061" y="8549"/>
                  </a:lnTo>
                  <a:cubicBezTo>
                    <a:pt x="5906" y="8466"/>
                    <a:pt x="5823" y="8335"/>
                    <a:pt x="5823" y="8192"/>
                  </a:cubicBezTo>
                  <a:lnTo>
                    <a:pt x="5823" y="7870"/>
                  </a:lnTo>
                  <a:close/>
                  <a:moveTo>
                    <a:pt x="6406" y="7334"/>
                  </a:moveTo>
                  <a:cubicBezTo>
                    <a:pt x="6894" y="7334"/>
                    <a:pt x="7299" y="7739"/>
                    <a:pt x="7299" y="8227"/>
                  </a:cubicBezTo>
                  <a:cubicBezTo>
                    <a:pt x="7240" y="9049"/>
                    <a:pt x="6716" y="9763"/>
                    <a:pt x="5990" y="10049"/>
                  </a:cubicBezTo>
                  <a:lnTo>
                    <a:pt x="5990" y="9990"/>
                  </a:lnTo>
                  <a:cubicBezTo>
                    <a:pt x="5990" y="9894"/>
                    <a:pt x="5906" y="9823"/>
                    <a:pt x="5823" y="9823"/>
                  </a:cubicBezTo>
                  <a:cubicBezTo>
                    <a:pt x="5739" y="9823"/>
                    <a:pt x="5656" y="9894"/>
                    <a:pt x="5656" y="9990"/>
                  </a:cubicBezTo>
                  <a:lnTo>
                    <a:pt x="5656" y="10132"/>
                  </a:lnTo>
                  <a:cubicBezTo>
                    <a:pt x="5537" y="10156"/>
                    <a:pt x="5418" y="10168"/>
                    <a:pt x="5299" y="10168"/>
                  </a:cubicBezTo>
                  <a:lnTo>
                    <a:pt x="3549" y="10168"/>
                  </a:lnTo>
                  <a:cubicBezTo>
                    <a:pt x="3430" y="10168"/>
                    <a:pt x="3311" y="10156"/>
                    <a:pt x="3192" y="10132"/>
                  </a:cubicBezTo>
                  <a:lnTo>
                    <a:pt x="3192" y="9990"/>
                  </a:lnTo>
                  <a:cubicBezTo>
                    <a:pt x="3192" y="9894"/>
                    <a:pt x="3120" y="9823"/>
                    <a:pt x="3025" y="9823"/>
                  </a:cubicBezTo>
                  <a:cubicBezTo>
                    <a:pt x="2942" y="9823"/>
                    <a:pt x="2858" y="9894"/>
                    <a:pt x="2858" y="9990"/>
                  </a:cubicBezTo>
                  <a:lnTo>
                    <a:pt x="2858" y="10049"/>
                  </a:lnTo>
                  <a:cubicBezTo>
                    <a:pt x="2132" y="9763"/>
                    <a:pt x="1608" y="9061"/>
                    <a:pt x="1608" y="8227"/>
                  </a:cubicBezTo>
                  <a:cubicBezTo>
                    <a:pt x="1608" y="7739"/>
                    <a:pt x="2013" y="7334"/>
                    <a:pt x="2501" y="7334"/>
                  </a:cubicBezTo>
                  <a:lnTo>
                    <a:pt x="3037" y="7334"/>
                  </a:lnTo>
                  <a:lnTo>
                    <a:pt x="3037" y="7358"/>
                  </a:lnTo>
                  <a:lnTo>
                    <a:pt x="3037" y="7549"/>
                  </a:lnTo>
                  <a:lnTo>
                    <a:pt x="2549" y="7549"/>
                  </a:lnTo>
                  <a:cubicBezTo>
                    <a:pt x="2299" y="7549"/>
                    <a:pt x="2084" y="7692"/>
                    <a:pt x="2025" y="7930"/>
                  </a:cubicBezTo>
                  <a:cubicBezTo>
                    <a:pt x="1953" y="8168"/>
                    <a:pt x="2037" y="8406"/>
                    <a:pt x="2251" y="8549"/>
                  </a:cubicBezTo>
                  <a:lnTo>
                    <a:pt x="4156" y="9811"/>
                  </a:lnTo>
                  <a:cubicBezTo>
                    <a:pt x="4239" y="9870"/>
                    <a:pt x="4346" y="9894"/>
                    <a:pt x="4442" y="9894"/>
                  </a:cubicBezTo>
                  <a:cubicBezTo>
                    <a:pt x="4525" y="9894"/>
                    <a:pt x="4632" y="9870"/>
                    <a:pt x="4727" y="9811"/>
                  </a:cubicBezTo>
                  <a:lnTo>
                    <a:pt x="5228" y="9466"/>
                  </a:lnTo>
                  <a:cubicBezTo>
                    <a:pt x="5299" y="9418"/>
                    <a:pt x="5323" y="9323"/>
                    <a:pt x="5275" y="9239"/>
                  </a:cubicBezTo>
                  <a:cubicBezTo>
                    <a:pt x="5247" y="9197"/>
                    <a:pt x="5197" y="9175"/>
                    <a:pt x="5146" y="9175"/>
                  </a:cubicBezTo>
                  <a:cubicBezTo>
                    <a:pt x="5112" y="9175"/>
                    <a:pt x="5077" y="9185"/>
                    <a:pt x="5049" y="9204"/>
                  </a:cubicBezTo>
                  <a:lnTo>
                    <a:pt x="4549" y="9537"/>
                  </a:lnTo>
                  <a:cubicBezTo>
                    <a:pt x="4519" y="9561"/>
                    <a:pt x="4480" y="9573"/>
                    <a:pt x="4442" y="9573"/>
                  </a:cubicBezTo>
                  <a:cubicBezTo>
                    <a:pt x="4403" y="9573"/>
                    <a:pt x="4364" y="9561"/>
                    <a:pt x="4335" y="9537"/>
                  </a:cubicBezTo>
                  <a:lnTo>
                    <a:pt x="3120" y="8727"/>
                  </a:lnTo>
                  <a:cubicBezTo>
                    <a:pt x="3275" y="8585"/>
                    <a:pt x="3382" y="8394"/>
                    <a:pt x="3382" y="8192"/>
                  </a:cubicBezTo>
                  <a:lnTo>
                    <a:pt x="3382" y="7501"/>
                  </a:lnTo>
                  <a:cubicBezTo>
                    <a:pt x="3715" y="7668"/>
                    <a:pt x="4061" y="7739"/>
                    <a:pt x="4454" y="7739"/>
                  </a:cubicBezTo>
                  <a:cubicBezTo>
                    <a:pt x="4835" y="7739"/>
                    <a:pt x="5204" y="7656"/>
                    <a:pt x="5525" y="7501"/>
                  </a:cubicBezTo>
                  <a:lnTo>
                    <a:pt x="5525" y="8192"/>
                  </a:lnTo>
                  <a:cubicBezTo>
                    <a:pt x="5525" y="8394"/>
                    <a:pt x="5632" y="8597"/>
                    <a:pt x="5799" y="8727"/>
                  </a:cubicBezTo>
                  <a:lnTo>
                    <a:pt x="5692" y="8799"/>
                  </a:lnTo>
                  <a:cubicBezTo>
                    <a:pt x="5609" y="8847"/>
                    <a:pt x="5597" y="8942"/>
                    <a:pt x="5644" y="9025"/>
                  </a:cubicBezTo>
                  <a:cubicBezTo>
                    <a:pt x="5680" y="9061"/>
                    <a:pt x="5728" y="9097"/>
                    <a:pt x="5775" y="9097"/>
                  </a:cubicBezTo>
                  <a:cubicBezTo>
                    <a:pt x="5811" y="9097"/>
                    <a:pt x="5835" y="9085"/>
                    <a:pt x="5870" y="9061"/>
                  </a:cubicBezTo>
                  <a:lnTo>
                    <a:pt x="6656" y="8549"/>
                  </a:lnTo>
                  <a:cubicBezTo>
                    <a:pt x="6871" y="8406"/>
                    <a:pt x="6954" y="8156"/>
                    <a:pt x="6882" y="7930"/>
                  </a:cubicBezTo>
                  <a:cubicBezTo>
                    <a:pt x="6799" y="7704"/>
                    <a:pt x="6597" y="7549"/>
                    <a:pt x="6359" y="7549"/>
                  </a:cubicBezTo>
                  <a:lnTo>
                    <a:pt x="5870" y="7549"/>
                  </a:lnTo>
                  <a:lnTo>
                    <a:pt x="5870" y="7358"/>
                  </a:lnTo>
                  <a:lnTo>
                    <a:pt x="5870" y="7334"/>
                  </a:lnTo>
                  <a:close/>
                  <a:moveTo>
                    <a:pt x="4406" y="0"/>
                  </a:moveTo>
                  <a:cubicBezTo>
                    <a:pt x="4311" y="0"/>
                    <a:pt x="4215" y="72"/>
                    <a:pt x="4168" y="167"/>
                  </a:cubicBezTo>
                  <a:lnTo>
                    <a:pt x="3775" y="1358"/>
                  </a:lnTo>
                  <a:cubicBezTo>
                    <a:pt x="2501" y="1643"/>
                    <a:pt x="1596" y="2786"/>
                    <a:pt x="1596" y="4084"/>
                  </a:cubicBezTo>
                  <a:lnTo>
                    <a:pt x="1596" y="4513"/>
                  </a:lnTo>
                  <a:cubicBezTo>
                    <a:pt x="1406" y="4596"/>
                    <a:pt x="1275" y="4775"/>
                    <a:pt x="1251" y="4989"/>
                  </a:cubicBezTo>
                  <a:cubicBezTo>
                    <a:pt x="1239" y="5156"/>
                    <a:pt x="1298" y="5322"/>
                    <a:pt x="1406" y="5453"/>
                  </a:cubicBezTo>
                  <a:cubicBezTo>
                    <a:pt x="1525" y="5572"/>
                    <a:pt x="1691" y="5644"/>
                    <a:pt x="1846" y="5644"/>
                  </a:cubicBezTo>
                  <a:lnTo>
                    <a:pt x="1965" y="5644"/>
                  </a:lnTo>
                  <a:cubicBezTo>
                    <a:pt x="2049" y="6180"/>
                    <a:pt x="2287" y="6644"/>
                    <a:pt x="2644" y="7013"/>
                  </a:cubicBezTo>
                  <a:lnTo>
                    <a:pt x="2465" y="7013"/>
                  </a:lnTo>
                  <a:cubicBezTo>
                    <a:pt x="1787" y="7013"/>
                    <a:pt x="1239" y="7561"/>
                    <a:pt x="1239" y="8227"/>
                  </a:cubicBezTo>
                  <a:cubicBezTo>
                    <a:pt x="1239" y="8489"/>
                    <a:pt x="1287" y="8727"/>
                    <a:pt x="1358" y="8942"/>
                  </a:cubicBezTo>
                  <a:lnTo>
                    <a:pt x="882" y="9085"/>
                  </a:lnTo>
                  <a:cubicBezTo>
                    <a:pt x="358" y="9228"/>
                    <a:pt x="1" y="9704"/>
                    <a:pt x="1" y="10240"/>
                  </a:cubicBezTo>
                  <a:lnTo>
                    <a:pt x="1" y="11025"/>
                  </a:lnTo>
                  <a:cubicBezTo>
                    <a:pt x="1" y="11121"/>
                    <a:pt x="84" y="11192"/>
                    <a:pt x="167" y="11192"/>
                  </a:cubicBezTo>
                  <a:cubicBezTo>
                    <a:pt x="263" y="11192"/>
                    <a:pt x="334" y="11121"/>
                    <a:pt x="334" y="11025"/>
                  </a:cubicBezTo>
                  <a:lnTo>
                    <a:pt x="334" y="10240"/>
                  </a:lnTo>
                  <a:cubicBezTo>
                    <a:pt x="334" y="9847"/>
                    <a:pt x="596" y="9489"/>
                    <a:pt x="977" y="9394"/>
                  </a:cubicBezTo>
                  <a:lnTo>
                    <a:pt x="1477" y="9239"/>
                  </a:lnTo>
                  <a:cubicBezTo>
                    <a:pt x="1751" y="9775"/>
                    <a:pt x="2239" y="10192"/>
                    <a:pt x="2822" y="10382"/>
                  </a:cubicBezTo>
                  <a:lnTo>
                    <a:pt x="2822" y="11025"/>
                  </a:lnTo>
                  <a:cubicBezTo>
                    <a:pt x="2822" y="11121"/>
                    <a:pt x="2894" y="11192"/>
                    <a:pt x="2977" y="11192"/>
                  </a:cubicBezTo>
                  <a:cubicBezTo>
                    <a:pt x="3072" y="11192"/>
                    <a:pt x="3144" y="11121"/>
                    <a:pt x="3144" y="11025"/>
                  </a:cubicBezTo>
                  <a:lnTo>
                    <a:pt x="3144" y="10466"/>
                  </a:lnTo>
                  <a:cubicBezTo>
                    <a:pt x="3263" y="10478"/>
                    <a:pt x="3382" y="10490"/>
                    <a:pt x="3501" y="10490"/>
                  </a:cubicBezTo>
                  <a:lnTo>
                    <a:pt x="5263" y="10490"/>
                  </a:lnTo>
                  <a:cubicBezTo>
                    <a:pt x="5382" y="10490"/>
                    <a:pt x="5501" y="10478"/>
                    <a:pt x="5620" y="10466"/>
                  </a:cubicBezTo>
                  <a:lnTo>
                    <a:pt x="5620" y="11025"/>
                  </a:lnTo>
                  <a:cubicBezTo>
                    <a:pt x="5620" y="11121"/>
                    <a:pt x="5692" y="11192"/>
                    <a:pt x="5775" y="11192"/>
                  </a:cubicBezTo>
                  <a:cubicBezTo>
                    <a:pt x="5870" y="11192"/>
                    <a:pt x="5942" y="11121"/>
                    <a:pt x="5942" y="11025"/>
                  </a:cubicBezTo>
                  <a:lnTo>
                    <a:pt x="5942" y="10382"/>
                  </a:lnTo>
                  <a:cubicBezTo>
                    <a:pt x="6525" y="10192"/>
                    <a:pt x="7013" y="9775"/>
                    <a:pt x="7287" y="9239"/>
                  </a:cubicBezTo>
                  <a:lnTo>
                    <a:pt x="7787" y="9394"/>
                  </a:lnTo>
                  <a:cubicBezTo>
                    <a:pt x="8156" y="9489"/>
                    <a:pt x="8430" y="9847"/>
                    <a:pt x="8430" y="10240"/>
                  </a:cubicBezTo>
                  <a:lnTo>
                    <a:pt x="8430" y="11025"/>
                  </a:lnTo>
                  <a:cubicBezTo>
                    <a:pt x="8430" y="11121"/>
                    <a:pt x="8502" y="11192"/>
                    <a:pt x="8585" y="11192"/>
                  </a:cubicBezTo>
                  <a:cubicBezTo>
                    <a:pt x="8680" y="11192"/>
                    <a:pt x="8752" y="11121"/>
                    <a:pt x="8752" y="11025"/>
                  </a:cubicBezTo>
                  <a:lnTo>
                    <a:pt x="8752" y="10240"/>
                  </a:lnTo>
                  <a:cubicBezTo>
                    <a:pt x="8799" y="9704"/>
                    <a:pt x="8442" y="9228"/>
                    <a:pt x="7918" y="9085"/>
                  </a:cubicBezTo>
                  <a:lnTo>
                    <a:pt x="7442" y="8942"/>
                  </a:lnTo>
                  <a:cubicBezTo>
                    <a:pt x="7514" y="8727"/>
                    <a:pt x="7561" y="8489"/>
                    <a:pt x="7561" y="8227"/>
                  </a:cubicBezTo>
                  <a:cubicBezTo>
                    <a:pt x="7561" y="7561"/>
                    <a:pt x="7013" y="7013"/>
                    <a:pt x="6347" y="7013"/>
                  </a:cubicBezTo>
                  <a:lnTo>
                    <a:pt x="6168" y="7013"/>
                  </a:lnTo>
                  <a:cubicBezTo>
                    <a:pt x="6525" y="6644"/>
                    <a:pt x="6763" y="6180"/>
                    <a:pt x="6835" y="5644"/>
                  </a:cubicBezTo>
                  <a:lnTo>
                    <a:pt x="6942" y="5644"/>
                  </a:lnTo>
                  <a:cubicBezTo>
                    <a:pt x="7263" y="5644"/>
                    <a:pt x="7537" y="5406"/>
                    <a:pt x="7561" y="5108"/>
                  </a:cubicBezTo>
                  <a:cubicBezTo>
                    <a:pt x="7573" y="4941"/>
                    <a:pt x="7514" y="4763"/>
                    <a:pt x="7418" y="4644"/>
                  </a:cubicBezTo>
                  <a:cubicBezTo>
                    <a:pt x="7359" y="4584"/>
                    <a:pt x="7299" y="4536"/>
                    <a:pt x="7216" y="4489"/>
                  </a:cubicBezTo>
                  <a:lnTo>
                    <a:pt x="7216" y="4084"/>
                  </a:lnTo>
                  <a:cubicBezTo>
                    <a:pt x="7216" y="2786"/>
                    <a:pt x="6311" y="1643"/>
                    <a:pt x="5049" y="1358"/>
                  </a:cubicBezTo>
                  <a:lnTo>
                    <a:pt x="4644" y="167"/>
                  </a:lnTo>
                  <a:cubicBezTo>
                    <a:pt x="4620" y="60"/>
                    <a:pt x="4513" y="0"/>
                    <a:pt x="4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3" name="Google Shape;11563;p61"/>
            <p:cNvSpPr/>
            <p:nvPr/>
          </p:nvSpPr>
          <p:spPr>
            <a:xfrm>
              <a:off x="4997700" y="3932319"/>
              <a:ext cx="10201" cy="15872"/>
            </a:xfrm>
            <a:custGeom>
              <a:avLst/>
              <a:gdLst/>
              <a:ahLst/>
              <a:cxnLst/>
              <a:rect l="l" t="t" r="r" b="b"/>
              <a:pathLst>
                <a:path w="322" h="501" extrusionOk="0">
                  <a:moveTo>
                    <a:pt x="167" y="1"/>
                  </a:moveTo>
                  <a:cubicBezTo>
                    <a:pt x="72" y="1"/>
                    <a:pt x="0" y="72"/>
                    <a:pt x="0" y="156"/>
                  </a:cubicBezTo>
                  <a:lnTo>
                    <a:pt x="0" y="334"/>
                  </a:lnTo>
                  <a:cubicBezTo>
                    <a:pt x="0" y="429"/>
                    <a:pt x="72" y="501"/>
                    <a:pt x="167" y="501"/>
                  </a:cubicBezTo>
                  <a:cubicBezTo>
                    <a:pt x="250" y="501"/>
                    <a:pt x="322" y="429"/>
                    <a:pt x="322" y="334"/>
                  </a:cubicBezTo>
                  <a:lnTo>
                    <a:pt x="322" y="156"/>
                  </a:lnTo>
                  <a:cubicBezTo>
                    <a:pt x="322"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4" name="Google Shape;11564;p61"/>
            <p:cNvSpPr/>
            <p:nvPr/>
          </p:nvSpPr>
          <p:spPr>
            <a:xfrm>
              <a:off x="5064830" y="3932319"/>
              <a:ext cx="10233" cy="15872"/>
            </a:xfrm>
            <a:custGeom>
              <a:avLst/>
              <a:gdLst/>
              <a:ahLst/>
              <a:cxnLst/>
              <a:rect l="l" t="t" r="r" b="b"/>
              <a:pathLst>
                <a:path w="323" h="501" extrusionOk="0">
                  <a:moveTo>
                    <a:pt x="156" y="1"/>
                  </a:moveTo>
                  <a:cubicBezTo>
                    <a:pt x="72" y="1"/>
                    <a:pt x="1" y="72"/>
                    <a:pt x="1" y="156"/>
                  </a:cubicBezTo>
                  <a:lnTo>
                    <a:pt x="1" y="334"/>
                  </a:lnTo>
                  <a:cubicBezTo>
                    <a:pt x="1" y="429"/>
                    <a:pt x="72" y="501"/>
                    <a:pt x="156" y="501"/>
                  </a:cubicBezTo>
                  <a:cubicBezTo>
                    <a:pt x="251" y="501"/>
                    <a:pt x="322" y="429"/>
                    <a:pt x="322" y="334"/>
                  </a:cubicBezTo>
                  <a:lnTo>
                    <a:pt x="322" y="156"/>
                  </a:lnTo>
                  <a:cubicBezTo>
                    <a:pt x="322" y="60"/>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5" name="Google Shape;11565;p61"/>
            <p:cNvSpPr/>
            <p:nvPr/>
          </p:nvSpPr>
          <p:spPr>
            <a:xfrm>
              <a:off x="5013160" y="3970905"/>
              <a:ext cx="46063" cy="16157"/>
            </a:xfrm>
            <a:custGeom>
              <a:avLst/>
              <a:gdLst/>
              <a:ahLst/>
              <a:cxnLst/>
              <a:rect l="l" t="t" r="r" b="b"/>
              <a:pathLst>
                <a:path w="1454" h="510" extrusionOk="0">
                  <a:moveTo>
                    <a:pt x="188" y="0"/>
                  </a:moveTo>
                  <a:cubicBezTo>
                    <a:pt x="146" y="0"/>
                    <a:pt x="102" y="15"/>
                    <a:pt x="60" y="45"/>
                  </a:cubicBezTo>
                  <a:cubicBezTo>
                    <a:pt x="1" y="104"/>
                    <a:pt x="1" y="212"/>
                    <a:pt x="60" y="283"/>
                  </a:cubicBezTo>
                  <a:cubicBezTo>
                    <a:pt x="215" y="414"/>
                    <a:pt x="453" y="509"/>
                    <a:pt x="703" y="509"/>
                  </a:cubicBezTo>
                  <a:cubicBezTo>
                    <a:pt x="977" y="509"/>
                    <a:pt x="1215" y="414"/>
                    <a:pt x="1346" y="283"/>
                  </a:cubicBezTo>
                  <a:cubicBezTo>
                    <a:pt x="1429" y="223"/>
                    <a:pt x="1453"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6" name="Google Shape;11566;p61"/>
            <p:cNvSpPr/>
            <p:nvPr/>
          </p:nvSpPr>
          <p:spPr>
            <a:xfrm>
              <a:off x="4991649" y="3915370"/>
              <a:ext cx="28322" cy="16252"/>
            </a:xfrm>
            <a:custGeom>
              <a:avLst/>
              <a:gdLst/>
              <a:ahLst/>
              <a:cxnLst/>
              <a:rect l="l" t="t" r="r" b="b"/>
              <a:pathLst>
                <a:path w="894" h="513" extrusionOk="0">
                  <a:moveTo>
                    <a:pt x="177" y="0"/>
                  </a:moveTo>
                  <a:cubicBezTo>
                    <a:pt x="109" y="0"/>
                    <a:pt x="52" y="45"/>
                    <a:pt x="25" y="119"/>
                  </a:cubicBezTo>
                  <a:cubicBezTo>
                    <a:pt x="1" y="202"/>
                    <a:pt x="37" y="298"/>
                    <a:pt x="132" y="322"/>
                  </a:cubicBezTo>
                  <a:lnTo>
                    <a:pt x="656" y="500"/>
                  </a:lnTo>
                  <a:cubicBezTo>
                    <a:pt x="668" y="500"/>
                    <a:pt x="680" y="512"/>
                    <a:pt x="703" y="512"/>
                  </a:cubicBezTo>
                  <a:cubicBezTo>
                    <a:pt x="775" y="512"/>
                    <a:pt x="834" y="476"/>
                    <a:pt x="846" y="393"/>
                  </a:cubicBezTo>
                  <a:cubicBezTo>
                    <a:pt x="894" y="310"/>
                    <a:pt x="846" y="202"/>
                    <a:pt x="763" y="191"/>
                  </a:cubicBezTo>
                  <a:lnTo>
                    <a:pt x="239" y="12"/>
                  </a:lnTo>
                  <a:cubicBezTo>
                    <a:pt x="218" y="4"/>
                    <a:pt x="19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7" name="Google Shape;11567;p61"/>
            <p:cNvSpPr/>
            <p:nvPr/>
          </p:nvSpPr>
          <p:spPr>
            <a:xfrm>
              <a:off x="5052760" y="3915370"/>
              <a:ext cx="28322" cy="16252"/>
            </a:xfrm>
            <a:custGeom>
              <a:avLst/>
              <a:gdLst/>
              <a:ahLst/>
              <a:cxnLst/>
              <a:rect l="l" t="t" r="r" b="b"/>
              <a:pathLst>
                <a:path w="894" h="513" extrusionOk="0">
                  <a:moveTo>
                    <a:pt x="718" y="0"/>
                  </a:moveTo>
                  <a:cubicBezTo>
                    <a:pt x="698" y="0"/>
                    <a:pt x="677" y="4"/>
                    <a:pt x="656" y="12"/>
                  </a:cubicBezTo>
                  <a:lnTo>
                    <a:pt x="144" y="191"/>
                  </a:lnTo>
                  <a:cubicBezTo>
                    <a:pt x="48" y="214"/>
                    <a:pt x="1" y="310"/>
                    <a:pt x="36" y="393"/>
                  </a:cubicBezTo>
                  <a:cubicBezTo>
                    <a:pt x="60" y="476"/>
                    <a:pt x="120" y="512"/>
                    <a:pt x="179" y="512"/>
                  </a:cubicBezTo>
                  <a:cubicBezTo>
                    <a:pt x="191" y="512"/>
                    <a:pt x="215" y="512"/>
                    <a:pt x="227" y="500"/>
                  </a:cubicBezTo>
                  <a:lnTo>
                    <a:pt x="751" y="322"/>
                  </a:lnTo>
                  <a:cubicBezTo>
                    <a:pt x="858" y="298"/>
                    <a:pt x="894" y="191"/>
                    <a:pt x="870" y="119"/>
                  </a:cubicBezTo>
                  <a:cubicBezTo>
                    <a:pt x="842" y="45"/>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68" name="Google Shape;11568;p61"/>
          <p:cNvGrpSpPr/>
          <p:nvPr/>
        </p:nvGrpSpPr>
        <p:grpSpPr>
          <a:xfrm>
            <a:off x="7592387" y="3787858"/>
            <a:ext cx="273874" cy="351204"/>
            <a:chOff x="7592387" y="3787858"/>
            <a:chExt cx="273874" cy="351204"/>
          </a:xfrm>
        </p:grpSpPr>
        <p:sp>
          <p:nvSpPr>
            <p:cNvPr id="11569" name="Google Shape;11569;p61"/>
            <p:cNvSpPr/>
            <p:nvPr/>
          </p:nvSpPr>
          <p:spPr>
            <a:xfrm>
              <a:off x="7592387" y="3787858"/>
              <a:ext cx="273874" cy="351204"/>
            </a:xfrm>
            <a:custGeom>
              <a:avLst/>
              <a:gdLst/>
              <a:ahLst/>
              <a:cxnLst/>
              <a:rect l="l" t="t" r="r" b="b"/>
              <a:pathLst>
                <a:path w="8645" h="11086" extrusionOk="0">
                  <a:moveTo>
                    <a:pt x="4692" y="1358"/>
                  </a:moveTo>
                  <a:lnTo>
                    <a:pt x="4692" y="1894"/>
                  </a:lnTo>
                  <a:cubicBezTo>
                    <a:pt x="4692" y="2084"/>
                    <a:pt x="4525" y="2251"/>
                    <a:pt x="4334" y="2251"/>
                  </a:cubicBezTo>
                  <a:cubicBezTo>
                    <a:pt x="4120" y="2251"/>
                    <a:pt x="3977" y="2084"/>
                    <a:pt x="3977" y="1894"/>
                  </a:cubicBezTo>
                  <a:lnTo>
                    <a:pt x="3977" y="1358"/>
                  </a:lnTo>
                  <a:close/>
                  <a:moveTo>
                    <a:pt x="4311" y="334"/>
                  </a:moveTo>
                  <a:lnTo>
                    <a:pt x="6799" y="1001"/>
                  </a:lnTo>
                  <a:lnTo>
                    <a:pt x="7740" y="2561"/>
                  </a:lnTo>
                  <a:lnTo>
                    <a:pt x="7073" y="3227"/>
                  </a:lnTo>
                  <a:lnTo>
                    <a:pt x="7073" y="2418"/>
                  </a:lnTo>
                  <a:cubicBezTo>
                    <a:pt x="7073" y="2239"/>
                    <a:pt x="6918" y="2072"/>
                    <a:pt x="6728" y="2072"/>
                  </a:cubicBezTo>
                  <a:lnTo>
                    <a:pt x="6549" y="2072"/>
                  </a:lnTo>
                  <a:cubicBezTo>
                    <a:pt x="6454" y="2072"/>
                    <a:pt x="6382" y="2144"/>
                    <a:pt x="6382" y="2239"/>
                  </a:cubicBezTo>
                  <a:cubicBezTo>
                    <a:pt x="6382" y="2322"/>
                    <a:pt x="6454" y="2394"/>
                    <a:pt x="6549" y="2394"/>
                  </a:cubicBezTo>
                  <a:lnTo>
                    <a:pt x="6728" y="2394"/>
                  </a:lnTo>
                  <a:cubicBezTo>
                    <a:pt x="6728" y="2394"/>
                    <a:pt x="6739" y="2394"/>
                    <a:pt x="6739" y="2418"/>
                  </a:cubicBezTo>
                  <a:lnTo>
                    <a:pt x="6739" y="3108"/>
                  </a:lnTo>
                  <a:lnTo>
                    <a:pt x="1870" y="3108"/>
                  </a:lnTo>
                  <a:lnTo>
                    <a:pt x="1870" y="2418"/>
                  </a:lnTo>
                  <a:cubicBezTo>
                    <a:pt x="1870" y="2418"/>
                    <a:pt x="1870" y="2394"/>
                    <a:pt x="1894" y="2394"/>
                  </a:cubicBezTo>
                  <a:lnTo>
                    <a:pt x="3858" y="2394"/>
                  </a:lnTo>
                  <a:cubicBezTo>
                    <a:pt x="3977" y="2501"/>
                    <a:pt x="4132" y="2572"/>
                    <a:pt x="4299" y="2572"/>
                  </a:cubicBezTo>
                  <a:cubicBezTo>
                    <a:pt x="4477" y="2572"/>
                    <a:pt x="4632" y="2513"/>
                    <a:pt x="4751" y="2394"/>
                  </a:cubicBezTo>
                  <a:lnTo>
                    <a:pt x="5847" y="2394"/>
                  </a:lnTo>
                  <a:cubicBezTo>
                    <a:pt x="5942" y="2394"/>
                    <a:pt x="6013" y="2322"/>
                    <a:pt x="6013" y="2239"/>
                  </a:cubicBezTo>
                  <a:cubicBezTo>
                    <a:pt x="6013" y="2144"/>
                    <a:pt x="5942" y="2072"/>
                    <a:pt x="5847" y="2072"/>
                  </a:cubicBezTo>
                  <a:lnTo>
                    <a:pt x="4942" y="2072"/>
                  </a:lnTo>
                  <a:cubicBezTo>
                    <a:pt x="4954" y="2013"/>
                    <a:pt x="4965" y="1953"/>
                    <a:pt x="4965" y="1894"/>
                  </a:cubicBezTo>
                  <a:lnTo>
                    <a:pt x="4965" y="1191"/>
                  </a:lnTo>
                  <a:cubicBezTo>
                    <a:pt x="4965" y="1096"/>
                    <a:pt x="4894" y="1025"/>
                    <a:pt x="4811" y="1025"/>
                  </a:cubicBezTo>
                  <a:lnTo>
                    <a:pt x="3763" y="1025"/>
                  </a:lnTo>
                  <a:cubicBezTo>
                    <a:pt x="3680" y="1025"/>
                    <a:pt x="3596" y="1096"/>
                    <a:pt x="3596" y="1191"/>
                  </a:cubicBezTo>
                  <a:lnTo>
                    <a:pt x="3596" y="1894"/>
                  </a:lnTo>
                  <a:cubicBezTo>
                    <a:pt x="3596" y="1953"/>
                    <a:pt x="3620" y="2013"/>
                    <a:pt x="3632" y="2072"/>
                  </a:cubicBezTo>
                  <a:lnTo>
                    <a:pt x="1858" y="2072"/>
                  </a:lnTo>
                  <a:cubicBezTo>
                    <a:pt x="1679" y="2072"/>
                    <a:pt x="1513" y="2215"/>
                    <a:pt x="1513" y="2418"/>
                  </a:cubicBezTo>
                  <a:lnTo>
                    <a:pt x="1513" y="3227"/>
                  </a:lnTo>
                  <a:lnTo>
                    <a:pt x="894" y="2561"/>
                  </a:lnTo>
                  <a:lnTo>
                    <a:pt x="1834" y="1001"/>
                  </a:lnTo>
                  <a:lnTo>
                    <a:pt x="4311" y="334"/>
                  </a:lnTo>
                  <a:close/>
                  <a:moveTo>
                    <a:pt x="6680" y="3442"/>
                  </a:moveTo>
                  <a:cubicBezTo>
                    <a:pt x="6561" y="3561"/>
                    <a:pt x="6323" y="3668"/>
                    <a:pt x="6120" y="3739"/>
                  </a:cubicBezTo>
                  <a:cubicBezTo>
                    <a:pt x="5644" y="3906"/>
                    <a:pt x="5013" y="3977"/>
                    <a:pt x="4334" y="3977"/>
                  </a:cubicBezTo>
                  <a:cubicBezTo>
                    <a:pt x="3644" y="3977"/>
                    <a:pt x="3025" y="3882"/>
                    <a:pt x="2548" y="3739"/>
                  </a:cubicBezTo>
                  <a:cubicBezTo>
                    <a:pt x="2334" y="3668"/>
                    <a:pt x="2096" y="3561"/>
                    <a:pt x="1977" y="3442"/>
                  </a:cubicBezTo>
                  <a:close/>
                  <a:moveTo>
                    <a:pt x="1906" y="3787"/>
                  </a:moveTo>
                  <a:cubicBezTo>
                    <a:pt x="1977" y="3858"/>
                    <a:pt x="2108" y="3918"/>
                    <a:pt x="2263" y="3977"/>
                  </a:cubicBezTo>
                  <a:lnTo>
                    <a:pt x="2263" y="4144"/>
                  </a:lnTo>
                  <a:cubicBezTo>
                    <a:pt x="2263" y="4239"/>
                    <a:pt x="2167" y="4323"/>
                    <a:pt x="2084" y="4323"/>
                  </a:cubicBezTo>
                  <a:lnTo>
                    <a:pt x="1906" y="4323"/>
                  </a:lnTo>
                  <a:lnTo>
                    <a:pt x="1906" y="3787"/>
                  </a:lnTo>
                  <a:close/>
                  <a:moveTo>
                    <a:pt x="6775" y="3787"/>
                  </a:moveTo>
                  <a:lnTo>
                    <a:pt x="6775" y="4323"/>
                  </a:lnTo>
                  <a:lnTo>
                    <a:pt x="6597" y="4323"/>
                  </a:lnTo>
                  <a:cubicBezTo>
                    <a:pt x="6489" y="4323"/>
                    <a:pt x="6418" y="4227"/>
                    <a:pt x="6418" y="4144"/>
                  </a:cubicBezTo>
                  <a:lnTo>
                    <a:pt x="6418" y="3977"/>
                  </a:lnTo>
                  <a:lnTo>
                    <a:pt x="6394" y="3977"/>
                  </a:lnTo>
                  <a:cubicBezTo>
                    <a:pt x="6549" y="3918"/>
                    <a:pt x="6668" y="3846"/>
                    <a:pt x="6775" y="3787"/>
                  </a:cubicBezTo>
                  <a:close/>
                  <a:moveTo>
                    <a:pt x="6037" y="4096"/>
                  </a:moveTo>
                  <a:lnTo>
                    <a:pt x="6037" y="4156"/>
                  </a:lnTo>
                  <a:cubicBezTo>
                    <a:pt x="6037" y="4442"/>
                    <a:pt x="6263" y="4656"/>
                    <a:pt x="6549" y="4656"/>
                  </a:cubicBezTo>
                  <a:lnTo>
                    <a:pt x="6799" y="4656"/>
                  </a:lnTo>
                  <a:cubicBezTo>
                    <a:pt x="6870" y="4656"/>
                    <a:pt x="6954" y="4692"/>
                    <a:pt x="7013" y="4751"/>
                  </a:cubicBezTo>
                  <a:cubicBezTo>
                    <a:pt x="7049" y="4811"/>
                    <a:pt x="7085" y="4882"/>
                    <a:pt x="7085" y="4954"/>
                  </a:cubicBezTo>
                  <a:cubicBezTo>
                    <a:pt x="7073" y="5097"/>
                    <a:pt x="6930" y="5192"/>
                    <a:pt x="6787" y="5192"/>
                  </a:cubicBezTo>
                  <a:lnTo>
                    <a:pt x="6716" y="5192"/>
                  </a:lnTo>
                  <a:lnTo>
                    <a:pt x="6716" y="5180"/>
                  </a:lnTo>
                  <a:cubicBezTo>
                    <a:pt x="6716" y="5097"/>
                    <a:pt x="6632" y="5013"/>
                    <a:pt x="6549" y="5013"/>
                  </a:cubicBezTo>
                  <a:cubicBezTo>
                    <a:pt x="6454" y="5013"/>
                    <a:pt x="6382" y="5097"/>
                    <a:pt x="6382" y="5180"/>
                  </a:cubicBezTo>
                  <a:cubicBezTo>
                    <a:pt x="6382" y="6323"/>
                    <a:pt x="5442" y="7264"/>
                    <a:pt x="4299" y="7264"/>
                  </a:cubicBezTo>
                  <a:cubicBezTo>
                    <a:pt x="4292" y="7264"/>
                    <a:pt x="4284" y="7264"/>
                    <a:pt x="4277" y="7264"/>
                  </a:cubicBezTo>
                  <a:cubicBezTo>
                    <a:pt x="3156" y="7264"/>
                    <a:pt x="2227" y="6339"/>
                    <a:pt x="2227" y="5180"/>
                  </a:cubicBezTo>
                  <a:cubicBezTo>
                    <a:pt x="2227" y="5097"/>
                    <a:pt x="2156" y="5013"/>
                    <a:pt x="2072" y="5013"/>
                  </a:cubicBezTo>
                  <a:cubicBezTo>
                    <a:pt x="1977" y="5013"/>
                    <a:pt x="1906" y="5097"/>
                    <a:pt x="1906" y="5180"/>
                  </a:cubicBezTo>
                  <a:lnTo>
                    <a:pt x="1906" y="5192"/>
                  </a:lnTo>
                  <a:lnTo>
                    <a:pt x="1798" y="5192"/>
                  </a:lnTo>
                  <a:cubicBezTo>
                    <a:pt x="1727" y="5192"/>
                    <a:pt x="1656" y="5168"/>
                    <a:pt x="1596" y="5109"/>
                  </a:cubicBezTo>
                  <a:cubicBezTo>
                    <a:pt x="1548" y="5049"/>
                    <a:pt x="1513" y="4978"/>
                    <a:pt x="1513" y="4894"/>
                  </a:cubicBezTo>
                  <a:cubicBezTo>
                    <a:pt x="1536" y="4763"/>
                    <a:pt x="1667" y="4656"/>
                    <a:pt x="1810" y="4656"/>
                  </a:cubicBezTo>
                  <a:lnTo>
                    <a:pt x="2048" y="4656"/>
                  </a:lnTo>
                  <a:cubicBezTo>
                    <a:pt x="2334" y="4656"/>
                    <a:pt x="2560" y="4442"/>
                    <a:pt x="2560" y="4156"/>
                  </a:cubicBezTo>
                  <a:lnTo>
                    <a:pt x="2560" y="4096"/>
                  </a:lnTo>
                  <a:cubicBezTo>
                    <a:pt x="3049" y="4227"/>
                    <a:pt x="3656" y="4323"/>
                    <a:pt x="4299" y="4323"/>
                  </a:cubicBezTo>
                  <a:cubicBezTo>
                    <a:pt x="4942" y="4323"/>
                    <a:pt x="5549" y="4239"/>
                    <a:pt x="6037" y="4096"/>
                  </a:cubicBezTo>
                  <a:close/>
                  <a:moveTo>
                    <a:pt x="2846" y="7859"/>
                  </a:moveTo>
                  <a:lnTo>
                    <a:pt x="4037" y="8526"/>
                  </a:lnTo>
                  <a:lnTo>
                    <a:pt x="3168" y="9264"/>
                  </a:lnTo>
                  <a:lnTo>
                    <a:pt x="3156" y="9264"/>
                  </a:lnTo>
                  <a:lnTo>
                    <a:pt x="2608" y="8311"/>
                  </a:lnTo>
                  <a:lnTo>
                    <a:pt x="2822" y="7859"/>
                  </a:lnTo>
                  <a:close/>
                  <a:moveTo>
                    <a:pt x="5370" y="7371"/>
                  </a:moveTo>
                  <a:lnTo>
                    <a:pt x="5370" y="7716"/>
                  </a:lnTo>
                  <a:lnTo>
                    <a:pt x="5180" y="7811"/>
                  </a:lnTo>
                  <a:cubicBezTo>
                    <a:pt x="5108" y="7859"/>
                    <a:pt x="5073" y="7966"/>
                    <a:pt x="5120" y="8037"/>
                  </a:cubicBezTo>
                  <a:cubicBezTo>
                    <a:pt x="5153" y="8086"/>
                    <a:pt x="5208" y="8119"/>
                    <a:pt x="5266" y="8119"/>
                  </a:cubicBezTo>
                  <a:cubicBezTo>
                    <a:pt x="5293" y="8119"/>
                    <a:pt x="5320" y="8112"/>
                    <a:pt x="5346" y="8097"/>
                  </a:cubicBezTo>
                  <a:lnTo>
                    <a:pt x="5799" y="7847"/>
                  </a:lnTo>
                  <a:lnTo>
                    <a:pt x="5823" y="7847"/>
                  </a:lnTo>
                  <a:lnTo>
                    <a:pt x="6037" y="8287"/>
                  </a:lnTo>
                  <a:lnTo>
                    <a:pt x="5501" y="9264"/>
                  </a:lnTo>
                  <a:lnTo>
                    <a:pt x="5489" y="9264"/>
                  </a:lnTo>
                  <a:lnTo>
                    <a:pt x="4608" y="8514"/>
                  </a:lnTo>
                  <a:lnTo>
                    <a:pt x="4763" y="8442"/>
                  </a:lnTo>
                  <a:cubicBezTo>
                    <a:pt x="4834" y="8395"/>
                    <a:pt x="4870" y="8287"/>
                    <a:pt x="4823" y="8216"/>
                  </a:cubicBezTo>
                  <a:cubicBezTo>
                    <a:pt x="4790" y="8167"/>
                    <a:pt x="4729" y="8135"/>
                    <a:pt x="4671" y="8135"/>
                  </a:cubicBezTo>
                  <a:cubicBezTo>
                    <a:pt x="4645" y="8135"/>
                    <a:pt x="4619" y="8142"/>
                    <a:pt x="4596" y="8157"/>
                  </a:cubicBezTo>
                  <a:lnTo>
                    <a:pt x="4334" y="8311"/>
                  </a:lnTo>
                  <a:lnTo>
                    <a:pt x="3275" y="7728"/>
                  </a:lnTo>
                  <a:lnTo>
                    <a:pt x="3275" y="7371"/>
                  </a:lnTo>
                  <a:cubicBezTo>
                    <a:pt x="3584" y="7514"/>
                    <a:pt x="3942" y="7609"/>
                    <a:pt x="4334" y="7609"/>
                  </a:cubicBezTo>
                  <a:cubicBezTo>
                    <a:pt x="4704" y="7609"/>
                    <a:pt x="5061" y="7514"/>
                    <a:pt x="5370" y="7371"/>
                  </a:cubicBezTo>
                  <a:close/>
                  <a:moveTo>
                    <a:pt x="4311" y="8692"/>
                  </a:moveTo>
                  <a:lnTo>
                    <a:pt x="4668" y="8990"/>
                  </a:lnTo>
                  <a:lnTo>
                    <a:pt x="4596" y="9228"/>
                  </a:lnTo>
                  <a:cubicBezTo>
                    <a:pt x="4573" y="9300"/>
                    <a:pt x="4513" y="9347"/>
                    <a:pt x="4418" y="9347"/>
                  </a:cubicBezTo>
                  <a:lnTo>
                    <a:pt x="4227" y="9347"/>
                  </a:lnTo>
                  <a:cubicBezTo>
                    <a:pt x="4156" y="9347"/>
                    <a:pt x="4072" y="9300"/>
                    <a:pt x="4049" y="9228"/>
                  </a:cubicBezTo>
                  <a:lnTo>
                    <a:pt x="3977" y="8990"/>
                  </a:lnTo>
                  <a:lnTo>
                    <a:pt x="4311" y="8692"/>
                  </a:lnTo>
                  <a:close/>
                  <a:moveTo>
                    <a:pt x="4275" y="1"/>
                  </a:moveTo>
                  <a:lnTo>
                    <a:pt x="1667" y="703"/>
                  </a:lnTo>
                  <a:cubicBezTo>
                    <a:pt x="1620" y="715"/>
                    <a:pt x="1596" y="727"/>
                    <a:pt x="1560" y="775"/>
                  </a:cubicBezTo>
                  <a:lnTo>
                    <a:pt x="513" y="2501"/>
                  </a:lnTo>
                  <a:cubicBezTo>
                    <a:pt x="477" y="2561"/>
                    <a:pt x="489" y="2656"/>
                    <a:pt x="548" y="2692"/>
                  </a:cubicBezTo>
                  <a:lnTo>
                    <a:pt x="1548" y="3692"/>
                  </a:lnTo>
                  <a:lnTo>
                    <a:pt x="1548" y="4394"/>
                  </a:lnTo>
                  <a:cubicBezTo>
                    <a:pt x="1358" y="4477"/>
                    <a:pt x="1215" y="4656"/>
                    <a:pt x="1203" y="4870"/>
                  </a:cubicBezTo>
                  <a:cubicBezTo>
                    <a:pt x="1191" y="5037"/>
                    <a:pt x="1251" y="5216"/>
                    <a:pt x="1358" y="5335"/>
                  </a:cubicBezTo>
                  <a:cubicBezTo>
                    <a:pt x="1477" y="5454"/>
                    <a:pt x="1620" y="5525"/>
                    <a:pt x="1798" y="5525"/>
                  </a:cubicBezTo>
                  <a:lnTo>
                    <a:pt x="1917" y="5525"/>
                  </a:lnTo>
                  <a:cubicBezTo>
                    <a:pt x="2001" y="6204"/>
                    <a:pt x="2394" y="6787"/>
                    <a:pt x="2929" y="7180"/>
                  </a:cubicBezTo>
                  <a:lnTo>
                    <a:pt x="2929" y="7549"/>
                  </a:lnTo>
                  <a:cubicBezTo>
                    <a:pt x="2894" y="7531"/>
                    <a:pt x="2861" y="7523"/>
                    <a:pt x="2827" y="7523"/>
                  </a:cubicBezTo>
                  <a:cubicBezTo>
                    <a:pt x="2793" y="7523"/>
                    <a:pt x="2757" y="7531"/>
                    <a:pt x="2715" y="7549"/>
                  </a:cubicBezTo>
                  <a:cubicBezTo>
                    <a:pt x="2632" y="7573"/>
                    <a:pt x="2560" y="7633"/>
                    <a:pt x="2525" y="7716"/>
                  </a:cubicBezTo>
                  <a:lnTo>
                    <a:pt x="2275" y="8216"/>
                  </a:lnTo>
                  <a:lnTo>
                    <a:pt x="858" y="8633"/>
                  </a:lnTo>
                  <a:cubicBezTo>
                    <a:pt x="358" y="8788"/>
                    <a:pt x="1" y="9264"/>
                    <a:pt x="1" y="9776"/>
                  </a:cubicBezTo>
                  <a:lnTo>
                    <a:pt x="1" y="10907"/>
                  </a:lnTo>
                  <a:cubicBezTo>
                    <a:pt x="1" y="11002"/>
                    <a:pt x="72" y="11074"/>
                    <a:pt x="155" y="11074"/>
                  </a:cubicBezTo>
                  <a:cubicBezTo>
                    <a:pt x="251" y="11074"/>
                    <a:pt x="322" y="11002"/>
                    <a:pt x="322" y="10907"/>
                  </a:cubicBezTo>
                  <a:lnTo>
                    <a:pt x="322" y="9776"/>
                  </a:lnTo>
                  <a:cubicBezTo>
                    <a:pt x="322" y="9621"/>
                    <a:pt x="370" y="9466"/>
                    <a:pt x="441" y="9335"/>
                  </a:cubicBezTo>
                  <a:lnTo>
                    <a:pt x="1370" y="10121"/>
                  </a:lnTo>
                  <a:cubicBezTo>
                    <a:pt x="1489" y="10228"/>
                    <a:pt x="1548" y="10371"/>
                    <a:pt x="1548" y="10526"/>
                  </a:cubicBezTo>
                  <a:lnTo>
                    <a:pt x="1548" y="10895"/>
                  </a:lnTo>
                  <a:cubicBezTo>
                    <a:pt x="1548" y="10990"/>
                    <a:pt x="1620" y="11062"/>
                    <a:pt x="1703" y="11062"/>
                  </a:cubicBezTo>
                  <a:cubicBezTo>
                    <a:pt x="1798" y="11062"/>
                    <a:pt x="1870" y="10990"/>
                    <a:pt x="1870" y="10895"/>
                  </a:cubicBezTo>
                  <a:lnTo>
                    <a:pt x="1870" y="10526"/>
                  </a:lnTo>
                  <a:cubicBezTo>
                    <a:pt x="1870" y="10276"/>
                    <a:pt x="1763" y="10038"/>
                    <a:pt x="1572" y="9871"/>
                  </a:cubicBezTo>
                  <a:lnTo>
                    <a:pt x="655" y="9085"/>
                  </a:lnTo>
                  <a:cubicBezTo>
                    <a:pt x="739" y="9002"/>
                    <a:pt x="834" y="8966"/>
                    <a:pt x="953" y="8930"/>
                  </a:cubicBezTo>
                  <a:lnTo>
                    <a:pt x="2346" y="8514"/>
                  </a:lnTo>
                  <a:lnTo>
                    <a:pt x="2858" y="9407"/>
                  </a:lnTo>
                  <a:cubicBezTo>
                    <a:pt x="2894" y="9502"/>
                    <a:pt x="2989" y="9561"/>
                    <a:pt x="3096" y="9573"/>
                  </a:cubicBezTo>
                  <a:lnTo>
                    <a:pt x="3156" y="9573"/>
                  </a:lnTo>
                  <a:cubicBezTo>
                    <a:pt x="3227" y="9573"/>
                    <a:pt x="3310" y="9538"/>
                    <a:pt x="3370" y="9502"/>
                  </a:cubicBezTo>
                  <a:lnTo>
                    <a:pt x="3703" y="9216"/>
                  </a:lnTo>
                  <a:lnTo>
                    <a:pt x="3751" y="9335"/>
                  </a:lnTo>
                  <a:cubicBezTo>
                    <a:pt x="3775" y="9419"/>
                    <a:pt x="3822" y="9502"/>
                    <a:pt x="3894" y="9561"/>
                  </a:cubicBezTo>
                  <a:lnTo>
                    <a:pt x="3656" y="10883"/>
                  </a:lnTo>
                  <a:cubicBezTo>
                    <a:pt x="3644" y="10966"/>
                    <a:pt x="3703" y="11062"/>
                    <a:pt x="3787" y="11074"/>
                  </a:cubicBezTo>
                  <a:lnTo>
                    <a:pt x="3822" y="11074"/>
                  </a:lnTo>
                  <a:cubicBezTo>
                    <a:pt x="3894" y="11074"/>
                    <a:pt x="3977" y="11014"/>
                    <a:pt x="3989" y="10943"/>
                  </a:cubicBezTo>
                  <a:lnTo>
                    <a:pt x="4203" y="9692"/>
                  </a:lnTo>
                  <a:lnTo>
                    <a:pt x="4465" y="9692"/>
                  </a:lnTo>
                  <a:lnTo>
                    <a:pt x="4680" y="10943"/>
                  </a:lnTo>
                  <a:cubicBezTo>
                    <a:pt x="4704" y="11014"/>
                    <a:pt x="4775" y="11074"/>
                    <a:pt x="4846" y="11074"/>
                  </a:cubicBezTo>
                  <a:lnTo>
                    <a:pt x="4882" y="11074"/>
                  </a:lnTo>
                  <a:cubicBezTo>
                    <a:pt x="4965" y="11062"/>
                    <a:pt x="5025" y="10966"/>
                    <a:pt x="5013" y="10883"/>
                  </a:cubicBezTo>
                  <a:lnTo>
                    <a:pt x="4775" y="9561"/>
                  </a:lnTo>
                  <a:cubicBezTo>
                    <a:pt x="4834" y="9502"/>
                    <a:pt x="4894" y="9419"/>
                    <a:pt x="4906" y="9335"/>
                  </a:cubicBezTo>
                  <a:lnTo>
                    <a:pt x="4942" y="9228"/>
                  </a:lnTo>
                  <a:lnTo>
                    <a:pt x="5263" y="9514"/>
                  </a:lnTo>
                  <a:cubicBezTo>
                    <a:pt x="5323" y="9573"/>
                    <a:pt x="5406" y="9585"/>
                    <a:pt x="5489" y="9585"/>
                  </a:cubicBezTo>
                  <a:lnTo>
                    <a:pt x="5549" y="9585"/>
                  </a:lnTo>
                  <a:cubicBezTo>
                    <a:pt x="5656" y="9573"/>
                    <a:pt x="5727" y="9514"/>
                    <a:pt x="5787" y="9419"/>
                  </a:cubicBezTo>
                  <a:lnTo>
                    <a:pt x="6299" y="8526"/>
                  </a:lnTo>
                  <a:lnTo>
                    <a:pt x="7692" y="8942"/>
                  </a:lnTo>
                  <a:cubicBezTo>
                    <a:pt x="7799" y="8978"/>
                    <a:pt x="7906" y="9038"/>
                    <a:pt x="7990" y="9097"/>
                  </a:cubicBezTo>
                  <a:lnTo>
                    <a:pt x="7073" y="9883"/>
                  </a:lnTo>
                  <a:cubicBezTo>
                    <a:pt x="6870" y="10050"/>
                    <a:pt x="6775" y="10288"/>
                    <a:pt x="6775" y="10538"/>
                  </a:cubicBezTo>
                  <a:lnTo>
                    <a:pt x="6775" y="10907"/>
                  </a:lnTo>
                  <a:cubicBezTo>
                    <a:pt x="6775" y="11002"/>
                    <a:pt x="6847" y="11074"/>
                    <a:pt x="6930" y="11074"/>
                  </a:cubicBezTo>
                  <a:cubicBezTo>
                    <a:pt x="7025" y="11074"/>
                    <a:pt x="7097" y="11002"/>
                    <a:pt x="7097" y="10907"/>
                  </a:cubicBezTo>
                  <a:lnTo>
                    <a:pt x="7097" y="10538"/>
                  </a:lnTo>
                  <a:cubicBezTo>
                    <a:pt x="7097" y="10395"/>
                    <a:pt x="7168" y="10240"/>
                    <a:pt x="7275" y="10133"/>
                  </a:cubicBezTo>
                  <a:lnTo>
                    <a:pt x="8204" y="9347"/>
                  </a:lnTo>
                  <a:cubicBezTo>
                    <a:pt x="8275" y="9478"/>
                    <a:pt x="8323" y="9633"/>
                    <a:pt x="8323" y="9800"/>
                  </a:cubicBezTo>
                  <a:lnTo>
                    <a:pt x="8323" y="10931"/>
                  </a:lnTo>
                  <a:cubicBezTo>
                    <a:pt x="8323" y="11014"/>
                    <a:pt x="8394" y="11085"/>
                    <a:pt x="8478" y="11085"/>
                  </a:cubicBezTo>
                  <a:cubicBezTo>
                    <a:pt x="8573" y="11085"/>
                    <a:pt x="8644" y="11014"/>
                    <a:pt x="8644" y="10931"/>
                  </a:cubicBezTo>
                  <a:lnTo>
                    <a:pt x="8644" y="9800"/>
                  </a:lnTo>
                  <a:cubicBezTo>
                    <a:pt x="8644" y="9240"/>
                    <a:pt x="8287" y="8764"/>
                    <a:pt x="7787" y="8621"/>
                  </a:cubicBezTo>
                  <a:lnTo>
                    <a:pt x="6370" y="8204"/>
                  </a:lnTo>
                  <a:lnTo>
                    <a:pt x="6120" y="7692"/>
                  </a:lnTo>
                  <a:cubicBezTo>
                    <a:pt x="6073" y="7621"/>
                    <a:pt x="6001" y="7549"/>
                    <a:pt x="5918" y="7537"/>
                  </a:cubicBezTo>
                  <a:cubicBezTo>
                    <a:pt x="5882" y="7525"/>
                    <a:pt x="5847" y="7520"/>
                    <a:pt x="5812" y="7520"/>
                  </a:cubicBezTo>
                  <a:cubicBezTo>
                    <a:pt x="5778" y="7520"/>
                    <a:pt x="5745" y="7525"/>
                    <a:pt x="5716" y="7537"/>
                  </a:cubicBezTo>
                  <a:lnTo>
                    <a:pt x="5716" y="7180"/>
                  </a:lnTo>
                  <a:cubicBezTo>
                    <a:pt x="6251" y="6799"/>
                    <a:pt x="6632" y="6204"/>
                    <a:pt x="6728" y="5525"/>
                  </a:cubicBezTo>
                  <a:lnTo>
                    <a:pt x="6811" y="5525"/>
                  </a:lnTo>
                  <a:cubicBezTo>
                    <a:pt x="7120" y="5525"/>
                    <a:pt x="7394" y="5287"/>
                    <a:pt x="7418" y="4989"/>
                  </a:cubicBezTo>
                  <a:cubicBezTo>
                    <a:pt x="7442" y="4823"/>
                    <a:pt x="7382" y="4644"/>
                    <a:pt x="7275" y="4525"/>
                  </a:cubicBezTo>
                  <a:cubicBezTo>
                    <a:pt x="7216" y="4466"/>
                    <a:pt x="7156" y="4418"/>
                    <a:pt x="7085" y="4394"/>
                  </a:cubicBezTo>
                  <a:lnTo>
                    <a:pt x="7085" y="3692"/>
                  </a:lnTo>
                  <a:lnTo>
                    <a:pt x="8073" y="2692"/>
                  </a:lnTo>
                  <a:cubicBezTo>
                    <a:pt x="8144" y="2632"/>
                    <a:pt x="8144" y="2561"/>
                    <a:pt x="8109" y="2501"/>
                  </a:cubicBezTo>
                  <a:lnTo>
                    <a:pt x="7061" y="775"/>
                  </a:lnTo>
                  <a:cubicBezTo>
                    <a:pt x="7049" y="751"/>
                    <a:pt x="7001" y="715"/>
                    <a:pt x="6966" y="703"/>
                  </a:cubicBezTo>
                  <a:lnTo>
                    <a:pt x="435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0" name="Google Shape;11570;p61"/>
            <p:cNvSpPr/>
            <p:nvPr/>
          </p:nvSpPr>
          <p:spPr>
            <a:xfrm>
              <a:off x="7691197" y="3930830"/>
              <a:ext cx="10613" cy="15872"/>
            </a:xfrm>
            <a:custGeom>
              <a:avLst/>
              <a:gdLst/>
              <a:ahLst/>
              <a:cxnLst/>
              <a:rect l="l" t="t" r="r" b="b"/>
              <a:pathLst>
                <a:path w="335" h="501" extrusionOk="0">
                  <a:moveTo>
                    <a:pt x="168" y="0"/>
                  </a:moveTo>
                  <a:cubicBezTo>
                    <a:pt x="84" y="0"/>
                    <a:pt x="1" y="72"/>
                    <a:pt x="1" y="167"/>
                  </a:cubicBezTo>
                  <a:lnTo>
                    <a:pt x="1" y="345"/>
                  </a:lnTo>
                  <a:cubicBezTo>
                    <a:pt x="1" y="429"/>
                    <a:pt x="84" y="500"/>
                    <a:pt x="168" y="500"/>
                  </a:cubicBezTo>
                  <a:cubicBezTo>
                    <a:pt x="263" y="500"/>
                    <a:pt x="334" y="429"/>
                    <a:pt x="334" y="345"/>
                  </a:cubicBezTo>
                  <a:lnTo>
                    <a:pt x="334" y="167"/>
                  </a:lnTo>
                  <a:cubicBezTo>
                    <a:pt x="334" y="60"/>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1" name="Google Shape;11571;p61"/>
            <p:cNvSpPr/>
            <p:nvPr/>
          </p:nvSpPr>
          <p:spPr>
            <a:xfrm>
              <a:off x="7757218" y="3930830"/>
              <a:ext cx="10581" cy="15872"/>
            </a:xfrm>
            <a:custGeom>
              <a:avLst/>
              <a:gdLst/>
              <a:ahLst/>
              <a:cxnLst/>
              <a:rect l="l" t="t" r="r" b="b"/>
              <a:pathLst>
                <a:path w="334"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22" y="60"/>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2" name="Google Shape;11572;p61"/>
            <p:cNvSpPr/>
            <p:nvPr/>
          </p:nvSpPr>
          <p:spPr>
            <a:xfrm>
              <a:off x="7713088" y="3974580"/>
              <a:ext cx="32472" cy="10581"/>
            </a:xfrm>
            <a:custGeom>
              <a:avLst/>
              <a:gdLst/>
              <a:ahLst/>
              <a:cxnLst/>
              <a:rect l="l" t="t" r="r" b="b"/>
              <a:pathLst>
                <a:path w="1025" h="334" extrusionOk="0">
                  <a:moveTo>
                    <a:pt x="167" y="0"/>
                  </a:moveTo>
                  <a:cubicBezTo>
                    <a:pt x="72" y="0"/>
                    <a:pt x="1" y="72"/>
                    <a:pt x="1" y="167"/>
                  </a:cubicBezTo>
                  <a:cubicBezTo>
                    <a:pt x="1" y="250"/>
                    <a:pt x="72" y="334"/>
                    <a:pt x="167" y="334"/>
                  </a:cubicBezTo>
                  <a:lnTo>
                    <a:pt x="858" y="334"/>
                  </a:lnTo>
                  <a:cubicBezTo>
                    <a:pt x="953" y="334"/>
                    <a:pt x="1024" y="250"/>
                    <a:pt x="1024" y="167"/>
                  </a:cubicBezTo>
                  <a:cubicBezTo>
                    <a:pt x="1024" y="60"/>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73" name="Google Shape;11573;p61"/>
          <p:cNvGrpSpPr/>
          <p:nvPr/>
        </p:nvGrpSpPr>
        <p:grpSpPr>
          <a:xfrm>
            <a:off x="7145794" y="3787858"/>
            <a:ext cx="274254" cy="350444"/>
            <a:chOff x="7145794" y="3787858"/>
            <a:chExt cx="274254" cy="350444"/>
          </a:xfrm>
        </p:grpSpPr>
        <p:sp>
          <p:nvSpPr>
            <p:cNvPr id="11574" name="Google Shape;11574;p61"/>
            <p:cNvSpPr/>
            <p:nvPr/>
          </p:nvSpPr>
          <p:spPr>
            <a:xfrm>
              <a:off x="7247265"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5" name="Google Shape;11575;p61"/>
            <p:cNvSpPr/>
            <p:nvPr/>
          </p:nvSpPr>
          <p:spPr>
            <a:xfrm>
              <a:off x="7307616" y="3891959"/>
              <a:ext cx="10201" cy="16252"/>
            </a:xfrm>
            <a:custGeom>
              <a:avLst/>
              <a:gdLst/>
              <a:ahLst/>
              <a:cxnLst/>
              <a:rect l="l" t="t" r="r" b="b"/>
              <a:pathLst>
                <a:path w="322" h="513" extrusionOk="0">
                  <a:moveTo>
                    <a:pt x="167" y="1"/>
                  </a:moveTo>
                  <a:cubicBezTo>
                    <a:pt x="72" y="1"/>
                    <a:pt x="0" y="84"/>
                    <a:pt x="0" y="168"/>
                  </a:cubicBezTo>
                  <a:lnTo>
                    <a:pt x="0" y="346"/>
                  </a:lnTo>
                  <a:cubicBezTo>
                    <a:pt x="0" y="441"/>
                    <a:pt x="72" y="513"/>
                    <a:pt x="167" y="513"/>
                  </a:cubicBezTo>
                  <a:cubicBezTo>
                    <a:pt x="250" y="513"/>
                    <a:pt x="322" y="441"/>
                    <a:pt x="322" y="346"/>
                  </a:cubicBezTo>
                  <a:lnTo>
                    <a:pt x="322" y="168"/>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6" name="Google Shape;11576;p61"/>
            <p:cNvSpPr/>
            <p:nvPr/>
          </p:nvSpPr>
          <p:spPr>
            <a:xfrm>
              <a:off x="7145794" y="3787858"/>
              <a:ext cx="274254" cy="350444"/>
            </a:xfrm>
            <a:custGeom>
              <a:avLst/>
              <a:gdLst/>
              <a:ahLst/>
              <a:cxnLst/>
              <a:rect l="l" t="t" r="r" b="b"/>
              <a:pathLst>
                <a:path w="8657" h="11062" extrusionOk="0">
                  <a:moveTo>
                    <a:pt x="2775" y="882"/>
                  </a:moveTo>
                  <a:lnTo>
                    <a:pt x="2775" y="2596"/>
                  </a:lnTo>
                  <a:lnTo>
                    <a:pt x="1894" y="2596"/>
                  </a:lnTo>
                  <a:cubicBezTo>
                    <a:pt x="1917" y="1906"/>
                    <a:pt x="2263" y="1299"/>
                    <a:pt x="2775" y="882"/>
                  </a:cubicBezTo>
                  <a:close/>
                  <a:moveTo>
                    <a:pt x="4299" y="334"/>
                  </a:moveTo>
                  <a:cubicBezTo>
                    <a:pt x="4751" y="334"/>
                    <a:pt x="5168" y="453"/>
                    <a:pt x="5525" y="656"/>
                  </a:cubicBezTo>
                  <a:lnTo>
                    <a:pt x="5525" y="1727"/>
                  </a:lnTo>
                  <a:cubicBezTo>
                    <a:pt x="5525" y="1822"/>
                    <a:pt x="5596" y="1894"/>
                    <a:pt x="5692" y="1894"/>
                  </a:cubicBezTo>
                  <a:cubicBezTo>
                    <a:pt x="5775" y="1894"/>
                    <a:pt x="5847" y="1822"/>
                    <a:pt x="5847" y="1727"/>
                  </a:cubicBezTo>
                  <a:lnTo>
                    <a:pt x="5847" y="894"/>
                  </a:lnTo>
                  <a:cubicBezTo>
                    <a:pt x="6358" y="1310"/>
                    <a:pt x="6680" y="1918"/>
                    <a:pt x="6728" y="2608"/>
                  </a:cubicBezTo>
                  <a:lnTo>
                    <a:pt x="5847" y="2608"/>
                  </a:lnTo>
                  <a:lnTo>
                    <a:pt x="5847" y="2430"/>
                  </a:lnTo>
                  <a:cubicBezTo>
                    <a:pt x="5847" y="2334"/>
                    <a:pt x="5775" y="2263"/>
                    <a:pt x="5692" y="2263"/>
                  </a:cubicBezTo>
                  <a:cubicBezTo>
                    <a:pt x="5596" y="2263"/>
                    <a:pt x="5525" y="2334"/>
                    <a:pt x="5525" y="2430"/>
                  </a:cubicBezTo>
                  <a:lnTo>
                    <a:pt x="5525" y="2608"/>
                  </a:lnTo>
                  <a:lnTo>
                    <a:pt x="3084" y="2608"/>
                  </a:lnTo>
                  <a:lnTo>
                    <a:pt x="3084" y="656"/>
                  </a:lnTo>
                  <a:cubicBezTo>
                    <a:pt x="3441" y="453"/>
                    <a:pt x="3858" y="334"/>
                    <a:pt x="4299" y="334"/>
                  </a:cubicBezTo>
                  <a:close/>
                  <a:moveTo>
                    <a:pt x="4501" y="2918"/>
                  </a:moveTo>
                  <a:lnTo>
                    <a:pt x="4501" y="3632"/>
                  </a:lnTo>
                  <a:lnTo>
                    <a:pt x="4120" y="3632"/>
                  </a:lnTo>
                  <a:lnTo>
                    <a:pt x="4120" y="3620"/>
                  </a:lnTo>
                  <a:lnTo>
                    <a:pt x="4120" y="2918"/>
                  </a:lnTo>
                  <a:close/>
                  <a:moveTo>
                    <a:pt x="3799" y="2918"/>
                  </a:moveTo>
                  <a:lnTo>
                    <a:pt x="3799" y="3620"/>
                  </a:lnTo>
                  <a:cubicBezTo>
                    <a:pt x="3799" y="3799"/>
                    <a:pt x="3703" y="3966"/>
                    <a:pt x="3549" y="4037"/>
                  </a:cubicBezTo>
                  <a:cubicBezTo>
                    <a:pt x="3476" y="4073"/>
                    <a:pt x="3400" y="4092"/>
                    <a:pt x="3326" y="4092"/>
                  </a:cubicBezTo>
                  <a:cubicBezTo>
                    <a:pt x="3230" y="4092"/>
                    <a:pt x="3136" y="4062"/>
                    <a:pt x="3049" y="4001"/>
                  </a:cubicBezTo>
                  <a:lnTo>
                    <a:pt x="1858" y="3180"/>
                  </a:lnTo>
                  <a:lnTo>
                    <a:pt x="1858" y="2918"/>
                  </a:lnTo>
                  <a:close/>
                  <a:moveTo>
                    <a:pt x="6739" y="2918"/>
                  </a:moveTo>
                  <a:lnTo>
                    <a:pt x="6739" y="3180"/>
                  </a:lnTo>
                  <a:lnTo>
                    <a:pt x="5549" y="4001"/>
                  </a:lnTo>
                  <a:cubicBezTo>
                    <a:pt x="5468" y="4062"/>
                    <a:pt x="5377" y="4092"/>
                    <a:pt x="5282" y="4092"/>
                  </a:cubicBezTo>
                  <a:cubicBezTo>
                    <a:pt x="5209" y="4092"/>
                    <a:pt x="5134" y="4073"/>
                    <a:pt x="5061" y="4037"/>
                  </a:cubicBezTo>
                  <a:cubicBezTo>
                    <a:pt x="4894" y="3942"/>
                    <a:pt x="4811" y="3799"/>
                    <a:pt x="4811" y="3620"/>
                  </a:cubicBezTo>
                  <a:lnTo>
                    <a:pt x="4811" y="2918"/>
                  </a:lnTo>
                  <a:close/>
                  <a:moveTo>
                    <a:pt x="6906" y="3465"/>
                  </a:moveTo>
                  <a:cubicBezTo>
                    <a:pt x="7001" y="3513"/>
                    <a:pt x="7073" y="3585"/>
                    <a:pt x="7073" y="3692"/>
                  </a:cubicBezTo>
                  <a:cubicBezTo>
                    <a:pt x="7085" y="3763"/>
                    <a:pt x="7061" y="3846"/>
                    <a:pt x="7001" y="3906"/>
                  </a:cubicBezTo>
                  <a:cubicBezTo>
                    <a:pt x="6954" y="3966"/>
                    <a:pt x="6882" y="3989"/>
                    <a:pt x="6787" y="3989"/>
                  </a:cubicBezTo>
                  <a:lnTo>
                    <a:pt x="6680" y="3989"/>
                  </a:lnTo>
                  <a:lnTo>
                    <a:pt x="6680" y="3977"/>
                  </a:lnTo>
                  <a:cubicBezTo>
                    <a:pt x="6680" y="3882"/>
                    <a:pt x="6609" y="3811"/>
                    <a:pt x="6525" y="3811"/>
                  </a:cubicBezTo>
                  <a:cubicBezTo>
                    <a:pt x="6430" y="3811"/>
                    <a:pt x="6358" y="3882"/>
                    <a:pt x="6358" y="3977"/>
                  </a:cubicBezTo>
                  <a:cubicBezTo>
                    <a:pt x="6406" y="5120"/>
                    <a:pt x="5466" y="6061"/>
                    <a:pt x="4323" y="6061"/>
                  </a:cubicBezTo>
                  <a:cubicBezTo>
                    <a:pt x="3168" y="6061"/>
                    <a:pt x="2239" y="5120"/>
                    <a:pt x="2239" y="3977"/>
                  </a:cubicBezTo>
                  <a:cubicBezTo>
                    <a:pt x="2239" y="3882"/>
                    <a:pt x="2156" y="3811"/>
                    <a:pt x="2072" y="3811"/>
                  </a:cubicBezTo>
                  <a:cubicBezTo>
                    <a:pt x="1977" y="3811"/>
                    <a:pt x="1906" y="3882"/>
                    <a:pt x="1906" y="3977"/>
                  </a:cubicBezTo>
                  <a:lnTo>
                    <a:pt x="1906" y="3989"/>
                  </a:lnTo>
                  <a:lnTo>
                    <a:pt x="1798" y="3989"/>
                  </a:lnTo>
                  <a:cubicBezTo>
                    <a:pt x="1727" y="3989"/>
                    <a:pt x="1656" y="3966"/>
                    <a:pt x="1596" y="3906"/>
                  </a:cubicBezTo>
                  <a:cubicBezTo>
                    <a:pt x="1548" y="3846"/>
                    <a:pt x="1525" y="3763"/>
                    <a:pt x="1525" y="3692"/>
                  </a:cubicBezTo>
                  <a:cubicBezTo>
                    <a:pt x="1536" y="3608"/>
                    <a:pt x="1596" y="3513"/>
                    <a:pt x="1679" y="3465"/>
                  </a:cubicBezTo>
                  <a:lnTo>
                    <a:pt x="2858" y="4287"/>
                  </a:lnTo>
                  <a:cubicBezTo>
                    <a:pt x="2989" y="4382"/>
                    <a:pt x="3156" y="4442"/>
                    <a:pt x="3310" y="4442"/>
                  </a:cubicBezTo>
                  <a:cubicBezTo>
                    <a:pt x="3430" y="4442"/>
                    <a:pt x="3561" y="4406"/>
                    <a:pt x="3680" y="4347"/>
                  </a:cubicBezTo>
                  <a:cubicBezTo>
                    <a:pt x="3846" y="4263"/>
                    <a:pt x="3965" y="4144"/>
                    <a:pt x="4037" y="3977"/>
                  </a:cubicBezTo>
                  <a:lnTo>
                    <a:pt x="4561" y="3977"/>
                  </a:lnTo>
                  <a:cubicBezTo>
                    <a:pt x="4632" y="4120"/>
                    <a:pt x="4751" y="4263"/>
                    <a:pt x="4918" y="4347"/>
                  </a:cubicBezTo>
                  <a:cubicBezTo>
                    <a:pt x="5037" y="4406"/>
                    <a:pt x="5156" y="4442"/>
                    <a:pt x="5287" y="4442"/>
                  </a:cubicBezTo>
                  <a:cubicBezTo>
                    <a:pt x="5454" y="4442"/>
                    <a:pt x="5596" y="4394"/>
                    <a:pt x="5727" y="4287"/>
                  </a:cubicBezTo>
                  <a:lnTo>
                    <a:pt x="6906" y="3465"/>
                  </a:lnTo>
                  <a:close/>
                  <a:moveTo>
                    <a:pt x="4323" y="8633"/>
                  </a:moveTo>
                  <a:cubicBezTo>
                    <a:pt x="4620" y="8633"/>
                    <a:pt x="4858" y="8871"/>
                    <a:pt x="4858" y="9169"/>
                  </a:cubicBezTo>
                  <a:cubicBezTo>
                    <a:pt x="4834" y="9466"/>
                    <a:pt x="4596" y="9704"/>
                    <a:pt x="4323" y="9704"/>
                  </a:cubicBezTo>
                  <a:cubicBezTo>
                    <a:pt x="4025" y="9704"/>
                    <a:pt x="3787" y="9466"/>
                    <a:pt x="3787" y="9169"/>
                  </a:cubicBezTo>
                  <a:cubicBezTo>
                    <a:pt x="3787" y="8871"/>
                    <a:pt x="4025" y="8633"/>
                    <a:pt x="4323" y="8633"/>
                  </a:cubicBezTo>
                  <a:close/>
                  <a:moveTo>
                    <a:pt x="4323" y="1"/>
                  </a:moveTo>
                  <a:cubicBezTo>
                    <a:pt x="2799" y="1"/>
                    <a:pt x="1560" y="1239"/>
                    <a:pt x="1560" y="2751"/>
                  </a:cubicBezTo>
                  <a:lnTo>
                    <a:pt x="1560" y="3168"/>
                  </a:lnTo>
                  <a:cubicBezTo>
                    <a:pt x="1370" y="3263"/>
                    <a:pt x="1239" y="3442"/>
                    <a:pt x="1227" y="3644"/>
                  </a:cubicBezTo>
                  <a:cubicBezTo>
                    <a:pt x="1203" y="3811"/>
                    <a:pt x="1263" y="3989"/>
                    <a:pt x="1370" y="4108"/>
                  </a:cubicBezTo>
                  <a:cubicBezTo>
                    <a:pt x="1489" y="4227"/>
                    <a:pt x="1644" y="4299"/>
                    <a:pt x="1822" y="4299"/>
                  </a:cubicBezTo>
                  <a:lnTo>
                    <a:pt x="1941" y="4299"/>
                  </a:lnTo>
                  <a:cubicBezTo>
                    <a:pt x="2025" y="4989"/>
                    <a:pt x="2418" y="5573"/>
                    <a:pt x="2953" y="5954"/>
                  </a:cubicBezTo>
                  <a:lnTo>
                    <a:pt x="2953" y="6704"/>
                  </a:lnTo>
                  <a:cubicBezTo>
                    <a:pt x="2953" y="6859"/>
                    <a:pt x="2846" y="7002"/>
                    <a:pt x="2691" y="7037"/>
                  </a:cubicBezTo>
                  <a:lnTo>
                    <a:pt x="870" y="7573"/>
                  </a:lnTo>
                  <a:cubicBezTo>
                    <a:pt x="358" y="7728"/>
                    <a:pt x="1" y="8204"/>
                    <a:pt x="1" y="8728"/>
                  </a:cubicBezTo>
                  <a:lnTo>
                    <a:pt x="1" y="10895"/>
                  </a:lnTo>
                  <a:cubicBezTo>
                    <a:pt x="1" y="10990"/>
                    <a:pt x="72" y="11062"/>
                    <a:pt x="167" y="11062"/>
                  </a:cubicBezTo>
                  <a:cubicBezTo>
                    <a:pt x="251" y="11062"/>
                    <a:pt x="322" y="10990"/>
                    <a:pt x="322" y="10895"/>
                  </a:cubicBezTo>
                  <a:lnTo>
                    <a:pt x="322" y="8728"/>
                  </a:lnTo>
                  <a:cubicBezTo>
                    <a:pt x="322" y="8561"/>
                    <a:pt x="370" y="8407"/>
                    <a:pt x="441" y="8276"/>
                  </a:cubicBezTo>
                  <a:lnTo>
                    <a:pt x="1370" y="9061"/>
                  </a:lnTo>
                  <a:cubicBezTo>
                    <a:pt x="1489" y="9169"/>
                    <a:pt x="1548" y="9323"/>
                    <a:pt x="1548" y="9466"/>
                  </a:cubicBezTo>
                  <a:lnTo>
                    <a:pt x="1548" y="10883"/>
                  </a:lnTo>
                  <a:cubicBezTo>
                    <a:pt x="1548" y="10966"/>
                    <a:pt x="1620" y="11050"/>
                    <a:pt x="1715" y="11050"/>
                  </a:cubicBezTo>
                  <a:cubicBezTo>
                    <a:pt x="1798" y="11050"/>
                    <a:pt x="1870" y="10966"/>
                    <a:pt x="1870" y="10883"/>
                  </a:cubicBezTo>
                  <a:lnTo>
                    <a:pt x="1870" y="9466"/>
                  </a:lnTo>
                  <a:cubicBezTo>
                    <a:pt x="1870" y="9216"/>
                    <a:pt x="1775" y="8978"/>
                    <a:pt x="1572" y="8811"/>
                  </a:cubicBezTo>
                  <a:lnTo>
                    <a:pt x="655" y="8026"/>
                  </a:lnTo>
                  <a:cubicBezTo>
                    <a:pt x="739" y="7954"/>
                    <a:pt x="834" y="7906"/>
                    <a:pt x="953" y="7871"/>
                  </a:cubicBezTo>
                  <a:lnTo>
                    <a:pt x="1334" y="7752"/>
                  </a:lnTo>
                  <a:lnTo>
                    <a:pt x="2787" y="8466"/>
                  </a:lnTo>
                  <a:cubicBezTo>
                    <a:pt x="2810" y="8490"/>
                    <a:pt x="2822" y="8490"/>
                    <a:pt x="2858" y="8490"/>
                  </a:cubicBezTo>
                  <a:cubicBezTo>
                    <a:pt x="2918" y="8490"/>
                    <a:pt x="2977" y="8454"/>
                    <a:pt x="3001" y="8395"/>
                  </a:cubicBezTo>
                  <a:cubicBezTo>
                    <a:pt x="3049" y="8323"/>
                    <a:pt x="3025" y="8216"/>
                    <a:pt x="2929" y="8168"/>
                  </a:cubicBezTo>
                  <a:lnTo>
                    <a:pt x="1798" y="7609"/>
                  </a:lnTo>
                  <a:lnTo>
                    <a:pt x="2787" y="7323"/>
                  </a:lnTo>
                  <a:cubicBezTo>
                    <a:pt x="3060" y="7240"/>
                    <a:pt x="3275" y="6966"/>
                    <a:pt x="3275" y="6668"/>
                  </a:cubicBezTo>
                  <a:lnTo>
                    <a:pt x="3275" y="6121"/>
                  </a:lnTo>
                  <a:cubicBezTo>
                    <a:pt x="3584" y="6263"/>
                    <a:pt x="3942" y="6359"/>
                    <a:pt x="4334" y="6359"/>
                  </a:cubicBezTo>
                  <a:cubicBezTo>
                    <a:pt x="4715" y="6359"/>
                    <a:pt x="5061" y="6263"/>
                    <a:pt x="5382" y="6121"/>
                  </a:cubicBezTo>
                  <a:lnTo>
                    <a:pt x="5382" y="6668"/>
                  </a:lnTo>
                  <a:cubicBezTo>
                    <a:pt x="5382" y="6966"/>
                    <a:pt x="5596" y="7240"/>
                    <a:pt x="5882" y="7323"/>
                  </a:cubicBezTo>
                  <a:lnTo>
                    <a:pt x="6859" y="7609"/>
                  </a:lnTo>
                  <a:lnTo>
                    <a:pt x="4965" y="8549"/>
                  </a:lnTo>
                  <a:cubicBezTo>
                    <a:pt x="4823" y="8383"/>
                    <a:pt x="4596" y="8276"/>
                    <a:pt x="4346" y="8276"/>
                  </a:cubicBezTo>
                  <a:cubicBezTo>
                    <a:pt x="4096" y="8276"/>
                    <a:pt x="3870" y="8383"/>
                    <a:pt x="3715" y="8549"/>
                  </a:cubicBezTo>
                  <a:lnTo>
                    <a:pt x="3561" y="8454"/>
                  </a:lnTo>
                  <a:cubicBezTo>
                    <a:pt x="3535" y="8440"/>
                    <a:pt x="3508" y="8433"/>
                    <a:pt x="3482" y="8433"/>
                  </a:cubicBezTo>
                  <a:cubicBezTo>
                    <a:pt x="3423" y="8433"/>
                    <a:pt x="3367" y="8468"/>
                    <a:pt x="3334" y="8526"/>
                  </a:cubicBezTo>
                  <a:cubicBezTo>
                    <a:pt x="3287" y="8609"/>
                    <a:pt x="3322" y="8704"/>
                    <a:pt x="3406" y="8752"/>
                  </a:cubicBezTo>
                  <a:lnTo>
                    <a:pt x="3537" y="8823"/>
                  </a:lnTo>
                  <a:cubicBezTo>
                    <a:pt x="3513" y="8919"/>
                    <a:pt x="3477" y="9026"/>
                    <a:pt x="3477" y="9121"/>
                  </a:cubicBezTo>
                  <a:cubicBezTo>
                    <a:pt x="3477" y="9538"/>
                    <a:pt x="3775" y="9883"/>
                    <a:pt x="4180" y="9954"/>
                  </a:cubicBezTo>
                  <a:lnTo>
                    <a:pt x="4180" y="10847"/>
                  </a:lnTo>
                  <a:cubicBezTo>
                    <a:pt x="4180" y="10943"/>
                    <a:pt x="4251" y="11014"/>
                    <a:pt x="4346" y="11014"/>
                  </a:cubicBezTo>
                  <a:cubicBezTo>
                    <a:pt x="4430" y="11014"/>
                    <a:pt x="4513" y="10943"/>
                    <a:pt x="4513" y="10847"/>
                  </a:cubicBezTo>
                  <a:lnTo>
                    <a:pt x="4513" y="9954"/>
                  </a:lnTo>
                  <a:cubicBezTo>
                    <a:pt x="4894" y="9883"/>
                    <a:pt x="5204" y="9538"/>
                    <a:pt x="5204" y="9121"/>
                  </a:cubicBezTo>
                  <a:cubicBezTo>
                    <a:pt x="5204" y="9026"/>
                    <a:pt x="5192" y="8919"/>
                    <a:pt x="5144" y="8823"/>
                  </a:cubicBezTo>
                  <a:lnTo>
                    <a:pt x="7323" y="7740"/>
                  </a:lnTo>
                  <a:lnTo>
                    <a:pt x="7704" y="7859"/>
                  </a:lnTo>
                  <a:cubicBezTo>
                    <a:pt x="7811" y="7895"/>
                    <a:pt x="7918" y="7954"/>
                    <a:pt x="8002" y="8014"/>
                  </a:cubicBezTo>
                  <a:lnTo>
                    <a:pt x="7085" y="8799"/>
                  </a:lnTo>
                  <a:cubicBezTo>
                    <a:pt x="6894" y="8966"/>
                    <a:pt x="6787" y="9204"/>
                    <a:pt x="6787" y="9454"/>
                  </a:cubicBezTo>
                  <a:lnTo>
                    <a:pt x="6787" y="10871"/>
                  </a:lnTo>
                  <a:cubicBezTo>
                    <a:pt x="6787" y="10954"/>
                    <a:pt x="6859" y="11026"/>
                    <a:pt x="6954" y="11026"/>
                  </a:cubicBezTo>
                  <a:cubicBezTo>
                    <a:pt x="7037" y="11026"/>
                    <a:pt x="7109" y="10954"/>
                    <a:pt x="7109" y="10871"/>
                  </a:cubicBezTo>
                  <a:lnTo>
                    <a:pt x="7109" y="9454"/>
                  </a:lnTo>
                  <a:cubicBezTo>
                    <a:pt x="7109" y="9300"/>
                    <a:pt x="7192" y="9157"/>
                    <a:pt x="7287" y="9049"/>
                  </a:cubicBezTo>
                  <a:lnTo>
                    <a:pt x="8216" y="8264"/>
                  </a:lnTo>
                  <a:cubicBezTo>
                    <a:pt x="8287" y="8395"/>
                    <a:pt x="8335" y="8549"/>
                    <a:pt x="8335" y="8704"/>
                  </a:cubicBezTo>
                  <a:lnTo>
                    <a:pt x="8335" y="10883"/>
                  </a:lnTo>
                  <a:cubicBezTo>
                    <a:pt x="8335" y="10966"/>
                    <a:pt x="8406" y="11050"/>
                    <a:pt x="8502" y="11050"/>
                  </a:cubicBezTo>
                  <a:cubicBezTo>
                    <a:pt x="8585" y="11050"/>
                    <a:pt x="8656" y="10966"/>
                    <a:pt x="8656" y="10883"/>
                  </a:cubicBezTo>
                  <a:lnTo>
                    <a:pt x="8656" y="8704"/>
                  </a:lnTo>
                  <a:cubicBezTo>
                    <a:pt x="8633" y="8204"/>
                    <a:pt x="8275" y="7728"/>
                    <a:pt x="7775" y="7573"/>
                  </a:cubicBezTo>
                  <a:lnTo>
                    <a:pt x="5942" y="7037"/>
                  </a:lnTo>
                  <a:cubicBezTo>
                    <a:pt x="5787" y="7002"/>
                    <a:pt x="5692" y="6859"/>
                    <a:pt x="5692" y="6704"/>
                  </a:cubicBezTo>
                  <a:lnTo>
                    <a:pt x="5692" y="5954"/>
                  </a:lnTo>
                  <a:cubicBezTo>
                    <a:pt x="6228" y="5585"/>
                    <a:pt x="6609" y="4989"/>
                    <a:pt x="6704" y="4299"/>
                  </a:cubicBezTo>
                  <a:lnTo>
                    <a:pt x="6823" y="4299"/>
                  </a:lnTo>
                  <a:cubicBezTo>
                    <a:pt x="6978" y="4299"/>
                    <a:pt x="7144" y="4227"/>
                    <a:pt x="7263" y="4108"/>
                  </a:cubicBezTo>
                  <a:cubicBezTo>
                    <a:pt x="7382" y="3989"/>
                    <a:pt x="7430" y="3811"/>
                    <a:pt x="7418" y="3644"/>
                  </a:cubicBezTo>
                  <a:cubicBezTo>
                    <a:pt x="7394" y="3442"/>
                    <a:pt x="7263" y="3263"/>
                    <a:pt x="7073" y="3168"/>
                  </a:cubicBezTo>
                  <a:lnTo>
                    <a:pt x="7073" y="2751"/>
                  </a:lnTo>
                  <a:cubicBezTo>
                    <a:pt x="7073" y="1239"/>
                    <a:pt x="5835" y="1"/>
                    <a:pt x="4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7" name="Google Shape;11577;p61"/>
            <p:cNvSpPr/>
            <p:nvPr/>
          </p:nvSpPr>
          <p:spPr>
            <a:xfrm>
              <a:off x="7260824" y="3930925"/>
              <a:ext cx="43813" cy="15396"/>
            </a:xfrm>
            <a:custGeom>
              <a:avLst/>
              <a:gdLst/>
              <a:ahLst/>
              <a:cxnLst/>
              <a:rect l="l" t="t" r="r" b="b"/>
              <a:pathLst>
                <a:path w="1383" h="486" extrusionOk="0">
                  <a:moveTo>
                    <a:pt x="174" y="0"/>
                  </a:moveTo>
                  <a:cubicBezTo>
                    <a:pt x="132" y="0"/>
                    <a:pt x="90" y="15"/>
                    <a:pt x="60" y="45"/>
                  </a:cubicBezTo>
                  <a:cubicBezTo>
                    <a:pt x="1" y="104"/>
                    <a:pt x="1" y="200"/>
                    <a:pt x="60" y="259"/>
                  </a:cubicBezTo>
                  <a:cubicBezTo>
                    <a:pt x="191" y="402"/>
                    <a:pt x="430" y="485"/>
                    <a:pt x="703" y="485"/>
                  </a:cubicBezTo>
                  <a:cubicBezTo>
                    <a:pt x="965" y="485"/>
                    <a:pt x="1192" y="402"/>
                    <a:pt x="1346" y="259"/>
                  </a:cubicBezTo>
                  <a:cubicBezTo>
                    <a:pt x="1370" y="200"/>
                    <a:pt x="1382" y="104"/>
                    <a:pt x="1311" y="45"/>
                  </a:cubicBezTo>
                  <a:cubicBezTo>
                    <a:pt x="1281" y="15"/>
                    <a:pt x="1239" y="0"/>
                    <a:pt x="1198" y="0"/>
                  </a:cubicBezTo>
                  <a:cubicBezTo>
                    <a:pt x="1156" y="0"/>
                    <a:pt x="1114" y="15"/>
                    <a:pt x="1084" y="45"/>
                  </a:cubicBezTo>
                  <a:cubicBezTo>
                    <a:pt x="1025" y="104"/>
                    <a:pt x="894" y="152"/>
                    <a:pt x="692" y="152"/>
                  </a:cubicBezTo>
                  <a:cubicBezTo>
                    <a:pt x="477" y="152"/>
                    <a:pt x="346" y="81"/>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8" name="Google Shape;11578;p61"/>
            <p:cNvSpPr/>
            <p:nvPr/>
          </p:nvSpPr>
          <p:spPr>
            <a:xfrm>
              <a:off x="7260476" y="3837532"/>
              <a:ext cx="44162" cy="21289"/>
            </a:xfrm>
            <a:custGeom>
              <a:avLst/>
              <a:gdLst/>
              <a:ahLst/>
              <a:cxnLst/>
              <a:rect l="l" t="t" r="r" b="b"/>
              <a:pathLst>
                <a:path w="1394" h="672" extrusionOk="0">
                  <a:moveTo>
                    <a:pt x="170" y="0"/>
                  </a:moveTo>
                  <a:cubicBezTo>
                    <a:pt x="119" y="0"/>
                    <a:pt x="70" y="25"/>
                    <a:pt x="48" y="76"/>
                  </a:cubicBezTo>
                  <a:cubicBezTo>
                    <a:pt x="0" y="147"/>
                    <a:pt x="12" y="254"/>
                    <a:pt x="83" y="290"/>
                  </a:cubicBezTo>
                  <a:lnTo>
                    <a:pt x="607" y="635"/>
                  </a:lnTo>
                  <a:cubicBezTo>
                    <a:pt x="643" y="647"/>
                    <a:pt x="667" y="671"/>
                    <a:pt x="691" y="671"/>
                  </a:cubicBezTo>
                  <a:cubicBezTo>
                    <a:pt x="726" y="671"/>
                    <a:pt x="762" y="647"/>
                    <a:pt x="786" y="635"/>
                  </a:cubicBezTo>
                  <a:lnTo>
                    <a:pt x="1310" y="290"/>
                  </a:lnTo>
                  <a:cubicBezTo>
                    <a:pt x="1381" y="231"/>
                    <a:pt x="1393" y="147"/>
                    <a:pt x="1357" y="76"/>
                  </a:cubicBezTo>
                  <a:cubicBezTo>
                    <a:pt x="1328" y="25"/>
                    <a:pt x="1276" y="0"/>
                    <a:pt x="1224" y="0"/>
                  </a:cubicBezTo>
                  <a:cubicBezTo>
                    <a:pt x="1191" y="0"/>
                    <a:pt x="1159" y="10"/>
                    <a:pt x="1131" y="28"/>
                  </a:cubicBezTo>
                  <a:lnTo>
                    <a:pt x="703" y="314"/>
                  </a:lnTo>
                  <a:lnTo>
                    <a:pt x="262" y="28"/>
                  </a:lnTo>
                  <a:cubicBezTo>
                    <a:pt x="234" y="10"/>
                    <a:pt x="202"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9" name="Google Shape;11579;p61"/>
            <p:cNvSpPr/>
            <p:nvPr/>
          </p:nvSpPr>
          <p:spPr>
            <a:xfrm>
              <a:off x="7277425" y="3821059"/>
              <a:ext cx="10233" cy="15872"/>
            </a:xfrm>
            <a:custGeom>
              <a:avLst/>
              <a:gdLst/>
              <a:ahLst/>
              <a:cxnLst/>
              <a:rect l="l" t="t" r="r" b="b"/>
              <a:pathLst>
                <a:path w="323" h="501" extrusionOk="0">
                  <a:moveTo>
                    <a:pt x="168" y="0"/>
                  </a:moveTo>
                  <a:cubicBezTo>
                    <a:pt x="72" y="0"/>
                    <a:pt x="1" y="72"/>
                    <a:pt x="1" y="155"/>
                  </a:cubicBezTo>
                  <a:lnTo>
                    <a:pt x="1" y="334"/>
                  </a:lnTo>
                  <a:cubicBezTo>
                    <a:pt x="1" y="429"/>
                    <a:pt x="72" y="501"/>
                    <a:pt x="168" y="501"/>
                  </a:cubicBezTo>
                  <a:cubicBezTo>
                    <a:pt x="251" y="501"/>
                    <a:pt x="322" y="429"/>
                    <a:pt x="322" y="334"/>
                  </a:cubicBezTo>
                  <a:lnTo>
                    <a:pt x="322" y="155"/>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0" name="Google Shape;11580;p61"/>
          <p:cNvGrpSpPr/>
          <p:nvPr/>
        </p:nvGrpSpPr>
        <p:grpSpPr>
          <a:xfrm>
            <a:off x="8054060" y="3787098"/>
            <a:ext cx="266334" cy="353834"/>
            <a:chOff x="8054060" y="3787098"/>
            <a:chExt cx="266334" cy="353834"/>
          </a:xfrm>
        </p:grpSpPr>
        <p:sp>
          <p:nvSpPr>
            <p:cNvPr id="11581" name="Google Shape;11581;p61"/>
            <p:cNvSpPr/>
            <p:nvPr/>
          </p:nvSpPr>
          <p:spPr>
            <a:xfrm>
              <a:off x="8164972" y="3974675"/>
              <a:ext cx="43782" cy="15396"/>
            </a:xfrm>
            <a:custGeom>
              <a:avLst/>
              <a:gdLst/>
              <a:ahLst/>
              <a:cxnLst/>
              <a:rect l="l" t="t" r="r" b="b"/>
              <a:pathLst>
                <a:path w="1382" h="486" extrusionOk="0">
                  <a:moveTo>
                    <a:pt x="179" y="0"/>
                  </a:moveTo>
                  <a:cubicBezTo>
                    <a:pt x="140" y="0"/>
                    <a:pt x="101" y="15"/>
                    <a:pt x="72" y="45"/>
                  </a:cubicBezTo>
                  <a:cubicBezTo>
                    <a:pt x="0" y="104"/>
                    <a:pt x="0" y="212"/>
                    <a:pt x="72" y="271"/>
                  </a:cubicBezTo>
                  <a:cubicBezTo>
                    <a:pt x="203" y="402"/>
                    <a:pt x="441" y="485"/>
                    <a:pt x="703" y="485"/>
                  </a:cubicBezTo>
                  <a:cubicBezTo>
                    <a:pt x="965" y="485"/>
                    <a:pt x="1191" y="402"/>
                    <a:pt x="1346" y="271"/>
                  </a:cubicBezTo>
                  <a:cubicBezTo>
                    <a:pt x="1381" y="212"/>
                    <a:pt x="1381" y="104"/>
                    <a:pt x="1322" y="45"/>
                  </a:cubicBezTo>
                  <a:cubicBezTo>
                    <a:pt x="1292" y="15"/>
                    <a:pt x="1250" y="0"/>
                    <a:pt x="1209" y="0"/>
                  </a:cubicBezTo>
                  <a:cubicBezTo>
                    <a:pt x="1167" y="0"/>
                    <a:pt x="1125" y="15"/>
                    <a:pt x="1096" y="45"/>
                  </a:cubicBezTo>
                  <a:cubicBezTo>
                    <a:pt x="1036" y="104"/>
                    <a:pt x="881" y="176"/>
                    <a:pt x="691" y="176"/>
                  </a:cubicBezTo>
                  <a:cubicBezTo>
                    <a:pt x="500" y="176"/>
                    <a:pt x="346" y="104"/>
                    <a:pt x="286" y="45"/>
                  </a:cubicBezTo>
                  <a:cubicBezTo>
                    <a:pt x="256"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2" name="Google Shape;11582;p61"/>
            <p:cNvSpPr/>
            <p:nvPr/>
          </p:nvSpPr>
          <p:spPr>
            <a:xfrm>
              <a:off x="8148371" y="3930450"/>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3" name="Google Shape;11583;p61"/>
            <p:cNvSpPr/>
            <p:nvPr/>
          </p:nvSpPr>
          <p:spPr>
            <a:xfrm>
              <a:off x="8214361" y="3930450"/>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4" name="Google Shape;11584;p61"/>
            <p:cNvSpPr/>
            <p:nvPr/>
          </p:nvSpPr>
          <p:spPr>
            <a:xfrm>
              <a:off x="8054060" y="3787098"/>
              <a:ext cx="266334" cy="353834"/>
            </a:xfrm>
            <a:custGeom>
              <a:avLst/>
              <a:gdLst/>
              <a:ahLst/>
              <a:cxnLst/>
              <a:rect l="l" t="t" r="r" b="b"/>
              <a:pathLst>
                <a:path w="8407" h="11169" extrusionOk="0">
                  <a:moveTo>
                    <a:pt x="4537" y="1370"/>
                  </a:moveTo>
                  <a:lnTo>
                    <a:pt x="4537" y="1906"/>
                  </a:lnTo>
                  <a:cubicBezTo>
                    <a:pt x="4537" y="2096"/>
                    <a:pt x="4370" y="2263"/>
                    <a:pt x="4180" y="2263"/>
                  </a:cubicBezTo>
                  <a:cubicBezTo>
                    <a:pt x="3977" y="2263"/>
                    <a:pt x="3823" y="2096"/>
                    <a:pt x="3823" y="1906"/>
                  </a:cubicBezTo>
                  <a:lnTo>
                    <a:pt x="3823" y="1370"/>
                  </a:lnTo>
                  <a:close/>
                  <a:moveTo>
                    <a:pt x="4180" y="322"/>
                  </a:moveTo>
                  <a:lnTo>
                    <a:pt x="6680" y="989"/>
                  </a:lnTo>
                  <a:lnTo>
                    <a:pt x="7633" y="2573"/>
                  </a:lnTo>
                  <a:lnTo>
                    <a:pt x="6966" y="3239"/>
                  </a:lnTo>
                  <a:lnTo>
                    <a:pt x="6966" y="2406"/>
                  </a:lnTo>
                  <a:cubicBezTo>
                    <a:pt x="6966" y="2227"/>
                    <a:pt x="6811" y="2061"/>
                    <a:pt x="6621" y="2061"/>
                  </a:cubicBezTo>
                  <a:lnTo>
                    <a:pt x="6442" y="2061"/>
                  </a:lnTo>
                  <a:cubicBezTo>
                    <a:pt x="6347" y="2061"/>
                    <a:pt x="6275" y="2144"/>
                    <a:pt x="6275" y="2227"/>
                  </a:cubicBezTo>
                  <a:cubicBezTo>
                    <a:pt x="6275" y="2323"/>
                    <a:pt x="6347" y="2394"/>
                    <a:pt x="6442" y="2394"/>
                  </a:cubicBezTo>
                  <a:lnTo>
                    <a:pt x="6621" y="2394"/>
                  </a:lnTo>
                  <a:cubicBezTo>
                    <a:pt x="6621" y="2394"/>
                    <a:pt x="6633" y="2394"/>
                    <a:pt x="6633" y="2406"/>
                  </a:cubicBezTo>
                  <a:lnTo>
                    <a:pt x="6633" y="3120"/>
                  </a:lnTo>
                  <a:lnTo>
                    <a:pt x="1739" y="3120"/>
                  </a:lnTo>
                  <a:lnTo>
                    <a:pt x="1739" y="2406"/>
                  </a:lnTo>
                  <a:cubicBezTo>
                    <a:pt x="1739" y="2406"/>
                    <a:pt x="1739" y="2394"/>
                    <a:pt x="1751" y="2394"/>
                  </a:cubicBezTo>
                  <a:lnTo>
                    <a:pt x="3727" y="2394"/>
                  </a:lnTo>
                  <a:cubicBezTo>
                    <a:pt x="3847" y="2501"/>
                    <a:pt x="4013" y="2573"/>
                    <a:pt x="4192" y="2573"/>
                  </a:cubicBezTo>
                  <a:cubicBezTo>
                    <a:pt x="4370" y="2573"/>
                    <a:pt x="4513" y="2513"/>
                    <a:pt x="4656" y="2394"/>
                  </a:cubicBezTo>
                  <a:lnTo>
                    <a:pt x="5763" y="2394"/>
                  </a:lnTo>
                  <a:cubicBezTo>
                    <a:pt x="5859" y="2394"/>
                    <a:pt x="5930" y="2323"/>
                    <a:pt x="5930" y="2227"/>
                  </a:cubicBezTo>
                  <a:cubicBezTo>
                    <a:pt x="5930" y="2144"/>
                    <a:pt x="5859" y="2061"/>
                    <a:pt x="5763" y="2061"/>
                  </a:cubicBezTo>
                  <a:lnTo>
                    <a:pt x="4859" y="2061"/>
                  </a:lnTo>
                  <a:cubicBezTo>
                    <a:pt x="4870" y="2001"/>
                    <a:pt x="4894" y="1942"/>
                    <a:pt x="4894" y="1882"/>
                  </a:cubicBezTo>
                  <a:lnTo>
                    <a:pt x="4894" y="1180"/>
                  </a:lnTo>
                  <a:cubicBezTo>
                    <a:pt x="4894" y="1096"/>
                    <a:pt x="4811" y="1025"/>
                    <a:pt x="4728" y="1025"/>
                  </a:cubicBezTo>
                  <a:lnTo>
                    <a:pt x="3692" y="1025"/>
                  </a:lnTo>
                  <a:cubicBezTo>
                    <a:pt x="3596" y="1025"/>
                    <a:pt x="3525" y="1096"/>
                    <a:pt x="3525" y="1180"/>
                  </a:cubicBezTo>
                  <a:lnTo>
                    <a:pt x="3525" y="1882"/>
                  </a:lnTo>
                  <a:cubicBezTo>
                    <a:pt x="3525" y="1942"/>
                    <a:pt x="3537" y="2001"/>
                    <a:pt x="3549" y="2061"/>
                  </a:cubicBezTo>
                  <a:lnTo>
                    <a:pt x="1763" y="2061"/>
                  </a:lnTo>
                  <a:cubicBezTo>
                    <a:pt x="1584" y="2061"/>
                    <a:pt x="1430" y="2215"/>
                    <a:pt x="1430" y="2406"/>
                  </a:cubicBezTo>
                  <a:lnTo>
                    <a:pt x="1430" y="3239"/>
                  </a:lnTo>
                  <a:lnTo>
                    <a:pt x="727" y="2573"/>
                  </a:lnTo>
                  <a:lnTo>
                    <a:pt x="1680" y="989"/>
                  </a:lnTo>
                  <a:lnTo>
                    <a:pt x="4180" y="322"/>
                  </a:lnTo>
                  <a:close/>
                  <a:moveTo>
                    <a:pt x="6549" y="3454"/>
                  </a:moveTo>
                  <a:cubicBezTo>
                    <a:pt x="6430" y="3573"/>
                    <a:pt x="6180" y="3668"/>
                    <a:pt x="5978" y="3751"/>
                  </a:cubicBezTo>
                  <a:cubicBezTo>
                    <a:pt x="5501" y="3906"/>
                    <a:pt x="4859" y="4001"/>
                    <a:pt x="4180" y="4001"/>
                  </a:cubicBezTo>
                  <a:cubicBezTo>
                    <a:pt x="3489" y="4001"/>
                    <a:pt x="2858" y="3906"/>
                    <a:pt x="2382" y="3751"/>
                  </a:cubicBezTo>
                  <a:cubicBezTo>
                    <a:pt x="2168" y="3692"/>
                    <a:pt x="1930" y="3573"/>
                    <a:pt x="1811" y="3454"/>
                  </a:cubicBezTo>
                  <a:close/>
                  <a:moveTo>
                    <a:pt x="1739" y="3787"/>
                  </a:moveTo>
                  <a:cubicBezTo>
                    <a:pt x="1822" y="3870"/>
                    <a:pt x="1942" y="3942"/>
                    <a:pt x="2096" y="4001"/>
                  </a:cubicBezTo>
                  <a:lnTo>
                    <a:pt x="2096" y="4168"/>
                  </a:lnTo>
                  <a:cubicBezTo>
                    <a:pt x="2096" y="4263"/>
                    <a:pt x="2001" y="4347"/>
                    <a:pt x="1918" y="4347"/>
                  </a:cubicBezTo>
                  <a:lnTo>
                    <a:pt x="1739" y="4347"/>
                  </a:lnTo>
                  <a:lnTo>
                    <a:pt x="1739" y="3787"/>
                  </a:lnTo>
                  <a:close/>
                  <a:moveTo>
                    <a:pt x="6621" y="3811"/>
                  </a:moveTo>
                  <a:lnTo>
                    <a:pt x="6621" y="4359"/>
                  </a:lnTo>
                  <a:lnTo>
                    <a:pt x="6442" y="4359"/>
                  </a:lnTo>
                  <a:cubicBezTo>
                    <a:pt x="6394" y="4359"/>
                    <a:pt x="6347" y="4347"/>
                    <a:pt x="6299" y="4299"/>
                  </a:cubicBezTo>
                  <a:cubicBezTo>
                    <a:pt x="6275" y="4263"/>
                    <a:pt x="6240" y="4228"/>
                    <a:pt x="6240" y="4168"/>
                  </a:cubicBezTo>
                  <a:lnTo>
                    <a:pt x="6240" y="4001"/>
                  </a:lnTo>
                  <a:lnTo>
                    <a:pt x="6252" y="4001"/>
                  </a:lnTo>
                  <a:cubicBezTo>
                    <a:pt x="6394" y="3942"/>
                    <a:pt x="6525" y="3870"/>
                    <a:pt x="6621" y="3811"/>
                  </a:cubicBezTo>
                  <a:close/>
                  <a:moveTo>
                    <a:pt x="5930" y="4120"/>
                  </a:moveTo>
                  <a:lnTo>
                    <a:pt x="5930" y="4180"/>
                  </a:lnTo>
                  <a:cubicBezTo>
                    <a:pt x="5930" y="4311"/>
                    <a:pt x="5990" y="4442"/>
                    <a:pt x="6085" y="4537"/>
                  </a:cubicBezTo>
                  <a:cubicBezTo>
                    <a:pt x="6168" y="4621"/>
                    <a:pt x="6311" y="4680"/>
                    <a:pt x="6442" y="4680"/>
                  </a:cubicBezTo>
                  <a:lnTo>
                    <a:pt x="6704" y="4680"/>
                  </a:lnTo>
                  <a:cubicBezTo>
                    <a:pt x="6859" y="4680"/>
                    <a:pt x="6978" y="4799"/>
                    <a:pt x="6978" y="4954"/>
                  </a:cubicBezTo>
                  <a:cubicBezTo>
                    <a:pt x="6978" y="5097"/>
                    <a:pt x="6859" y="5216"/>
                    <a:pt x="6704" y="5216"/>
                  </a:cubicBezTo>
                  <a:lnTo>
                    <a:pt x="6609" y="5216"/>
                  </a:lnTo>
                  <a:lnTo>
                    <a:pt x="6609" y="5204"/>
                  </a:lnTo>
                  <a:cubicBezTo>
                    <a:pt x="6609" y="5109"/>
                    <a:pt x="6525" y="5037"/>
                    <a:pt x="6442" y="5037"/>
                  </a:cubicBezTo>
                  <a:cubicBezTo>
                    <a:pt x="6347" y="5037"/>
                    <a:pt x="6275" y="5109"/>
                    <a:pt x="6275" y="5204"/>
                  </a:cubicBezTo>
                  <a:cubicBezTo>
                    <a:pt x="6275" y="6359"/>
                    <a:pt x="5335" y="7299"/>
                    <a:pt x="4180" y="7299"/>
                  </a:cubicBezTo>
                  <a:cubicBezTo>
                    <a:pt x="3013" y="7299"/>
                    <a:pt x="2084" y="6371"/>
                    <a:pt x="2084" y="5204"/>
                  </a:cubicBezTo>
                  <a:cubicBezTo>
                    <a:pt x="2084" y="5109"/>
                    <a:pt x="2001" y="5037"/>
                    <a:pt x="1918" y="5037"/>
                  </a:cubicBezTo>
                  <a:cubicBezTo>
                    <a:pt x="1822" y="5037"/>
                    <a:pt x="1751" y="5109"/>
                    <a:pt x="1751" y="5204"/>
                  </a:cubicBezTo>
                  <a:lnTo>
                    <a:pt x="1751" y="5216"/>
                  </a:lnTo>
                  <a:lnTo>
                    <a:pt x="1644" y="5216"/>
                  </a:lnTo>
                  <a:cubicBezTo>
                    <a:pt x="1501" y="5216"/>
                    <a:pt x="1382" y="5097"/>
                    <a:pt x="1382" y="4954"/>
                  </a:cubicBezTo>
                  <a:cubicBezTo>
                    <a:pt x="1382" y="4799"/>
                    <a:pt x="1501" y="4680"/>
                    <a:pt x="1644" y="4680"/>
                  </a:cubicBezTo>
                  <a:lnTo>
                    <a:pt x="1918" y="4680"/>
                  </a:lnTo>
                  <a:cubicBezTo>
                    <a:pt x="2203" y="4680"/>
                    <a:pt x="2418" y="4466"/>
                    <a:pt x="2418" y="4180"/>
                  </a:cubicBezTo>
                  <a:lnTo>
                    <a:pt x="2418" y="4120"/>
                  </a:lnTo>
                  <a:cubicBezTo>
                    <a:pt x="2918" y="4251"/>
                    <a:pt x="3525" y="4347"/>
                    <a:pt x="4180" y="4347"/>
                  </a:cubicBezTo>
                  <a:cubicBezTo>
                    <a:pt x="4835" y="4347"/>
                    <a:pt x="5442" y="4263"/>
                    <a:pt x="5930" y="4120"/>
                  </a:cubicBezTo>
                  <a:close/>
                  <a:moveTo>
                    <a:pt x="1751" y="5549"/>
                  </a:moveTo>
                  <a:cubicBezTo>
                    <a:pt x="1858" y="6299"/>
                    <a:pt x="2311" y="6942"/>
                    <a:pt x="2942" y="7311"/>
                  </a:cubicBezTo>
                  <a:lnTo>
                    <a:pt x="2942" y="7728"/>
                  </a:lnTo>
                  <a:cubicBezTo>
                    <a:pt x="2858" y="7728"/>
                    <a:pt x="2763" y="7764"/>
                    <a:pt x="2692" y="7835"/>
                  </a:cubicBezTo>
                  <a:lnTo>
                    <a:pt x="2323" y="8228"/>
                  </a:lnTo>
                  <a:cubicBezTo>
                    <a:pt x="2299" y="8240"/>
                    <a:pt x="2287" y="8264"/>
                    <a:pt x="2275" y="8300"/>
                  </a:cubicBezTo>
                  <a:lnTo>
                    <a:pt x="1025" y="8752"/>
                  </a:lnTo>
                  <a:lnTo>
                    <a:pt x="1025" y="8347"/>
                  </a:lnTo>
                  <a:cubicBezTo>
                    <a:pt x="1025" y="7514"/>
                    <a:pt x="1215" y="7049"/>
                    <a:pt x="1406" y="6597"/>
                  </a:cubicBezTo>
                  <a:cubicBezTo>
                    <a:pt x="1549" y="6276"/>
                    <a:pt x="1680" y="5966"/>
                    <a:pt x="1703" y="5549"/>
                  </a:cubicBezTo>
                  <a:close/>
                  <a:moveTo>
                    <a:pt x="5061" y="7466"/>
                  </a:moveTo>
                  <a:lnTo>
                    <a:pt x="5061" y="7930"/>
                  </a:lnTo>
                  <a:lnTo>
                    <a:pt x="4180" y="8812"/>
                  </a:lnTo>
                  <a:lnTo>
                    <a:pt x="3299" y="7930"/>
                  </a:lnTo>
                  <a:lnTo>
                    <a:pt x="3299" y="7466"/>
                  </a:lnTo>
                  <a:cubicBezTo>
                    <a:pt x="3561" y="7573"/>
                    <a:pt x="3858" y="7633"/>
                    <a:pt x="4180" y="7633"/>
                  </a:cubicBezTo>
                  <a:cubicBezTo>
                    <a:pt x="4489" y="7633"/>
                    <a:pt x="4787" y="7573"/>
                    <a:pt x="5061" y="7466"/>
                  </a:cubicBezTo>
                  <a:close/>
                  <a:moveTo>
                    <a:pt x="2977" y="8061"/>
                  </a:moveTo>
                  <a:lnTo>
                    <a:pt x="3942" y="9026"/>
                  </a:lnTo>
                  <a:lnTo>
                    <a:pt x="3192" y="9645"/>
                  </a:lnTo>
                  <a:lnTo>
                    <a:pt x="3180" y="9645"/>
                  </a:lnTo>
                  <a:lnTo>
                    <a:pt x="2632" y="8395"/>
                  </a:lnTo>
                  <a:lnTo>
                    <a:pt x="2954" y="8061"/>
                  </a:lnTo>
                  <a:close/>
                  <a:moveTo>
                    <a:pt x="4180" y="9252"/>
                  </a:moveTo>
                  <a:lnTo>
                    <a:pt x="4501" y="9538"/>
                  </a:lnTo>
                  <a:lnTo>
                    <a:pt x="4442" y="9728"/>
                  </a:lnTo>
                  <a:cubicBezTo>
                    <a:pt x="4418" y="9800"/>
                    <a:pt x="4358" y="9859"/>
                    <a:pt x="4263" y="9859"/>
                  </a:cubicBezTo>
                  <a:lnTo>
                    <a:pt x="4073" y="9859"/>
                  </a:lnTo>
                  <a:cubicBezTo>
                    <a:pt x="4001" y="9859"/>
                    <a:pt x="3930" y="9824"/>
                    <a:pt x="3894" y="9728"/>
                  </a:cubicBezTo>
                  <a:lnTo>
                    <a:pt x="3835" y="9538"/>
                  </a:lnTo>
                  <a:lnTo>
                    <a:pt x="4180" y="9252"/>
                  </a:lnTo>
                  <a:close/>
                  <a:moveTo>
                    <a:pt x="4132" y="1"/>
                  </a:moveTo>
                  <a:lnTo>
                    <a:pt x="1513" y="691"/>
                  </a:lnTo>
                  <a:cubicBezTo>
                    <a:pt x="1465" y="715"/>
                    <a:pt x="1441" y="739"/>
                    <a:pt x="1406" y="775"/>
                  </a:cubicBezTo>
                  <a:lnTo>
                    <a:pt x="370" y="2513"/>
                  </a:lnTo>
                  <a:cubicBezTo>
                    <a:pt x="322" y="2573"/>
                    <a:pt x="334" y="2656"/>
                    <a:pt x="394" y="2704"/>
                  </a:cubicBezTo>
                  <a:lnTo>
                    <a:pt x="1394" y="3704"/>
                  </a:lnTo>
                  <a:lnTo>
                    <a:pt x="1394" y="4406"/>
                  </a:lnTo>
                  <a:cubicBezTo>
                    <a:pt x="1191" y="4490"/>
                    <a:pt x="1049" y="4704"/>
                    <a:pt x="1049" y="4954"/>
                  </a:cubicBezTo>
                  <a:cubicBezTo>
                    <a:pt x="1049" y="5192"/>
                    <a:pt x="1203" y="5394"/>
                    <a:pt x="1394" y="5490"/>
                  </a:cubicBezTo>
                  <a:cubicBezTo>
                    <a:pt x="1382" y="5871"/>
                    <a:pt x="1263" y="6156"/>
                    <a:pt x="1108" y="6490"/>
                  </a:cubicBezTo>
                  <a:cubicBezTo>
                    <a:pt x="918" y="6930"/>
                    <a:pt x="691" y="7454"/>
                    <a:pt x="691" y="8347"/>
                  </a:cubicBezTo>
                  <a:lnTo>
                    <a:pt x="691" y="8871"/>
                  </a:lnTo>
                  <a:cubicBezTo>
                    <a:pt x="275" y="9062"/>
                    <a:pt x="1" y="9490"/>
                    <a:pt x="1" y="9966"/>
                  </a:cubicBezTo>
                  <a:lnTo>
                    <a:pt x="1" y="10967"/>
                  </a:lnTo>
                  <a:cubicBezTo>
                    <a:pt x="1" y="11050"/>
                    <a:pt x="72" y="11133"/>
                    <a:pt x="156" y="11133"/>
                  </a:cubicBezTo>
                  <a:cubicBezTo>
                    <a:pt x="251" y="11133"/>
                    <a:pt x="322" y="11050"/>
                    <a:pt x="322" y="10967"/>
                  </a:cubicBezTo>
                  <a:lnTo>
                    <a:pt x="322" y="9966"/>
                  </a:lnTo>
                  <a:cubicBezTo>
                    <a:pt x="322" y="9859"/>
                    <a:pt x="334" y="9764"/>
                    <a:pt x="382" y="9657"/>
                  </a:cubicBezTo>
                  <a:lnTo>
                    <a:pt x="1203" y="10359"/>
                  </a:lnTo>
                  <a:cubicBezTo>
                    <a:pt x="1322" y="10455"/>
                    <a:pt x="1394" y="10609"/>
                    <a:pt x="1394" y="10752"/>
                  </a:cubicBezTo>
                  <a:lnTo>
                    <a:pt x="1394" y="10967"/>
                  </a:lnTo>
                  <a:cubicBezTo>
                    <a:pt x="1394" y="11050"/>
                    <a:pt x="1465" y="11133"/>
                    <a:pt x="1561" y="11133"/>
                  </a:cubicBezTo>
                  <a:cubicBezTo>
                    <a:pt x="1644" y="11133"/>
                    <a:pt x="1715" y="11050"/>
                    <a:pt x="1715" y="10967"/>
                  </a:cubicBezTo>
                  <a:lnTo>
                    <a:pt x="1715" y="10752"/>
                  </a:lnTo>
                  <a:cubicBezTo>
                    <a:pt x="1715" y="10502"/>
                    <a:pt x="1620" y="10264"/>
                    <a:pt x="1418" y="10097"/>
                  </a:cubicBezTo>
                  <a:lnTo>
                    <a:pt x="560" y="9359"/>
                  </a:lnTo>
                  <a:cubicBezTo>
                    <a:pt x="644" y="9252"/>
                    <a:pt x="787" y="9169"/>
                    <a:pt x="918" y="9121"/>
                  </a:cubicBezTo>
                  <a:lnTo>
                    <a:pt x="2382" y="8609"/>
                  </a:lnTo>
                  <a:lnTo>
                    <a:pt x="2894" y="9776"/>
                  </a:lnTo>
                  <a:cubicBezTo>
                    <a:pt x="2942" y="9883"/>
                    <a:pt x="3037" y="9943"/>
                    <a:pt x="3132" y="9966"/>
                  </a:cubicBezTo>
                  <a:cubicBezTo>
                    <a:pt x="3168" y="9966"/>
                    <a:pt x="3180" y="9978"/>
                    <a:pt x="3204" y="9978"/>
                  </a:cubicBezTo>
                  <a:cubicBezTo>
                    <a:pt x="3287" y="9978"/>
                    <a:pt x="3358" y="9955"/>
                    <a:pt x="3418" y="9907"/>
                  </a:cubicBezTo>
                  <a:lnTo>
                    <a:pt x="3585" y="9776"/>
                  </a:lnTo>
                  <a:lnTo>
                    <a:pt x="3608" y="9847"/>
                  </a:lnTo>
                  <a:cubicBezTo>
                    <a:pt x="3644" y="9943"/>
                    <a:pt x="3692" y="10014"/>
                    <a:pt x="3763" y="10074"/>
                  </a:cubicBezTo>
                  <a:lnTo>
                    <a:pt x="3608" y="10967"/>
                  </a:lnTo>
                  <a:cubicBezTo>
                    <a:pt x="3596" y="11050"/>
                    <a:pt x="3656" y="11145"/>
                    <a:pt x="3751" y="11157"/>
                  </a:cubicBezTo>
                  <a:lnTo>
                    <a:pt x="3775" y="11157"/>
                  </a:lnTo>
                  <a:cubicBezTo>
                    <a:pt x="3847" y="11157"/>
                    <a:pt x="3930" y="11098"/>
                    <a:pt x="3942" y="11026"/>
                  </a:cubicBezTo>
                  <a:lnTo>
                    <a:pt x="4073" y="10216"/>
                  </a:lnTo>
                  <a:lnTo>
                    <a:pt x="4323" y="10216"/>
                  </a:lnTo>
                  <a:lnTo>
                    <a:pt x="4466" y="11026"/>
                  </a:lnTo>
                  <a:cubicBezTo>
                    <a:pt x="4478" y="11098"/>
                    <a:pt x="4549" y="11157"/>
                    <a:pt x="4620" y="11157"/>
                  </a:cubicBezTo>
                  <a:lnTo>
                    <a:pt x="4656" y="11157"/>
                  </a:lnTo>
                  <a:cubicBezTo>
                    <a:pt x="4739" y="11145"/>
                    <a:pt x="4799" y="11050"/>
                    <a:pt x="4787" y="10967"/>
                  </a:cubicBezTo>
                  <a:lnTo>
                    <a:pt x="4644" y="10086"/>
                  </a:lnTo>
                  <a:cubicBezTo>
                    <a:pt x="4704" y="10026"/>
                    <a:pt x="4763" y="9955"/>
                    <a:pt x="4787" y="9859"/>
                  </a:cubicBezTo>
                  <a:lnTo>
                    <a:pt x="4823" y="9788"/>
                  </a:lnTo>
                  <a:lnTo>
                    <a:pt x="4978" y="9919"/>
                  </a:lnTo>
                  <a:cubicBezTo>
                    <a:pt x="5037" y="9966"/>
                    <a:pt x="5120" y="10002"/>
                    <a:pt x="5192" y="10002"/>
                  </a:cubicBezTo>
                  <a:cubicBezTo>
                    <a:pt x="5216" y="10002"/>
                    <a:pt x="5240" y="10002"/>
                    <a:pt x="5263" y="9978"/>
                  </a:cubicBezTo>
                  <a:cubicBezTo>
                    <a:pt x="5371" y="9955"/>
                    <a:pt x="5454" y="9895"/>
                    <a:pt x="5501" y="9788"/>
                  </a:cubicBezTo>
                  <a:lnTo>
                    <a:pt x="5752" y="9240"/>
                  </a:lnTo>
                  <a:cubicBezTo>
                    <a:pt x="5787" y="9145"/>
                    <a:pt x="5752" y="9062"/>
                    <a:pt x="5668" y="9026"/>
                  </a:cubicBezTo>
                  <a:cubicBezTo>
                    <a:pt x="5646" y="9020"/>
                    <a:pt x="5624" y="9017"/>
                    <a:pt x="5603" y="9017"/>
                  </a:cubicBezTo>
                  <a:cubicBezTo>
                    <a:pt x="5536" y="9017"/>
                    <a:pt x="5481" y="9048"/>
                    <a:pt x="5454" y="9121"/>
                  </a:cubicBezTo>
                  <a:lnTo>
                    <a:pt x="5204" y="9669"/>
                  </a:lnTo>
                  <a:lnTo>
                    <a:pt x="5180" y="9669"/>
                  </a:lnTo>
                  <a:lnTo>
                    <a:pt x="4442" y="9062"/>
                  </a:lnTo>
                  <a:lnTo>
                    <a:pt x="5418" y="8097"/>
                  </a:lnTo>
                  <a:lnTo>
                    <a:pt x="5430" y="8097"/>
                  </a:lnTo>
                  <a:lnTo>
                    <a:pt x="5752" y="8419"/>
                  </a:lnTo>
                  <a:lnTo>
                    <a:pt x="5728" y="8490"/>
                  </a:lnTo>
                  <a:cubicBezTo>
                    <a:pt x="5692" y="8585"/>
                    <a:pt x="5728" y="8669"/>
                    <a:pt x="5811" y="8704"/>
                  </a:cubicBezTo>
                  <a:cubicBezTo>
                    <a:pt x="5833" y="8711"/>
                    <a:pt x="5854" y="8714"/>
                    <a:pt x="5875" y="8714"/>
                  </a:cubicBezTo>
                  <a:cubicBezTo>
                    <a:pt x="5935" y="8714"/>
                    <a:pt x="5990" y="8689"/>
                    <a:pt x="6025" y="8645"/>
                  </a:cubicBezTo>
                  <a:lnTo>
                    <a:pt x="7478" y="9169"/>
                  </a:lnTo>
                  <a:cubicBezTo>
                    <a:pt x="7621" y="9204"/>
                    <a:pt x="7752" y="9300"/>
                    <a:pt x="7835" y="9407"/>
                  </a:cubicBezTo>
                  <a:lnTo>
                    <a:pt x="6978" y="10145"/>
                  </a:lnTo>
                  <a:cubicBezTo>
                    <a:pt x="6787" y="10312"/>
                    <a:pt x="6680" y="10550"/>
                    <a:pt x="6680" y="10800"/>
                  </a:cubicBezTo>
                  <a:lnTo>
                    <a:pt x="6680" y="11014"/>
                  </a:lnTo>
                  <a:cubicBezTo>
                    <a:pt x="6680" y="11098"/>
                    <a:pt x="6752" y="11169"/>
                    <a:pt x="6847" y="11169"/>
                  </a:cubicBezTo>
                  <a:cubicBezTo>
                    <a:pt x="6930" y="11169"/>
                    <a:pt x="7002" y="11098"/>
                    <a:pt x="7002" y="11014"/>
                  </a:cubicBezTo>
                  <a:lnTo>
                    <a:pt x="7002" y="10800"/>
                  </a:lnTo>
                  <a:cubicBezTo>
                    <a:pt x="7002" y="10657"/>
                    <a:pt x="7085" y="10502"/>
                    <a:pt x="7204" y="10395"/>
                  </a:cubicBezTo>
                  <a:lnTo>
                    <a:pt x="8014" y="9705"/>
                  </a:lnTo>
                  <a:cubicBezTo>
                    <a:pt x="8049" y="9800"/>
                    <a:pt x="8073" y="9907"/>
                    <a:pt x="8073" y="10014"/>
                  </a:cubicBezTo>
                  <a:lnTo>
                    <a:pt x="8073" y="11014"/>
                  </a:lnTo>
                  <a:cubicBezTo>
                    <a:pt x="8073" y="11098"/>
                    <a:pt x="8157" y="11169"/>
                    <a:pt x="8240" y="11169"/>
                  </a:cubicBezTo>
                  <a:cubicBezTo>
                    <a:pt x="8335" y="11169"/>
                    <a:pt x="8407" y="11098"/>
                    <a:pt x="8407" y="11014"/>
                  </a:cubicBezTo>
                  <a:lnTo>
                    <a:pt x="8407" y="10014"/>
                  </a:lnTo>
                  <a:cubicBezTo>
                    <a:pt x="8347" y="9443"/>
                    <a:pt x="8014" y="8990"/>
                    <a:pt x="7537" y="8823"/>
                  </a:cubicBezTo>
                  <a:lnTo>
                    <a:pt x="6085" y="8300"/>
                  </a:lnTo>
                  <a:cubicBezTo>
                    <a:pt x="6073" y="8264"/>
                    <a:pt x="6073" y="8252"/>
                    <a:pt x="6037" y="8228"/>
                  </a:cubicBezTo>
                  <a:lnTo>
                    <a:pt x="5632" y="7823"/>
                  </a:lnTo>
                  <a:cubicBezTo>
                    <a:pt x="5561" y="7752"/>
                    <a:pt x="5478" y="7716"/>
                    <a:pt x="5382" y="7716"/>
                  </a:cubicBezTo>
                  <a:lnTo>
                    <a:pt x="5382" y="7299"/>
                  </a:lnTo>
                  <a:cubicBezTo>
                    <a:pt x="6025" y="6930"/>
                    <a:pt x="6466" y="6287"/>
                    <a:pt x="6573" y="5537"/>
                  </a:cubicBezTo>
                  <a:lnTo>
                    <a:pt x="6692" y="5537"/>
                  </a:lnTo>
                  <a:cubicBezTo>
                    <a:pt x="7025" y="5537"/>
                    <a:pt x="7287" y="5263"/>
                    <a:pt x="7287" y="4942"/>
                  </a:cubicBezTo>
                  <a:cubicBezTo>
                    <a:pt x="7287" y="4692"/>
                    <a:pt x="7145" y="4490"/>
                    <a:pt x="6942" y="4382"/>
                  </a:cubicBezTo>
                  <a:lnTo>
                    <a:pt x="6942" y="3680"/>
                  </a:lnTo>
                  <a:lnTo>
                    <a:pt x="7942" y="2692"/>
                  </a:lnTo>
                  <a:cubicBezTo>
                    <a:pt x="8002" y="2632"/>
                    <a:pt x="8002" y="2549"/>
                    <a:pt x="7978" y="2489"/>
                  </a:cubicBezTo>
                  <a:lnTo>
                    <a:pt x="6930" y="751"/>
                  </a:lnTo>
                  <a:cubicBezTo>
                    <a:pt x="6918" y="727"/>
                    <a:pt x="6871" y="691"/>
                    <a:pt x="6823" y="680"/>
                  </a:cubicBezTo>
                  <a:lnTo>
                    <a:pt x="4228"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85" name="Google Shape;11585;p61"/>
          <p:cNvGrpSpPr/>
          <p:nvPr/>
        </p:nvGrpSpPr>
        <p:grpSpPr>
          <a:xfrm>
            <a:off x="6702211" y="3782599"/>
            <a:ext cx="270104" cy="361754"/>
            <a:chOff x="6702211" y="3782599"/>
            <a:chExt cx="270104" cy="361754"/>
          </a:xfrm>
        </p:grpSpPr>
        <p:sp>
          <p:nvSpPr>
            <p:cNvPr id="11586" name="Google Shape;11586;p61"/>
            <p:cNvSpPr/>
            <p:nvPr/>
          </p:nvSpPr>
          <p:spPr>
            <a:xfrm>
              <a:off x="6798011" y="3907070"/>
              <a:ext cx="10233" cy="16252"/>
            </a:xfrm>
            <a:custGeom>
              <a:avLst/>
              <a:gdLst/>
              <a:ahLst/>
              <a:cxnLst/>
              <a:rect l="l" t="t" r="r" b="b"/>
              <a:pathLst>
                <a:path w="323" h="513" extrusionOk="0">
                  <a:moveTo>
                    <a:pt x="156" y="0"/>
                  </a:moveTo>
                  <a:cubicBezTo>
                    <a:pt x="72" y="0"/>
                    <a:pt x="1" y="83"/>
                    <a:pt x="1" y="167"/>
                  </a:cubicBezTo>
                  <a:lnTo>
                    <a:pt x="1" y="345"/>
                  </a:lnTo>
                  <a:cubicBezTo>
                    <a:pt x="1" y="441"/>
                    <a:pt x="72" y="512"/>
                    <a:pt x="156" y="512"/>
                  </a:cubicBezTo>
                  <a:cubicBezTo>
                    <a:pt x="251" y="512"/>
                    <a:pt x="322" y="441"/>
                    <a:pt x="322" y="345"/>
                  </a:cubicBezTo>
                  <a:lnTo>
                    <a:pt x="322" y="167"/>
                  </a:lnTo>
                  <a:cubicBezTo>
                    <a:pt x="322" y="83"/>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7" name="Google Shape;11587;p61"/>
            <p:cNvSpPr/>
            <p:nvPr/>
          </p:nvSpPr>
          <p:spPr>
            <a:xfrm>
              <a:off x="6865933" y="3907070"/>
              <a:ext cx="10201" cy="16252"/>
            </a:xfrm>
            <a:custGeom>
              <a:avLst/>
              <a:gdLst/>
              <a:ahLst/>
              <a:cxnLst/>
              <a:rect l="l" t="t" r="r" b="b"/>
              <a:pathLst>
                <a:path w="322" h="513" extrusionOk="0">
                  <a:moveTo>
                    <a:pt x="155" y="0"/>
                  </a:moveTo>
                  <a:cubicBezTo>
                    <a:pt x="72" y="0"/>
                    <a:pt x="0" y="83"/>
                    <a:pt x="0" y="167"/>
                  </a:cubicBezTo>
                  <a:lnTo>
                    <a:pt x="0" y="345"/>
                  </a:lnTo>
                  <a:cubicBezTo>
                    <a:pt x="0" y="441"/>
                    <a:pt x="72" y="512"/>
                    <a:pt x="155" y="512"/>
                  </a:cubicBezTo>
                  <a:cubicBezTo>
                    <a:pt x="250" y="512"/>
                    <a:pt x="322" y="441"/>
                    <a:pt x="322" y="345"/>
                  </a:cubicBezTo>
                  <a:lnTo>
                    <a:pt x="322" y="167"/>
                  </a:lnTo>
                  <a:cubicBezTo>
                    <a:pt x="322" y="83"/>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8" name="Google Shape;11588;p61"/>
            <p:cNvSpPr/>
            <p:nvPr/>
          </p:nvSpPr>
          <p:spPr>
            <a:xfrm>
              <a:off x="6814231" y="3946765"/>
              <a:ext cx="45302" cy="16157"/>
            </a:xfrm>
            <a:custGeom>
              <a:avLst/>
              <a:gdLst/>
              <a:ahLst/>
              <a:cxnLst/>
              <a:rect l="l" t="t" r="r" b="b"/>
              <a:pathLst>
                <a:path w="1430" h="510" extrusionOk="0">
                  <a:moveTo>
                    <a:pt x="180" y="0"/>
                  </a:moveTo>
                  <a:cubicBezTo>
                    <a:pt x="135" y="0"/>
                    <a:pt x="90" y="15"/>
                    <a:pt x="60" y="45"/>
                  </a:cubicBezTo>
                  <a:cubicBezTo>
                    <a:pt x="1" y="104"/>
                    <a:pt x="1" y="223"/>
                    <a:pt x="60" y="283"/>
                  </a:cubicBezTo>
                  <a:cubicBezTo>
                    <a:pt x="215" y="438"/>
                    <a:pt x="453" y="509"/>
                    <a:pt x="715" y="509"/>
                  </a:cubicBezTo>
                  <a:cubicBezTo>
                    <a:pt x="989" y="509"/>
                    <a:pt x="1227" y="414"/>
                    <a:pt x="1370" y="283"/>
                  </a:cubicBezTo>
                  <a:cubicBezTo>
                    <a:pt x="1430" y="212"/>
                    <a:pt x="1430" y="104"/>
                    <a:pt x="1370" y="45"/>
                  </a:cubicBezTo>
                  <a:cubicBezTo>
                    <a:pt x="1340" y="15"/>
                    <a:pt x="1302" y="0"/>
                    <a:pt x="1260" y="0"/>
                  </a:cubicBezTo>
                  <a:cubicBezTo>
                    <a:pt x="1218" y="0"/>
                    <a:pt x="1174" y="15"/>
                    <a:pt x="1132" y="45"/>
                  </a:cubicBezTo>
                  <a:cubicBezTo>
                    <a:pt x="1073" y="104"/>
                    <a:pt x="930" y="176"/>
                    <a:pt x="715" y="176"/>
                  </a:cubicBezTo>
                  <a:cubicBezTo>
                    <a:pt x="513" y="176"/>
                    <a:pt x="358" y="104"/>
                    <a:pt x="299" y="45"/>
                  </a:cubicBezTo>
                  <a:cubicBezTo>
                    <a:pt x="269" y="15"/>
                    <a:pt x="22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9" name="Google Shape;11589;p61"/>
            <p:cNvSpPr/>
            <p:nvPr/>
          </p:nvSpPr>
          <p:spPr>
            <a:xfrm>
              <a:off x="6702211" y="3782599"/>
              <a:ext cx="270104" cy="361754"/>
            </a:xfrm>
            <a:custGeom>
              <a:avLst/>
              <a:gdLst/>
              <a:ahLst/>
              <a:cxnLst/>
              <a:rect l="l" t="t" r="r" b="b"/>
              <a:pathLst>
                <a:path w="8526" h="11419" extrusionOk="0">
                  <a:moveTo>
                    <a:pt x="4251" y="322"/>
                  </a:moveTo>
                  <a:cubicBezTo>
                    <a:pt x="5835" y="322"/>
                    <a:pt x="7109" y="1595"/>
                    <a:pt x="7109" y="3179"/>
                  </a:cubicBezTo>
                  <a:lnTo>
                    <a:pt x="7133" y="3810"/>
                  </a:lnTo>
                  <a:cubicBezTo>
                    <a:pt x="7037" y="3774"/>
                    <a:pt x="6954" y="3739"/>
                    <a:pt x="6847" y="3739"/>
                  </a:cubicBezTo>
                  <a:lnTo>
                    <a:pt x="6573" y="3739"/>
                  </a:lnTo>
                  <a:cubicBezTo>
                    <a:pt x="5835" y="3739"/>
                    <a:pt x="5025" y="3441"/>
                    <a:pt x="4335" y="2905"/>
                  </a:cubicBezTo>
                  <a:cubicBezTo>
                    <a:pt x="3632" y="2369"/>
                    <a:pt x="3061" y="1643"/>
                    <a:pt x="2692" y="774"/>
                  </a:cubicBezTo>
                  <a:cubicBezTo>
                    <a:pt x="3144" y="476"/>
                    <a:pt x="3680" y="322"/>
                    <a:pt x="4251" y="322"/>
                  </a:cubicBezTo>
                  <a:close/>
                  <a:moveTo>
                    <a:pt x="2406" y="976"/>
                  </a:moveTo>
                  <a:cubicBezTo>
                    <a:pt x="2811" y="1846"/>
                    <a:pt x="3394" y="2608"/>
                    <a:pt x="4120" y="3155"/>
                  </a:cubicBezTo>
                  <a:cubicBezTo>
                    <a:pt x="4882" y="3739"/>
                    <a:pt x="5740" y="4048"/>
                    <a:pt x="6561" y="4048"/>
                  </a:cubicBezTo>
                  <a:lnTo>
                    <a:pt x="6835" y="4048"/>
                  </a:lnTo>
                  <a:cubicBezTo>
                    <a:pt x="6906" y="4048"/>
                    <a:pt x="6978" y="4084"/>
                    <a:pt x="7037" y="4143"/>
                  </a:cubicBezTo>
                  <a:cubicBezTo>
                    <a:pt x="7097" y="4227"/>
                    <a:pt x="7133" y="4310"/>
                    <a:pt x="7109" y="4393"/>
                  </a:cubicBezTo>
                  <a:cubicBezTo>
                    <a:pt x="7097" y="4524"/>
                    <a:pt x="6966" y="4643"/>
                    <a:pt x="6811" y="4643"/>
                  </a:cubicBezTo>
                  <a:lnTo>
                    <a:pt x="6740" y="4643"/>
                  </a:lnTo>
                  <a:lnTo>
                    <a:pt x="6740" y="4632"/>
                  </a:lnTo>
                  <a:cubicBezTo>
                    <a:pt x="6740" y="4548"/>
                    <a:pt x="6668" y="4465"/>
                    <a:pt x="6573" y="4465"/>
                  </a:cubicBezTo>
                  <a:cubicBezTo>
                    <a:pt x="6490" y="4465"/>
                    <a:pt x="6418" y="4548"/>
                    <a:pt x="6418" y="4632"/>
                  </a:cubicBezTo>
                  <a:cubicBezTo>
                    <a:pt x="6418" y="5822"/>
                    <a:pt x="5442" y="6775"/>
                    <a:pt x="4251" y="6775"/>
                  </a:cubicBezTo>
                  <a:cubicBezTo>
                    <a:pt x="3061" y="6775"/>
                    <a:pt x="2096" y="5810"/>
                    <a:pt x="2096" y="4620"/>
                  </a:cubicBezTo>
                  <a:cubicBezTo>
                    <a:pt x="2096" y="4524"/>
                    <a:pt x="2025" y="4453"/>
                    <a:pt x="1930" y="4453"/>
                  </a:cubicBezTo>
                  <a:cubicBezTo>
                    <a:pt x="1846" y="4453"/>
                    <a:pt x="1775" y="4524"/>
                    <a:pt x="1775" y="4620"/>
                  </a:cubicBezTo>
                  <a:lnTo>
                    <a:pt x="1775" y="4632"/>
                  </a:lnTo>
                  <a:lnTo>
                    <a:pt x="1668" y="4632"/>
                  </a:lnTo>
                  <a:cubicBezTo>
                    <a:pt x="1596" y="4632"/>
                    <a:pt x="1513" y="4608"/>
                    <a:pt x="1453" y="4548"/>
                  </a:cubicBezTo>
                  <a:cubicBezTo>
                    <a:pt x="1394" y="4489"/>
                    <a:pt x="1382" y="4405"/>
                    <a:pt x="1382" y="4322"/>
                  </a:cubicBezTo>
                  <a:cubicBezTo>
                    <a:pt x="1394" y="4191"/>
                    <a:pt x="1537" y="4072"/>
                    <a:pt x="1680" y="4072"/>
                  </a:cubicBezTo>
                  <a:lnTo>
                    <a:pt x="1739" y="4072"/>
                  </a:lnTo>
                  <a:cubicBezTo>
                    <a:pt x="1930" y="4072"/>
                    <a:pt x="2096" y="3989"/>
                    <a:pt x="2227" y="3858"/>
                  </a:cubicBezTo>
                  <a:cubicBezTo>
                    <a:pt x="2370" y="3727"/>
                    <a:pt x="2442" y="3548"/>
                    <a:pt x="2442" y="3370"/>
                  </a:cubicBezTo>
                  <a:lnTo>
                    <a:pt x="2442" y="3191"/>
                  </a:lnTo>
                  <a:cubicBezTo>
                    <a:pt x="2442" y="2965"/>
                    <a:pt x="2549" y="2738"/>
                    <a:pt x="2727" y="2608"/>
                  </a:cubicBezTo>
                  <a:cubicBezTo>
                    <a:pt x="2799" y="2548"/>
                    <a:pt x="2811" y="2441"/>
                    <a:pt x="2751" y="2369"/>
                  </a:cubicBezTo>
                  <a:cubicBezTo>
                    <a:pt x="2717" y="2329"/>
                    <a:pt x="2668" y="2307"/>
                    <a:pt x="2619" y="2307"/>
                  </a:cubicBezTo>
                  <a:cubicBezTo>
                    <a:pt x="2581" y="2307"/>
                    <a:pt x="2544" y="2320"/>
                    <a:pt x="2513" y="2346"/>
                  </a:cubicBezTo>
                  <a:cubicBezTo>
                    <a:pt x="2251" y="2548"/>
                    <a:pt x="2096" y="2846"/>
                    <a:pt x="2096" y="3191"/>
                  </a:cubicBezTo>
                  <a:lnTo>
                    <a:pt x="2096" y="3370"/>
                  </a:lnTo>
                  <a:cubicBezTo>
                    <a:pt x="2096" y="3477"/>
                    <a:pt x="2049" y="3560"/>
                    <a:pt x="1989" y="3620"/>
                  </a:cubicBezTo>
                  <a:cubicBezTo>
                    <a:pt x="1918" y="3691"/>
                    <a:pt x="1834" y="3727"/>
                    <a:pt x="1739" y="3727"/>
                  </a:cubicBezTo>
                  <a:lnTo>
                    <a:pt x="1680" y="3727"/>
                  </a:lnTo>
                  <a:cubicBezTo>
                    <a:pt x="1572" y="3727"/>
                    <a:pt x="1477" y="3751"/>
                    <a:pt x="1382" y="3798"/>
                  </a:cubicBezTo>
                  <a:lnTo>
                    <a:pt x="1382" y="3179"/>
                  </a:lnTo>
                  <a:cubicBezTo>
                    <a:pt x="1382" y="2298"/>
                    <a:pt x="1787" y="1512"/>
                    <a:pt x="2406" y="976"/>
                  </a:cubicBezTo>
                  <a:close/>
                  <a:moveTo>
                    <a:pt x="1394" y="4905"/>
                  </a:moveTo>
                  <a:cubicBezTo>
                    <a:pt x="1489" y="4941"/>
                    <a:pt x="1572" y="4965"/>
                    <a:pt x="1668" y="4965"/>
                  </a:cubicBezTo>
                  <a:lnTo>
                    <a:pt x="1787" y="4965"/>
                  </a:lnTo>
                  <a:cubicBezTo>
                    <a:pt x="1894" y="5739"/>
                    <a:pt x="2370" y="6394"/>
                    <a:pt x="3001" y="6775"/>
                  </a:cubicBezTo>
                  <a:lnTo>
                    <a:pt x="3001" y="7501"/>
                  </a:lnTo>
                  <a:lnTo>
                    <a:pt x="3025" y="7501"/>
                  </a:lnTo>
                  <a:cubicBezTo>
                    <a:pt x="3025" y="7703"/>
                    <a:pt x="2918" y="7894"/>
                    <a:pt x="2739" y="7977"/>
                  </a:cubicBezTo>
                  <a:cubicBezTo>
                    <a:pt x="2453" y="7715"/>
                    <a:pt x="1513" y="6668"/>
                    <a:pt x="1394" y="4905"/>
                  </a:cubicBezTo>
                  <a:close/>
                  <a:moveTo>
                    <a:pt x="7454" y="8954"/>
                  </a:moveTo>
                  <a:lnTo>
                    <a:pt x="7585" y="8989"/>
                  </a:lnTo>
                  <a:cubicBezTo>
                    <a:pt x="7740" y="9037"/>
                    <a:pt x="7859" y="9132"/>
                    <a:pt x="7966" y="9227"/>
                  </a:cubicBezTo>
                  <a:lnTo>
                    <a:pt x="7454" y="9668"/>
                  </a:lnTo>
                  <a:lnTo>
                    <a:pt x="7454" y="8954"/>
                  </a:lnTo>
                  <a:close/>
                  <a:moveTo>
                    <a:pt x="2311" y="8489"/>
                  </a:moveTo>
                  <a:cubicBezTo>
                    <a:pt x="2632" y="9275"/>
                    <a:pt x="3406" y="9787"/>
                    <a:pt x="4251" y="9787"/>
                  </a:cubicBezTo>
                  <a:cubicBezTo>
                    <a:pt x="4763" y="9787"/>
                    <a:pt x="5251" y="9596"/>
                    <a:pt x="5621" y="9275"/>
                  </a:cubicBezTo>
                  <a:cubicBezTo>
                    <a:pt x="5680" y="9394"/>
                    <a:pt x="5763" y="9501"/>
                    <a:pt x="5823" y="9608"/>
                  </a:cubicBezTo>
                  <a:cubicBezTo>
                    <a:pt x="5371" y="9966"/>
                    <a:pt x="4823" y="10156"/>
                    <a:pt x="4251" y="10156"/>
                  </a:cubicBezTo>
                  <a:cubicBezTo>
                    <a:pt x="3239" y="10156"/>
                    <a:pt x="2334" y="9549"/>
                    <a:pt x="1953" y="8620"/>
                  </a:cubicBezTo>
                  <a:lnTo>
                    <a:pt x="2311" y="8489"/>
                  </a:lnTo>
                  <a:close/>
                  <a:moveTo>
                    <a:pt x="4251" y="0"/>
                  </a:moveTo>
                  <a:cubicBezTo>
                    <a:pt x="2489" y="0"/>
                    <a:pt x="1060" y="1429"/>
                    <a:pt x="1060" y="3203"/>
                  </a:cubicBezTo>
                  <a:lnTo>
                    <a:pt x="1060" y="4572"/>
                  </a:lnTo>
                  <a:cubicBezTo>
                    <a:pt x="1060" y="5858"/>
                    <a:pt x="1477" y="6787"/>
                    <a:pt x="1834" y="7370"/>
                  </a:cubicBezTo>
                  <a:cubicBezTo>
                    <a:pt x="2037" y="7715"/>
                    <a:pt x="2263" y="7965"/>
                    <a:pt x="2406" y="8132"/>
                  </a:cubicBezTo>
                  <a:lnTo>
                    <a:pt x="822" y="8692"/>
                  </a:lnTo>
                  <a:cubicBezTo>
                    <a:pt x="322" y="8870"/>
                    <a:pt x="1" y="9335"/>
                    <a:pt x="1" y="9858"/>
                  </a:cubicBezTo>
                  <a:lnTo>
                    <a:pt x="1" y="11240"/>
                  </a:lnTo>
                  <a:cubicBezTo>
                    <a:pt x="1" y="11323"/>
                    <a:pt x="72" y="11406"/>
                    <a:pt x="167" y="11406"/>
                  </a:cubicBezTo>
                  <a:cubicBezTo>
                    <a:pt x="251" y="11406"/>
                    <a:pt x="322" y="11323"/>
                    <a:pt x="322" y="11240"/>
                  </a:cubicBezTo>
                  <a:lnTo>
                    <a:pt x="322" y="9858"/>
                  </a:lnTo>
                  <a:cubicBezTo>
                    <a:pt x="322" y="9751"/>
                    <a:pt x="334" y="9632"/>
                    <a:pt x="382" y="9537"/>
                  </a:cubicBezTo>
                  <a:lnTo>
                    <a:pt x="1239" y="10275"/>
                  </a:lnTo>
                  <a:cubicBezTo>
                    <a:pt x="1358" y="10370"/>
                    <a:pt x="1430" y="10525"/>
                    <a:pt x="1430" y="10692"/>
                  </a:cubicBezTo>
                  <a:lnTo>
                    <a:pt x="1430" y="11251"/>
                  </a:lnTo>
                  <a:cubicBezTo>
                    <a:pt x="1430" y="11347"/>
                    <a:pt x="1501" y="11418"/>
                    <a:pt x="1596" y="11418"/>
                  </a:cubicBezTo>
                  <a:cubicBezTo>
                    <a:pt x="1680" y="11418"/>
                    <a:pt x="1751" y="11347"/>
                    <a:pt x="1751" y="11251"/>
                  </a:cubicBezTo>
                  <a:lnTo>
                    <a:pt x="1751" y="10692"/>
                  </a:lnTo>
                  <a:cubicBezTo>
                    <a:pt x="1751" y="10430"/>
                    <a:pt x="1632" y="10180"/>
                    <a:pt x="1441" y="10013"/>
                  </a:cubicBezTo>
                  <a:lnTo>
                    <a:pt x="560" y="9263"/>
                  </a:lnTo>
                  <a:cubicBezTo>
                    <a:pt x="668" y="9156"/>
                    <a:pt x="787" y="9061"/>
                    <a:pt x="929" y="9025"/>
                  </a:cubicBezTo>
                  <a:lnTo>
                    <a:pt x="1632" y="8763"/>
                  </a:lnTo>
                  <a:cubicBezTo>
                    <a:pt x="2072" y="9823"/>
                    <a:pt x="3108" y="10525"/>
                    <a:pt x="4275" y="10525"/>
                  </a:cubicBezTo>
                  <a:cubicBezTo>
                    <a:pt x="4906" y="10525"/>
                    <a:pt x="5525" y="10311"/>
                    <a:pt x="6013" y="9930"/>
                  </a:cubicBezTo>
                  <a:cubicBezTo>
                    <a:pt x="6240" y="10311"/>
                    <a:pt x="6418" y="10728"/>
                    <a:pt x="6418" y="11251"/>
                  </a:cubicBezTo>
                  <a:cubicBezTo>
                    <a:pt x="6418" y="11347"/>
                    <a:pt x="6490" y="11418"/>
                    <a:pt x="6573" y="11418"/>
                  </a:cubicBezTo>
                  <a:cubicBezTo>
                    <a:pt x="6668" y="11418"/>
                    <a:pt x="6740" y="11347"/>
                    <a:pt x="6740" y="11251"/>
                  </a:cubicBezTo>
                  <a:cubicBezTo>
                    <a:pt x="6740" y="10513"/>
                    <a:pt x="6430" y="9989"/>
                    <a:pt x="6109" y="9477"/>
                  </a:cubicBezTo>
                  <a:cubicBezTo>
                    <a:pt x="5787" y="8942"/>
                    <a:pt x="5490" y="8453"/>
                    <a:pt x="5490" y="7691"/>
                  </a:cubicBezTo>
                  <a:lnTo>
                    <a:pt x="5490" y="7513"/>
                  </a:lnTo>
                  <a:cubicBezTo>
                    <a:pt x="5490" y="7430"/>
                    <a:pt x="5418" y="7358"/>
                    <a:pt x="5323" y="7358"/>
                  </a:cubicBezTo>
                  <a:cubicBezTo>
                    <a:pt x="5240" y="7358"/>
                    <a:pt x="5168" y="7430"/>
                    <a:pt x="5168" y="7513"/>
                  </a:cubicBezTo>
                  <a:lnTo>
                    <a:pt x="5168" y="7691"/>
                  </a:lnTo>
                  <a:cubicBezTo>
                    <a:pt x="5168" y="8227"/>
                    <a:pt x="5299" y="8644"/>
                    <a:pt x="5478" y="9025"/>
                  </a:cubicBezTo>
                  <a:cubicBezTo>
                    <a:pt x="5144" y="9335"/>
                    <a:pt x="4716" y="9501"/>
                    <a:pt x="4251" y="9501"/>
                  </a:cubicBezTo>
                  <a:cubicBezTo>
                    <a:pt x="3537" y="9501"/>
                    <a:pt x="2906" y="9085"/>
                    <a:pt x="2620" y="8442"/>
                  </a:cubicBezTo>
                  <a:lnTo>
                    <a:pt x="2763" y="8382"/>
                  </a:lnTo>
                  <a:cubicBezTo>
                    <a:pt x="3120" y="8263"/>
                    <a:pt x="3346" y="7918"/>
                    <a:pt x="3346" y="7549"/>
                  </a:cubicBezTo>
                  <a:lnTo>
                    <a:pt x="3346" y="6977"/>
                  </a:lnTo>
                  <a:cubicBezTo>
                    <a:pt x="3632" y="7084"/>
                    <a:pt x="3930" y="7144"/>
                    <a:pt x="4251" y="7144"/>
                  </a:cubicBezTo>
                  <a:cubicBezTo>
                    <a:pt x="5501" y="7144"/>
                    <a:pt x="6549" y="6203"/>
                    <a:pt x="6704" y="5001"/>
                  </a:cubicBezTo>
                  <a:lnTo>
                    <a:pt x="6811" y="5001"/>
                  </a:lnTo>
                  <a:cubicBezTo>
                    <a:pt x="6918" y="5001"/>
                    <a:pt x="7025" y="4977"/>
                    <a:pt x="7109" y="4929"/>
                  </a:cubicBezTo>
                  <a:lnTo>
                    <a:pt x="7109" y="11251"/>
                  </a:lnTo>
                  <a:cubicBezTo>
                    <a:pt x="7109" y="11347"/>
                    <a:pt x="7180" y="11418"/>
                    <a:pt x="7276" y="11418"/>
                  </a:cubicBezTo>
                  <a:cubicBezTo>
                    <a:pt x="7359" y="11418"/>
                    <a:pt x="7442" y="11347"/>
                    <a:pt x="7442" y="11251"/>
                  </a:cubicBezTo>
                  <a:lnTo>
                    <a:pt x="7442" y="10108"/>
                  </a:lnTo>
                  <a:lnTo>
                    <a:pt x="8121" y="9525"/>
                  </a:lnTo>
                  <a:cubicBezTo>
                    <a:pt x="8168" y="9632"/>
                    <a:pt x="8180" y="9739"/>
                    <a:pt x="8180" y="9847"/>
                  </a:cubicBezTo>
                  <a:lnTo>
                    <a:pt x="8180" y="11228"/>
                  </a:lnTo>
                  <a:cubicBezTo>
                    <a:pt x="8180" y="11311"/>
                    <a:pt x="8252" y="11394"/>
                    <a:pt x="8347" y="11394"/>
                  </a:cubicBezTo>
                  <a:cubicBezTo>
                    <a:pt x="8430" y="11394"/>
                    <a:pt x="8514" y="11311"/>
                    <a:pt x="8514" y="11228"/>
                  </a:cubicBezTo>
                  <a:lnTo>
                    <a:pt x="8514" y="9847"/>
                  </a:lnTo>
                  <a:cubicBezTo>
                    <a:pt x="8526" y="9323"/>
                    <a:pt x="8204" y="8846"/>
                    <a:pt x="7692" y="8680"/>
                  </a:cubicBezTo>
                  <a:lnTo>
                    <a:pt x="7454" y="8596"/>
                  </a:lnTo>
                  <a:lnTo>
                    <a:pt x="7454" y="3203"/>
                  </a:lnTo>
                  <a:cubicBezTo>
                    <a:pt x="7454" y="1453"/>
                    <a:pt x="6025" y="0"/>
                    <a:pt x="4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0" name="Google Shape;11590;p61"/>
            <p:cNvSpPr/>
            <p:nvPr/>
          </p:nvSpPr>
          <p:spPr>
            <a:xfrm>
              <a:off x="6785941" y="3884229"/>
              <a:ext cx="29082" cy="16442"/>
            </a:xfrm>
            <a:custGeom>
              <a:avLst/>
              <a:gdLst/>
              <a:ahLst/>
              <a:cxnLst/>
              <a:rect l="l" t="t" r="r" b="b"/>
              <a:pathLst>
                <a:path w="918" h="519" extrusionOk="0">
                  <a:moveTo>
                    <a:pt x="717" y="1"/>
                  </a:moveTo>
                  <a:cubicBezTo>
                    <a:pt x="701" y="1"/>
                    <a:pt x="684" y="3"/>
                    <a:pt x="668" y="7"/>
                  </a:cubicBezTo>
                  <a:lnTo>
                    <a:pt x="144" y="185"/>
                  </a:lnTo>
                  <a:cubicBezTo>
                    <a:pt x="49" y="221"/>
                    <a:pt x="1" y="304"/>
                    <a:pt x="37" y="400"/>
                  </a:cubicBezTo>
                  <a:cubicBezTo>
                    <a:pt x="61" y="471"/>
                    <a:pt x="120" y="519"/>
                    <a:pt x="191" y="519"/>
                  </a:cubicBezTo>
                  <a:cubicBezTo>
                    <a:pt x="215" y="519"/>
                    <a:pt x="227" y="519"/>
                    <a:pt x="263" y="495"/>
                  </a:cubicBezTo>
                  <a:lnTo>
                    <a:pt x="787" y="316"/>
                  </a:lnTo>
                  <a:cubicBezTo>
                    <a:pt x="870" y="304"/>
                    <a:pt x="918" y="209"/>
                    <a:pt x="882" y="114"/>
                  </a:cubicBezTo>
                  <a:cubicBezTo>
                    <a:pt x="862" y="45"/>
                    <a:pt x="794" y="1"/>
                    <a:pt x="7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1" name="Google Shape;11591;p61"/>
          <p:cNvGrpSpPr/>
          <p:nvPr/>
        </p:nvGrpSpPr>
        <p:grpSpPr>
          <a:xfrm>
            <a:off x="3516886" y="3438727"/>
            <a:ext cx="391854" cy="269922"/>
            <a:chOff x="3516850" y="3406526"/>
            <a:chExt cx="369674" cy="254644"/>
          </a:xfrm>
        </p:grpSpPr>
        <p:sp>
          <p:nvSpPr>
            <p:cNvPr id="11592" name="Google Shape;11592;p61"/>
            <p:cNvSpPr/>
            <p:nvPr/>
          </p:nvSpPr>
          <p:spPr>
            <a:xfrm>
              <a:off x="3570421" y="3564577"/>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3" name="Google Shape;11593;p61"/>
            <p:cNvSpPr/>
            <p:nvPr/>
          </p:nvSpPr>
          <p:spPr>
            <a:xfrm>
              <a:off x="3516850" y="3406526"/>
              <a:ext cx="184473" cy="253503"/>
            </a:xfrm>
            <a:custGeom>
              <a:avLst/>
              <a:gdLst/>
              <a:ahLst/>
              <a:cxnLst/>
              <a:rect l="l" t="t" r="r" b="b"/>
              <a:pathLst>
                <a:path w="5823" h="8002" extrusionOk="0">
                  <a:moveTo>
                    <a:pt x="3060" y="382"/>
                  </a:moveTo>
                  <a:cubicBezTo>
                    <a:pt x="3275" y="382"/>
                    <a:pt x="3453" y="560"/>
                    <a:pt x="3453" y="774"/>
                  </a:cubicBezTo>
                  <a:lnTo>
                    <a:pt x="3453" y="882"/>
                  </a:lnTo>
                  <a:lnTo>
                    <a:pt x="3453" y="917"/>
                  </a:lnTo>
                  <a:cubicBezTo>
                    <a:pt x="3465" y="1084"/>
                    <a:pt x="3453" y="2489"/>
                    <a:pt x="3453" y="3346"/>
                  </a:cubicBezTo>
                  <a:cubicBezTo>
                    <a:pt x="3453" y="3441"/>
                    <a:pt x="3525" y="3513"/>
                    <a:pt x="3620" y="3525"/>
                  </a:cubicBezTo>
                  <a:cubicBezTo>
                    <a:pt x="3703" y="3525"/>
                    <a:pt x="3775" y="3453"/>
                    <a:pt x="3775" y="3358"/>
                  </a:cubicBezTo>
                  <a:cubicBezTo>
                    <a:pt x="3775" y="3358"/>
                    <a:pt x="3799" y="2751"/>
                    <a:pt x="3799" y="2156"/>
                  </a:cubicBezTo>
                  <a:lnTo>
                    <a:pt x="3799" y="953"/>
                  </a:lnTo>
                  <a:cubicBezTo>
                    <a:pt x="3870" y="882"/>
                    <a:pt x="3953" y="846"/>
                    <a:pt x="4061" y="846"/>
                  </a:cubicBezTo>
                  <a:cubicBezTo>
                    <a:pt x="4275" y="846"/>
                    <a:pt x="4453" y="1024"/>
                    <a:pt x="4453" y="1227"/>
                  </a:cubicBezTo>
                  <a:lnTo>
                    <a:pt x="4453" y="1608"/>
                  </a:lnTo>
                  <a:lnTo>
                    <a:pt x="4453" y="3358"/>
                  </a:lnTo>
                  <a:cubicBezTo>
                    <a:pt x="4453" y="3453"/>
                    <a:pt x="4525" y="3525"/>
                    <a:pt x="4608" y="3525"/>
                  </a:cubicBezTo>
                  <a:cubicBezTo>
                    <a:pt x="4703" y="3525"/>
                    <a:pt x="4775" y="3453"/>
                    <a:pt x="4775" y="3358"/>
                  </a:cubicBezTo>
                  <a:lnTo>
                    <a:pt x="4775" y="1691"/>
                  </a:lnTo>
                  <a:cubicBezTo>
                    <a:pt x="4823" y="1667"/>
                    <a:pt x="4870" y="1644"/>
                    <a:pt x="4906" y="1644"/>
                  </a:cubicBezTo>
                  <a:cubicBezTo>
                    <a:pt x="5061" y="1644"/>
                    <a:pt x="5180" y="1763"/>
                    <a:pt x="5180" y="1917"/>
                  </a:cubicBezTo>
                  <a:lnTo>
                    <a:pt x="5192" y="6930"/>
                  </a:lnTo>
                  <a:lnTo>
                    <a:pt x="3179" y="6930"/>
                  </a:lnTo>
                  <a:lnTo>
                    <a:pt x="3179" y="6358"/>
                  </a:lnTo>
                  <a:cubicBezTo>
                    <a:pt x="3179" y="6204"/>
                    <a:pt x="3168" y="6061"/>
                    <a:pt x="3156" y="5906"/>
                  </a:cubicBezTo>
                  <a:cubicBezTo>
                    <a:pt x="3145" y="5833"/>
                    <a:pt x="3070" y="5759"/>
                    <a:pt x="2995" y="5759"/>
                  </a:cubicBezTo>
                  <a:cubicBezTo>
                    <a:pt x="2985" y="5759"/>
                    <a:pt x="2975" y="5760"/>
                    <a:pt x="2965" y="5763"/>
                  </a:cubicBezTo>
                  <a:cubicBezTo>
                    <a:pt x="2870" y="5775"/>
                    <a:pt x="2798" y="5858"/>
                    <a:pt x="2810" y="5954"/>
                  </a:cubicBezTo>
                  <a:cubicBezTo>
                    <a:pt x="2822" y="6085"/>
                    <a:pt x="2846" y="6216"/>
                    <a:pt x="2846" y="6358"/>
                  </a:cubicBezTo>
                  <a:lnTo>
                    <a:pt x="2846" y="6918"/>
                  </a:lnTo>
                  <a:lnTo>
                    <a:pt x="1679" y="6918"/>
                  </a:lnTo>
                  <a:lnTo>
                    <a:pt x="1679" y="4989"/>
                  </a:lnTo>
                  <a:lnTo>
                    <a:pt x="1679" y="4965"/>
                  </a:lnTo>
                  <a:cubicBezTo>
                    <a:pt x="1679" y="4930"/>
                    <a:pt x="1667" y="4894"/>
                    <a:pt x="1632" y="4858"/>
                  </a:cubicBezTo>
                  <a:lnTo>
                    <a:pt x="501" y="3727"/>
                  </a:lnTo>
                  <a:cubicBezTo>
                    <a:pt x="370" y="3596"/>
                    <a:pt x="370" y="3370"/>
                    <a:pt x="501" y="3251"/>
                  </a:cubicBezTo>
                  <a:cubicBezTo>
                    <a:pt x="572" y="3185"/>
                    <a:pt x="661" y="3153"/>
                    <a:pt x="751" y="3153"/>
                  </a:cubicBezTo>
                  <a:cubicBezTo>
                    <a:pt x="840" y="3153"/>
                    <a:pt x="929" y="3185"/>
                    <a:pt x="1001" y="3251"/>
                  </a:cubicBezTo>
                  <a:lnTo>
                    <a:pt x="1417" y="3656"/>
                  </a:lnTo>
                  <a:lnTo>
                    <a:pt x="1965" y="4203"/>
                  </a:lnTo>
                  <a:cubicBezTo>
                    <a:pt x="2275" y="4525"/>
                    <a:pt x="2525" y="4906"/>
                    <a:pt x="2679" y="5323"/>
                  </a:cubicBezTo>
                  <a:cubicBezTo>
                    <a:pt x="2698" y="5399"/>
                    <a:pt x="2771" y="5437"/>
                    <a:pt x="2848" y="5437"/>
                  </a:cubicBezTo>
                  <a:cubicBezTo>
                    <a:pt x="2867" y="5437"/>
                    <a:pt x="2887" y="5435"/>
                    <a:pt x="2906" y="5430"/>
                  </a:cubicBezTo>
                  <a:cubicBezTo>
                    <a:pt x="2989" y="5394"/>
                    <a:pt x="3037" y="5299"/>
                    <a:pt x="3001" y="5204"/>
                  </a:cubicBezTo>
                  <a:cubicBezTo>
                    <a:pt x="2846" y="4751"/>
                    <a:pt x="2560" y="4311"/>
                    <a:pt x="2203" y="3977"/>
                  </a:cubicBezTo>
                  <a:lnTo>
                    <a:pt x="1691" y="3477"/>
                  </a:lnTo>
                  <a:lnTo>
                    <a:pt x="1691" y="1072"/>
                  </a:lnTo>
                  <a:cubicBezTo>
                    <a:pt x="1691" y="858"/>
                    <a:pt x="1870" y="679"/>
                    <a:pt x="2084" y="679"/>
                  </a:cubicBezTo>
                  <a:cubicBezTo>
                    <a:pt x="2191" y="679"/>
                    <a:pt x="2275" y="727"/>
                    <a:pt x="2346" y="798"/>
                  </a:cubicBezTo>
                  <a:lnTo>
                    <a:pt x="2346" y="3346"/>
                  </a:lnTo>
                  <a:cubicBezTo>
                    <a:pt x="2346" y="3441"/>
                    <a:pt x="2429" y="3513"/>
                    <a:pt x="2513" y="3513"/>
                  </a:cubicBezTo>
                  <a:cubicBezTo>
                    <a:pt x="2608" y="3513"/>
                    <a:pt x="2679" y="3441"/>
                    <a:pt x="2679" y="3346"/>
                  </a:cubicBezTo>
                  <a:lnTo>
                    <a:pt x="2679" y="739"/>
                  </a:lnTo>
                  <a:cubicBezTo>
                    <a:pt x="2691" y="536"/>
                    <a:pt x="2858" y="382"/>
                    <a:pt x="3060" y="382"/>
                  </a:cubicBezTo>
                  <a:close/>
                  <a:moveTo>
                    <a:pt x="3072" y="1"/>
                  </a:moveTo>
                  <a:cubicBezTo>
                    <a:pt x="2798" y="1"/>
                    <a:pt x="2560" y="167"/>
                    <a:pt x="2441" y="405"/>
                  </a:cubicBezTo>
                  <a:cubicBezTo>
                    <a:pt x="2334" y="346"/>
                    <a:pt x="2215" y="310"/>
                    <a:pt x="2084" y="310"/>
                  </a:cubicBezTo>
                  <a:cubicBezTo>
                    <a:pt x="1679" y="310"/>
                    <a:pt x="1358" y="643"/>
                    <a:pt x="1358" y="1036"/>
                  </a:cubicBezTo>
                  <a:lnTo>
                    <a:pt x="1358" y="3120"/>
                  </a:lnTo>
                  <a:lnTo>
                    <a:pt x="1239" y="3001"/>
                  </a:lnTo>
                  <a:cubicBezTo>
                    <a:pt x="1102" y="2870"/>
                    <a:pt x="926" y="2804"/>
                    <a:pt x="751" y="2804"/>
                  </a:cubicBezTo>
                  <a:cubicBezTo>
                    <a:pt x="575" y="2804"/>
                    <a:pt x="399" y="2870"/>
                    <a:pt x="262" y="3001"/>
                  </a:cubicBezTo>
                  <a:cubicBezTo>
                    <a:pt x="1" y="3275"/>
                    <a:pt x="1" y="3703"/>
                    <a:pt x="262" y="3977"/>
                  </a:cubicBezTo>
                  <a:lnTo>
                    <a:pt x="1358" y="5061"/>
                  </a:lnTo>
                  <a:lnTo>
                    <a:pt x="1358" y="6918"/>
                  </a:lnTo>
                  <a:lnTo>
                    <a:pt x="1251" y="6918"/>
                  </a:lnTo>
                  <a:cubicBezTo>
                    <a:pt x="1155" y="6918"/>
                    <a:pt x="1084" y="6990"/>
                    <a:pt x="1084" y="7085"/>
                  </a:cubicBezTo>
                  <a:lnTo>
                    <a:pt x="1084" y="7847"/>
                  </a:lnTo>
                  <a:cubicBezTo>
                    <a:pt x="1084" y="7930"/>
                    <a:pt x="1155" y="8002"/>
                    <a:pt x="1251" y="8002"/>
                  </a:cubicBezTo>
                  <a:lnTo>
                    <a:pt x="4061" y="8002"/>
                  </a:lnTo>
                  <a:cubicBezTo>
                    <a:pt x="4156" y="8002"/>
                    <a:pt x="4227" y="7930"/>
                    <a:pt x="4227" y="7847"/>
                  </a:cubicBezTo>
                  <a:cubicBezTo>
                    <a:pt x="4227" y="7752"/>
                    <a:pt x="4156" y="7680"/>
                    <a:pt x="4061" y="7680"/>
                  </a:cubicBezTo>
                  <a:lnTo>
                    <a:pt x="1417" y="7680"/>
                  </a:lnTo>
                  <a:lnTo>
                    <a:pt x="1417" y="7263"/>
                  </a:lnTo>
                  <a:lnTo>
                    <a:pt x="5465" y="7263"/>
                  </a:lnTo>
                  <a:lnTo>
                    <a:pt x="5465" y="7680"/>
                  </a:lnTo>
                  <a:lnTo>
                    <a:pt x="4715" y="7680"/>
                  </a:lnTo>
                  <a:cubicBezTo>
                    <a:pt x="4632" y="7680"/>
                    <a:pt x="4549" y="7752"/>
                    <a:pt x="4549" y="7847"/>
                  </a:cubicBezTo>
                  <a:cubicBezTo>
                    <a:pt x="4549" y="7930"/>
                    <a:pt x="4632" y="8002"/>
                    <a:pt x="4715" y="8002"/>
                  </a:cubicBezTo>
                  <a:lnTo>
                    <a:pt x="5644" y="8002"/>
                  </a:lnTo>
                  <a:cubicBezTo>
                    <a:pt x="5727" y="8002"/>
                    <a:pt x="5799" y="7930"/>
                    <a:pt x="5799" y="7847"/>
                  </a:cubicBezTo>
                  <a:lnTo>
                    <a:pt x="5799" y="7097"/>
                  </a:lnTo>
                  <a:cubicBezTo>
                    <a:pt x="5823" y="7013"/>
                    <a:pt x="5739" y="6930"/>
                    <a:pt x="5656" y="6930"/>
                  </a:cubicBezTo>
                  <a:lnTo>
                    <a:pt x="5549" y="6930"/>
                  </a:lnTo>
                  <a:lnTo>
                    <a:pt x="5549" y="1894"/>
                  </a:lnTo>
                  <a:cubicBezTo>
                    <a:pt x="5549" y="1548"/>
                    <a:pt x="5287" y="1275"/>
                    <a:pt x="4942" y="1275"/>
                  </a:cubicBezTo>
                  <a:cubicBezTo>
                    <a:pt x="4894" y="1275"/>
                    <a:pt x="4846" y="1275"/>
                    <a:pt x="4799" y="1298"/>
                  </a:cubicBezTo>
                  <a:lnTo>
                    <a:pt x="4799" y="1191"/>
                  </a:lnTo>
                  <a:cubicBezTo>
                    <a:pt x="4799" y="786"/>
                    <a:pt x="4477" y="465"/>
                    <a:pt x="4072" y="465"/>
                  </a:cubicBezTo>
                  <a:cubicBezTo>
                    <a:pt x="3965" y="465"/>
                    <a:pt x="3870" y="489"/>
                    <a:pt x="3775" y="524"/>
                  </a:cubicBezTo>
                  <a:cubicBezTo>
                    <a:pt x="3691" y="227"/>
                    <a:pt x="340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4" name="Google Shape;11594;p61"/>
            <p:cNvSpPr/>
            <p:nvPr/>
          </p:nvSpPr>
          <p:spPr>
            <a:xfrm>
              <a:off x="3768073" y="3480087"/>
              <a:ext cx="11341" cy="37731"/>
            </a:xfrm>
            <a:custGeom>
              <a:avLst/>
              <a:gdLst/>
              <a:ahLst/>
              <a:cxnLst/>
              <a:rect l="l" t="t" r="r" b="b"/>
              <a:pathLst>
                <a:path w="358" h="1191" extrusionOk="0">
                  <a:moveTo>
                    <a:pt x="167" y="0"/>
                  </a:moveTo>
                  <a:cubicBezTo>
                    <a:pt x="72" y="0"/>
                    <a:pt x="0" y="84"/>
                    <a:pt x="0" y="179"/>
                  </a:cubicBezTo>
                  <a:cubicBezTo>
                    <a:pt x="12" y="405"/>
                    <a:pt x="12" y="667"/>
                    <a:pt x="12" y="1012"/>
                  </a:cubicBezTo>
                  <a:cubicBezTo>
                    <a:pt x="12" y="1096"/>
                    <a:pt x="95" y="1191"/>
                    <a:pt x="179" y="1191"/>
                  </a:cubicBezTo>
                  <a:cubicBezTo>
                    <a:pt x="274" y="1191"/>
                    <a:pt x="345" y="1119"/>
                    <a:pt x="345" y="1024"/>
                  </a:cubicBezTo>
                  <a:cubicBezTo>
                    <a:pt x="357" y="667"/>
                    <a:pt x="357" y="381"/>
                    <a:pt x="345" y="167"/>
                  </a:cubicBezTo>
                  <a:cubicBezTo>
                    <a:pt x="345"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5" name="Google Shape;11595;p61"/>
            <p:cNvSpPr/>
            <p:nvPr/>
          </p:nvSpPr>
          <p:spPr>
            <a:xfrm>
              <a:off x="3705061" y="3407286"/>
              <a:ext cx="181463" cy="253884"/>
            </a:xfrm>
            <a:custGeom>
              <a:avLst/>
              <a:gdLst/>
              <a:ahLst/>
              <a:cxnLst/>
              <a:rect l="l" t="t" r="r" b="b"/>
              <a:pathLst>
                <a:path w="5728" h="8014" extrusionOk="0">
                  <a:moveTo>
                    <a:pt x="2692" y="358"/>
                  </a:moveTo>
                  <a:cubicBezTo>
                    <a:pt x="2894" y="358"/>
                    <a:pt x="3061" y="524"/>
                    <a:pt x="3073" y="715"/>
                  </a:cubicBezTo>
                  <a:lnTo>
                    <a:pt x="3073" y="3322"/>
                  </a:lnTo>
                  <a:cubicBezTo>
                    <a:pt x="3073" y="3406"/>
                    <a:pt x="3156" y="3489"/>
                    <a:pt x="3239" y="3489"/>
                  </a:cubicBezTo>
                  <a:cubicBezTo>
                    <a:pt x="3334" y="3489"/>
                    <a:pt x="3406" y="3406"/>
                    <a:pt x="3406" y="3322"/>
                  </a:cubicBezTo>
                  <a:lnTo>
                    <a:pt x="3406" y="774"/>
                  </a:lnTo>
                  <a:cubicBezTo>
                    <a:pt x="3477" y="703"/>
                    <a:pt x="3573" y="655"/>
                    <a:pt x="3668" y="655"/>
                  </a:cubicBezTo>
                  <a:cubicBezTo>
                    <a:pt x="3882" y="655"/>
                    <a:pt x="4061" y="834"/>
                    <a:pt x="4061" y="1048"/>
                  </a:cubicBezTo>
                  <a:lnTo>
                    <a:pt x="4061" y="3453"/>
                  </a:lnTo>
                  <a:lnTo>
                    <a:pt x="3549" y="3941"/>
                  </a:lnTo>
                  <a:cubicBezTo>
                    <a:pt x="2918" y="4572"/>
                    <a:pt x="2561" y="5430"/>
                    <a:pt x="2561" y="6323"/>
                  </a:cubicBezTo>
                  <a:lnTo>
                    <a:pt x="2561" y="6894"/>
                  </a:lnTo>
                  <a:lnTo>
                    <a:pt x="548" y="6894"/>
                  </a:lnTo>
                  <a:lnTo>
                    <a:pt x="596" y="1870"/>
                  </a:lnTo>
                  <a:cubicBezTo>
                    <a:pt x="596" y="1715"/>
                    <a:pt x="715" y="1596"/>
                    <a:pt x="858" y="1596"/>
                  </a:cubicBezTo>
                  <a:cubicBezTo>
                    <a:pt x="906" y="1596"/>
                    <a:pt x="953" y="1608"/>
                    <a:pt x="989" y="1643"/>
                  </a:cubicBezTo>
                  <a:lnTo>
                    <a:pt x="989" y="3310"/>
                  </a:lnTo>
                  <a:cubicBezTo>
                    <a:pt x="989" y="3394"/>
                    <a:pt x="1072" y="3477"/>
                    <a:pt x="1156" y="3477"/>
                  </a:cubicBezTo>
                  <a:cubicBezTo>
                    <a:pt x="1251" y="3477"/>
                    <a:pt x="1322" y="3394"/>
                    <a:pt x="1322" y="3310"/>
                  </a:cubicBezTo>
                  <a:lnTo>
                    <a:pt x="1322" y="1548"/>
                  </a:lnTo>
                  <a:lnTo>
                    <a:pt x="1322" y="1179"/>
                  </a:lnTo>
                  <a:cubicBezTo>
                    <a:pt x="1322" y="977"/>
                    <a:pt x="1501" y="798"/>
                    <a:pt x="1703" y="798"/>
                  </a:cubicBezTo>
                  <a:cubicBezTo>
                    <a:pt x="1810" y="798"/>
                    <a:pt x="1906" y="834"/>
                    <a:pt x="1977" y="917"/>
                  </a:cubicBezTo>
                  <a:lnTo>
                    <a:pt x="1977" y="1846"/>
                  </a:lnTo>
                  <a:cubicBezTo>
                    <a:pt x="1977" y="1941"/>
                    <a:pt x="2049" y="2013"/>
                    <a:pt x="2144" y="2013"/>
                  </a:cubicBezTo>
                  <a:cubicBezTo>
                    <a:pt x="2227" y="2013"/>
                    <a:pt x="2299" y="1941"/>
                    <a:pt x="2299" y="1846"/>
                  </a:cubicBezTo>
                  <a:lnTo>
                    <a:pt x="2299" y="858"/>
                  </a:lnTo>
                  <a:lnTo>
                    <a:pt x="2299" y="750"/>
                  </a:lnTo>
                  <a:cubicBezTo>
                    <a:pt x="2299" y="536"/>
                    <a:pt x="2477" y="358"/>
                    <a:pt x="2692" y="358"/>
                  </a:cubicBezTo>
                  <a:close/>
                  <a:moveTo>
                    <a:pt x="5037" y="3132"/>
                  </a:moveTo>
                  <a:cubicBezTo>
                    <a:pt x="5132" y="3132"/>
                    <a:pt x="5216" y="3156"/>
                    <a:pt x="5275" y="3239"/>
                  </a:cubicBezTo>
                  <a:cubicBezTo>
                    <a:pt x="5335" y="3286"/>
                    <a:pt x="5382" y="3382"/>
                    <a:pt x="5382" y="3477"/>
                  </a:cubicBezTo>
                  <a:cubicBezTo>
                    <a:pt x="5382" y="3560"/>
                    <a:pt x="5359" y="3656"/>
                    <a:pt x="5275" y="3715"/>
                  </a:cubicBezTo>
                  <a:lnTo>
                    <a:pt x="4144" y="4858"/>
                  </a:lnTo>
                  <a:cubicBezTo>
                    <a:pt x="4120" y="4882"/>
                    <a:pt x="4108" y="4930"/>
                    <a:pt x="4108" y="4977"/>
                  </a:cubicBezTo>
                  <a:lnTo>
                    <a:pt x="4108" y="6906"/>
                  </a:lnTo>
                  <a:lnTo>
                    <a:pt x="2942" y="6906"/>
                  </a:lnTo>
                  <a:lnTo>
                    <a:pt x="2942" y="6334"/>
                  </a:lnTo>
                  <a:cubicBezTo>
                    <a:pt x="2942" y="5525"/>
                    <a:pt x="3275" y="4751"/>
                    <a:pt x="3835" y="4191"/>
                  </a:cubicBezTo>
                  <a:lnTo>
                    <a:pt x="4382" y="3632"/>
                  </a:lnTo>
                  <a:lnTo>
                    <a:pt x="4799" y="3239"/>
                  </a:lnTo>
                  <a:cubicBezTo>
                    <a:pt x="4858" y="3179"/>
                    <a:pt x="4954" y="3132"/>
                    <a:pt x="5037" y="3132"/>
                  </a:cubicBezTo>
                  <a:close/>
                  <a:moveTo>
                    <a:pt x="4370" y="7251"/>
                  </a:moveTo>
                  <a:lnTo>
                    <a:pt x="4382" y="7668"/>
                  </a:lnTo>
                  <a:lnTo>
                    <a:pt x="322" y="7668"/>
                  </a:lnTo>
                  <a:lnTo>
                    <a:pt x="322" y="7251"/>
                  </a:lnTo>
                  <a:close/>
                  <a:moveTo>
                    <a:pt x="2739" y="0"/>
                  </a:moveTo>
                  <a:cubicBezTo>
                    <a:pt x="2406" y="0"/>
                    <a:pt x="2120" y="227"/>
                    <a:pt x="2037" y="524"/>
                  </a:cubicBezTo>
                  <a:cubicBezTo>
                    <a:pt x="1941" y="477"/>
                    <a:pt x="1846" y="465"/>
                    <a:pt x="1739" y="465"/>
                  </a:cubicBezTo>
                  <a:cubicBezTo>
                    <a:pt x="1334" y="465"/>
                    <a:pt x="1013" y="798"/>
                    <a:pt x="1013" y="1191"/>
                  </a:cubicBezTo>
                  <a:lnTo>
                    <a:pt x="1013" y="1298"/>
                  </a:lnTo>
                  <a:cubicBezTo>
                    <a:pt x="965" y="1286"/>
                    <a:pt x="918" y="1286"/>
                    <a:pt x="870" y="1286"/>
                  </a:cubicBezTo>
                  <a:cubicBezTo>
                    <a:pt x="537" y="1286"/>
                    <a:pt x="263" y="1548"/>
                    <a:pt x="263" y="1893"/>
                  </a:cubicBezTo>
                  <a:lnTo>
                    <a:pt x="263" y="6918"/>
                  </a:lnTo>
                  <a:lnTo>
                    <a:pt x="156" y="6918"/>
                  </a:lnTo>
                  <a:cubicBezTo>
                    <a:pt x="72" y="6918"/>
                    <a:pt x="1" y="7001"/>
                    <a:pt x="1" y="7085"/>
                  </a:cubicBezTo>
                  <a:lnTo>
                    <a:pt x="1" y="7847"/>
                  </a:lnTo>
                  <a:cubicBezTo>
                    <a:pt x="1" y="7942"/>
                    <a:pt x="72" y="8013"/>
                    <a:pt x="156" y="8013"/>
                  </a:cubicBezTo>
                  <a:lnTo>
                    <a:pt x="4561" y="8013"/>
                  </a:lnTo>
                  <a:cubicBezTo>
                    <a:pt x="4656" y="8013"/>
                    <a:pt x="4728" y="7942"/>
                    <a:pt x="4728" y="7847"/>
                  </a:cubicBezTo>
                  <a:lnTo>
                    <a:pt x="4728" y="7073"/>
                  </a:lnTo>
                  <a:cubicBezTo>
                    <a:pt x="4728" y="6989"/>
                    <a:pt x="4656" y="6906"/>
                    <a:pt x="4561" y="6906"/>
                  </a:cubicBezTo>
                  <a:lnTo>
                    <a:pt x="4466" y="6906"/>
                  </a:lnTo>
                  <a:lnTo>
                    <a:pt x="4466" y="5049"/>
                  </a:lnTo>
                  <a:lnTo>
                    <a:pt x="5537" y="3965"/>
                  </a:lnTo>
                  <a:cubicBezTo>
                    <a:pt x="5668" y="3834"/>
                    <a:pt x="5728" y="3667"/>
                    <a:pt x="5728" y="3489"/>
                  </a:cubicBezTo>
                  <a:cubicBezTo>
                    <a:pt x="5728" y="3310"/>
                    <a:pt x="5656" y="3132"/>
                    <a:pt x="5537" y="3013"/>
                  </a:cubicBezTo>
                  <a:cubicBezTo>
                    <a:pt x="5394" y="2882"/>
                    <a:pt x="5239" y="2822"/>
                    <a:pt x="5061" y="2822"/>
                  </a:cubicBezTo>
                  <a:cubicBezTo>
                    <a:pt x="4870" y="2822"/>
                    <a:pt x="4704" y="2894"/>
                    <a:pt x="4573" y="3013"/>
                  </a:cubicBezTo>
                  <a:lnTo>
                    <a:pt x="4466" y="3132"/>
                  </a:lnTo>
                  <a:lnTo>
                    <a:pt x="4466" y="1048"/>
                  </a:lnTo>
                  <a:cubicBezTo>
                    <a:pt x="4466" y="643"/>
                    <a:pt x="4132" y="310"/>
                    <a:pt x="3727" y="310"/>
                  </a:cubicBezTo>
                  <a:cubicBezTo>
                    <a:pt x="3608" y="310"/>
                    <a:pt x="3489" y="346"/>
                    <a:pt x="3370" y="405"/>
                  </a:cubicBezTo>
                  <a:cubicBezTo>
                    <a:pt x="3251" y="167"/>
                    <a:pt x="3001"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96" name="Google Shape;11596;p61"/>
          <p:cNvGrpSpPr/>
          <p:nvPr/>
        </p:nvGrpSpPr>
        <p:grpSpPr>
          <a:xfrm>
            <a:off x="1310655" y="3360527"/>
            <a:ext cx="306314" cy="347403"/>
            <a:chOff x="1310655" y="3360527"/>
            <a:chExt cx="306314" cy="347403"/>
          </a:xfrm>
        </p:grpSpPr>
        <p:sp>
          <p:nvSpPr>
            <p:cNvPr id="11597" name="Google Shape;11597;p61"/>
            <p:cNvSpPr/>
            <p:nvPr/>
          </p:nvSpPr>
          <p:spPr>
            <a:xfrm>
              <a:off x="1440416" y="3531630"/>
              <a:ext cx="151652" cy="176299"/>
            </a:xfrm>
            <a:custGeom>
              <a:avLst/>
              <a:gdLst/>
              <a:ahLst/>
              <a:cxnLst/>
              <a:rect l="l" t="t" r="r" b="b"/>
              <a:pathLst>
                <a:path w="4787" h="5565" extrusionOk="0">
                  <a:moveTo>
                    <a:pt x="1851" y="0"/>
                  </a:moveTo>
                  <a:cubicBezTo>
                    <a:pt x="1838" y="0"/>
                    <a:pt x="1824" y="2"/>
                    <a:pt x="1810" y="4"/>
                  </a:cubicBezTo>
                  <a:cubicBezTo>
                    <a:pt x="1751" y="28"/>
                    <a:pt x="1715" y="52"/>
                    <a:pt x="1691" y="112"/>
                  </a:cubicBezTo>
                  <a:lnTo>
                    <a:pt x="1275" y="1255"/>
                  </a:lnTo>
                  <a:cubicBezTo>
                    <a:pt x="429" y="1767"/>
                    <a:pt x="1" y="2731"/>
                    <a:pt x="191" y="3695"/>
                  </a:cubicBezTo>
                  <a:cubicBezTo>
                    <a:pt x="310" y="4314"/>
                    <a:pt x="667" y="4826"/>
                    <a:pt x="1179" y="5172"/>
                  </a:cubicBezTo>
                  <a:cubicBezTo>
                    <a:pt x="1560" y="5422"/>
                    <a:pt x="2013" y="5565"/>
                    <a:pt x="2453" y="5565"/>
                  </a:cubicBezTo>
                  <a:cubicBezTo>
                    <a:pt x="2608" y="5565"/>
                    <a:pt x="2751" y="5541"/>
                    <a:pt x="2918" y="5517"/>
                  </a:cubicBezTo>
                  <a:cubicBezTo>
                    <a:pt x="3799" y="5338"/>
                    <a:pt x="4489" y="4672"/>
                    <a:pt x="4715" y="3803"/>
                  </a:cubicBezTo>
                  <a:cubicBezTo>
                    <a:pt x="4727" y="3719"/>
                    <a:pt x="4692" y="3624"/>
                    <a:pt x="4596" y="3612"/>
                  </a:cubicBezTo>
                  <a:cubicBezTo>
                    <a:pt x="4586" y="3611"/>
                    <a:pt x="4576" y="3610"/>
                    <a:pt x="4565" y="3610"/>
                  </a:cubicBezTo>
                  <a:cubicBezTo>
                    <a:pt x="4491" y="3610"/>
                    <a:pt x="4416" y="3648"/>
                    <a:pt x="4406" y="3731"/>
                  </a:cubicBezTo>
                  <a:cubicBezTo>
                    <a:pt x="4215" y="4469"/>
                    <a:pt x="3620" y="5053"/>
                    <a:pt x="2858" y="5207"/>
                  </a:cubicBezTo>
                  <a:cubicBezTo>
                    <a:pt x="2728" y="5231"/>
                    <a:pt x="2597" y="5243"/>
                    <a:pt x="2468" y="5243"/>
                  </a:cubicBezTo>
                  <a:cubicBezTo>
                    <a:pt x="2075" y="5243"/>
                    <a:pt x="1692" y="5134"/>
                    <a:pt x="1370" y="4910"/>
                  </a:cubicBezTo>
                  <a:cubicBezTo>
                    <a:pt x="917" y="4612"/>
                    <a:pt x="620" y="4160"/>
                    <a:pt x="524" y="3636"/>
                  </a:cubicBezTo>
                  <a:cubicBezTo>
                    <a:pt x="346" y="2790"/>
                    <a:pt x="739" y="1933"/>
                    <a:pt x="1501" y="1517"/>
                  </a:cubicBezTo>
                  <a:cubicBezTo>
                    <a:pt x="1537" y="1493"/>
                    <a:pt x="1560" y="1469"/>
                    <a:pt x="1572" y="1421"/>
                  </a:cubicBezTo>
                  <a:lnTo>
                    <a:pt x="1918" y="469"/>
                  </a:lnTo>
                  <a:lnTo>
                    <a:pt x="2608" y="1219"/>
                  </a:lnTo>
                  <a:cubicBezTo>
                    <a:pt x="2632" y="1243"/>
                    <a:pt x="2668" y="1255"/>
                    <a:pt x="2703" y="1255"/>
                  </a:cubicBezTo>
                  <a:cubicBezTo>
                    <a:pt x="3572" y="1362"/>
                    <a:pt x="4275" y="2005"/>
                    <a:pt x="4430" y="2850"/>
                  </a:cubicBezTo>
                  <a:cubicBezTo>
                    <a:pt x="4454" y="2945"/>
                    <a:pt x="4465" y="3041"/>
                    <a:pt x="4465" y="3136"/>
                  </a:cubicBezTo>
                  <a:cubicBezTo>
                    <a:pt x="4465" y="3209"/>
                    <a:pt x="4521" y="3283"/>
                    <a:pt x="4599" y="3283"/>
                  </a:cubicBezTo>
                  <a:cubicBezTo>
                    <a:pt x="4610" y="3283"/>
                    <a:pt x="4621" y="3281"/>
                    <a:pt x="4632" y="3279"/>
                  </a:cubicBezTo>
                  <a:cubicBezTo>
                    <a:pt x="4715" y="3279"/>
                    <a:pt x="4787" y="3207"/>
                    <a:pt x="4775" y="3124"/>
                  </a:cubicBezTo>
                  <a:cubicBezTo>
                    <a:pt x="4775" y="3017"/>
                    <a:pt x="4763" y="2898"/>
                    <a:pt x="4727" y="2790"/>
                  </a:cubicBezTo>
                  <a:cubicBezTo>
                    <a:pt x="4537" y="1826"/>
                    <a:pt x="3763" y="1100"/>
                    <a:pt x="2787" y="945"/>
                  </a:cubicBezTo>
                  <a:lnTo>
                    <a:pt x="1965" y="52"/>
                  </a:lnTo>
                  <a:cubicBezTo>
                    <a:pt x="1929" y="16"/>
                    <a:pt x="1892" y="0"/>
                    <a:pt x="18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8" name="Google Shape;11598;p61"/>
            <p:cNvSpPr/>
            <p:nvPr/>
          </p:nvSpPr>
          <p:spPr>
            <a:xfrm>
              <a:off x="1486447" y="3589478"/>
              <a:ext cx="64152" cy="75842"/>
            </a:xfrm>
            <a:custGeom>
              <a:avLst/>
              <a:gdLst/>
              <a:ahLst/>
              <a:cxnLst/>
              <a:rect l="l" t="t" r="r" b="b"/>
              <a:pathLst>
                <a:path w="2025" h="2394" extrusionOk="0">
                  <a:moveTo>
                    <a:pt x="1691" y="1179"/>
                  </a:moveTo>
                  <a:lnTo>
                    <a:pt x="1691" y="2084"/>
                  </a:lnTo>
                  <a:lnTo>
                    <a:pt x="298" y="2084"/>
                  </a:lnTo>
                  <a:lnTo>
                    <a:pt x="298" y="1179"/>
                  </a:lnTo>
                  <a:close/>
                  <a:moveTo>
                    <a:pt x="1012" y="0"/>
                  </a:moveTo>
                  <a:cubicBezTo>
                    <a:pt x="715" y="0"/>
                    <a:pt x="476" y="238"/>
                    <a:pt x="476" y="536"/>
                  </a:cubicBezTo>
                  <a:lnTo>
                    <a:pt x="476" y="845"/>
                  </a:lnTo>
                  <a:lnTo>
                    <a:pt x="167" y="845"/>
                  </a:lnTo>
                  <a:cubicBezTo>
                    <a:pt x="84" y="845"/>
                    <a:pt x="0" y="917"/>
                    <a:pt x="0" y="1012"/>
                  </a:cubicBezTo>
                  <a:lnTo>
                    <a:pt x="0" y="2227"/>
                  </a:lnTo>
                  <a:cubicBezTo>
                    <a:pt x="0" y="2322"/>
                    <a:pt x="84" y="2393"/>
                    <a:pt x="167" y="2393"/>
                  </a:cubicBezTo>
                  <a:lnTo>
                    <a:pt x="1869" y="2393"/>
                  </a:lnTo>
                  <a:cubicBezTo>
                    <a:pt x="1953" y="2393"/>
                    <a:pt x="2024" y="2322"/>
                    <a:pt x="2024" y="2227"/>
                  </a:cubicBezTo>
                  <a:lnTo>
                    <a:pt x="2024" y="1012"/>
                  </a:lnTo>
                  <a:cubicBezTo>
                    <a:pt x="2012" y="917"/>
                    <a:pt x="1941" y="845"/>
                    <a:pt x="1846" y="845"/>
                  </a:cubicBezTo>
                  <a:lnTo>
                    <a:pt x="774" y="845"/>
                  </a:lnTo>
                  <a:lnTo>
                    <a:pt x="774" y="536"/>
                  </a:lnTo>
                  <a:cubicBezTo>
                    <a:pt x="774" y="417"/>
                    <a:pt x="881" y="310"/>
                    <a:pt x="1000" y="310"/>
                  </a:cubicBezTo>
                  <a:cubicBezTo>
                    <a:pt x="1119" y="310"/>
                    <a:pt x="1227" y="417"/>
                    <a:pt x="1227" y="536"/>
                  </a:cubicBezTo>
                  <a:cubicBezTo>
                    <a:pt x="1227" y="619"/>
                    <a:pt x="1298" y="703"/>
                    <a:pt x="1393" y="703"/>
                  </a:cubicBezTo>
                  <a:cubicBezTo>
                    <a:pt x="1477" y="703"/>
                    <a:pt x="1548" y="619"/>
                    <a:pt x="1548" y="536"/>
                  </a:cubicBezTo>
                  <a:cubicBezTo>
                    <a:pt x="1548" y="238"/>
                    <a:pt x="1310" y="0"/>
                    <a:pt x="1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9" name="Google Shape;11599;p61"/>
            <p:cNvSpPr/>
            <p:nvPr/>
          </p:nvSpPr>
          <p:spPr>
            <a:xfrm>
              <a:off x="1310655" y="3360527"/>
              <a:ext cx="306314" cy="334572"/>
            </a:xfrm>
            <a:custGeom>
              <a:avLst/>
              <a:gdLst/>
              <a:ahLst/>
              <a:cxnLst/>
              <a:rect l="l" t="t" r="r" b="b"/>
              <a:pathLst>
                <a:path w="9669" h="10561" extrusionOk="0">
                  <a:moveTo>
                    <a:pt x="2430" y="7941"/>
                  </a:moveTo>
                  <a:lnTo>
                    <a:pt x="3120" y="8644"/>
                  </a:lnTo>
                  <a:lnTo>
                    <a:pt x="2989" y="8775"/>
                  </a:lnTo>
                  <a:lnTo>
                    <a:pt x="2656" y="8430"/>
                  </a:lnTo>
                  <a:cubicBezTo>
                    <a:pt x="2626" y="8400"/>
                    <a:pt x="2585" y="8385"/>
                    <a:pt x="2543" y="8385"/>
                  </a:cubicBezTo>
                  <a:cubicBezTo>
                    <a:pt x="2501" y="8385"/>
                    <a:pt x="2459" y="8400"/>
                    <a:pt x="2430" y="8430"/>
                  </a:cubicBezTo>
                  <a:lnTo>
                    <a:pt x="2073" y="8787"/>
                  </a:lnTo>
                  <a:cubicBezTo>
                    <a:pt x="2037" y="8823"/>
                    <a:pt x="2025" y="8858"/>
                    <a:pt x="2025" y="8906"/>
                  </a:cubicBezTo>
                  <a:cubicBezTo>
                    <a:pt x="2025" y="8953"/>
                    <a:pt x="2037" y="9001"/>
                    <a:pt x="2073" y="9025"/>
                  </a:cubicBezTo>
                  <a:lnTo>
                    <a:pt x="2418" y="9370"/>
                  </a:lnTo>
                  <a:lnTo>
                    <a:pt x="2275" y="9501"/>
                  </a:lnTo>
                  <a:lnTo>
                    <a:pt x="1942" y="9156"/>
                  </a:lnTo>
                  <a:cubicBezTo>
                    <a:pt x="1912" y="9126"/>
                    <a:pt x="1870" y="9111"/>
                    <a:pt x="1828" y="9111"/>
                  </a:cubicBezTo>
                  <a:cubicBezTo>
                    <a:pt x="1787" y="9111"/>
                    <a:pt x="1745" y="9126"/>
                    <a:pt x="1715" y="9156"/>
                  </a:cubicBezTo>
                  <a:lnTo>
                    <a:pt x="1358" y="9513"/>
                  </a:lnTo>
                  <a:cubicBezTo>
                    <a:pt x="1322" y="9549"/>
                    <a:pt x="1311" y="9585"/>
                    <a:pt x="1311" y="9632"/>
                  </a:cubicBezTo>
                  <a:cubicBezTo>
                    <a:pt x="1311" y="9680"/>
                    <a:pt x="1322" y="9727"/>
                    <a:pt x="1358" y="9751"/>
                  </a:cubicBezTo>
                  <a:lnTo>
                    <a:pt x="1703" y="10096"/>
                  </a:lnTo>
                  <a:lnTo>
                    <a:pt x="1584" y="10192"/>
                  </a:lnTo>
                  <a:lnTo>
                    <a:pt x="882" y="9489"/>
                  </a:lnTo>
                  <a:lnTo>
                    <a:pt x="2430" y="7941"/>
                  </a:lnTo>
                  <a:close/>
                  <a:moveTo>
                    <a:pt x="6496" y="1"/>
                  </a:moveTo>
                  <a:cubicBezTo>
                    <a:pt x="5951" y="1"/>
                    <a:pt x="5469" y="199"/>
                    <a:pt x="5121" y="548"/>
                  </a:cubicBezTo>
                  <a:cubicBezTo>
                    <a:pt x="4704" y="964"/>
                    <a:pt x="4513" y="1572"/>
                    <a:pt x="4597" y="2238"/>
                  </a:cubicBezTo>
                  <a:cubicBezTo>
                    <a:pt x="4656" y="2727"/>
                    <a:pt x="4871" y="3227"/>
                    <a:pt x="5180" y="3655"/>
                  </a:cubicBezTo>
                  <a:lnTo>
                    <a:pt x="3501" y="5334"/>
                  </a:lnTo>
                  <a:cubicBezTo>
                    <a:pt x="3442" y="5394"/>
                    <a:pt x="3442" y="5501"/>
                    <a:pt x="3501" y="5560"/>
                  </a:cubicBezTo>
                  <a:cubicBezTo>
                    <a:pt x="3525" y="5584"/>
                    <a:pt x="3573" y="5608"/>
                    <a:pt x="3620" y="5608"/>
                  </a:cubicBezTo>
                  <a:cubicBezTo>
                    <a:pt x="3668" y="5608"/>
                    <a:pt x="3704" y="5584"/>
                    <a:pt x="3739" y="5560"/>
                  </a:cubicBezTo>
                  <a:lnTo>
                    <a:pt x="5406" y="3893"/>
                  </a:lnTo>
                  <a:cubicBezTo>
                    <a:pt x="5454" y="3953"/>
                    <a:pt x="5502" y="4000"/>
                    <a:pt x="5549" y="4060"/>
                  </a:cubicBezTo>
                  <a:cubicBezTo>
                    <a:pt x="5609" y="4120"/>
                    <a:pt x="5656" y="4155"/>
                    <a:pt x="5716" y="4203"/>
                  </a:cubicBezTo>
                  <a:lnTo>
                    <a:pt x="2334" y="7584"/>
                  </a:lnTo>
                  <a:lnTo>
                    <a:pt x="691" y="9239"/>
                  </a:lnTo>
                  <a:lnTo>
                    <a:pt x="370" y="8918"/>
                  </a:lnTo>
                  <a:lnTo>
                    <a:pt x="3299" y="5989"/>
                  </a:lnTo>
                  <a:cubicBezTo>
                    <a:pt x="3358" y="5929"/>
                    <a:pt x="3358" y="5822"/>
                    <a:pt x="3299" y="5763"/>
                  </a:cubicBezTo>
                  <a:cubicBezTo>
                    <a:pt x="3275" y="5733"/>
                    <a:pt x="3236" y="5718"/>
                    <a:pt x="3196" y="5718"/>
                  </a:cubicBezTo>
                  <a:cubicBezTo>
                    <a:pt x="3156" y="5718"/>
                    <a:pt x="3114" y="5733"/>
                    <a:pt x="3085" y="5763"/>
                  </a:cubicBezTo>
                  <a:lnTo>
                    <a:pt x="48" y="8799"/>
                  </a:lnTo>
                  <a:cubicBezTo>
                    <a:pt x="13" y="8834"/>
                    <a:pt x="1" y="8882"/>
                    <a:pt x="1" y="8918"/>
                  </a:cubicBezTo>
                  <a:cubicBezTo>
                    <a:pt x="1" y="8965"/>
                    <a:pt x="13" y="9013"/>
                    <a:pt x="48" y="9037"/>
                  </a:cubicBezTo>
                  <a:lnTo>
                    <a:pt x="596" y="9585"/>
                  </a:lnTo>
                  <a:lnTo>
                    <a:pt x="1513" y="10513"/>
                  </a:lnTo>
                  <a:cubicBezTo>
                    <a:pt x="1549" y="10549"/>
                    <a:pt x="1596" y="10561"/>
                    <a:pt x="1632" y="10561"/>
                  </a:cubicBezTo>
                  <a:cubicBezTo>
                    <a:pt x="1680" y="10561"/>
                    <a:pt x="1727" y="10537"/>
                    <a:pt x="1763" y="10513"/>
                  </a:cubicBezTo>
                  <a:lnTo>
                    <a:pt x="2108" y="10156"/>
                  </a:lnTo>
                  <a:cubicBezTo>
                    <a:pt x="2144" y="10120"/>
                    <a:pt x="2156" y="10085"/>
                    <a:pt x="2156" y="10037"/>
                  </a:cubicBezTo>
                  <a:cubicBezTo>
                    <a:pt x="2156" y="9989"/>
                    <a:pt x="2144" y="9954"/>
                    <a:pt x="2108" y="9918"/>
                  </a:cubicBezTo>
                  <a:lnTo>
                    <a:pt x="1775" y="9573"/>
                  </a:lnTo>
                  <a:lnTo>
                    <a:pt x="1906" y="9442"/>
                  </a:lnTo>
                  <a:lnTo>
                    <a:pt x="2251" y="9787"/>
                  </a:lnTo>
                  <a:cubicBezTo>
                    <a:pt x="2281" y="9817"/>
                    <a:pt x="2320" y="9832"/>
                    <a:pt x="2358" y="9832"/>
                  </a:cubicBezTo>
                  <a:cubicBezTo>
                    <a:pt x="2397" y="9832"/>
                    <a:pt x="2436" y="9817"/>
                    <a:pt x="2465" y="9787"/>
                  </a:cubicBezTo>
                  <a:lnTo>
                    <a:pt x="2823" y="9430"/>
                  </a:lnTo>
                  <a:cubicBezTo>
                    <a:pt x="2858" y="9394"/>
                    <a:pt x="2870" y="9358"/>
                    <a:pt x="2870" y="9311"/>
                  </a:cubicBezTo>
                  <a:cubicBezTo>
                    <a:pt x="2870" y="9263"/>
                    <a:pt x="2858" y="9215"/>
                    <a:pt x="2823" y="9192"/>
                  </a:cubicBezTo>
                  <a:lnTo>
                    <a:pt x="2489" y="8846"/>
                  </a:lnTo>
                  <a:lnTo>
                    <a:pt x="2620" y="8715"/>
                  </a:lnTo>
                  <a:lnTo>
                    <a:pt x="2966" y="9061"/>
                  </a:lnTo>
                  <a:cubicBezTo>
                    <a:pt x="2995" y="9090"/>
                    <a:pt x="3034" y="9105"/>
                    <a:pt x="3073" y="9105"/>
                  </a:cubicBezTo>
                  <a:cubicBezTo>
                    <a:pt x="3111" y="9105"/>
                    <a:pt x="3150" y="9090"/>
                    <a:pt x="3180" y="9061"/>
                  </a:cubicBezTo>
                  <a:lnTo>
                    <a:pt x="3537" y="8703"/>
                  </a:lnTo>
                  <a:cubicBezTo>
                    <a:pt x="3597" y="8644"/>
                    <a:pt x="3597" y="8537"/>
                    <a:pt x="3537" y="8477"/>
                  </a:cubicBezTo>
                  <a:lnTo>
                    <a:pt x="2727" y="7656"/>
                  </a:lnTo>
                  <a:lnTo>
                    <a:pt x="6014" y="4370"/>
                  </a:lnTo>
                  <a:cubicBezTo>
                    <a:pt x="6549" y="4751"/>
                    <a:pt x="7168" y="4977"/>
                    <a:pt x="7752" y="4977"/>
                  </a:cubicBezTo>
                  <a:cubicBezTo>
                    <a:pt x="8026" y="4977"/>
                    <a:pt x="8276" y="4929"/>
                    <a:pt x="8514" y="4846"/>
                  </a:cubicBezTo>
                  <a:cubicBezTo>
                    <a:pt x="8597" y="4810"/>
                    <a:pt x="8633" y="4727"/>
                    <a:pt x="8597" y="4632"/>
                  </a:cubicBezTo>
                  <a:cubicBezTo>
                    <a:pt x="8580" y="4570"/>
                    <a:pt x="8523" y="4534"/>
                    <a:pt x="8461" y="4534"/>
                  </a:cubicBezTo>
                  <a:cubicBezTo>
                    <a:pt x="8439" y="4534"/>
                    <a:pt x="8417" y="4539"/>
                    <a:pt x="8395" y="4548"/>
                  </a:cubicBezTo>
                  <a:cubicBezTo>
                    <a:pt x="8192" y="4625"/>
                    <a:pt x="7973" y="4662"/>
                    <a:pt x="7746" y="4662"/>
                  </a:cubicBezTo>
                  <a:cubicBezTo>
                    <a:pt x="7093" y="4662"/>
                    <a:pt x="6380" y="4355"/>
                    <a:pt x="5823" y="3798"/>
                  </a:cubicBezTo>
                  <a:cubicBezTo>
                    <a:pt x="4847" y="2834"/>
                    <a:pt x="4668" y="1453"/>
                    <a:pt x="5406" y="726"/>
                  </a:cubicBezTo>
                  <a:cubicBezTo>
                    <a:pt x="5707" y="421"/>
                    <a:pt x="6119" y="272"/>
                    <a:pt x="6568" y="272"/>
                  </a:cubicBezTo>
                  <a:cubicBezTo>
                    <a:pt x="7204" y="272"/>
                    <a:pt x="7913" y="571"/>
                    <a:pt x="8478" y="1143"/>
                  </a:cubicBezTo>
                  <a:cubicBezTo>
                    <a:pt x="9454" y="2107"/>
                    <a:pt x="9633" y="3489"/>
                    <a:pt x="8895" y="4215"/>
                  </a:cubicBezTo>
                  <a:lnTo>
                    <a:pt x="8883" y="4239"/>
                  </a:lnTo>
                  <a:cubicBezTo>
                    <a:pt x="8823" y="4298"/>
                    <a:pt x="8823" y="4393"/>
                    <a:pt x="8883" y="4453"/>
                  </a:cubicBezTo>
                  <a:cubicBezTo>
                    <a:pt x="8913" y="4483"/>
                    <a:pt x="8954" y="4498"/>
                    <a:pt x="8996" y="4498"/>
                  </a:cubicBezTo>
                  <a:cubicBezTo>
                    <a:pt x="9038" y="4498"/>
                    <a:pt x="9079" y="4483"/>
                    <a:pt x="9109" y="4453"/>
                  </a:cubicBezTo>
                  <a:lnTo>
                    <a:pt x="9121" y="4441"/>
                  </a:lnTo>
                  <a:cubicBezTo>
                    <a:pt x="9502" y="4072"/>
                    <a:pt x="9669" y="3465"/>
                    <a:pt x="9585" y="2786"/>
                  </a:cubicBezTo>
                  <a:cubicBezTo>
                    <a:pt x="9502" y="2131"/>
                    <a:pt x="9169" y="1476"/>
                    <a:pt x="8645" y="964"/>
                  </a:cubicBezTo>
                  <a:cubicBezTo>
                    <a:pt x="8133" y="441"/>
                    <a:pt x="7478" y="95"/>
                    <a:pt x="6823" y="24"/>
                  </a:cubicBezTo>
                  <a:cubicBezTo>
                    <a:pt x="6712" y="8"/>
                    <a:pt x="6603" y="1"/>
                    <a:pt x="64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0" name="Google Shape;11600;p61"/>
            <p:cNvSpPr/>
            <p:nvPr/>
          </p:nvSpPr>
          <p:spPr>
            <a:xfrm>
              <a:off x="1474377" y="3380453"/>
              <a:ext cx="122221" cy="118895"/>
            </a:xfrm>
            <a:custGeom>
              <a:avLst/>
              <a:gdLst/>
              <a:ahLst/>
              <a:cxnLst/>
              <a:rect l="l" t="t" r="r" b="b"/>
              <a:pathLst>
                <a:path w="3858" h="3753" extrusionOk="0">
                  <a:moveTo>
                    <a:pt x="1488" y="312"/>
                  </a:moveTo>
                  <a:cubicBezTo>
                    <a:pt x="1953" y="312"/>
                    <a:pt x="2453" y="526"/>
                    <a:pt x="2858" y="943"/>
                  </a:cubicBezTo>
                  <a:cubicBezTo>
                    <a:pt x="3536" y="1621"/>
                    <a:pt x="3691" y="2609"/>
                    <a:pt x="3167" y="3133"/>
                  </a:cubicBezTo>
                  <a:cubicBezTo>
                    <a:pt x="2965" y="3336"/>
                    <a:pt x="2667" y="3443"/>
                    <a:pt x="2346" y="3443"/>
                  </a:cubicBezTo>
                  <a:cubicBezTo>
                    <a:pt x="1881" y="3443"/>
                    <a:pt x="1381" y="3229"/>
                    <a:pt x="976" y="2812"/>
                  </a:cubicBezTo>
                  <a:cubicBezTo>
                    <a:pt x="631" y="2479"/>
                    <a:pt x="429" y="2050"/>
                    <a:pt x="369" y="1645"/>
                  </a:cubicBezTo>
                  <a:cubicBezTo>
                    <a:pt x="322" y="1240"/>
                    <a:pt x="429" y="883"/>
                    <a:pt x="667" y="633"/>
                  </a:cubicBezTo>
                  <a:cubicBezTo>
                    <a:pt x="869" y="419"/>
                    <a:pt x="1167" y="312"/>
                    <a:pt x="1488" y="312"/>
                  </a:cubicBezTo>
                  <a:close/>
                  <a:moveTo>
                    <a:pt x="1518" y="1"/>
                  </a:moveTo>
                  <a:cubicBezTo>
                    <a:pt x="1106" y="1"/>
                    <a:pt x="738" y="143"/>
                    <a:pt x="465" y="407"/>
                  </a:cubicBezTo>
                  <a:cubicBezTo>
                    <a:pt x="143" y="716"/>
                    <a:pt x="0" y="1181"/>
                    <a:pt x="72" y="1681"/>
                  </a:cubicBezTo>
                  <a:cubicBezTo>
                    <a:pt x="131" y="2181"/>
                    <a:pt x="381" y="2657"/>
                    <a:pt x="774" y="3038"/>
                  </a:cubicBezTo>
                  <a:cubicBezTo>
                    <a:pt x="1227" y="3502"/>
                    <a:pt x="1822" y="3752"/>
                    <a:pt x="2358" y="3752"/>
                  </a:cubicBezTo>
                  <a:cubicBezTo>
                    <a:pt x="2762" y="3752"/>
                    <a:pt x="3132" y="3622"/>
                    <a:pt x="3405" y="3348"/>
                  </a:cubicBezTo>
                  <a:cubicBezTo>
                    <a:pt x="3703" y="3038"/>
                    <a:pt x="3858" y="2574"/>
                    <a:pt x="3798" y="2074"/>
                  </a:cubicBezTo>
                  <a:cubicBezTo>
                    <a:pt x="3739" y="1586"/>
                    <a:pt x="3477" y="1109"/>
                    <a:pt x="3096" y="716"/>
                  </a:cubicBezTo>
                  <a:cubicBezTo>
                    <a:pt x="2703" y="335"/>
                    <a:pt x="2215" y="73"/>
                    <a:pt x="1738" y="14"/>
                  </a:cubicBezTo>
                  <a:cubicBezTo>
                    <a:pt x="1664" y="5"/>
                    <a:pt x="1590" y="1"/>
                    <a:pt x="1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1" name="Google Shape;11601;p61"/>
            <p:cNvSpPr/>
            <p:nvPr/>
          </p:nvSpPr>
          <p:spPr>
            <a:xfrm>
              <a:off x="1510207" y="3632848"/>
              <a:ext cx="15492" cy="17741"/>
            </a:xfrm>
            <a:custGeom>
              <a:avLst/>
              <a:gdLst/>
              <a:ahLst/>
              <a:cxnLst/>
              <a:rect l="l" t="t" r="r" b="b"/>
              <a:pathLst>
                <a:path w="489" h="560" extrusionOk="0">
                  <a:moveTo>
                    <a:pt x="155" y="0"/>
                  </a:moveTo>
                  <a:cubicBezTo>
                    <a:pt x="72" y="0"/>
                    <a:pt x="0" y="72"/>
                    <a:pt x="0" y="167"/>
                  </a:cubicBezTo>
                  <a:cubicBezTo>
                    <a:pt x="0" y="227"/>
                    <a:pt x="24" y="262"/>
                    <a:pt x="72" y="298"/>
                  </a:cubicBezTo>
                  <a:lnTo>
                    <a:pt x="72" y="405"/>
                  </a:lnTo>
                  <a:cubicBezTo>
                    <a:pt x="72" y="488"/>
                    <a:pt x="143" y="560"/>
                    <a:pt x="238" y="560"/>
                  </a:cubicBezTo>
                  <a:cubicBezTo>
                    <a:pt x="322" y="560"/>
                    <a:pt x="393" y="488"/>
                    <a:pt x="393" y="405"/>
                  </a:cubicBezTo>
                  <a:lnTo>
                    <a:pt x="393" y="298"/>
                  </a:lnTo>
                  <a:cubicBezTo>
                    <a:pt x="441" y="262"/>
                    <a:pt x="477" y="227"/>
                    <a:pt x="477" y="167"/>
                  </a:cubicBezTo>
                  <a:cubicBezTo>
                    <a:pt x="488" y="72"/>
                    <a:pt x="417"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02" name="Google Shape;11602;p61"/>
          <p:cNvGrpSpPr/>
          <p:nvPr/>
        </p:nvGrpSpPr>
        <p:grpSpPr>
          <a:xfrm>
            <a:off x="3119678" y="3360146"/>
            <a:ext cx="269343" cy="348543"/>
            <a:chOff x="3119678" y="3360146"/>
            <a:chExt cx="269343" cy="348543"/>
          </a:xfrm>
        </p:grpSpPr>
        <p:sp>
          <p:nvSpPr>
            <p:cNvPr id="11603" name="Google Shape;11603;p61"/>
            <p:cNvSpPr/>
            <p:nvPr/>
          </p:nvSpPr>
          <p:spPr>
            <a:xfrm>
              <a:off x="3268289" y="3498271"/>
              <a:ext cx="43782" cy="46728"/>
            </a:xfrm>
            <a:custGeom>
              <a:avLst/>
              <a:gdLst/>
              <a:ahLst/>
              <a:cxnLst/>
              <a:rect l="l" t="t" r="r" b="b"/>
              <a:pathLst>
                <a:path w="1382" h="1475" extrusionOk="0">
                  <a:moveTo>
                    <a:pt x="196" y="0"/>
                  </a:moveTo>
                  <a:cubicBezTo>
                    <a:pt x="137" y="0"/>
                    <a:pt x="81" y="35"/>
                    <a:pt x="48" y="93"/>
                  </a:cubicBezTo>
                  <a:cubicBezTo>
                    <a:pt x="0" y="164"/>
                    <a:pt x="36" y="272"/>
                    <a:pt x="119" y="319"/>
                  </a:cubicBezTo>
                  <a:cubicBezTo>
                    <a:pt x="584" y="557"/>
                    <a:pt x="905" y="926"/>
                    <a:pt x="1048" y="1355"/>
                  </a:cubicBezTo>
                  <a:cubicBezTo>
                    <a:pt x="1060" y="1438"/>
                    <a:pt x="1131" y="1474"/>
                    <a:pt x="1191" y="1474"/>
                  </a:cubicBezTo>
                  <a:cubicBezTo>
                    <a:pt x="1203" y="1474"/>
                    <a:pt x="1227" y="1474"/>
                    <a:pt x="1239" y="1462"/>
                  </a:cubicBezTo>
                  <a:cubicBezTo>
                    <a:pt x="1322" y="1415"/>
                    <a:pt x="1381" y="1331"/>
                    <a:pt x="1358" y="1236"/>
                  </a:cubicBezTo>
                  <a:cubicBezTo>
                    <a:pt x="1191" y="736"/>
                    <a:pt x="810" y="284"/>
                    <a:pt x="274" y="22"/>
                  </a:cubicBezTo>
                  <a:cubicBezTo>
                    <a:pt x="249" y="7"/>
                    <a:pt x="222"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4" name="Google Shape;11604;p61"/>
            <p:cNvSpPr/>
            <p:nvPr/>
          </p:nvSpPr>
          <p:spPr>
            <a:xfrm>
              <a:off x="3147208" y="3475176"/>
              <a:ext cx="214664" cy="233513"/>
            </a:xfrm>
            <a:custGeom>
              <a:avLst/>
              <a:gdLst/>
              <a:ahLst/>
              <a:cxnLst/>
              <a:rect l="l" t="t" r="r" b="b"/>
              <a:pathLst>
                <a:path w="6776" h="7371" extrusionOk="0">
                  <a:moveTo>
                    <a:pt x="3537" y="4608"/>
                  </a:moveTo>
                  <a:lnTo>
                    <a:pt x="3537" y="4989"/>
                  </a:lnTo>
                  <a:lnTo>
                    <a:pt x="3179" y="4989"/>
                  </a:lnTo>
                  <a:lnTo>
                    <a:pt x="3179" y="4608"/>
                  </a:lnTo>
                  <a:cubicBezTo>
                    <a:pt x="3239" y="4620"/>
                    <a:pt x="3298" y="4620"/>
                    <a:pt x="3358" y="4620"/>
                  </a:cubicBezTo>
                  <a:cubicBezTo>
                    <a:pt x="3417" y="4620"/>
                    <a:pt x="3477" y="4620"/>
                    <a:pt x="3537" y="4608"/>
                  </a:cubicBezTo>
                  <a:close/>
                  <a:moveTo>
                    <a:pt x="5977" y="5299"/>
                  </a:moveTo>
                  <a:lnTo>
                    <a:pt x="5977" y="5763"/>
                  </a:lnTo>
                  <a:lnTo>
                    <a:pt x="798" y="5763"/>
                  </a:lnTo>
                  <a:lnTo>
                    <a:pt x="798" y="5299"/>
                  </a:lnTo>
                  <a:close/>
                  <a:moveTo>
                    <a:pt x="3406" y="0"/>
                  </a:moveTo>
                  <a:cubicBezTo>
                    <a:pt x="2751" y="0"/>
                    <a:pt x="2132" y="262"/>
                    <a:pt x="1667" y="715"/>
                  </a:cubicBezTo>
                  <a:cubicBezTo>
                    <a:pt x="1203" y="1179"/>
                    <a:pt x="953" y="1798"/>
                    <a:pt x="953" y="2465"/>
                  </a:cubicBezTo>
                  <a:lnTo>
                    <a:pt x="953" y="2715"/>
                  </a:lnTo>
                  <a:cubicBezTo>
                    <a:pt x="953" y="2798"/>
                    <a:pt x="1024" y="2882"/>
                    <a:pt x="1120" y="2882"/>
                  </a:cubicBezTo>
                  <a:cubicBezTo>
                    <a:pt x="1203" y="2882"/>
                    <a:pt x="1274" y="2798"/>
                    <a:pt x="1274" y="2715"/>
                  </a:cubicBezTo>
                  <a:lnTo>
                    <a:pt x="1274" y="2465"/>
                  </a:lnTo>
                  <a:cubicBezTo>
                    <a:pt x="1274" y="1894"/>
                    <a:pt x="1501" y="1358"/>
                    <a:pt x="1905" y="953"/>
                  </a:cubicBezTo>
                  <a:cubicBezTo>
                    <a:pt x="2310" y="548"/>
                    <a:pt x="2846" y="334"/>
                    <a:pt x="3406" y="334"/>
                  </a:cubicBezTo>
                  <a:cubicBezTo>
                    <a:pt x="4584" y="334"/>
                    <a:pt x="5549" y="1286"/>
                    <a:pt x="5549" y="2477"/>
                  </a:cubicBezTo>
                  <a:lnTo>
                    <a:pt x="5549" y="4989"/>
                  </a:lnTo>
                  <a:lnTo>
                    <a:pt x="3882" y="4989"/>
                  </a:lnTo>
                  <a:lnTo>
                    <a:pt x="3882" y="4489"/>
                  </a:lnTo>
                  <a:cubicBezTo>
                    <a:pt x="4060" y="4382"/>
                    <a:pt x="4215" y="4203"/>
                    <a:pt x="4299" y="3989"/>
                  </a:cubicBezTo>
                  <a:cubicBezTo>
                    <a:pt x="4334" y="3906"/>
                    <a:pt x="4287" y="3810"/>
                    <a:pt x="4215" y="3787"/>
                  </a:cubicBezTo>
                  <a:cubicBezTo>
                    <a:pt x="4193" y="3778"/>
                    <a:pt x="4171" y="3775"/>
                    <a:pt x="4149" y="3775"/>
                  </a:cubicBezTo>
                  <a:cubicBezTo>
                    <a:pt x="4079" y="3775"/>
                    <a:pt x="4019" y="3815"/>
                    <a:pt x="4001" y="3870"/>
                  </a:cubicBezTo>
                  <a:cubicBezTo>
                    <a:pt x="3941" y="4037"/>
                    <a:pt x="3822" y="4156"/>
                    <a:pt x="3668" y="4227"/>
                  </a:cubicBezTo>
                  <a:lnTo>
                    <a:pt x="3656" y="4227"/>
                  </a:lnTo>
                  <a:cubicBezTo>
                    <a:pt x="3572" y="4263"/>
                    <a:pt x="3477" y="4287"/>
                    <a:pt x="3394" y="4287"/>
                  </a:cubicBezTo>
                  <a:cubicBezTo>
                    <a:pt x="3036" y="4287"/>
                    <a:pt x="2739" y="3989"/>
                    <a:pt x="2739" y="3632"/>
                  </a:cubicBezTo>
                  <a:cubicBezTo>
                    <a:pt x="2739" y="3275"/>
                    <a:pt x="3036" y="2977"/>
                    <a:pt x="3394" y="2977"/>
                  </a:cubicBezTo>
                  <a:cubicBezTo>
                    <a:pt x="3644" y="2977"/>
                    <a:pt x="3882" y="3132"/>
                    <a:pt x="3989" y="3370"/>
                  </a:cubicBezTo>
                  <a:cubicBezTo>
                    <a:pt x="4006" y="3421"/>
                    <a:pt x="4067" y="3461"/>
                    <a:pt x="4126" y="3461"/>
                  </a:cubicBezTo>
                  <a:cubicBezTo>
                    <a:pt x="4149" y="3461"/>
                    <a:pt x="4171" y="3455"/>
                    <a:pt x="4191" y="3441"/>
                  </a:cubicBezTo>
                  <a:cubicBezTo>
                    <a:pt x="4263" y="3418"/>
                    <a:pt x="4310" y="3310"/>
                    <a:pt x="4263" y="3239"/>
                  </a:cubicBezTo>
                  <a:cubicBezTo>
                    <a:pt x="4108" y="2894"/>
                    <a:pt x="3763" y="2667"/>
                    <a:pt x="3370" y="2667"/>
                  </a:cubicBezTo>
                  <a:cubicBezTo>
                    <a:pt x="2834" y="2667"/>
                    <a:pt x="2394" y="3096"/>
                    <a:pt x="2394" y="3656"/>
                  </a:cubicBezTo>
                  <a:cubicBezTo>
                    <a:pt x="2394" y="4013"/>
                    <a:pt x="2584" y="4322"/>
                    <a:pt x="2870" y="4489"/>
                  </a:cubicBezTo>
                  <a:lnTo>
                    <a:pt x="2870" y="4989"/>
                  </a:lnTo>
                  <a:lnTo>
                    <a:pt x="1262" y="4989"/>
                  </a:lnTo>
                  <a:lnTo>
                    <a:pt x="1262" y="3358"/>
                  </a:lnTo>
                  <a:cubicBezTo>
                    <a:pt x="1262" y="3263"/>
                    <a:pt x="1191" y="3191"/>
                    <a:pt x="1096" y="3191"/>
                  </a:cubicBezTo>
                  <a:cubicBezTo>
                    <a:pt x="1012" y="3191"/>
                    <a:pt x="941" y="3263"/>
                    <a:pt x="941" y="3358"/>
                  </a:cubicBezTo>
                  <a:lnTo>
                    <a:pt x="941" y="4989"/>
                  </a:lnTo>
                  <a:lnTo>
                    <a:pt x="655" y="4989"/>
                  </a:lnTo>
                  <a:cubicBezTo>
                    <a:pt x="560" y="4989"/>
                    <a:pt x="489" y="5061"/>
                    <a:pt x="489" y="5156"/>
                  </a:cubicBezTo>
                  <a:lnTo>
                    <a:pt x="489" y="5775"/>
                  </a:lnTo>
                  <a:lnTo>
                    <a:pt x="167" y="5775"/>
                  </a:lnTo>
                  <a:cubicBezTo>
                    <a:pt x="72" y="5775"/>
                    <a:pt x="0" y="5858"/>
                    <a:pt x="0" y="5942"/>
                  </a:cubicBezTo>
                  <a:lnTo>
                    <a:pt x="0" y="7204"/>
                  </a:lnTo>
                  <a:cubicBezTo>
                    <a:pt x="0" y="7299"/>
                    <a:pt x="72" y="7370"/>
                    <a:pt x="167" y="7370"/>
                  </a:cubicBezTo>
                  <a:lnTo>
                    <a:pt x="3918" y="7370"/>
                  </a:lnTo>
                  <a:cubicBezTo>
                    <a:pt x="4001" y="7370"/>
                    <a:pt x="4072" y="7299"/>
                    <a:pt x="4072" y="7204"/>
                  </a:cubicBezTo>
                  <a:cubicBezTo>
                    <a:pt x="4072" y="7120"/>
                    <a:pt x="4001" y="7049"/>
                    <a:pt x="3918" y="7049"/>
                  </a:cubicBezTo>
                  <a:lnTo>
                    <a:pt x="322" y="7049"/>
                  </a:lnTo>
                  <a:lnTo>
                    <a:pt x="322" y="6108"/>
                  </a:lnTo>
                  <a:lnTo>
                    <a:pt x="6442" y="6108"/>
                  </a:lnTo>
                  <a:lnTo>
                    <a:pt x="6442" y="7049"/>
                  </a:lnTo>
                  <a:lnTo>
                    <a:pt x="4537" y="7049"/>
                  </a:lnTo>
                  <a:cubicBezTo>
                    <a:pt x="4453" y="7049"/>
                    <a:pt x="4370" y="7120"/>
                    <a:pt x="4370" y="7204"/>
                  </a:cubicBezTo>
                  <a:cubicBezTo>
                    <a:pt x="4370" y="7299"/>
                    <a:pt x="4453" y="7370"/>
                    <a:pt x="4537" y="7370"/>
                  </a:cubicBezTo>
                  <a:lnTo>
                    <a:pt x="6608" y="7370"/>
                  </a:lnTo>
                  <a:cubicBezTo>
                    <a:pt x="6692" y="7370"/>
                    <a:pt x="6775" y="7299"/>
                    <a:pt x="6775" y="7204"/>
                  </a:cubicBezTo>
                  <a:lnTo>
                    <a:pt x="6775" y="5942"/>
                  </a:lnTo>
                  <a:cubicBezTo>
                    <a:pt x="6775" y="5835"/>
                    <a:pt x="6716" y="5763"/>
                    <a:pt x="6620" y="5763"/>
                  </a:cubicBezTo>
                  <a:lnTo>
                    <a:pt x="6311" y="5763"/>
                  </a:lnTo>
                  <a:lnTo>
                    <a:pt x="6311" y="5144"/>
                  </a:lnTo>
                  <a:cubicBezTo>
                    <a:pt x="6311" y="5049"/>
                    <a:pt x="6239" y="4977"/>
                    <a:pt x="6144" y="4977"/>
                  </a:cubicBezTo>
                  <a:lnTo>
                    <a:pt x="5858" y="4977"/>
                  </a:lnTo>
                  <a:lnTo>
                    <a:pt x="5858" y="2465"/>
                  </a:lnTo>
                  <a:cubicBezTo>
                    <a:pt x="5858" y="1108"/>
                    <a:pt x="4763" y="0"/>
                    <a:pt x="3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5" name="Google Shape;11605;p61"/>
            <p:cNvSpPr/>
            <p:nvPr/>
          </p:nvSpPr>
          <p:spPr>
            <a:xfrm>
              <a:off x="3249408" y="3360146"/>
              <a:ext cx="10613" cy="97321"/>
            </a:xfrm>
            <a:custGeom>
              <a:avLst/>
              <a:gdLst/>
              <a:ahLst/>
              <a:cxnLst/>
              <a:rect l="l" t="t" r="r" b="b"/>
              <a:pathLst>
                <a:path w="335" h="3072" extrusionOk="0">
                  <a:moveTo>
                    <a:pt x="168" y="0"/>
                  </a:moveTo>
                  <a:cubicBezTo>
                    <a:pt x="72" y="0"/>
                    <a:pt x="1" y="83"/>
                    <a:pt x="1" y="167"/>
                  </a:cubicBezTo>
                  <a:lnTo>
                    <a:pt x="1" y="2905"/>
                  </a:lnTo>
                  <a:cubicBezTo>
                    <a:pt x="1" y="3000"/>
                    <a:pt x="72" y="3072"/>
                    <a:pt x="168" y="3072"/>
                  </a:cubicBezTo>
                  <a:cubicBezTo>
                    <a:pt x="251" y="3072"/>
                    <a:pt x="334" y="3000"/>
                    <a:pt x="334" y="2905"/>
                  </a:cubicBezTo>
                  <a:lnTo>
                    <a:pt x="334" y="167"/>
                  </a:lnTo>
                  <a:cubicBezTo>
                    <a:pt x="334" y="83"/>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6" name="Google Shape;11606;p61"/>
            <p:cNvSpPr/>
            <p:nvPr/>
          </p:nvSpPr>
          <p:spPr>
            <a:xfrm>
              <a:off x="3175879" y="3377919"/>
              <a:ext cx="54331" cy="86740"/>
            </a:xfrm>
            <a:custGeom>
              <a:avLst/>
              <a:gdLst/>
              <a:ahLst/>
              <a:cxnLst/>
              <a:rect l="l" t="t" r="r" b="b"/>
              <a:pathLst>
                <a:path w="1715" h="2738" extrusionOk="0">
                  <a:moveTo>
                    <a:pt x="188" y="1"/>
                  </a:moveTo>
                  <a:cubicBezTo>
                    <a:pt x="161" y="1"/>
                    <a:pt x="134" y="8"/>
                    <a:pt x="107" y="22"/>
                  </a:cubicBezTo>
                  <a:cubicBezTo>
                    <a:pt x="36" y="70"/>
                    <a:pt x="0" y="153"/>
                    <a:pt x="48" y="249"/>
                  </a:cubicBezTo>
                  <a:lnTo>
                    <a:pt x="1381" y="2642"/>
                  </a:lnTo>
                  <a:cubicBezTo>
                    <a:pt x="1417" y="2701"/>
                    <a:pt x="1477" y="2737"/>
                    <a:pt x="1524" y="2737"/>
                  </a:cubicBezTo>
                  <a:cubicBezTo>
                    <a:pt x="1548" y="2737"/>
                    <a:pt x="1584" y="2737"/>
                    <a:pt x="1596" y="2713"/>
                  </a:cubicBezTo>
                  <a:cubicBezTo>
                    <a:pt x="1679" y="2654"/>
                    <a:pt x="1715" y="2559"/>
                    <a:pt x="1667" y="2475"/>
                  </a:cubicBezTo>
                  <a:lnTo>
                    <a:pt x="334" y="82"/>
                  </a:lnTo>
                  <a:cubicBezTo>
                    <a:pt x="301" y="33"/>
                    <a:pt x="246"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7" name="Google Shape;11607;p61"/>
            <p:cNvSpPr/>
            <p:nvPr/>
          </p:nvSpPr>
          <p:spPr>
            <a:xfrm>
              <a:off x="3119678" y="3429399"/>
              <a:ext cx="89401" cy="50720"/>
            </a:xfrm>
            <a:custGeom>
              <a:avLst/>
              <a:gdLst/>
              <a:ahLst/>
              <a:cxnLst/>
              <a:rect l="l" t="t" r="r" b="b"/>
              <a:pathLst>
                <a:path w="2822" h="1601" extrusionOk="0">
                  <a:moveTo>
                    <a:pt x="200" y="0"/>
                  </a:moveTo>
                  <a:cubicBezTo>
                    <a:pt x="142" y="0"/>
                    <a:pt x="81" y="27"/>
                    <a:pt x="48" y="76"/>
                  </a:cubicBezTo>
                  <a:cubicBezTo>
                    <a:pt x="0" y="160"/>
                    <a:pt x="36" y="255"/>
                    <a:pt x="107" y="302"/>
                  </a:cubicBezTo>
                  <a:lnTo>
                    <a:pt x="2536" y="1588"/>
                  </a:lnTo>
                  <a:cubicBezTo>
                    <a:pt x="2560" y="1600"/>
                    <a:pt x="2584" y="1600"/>
                    <a:pt x="2608" y="1600"/>
                  </a:cubicBezTo>
                  <a:cubicBezTo>
                    <a:pt x="2667" y="1600"/>
                    <a:pt x="2727" y="1565"/>
                    <a:pt x="2762" y="1505"/>
                  </a:cubicBezTo>
                  <a:cubicBezTo>
                    <a:pt x="2822" y="1445"/>
                    <a:pt x="2786" y="1350"/>
                    <a:pt x="2703" y="1303"/>
                  </a:cubicBezTo>
                  <a:lnTo>
                    <a:pt x="274" y="17"/>
                  </a:lnTo>
                  <a:cubicBezTo>
                    <a:pt x="252" y="6"/>
                    <a:pt x="226" y="0"/>
                    <a:pt x="2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8" name="Google Shape;11608;p61"/>
            <p:cNvSpPr/>
            <p:nvPr/>
          </p:nvSpPr>
          <p:spPr>
            <a:xfrm>
              <a:off x="3279219" y="3377919"/>
              <a:ext cx="54363" cy="85980"/>
            </a:xfrm>
            <a:custGeom>
              <a:avLst/>
              <a:gdLst/>
              <a:ahLst/>
              <a:cxnLst/>
              <a:rect l="l" t="t" r="r" b="b"/>
              <a:pathLst>
                <a:path w="1716" h="2714" extrusionOk="0">
                  <a:moveTo>
                    <a:pt x="1533" y="1"/>
                  </a:moveTo>
                  <a:cubicBezTo>
                    <a:pt x="1475" y="1"/>
                    <a:pt x="1414" y="33"/>
                    <a:pt x="1382" y="82"/>
                  </a:cubicBezTo>
                  <a:lnTo>
                    <a:pt x="48" y="2475"/>
                  </a:lnTo>
                  <a:cubicBezTo>
                    <a:pt x="1" y="2559"/>
                    <a:pt x="24" y="2654"/>
                    <a:pt x="108" y="2701"/>
                  </a:cubicBezTo>
                  <a:cubicBezTo>
                    <a:pt x="132" y="2713"/>
                    <a:pt x="143" y="2713"/>
                    <a:pt x="179" y="2713"/>
                  </a:cubicBezTo>
                  <a:cubicBezTo>
                    <a:pt x="239" y="2713"/>
                    <a:pt x="286" y="2689"/>
                    <a:pt x="310" y="2630"/>
                  </a:cubicBezTo>
                  <a:lnTo>
                    <a:pt x="1656" y="237"/>
                  </a:lnTo>
                  <a:cubicBezTo>
                    <a:pt x="1715" y="153"/>
                    <a:pt x="1679" y="70"/>
                    <a:pt x="1608" y="22"/>
                  </a:cubicBezTo>
                  <a:cubicBezTo>
                    <a:pt x="1585" y="8"/>
                    <a:pt x="1560" y="1"/>
                    <a:pt x="15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9" name="Google Shape;11609;p61"/>
            <p:cNvSpPr/>
            <p:nvPr/>
          </p:nvSpPr>
          <p:spPr>
            <a:xfrm>
              <a:off x="3300349" y="3429399"/>
              <a:ext cx="88672" cy="51100"/>
            </a:xfrm>
            <a:custGeom>
              <a:avLst/>
              <a:gdLst/>
              <a:ahLst/>
              <a:cxnLst/>
              <a:rect l="l" t="t" r="r" b="b"/>
              <a:pathLst>
                <a:path w="2799" h="1613" extrusionOk="0">
                  <a:moveTo>
                    <a:pt x="2615" y="0"/>
                  </a:moveTo>
                  <a:cubicBezTo>
                    <a:pt x="2589" y="0"/>
                    <a:pt x="2562" y="6"/>
                    <a:pt x="2536" y="17"/>
                  </a:cubicBezTo>
                  <a:lnTo>
                    <a:pt x="107" y="1303"/>
                  </a:lnTo>
                  <a:cubicBezTo>
                    <a:pt x="36" y="1350"/>
                    <a:pt x="0" y="1434"/>
                    <a:pt x="48" y="1529"/>
                  </a:cubicBezTo>
                  <a:cubicBezTo>
                    <a:pt x="72" y="1588"/>
                    <a:pt x="131" y="1612"/>
                    <a:pt x="191" y="1612"/>
                  </a:cubicBezTo>
                  <a:cubicBezTo>
                    <a:pt x="227" y="1612"/>
                    <a:pt x="238" y="1612"/>
                    <a:pt x="274" y="1600"/>
                  </a:cubicBezTo>
                  <a:lnTo>
                    <a:pt x="2691" y="314"/>
                  </a:lnTo>
                  <a:cubicBezTo>
                    <a:pt x="2774" y="255"/>
                    <a:pt x="2798" y="172"/>
                    <a:pt x="2751" y="76"/>
                  </a:cubicBezTo>
                  <a:cubicBezTo>
                    <a:pt x="2726" y="27"/>
                    <a:pt x="2673" y="0"/>
                    <a:pt x="26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0" name="Google Shape;11610;p61"/>
          <p:cNvGrpSpPr/>
          <p:nvPr/>
        </p:nvGrpSpPr>
        <p:grpSpPr>
          <a:xfrm>
            <a:off x="3967213" y="3356947"/>
            <a:ext cx="368185" cy="354753"/>
            <a:chOff x="3967213" y="3356947"/>
            <a:chExt cx="368185" cy="354753"/>
          </a:xfrm>
        </p:grpSpPr>
        <p:sp>
          <p:nvSpPr>
            <p:cNvPr id="11611" name="Google Shape;11611;p61"/>
            <p:cNvSpPr/>
            <p:nvPr/>
          </p:nvSpPr>
          <p:spPr>
            <a:xfrm>
              <a:off x="4180705" y="3356947"/>
              <a:ext cx="154693" cy="164292"/>
            </a:xfrm>
            <a:custGeom>
              <a:avLst/>
              <a:gdLst/>
              <a:ahLst/>
              <a:cxnLst/>
              <a:rect l="l" t="t" r="r" b="b"/>
              <a:pathLst>
                <a:path w="4883" h="5186" extrusionOk="0">
                  <a:moveTo>
                    <a:pt x="2526" y="0"/>
                  </a:moveTo>
                  <a:cubicBezTo>
                    <a:pt x="1765" y="0"/>
                    <a:pt x="1017" y="368"/>
                    <a:pt x="560" y="1042"/>
                  </a:cubicBezTo>
                  <a:cubicBezTo>
                    <a:pt x="1" y="1875"/>
                    <a:pt x="24" y="2959"/>
                    <a:pt x="632" y="3768"/>
                  </a:cubicBezTo>
                  <a:lnTo>
                    <a:pt x="572" y="5006"/>
                  </a:lnTo>
                  <a:cubicBezTo>
                    <a:pt x="572" y="5066"/>
                    <a:pt x="608" y="5126"/>
                    <a:pt x="655" y="5149"/>
                  </a:cubicBezTo>
                  <a:cubicBezTo>
                    <a:pt x="679" y="5161"/>
                    <a:pt x="715" y="5185"/>
                    <a:pt x="739" y="5185"/>
                  </a:cubicBezTo>
                  <a:cubicBezTo>
                    <a:pt x="774" y="5185"/>
                    <a:pt x="786" y="5185"/>
                    <a:pt x="810" y="5161"/>
                  </a:cubicBezTo>
                  <a:lnTo>
                    <a:pt x="1929" y="4649"/>
                  </a:lnTo>
                  <a:cubicBezTo>
                    <a:pt x="2120" y="4685"/>
                    <a:pt x="2334" y="4721"/>
                    <a:pt x="2525" y="4721"/>
                  </a:cubicBezTo>
                  <a:cubicBezTo>
                    <a:pt x="3299" y="4721"/>
                    <a:pt x="4049" y="4328"/>
                    <a:pt x="4489" y="3673"/>
                  </a:cubicBezTo>
                  <a:cubicBezTo>
                    <a:pt x="4703" y="3363"/>
                    <a:pt x="4834" y="3006"/>
                    <a:pt x="4882" y="2637"/>
                  </a:cubicBezTo>
                  <a:cubicBezTo>
                    <a:pt x="4882" y="2518"/>
                    <a:pt x="4811" y="2447"/>
                    <a:pt x="4715" y="2423"/>
                  </a:cubicBezTo>
                  <a:cubicBezTo>
                    <a:pt x="4709" y="2422"/>
                    <a:pt x="4703" y="2422"/>
                    <a:pt x="4697" y="2422"/>
                  </a:cubicBezTo>
                  <a:cubicBezTo>
                    <a:pt x="4619" y="2422"/>
                    <a:pt x="4536" y="2489"/>
                    <a:pt x="4525" y="2578"/>
                  </a:cubicBezTo>
                  <a:cubicBezTo>
                    <a:pt x="4489" y="2899"/>
                    <a:pt x="4370" y="3197"/>
                    <a:pt x="4192" y="3471"/>
                  </a:cubicBezTo>
                  <a:cubicBezTo>
                    <a:pt x="3809" y="4040"/>
                    <a:pt x="3177" y="4368"/>
                    <a:pt x="2514" y="4368"/>
                  </a:cubicBezTo>
                  <a:cubicBezTo>
                    <a:pt x="2332" y="4368"/>
                    <a:pt x="2147" y="4343"/>
                    <a:pt x="1965" y="4292"/>
                  </a:cubicBezTo>
                  <a:cubicBezTo>
                    <a:pt x="1944" y="4281"/>
                    <a:pt x="1927" y="4275"/>
                    <a:pt x="1911" y="4275"/>
                  </a:cubicBezTo>
                  <a:cubicBezTo>
                    <a:pt x="1891" y="4275"/>
                    <a:pt x="1872" y="4284"/>
                    <a:pt x="1846" y="4304"/>
                  </a:cubicBezTo>
                  <a:lnTo>
                    <a:pt x="917" y="4733"/>
                  </a:lnTo>
                  <a:lnTo>
                    <a:pt x="965" y="3721"/>
                  </a:lnTo>
                  <a:cubicBezTo>
                    <a:pt x="965" y="3673"/>
                    <a:pt x="953" y="3649"/>
                    <a:pt x="929" y="3602"/>
                  </a:cubicBezTo>
                  <a:cubicBezTo>
                    <a:pt x="382" y="2923"/>
                    <a:pt x="358" y="1947"/>
                    <a:pt x="846" y="1220"/>
                  </a:cubicBezTo>
                  <a:cubicBezTo>
                    <a:pt x="1235" y="644"/>
                    <a:pt x="1873" y="327"/>
                    <a:pt x="2524" y="327"/>
                  </a:cubicBezTo>
                  <a:cubicBezTo>
                    <a:pt x="2909" y="327"/>
                    <a:pt x="3299" y="438"/>
                    <a:pt x="3644" y="673"/>
                  </a:cubicBezTo>
                  <a:cubicBezTo>
                    <a:pt x="4084" y="970"/>
                    <a:pt x="4406" y="1435"/>
                    <a:pt x="4501" y="1970"/>
                  </a:cubicBezTo>
                  <a:cubicBezTo>
                    <a:pt x="4523" y="2047"/>
                    <a:pt x="4594" y="2103"/>
                    <a:pt x="4679" y="2103"/>
                  </a:cubicBezTo>
                  <a:cubicBezTo>
                    <a:pt x="4687" y="2103"/>
                    <a:pt x="4695" y="2102"/>
                    <a:pt x="4703" y="2101"/>
                  </a:cubicBezTo>
                  <a:cubicBezTo>
                    <a:pt x="4787" y="2089"/>
                    <a:pt x="4846" y="1994"/>
                    <a:pt x="4834" y="1911"/>
                  </a:cubicBezTo>
                  <a:cubicBezTo>
                    <a:pt x="4715" y="1280"/>
                    <a:pt x="4358" y="744"/>
                    <a:pt x="3834" y="399"/>
                  </a:cubicBezTo>
                  <a:cubicBezTo>
                    <a:pt x="3432" y="129"/>
                    <a:pt x="2977" y="0"/>
                    <a:pt x="25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2" name="Google Shape;11612;p61"/>
            <p:cNvSpPr/>
            <p:nvPr/>
          </p:nvSpPr>
          <p:spPr>
            <a:xfrm>
              <a:off x="4093585" y="3484237"/>
              <a:ext cx="21891" cy="37002"/>
            </a:xfrm>
            <a:custGeom>
              <a:avLst/>
              <a:gdLst/>
              <a:ahLst/>
              <a:cxnLst/>
              <a:rect l="l" t="t" r="r" b="b"/>
              <a:pathLst>
                <a:path w="691" h="1168" extrusionOk="0">
                  <a:moveTo>
                    <a:pt x="155" y="0"/>
                  </a:moveTo>
                  <a:cubicBezTo>
                    <a:pt x="72" y="0"/>
                    <a:pt x="0" y="72"/>
                    <a:pt x="0" y="167"/>
                  </a:cubicBezTo>
                  <a:lnTo>
                    <a:pt x="0" y="1000"/>
                  </a:lnTo>
                  <a:cubicBezTo>
                    <a:pt x="0" y="1084"/>
                    <a:pt x="72" y="1167"/>
                    <a:pt x="155" y="1167"/>
                  </a:cubicBezTo>
                  <a:lnTo>
                    <a:pt x="536" y="1167"/>
                  </a:lnTo>
                  <a:cubicBezTo>
                    <a:pt x="619" y="1167"/>
                    <a:pt x="691" y="1084"/>
                    <a:pt x="691" y="1000"/>
                  </a:cubicBezTo>
                  <a:cubicBezTo>
                    <a:pt x="691" y="893"/>
                    <a:pt x="619" y="822"/>
                    <a:pt x="512" y="822"/>
                  </a:cubicBezTo>
                  <a:lnTo>
                    <a:pt x="322" y="822"/>
                  </a:ln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3" name="Google Shape;11613;p61"/>
            <p:cNvSpPr/>
            <p:nvPr/>
          </p:nvSpPr>
          <p:spPr>
            <a:xfrm>
              <a:off x="3967213" y="3408047"/>
              <a:ext cx="275394" cy="303653"/>
            </a:xfrm>
            <a:custGeom>
              <a:avLst/>
              <a:gdLst/>
              <a:ahLst/>
              <a:cxnLst/>
              <a:rect l="l" t="t" r="r" b="b"/>
              <a:pathLst>
                <a:path w="8693" h="9585" extrusionOk="0">
                  <a:moveTo>
                    <a:pt x="3549" y="417"/>
                  </a:moveTo>
                  <a:lnTo>
                    <a:pt x="3549" y="417"/>
                  </a:lnTo>
                  <a:cubicBezTo>
                    <a:pt x="3346" y="1024"/>
                    <a:pt x="3001" y="1322"/>
                    <a:pt x="2775" y="1465"/>
                  </a:cubicBezTo>
                  <a:cubicBezTo>
                    <a:pt x="2799" y="976"/>
                    <a:pt x="3120" y="572"/>
                    <a:pt x="3549" y="417"/>
                  </a:cubicBezTo>
                  <a:close/>
                  <a:moveTo>
                    <a:pt x="4727" y="334"/>
                  </a:moveTo>
                  <a:cubicBezTo>
                    <a:pt x="5382" y="334"/>
                    <a:pt x="5906" y="869"/>
                    <a:pt x="5906" y="1524"/>
                  </a:cubicBezTo>
                  <a:lnTo>
                    <a:pt x="5906" y="2262"/>
                  </a:lnTo>
                  <a:cubicBezTo>
                    <a:pt x="4501" y="2155"/>
                    <a:pt x="4108" y="846"/>
                    <a:pt x="4001" y="334"/>
                  </a:cubicBezTo>
                  <a:close/>
                  <a:moveTo>
                    <a:pt x="2441" y="2643"/>
                  </a:moveTo>
                  <a:lnTo>
                    <a:pt x="2441" y="2893"/>
                  </a:lnTo>
                  <a:cubicBezTo>
                    <a:pt x="2441" y="3036"/>
                    <a:pt x="2453" y="3179"/>
                    <a:pt x="2477" y="3310"/>
                  </a:cubicBezTo>
                  <a:cubicBezTo>
                    <a:pt x="2334" y="3251"/>
                    <a:pt x="2239" y="3120"/>
                    <a:pt x="2239" y="2977"/>
                  </a:cubicBezTo>
                  <a:cubicBezTo>
                    <a:pt x="2239" y="2822"/>
                    <a:pt x="2322" y="2703"/>
                    <a:pt x="2441" y="2643"/>
                  </a:cubicBezTo>
                  <a:close/>
                  <a:moveTo>
                    <a:pt x="6251" y="2655"/>
                  </a:moveTo>
                  <a:cubicBezTo>
                    <a:pt x="6359" y="2715"/>
                    <a:pt x="6442" y="2834"/>
                    <a:pt x="6442" y="2989"/>
                  </a:cubicBezTo>
                  <a:cubicBezTo>
                    <a:pt x="6442" y="3155"/>
                    <a:pt x="6335" y="3286"/>
                    <a:pt x="6204" y="3334"/>
                  </a:cubicBezTo>
                  <a:cubicBezTo>
                    <a:pt x="6228" y="3179"/>
                    <a:pt x="6251" y="3048"/>
                    <a:pt x="6251" y="2917"/>
                  </a:cubicBezTo>
                  <a:lnTo>
                    <a:pt x="6251" y="2655"/>
                  </a:lnTo>
                  <a:close/>
                  <a:moveTo>
                    <a:pt x="3775" y="786"/>
                  </a:moveTo>
                  <a:cubicBezTo>
                    <a:pt x="3846" y="1012"/>
                    <a:pt x="3953" y="1274"/>
                    <a:pt x="4120" y="1524"/>
                  </a:cubicBezTo>
                  <a:cubicBezTo>
                    <a:pt x="4537" y="2167"/>
                    <a:pt x="5144" y="2536"/>
                    <a:pt x="5906" y="2584"/>
                  </a:cubicBezTo>
                  <a:lnTo>
                    <a:pt x="5906" y="2893"/>
                  </a:lnTo>
                  <a:cubicBezTo>
                    <a:pt x="5906" y="3548"/>
                    <a:pt x="5549" y="4179"/>
                    <a:pt x="4977" y="4501"/>
                  </a:cubicBezTo>
                  <a:lnTo>
                    <a:pt x="4727" y="4656"/>
                  </a:lnTo>
                  <a:cubicBezTo>
                    <a:pt x="4608" y="4721"/>
                    <a:pt x="4474" y="4754"/>
                    <a:pt x="4340" y="4754"/>
                  </a:cubicBezTo>
                  <a:cubicBezTo>
                    <a:pt x="4206" y="4754"/>
                    <a:pt x="4073" y="4721"/>
                    <a:pt x="3953" y="4656"/>
                  </a:cubicBezTo>
                  <a:lnTo>
                    <a:pt x="3703" y="4501"/>
                  </a:lnTo>
                  <a:cubicBezTo>
                    <a:pt x="3120" y="4179"/>
                    <a:pt x="2775" y="3572"/>
                    <a:pt x="2775" y="2893"/>
                  </a:cubicBezTo>
                  <a:lnTo>
                    <a:pt x="2775" y="2417"/>
                  </a:lnTo>
                  <a:lnTo>
                    <a:pt x="2775" y="1858"/>
                  </a:lnTo>
                  <a:cubicBezTo>
                    <a:pt x="3001" y="1750"/>
                    <a:pt x="3465" y="1465"/>
                    <a:pt x="3775" y="786"/>
                  </a:cubicBezTo>
                  <a:close/>
                  <a:moveTo>
                    <a:pt x="5001" y="4906"/>
                  </a:moveTo>
                  <a:lnTo>
                    <a:pt x="5001" y="5751"/>
                  </a:lnTo>
                  <a:lnTo>
                    <a:pt x="4965" y="5775"/>
                  </a:lnTo>
                  <a:lnTo>
                    <a:pt x="4334" y="6203"/>
                  </a:lnTo>
                  <a:lnTo>
                    <a:pt x="3692" y="5751"/>
                  </a:lnTo>
                  <a:lnTo>
                    <a:pt x="3692" y="4906"/>
                  </a:lnTo>
                  <a:lnTo>
                    <a:pt x="3775" y="4953"/>
                  </a:lnTo>
                  <a:cubicBezTo>
                    <a:pt x="3953" y="5048"/>
                    <a:pt x="4144" y="5096"/>
                    <a:pt x="4346" y="5096"/>
                  </a:cubicBezTo>
                  <a:cubicBezTo>
                    <a:pt x="4537" y="5096"/>
                    <a:pt x="4727" y="5048"/>
                    <a:pt x="4906" y="4953"/>
                  </a:cubicBezTo>
                  <a:lnTo>
                    <a:pt x="5001" y="4906"/>
                  </a:lnTo>
                  <a:close/>
                  <a:moveTo>
                    <a:pt x="3680" y="6168"/>
                  </a:moveTo>
                  <a:lnTo>
                    <a:pt x="4084" y="6453"/>
                  </a:lnTo>
                  <a:lnTo>
                    <a:pt x="3680" y="6930"/>
                  </a:lnTo>
                  <a:lnTo>
                    <a:pt x="3680" y="6263"/>
                  </a:lnTo>
                  <a:lnTo>
                    <a:pt x="3680" y="6168"/>
                  </a:lnTo>
                  <a:close/>
                  <a:moveTo>
                    <a:pt x="4977" y="6168"/>
                  </a:moveTo>
                  <a:lnTo>
                    <a:pt x="4977" y="6263"/>
                  </a:lnTo>
                  <a:lnTo>
                    <a:pt x="4977" y="6930"/>
                  </a:lnTo>
                  <a:lnTo>
                    <a:pt x="4573" y="6453"/>
                  </a:lnTo>
                  <a:lnTo>
                    <a:pt x="4977" y="6168"/>
                  </a:lnTo>
                  <a:close/>
                  <a:moveTo>
                    <a:pt x="4977" y="7453"/>
                  </a:moveTo>
                  <a:lnTo>
                    <a:pt x="4977" y="8406"/>
                  </a:lnTo>
                  <a:lnTo>
                    <a:pt x="4906" y="7656"/>
                  </a:lnTo>
                  <a:lnTo>
                    <a:pt x="4977" y="7453"/>
                  </a:lnTo>
                  <a:close/>
                  <a:moveTo>
                    <a:pt x="3692" y="7453"/>
                  </a:moveTo>
                  <a:lnTo>
                    <a:pt x="3763" y="7656"/>
                  </a:lnTo>
                  <a:lnTo>
                    <a:pt x="3692" y="8418"/>
                  </a:lnTo>
                  <a:lnTo>
                    <a:pt x="3692" y="7453"/>
                  </a:lnTo>
                  <a:close/>
                  <a:moveTo>
                    <a:pt x="4311" y="6703"/>
                  </a:moveTo>
                  <a:lnTo>
                    <a:pt x="4704" y="7168"/>
                  </a:lnTo>
                  <a:lnTo>
                    <a:pt x="4537" y="7584"/>
                  </a:lnTo>
                  <a:cubicBezTo>
                    <a:pt x="4525" y="7620"/>
                    <a:pt x="4525" y="7632"/>
                    <a:pt x="4525" y="7656"/>
                  </a:cubicBezTo>
                  <a:lnTo>
                    <a:pt x="4680" y="9251"/>
                  </a:lnTo>
                  <a:lnTo>
                    <a:pt x="3942" y="9251"/>
                  </a:lnTo>
                  <a:lnTo>
                    <a:pt x="4108" y="7656"/>
                  </a:lnTo>
                  <a:cubicBezTo>
                    <a:pt x="4108" y="7632"/>
                    <a:pt x="4108" y="7596"/>
                    <a:pt x="4084" y="7584"/>
                  </a:cubicBezTo>
                  <a:lnTo>
                    <a:pt x="3930" y="7168"/>
                  </a:lnTo>
                  <a:lnTo>
                    <a:pt x="4311" y="6703"/>
                  </a:lnTo>
                  <a:close/>
                  <a:moveTo>
                    <a:pt x="3965" y="0"/>
                  </a:moveTo>
                  <a:cubicBezTo>
                    <a:pt x="3906" y="0"/>
                    <a:pt x="3846" y="0"/>
                    <a:pt x="3787" y="12"/>
                  </a:cubicBezTo>
                  <a:cubicBezTo>
                    <a:pt x="3013" y="95"/>
                    <a:pt x="2453" y="750"/>
                    <a:pt x="2441" y="1524"/>
                  </a:cubicBezTo>
                  <a:lnTo>
                    <a:pt x="2441" y="1750"/>
                  </a:lnTo>
                  <a:lnTo>
                    <a:pt x="2441" y="2286"/>
                  </a:lnTo>
                  <a:cubicBezTo>
                    <a:pt x="2120" y="2358"/>
                    <a:pt x="1894" y="2643"/>
                    <a:pt x="1894" y="2977"/>
                  </a:cubicBezTo>
                  <a:cubicBezTo>
                    <a:pt x="1894" y="3358"/>
                    <a:pt x="2191" y="3667"/>
                    <a:pt x="2584" y="3691"/>
                  </a:cubicBezTo>
                  <a:cubicBezTo>
                    <a:pt x="2739" y="4084"/>
                    <a:pt x="3001" y="4441"/>
                    <a:pt x="3358" y="4703"/>
                  </a:cubicBezTo>
                  <a:lnTo>
                    <a:pt x="3358" y="5727"/>
                  </a:lnTo>
                  <a:lnTo>
                    <a:pt x="1620" y="6275"/>
                  </a:lnTo>
                  <a:cubicBezTo>
                    <a:pt x="655" y="6584"/>
                    <a:pt x="12" y="7465"/>
                    <a:pt x="1" y="8489"/>
                  </a:cubicBezTo>
                  <a:lnTo>
                    <a:pt x="1" y="9418"/>
                  </a:lnTo>
                  <a:cubicBezTo>
                    <a:pt x="1" y="9501"/>
                    <a:pt x="72" y="9585"/>
                    <a:pt x="155" y="9585"/>
                  </a:cubicBezTo>
                  <a:lnTo>
                    <a:pt x="1822" y="9585"/>
                  </a:lnTo>
                  <a:cubicBezTo>
                    <a:pt x="1917" y="9585"/>
                    <a:pt x="1989" y="9501"/>
                    <a:pt x="1989" y="9418"/>
                  </a:cubicBezTo>
                  <a:cubicBezTo>
                    <a:pt x="1989" y="9323"/>
                    <a:pt x="1917" y="9251"/>
                    <a:pt x="1822" y="9251"/>
                  </a:cubicBezTo>
                  <a:lnTo>
                    <a:pt x="334" y="9251"/>
                  </a:lnTo>
                  <a:lnTo>
                    <a:pt x="334" y="8489"/>
                  </a:lnTo>
                  <a:cubicBezTo>
                    <a:pt x="334" y="8299"/>
                    <a:pt x="370" y="8120"/>
                    <a:pt x="417" y="7942"/>
                  </a:cubicBezTo>
                  <a:cubicBezTo>
                    <a:pt x="429" y="7894"/>
                    <a:pt x="441" y="7834"/>
                    <a:pt x="453" y="7799"/>
                  </a:cubicBezTo>
                  <a:cubicBezTo>
                    <a:pt x="477" y="7751"/>
                    <a:pt x="501" y="7704"/>
                    <a:pt x="513" y="7644"/>
                  </a:cubicBezTo>
                  <a:cubicBezTo>
                    <a:pt x="739" y="7156"/>
                    <a:pt x="1167" y="6763"/>
                    <a:pt x="1703" y="6608"/>
                  </a:cubicBezTo>
                  <a:lnTo>
                    <a:pt x="2703" y="6287"/>
                  </a:lnTo>
                  <a:lnTo>
                    <a:pt x="3358" y="6084"/>
                  </a:lnTo>
                  <a:lnTo>
                    <a:pt x="3358" y="9251"/>
                  </a:lnTo>
                  <a:lnTo>
                    <a:pt x="2513" y="9251"/>
                  </a:lnTo>
                  <a:cubicBezTo>
                    <a:pt x="2418" y="9251"/>
                    <a:pt x="2346" y="9323"/>
                    <a:pt x="2346" y="9418"/>
                  </a:cubicBezTo>
                  <a:cubicBezTo>
                    <a:pt x="2346" y="9501"/>
                    <a:pt x="2418" y="9585"/>
                    <a:pt x="2513" y="9585"/>
                  </a:cubicBezTo>
                  <a:lnTo>
                    <a:pt x="8525" y="9585"/>
                  </a:lnTo>
                  <a:cubicBezTo>
                    <a:pt x="8609" y="9585"/>
                    <a:pt x="8692" y="9501"/>
                    <a:pt x="8692" y="9418"/>
                  </a:cubicBezTo>
                  <a:lnTo>
                    <a:pt x="8692" y="8489"/>
                  </a:lnTo>
                  <a:cubicBezTo>
                    <a:pt x="8692" y="7930"/>
                    <a:pt x="8466" y="7358"/>
                    <a:pt x="8073" y="6942"/>
                  </a:cubicBezTo>
                  <a:cubicBezTo>
                    <a:pt x="8042" y="6904"/>
                    <a:pt x="8001" y="6886"/>
                    <a:pt x="7957" y="6886"/>
                  </a:cubicBezTo>
                  <a:cubicBezTo>
                    <a:pt x="7917" y="6886"/>
                    <a:pt x="7875" y="6901"/>
                    <a:pt x="7835" y="6930"/>
                  </a:cubicBezTo>
                  <a:cubicBezTo>
                    <a:pt x="7763" y="6989"/>
                    <a:pt x="7763" y="7096"/>
                    <a:pt x="7823" y="7168"/>
                  </a:cubicBezTo>
                  <a:cubicBezTo>
                    <a:pt x="8156" y="7537"/>
                    <a:pt x="8335" y="8001"/>
                    <a:pt x="8335" y="8489"/>
                  </a:cubicBezTo>
                  <a:lnTo>
                    <a:pt x="8335" y="9251"/>
                  </a:lnTo>
                  <a:lnTo>
                    <a:pt x="5311" y="9251"/>
                  </a:lnTo>
                  <a:lnTo>
                    <a:pt x="5311" y="6084"/>
                  </a:lnTo>
                  <a:lnTo>
                    <a:pt x="6942" y="6608"/>
                  </a:lnTo>
                  <a:cubicBezTo>
                    <a:pt x="7085" y="6644"/>
                    <a:pt x="7216" y="6703"/>
                    <a:pt x="7335" y="6763"/>
                  </a:cubicBezTo>
                  <a:cubicBezTo>
                    <a:pt x="7359" y="6779"/>
                    <a:pt x="7388" y="6787"/>
                    <a:pt x="7418" y="6787"/>
                  </a:cubicBezTo>
                  <a:cubicBezTo>
                    <a:pt x="7474" y="6787"/>
                    <a:pt x="7534" y="6758"/>
                    <a:pt x="7573" y="6703"/>
                  </a:cubicBezTo>
                  <a:cubicBezTo>
                    <a:pt x="7621" y="6632"/>
                    <a:pt x="7585" y="6525"/>
                    <a:pt x="7513" y="6465"/>
                  </a:cubicBezTo>
                  <a:cubicBezTo>
                    <a:pt x="7359" y="6394"/>
                    <a:pt x="7216" y="6322"/>
                    <a:pt x="7061" y="6275"/>
                  </a:cubicBezTo>
                  <a:lnTo>
                    <a:pt x="5323" y="5715"/>
                  </a:lnTo>
                  <a:lnTo>
                    <a:pt x="5323" y="4679"/>
                  </a:lnTo>
                  <a:cubicBezTo>
                    <a:pt x="5680" y="4429"/>
                    <a:pt x="5954" y="4072"/>
                    <a:pt x="6097" y="3667"/>
                  </a:cubicBezTo>
                  <a:cubicBezTo>
                    <a:pt x="6466" y="3655"/>
                    <a:pt x="6787" y="3346"/>
                    <a:pt x="6787" y="2953"/>
                  </a:cubicBezTo>
                  <a:cubicBezTo>
                    <a:pt x="6787" y="2631"/>
                    <a:pt x="6561" y="2346"/>
                    <a:pt x="6251" y="2274"/>
                  </a:cubicBezTo>
                  <a:lnTo>
                    <a:pt x="6251" y="1512"/>
                  </a:lnTo>
                  <a:cubicBezTo>
                    <a:pt x="6251" y="679"/>
                    <a:pt x="5561" y="0"/>
                    <a:pt x="4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4" name="Google Shape;11614;p61"/>
            <p:cNvSpPr/>
            <p:nvPr/>
          </p:nvSpPr>
          <p:spPr>
            <a:xfrm>
              <a:off x="4239154" y="3387518"/>
              <a:ext cx="44922" cy="65071"/>
            </a:xfrm>
            <a:custGeom>
              <a:avLst/>
              <a:gdLst/>
              <a:ahLst/>
              <a:cxnLst/>
              <a:rect l="l" t="t" r="r" b="b"/>
              <a:pathLst>
                <a:path w="1418" h="2054" extrusionOk="0">
                  <a:moveTo>
                    <a:pt x="664" y="1"/>
                  </a:moveTo>
                  <a:cubicBezTo>
                    <a:pt x="396" y="1"/>
                    <a:pt x="158" y="171"/>
                    <a:pt x="49" y="422"/>
                  </a:cubicBezTo>
                  <a:cubicBezTo>
                    <a:pt x="1" y="505"/>
                    <a:pt x="49" y="612"/>
                    <a:pt x="132" y="648"/>
                  </a:cubicBezTo>
                  <a:cubicBezTo>
                    <a:pt x="156" y="657"/>
                    <a:pt x="181" y="662"/>
                    <a:pt x="204" y="662"/>
                  </a:cubicBezTo>
                  <a:cubicBezTo>
                    <a:pt x="272" y="662"/>
                    <a:pt x="332" y="624"/>
                    <a:pt x="358" y="553"/>
                  </a:cubicBezTo>
                  <a:cubicBezTo>
                    <a:pt x="412" y="436"/>
                    <a:pt x="532" y="347"/>
                    <a:pt x="668" y="347"/>
                  </a:cubicBezTo>
                  <a:cubicBezTo>
                    <a:pt x="683" y="347"/>
                    <a:pt x="699" y="348"/>
                    <a:pt x="715" y="351"/>
                  </a:cubicBezTo>
                  <a:cubicBezTo>
                    <a:pt x="894" y="362"/>
                    <a:pt x="1037" y="505"/>
                    <a:pt x="1049" y="684"/>
                  </a:cubicBezTo>
                  <a:cubicBezTo>
                    <a:pt x="1049" y="767"/>
                    <a:pt x="1037" y="851"/>
                    <a:pt x="1001" y="910"/>
                  </a:cubicBezTo>
                  <a:cubicBezTo>
                    <a:pt x="953" y="982"/>
                    <a:pt x="882" y="1029"/>
                    <a:pt x="799" y="1065"/>
                  </a:cubicBezTo>
                  <a:cubicBezTo>
                    <a:pt x="561" y="1136"/>
                    <a:pt x="406" y="1208"/>
                    <a:pt x="406" y="1374"/>
                  </a:cubicBezTo>
                  <a:lnTo>
                    <a:pt x="406" y="1898"/>
                  </a:lnTo>
                  <a:cubicBezTo>
                    <a:pt x="406" y="1982"/>
                    <a:pt x="477" y="2053"/>
                    <a:pt x="561" y="2053"/>
                  </a:cubicBezTo>
                  <a:cubicBezTo>
                    <a:pt x="656" y="2053"/>
                    <a:pt x="727" y="1982"/>
                    <a:pt x="727" y="1898"/>
                  </a:cubicBezTo>
                  <a:lnTo>
                    <a:pt x="727" y="1446"/>
                  </a:lnTo>
                  <a:cubicBezTo>
                    <a:pt x="763" y="1434"/>
                    <a:pt x="799" y="1422"/>
                    <a:pt x="882" y="1386"/>
                  </a:cubicBezTo>
                  <a:cubicBezTo>
                    <a:pt x="1037" y="1339"/>
                    <a:pt x="1180" y="1243"/>
                    <a:pt x="1263" y="1101"/>
                  </a:cubicBezTo>
                  <a:cubicBezTo>
                    <a:pt x="1370" y="958"/>
                    <a:pt x="1418" y="803"/>
                    <a:pt x="1394" y="660"/>
                  </a:cubicBezTo>
                  <a:cubicBezTo>
                    <a:pt x="1370" y="315"/>
                    <a:pt x="1096" y="29"/>
                    <a:pt x="739" y="5"/>
                  </a:cubicBezTo>
                  <a:cubicBezTo>
                    <a:pt x="714" y="2"/>
                    <a:pt x="689" y="1"/>
                    <a:pt x="6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5" name="Google Shape;11615;p61"/>
            <p:cNvSpPr/>
            <p:nvPr/>
          </p:nvSpPr>
          <p:spPr>
            <a:xfrm>
              <a:off x="4250876" y="3457816"/>
              <a:ext cx="14351" cy="14383"/>
            </a:xfrm>
            <a:custGeom>
              <a:avLst/>
              <a:gdLst/>
              <a:ahLst/>
              <a:cxnLst/>
              <a:rect l="l" t="t" r="r" b="b"/>
              <a:pathLst>
                <a:path w="453" h="454" extrusionOk="0">
                  <a:moveTo>
                    <a:pt x="226" y="1"/>
                  </a:moveTo>
                  <a:cubicBezTo>
                    <a:pt x="107" y="1"/>
                    <a:pt x="0" y="108"/>
                    <a:pt x="0" y="227"/>
                  </a:cubicBezTo>
                  <a:cubicBezTo>
                    <a:pt x="0" y="346"/>
                    <a:pt x="107" y="453"/>
                    <a:pt x="226" y="453"/>
                  </a:cubicBezTo>
                  <a:cubicBezTo>
                    <a:pt x="345" y="453"/>
                    <a:pt x="453" y="346"/>
                    <a:pt x="453" y="227"/>
                  </a:cubicBezTo>
                  <a:cubicBezTo>
                    <a:pt x="453" y="108"/>
                    <a:pt x="345" y="1"/>
                    <a:pt x="2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16" name="Google Shape;11616;p61"/>
          <p:cNvGrpSpPr/>
          <p:nvPr/>
        </p:nvGrpSpPr>
        <p:grpSpPr>
          <a:xfrm>
            <a:off x="871254" y="3360146"/>
            <a:ext cx="285183" cy="347023"/>
            <a:chOff x="871254" y="3360146"/>
            <a:chExt cx="285183" cy="347023"/>
          </a:xfrm>
        </p:grpSpPr>
        <p:sp>
          <p:nvSpPr>
            <p:cNvPr id="11617" name="Google Shape;11617;p61"/>
            <p:cNvSpPr/>
            <p:nvPr/>
          </p:nvSpPr>
          <p:spPr>
            <a:xfrm>
              <a:off x="871254" y="3360146"/>
              <a:ext cx="135052" cy="164863"/>
            </a:xfrm>
            <a:custGeom>
              <a:avLst/>
              <a:gdLst/>
              <a:ahLst/>
              <a:cxnLst/>
              <a:rect l="l" t="t" r="r" b="b"/>
              <a:pathLst>
                <a:path w="4263" h="5204" extrusionOk="0">
                  <a:moveTo>
                    <a:pt x="4084" y="0"/>
                  </a:moveTo>
                  <a:cubicBezTo>
                    <a:pt x="2965" y="107"/>
                    <a:pt x="1941" y="619"/>
                    <a:pt x="1179" y="1453"/>
                  </a:cubicBezTo>
                  <a:cubicBezTo>
                    <a:pt x="417" y="2286"/>
                    <a:pt x="0" y="3358"/>
                    <a:pt x="0" y="4489"/>
                  </a:cubicBezTo>
                  <a:cubicBezTo>
                    <a:pt x="0" y="4679"/>
                    <a:pt x="12" y="4870"/>
                    <a:pt x="36" y="5060"/>
                  </a:cubicBezTo>
                  <a:cubicBezTo>
                    <a:pt x="48" y="5144"/>
                    <a:pt x="107" y="5203"/>
                    <a:pt x="191" y="5203"/>
                  </a:cubicBezTo>
                  <a:lnTo>
                    <a:pt x="214" y="5203"/>
                  </a:lnTo>
                  <a:cubicBezTo>
                    <a:pt x="298" y="5179"/>
                    <a:pt x="357" y="5108"/>
                    <a:pt x="345" y="5025"/>
                  </a:cubicBezTo>
                  <a:cubicBezTo>
                    <a:pt x="310" y="4834"/>
                    <a:pt x="310" y="4667"/>
                    <a:pt x="310" y="4477"/>
                  </a:cubicBezTo>
                  <a:cubicBezTo>
                    <a:pt x="310" y="2310"/>
                    <a:pt x="1941" y="524"/>
                    <a:pt x="4096" y="310"/>
                  </a:cubicBezTo>
                  <a:cubicBezTo>
                    <a:pt x="4107" y="312"/>
                    <a:pt x="4118" y="313"/>
                    <a:pt x="4128" y="313"/>
                  </a:cubicBezTo>
                  <a:cubicBezTo>
                    <a:pt x="4215" y="313"/>
                    <a:pt x="4263" y="229"/>
                    <a:pt x="4263" y="155"/>
                  </a:cubicBezTo>
                  <a:cubicBezTo>
                    <a:pt x="4239" y="60"/>
                    <a:pt x="4167" y="0"/>
                    <a:pt x="4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8" name="Google Shape;11618;p61"/>
            <p:cNvSpPr/>
            <p:nvPr/>
          </p:nvSpPr>
          <p:spPr>
            <a:xfrm>
              <a:off x="876132" y="3360146"/>
              <a:ext cx="280305" cy="347023"/>
            </a:xfrm>
            <a:custGeom>
              <a:avLst/>
              <a:gdLst/>
              <a:ahLst/>
              <a:cxnLst/>
              <a:rect l="l" t="t" r="r" b="b"/>
              <a:pathLst>
                <a:path w="8848" h="10954" extrusionOk="0">
                  <a:moveTo>
                    <a:pt x="4585" y="0"/>
                  </a:moveTo>
                  <a:cubicBezTo>
                    <a:pt x="4490" y="0"/>
                    <a:pt x="4418" y="60"/>
                    <a:pt x="4418" y="155"/>
                  </a:cubicBezTo>
                  <a:cubicBezTo>
                    <a:pt x="4418" y="238"/>
                    <a:pt x="4478" y="322"/>
                    <a:pt x="4561" y="322"/>
                  </a:cubicBezTo>
                  <a:cubicBezTo>
                    <a:pt x="6787" y="441"/>
                    <a:pt x="8526" y="2262"/>
                    <a:pt x="8526" y="4489"/>
                  </a:cubicBezTo>
                  <a:cubicBezTo>
                    <a:pt x="8526" y="6298"/>
                    <a:pt x="7359" y="7906"/>
                    <a:pt x="5621" y="8454"/>
                  </a:cubicBezTo>
                  <a:cubicBezTo>
                    <a:pt x="5597" y="8477"/>
                    <a:pt x="5549" y="8489"/>
                    <a:pt x="5537" y="8537"/>
                  </a:cubicBezTo>
                  <a:lnTo>
                    <a:pt x="4347" y="10501"/>
                  </a:lnTo>
                  <a:lnTo>
                    <a:pt x="3156" y="8537"/>
                  </a:lnTo>
                  <a:cubicBezTo>
                    <a:pt x="3132" y="8501"/>
                    <a:pt x="3108" y="8477"/>
                    <a:pt x="3061" y="8454"/>
                  </a:cubicBezTo>
                  <a:cubicBezTo>
                    <a:pt x="1727" y="8025"/>
                    <a:pt x="715" y="6965"/>
                    <a:pt x="322" y="5632"/>
                  </a:cubicBezTo>
                  <a:cubicBezTo>
                    <a:pt x="303" y="5556"/>
                    <a:pt x="238" y="5517"/>
                    <a:pt x="177" y="5517"/>
                  </a:cubicBezTo>
                  <a:cubicBezTo>
                    <a:pt x="161" y="5517"/>
                    <a:pt x="146" y="5520"/>
                    <a:pt x="132" y="5525"/>
                  </a:cubicBezTo>
                  <a:cubicBezTo>
                    <a:pt x="37" y="5560"/>
                    <a:pt x="1" y="5644"/>
                    <a:pt x="25" y="5715"/>
                  </a:cubicBezTo>
                  <a:cubicBezTo>
                    <a:pt x="239" y="6429"/>
                    <a:pt x="608" y="7084"/>
                    <a:pt x="1132" y="7608"/>
                  </a:cubicBezTo>
                  <a:cubicBezTo>
                    <a:pt x="1632" y="8132"/>
                    <a:pt x="2239" y="8513"/>
                    <a:pt x="2930" y="8739"/>
                  </a:cubicBezTo>
                  <a:lnTo>
                    <a:pt x="4228" y="10882"/>
                  </a:lnTo>
                  <a:cubicBezTo>
                    <a:pt x="4251" y="10930"/>
                    <a:pt x="4299" y="10954"/>
                    <a:pt x="4359" y="10954"/>
                  </a:cubicBezTo>
                  <a:cubicBezTo>
                    <a:pt x="4418" y="10954"/>
                    <a:pt x="4466" y="10930"/>
                    <a:pt x="4490" y="10882"/>
                  </a:cubicBezTo>
                  <a:lnTo>
                    <a:pt x="5787" y="8739"/>
                  </a:lnTo>
                  <a:cubicBezTo>
                    <a:pt x="6668" y="8442"/>
                    <a:pt x="7407" y="7894"/>
                    <a:pt x="7978" y="7144"/>
                  </a:cubicBezTo>
                  <a:cubicBezTo>
                    <a:pt x="8550" y="6370"/>
                    <a:pt x="8847" y="5441"/>
                    <a:pt x="8847" y="4465"/>
                  </a:cubicBezTo>
                  <a:cubicBezTo>
                    <a:pt x="8847" y="2107"/>
                    <a:pt x="6978" y="119"/>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9" name="Google Shape;11619;p61"/>
            <p:cNvSpPr/>
            <p:nvPr/>
          </p:nvSpPr>
          <p:spPr>
            <a:xfrm>
              <a:off x="950073" y="3450656"/>
              <a:ext cx="792" cy="1172"/>
            </a:xfrm>
            <a:custGeom>
              <a:avLst/>
              <a:gdLst/>
              <a:ahLst/>
              <a:cxnLst/>
              <a:rect l="l" t="t" r="r" b="b"/>
              <a:pathLst>
                <a:path w="25" h="37" extrusionOk="0">
                  <a:moveTo>
                    <a:pt x="24" y="1"/>
                  </a:moveTo>
                  <a:lnTo>
                    <a:pt x="12" y="24"/>
                  </a:lnTo>
                  <a:cubicBezTo>
                    <a:pt x="12" y="24"/>
                    <a:pt x="0" y="24"/>
                    <a:pt x="0" y="36"/>
                  </a:cubicBezTo>
                  <a:cubicBezTo>
                    <a:pt x="12" y="24"/>
                    <a:pt x="24" y="24"/>
                    <a:pt x="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0" name="Google Shape;11620;p61"/>
            <p:cNvSpPr/>
            <p:nvPr/>
          </p:nvSpPr>
          <p:spPr>
            <a:xfrm>
              <a:off x="923304" y="3434784"/>
              <a:ext cx="178042" cy="156594"/>
            </a:xfrm>
            <a:custGeom>
              <a:avLst/>
              <a:gdLst/>
              <a:ahLst/>
              <a:cxnLst/>
              <a:rect l="l" t="t" r="r" b="b"/>
              <a:pathLst>
                <a:path w="5620" h="4943" extrusionOk="0">
                  <a:moveTo>
                    <a:pt x="845" y="549"/>
                  </a:moveTo>
                  <a:cubicBezTo>
                    <a:pt x="844" y="550"/>
                    <a:pt x="842" y="552"/>
                    <a:pt x="841" y="553"/>
                  </a:cubicBezTo>
                  <a:lnTo>
                    <a:pt x="841" y="553"/>
                  </a:lnTo>
                  <a:cubicBezTo>
                    <a:pt x="842" y="552"/>
                    <a:pt x="844" y="550"/>
                    <a:pt x="845" y="549"/>
                  </a:cubicBezTo>
                  <a:close/>
                  <a:moveTo>
                    <a:pt x="4548" y="2561"/>
                  </a:moveTo>
                  <a:lnTo>
                    <a:pt x="4548" y="3145"/>
                  </a:lnTo>
                  <a:cubicBezTo>
                    <a:pt x="4548" y="3228"/>
                    <a:pt x="4620" y="3300"/>
                    <a:pt x="4715" y="3300"/>
                  </a:cubicBezTo>
                  <a:lnTo>
                    <a:pt x="5298" y="3300"/>
                  </a:lnTo>
                  <a:lnTo>
                    <a:pt x="5298" y="3871"/>
                  </a:lnTo>
                  <a:lnTo>
                    <a:pt x="4715" y="3871"/>
                  </a:lnTo>
                  <a:cubicBezTo>
                    <a:pt x="4620" y="3871"/>
                    <a:pt x="4548" y="3942"/>
                    <a:pt x="4548" y="4038"/>
                  </a:cubicBezTo>
                  <a:lnTo>
                    <a:pt x="4548" y="4609"/>
                  </a:lnTo>
                  <a:lnTo>
                    <a:pt x="3989" y="4609"/>
                  </a:lnTo>
                  <a:lnTo>
                    <a:pt x="3989" y="4038"/>
                  </a:lnTo>
                  <a:cubicBezTo>
                    <a:pt x="3989" y="3942"/>
                    <a:pt x="3905" y="3871"/>
                    <a:pt x="3822" y="3871"/>
                  </a:cubicBezTo>
                  <a:lnTo>
                    <a:pt x="3239" y="3871"/>
                  </a:lnTo>
                  <a:lnTo>
                    <a:pt x="3239" y="3300"/>
                  </a:lnTo>
                  <a:lnTo>
                    <a:pt x="3822" y="3300"/>
                  </a:lnTo>
                  <a:cubicBezTo>
                    <a:pt x="3905" y="3300"/>
                    <a:pt x="3989" y="3228"/>
                    <a:pt x="3989" y="3145"/>
                  </a:cubicBezTo>
                  <a:lnTo>
                    <a:pt x="3989" y="2561"/>
                  </a:lnTo>
                  <a:close/>
                  <a:moveTo>
                    <a:pt x="1441" y="0"/>
                  </a:moveTo>
                  <a:cubicBezTo>
                    <a:pt x="1159" y="0"/>
                    <a:pt x="895" y="90"/>
                    <a:pt x="667" y="263"/>
                  </a:cubicBezTo>
                  <a:cubicBezTo>
                    <a:pt x="0" y="787"/>
                    <a:pt x="0" y="1716"/>
                    <a:pt x="274" y="2347"/>
                  </a:cubicBezTo>
                  <a:cubicBezTo>
                    <a:pt x="441" y="2704"/>
                    <a:pt x="679" y="3038"/>
                    <a:pt x="988" y="3371"/>
                  </a:cubicBezTo>
                  <a:cubicBezTo>
                    <a:pt x="1441" y="3859"/>
                    <a:pt x="1941" y="4228"/>
                    <a:pt x="2405" y="4585"/>
                  </a:cubicBezTo>
                  <a:cubicBezTo>
                    <a:pt x="2441" y="4597"/>
                    <a:pt x="2465" y="4609"/>
                    <a:pt x="2500" y="4609"/>
                  </a:cubicBezTo>
                  <a:cubicBezTo>
                    <a:pt x="2524" y="4609"/>
                    <a:pt x="2560" y="4597"/>
                    <a:pt x="2584" y="4585"/>
                  </a:cubicBezTo>
                  <a:cubicBezTo>
                    <a:pt x="2798" y="4454"/>
                    <a:pt x="2977" y="4312"/>
                    <a:pt x="3131" y="4193"/>
                  </a:cubicBezTo>
                  <a:lnTo>
                    <a:pt x="3667" y="4193"/>
                  </a:lnTo>
                  <a:lnTo>
                    <a:pt x="3667" y="4776"/>
                  </a:lnTo>
                  <a:cubicBezTo>
                    <a:pt x="3667" y="4859"/>
                    <a:pt x="3739" y="4943"/>
                    <a:pt x="3834" y="4943"/>
                  </a:cubicBezTo>
                  <a:lnTo>
                    <a:pt x="4715" y="4943"/>
                  </a:lnTo>
                  <a:cubicBezTo>
                    <a:pt x="4798" y="4943"/>
                    <a:pt x="4870" y="4859"/>
                    <a:pt x="4870" y="4776"/>
                  </a:cubicBezTo>
                  <a:lnTo>
                    <a:pt x="4870" y="4193"/>
                  </a:lnTo>
                  <a:lnTo>
                    <a:pt x="5453" y="4193"/>
                  </a:lnTo>
                  <a:cubicBezTo>
                    <a:pt x="5548" y="4193"/>
                    <a:pt x="5620" y="4121"/>
                    <a:pt x="5620" y="4026"/>
                  </a:cubicBezTo>
                  <a:lnTo>
                    <a:pt x="5620" y="3157"/>
                  </a:lnTo>
                  <a:cubicBezTo>
                    <a:pt x="5620" y="3050"/>
                    <a:pt x="5548" y="2978"/>
                    <a:pt x="5453" y="2978"/>
                  </a:cubicBezTo>
                  <a:lnTo>
                    <a:pt x="4882" y="2978"/>
                  </a:lnTo>
                  <a:lnTo>
                    <a:pt x="4882" y="2395"/>
                  </a:lnTo>
                  <a:cubicBezTo>
                    <a:pt x="4882" y="2323"/>
                    <a:pt x="4834" y="2276"/>
                    <a:pt x="4775" y="2252"/>
                  </a:cubicBezTo>
                  <a:cubicBezTo>
                    <a:pt x="4798" y="2157"/>
                    <a:pt x="4834" y="2073"/>
                    <a:pt x="4858" y="1966"/>
                  </a:cubicBezTo>
                  <a:cubicBezTo>
                    <a:pt x="4882" y="1871"/>
                    <a:pt x="4834" y="1787"/>
                    <a:pt x="4739" y="1776"/>
                  </a:cubicBezTo>
                  <a:cubicBezTo>
                    <a:pt x="4725" y="1771"/>
                    <a:pt x="4710" y="1769"/>
                    <a:pt x="4695" y="1769"/>
                  </a:cubicBezTo>
                  <a:cubicBezTo>
                    <a:pt x="4625" y="1769"/>
                    <a:pt x="4558" y="1816"/>
                    <a:pt x="4548" y="1895"/>
                  </a:cubicBezTo>
                  <a:cubicBezTo>
                    <a:pt x="4525" y="2014"/>
                    <a:pt x="4489" y="2109"/>
                    <a:pt x="4429" y="2228"/>
                  </a:cubicBezTo>
                  <a:lnTo>
                    <a:pt x="3834" y="2228"/>
                  </a:lnTo>
                  <a:cubicBezTo>
                    <a:pt x="3739" y="2228"/>
                    <a:pt x="3667" y="2311"/>
                    <a:pt x="3667" y="2395"/>
                  </a:cubicBezTo>
                  <a:lnTo>
                    <a:pt x="3667" y="2978"/>
                  </a:lnTo>
                  <a:lnTo>
                    <a:pt x="3096" y="2978"/>
                  </a:lnTo>
                  <a:cubicBezTo>
                    <a:pt x="3001" y="2978"/>
                    <a:pt x="2929" y="3050"/>
                    <a:pt x="2929" y="3145"/>
                  </a:cubicBezTo>
                  <a:lnTo>
                    <a:pt x="2929" y="3942"/>
                  </a:lnTo>
                  <a:cubicBezTo>
                    <a:pt x="2798" y="4050"/>
                    <a:pt x="2655" y="4157"/>
                    <a:pt x="2500" y="4252"/>
                  </a:cubicBezTo>
                  <a:cubicBezTo>
                    <a:pt x="2060" y="3942"/>
                    <a:pt x="1619" y="3585"/>
                    <a:pt x="1215" y="3169"/>
                  </a:cubicBezTo>
                  <a:cubicBezTo>
                    <a:pt x="917" y="2859"/>
                    <a:pt x="715" y="2549"/>
                    <a:pt x="560" y="2228"/>
                  </a:cubicBezTo>
                  <a:cubicBezTo>
                    <a:pt x="322" y="1718"/>
                    <a:pt x="322" y="970"/>
                    <a:pt x="841" y="553"/>
                  </a:cubicBezTo>
                  <a:lnTo>
                    <a:pt x="841" y="553"/>
                  </a:lnTo>
                  <a:cubicBezTo>
                    <a:pt x="770" y="610"/>
                    <a:pt x="665" y="692"/>
                    <a:pt x="665" y="692"/>
                  </a:cubicBezTo>
                  <a:cubicBezTo>
                    <a:pt x="664" y="692"/>
                    <a:pt x="713" y="653"/>
                    <a:pt x="857" y="537"/>
                  </a:cubicBezTo>
                  <a:cubicBezTo>
                    <a:pt x="887" y="514"/>
                    <a:pt x="899" y="505"/>
                    <a:pt x="899" y="505"/>
                  </a:cubicBezTo>
                  <a:lnTo>
                    <a:pt x="899" y="505"/>
                  </a:lnTo>
                  <a:cubicBezTo>
                    <a:pt x="899" y="505"/>
                    <a:pt x="887" y="514"/>
                    <a:pt x="869" y="525"/>
                  </a:cubicBezTo>
                  <a:cubicBezTo>
                    <a:pt x="1045" y="396"/>
                    <a:pt x="1250" y="331"/>
                    <a:pt x="1461" y="331"/>
                  </a:cubicBezTo>
                  <a:cubicBezTo>
                    <a:pt x="1521" y="331"/>
                    <a:pt x="1582" y="336"/>
                    <a:pt x="1643" y="347"/>
                  </a:cubicBezTo>
                  <a:cubicBezTo>
                    <a:pt x="1941" y="406"/>
                    <a:pt x="2191" y="561"/>
                    <a:pt x="2358" y="799"/>
                  </a:cubicBezTo>
                  <a:cubicBezTo>
                    <a:pt x="2396" y="866"/>
                    <a:pt x="2445" y="893"/>
                    <a:pt x="2495" y="893"/>
                  </a:cubicBezTo>
                  <a:cubicBezTo>
                    <a:pt x="2552" y="893"/>
                    <a:pt x="2611" y="857"/>
                    <a:pt x="2655" y="799"/>
                  </a:cubicBezTo>
                  <a:cubicBezTo>
                    <a:pt x="2903" y="497"/>
                    <a:pt x="3171" y="342"/>
                    <a:pt x="3440" y="342"/>
                  </a:cubicBezTo>
                  <a:cubicBezTo>
                    <a:pt x="3468" y="342"/>
                    <a:pt x="3496" y="343"/>
                    <a:pt x="3524" y="347"/>
                  </a:cubicBezTo>
                  <a:lnTo>
                    <a:pt x="3536" y="347"/>
                  </a:lnTo>
                  <a:cubicBezTo>
                    <a:pt x="3763" y="347"/>
                    <a:pt x="3929" y="383"/>
                    <a:pt x="4072" y="478"/>
                  </a:cubicBezTo>
                  <a:cubicBezTo>
                    <a:pt x="4227" y="561"/>
                    <a:pt x="4358" y="716"/>
                    <a:pt x="4441" y="894"/>
                  </a:cubicBezTo>
                  <a:cubicBezTo>
                    <a:pt x="4501" y="1014"/>
                    <a:pt x="4548" y="1133"/>
                    <a:pt x="4560" y="1264"/>
                  </a:cubicBezTo>
                  <a:cubicBezTo>
                    <a:pt x="4584" y="1335"/>
                    <a:pt x="4644" y="1395"/>
                    <a:pt x="4727" y="1395"/>
                  </a:cubicBezTo>
                  <a:lnTo>
                    <a:pt x="4763" y="1395"/>
                  </a:lnTo>
                  <a:cubicBezTo>
                    <a:pt x="4846" y="1383"/>
                    <a:pt x="4906" y="1287"/>
                    <a:pt x="4894" y="1204"/>
                  </a:cubicBezTo>
                  <a:cubicBezTo>
                    <a:pt x="4858" y="1037"/>
                    <a:pt x="4822" y="883"/>
                    <a:pt x="4739" y="740"/>
                  </a:cubicBezTo>
                  <a:cubicBezTo>
                    <a:pt x="4620" y="525"/>
                    <a:pt x="4465" y="323"/>
                    <a:pt x="4251" y="192"/>
                  </a:cubicBezTo>
                  <a:cubicBezTo>
                    <a:pt x="4060" y="73"/>
                    <a:pt x="3834" y="13"/>
                    <a:pt x="3548" y="13"/>
                  </a:cubicBezTo>
                  <a:cubicBezTo>
                    <a:pt x="3514" y="10"/>
                    <a:pt x="3479" y="8"/>
                    <a:pt x="3445" y="8"/>
                  </a:cubicBezTo>
                  <a:cubicBezTo>
                    <a:pt x="3115" y="8"/>
                    <a:pt x="2805" y="165"/>
                    <a:pt x="2524" y="478"/>
                  </a:cubicBezTo>
                  <a:cubicBezTo>
                    <a:pt x="2322" y="240"/>
                    <a:pt x="2036" y="85"/>
                    <a:pt x="1703" y="25"/>
                  </a:cubicBezTo>
                  <a:cubicBezTo>
                    <a:pt x="1614" y="9"/>
                    <a:pt x="1527"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1" name="Google Shape;11621;p61"/>
          <p:cNvGrpSpPr/>
          <p:nvPr/>
        </p:nvGrpSpPr>
        <p:grpSpPr>
          <a:xfrm>
            <a:off x="2665165" y="3360146"/>
            <a:ext cx="281794" cy="349684"/>
            <a:chOff x="2665165" y="3360146"/>
            <a:chExt cx="281794" cy="349684"/>
          </a:xfrm>
        </p:grpSpPr>
        <p:sp>
          <p:nvSpPr>
            <p:cNvPr id="11622" name="Google Shape;11622;p61"/>
            <p:cNvSpPr/>
            <p:nvPr/>
          </p:nvSpPr>
          <p:spPr>
            <a:xfrm>
              <a:off x="2665165" y="3495547"/>
              <a:ext cx="136572" cy="214284"/>
            </a:xfrm>
            <a:custGeom>
              <a:avLst/>
              <a:gdLst/>
              <a:ahLst/>
              <a:cxnLst/>
              <a:rect l="l" t="t" r="r" b="b"/>
              <a:pathLst>
                <a:path w="4311" h="6764" extrusionOk="0">
                  <a:moveTo>
                    <a:pt x="3977" y="4453"/>
                  </a:moveTo>
                  <a:lnTo>
                    <a:pt x="3977" y="5049"/>
                  </a:lnTo>
                  <a:lnTo>
                    <a:pt x="2441" y="5049"/>
                  </a:lnTo>
                  <a:lnTo>
                    <a:pt x="2441" y="4453"/>
                  </a:lnTo>
                  <a:close/>
                  <a:moveTo>
                    <a:pt x="167" y="0"/>
                  </a:moveTo>
                  <a:cubicBezTo>
                    <a:pt x="84" y="0"/>
                    <a:pt x="0" y="72"/>
                    <a:pt x="0" y="167"/>
                  </a:cubicBezTo>
                  <a:lnTo>
                    <a:pt x="0" y="1727"/>
                  </a:lnTo>
                  <a:cubicBezTo>
                    <a:pt x="0" y="1858"/>
                    <a:pt x="84" y="2001"/>
                    <a:pt x="179" y="2072"/>
                  </a:cubicBezTo>
                  <a:lnTo>
                    <a:pt x="1167" y="2751"/>
                  </a:lnTo>
                  <a:cubicBezTo>
                    <a:pt x="1196" y="2770"/>
                    <a:pt x="1230" y="2779"/>
                    <a:pt x="1264" y="2779"/>
                  </a:cubicBezTo>
                  <a:cubicBezTo>
                    <a:pt x="1315" y="2779"/>
                    <a:pt x="1365" y="2758"/>
                    <a:pt x="1393" y="2715"/>
                  </a:cubicBezTo>
                  <a:cubicBezTo>
                    <a:pt x="1429" y="2632"/>
                    <a:pt x="1417" y="2536"/>
                    <a:pt x="1346" y="2489"/>
                  </a:cubicBezTo>
                  <a:lnTo>
                    <a:pt x="357" y="1798"/>
                  </a:lnTo>
                  <a:cubicBezTo>
                    <a:pt x="334" y="1786"/>
                    <a:pt x="322" y="1763"/>
                    <a:pt x="322" y="1727"/>
                  </a:cubicBezTo>
                  <a:lnTo>
                    <a:pt x="322" y="334"/>
                  </a:lnTo>
                  <a:lnTo>
                    <a:pt x="655" y="334"/>
                  </a:lnTo>
                  <a:cubicBezTo>
                    <a:pt x="679" y="334"/>
                    <a:pt x="679" y="346"/>
                    <a:pt x="679" y="346"/>
                  </a:cubicBezTo>
                  <a:lnTo>
                    <a:pt x="679" y="1251"/>
                  </a:lnTo>
                  <a:cubicBezTo>
                    <a:pt x="679" y="1382"/>
                    <a:pt x="750" y="1524"/>
                    <a:pt x="857" y="1596"/>
                  </a:cubicBezTo>
                  <a:lnTo>
                    <a:pt x="2286" y="2560"/>
                  </a:lnTo>
                  <a:cubicBezTo>
                    <a:pt x="2405" y="2656"/>
                    <a:pt x="2548" y="2691"/>
                    <a:pt x="2703" y="2691"/>
                  </a:cubicBezTo>
                  <a:lnTo>
                    <a:pt x="2822" y="2691"/>
                  </a:lnTo>
                  <a:cubicBezTo>
                    <a:pt x="2941" y="2691"/>
                    <a:pt x="3060" y="2656"/>
                    <a:pt x="3143" y="2560"/>
                  </a:cubicBezTo>
                  <a:lnTo>
                    <a:pt x="3191" y="2513"/>
                  </a:lnTo>
                  <a:cubicBezTo>
                    <a:pt x="3251" y="2453"/>
                    <a:pt x="3274" y="2382"/>
                    <a:pt x="3274" y="2298"/>
                  </a:cubicBezTo>
                  <a:cubicBezTo>
                    <a:pt x="3274" y="2203"/>
                    <a:pt x="3239" y="2132"/>
                    <a:pt x="3179" y="2072"/>
                  </a:cubicBezTo>
                  <a:lnTo>
                    <a:pt x="2524" y="1477"/>
                  </a:lnTo>
                  <a:lnTo>
                    <a:pt x="2524" y="1465"/>
                  </a:lnTo>
                  <a:lnTo>
                    <a:pt x="2727" y="1251"/>
                  </a:lnTo>
                  <a:lnTo>
                    <a:pt x="3905" y="2179"/>
                  </a:lnTo>
                  <a:cubicBezTo>
                    <a:pt x="3929" y="2191"/>
                    <a:pt x="3929" y="2215"/>
                    <a:pt x="3929" y="2251"/>
                  </a:cubicBezTo>
                  <a:lnTo>
                    <a:pt x="3929" y="4156"/>
                  </a:lnTo>
                  <a:lnTo>
                    <a:pt x="2643" y="4156"/>
                  </a:lnTo>
                  <a:lnTo>
                    <a:pt x="2643" y="3620"/>
                  </a:lnTo>
                  <a:cubicBezTo>
                    <a:pt x="2643" y="3465"/>
                    <a:pt x="2560" y="3346"/>
                    <a:pt x="2465" y="3263"/>
                  </a:cubicBezTo>
                  <a:lnTo>
                    <a:pt x="1869" y="2846"/>
                  </a:lnTo>
                  <a:cubicBezTo>
                    <a:pt x="1837" y="2828"/>
                    <a:pt x="1804" y="2818"/>
                    <a:pt x="1771" y="2818"/>
                  </a:cubicBezTo>
                  <a:cubicBezTo>
                    <a:pt x="1720" y="2818"/>
                    <a:pt x="1673" y="2842"/>
                    <a:pt x="1643" y="2894"/>
                  </a:cubicBezTo>
                  <a:cubicBezTo>
                    <a:pt x="1596" y="2965"/>
                    <a:pt x="1608" y="3072"/>
                    <a:pt x="1691" y="3108"/>
                  </a:cubicBezTo>
                  <a:lnTo>
                    <a:pt x="2286" y="3525"/>
                  </a:lnTo>
                  <a:cubicBezTo>
                    <a:pt x="2310" y="3548"/>
                    <a:pt x="2322" y="3584"/>
                    <a:pt x="2322" y="3620"/>
                  </a:cubicBezTo>
                  <a:lnTo>
                    <a:pt x="2322" y="4156"/>
                  </a:lnTo>
                  <a:lnTo>
                    <a:pt x="2286" y="4156"/>
                  </a:lnTo>
                  <a:cubicBezTo>
                    <a:pt x="2191" y="4156"/>
                    <a:pt x="2120" y="4227"/>
                    <a:pt x="2120" y="4322"/>
                  </a:cubicBezTo>
                  <a:lnTo>
                    <a:pt x="2120" y="5584"/>
                  </a:lnTo>
                  <a:lnTo>
                    <a:pt x="2120" y="6596"/>
                  </a:lnTo>
                  <a:cubicBezTo>
                    <a:pt x="2120" y="6680"/>
                    <a:pt x="2191" y="6763"/>
                    <a:pt x="2286" y="6763"/>
                  </a:cubicBezTo>
                  <a:lnTo>
                    <a:pt x="2834" y="6763"/>
                  </a:lnTo>
                  <a:cubicBezTo>
                    <a:pt x="2917" y="6763"/>
                    <a:pt x="3001" y="6680"/>
                    <a:pt x="3001" y="6596"/>
                  </a:cubicBezTo>
                  <a:cubicBezTo>
                    <a:pt x="3001" y="6501"/>
                    <a:pt x="2917" y="6430"/>
                    <a:pt x="2834" y="6430"/>
                  </a:cubicBezTo>
                  <a:lnTo>
                    <a:pt x="2429" y="6430"/>
                  </a:lnTo>
                  <a:lnTo>
                    <a:pt x="2429" y="5406"/>
                  </a:lnTo>
                  <a:lnTo>
                    <a:pt x="3965" y="5406"/>
                  </a:lnTo>
                  <a:lnTo>
                    <a:pt x="3965" y="5584"/>
                  </a:lnTo>
                  <a:lnTo>
                    <a:pt x="3965" y="6430"/>
                  </a:lnTo>
                  <a:lnTo>
                    <a:pt x="3477" y="6430"/>
                  </a:lnTo>
                  <a:cubicBezTo>
                    <a:pt x="3382" y="6430"/>
                    <a:pt x="3310" y="6501"/>
                    <a:pt x="3310" y="6596"/>
                  </a:cubicBezTo>
                  <a:cubicBezTo>
                    <a:pt x="3310" y="6680"/>
                    <a:pt x="3382" y="6763"/>
                    <a:pt x="3477" y="6763"/>
                  </a:cubicBezTo>
                  <a:lnTo>
                    <a:pt x="4144" y="6763"/>
                  </a:lnTo>
                  <a:cubicBezTo>
                    <a:pt x="4227" y="6763"/>
                    <a:pt x="4310" y="6680"/>
                    <a:pt x="4310" y="6596"/>
                  </a:cubicBezTo>
                  <a:lnTo>
                    <a:pt x="4310" y="5251"/>
                  </a:lnTo>
                  <a:lnTo>
                    <a:pt x="4286" y="4287"/>
                  </a:lnTo>
                  <a:lnTo>
                    <a:pt x="4286" y="2215"/>
                  </a:lnTo>
                  <a:cubicBezTo>
                    <a:pt x="4286" y="2084"/>
                    <a:pt x="4227" y="1965"/>
                    <a:pt x="4132" y="1894"/>
                  </a:cubicBezTo>
                  <a:lnTo>
                    <a:pt x="2846" y="881"/>
                  </a:lnTo>
                  <a:cubicBezTo>
                    <a:pt x="2818" y="859"/>
                    <a:pt x="2782" y="847"/>
                    <a:pt x="2746" y="847"/>
                  </a:cubicBezTo>
                  <a:cubicBezTo>
                    <a:pt x="2707" y="847"/>
                    <a:pt x="2669" y="862"/>
                    <a:pt x="2643" y="893"/>
                  </a:cubicBezTo>
                  <a:lnTo>
                    <a:pt x="2322" y="1203"/>
                  </a:lnTo>
                  <a:cubicBezTo>
                    <a:pt x="2262" y="1262"/>
                    <a:pt x="2215" y="1358"/>
                    <a:pt x="2215" y="1441"/>
                  </a:cubicBezTo>
                  <a:cubicBezTo>
                    <a:pt x="2215" y="1536"/>
                    <a:pt x="2262" y="1620"/>
                    <a:pt x="2322" y="1679"/>
                  </a:cubicBezTo>
                  <a:lnTo>
                    <a:pt x="2977" y="2275"/>
                  </a:lnTo>
                  <a:lnTo>
                    <a:pt x="2941" y="2322"/>
                  </a:lnTo>
                  <a:cubicBezTo>
                    <a:pt x="2905" y="2358"/>
                    <a:pt x="2882" y="2370"/>
                    <a:pt x="2846" y="2370"/>
                  </a:cubicBezTo>
                  <a:lnTo>
                    <a:pt x="2727" y="2370"/>
                  </a:lnTo>
                  <a:cubicBezTo>
                    <a:pt x="2643" y="2370"/>
                    <a:pt x="2560" y="2334"/>
                    <a:pt x="2489" y="2298"/>
                  </a:cubicBezTo>
                  <a:lnTo>
                    <a:pt x="1060" y="1322"/>
                  </a:lnTo>
                  <a:cubicBezTo>
                    <a:pt x="1024" y="1310"/>
                    <a:pt x="1012" y="1286"/>
                    <a:pt x="1012" y="1251"/>
                  </a:cubicBezTo>
                  <a:lnTo>
                    <a:pt x="1012" y="346"/>
                  </a:lnTo>
                  <a:cubicBezTo>
                    <a:pt x="1012" y="155"/>
                    <a:pt x="869"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3" name="Google Shape;11623;p61"/>
            <p:cNvSpPr/>
            <p:nvPr/>
          </p:nvSpPr>
          <p:spPr>
            <a:xfrm>
              <a:off x="2811495" y="3494786"/>
              <a:ext cx="135464" cy="212003"/>
            </a:xfrm>
            <a:custGeom>
              <a:avLst/>
              <a:gdLst/>
              <a:ahLst/>
              <a:cxnLst/>
              <a:rect l="l" t="t" r="r" b="b"/>
              <a:pathLst>
                <a:path w="4276" h="6692" extrusionOk="0">
                  <a:moveTo>
                    <a:pt x="3942" y="322"/>
                  </a:moveTo>
                  <a:lnTo>
                    <a:pt x="3942" y="1727"/>
                  </a:lnTo>
                  <a:lnTo>
                    <a:pt x="3954" y="1727"/>
                  </a:lnTo>
                  <a:cubicBezTo>
                    <a:pt x="3954" y="1751"/>
                    <a:pt x="3942" y="1787"/>
                    <a:pt x="3918" y="1798"/>
                  </a:cubicBezTo>
                  <a:lnTo>
                    <a:pt x="1811" y="3251"/>
                  </a:lnTo>
                  <a:cubicBezTo>
                    <a:pt x="1692" y="3334"/>
                    <a:pt x="1632" y="3465"/>
                    <a:pt x="1632" y="3608"/>
                  </a:cubicBezTo>
                  <a:lnTo>
                    <a:pt x="1632" y="4144"/>
                  </a:lnTo>
                  <a:lnTo>
                    <a:pt x="334" y="4144"/>
                  </a:lnTo>
                  <a:lnTo>
                    <a:pt x="334" y="2239"/>
                  </a:lnTo>
                  <a:cubicBezTo>
                    <a:pt x="334" y="2215"/>
                    <a:pt x="358" y="2179"/>
                    <a:pt x="370" y="2168"/>
                  </a:cubicBezTo>
                  <a:lnTo>
                    <a:pt x="632" y="1965"/>
                  </a:lnTo>
                  <a:lnTo>
                    <a:pt x="1525" y="1251"/>
                  </a:lnTo>
                  <a:lnTo>
                    <a:pt x="1739" y="1453"/>
                  </a:lnTo>
                  <a:lnTo>
                    <a:pt x="1739" y="1465"/>
                  </a:lnTo>
                  <a:lnTo>
                    <a:pt x="1084" y="2060"/>
                  </a:lnTo>
                  <a:cubicBezTo>
                    <a:pt x="1025" y="2120"/>
                    <a:pt x="977" y="2203"/>
                    <a:pt x="977" y="2287"/>
                  </a:cubicBezTo>
                  <a:cubicBezTo>
                    <a:pt x="977" y="2382"/>
                    <a:pt x="1013" y="2453"/>
                    <a:pt x="1072" y="2513"/>
                  </a:cubicBezTo>
                  <a:lnTo>
                    <a:pt x="1108" y="2560"/>
                  </a:lnTo>
                  <a:cubicBezTo>
                    <a:pt x="1203" y="2644"/>
                    <a:pt x="1322" y="2691"/>
                    <a:pt x="1441" y="2691"/>
                  </a:cubicBezTo>
                  <a:lnTo>
                    <a:pt x="1561" y="2691"/>
                  </a:lnTo>
                  <a:cubicBezTo>
                    <a:pt x="1703" y="2691"/>
                    <a:pt x="1858" y="2644"/>
                    <a:pt x="1977" y="2560"/>
                  </a:cubicBezTo>
                  <a:lnTo>
                    <a:pt x="3406" y="1584"/>
                  </a:lnTo>
                  <a:cubicBezTo>
                    <a:pt x="3525" y="1513"/>
                    <a:pt x="3585" y="1382"/>
                    <a:pt x="3585" y="1251"/>
                  </a:cubicBezTo>
                  <a:lnTo>
                    <a:pt x="3585" y="334"/>
                  </a:lnTo>
                  <a:cubicBezTo>
                    <a:pt x="3585" y="322"/>
                    <a:pt x="3597" y="322"/>
                    <a:pt x="3597" y="322"/>
                  </a:cubicBezTo>
                  <a:close/>
                  <a:moveTo>
                    <a:pt x="1858" y="4477"/>
                  </a:moveTo>
                  <a:lnTo>
                    <a:pt x="1858" y="5073"/>
                  </a:lnTo>
                  <a:lnTo>
                    <a:pt x="322" y="5073"/>
                  </a:lnTo>
                  <a:lnTo>
                    <a:pt x="322" y="4477"/>
                  </a:lnTo>
                  <a:close/>
                  <a:moveTo>
                    <a:pt x="1858" y="5382"/>
                  </a:moveTo>
                  <a:lnTo>
                    <a:pt x="1858" y="6406"/>
                  </a:lnTo>
                  <a:lnTo>
                    <a:pt x="322" y="6406"/>
                  </a:lnTo>
                  <a:lnTo>
                    <a:pt x="322" y="5561"/>
                  </a:lnTo>
                  <a:lnTo>
                    <a:pt x="322" y="5382"/>
                  </a:lnTo>
                  <a:close/>
                  <a:moveTo>
                    <a:pt x="3620" y="1"/>
                  </a:moveTo>
                  <a:cubicBezTo>
                    <a:pt x="3418" y="1"/>
                    <a:pt x="3275" y="143"/>
                    <a:pt x="3275" y="334"/>
                  </a:cubicBezTo>
                  <a:lnTo>
                    <a:pt x="3275" y="1251"/>
                  </a:lnTo>
                  <a:cubicBezTo>
                    <a:pt x="3275" y="1275"/>
                    <a:pt x="3263" y="1310"/>
                    <a:pt x="3227" y="1322"/>
                  </a:cubicBezTo>
                  <a:lnTo>
                    <a:pt x="1799" y="2287"/>
                  </a:lnTo>
                  <a:cubicBezTo>
                    <a:pt x="1727" y="2334"/>
                    <a:pt x="1656" y="2358"/>
                    <a:pt x="1561" y="2358"/>
                  </a:cubicBezTo>
                  <a:lnTo>
                    <a:pt x="1441" y="2358"/>
                  </a:lnTo>
                  <a:cubicBezTo>
                    <a:pt x="1418" y="2358"/>
                    <a:pt x="1370" y="2346"/>
                    <a:pt x="1358" y="2322"/>
                  </a:cubicBezTo>
                  <a:lnTo>
                    <a:pt x="1311" y="2275"/>
                  </a:lnTo>
                  <a:lnTo>
                    <a:pt x="1965" y="1679"/>
                  </a:lnTo>
                  <a:cubicBezTo>
                    <a:pt x="2037" y="1620"/>
                    <a:pt x="2073" y="1525"/>
                    <a:pt x="2073" y="1441"/>
                  </a:cubicBezTo>
                  <a:cubicBezTo>
                    <a:pt x="2073" y="1346"/>
                    <a:pt x="2037" y="1263"/>
                    <a:pt x="1965" y="1203"/>
                  </a:cubicBezTo>
                  <a:lnTo>
                    <a:pt x="1656" y="894"/>
                  </a:lnTo>
                  <a:cubicBezTo>
                    <a:pt x="1622" y="860"/>
                    <a:pt x="1577" y="845"/>
                    <a:pt x="1534" y="845"/>
                  </a:cubicBezTo>
                  <a:cubicBezTo>
                    <a:pt x="1500" y="845"/>
                    <a:pt x="1467" y="854"/>
                    <a:pt x="1441" y="870"/>
                  </a:cubicBezTo>
                  <a:lnTo>
                    <a:pt x="429" y="1667"/>
                  </a:lnTo>
                  <a:lnTo>
                    <a:pt x="168" y="1870"/>
                  </a:lnTo>
                  <a:cubicBezTo>
                    <a:pt x="60" y="1941"/>
                    <a:pt x="1" y="2060"/>
                    <a:pt x="1" y="2203"/>
                  </a:cubicBezTo>
                  <a:lnTo>
                    <a:pt x="1" y="4263"/>
                  </a:lnTo>
                  <a:lnTo>
                    <a:pt x="1" y="5192"/>
                  </a:lnTo>
                  <a:lnTo>
                    <a:pt x="1" y="6525"/>
                  </a:lnTo>
                  <a:cubicBezTo>
                    <a:pt x="1" y="6620"/>
                    <a:pt x="72" y="6692"/>
                    <a:pt x="168" y="6692"/>
                  </a:cubicBezTo>
                  <a:lnTo>
                    <a:pt x="2025" y="6692"/>
                  </a:lnTo>
                  <a:cubicBezTo>
                    <a:pt x="2108" y="6692"/>
                    <a:pt x="2192" y="6620"/>
                    <a:pt x="2192" y="6525"/>
                  </a:cubicBezTo>
                  <a:lnTo>
                    <a:pt x="2192" y="5513"/>
                  </a:lnTo>
                  <a:lnTo>
                    <a:pt x="2192" y="4251"/>
                  </a:lnTo>
                  <a:cubicBezTo>
                    <a:pt x="2192" y="4168"/>
                    <a:pt x="2108" y="4084"/>
                    <a:pt x="2025" y="4084"/>
                  </a:cubicBezTo>
                  <a:lnTo>
                    <a:pt x="1953" y="4084"/>
                  </a:lnTo>
                  <a:lnTo>
                    <a:pt x="1953" y="3549"/>
                  </a:lnTo>
                  <a:cubicBezTo>
                    <a:pt x="1953" y="3525"/>
                    <a:pt x="1965" y="3477"/>
                    <a:pt x="1989" y="3465"/>
                  </a:cubicBezTo>
                  <a:lnTo>
                    <a:pt x="4097" y="2001"/>
                  </a:lnTo>
                  <a:cubicBezTo>
                    <a:pt x="4216" y="1929"/>
                    <a:pt x="4275" y="1798"/>
                    <a:pt x="4275" y="1667"/>
                  </a:cubicBezTo>
                  <a:lnTo>
                    <a:pt x="4275" y="96"/>
                  </a:lnTo>
                  <a:cubicBezTo>
                    <a:pt x="4275" y="72"/>
                    <a:pt x="4216" y="1"/>
                    <a:pt x="4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4" name="Google Shape;11624;p61"/>
            <p:cNvSpPr/>
            <p:nvPr/>
          </p:nvSpPr>
          <p:spPr>
            <a:xfrm>
              <a:off x="2731915" y="3360146"/>
              <a:ext cx="149403" cy="181812"/>
            </a:xfrm>
            <a:custGeom>
              <a:avLst/>
              <a:gdLst/>
              <a:ahLst/>
              <a:cxnLst/>
              <a:rect l="l" t="t" r="r" b="b"/>
              <a:pathLst>
                <a:path w="4716" h="5739" extrusionOk="0">
                  <a:moveTo>
                    <a:pt x="2358" y="0"/>
                  </a:moveTo>
                  <a:cubicBezTo>
                    <a:pt x="1156" y="0"/>
                    <a:pt x="155" y="893"/>
                    <a:pt x="13" y="2084"/>
                  </a:cubicBezTo>
                  <a:cubicBezTo>
                    <a:pt x="1" y="2179"/>
                    <a:pt x="72" y="2250"/>
                    <a:pt x="143" y="2262"/>
                  </a:cubicBezTo>
                  <a:cubicBezTo>
                    <a:pt x="155" y="2265"/>
                    <a:pt x="166" y="2266"/>
                    <a:pt x="176" y="2266"/>
                  </a:cubicBezTo>
                  <a:cubicBezTo>
                    <a:pt x="255" y="2266"/>
                    <a:pt x="312" y="2194"/>
                    <a:pt x="322" y="2131"/>
                  </a:cubicBezTo>
                  <a:cubicBezTo>
                    <a:pt x="441" y="1107"/>
                    <a:pt x="1322" y="333"/>
                    <a:pt x="2346" y="333"/>
                  </a:cubicBezTo>
                  <a:cubicBezTo>
                    <a:pt x="3477" y="333"/>
                    <a:pt x="4382" y="1250"/>
                    <a:pt x="4382" y="2369"/>
                  </a:cubicBezTo>
                  <a:cubicBezTo>
                    <a:pt x="4382" y="3262"/>
                    <a:pt x="3823" y="4036"/>
                    <a:pt x="2977" y="4322"/>
                  </a:cubicBezTo>
                  <a:cubicBezTo>
                    <a:pt x="2941" y="4334"/>
                    <a:pt x="2894" y="4346"/>
                    <a:pt x="2882" y="4393"/>
                  </a:cubicBezTo>
                  <a:lnTo>
                    <a:pt x="2346" y="5286"/>
                  </a:lnTo>
                  <a:lnTo>
                    <a:pt x="1810" y="4393"/>
                  </a:lnTo>
                  <a:cubicBezTo>
                    <a:pt x="1798" y="4370"/>
                    <a:pt x="1763" y="4334"/>
                    <a:pt x="1727" y="4322"/>
                  </a:cubicBezTo>
                  <a:cubicBezTo>
                    <a:pt x="989" y="4084"/>
                    <a:pt x="477" y="3477"/>
                    <a:pt x="334" y="2727"/>
                  </a:cubicBezTo>
                  <a:cubicBezTo>
                    <a:pt x="323" y="2650"/>
                    <a:pt x="252" y="2594"/>
                    <a:pt x="177" y="2594"/>
                  </a:cubicBezTo>
                  <a:cubicBezTo>
                    <a:pt x="170" y="2594"/>
                    <a:pt x="163" y="2595"/>
                    <a:pt x="155" y="2596"/>
                  </a:cubicBezTo>
                  <a:cubicBezTo>
                    <a:pt x="72" y="2608"/>
                    <a:pt x="13" y="2703"/>
                    <a:pt x="24" y="2774"/>
                  </a:cubicBezTo>
                  <a:cubicBezTo>
                    <a:pt x="179" y="3620"/>
                    <a:pt x="775" y="4322"/>
                    <a:pt x="1572" y="4608"/>
                  </a:cubicBezTo>
                  <a:lnTo>
                    <a:pt x="2215" y="5656"/>
                  </a:lnTo>
                  <a:cubicBezTo>
                    <a:pt x="2239" y="5703"/>
                    <a:pt x="2287" y="5739"/>
                    <a:pt x="2346" y="5739"/>
                  </a:cubicBezTo>
                  <a:cubicBezTo>
                    <a:pt x="2406" y="5739"/>
                    <a:pt x="2453" y="5703"/>
                    <a:pt x="2477" y="5656"/>
                  </a:cubicBezTo>
                  <a:lnTo>
                    <a:pt x="3120" y="4608"/>
                  </a:lnTo>
                  <a:cubicBezTo>
                    <a:pt x="4073" y="4274"/>
                    <a:pt x="4704" y="3381"/>
                    <a:pt x="4704" y="2369"/>
                  </a:cubicBezTo>
                  <a:cubicBezTo>
                    <a:pt x="4715" y="1060"/>
                    <a:pt x="3656" y="0"/>
                    <a:pt x="2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5" name="Google Shape;11625;p61"/>
            <p:cNvSpPr/>
            <p:nvPr/>
          </p:nvSpPr>
          <p:spPr>
            <a:xfrm>
              <a:off x="2760585" y="3389545"/>
              <a:ext cx="92442" cy="91333"/>
            </a:xfrm>
            <a:custGeom>
              <a:avLst/>
              <a:gdLst/>
              <a:ahLst/>
              <a:cxnLst/>
              <a:rect l="l" t="t" r="r" b="b"/>
              <a:pathLst>
                <a:path w="2918" h="2883" extrusionOk="0">
                  <a:moveTo>
                    <a:pt x="1453" y="679"/>
                  </a:moveTo>
                  <a:cubicBezTo>
                    <a:pt x="1858" y="679"/>
                    <a:pt x="2203" y="1025"/>
                    <a:pt x="2203" y="1430"/>
                  </a:cubicBezTo>
                  <a:cubicBezTo>
                    <a:pt x="2203" y="1846"/>
                    <a:pt x="1870" y="2168"/>
                    <a:pt x="1453" y="2168"/>
                  </a:cubicBezTo>
                  <a:cubicBezTo>
                    <a:pt x="1036" y="2168"/>
                    <a:pt x="715" y="1846"/>
                    <a:pt x="715" y="1430"/>
                  </a:cubicBezTo>
                  <a:cubicBezTo>
                    <a:pt x="715" y="1013"/>
                    <a:pt x="1036" y="679"/>
                    <a:pt x="1453" y="679"/>
                  </a:cubicBezTo>
                  <a:close/>
                  <a:moveTo>
                    <a:pt x="1453" y="1"/>
                  </a:moveTo>
                  <a:cubicBezTo>
                    <a:pt x="1370" y="1"/>
                    <a:pt x="1286" y="72"/>
                    <a:pt x="1286" y="167"/>
                  </a:cubicBezTo>
                  <a:lnTo>
                    <a:pt x="1286" y="382"/>
                  </a:lnTo>
                  <a:cubicBezTo>
                    <a:pt x="1108" y="417"/>
                    <a:pt x="953" y="477"/>
                    <a:pt x="810" y="572"/>
                  </a:cubicBezTo>
                  <a:lnTo>
                    <a:pt x="655" y="417"/>
                  </a:lnTo>
                  <a:cubicBezTo>
                    <a:pt x="626" y="388"/>
                    <a:pt x="584" y="373"/>
                    <a:pt x="542" y="373"/>
                  </a:cubicBezTo>
                  <a:cubicBezTo>
                    <a:pt x="501" y="373"/>
                    <a:pt x="459" y="388"/>
                    <a:pt x="429" y="417"/>
                  </a:cubicBezTo>
                  <a:cubicBezTo>
                    <a:pt x="370" y="477"/>
                    <a:pt x="370" y="572"/>
                    <a:pt x="429" y="632"/>
                  </a:cubicBezTo>
                  <a:lnTo>
                    <a:pt x="596" y="798"/>
                  </a:lnTo>
                  <a:cubicBezTo>
                    <a:pt x="489" y="929"/>
                    <a:pt x="429" y="1096"/>
                    <a:pt x="393" y="1275"/>
                  </a:cubicBezTo>
                  <a:lnTo>
                    <a:pt x="167" y="1275"/>
                  </a:lnTo>
                  <a:cubicBezTo>
                    <a:pt x="72" y="1275"/>
                    <a:pt x="0" y="1358"/>
                    <a:pt x="0" y="1441"/>
                  </a:cubicBezTo>
                  <a:cubicBezTo>
                    <a:pt x="0" y="1537"/>
                    <a:pt x="72" y="1608"/>
                    <a:pt x="167" y="1608"/>
                  </a:cubicBezTo>
                  <a:lnTo>
                    <a:pt x="381" y="1608"/>
                  </a:lnTo>
                  <a:cubicBezTo>
                    <a:pt x="417" y="1787"/>
                    <a:pt x="477" y="1953"/>
                    <a:pt x="572" y="2084"/>
                  </a:cubicBezTo>
                  <a:lnTo>
                    <a:pt x="417" y="2251"/>
                  </a:lnTo>
                  <a:cubicBezTo>
                    <a:pt x="358" y="2311"/>
                    <a:pt x="358" y="2406"/>
                    <a:pt x="417" y="2465"/>
                  </a:cubicBezTo>
                  <a:cubicBezTo>
                    <a:pt x="441" y="2501"/>
                    <a:pt x="489" y="2513"/>
                    <a:pt x="536" y="2513"/>
                  </a:cubicBezTo>
                  <a:cubicBezTo>
                    <a:pt x="572" y="2513"/>
                    <a:pt x="620" y="2501"/>
                    <a:pt x="655" y="2465"/>
                  </a:cubicBezTo>
                  <a:lnTo>
                    <a:pt x="810" y="2311"/>
                  </a:lnTo>
                  <a:cubicBezTo>
                    <a:pt x="953" y="2406"/>
                    <a:pt x="1108" y="2465"/>
                    <a:pt x="1286" y="2501"/>
                  </a:cubicBezTo>
                  <a:lnTo>
                    <a:pt x="1286" y="2727"/>
                  </a:lnTo>
                  <a:cubicBezTo>
                    <a:pt x="1286" y="2811"/>
                    <a:pt x="1370" y="2882"/>
                    <a:pt x="1453" y="2882"/>
                  </a:cubicBezTo>
                  <a:cubicBezTo>
                    <a:pt x="1548" y="2882"/>
                    <a:pt x="1620" y="2811"/>
                    <a:pt x="1620" y="2727"/>
                  </a:cubicBezTo>
                  <a:lnTo>
                    <a:pt x="1620" y="2501"/>
                  </a:lnTo>
                  <a:cubicBezTo>
                    <a:pt x="1798" y="2465"/>
                    <a:pt x="1965" y="2406"/>
                    <a:pt x="2096" y="2311"/>
                  </a:cubicBezTo>
                  <a:lnTo>
                    <a:pt x="2263" y="2465"/>
                  </a:lnTo>
                  <a:cubicBezTo>
                    <a:pt x="2286" y="2501"/>
                    <a:pt x="2334" y="2513"/>
                    <a:pt x="2382" y="2513"/>
                  </a:cubicBezTo>
                  <a:cubicBezTo>
                    <a:pt x="2417" y="2513"/>
                    <a:pt x="2465" y="2501"/>
                    <a:pt x="2501" y="2465"/>
                  </a:cubicBezTo>
                  <a:cubicBezTo>
                    <a:pt x="2560" y="2406"/>
                    <a:pt x="2560" y="2311"/>
                    <a:pt x="2501" y="2251"/>
                  </a:cubicBezTo>
                  <a:lnTo>
                    <a:pt x="2334" y="2084"/>
                  </a:lnTo>
                  <a:cubicBezTo>
                    <a:pt x="2441" y="1953"/>
                    <a:pt x="2501" y="1787"/>
                    <a:pt x="2525" y="1608"/>
                  </a:cubicBezTo>
                  <a:lnTo>
                    <a:pt x="2751" y="1608"/>
                  </a:lnTo>
                  <a:cubicBezTo>
                    <a:pt x="2834" y="1608"/>
                    <a:pt x="2918" y="1537"/>
                    <a:pt x="2918" y="1441"/>
                  </a:cubicBezTo>
                  <a:cubicBezTo>
                    <a:pt x="2882" y="1358"/>
                    <a:pt x="2822" y="1275"/>
                    <a:pt x="2739" y="1275"/>
                  </a:cubicBezTo>
                  <a:lnTo>
                    <a:pt x="2513" y="1275"/>
                  </a:lnTo>
                  <a:cubicBezTo>
                    <a:pt x="2477" y="1096"/>
                    <a:pt x="2417" y="941"/>
                    <a:pt x="2322" y="798"/>
                  </a:cubicBezTo>
                  <a:lnTo>
                    <a:pt x="2489" y="632"/>
                  </a:lnTo>
                  <a:cubicBezTo>
                    <a:pt x="2548" y="572"/>
                    <a:pt x="2548" y="477"/>
                    <a:pt x="2489" y="417"/>
                  </a:cubicBezTo>
                  <a:cubicBezTo>
                    <a:pt x="2459" y="388"/>
                    <a:pt x="2417" y="373"/>
                    <a:pt x="2376" y="373"/>
                  </a:cubicBezTo>
                  <a:cubicBezTo>
                    <a:pt x="2334" y="373"/>
                    <a:pt x="2292" y="388"/>
                    <a:pt x="2263" y="417"/>
                  </a:cubicBezTo>
                  <a:lnTo>
                    <a:pt x="2096" y="572"/>
                  </a:lnTo>
                  <a:cubicBezTo>
                    <a:pt x="1965" y="477"/>
                    <a:pt x="1798" y="417"/>
                    <a:pt x="1620" y="382"/>
                  </a:cubicBezTo>
                  <a:lnTo>
                    <a:pt x="1620" y="167"/>
                  </a:lnTo>
                  <a:cubicBezTo>
                    <a:pt x="1620" y="72"/>
                    <a:pt x="1548"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6" name="Google Shape;11626;p61"/>
            <p:cNvSpPr/>
            <p:nvPr/>
          </p:nvSpPr>
          <p:spPr>
            <a:xfrm>
              <a:off x="2789636" y="3417836"/>
              <a:ext cx="33961" cy="33993"/>
            </a:xfrm>
            <a:custGeom>
              <a:avLst/>
              <a:gdLst/>
              <a:ahLst/>
              <a:cxnLst/>
              <a:rect l="l" t="t" r="r" b="b"/>
              <a:pathLst>
                <a:path w="1072" h="1073" extrusionOk="0">
                  <a:moveTo>
                    <a:pt x="536" y="346"/>
                  </a:moveTo>
                  <a:cubicBezTo>
                    <a:pt x="655" y="346"/>
                    <a:pt x="750" y="429"/>
                    <a:pt x="750" y="548"/>
                  </a:cubicBezTo>
                  <a:cubicBezTo>
                    <a:pt x="750" y="656"/>
                    <a:pt x="643" y="763"/>
                    <a:pt x="536" y="763"/>
                  </a:cubicBezTo>
                  <a:cubicBezTo>
                    <a:pt x="417" y="763"/>
                    <a:pt x="334" y="667"/>
                    <a:pt x="334" y="548"/>
                  </a:cubicBezTo>
                  <a:cubicBezTo>
                    <a:pt x="334" y="429"/>
                    <a:pt x="417" y="346"/>
                    <a:pt x="536" y="346"/>
                  </a:cubicBezTo>
                  <a:close/>
                  <a:moveTo>
                    <a:pt x="536" y="1"/>
                  </a:moveTo>
                  <a:cubicBezTo>
                    <a:pt x="238" y="1"/>
                    <a:pt x="0" y="239"/>
                    <a:pt x="0" y="537"/>
                  </a:cubicBezTo>
                  <a:cubicBezTo>
                    <a:pt x="0" y="834"/>
                    <a:pt x="238" y="1072"/>
                    <a:pt x="536" y="1072"/>
                  </a:cubicBezTo>
                  <a:cubicBezTo>
                    <a:pt x="834" y="1072"/>
                    <a:pt x="1072" y="834"/>
                    <a:pt x="1072" y="537"/>
                  </a:cubicBezTo>
                  <a:cubicBezTo>
                    <a:pt x="1072" y="251"/>
                    <a:pt x="822"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27" name="Google Shape;11627;p61"/>
          <p:cNvGrpSpPr/>
          <p:nvPr/>
        </p:nvGrpSpPr>
        <p:grpSpPr>
          <a:xfrm>
            <a:off x="7156344" y="3347696"/>
            <a:ext cx="264465" cy="353074"/>
            <a:chOff x="7156344" y="3347696"/>
            <a:chExt cx="264465" cy="353074"/>
          </a:xfrm>
        </p:grpSpPr>
        <p:sp>
          <p:nvSpPr>
            <p:cNvPr id="11628" name="Google Shape;11628;p61"/>
            <p:cNvSpPr/>
            <p:nvPr/>
          </p:nvSpPr>
          <p:spPr>
            <a:xfrm>
              <a:off x="7248754" y="3468397"/>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9" name="Google Shape;11629;p61"/>
            <p:cNvSpPr/>
            <p:nvPr/>
          </p:nvSpPr>
          <p:spPr>
            <a:xfrm>
              <a:off x="7314775" y="3468397"/>
              <a:ext cx="10201" cy="15872"/>
            </a:xfrm>
            <a:custGeom>
              <a:avLst/>
              <a:gdLst/>
              <a:ahLst/>
              <a:cxnLst/>
              <a:rect l="l" t="t" r="r" b="b"/>
              <a:pathLst>
                <a:path w="322" h="501" extrusionOk="0">
                  <a:moveTo>
                    <a:pt x="155" y="0"/>
                  </a:moveTo>
                  <a:cubicBezTo>
                    <a:pt x="72" y="0"/>
                    <a:pt x="1" y="72"/>
                    <a:pt x="1" y="155"/>
                  </a:cubicBezTo>
                  <a:lnTo>
                    <a:pt x="1" y="334"/>
                  </a:lnTo>
                  <a:cubicBezTo>
                    <a:pt x="1" y="429"/>
                    <a:pt x="72" y="500"/>
                    <a:pt x="155" y="500"/>
                  </a:cubicBezTo>
                  <a:cubicBezTo>
                    <a:pt x="251" y="500"/>
                    <a:pt x="322" y="429"/>
                    <a:pt x="322" y="334"/>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0" name="Google Shape;11630;p61"/>
            <p:cNvSpPr/>
            <p:nvPr/>
          </p:nvSpPr>
          <p:spPr>
            <a:xfrm>
              <a:off x="7156344" y="3347696"/>
              <a:ext cx="264465" cy="353074"/>
            </a:xfrm>
            <a:custGeom>
              <a:avLst/>
              <a:gdLst/>
              <a:ahLst/>
              <a:cxnLst/>
              <a:rect l="l" t="t" r="r" b="b"/>
              <a:pathLst>
                <a:path w="8348" h="11145" extrusionOk="0">
                  <a:moveTo>
                    <a:pt x="4111" y="310"/>
                  </a:moveTo>
                  <a:cubicBezTo>
                    <a:pt x="4118" y="310"/>
                    <a:pt x="4125" y="310"/>
                    <a:pt x="4132" y="310"/>
                  </a:cubicBezTo>
                  <a:cubicBezTo>
                    <a:pt x="5573" y="322"/>
                    <a:pt x="6740" y="1512"/>
                    <a:pt x="6740" y="2953"/>
                  </a:cubicBezTo>
                  <a:lnTo>
                    <a:pt x="6740" y="3643"/>
                  </a:lnTo>
                  <a:lnTo>
                    <a:pt x="6526" y="3643"/>
                  </a:lnTo>
                  <a:cubicBezTo>
                    <a:pt x="6430" y="3643"/>
                    <a:pt x="6311" y="3632"/>
                    <a:pt x="6216" y="3596"/>
                  </a:cubicBezTo>
                  <a:cubicBezTo>
                    <a:pt x="5859" y="3489"/>
                    <a:pt x="4978" y="3167"/>
                    <a:pt x="4359" y="2119"/>
                  </a:cubicBezTo>
                  <a:cubicBezTo>
                    <a:pt x="4311" y="2048"/>
                    <a:pt x="4299" y="1977"/>
                    <a:pt x="4299" y="1905"/>
                  </a:cubicBezTo>
                  <a:lnTo>
                    <a:pt x="4299" y="1548"/>
                  </a:lnTo>
                  <a:cubicBezTo>
                    <a:pt x="4299" y="1453"/>
                    <a:pt x="4228" y="1381"/>
                    <a:pt x="4132" y="1381"/>
                  </a:cubicBezTo>
                  <a:cubicBezTo>
                    <a:pt x="4049" y="1381"/>
                    <a:pt x="3966" y="1453"/>
                    <a:pt x="3966" y="1548"/>
                  </a:cubicBezTo>
                  <a:lnTo>
                    <a:pt x="3966" y="1905"/>
                  </a:lnTo>
                  <a:cubicBezTo>
                    <a:pt x="3966" y="1977"/>
                    <a:pt x="3954" y="2060"/>
                    <a:pt x="3906" y="2119"/>
                  </a:cubicBezTo>
                  <a:cubicBezTo>
                    <a:pt x="3275" y="3167"/>
                    <a:pt x="2406" y="3489"/>
                    <a:pt x="2049" y="3596"/>
                  </a:cubicBezTo>
                  <a:cubicBezTo>
                    <a:pt x="1942" y="3632"/>
                    <a:pt x="1846" y="3643"/>
                    <a:pt x="1739" y="3643"/>
                  </a:cubicBezTo>
                  <a:lnTo>
                    <a:pt x="1620" y="3643"/>
                  </a:lnTo>
                  <a:cubicBezTo>
                    <a:pt x="1584" y="3643"/>
                    <a:pt x="1561" y="3643"/>
                    <a:pt x="1513" y="3655"/>
                  </a:cubicBezTo>
                  <a:lnTo>
                    <a:pt x="1513" y="2941"/>
                  </a:lnTo>
                  <a:cubicBezTo>
                    <a:pt x="1501" y="1496"/>
                    <a:pt x="2680" y="310"/>
                    <a:pt x="4111" y="310"/>
                  </a:cubicBezTo>
                  <a:close/>
                  <a:moveTo>
                    <a:pt x="1799" y="5013"/>
                  </a:moveTo>
                  <a:cubicBezTo>
                    <a:pt x="1882" y="5322"/>
                    <a:pt x="2049" y="5620"/>
                    <a:pt x="2275" y="5894"/>
                  </a:cubicBezTo>
                  <a:cubicBezTo>
                    <a:pt x="2168" y="6013"/>
                    <a:pt x="2025" y="6084"/>
                    <a:pt x="1858" y="6084"/>
                  </a:cubicBezTo>
                  <a:cubicBezTo>
                    <a:pt x="1561" y="6084"/>
                    <a:pt x="1323" y="5846"/>
                    <a:pt x="1323" y="5548"/>
                  </a:cubicBezTo>
                  <a:cubicBezTo>
                    <a:pt x="1323" y="5275"/>
                    <a:pt x="1525" y="5060"/>
                    <a:pt x="1799" y="5013"/>
                  </a:cubicBezTo>
                  <a:close/>
                  <a:moveTo>
                    <a:pt x="6454" y="5013"/>
                  </a:moveTo>
                  <a:cubicBezTo>
                    <a:pt x="6704" y="5037"/>
                    <a:pt x="6918" y="5263"/>
                    <a:pt x="6918" y="5548"/>
                  </a:cubicBezTo>
                  <a:cubicBezTo>
                    <a:pt x="6918" y="5846"/>
                    <a:pt x="6680" y="6084"/>
                    <a:pt x="6383" y="6084"/>
                  </a:cubicBezTo>
                  <a:cubicBezTo>
                    <a:pt x="6216" y="6084"/>
                    <a:pt x="6073" y="6013"/>
                    <a:pt x="5978" y="5894"/>
                  </a:cubicBezTo>
                  <a:cubicBezTo>
                    <a:pt x="6204" y="5632"/>
                    <a:pt x="6347" y="5334"/>
                    <a:pt x="6454" y="5013"/>
                  </a:cubicBezTo>
                  <a:close/>
                  <a:moveTo>
                    <a:pt x="4132" y="2381"/>
                  </a:moveTo>
                  <a:cubicBezTo>
                    <a:pt x="4823" y="3453"/>
                    <a:pt x="5752" y="3810"/>
                    <a:pt x="6145" y="3905"/>
                  </a:cubicBezTo>
                  <a:cubicBezTo>
                    <a:pt x="6276" y="3941"/>
                    <a:pt x="6406" y="3965"/>
                    <a:pt x="6549" y="3965"/>
                  </a:cubicBezTo>
                  <a:lnTo>
                    <a:pt x="6668" y="3965"/>
                  </a:lnTo>
                  <a:cubicBezTo>
                    <a:pt x="6740" y="3965"/>
                    <a:pt x="6811" y="4001"/>
                    <a:pt x="6871" y="4060"/>
                  </a:cubicBezTo>
                  <a:cubicBezTo>
                    <a:pt x="6930" y="4120"/>
                    <a:pt x="6942" y="4191"/>
                    <a:pt x="6942" y="4263"/>
                  </a:cubicBezTo>
                  <a:cubicBezTo>
                    <a:pt x="6930" y="4405"/>
                    <a:pt x="6799" y="4501"/>
                    <a:pt x="6645" y="4501"/>
                  </a:cubicBezTo>
                  <a:lnTo>
                    <a:pt x="6573" y="4501"/>
                  </a:lnTo>
                  <a:cubicBezTo>
                    <a:pt x="6573" y="4417"/>
                    <a:pt x="6514" y="4346"/>
                    <a:pt x="6430" y="4322"/>
                  </a:cubicBezTo>
                  <a:cubicBezTo>
                    <a:pt x="6335" y="4322"/>
                    <a:pt x="6264" y="4382"/>
                    <a:pt x="6252" y="4477"/>
                  </a:cubicBezTo>
                  <a:cubicBezTo>
                    <a:pt x="6204" y="5001"/>
                    <a:pt x="5966" y="5489"/>
                    <a:pt x="5573" y="5858"/>
                  </a:cubicBezTo>
                  <a:cubicBezTo>
                    <a:pt x="5192" y="6215"/>
                    <a:pt x="4680" y="6430"/>
                    <a:pt x="4144" y="6430"/>
                  </a:cubicBezTo>
                  <a:cubicBezTo>
                    <a:pt x="3585" y="6430"/>
                    <a:pt x="3073" y="6227"/>
                    <a:pt x="2692" y="5858"/>
                  </a:cubicBezTo>
                  <a:cubicBezTo>
                    <a:pt x="2299" y="5501"/>
                    <a:pt x="2061" y="5013"/>
                    <a:pt x="2025" y="4477"/>
                  </a:cubicBezTo>
                  <a:cubicBezTo>
                    <a:pt x="2025" y="4389"/>
                    <a:pt x="1943" y="4321"/>
                    <a:pt x="1865" y="4321"/>
                  </a:cubicBezTo>
                  <a:cubicBezTo>
                    <a:pt x="1859" y="4321"/>
                    <a:pt x="1852" y="4321"/>
                    <a:pt x="1846" y="4322"/>
                  </a:cubicBezTo>
                  <a:cubicBezTo>
                    <a:pt x="1751" y="4322"/>
                    <a:pt x="1680" y="4417"/>
                    <a:pt x="1692" y="4501"/>
                  </a:cubicBezTo>
                  <a:lnTo>
                    <a:pt x="1620" y="4501"/>
                  </a:lnTo>
                  <a:cubicBezTo>
                    <a:pt x="1465" y="4501"/>
                    <a:pt x="1334" y="4405"/>
                    <a:pt x="1323" y="4263"/>
                  </a:cubicBezTo>
                  <a:cubicBezTo>
                    <a:pt x="1311" y="4191"/>
                    <a:pt x="1334" y="4120"/>
                    <a:pt x="1394" y="4060"/>
                  </a:cubicBezTo>
                  <a:cubicBezTo>
                    <a:pt x="1442" y="4001"/>
                    <a:pt x="1513" y="3965"/>
                    <a:pt x="1608" y="3965"/>
                  </a:cubicBezTo>
                  <a:lnTo>
                    <a:pt x="1727" y="3965"/>
                  </a:lnTo>
                  <a:cubicBezTo>
                    <a:pt x="1858" y="3965"/>
                    <a:pt x="2001" y="3953"/>
                    <a:pt x="2120" y="3905"/>
                  </a:cubicBezTo>
                  <a:cubicBezTo>
                    <a:pt x="2513" y="3810"/>
                    <a:pt x="3430" y="3453"/>
                    <a:pt x="4132" y="2381"/>
                  </a:cubicBezTo>
                  <a:close/>
                  <a:moveTo>
                    <a:pt x="5740" y="6108"/>
                  </a:moveTo>
                  <a:cubicBezTo>
                    <a:pt x="5871" y="6251"/>
                    <a:pt x="6037" y="6346"/>
                    <a:pt x="6228" y="6382"/>
                  </a:cubicBezTo>
                  <a:cubicBezTo>
                    <a:pt x="6287" y="6739"/>
                    <a:pt x="6406" y="6953"/>
                    <a:pt x="6526" y="7203"/>
                  </a:cubicBezTo>
                  <a:cubicBezTo>
                    <a:pt x="6645" y="7418"/>
                    <a:pt x="6764" y="7656"/>
                    <a:pt x="6871" y="8061"/>
                  </a:cubicBezTo>
                  <a:lnTo>
                    <a:pt x="5680" y="7644"/>
                  </a:lnTo>
                  <a:cubicBezTo>
                    <a:pt x="5478" y="7573"/>
                    <a:pt x="5323" y="7358"/>
                    <a:pt x="5323" y="7144"/>
                  </a:cubicBezTo>
                  <a:lnTo>
                    <a:pt x="5323" y="6430"/>
                  </a:lnTo>
                  <a:cubicBezTo>
                    <a:pt x="5478" y="6334"/>
                    <a:pt x="5621" y="6227"/>
                    <a:pt x="5740" y="6108"/>
                  </a:cubicBezTo>
                  <a:close/>
                  <a:moveTo>
                    <a:pt x="4978" y="6584"/>
                  </a:moveTo>
                  <a:lnTo>
                    <a:pt x="4978" y="7144"/>
                  </a:lnTo>
                  <a:cubicBezTo>
                    <a:pt x="4978" y="7442"/>
                    <a:pt x="5144" y="7715"/>
                    <a:pt x="5383" y="7870"/>
                  </a:cubicBezTo>
                  <a:cubicBezTo>
                    <a:pt x="5252" y="8132"/>
                    <a:pt x="4847" y="8727"/>
                    <a:pt x="4049" y="9370"/>
                  </a:cubicBezTo>
                  <a:cubicBezTo>
                    <a:pt x="3823" y="9180"/>
                    <a:pt x="3644" y="8989"/>
                    <a:pt x="3489" y="8823"/>
                  </a:cubicBezTo>
                  <a:cubicBezTo>
                    <a:pt x="3132" y="8406"/>
                    <a:pt x="2930" y="8061"/>
                    <a:pt x="2823" y="7870"/>
                  </a:cubicBezTo>
                  <a:cubicBezTo>
                    <a:pt x="3073" y="7715"/>
                    <a:pt x="3228" y="7442"/>
                    <a:pt x="3228" y="7144"/>
                  </a:cubicBezTo>
                  <a:lnTo>
                    <a:pt x="3228" y="6584"/>
                  </a:lnTo>
                  <a:cubicBezTo>
                    <a:pt x="3513" y="6691"/>
                    <a:pt x="3811" y="6751"/>
                    <a:pt x="4109" y="6751"/>
                  </a:cubicBezTo>
                  <a:cubicBezTo>
                    <a:pt x="4418" y="6751"/>
                    <a:pt x="4716" y="6691"/>
                    <a:pt x="4978" y="6584"/>
                  </a:cubicBezTo>
                  <a:close/>
                  <a:moveTo>
                    <a:pt x="4144" y="0"/>
                  </a:moveTo>
                  <a:cubicBezTo>
                    <a:pt x="2525" y="0"/>
                    <a:pt x="1203" y="1322"/>
                    <a:pt x="1203" y="2941"/>
                  </a:cubicBezTo>
                  <a:lnTo>
                    <a:pt x="1203" y="3822"/>
                  </a:lnTo>
                  <a:lnTo>
                    <a:pt x="1192" y="3834"/>
                  </a:lnTo>
                  <a:cubicBezTo>
                    <a:pt x="1072" y="3953"/>
                    <a:pt x="1025" y="4132"/>
                    <a:pt x="1037" y="4298"/>
                  </a:cubicBezTo>
                  <a:cubicBezTo>
                    <a:pt x="1072" y="4536"/>
                    <a:pt x="1227" y="4727"/>
                    <a:pt x="1453" y="4798"/>
                  </a:cubicBezTo>
                  <a:cubicBezTo>
                    <a:pt x="1203" y="4953"/>
                    <a:pt x="1037" y="5227"/>
                    <a:pt x="1037" y="5548"/>
                  </a:cubicBezTo>
                  <a:cubicBezTo>
                    <a:pt x="1037" y="6025"/>
                    <a:pt x="1430" y="6406"/>
                    <a:pt x="1906" y="6406"/>
                  </a:cubicBezTo>
                  <a:cubicBezTo>
                    <a:pt x="2144" y="6406"/>
                    <a:pt x="2382" y="6299"/>
                    <a:pt x="2537" y="6120"/>
                  </a:cubicBezTo>
                  <a:cubicBezTo>
                    <a:pt x="2680" y="6239"/>
                    <a:pt x="2811" y="6346"/>
                    <a:pt x="2954" y="6441"/>
                  </a:cubicBezTo>
                  <a:lnTo>
                    <a:pt x="2954" y="7156"/>
                  </a:lnTo>
                  <a:cubicBezTo>
                    <a:pt x="2954" y="7370"/>
                    <a:pt x="2811" y="7584"/>
                    <a:pt x="2596" y="7656"/>
                  </a:cubicBezTo>
                  <a:lnTo>
                    <a:pt x="799" y="8299"/>
                  </a:lnTo>
                  <a:cubicBezTo>
                    <a:pt x="322" y="8466"/>
                    <a:pt x="1" y="8918"/>
                    <a:pt x="1" y="9442"/>
                  </a:cubicBezTo>
                  <a:lnTo>
                    <a:pt x="1" y="10966"/>
                  </a:lnTo>
                  <a:cubicBezTo>
                    <a:pt x="1" y="11049"/>
                    <a:pt x="72" y="11121"/>
                    <a:pt x="156" y="11121"/>
                  </a:cubicBezTo>
                  <a:cubicBezTo>
                    <a:pt x="251" y="11121"/>
                    <a:pt x="322" y="11049"/>
                    <a:pt x="322" y="10966"/>
                  </a:cubicBezTo>
                  <a:lnTo>
                    <a:pt x="322" y="9442"/>
                  </a:lnTo>
                  <a:cubicBezTo>
                    <a:pt x="322" y="9073"/>
                    <a:pt x="561" y="8727"/>
                    <a:pt x="918" y="8608"/>
                  </a:cubicBezTo>
                  <a:lnTo>
                    <a:pt x="1394" y="8442"/>
                  </a:lnTo>
                  <a:cubicBezTo>
                    <a:pt x="1477" y="8954"/>
                    <a:pt x="1573" y="9478"/>
                    <a:pt x="1692" y="9966"/>
                  </a:cubicBezTo>
                  <a:cubicBezTo>
                    <a:pt x="1704" y="10037"/>
                    <a:pt x="1775" y="10097"/>
                    <a:pt x="1858" y="10097"/>
                  </a:cubicBezTo>
                  <a:lnTo>
                    <a:pt x="1882" y="10097"/>
                  </a:lnTo>
                  <a:cubicBezTo>
                    <a:pt x="1977" y="10085"/>
                    <a:pt x="2037" y="9990"/>
                    <a:pt x="2001" y="9906"/>
                  </a:cubicBezTo>
                  <a:cubicBezTo>
                    <a:pt x="1894" y="9418"/>
                    <a:pt x="1799" y="8858"/>
                    <a:pt x="1704" y="8358"/>
                  </a:cubicBezTo>
                  <a:lnTo>
                    <a:pt x="1965" y="8263"/>
                  </a:lnTo>
                  <a:cubicBezTo>
                    <a:pt x="2275" y="9275"/>
                    <a:pt x="2656" y="10382"/>
                    <a:pt x="3180" y="11085"/>
                  </a:cubicBezTo>
                  <a:cubicBezTo>
                    <a:pt x="3216" y="11121"/>
                    <a:pt x="3251" y="11144"/>
                    <a:pt x="3311" y="11144"/>
                  </a:cubicBezTo>
                  <a:cubicBezTo>
                    <a:pt x="3347" y="11144"/>
                    <a:pt x="3394" y="11121"/>
                    <a:pt x="3418" y="11109"/>
                  </a:cubicBezTo>
                  <a:cubicBezTo>
                    <a:pt x="3489" y="11049"/>
                    <a:pt x="3513" y="10966"/>
                    <a:pt x="3454" y="10882"/>
                  </a:cubicBezTo>
                  <a:cubicBezTo>
                    <a:pt x="2894" y="10144"/>
                    <a:pt x="2466" y="8823"/>
                    <a:pt x="2275" y="8144"/>
                  </a:cubicBezTo>
                  <a:lnTo>
                    <a:pt x="2596" y="8025"/>
                  </a:lnTo>
                  <a:cubicBezTo>
                    <a:pt x="2704" y="8227"/>
                    <a:pt x="2930" y="8596"/>
                    <a:pt x="3311" y="9061"/>
                  </a:cubicBezTo>
                  <a:cubicBezTo>
                    <a:pt x="3835" y="9656"/>
                    <a:pt x="4740" y="10490"/>
                    <a:pt x="6216" y="11121"/>
                  </a:cubicBezTo>
                  <a:cubicBezTo>
                    <a:pt x="6228" y="11144"/>
                    <a:pt x="6264" y="11144"/>
                    <a:pt x="6276" y="11144"/>
                  </a:cubicBezTo>
                  <a:cubicBezTo>
                    <a:pt x="6335" y="11144"/>
                    <a:pt x="6395" y="11109"/>
                    <a:pt x="6430" y="11037"/>
                  </a:cubicBezTo>
                  <a:cubicBezTo>
                    <a:pt x="6454" y="10942"/>
                    <a:pt x="6430" y="10859"/>
                    <a:pt x="6335" y="10823"/>
                  </a:cubicBezTo>
                  <a:cubicBezTo>
                    <a:pt x="5502" y="10454"/>
                    <a:pt x="4847" y="10025"/>
                    <a:pt x="4359" y="9620"/>
                  </a:cubicBezTo>
                  <a:cubicBezTo>
                    <a:pt x="5204" y="8918"/>
                    <a:pt x="5621" y="8299"/>
                    <a:pt x="5775" y="8025"/>
                  </a:cubicBezTo>
                  <a:lnTo>
                    <a:pt x="6097" y="8144"/>
                  </a:lnTo>
                  <a:cubicBezTo>
                    <a:pt x="5918" y="8727"/>
                    <a:pt x="5728" y="9251"/>
                    <a:pt x="5502" y="9692"/>
                  </a:cubicBezTo>
                  <a:cubicBezTo>
                    <a:pt x="5454" y="9775"/>
                    <a:pt x="5502" y="9870"/>
                    <a:pt x="5573" y="9918"/>
                  </a:cubicBezTo>
                  <a:cubicBezTo>
                    <a:pt x="5609" y="9930"/>
                    <a:pt x="5621" y="9930"/>
                    <a:pt x="5656" y="9930"/>
                  </a:cubicBezTo>
                  <a:cubicBezTo>
                    <a:pt x="5716" y="9930"/>
                    <a:pt x="5775" y="9906"/>
                    <a:pt x="5799" y="9847"/>
                  </a:cubicBezTo>
                  <a:cubicBezTo>
                    <a:pt x="6014" y="9382"/>
                    <a:pt x="6216" y="8858"/>
                    <a:pt x="6395" y="8263"/>
                  </a:cubicBezTo>
                  <a:lnTo>
                    <a:pt x="7419" y="8620"/>
                  </a:lnTo>
                  <a:cubicBezTo>
                    <a:pt x="7776" y="8739"/>
                    <a:pt x="8014" y="9085"/>
                    <a:pt x="8014" y="9454"/>
                  </a:cubicBezTo>
                  <a:lnTo>
                    <a:pt x="8014" y="10978"/>
                  </a:lnTo>
                  <a:cubicBezTo>
                    <a:pt x="8014" y="11061"/>
                    <a:pt x="8097" y="11144"/>
                    <a:pt x="8181" y="11144"/>
                  </a:cubicBezTo>
                  <a:cubicBezTo>
                    <a:pt x="8276" y="11144"/>
                    <a:pt x="8347" y="11061"/>
                    <a:pt x="8347" y="10978"/>
                  </a:cubicBezTo>
                  <a:lnTo>
                    <a:pt x="8347" y="9454"/>
                  </a:lnTo>
                  <a:cubicBezTo>
                    <a:pt x="8288" y="8906"/>
                    <a:pt x="7978" y="8454"/>
                    <a:pt x="7478" y="8287"/>
                  </a:cubicBezTo>
                  <a:lnTo>
                    <a:pt x="7240" y="8192"/>
                  </a:lnTo>
                  <a:cubicBezTo>
                    <a:pt x="7145" y="7620"/>
                    <a:pt x="6978" y="7323"/>
                    <a:pt x="6847" y="7049"/>
                  </a:cubicBezTo>
                  <a:cubicBezTo>
                    <a:pt x="6740" y="6846"/>
                    <a:pt x="6633" y="6656"/>
                    <a:pt x="6585" y="6382"/>
                  </a:cubicBezTo>
                  <a:cubicBezTo>
                    <a:pt x="6978" y="6287"/>
                    <a:pt x="7264" y="5953"/>
                    <a:pt x="7264" y="5548"/>
                  </a:cubicBezTo>
                  <a:cubicBezTo>
                    <a:pt x="7264" y="5227"/>
                    <a:pt x="7097" y="4953"/>
                    <a:pt x="6847" y="4798"/>
                  </a:cubicBezTo>
                  <a:cubicBezTo>
                    <a:pt x="7061" y="4727"/>
                    <a:pt x="7240" y="4536"/>
                    <a:pt x="7264" y="4298"/>
                  </a:cubicBezTo>
                  <a:cubicBezTo>
                    <a:pt x="7276" y="4132"/>
                    <a:pt x="7216" y="3953"/>
                    <a:pt x="7109" y="3834"/>
                  </a:cubicBezTo>
                  <a:lnTo>
                    <a:pt x="7097" y="3822"/>
                  </a:lnTo>
                  <a:lnTo>
                    <a:pt x="7097" y="2941"/>
                  </a:lnTo>
                  <a:cubicBezTo>
                    <a:pt x="7097" y="1322"/>
                    <a:pt x="5775" y="0"/>
                    <a:pt x="4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1" name="Google Shape;11631;p61"/>
            <p:cNvSpPr/>
            <p:nvPr/>
          </p:nvSpPr>
          <p:spPr>
            <a:xfrm>
              <a:off x="7212544" y="3678023"/>
              <a:ext cx="14763" cy="21226"/>
            </a:xfrm>
            <a:custGeom>
              <a:avLst/>
              <a:gdLst/>
              <a:ahLst/>
              <a:cxnLst/>
              <a:rect l="l" t="t" r="r" b="b"/>
              <a:pathLst>
                <a:path w="466" h="670" extrusionOk="0">
                  <a:moveTo>
                    <a:pt x="175" y="1"/>
                  </a:moveTo>
                  <a:cubicBezTo>
                    <a:pt x="165" y="1"/>
                    <a:pt x="154" y="2"/>
                    <a:pt x="144" y="3"/>
                  </a:cubicBezTo>
                  <a:cubicBezTo>
                    <a:pt x="49" y="27"/>
                    <a:pt x="1" y="122"/>
                    <a:pt x="25" y="205"/>
                  </a:cubicBezTo>
                  <a:cubicBezTo>
                    <a:pt x="49" y="348"/>
                    <a:pt x="96" y="467"/>
                    <a:pt x="132" y="563"/>
                  </a:cubicBezTo>
                  <a:cubicBezTo>
                    <a:pt x="156" y="646"/>
                    <a:pt x="215" y="670"/>
                    <a:pt x="275" y="670"/>
                  </a:cubicBezTo>
                  <a:cubicBezTo>
                    <a:pt x="287" y="670"/>
                    <a:pt x="311" y="670"/>
                    <a:pt x="334" y="658"/>
                  </a:cubicBezTo>
                  <a:cubicBezTo>
                    <a:pt x="430" y="646"/>
                    <a:pt x="465" y="551"/>
                    <a:pt x="453" y="467"/>
                  </a:cubicBezTo>
                  <a:cubicBezTo>
                    <a:pt x="430" y="360"/>
                    <a:pt x="382" y="253"/>
                    <a:pt x="346" y="122"/>
                  </a:cubicBezTo>
                  <a:cubicBezTo>
                    <a:pt x="325" y="39"/>
                    <a:pt x="250"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2" name="Google Shape;11632;p61"/>
            <p:cNvSpPr/>
            <p:nvPr/>
          </p:nvSpPr>
          <p:spPr>
            <a:xfrm>
              <a:off x="7257055" y="3498936"/>
              <a:ext cx="60382" cy="32472"/>
            </a:xfrm>
            <a:custGeom>
              <a:avLst/>
              <a:gdLst/>
              <a:ahLst/>
              <a:cxnLst/>
              <a:rect l="l" t="t" r="r" b="b"/>
              <a:pathLst>
                <a:path w="1906" h="1025" extrusionOk="0">
                  <a:moveTo>
                    <a:pt x="1525" y="322"/>
                  </a:moveTo>
                  <a:cubicBezTo>
                    <a:pt x="1465" y="536"/>
                    <a:pt x="1227" y="703"/>
                    <a:pt x="941" y="703"/>
                  </a:cubicBezTo>
                  <a:cubicBezTo>
                    <a:pt x="656" y="703"/>
                    <a:pt x="430" y="548"/>
                    <a:pt x="346" y="322"/>
                  </a:cubicBezTo>
                  <a:close/>
                  <a:moveTo>
                    <a:pt x="168" y="1"/>
                  </a:moveTo>
                  <a:cubicBezTo>
                    <a:pt x="72" y="1"/>
                    <a:pt x="1" y="72"/>
                    <a:pt x="1" y="167"/>
                  </a:cubicBezTo>
                  <a:cubicBezTo>
                    <a:pt x="1" y="644"/>
                    <a:pt x="430" y="1025"/>
                    <a:pt x="953" y="1025"/>
                  </a:cubicBezTo>
                  <a:cubicBezTo>
                    <a:pt x="1477" y="1025"/>
                    <a:pt x="1906" y="644"/>
                    <a:pt x="1906" y="167"/>
                  </a:cubicBezTo>
                  <a:cubicBezTo>
                    <a:pt x="1894" y="72"/>
                    <a:pt x="1823"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3" name="Google Shape;11633;p61"/>
          <p:cNvGrpSpPr/>
          <p:nvPr/>
        </p:nvGrpSpPr>
        <p:grpSpPr>
          <a:xfrm>
            <a:off x="6703732" y="3346936"/>
            <a:ext cx="264813" cy="352693"/>
            <a:chOff x="6703732" y="3346936"/>
            <a:chExt cx="264813" cy="352693"/>
          </a:xfrm>
        </p:grpSpPr>
        <p:sp>
          <p:nvSpPr>
            <p:cNvPr id="11634" name="Google Shape;11634;p61"/>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5" name="Google Shape;11635;p61"/>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6" name="Google Shape;11636;p61"/>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7" name="Google Shape;11637;p61"/>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8" name="Google Shape;11638;p61"/>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39" name="Google Shape;11639;p61"/>
          <p:cNvGrpSpPr/>
          <p:nvPr/>
        </p:nvGrpSpPr>
        <p:grpSpPr>
          <a:xfrm>
            <a:off x="6252228" y="3346936"/>
            <a:ext cx="265193" cy="352693"/>
            <a:chOff x="6252228" y="3346936"/>
            <a:chExt cx="265193" cy="352693"/>
          </a:xfrm>
        </p:grpSpPr>
        <p:sp>
          <p:nvSpPr>
            <p:cNvPr id="11640" name="Google Shape;11640;p61"/>
            <p:cNvSpPr/>
            <p:nvPr/>
          </p:nvSpPr>
          <p:spPr>
            <a:xfrm>
              <a:off x="6252228" y="3346936"/>
              <a:ext cx="265193" cy="352693"/>
            </a:xfrm>
            <a:custGeom>
              <a:avLst/>
              <a:gdLst/>
              <a:ahLst/>
              <a:cxnLst/>
              <a:rect l="l" t="t" r="r" b="b"/>
              <a:pathLst>
                <a:path w="8371" h="11133" extrusionOk="0">
                  <a:moveTo>
                    <a:pt x="4156" y="2941"/>
                  </a:moveTo>
                  <a:cubicBezTo>
                    <a:pt x="4370" y="2941"/>
                    <a:pt x="4585" y="2953"/>
                    <a:pt x="4787" y="2965"/>
                  </a:cubicBezTo>
                  <a:cubicBezTo>
                    <a:pt x="3811" y="3560"/>
                    <a:pt x="2537" y="3775"/>
                    <a:pt x="2060" y="3810"/>
                  </a:cubicBezTo>
                  <a:lnTo>
                    <a:pt x="2060" y="3656"/>
                  </a:lnTo>
                  <a:cubicBezTo>
                    <a:pt x="2060" y="3358"/>
                    <a:pt x="2858" y="2941"/>
                    <a:pt x="4156" y="2941"/>
                  </a:cubicBezTo>
                  <a:close/>
                  <a:moveTo>
                    <a:pt x="4168" y="2239"/>
                  </a:moveTo>
                  <a:cubicBezTo>
                    <a:pt x="5466" y="2239"/>
                    <a:pt x="6275" y="2655"/>
                    <a:pt x="6275" y="2953"/>
                  </a:cubicBezTo>
                  <a:lnTo>
                    <a:pt x="6275" y="3108"/>
                  </a:lnTo>
                  <a:cubicBezTo>
                    <a:pt x="6242" y="3089"/>
                    <a:pt x="6207" y="3079"/>
                    <a:pt x="6173" y="3079"/>
                  </a:cubicBezTo>
                  <a:cubicBezTo>
                    <a:pt x="6123" y="3079"/>
                    <a:pt x="6078" y="3101"/>
                    <a:pt x="6049" y="3144"/>
                  </a:cubicBezTo>
                  <a:cubicBezTo>
                    <a:pt x="5989" y="3215"/>
                    <a:pt x="6001" y="3322"/>
                    <a:pt x="6073" y="3382"/>
                  </a:cubicBezTo>
                  <a:cubicBezTo>
                    <a:pt x="6168" y="3441"/>
                    <a:pt x="6275" y="3548"/>
                    <a:pt x="6275" y="3656"/>
                  </a:cubicBezTo>
                  <a:lnTo>
                    <a:pt x="6275" y="4358"/>
                  </a:lnTo>
                  <a:lnTo>
                    <a:pt x="4513" y="4358"/>
                  </a:lnTo>
                  <a:cubicBezTo>
                    <a:pt x="4430" y="4358"/>
                    <a:pt x="4346" y="4441"/>
                    <a:pt x="4346" y="4525"/>
                  </a:cubicBezTo>
                  <a:lnTo>
                    <a:pt x="4346" y="4549"/>
                  </a:lnTo>
                  <a:lnTo>
                    <a:pt x="3977" y="4549"/>
                  </a:lnTo>
                  <a:lnTo>
                    <a:pt x="3977" y="4525"/>
                  </a:lnTo>
                  <a:cubicBezTo>
                    <a:pt x="3977" y="4441"/>
                    <a:pt x="3906" y="4358"/>
                    <a:pt x="3811" y="4358"/>
                  </a:cubicBezTo>
                  <a:lnTo>
                    <a:pt x="2060" y="4358"/>
                  </a:lnTo>
                  <a:lnTo>
                    <a:pt x="2060" y="4156"/>
                  </a:lnTo>
                  <a:cubicBezTo>
                    <a:pt x="2560" y="4096"/>
                    <a:pt x="4168" y="3870"/>
                    <a:pt x="5263" y="3072"/>
                  </a:cubicBezTo>
                  <a:cubicBezTo>
                    <a:pt x="5347" y="3084"/>
                    <a:pt x="5442" y="3108"/>
                    <a:pt x="5513" y="3132"/>
                  </a:cubicBezTo>
                  <a:cubicBezTo>
                    <a:pt x="5526" y="3135"/>
                    <a:pt x="5539" y="3137"/>
                    <a:pt x="5552" y="3137"/>
                  </a:cubicBezTo>
                  <a:cubicBezTo>
                    <a:pt x="5624" y="3137"/>
                    <a:pt x="5695" y="3085"/>
                    <a:pt x="5716" y="3025"/>
                  </a:cubicBezTo>
                  <a:cubicBezTo>
                    <a:pt x="5751" y="2929"/>
                    <a:pt x="5692" y="2846"/>
                    <a:pt x="5620" y="2810"/>
                  </a:cubicBezTo>
                  <a:cubicBezTo>
                    <a:pt x="5204" y="2703"/>
                    <a:pt x="4704" y="2620"/>
                    <a:pt x="4168" y="2620"/>
                  </a:cubicBezTo>
                  <a:cubicBezTo>
                    <a:pt x="3370" y="2620"/>
                    <a:pt x="2525" y="2798"/>
                    <a:pt x="2072" y="3108"/>
                  </a:cubicBezTo>
                  <a:lnTo>
                    <a:pt x="2072" y="2953"/>
                  </a:lnTo>
                  <a:cubicBezTo>
                    <a:pt x="2072" y="2655"/>
                    <a:pt x="2882" y="2239"/>
                    <a:pt x="4168" y="2239"/>
                  </a:cubicBezTo>
                  <a:close/>
                  <a:moveTo>
                    <a:pt x="3668" y="4680"/>
                  </a:moveTo>
                  <a:lnTo>
                    <a:pt x="3668" y="4858"/>
                  </a:lnTo>
                  <a:cubicBezTo>
                    <a:pt x="3668" y="5156"/>
                    <a:pt x="3430" y="5394"/>
                    <a:pt x="3132" y="5394"/>
                  </a:cubicBezTo>
                  <a:cubicBezTo>
                    <a:pt x="2834" y="5394"/>
                    <a:pt x="2596" y="5156"/>
                    <a:pt x="2596" y="4858"/>
                  </a:cubicBezTo>
                  <a:lnTo>
                    <a:pt x="2596" y="4680"/>
                  </a:lnTo>
                  <a:lnTo>
                    <a:pt x="2965" y="4680"/>
                  </a:lnTo>
                  <a:lnTo>
                    <a:pt x="2965" y="4870"/>
                  </a:lnTo>
                  <a:cubicBezTo>
                    <a:pt x="2965" y="4965"/>
                    <a:pt x="3037" y="5037"/>
                    <a:pt x="3132" y="5037"/>
                  </a:cubicBezTo>
                  <a:cubicBezTo>
                    <a:pt x="3215" y="5037"/>
                    <a:pt x="3299" y="4965"/>
                    <a:pt x="3299" y="4870"/>
                  </a:cubicBezTo>
                  <a:lnTo>
                    <a:pt x="3299" y="4680"/>
                  </a:lnTo>
                  <a:close/>
                  <a:moveTo>
                    <a:pt x="5751" y="4680"/>
                  </a:moveTo>
                  <a:lnTo>
                    <a:pt x="5751" y="4858"/>
                  </a:lnTo>
                  <a:cubicBezTo>
                    <a:pt x="5751" y="5156"/>
                    <a:pt x="5513" y="5394"/>
                    <a:pt x="5216" y="5394"/>
                  </a:cubicBezTo>
                  <a:cubicBezTo>
                    <a:pt x="4918" y="5394"/>
                    <a:pt x="4680" y="5156"/>
                    <a:pt x="4680" y="4858"/>
                  </a:cubicBezTo>
                  <a:lnTo>
                    <a:pt x="4680" y="4680"/>
                  </a:lnTo>
                  <a:lnTo>
                    <a:pt x="5049" y="4680"/>
                  </a:lnTo>
                  <a:lnTo>
                    <a:pt x="5049" y="4870"/>
                  </a:lnTo>
                  <a:cubicBezTo>
                    <a:pt x="5049" y="4965"/>
                    <a:pt x="5120" y="5037"/>
                    <a:pt x="5216" y="5037"/>
                  </a:cubicBezTo>
                  <a:cubicBezTo>
                    <a:pt x="5299" y="5037"/>
                    <a:pt x="5382" y="4965"/>
                    <a:pt x="5382" y="4870"/>
                  </a:cubicBezTo>
                  <a:lnTo>
                    <a:pt x="5382" y="4680"/>
                  </a:lnTo>
                  <a:close/>
                  <a:moveTo>
                    <a:pt x="4168" y="334"/>
                  </a:moveTo>
                  <a:cubicBezTo>
                    <a:pt x="4299" y="334"/>
                    <a:pt x="4442" y="441"/>
                    <a:pt x="4585" y="536"/>
                  </a:cubicBezTo>
                  <a:cubicBezTo>
                    <a:pt x="4716" y="643"/>
                    <a:pt x="4870" y="750"/>
                    <a:pt x="5013" y="798"/>
                  </a:cubicBezTo>
                  <a:cubicBezTo>
                    <a:pt x="5088" y="814"/>
                    <a:pt x="5166" y="821"/>
                    <a:pt x="5245" y="821"/>
                  </a:cubicBezTo>
                  <a:cubicBezTo>
                    <a:pt x="5341" y="821"/>
                    <a:pt x="5439" y="811"/>
                    <a:pt x="5537" y="798"/>
                  </a:cubicBezTo>
                  <a:cubicBezTo>
                    <a:pt x="5626" y="786"/>
                    <a:pt x="5716" y="774"/>
                    <a:pt x="5796" y="774"/>
                  </a:cubicBezTo>
                  <a:cubicBezTo>
                    <a:pt x="5876" y="774"/>
                    <a:pt x="5948" y="786"/>
                    <a:pt x="6001" y="822"/>
                  </a:cubicBezTo>
                  <a:cubicBezTo>
                    <a:pt x="6109" y="881"/>
                    <a:pt x="6180" y="1048"/>
                    <a:pt x="6251" y="1215"/>
                  </a:cubicBezTo>
                  <a:cubicBezTo>
                    <a:pt x="6323" y="1370"/>
                    <a:pt x="6394" y="1536"/>
                    <a:pt x="6525" y="1655"/>
                  </a:cubicBezTo>
                  <a:cubicBezTo>
                    <a:pt x="6644" y="1774"/>
                    <a:pt x="6799" y="1846"/>
                    <a:pt x="6966" y="1929"/>
                  </a:cubicBezTo>
                  <a:cubicBezTo>
                    <a:pt x="7132" y="2001"/>
                    <a:pt x="7299" y="2072"/>
                    <a:pt x="7359" y="2179"/>
                  </a:cubicBezTo>
                  <a:cubicBezTo>
                    <a:pt x="7418" y="2286"/>
                    <a:pt x="7394" y="2465"/>
                    <a:pt x="7383" y="2644"/>
                  </a:cubicBezTo>
                  <a:cubicBezTo>
                    <a:pt x="7371" y="2822"/>
                    <a:pt x="7335" y="3001"/>
                    <a:pt x="7383" y="3156"/>
                  </a:cubicBezTo>
                  <a:cubicBezTo>
                    <a:pt x="7430" y="3322"/>
                    <a:pt x="7537" y="3453"/>
                    <a:pt x="7633" y="3596"/>
                  </a:cubicBezTo>
                  <a:cubicBezTo>
                    <a:pt x="7740" y="3739"/>
                    <a:pt x="7847" y="3870"/>
                    <a:pt x="7847" y="4013"/>
                  </a:cubicBezTo>
                  <a:cubicBezTo>
                    <a:pt x="7847" y="4144"/>
                    <a:pt x="7740" y="4275"/>
                    <a:pt x="7633" y="4429"/>
                  </a:cubicBezTo>
                  <a:cubicBezTo>
                    <a:pt x="7537" y="4560"/>
                    <a:pt x="7430" y="4703"/>
                    <a:pt x="7383" y="4858"/>
                  </a:cubicBezTo>
                  <a:cubicBezTo>
                    <a:pt x="7335" y="5025"/>
                    <a:pt x="7359" y="5191"/>
                    <a:pt x="7383" y="5382"/>
                  </a:cubicBezTo>
                  <a:cubicBezTo>
                    <a:pt x="7394" y="5561"/>
                    <a:pt x="7430" y="5739"/>
                    <a:pt x="7359" y="5834"/>
                  </a:cubicBezTo>
                  <a:cubicBezTo>
                    <a:pt x="7335" y="5870"/>
                    <a:pt x="7323" y="5882"/>
                    <a:pt x="7299" y="5894"/>
                  </a:cubicBezTo>
                  <a:cubicBezTo>
                    <a:pt x="7299" y="5680"/>
                    <a:pt x="7192" y="5525"/>
                    <a:pt x="7085" y="5406"/>
                  </a:cubicBezTo>
                  <a:cubicBezTo>
                    <a:pt x="7216" y="5299"/>
                    <a:pt x="7299" y="5144"/>
                    <a:pt x="7299" y="4941"/>
                  </a:cubicBezTo>
                  <a:cubicBezTo>
                    <a:pt x="7299" y="4620"/>
                    <a:pt x="7025" y="4346"/>
                    <a:pt x="6704" y="4346"/>
                  </a:cubicBezTo>
                  <a:lnTo>
                    <a:pt x="6597" y="4346"/>
                  </a:lnTo>
                  <a:lnTo>
                    <a:pt x="6597" y="2953"/>
                  </a:lnTo>
                  <a:cubicBezTo>
                    <a:pt x="6597" y="2286"/>
                    <a:pt x="5347" y="1929"/>
                    <a:pt x="4168" y="1929"/>
                  </a:cubicBezTo>
                  <a:cubicBezTo>
                    <a:pt x="2989" y="1929"/>
                    <a:pt x="1739" y="2286"/>
                    <a:pt x="1739" y="2953"/>
                  </a:cubicBezTo>
                  <a:lnTo>
                    <a:pt x="1739" y="4346"/>
                  </a:lnTo>
                  <a:lnTo>
                    <a:pt x="1644" y="4346"/>
                  </a:lnTo>
                  <a:cubicBezTo>
                    <a:pt x="1310" y="4346"/>
                    <a:pt x="1048" y="4620"/>
                    <a:pt x="1048" y="4941"/>
                  </a:cubicBezTo>
                  <a:cubicBezTo>
                    <a:pt x="1048" y="5120"/>
                    <a:pt x="1132" y="5287"/>
                    <a:pt x="1251" y="5406"/>
                  </a:cubicBezTo>
                  <a:cubicBezTo>
                    <a:pt x="1156" y="5525"/>
                    <a:pt x="1048" y="5692"/>
                    <a:pt x="1048" y="5894"/>
                  </a:cubicBezTo>
                  <a:lnTo>
                    <a:pt x="989" y="5834"/>
                  </a:lnTo>
                  <a:cubicBezTo>
                    <a:pt x="929" y="5739"/>
                    <a:pt x="941" y="5561"/>
                    <a:pt x="953" y="5382"/>
                  </a:cubicBezTo>
                  <a:cubicBezTo>
                    <a:pt x="965" y="5191"/>
                    <a:pt x="1001" y="5025"/>
                    <a:pt x="953" y="4858"/>
                  </a:cubicBezTo>
                  <a:cubicBezTo>
                    <a:pt x="917" y="4691"/>
                    <a:pt x="810" y="4560"/>
                    <a:pt x="703" y="4429"/>
                  </a:cubicBezTo>
                  <a:cubicBezTo>
                    <a:pt x="596" y="4275"/>
                    <a:pt x="489" y="4144"/>
                    <a:pt x="489" y="4013"/>
                  </a:cubicBezTo>
                  <a:cubicBezTo>
                    <a:pt x="489" y="3870"/>
                    <a:pt x="596" y="3739"/>
                    <a:pt x="703" y="3596"/>
                  </a:cubicBezTo>
                  <a:cubicBezTo>
                    <a:pt x="810" y="3453"/>
                    <a:pt x="917" y="3310"/>
                    <a:pt x="953" y="3156"/>
                  </a:cubicBezTo>
                  <a:cubicBezTo>
                    <a:pt x="1001" y="3001"/>
                    <a:pt x="989" y="2822"/>
                    <a:pt x="953" y="2644"/>
                  </a:cubicBezTo>
                  <a:cubicBezTo>
                    <a:pt x="941" y="2465"/>
                    <a:pt x="917" y="2286"/>
                    <a:pt x="989" y="2179"/>
                  </a:cubicBezTo>
                  <a:cubicBezTo>
                    <a:pt x="1048" y="2072"/>
                    <a:pt x="1215" y="2001"/>
                    <a:pt x="1370" y="1929"/>
                  </a:cubicBezTo>
                  <a:cubicBezTo>
                    <a:pt x="1537" y="1846"/>
                    <a:pt x="1703" y="1786"/>
                    <a:pt x="1822" y="1655"/>
                  </a:cubicBezTo>
                  <a:cubicBezTo>
                    <a:pt x="1941" y="1536"/>
                    <a:pt x="2013" y="1370"/>
                    <a:pt x="2084" y="1215"/>
                  </a:cubicBezTo>
                  <a:cubicBezTo>
                    <a:pt x="2156" y="1048"/>
                    <a:pt x="2239" y="881"/>
                    <a:pt x="2334" y="822"/>
                  </a:cubicBezTo>
                  <a:cubicBezTo>
                    <a:pt x="2392" y="790"/>
                    <a:pt x="2470" y="779"/>
                    <a:pt x="2557" y="779"/>
                  </a:cubicBezTo>
                  <a:cubicBezTo>
                    <a:pt x="2633" y="779"/>
                    <a:pt x="2716" y="787"/>
                    <a:pt x="2799" y="798"/>
                  </a:cubicBezTo>
                  <a:cubicBezTo>
                    <a:pt x="2907" y="805"/>
                    <a:pt x="3016" y="817"/>
                    <a:pt x="3121" y="817"/>
                  </a:cubicBezTo>
                  <a:cubicBezTo>
                    <a:pt x="3190" y="817"/>
                    <a:pt x="3257" y="812"/>
                    <a:pt x="3322" y="798"/>
                  </a:cubicBezTo>
                  <a:cubicBezTo>
                    <a:pt x="3489" y="750"/>
                    <a:pt x="3620" y="643"/>
                    <a:pt x="3751" y="536"/>
                  </a:cubicBezTo>
                  <a:cubicBezTo>
                    <a:pt x="3906" y="429"/>
                    <a:pt x="4037" y="334"/>
                    <a:pt x="4168" y="334"/>
                  </a:cubicBezTo>
                  <a:close/>
                  <a:moveTo>
                    <a:pt x="1548" y="5596"/>
                  </a:moveTo>
                  <a:cubicBezTo>
                    <a:pt x="1632" y="5656"/>
                    <a:pt x="1727" y="5775"/>
                    <a:pt x="1727" y="5930"/>
                  </a:cubicBezTo>
                  <a:cubicBezTo>
                    <a:pt x="1727" y="6013"/>
                    <a:pt x="1656" y="6108"/>
                    <a:pt x="1548" y="6108"/>
                  </a:cubicBezTo>
                  <a:cubicBezTo>
                    <a:pt x="1453" y="6108"/>
                    <a:pt x="1370" y="6013"/>
                    <a:pt x="1370" y="5930"/>
                  </a:cubicBezTo>
                  <a:cubicBezTo>
                    <a:pt x="1370" y="5763"/>
                    <a:pt x="1477" y="5656"/>
                    <a:pt x="1548" y="5596"/>
                  </a:cubicBezTo>
                  <a:close/>
                  <a:moveTo>
                    <a:pt x="6775" y="5596"/>
                  </a:moveTo>
                  <a:cubicBezTo>
                    <a:pt x="6847" y="5656"/>
                    <a:pt x="6954" y="5775"/>
                    <a:pt x="6954" y="5930"/>
                  </a:cubicBezTo>
                  <a:cubicBezTo>
                    <a:pt x="6966" y="6013"/>
                    <a:pt x="6882" y="6108"/>
                    <a:pt x="6775" y="6108"/>
                  </a:cubicBezTo>
                  <a:cubicBezTo>
                    <a:pt x="6668" y="6108"/>
                    <a:pt x="6597" y="6013"/>
                    <a:pt x="6597" y="5930"/>
                  </a:cubicBezTo>
                  <a:cubicBezTo>
                    <a:pt x="6597" y="5763"/>
                    <a:pt x="6704" y="5656"/>
                    <a:pt x="6775" y="5596"/>
                  </a:cubicBezTo>
                  <a:close/>
                  <a:moveTo>
                    <a:pt x="6394" y="6227"/>
                  </a:moveTo>
                  <a:cubicBezTo>
                    <a:pt x="6430" y="6275"/>
                    <a:pt x="6478" y="6311"/>
                    <a:pt x="6525" y="6346"/>
                  </a:cubicBezTo>
                  <a:cubicBezTo>
                    <a:pt x="6394" y="6477"/>
                    <a:pt x="6311" y="6632"/>
                    <a:pt x="6251" y="6787"/>
                  </a:cubicBezTo>
                  <a:cubicBezTo>
                    <a:pt x="6180" y="6954"/>
                    <a:pt x="6109" y="7120"/>
                    <a:pt x="6001" y="7180"/>
                  </a:cubicBezTo>
                  <a:cubicBezTo>
                    <a:pt x="5944" y="7212"/>
                    <a:pt x="5873" y="7223"/>
                    <a:pt x="5793" y="7223"/>
                  </a:cubicBezTo>
                  <a:cubicBezTo>
                    <a:pt x="5725" y="7223"/>
                    <a:pt x="5650" y="7215"/>
                    <a:pt x="5573" y="7204"/>
                  </a:cubicBezTo>
                  <a:cubicBezTo>
                    <a:pt x="5906" y="6954"/>
                    <a:pt x="6192" y="6632"/>
                    <a:pt x="6394" y="6227"/>
                  </a:cubicBezTo>
                  <a:close/>
                  <a:moveTo>
                    <a:pt x="1953" y="6239"/>
                  </a:moveTo>
                  <a:cubicBezTo>
                    <a:pt x="2132" y="6632"/>
                    <a:pt x="2418" y="6966"/>
                    <a:pt x="2775" y="7227"/>
                  </a:cubicBezTo>
                  <a:cubicBezTo>
                    <a:pt x="2724" y="7227"/>
                    <a:pt x="2674" y="7228"/>
                    <a:pt x="2626" y="7228"/>
                  </a:cubicBezTo>
                  <a:cubicBezTo>
                    <a:pt x="2506" y="7228"/>
                    <a:pt x="2399" y="7222"/>
                    <a:pt x="2322" y="7180"/>
                  </a:cubicBezTo>
                  <a:cubicBezTo>
                    <a:pt x="2227" y="7120"/>
                    <a:pt x="2144" y="6954"/>
                    <a:pt x="2072" y="6787"/>
                  </a:cubicBezTo>
                  <a:cubicBezTo>
                    <a:pt x="2001" y="6644"/>
                    <a:pt x="1941" y="6477"/>
                    <a:pt x="1822" y="6358"/>
                  </a:cubicBezTo>
                  <a:cubicBezTo>
                    <a:pt x="1882" y="6334"/>
                    <a:pt x="1929" y="6287"/>
                    <a:pt x="1953" y="6239"/>
                  </a:cubicBezTo>
                  <a:close/>
                  <a:moveTo>
                    <a:pt x="6704" y="4691"/>
                  </a:moveTo>
                  <a:cubicBezTo>
                    <a:pt x="6847" y="4691"/>
                    <a:pt x="6966" y="4810"/>
                    <a:pt x="6966" y="4965"/>
                  </a:cubicBezTo>
                  <a:cubicBezTo>
                    <a:pt x="6966" y="5108"/>
                    <a:pt x="6847" y="5227"/>
                    <a:pt x="6704" y="5227"/>
                  </a:cubicBezTo>
                  <a:lnTo>
                    <a:pt x="6597" y="5227"/>
                  </a:lnTo>
                  <a:lnTo>
                    <a:pt x="6597" y="5215"/>
                  </a:lnTo>
                  <a:cubicBezTo>
                    <a:pt x="6597" y="5120"/>
                    <a:pt x="6525" y="5049"/>
                    <a:pt x="6430" y="5049"/>
                  </a:cubicBezTo>
                  <a:cubicBezTo>
                    <a:pt x="6347" y="5049"/>
                    <a:pt x="6275" y="5120"/>
                    <a:pt x="6275" y="5215"/>
                  </a:cubicBezTo>
                  <a:cubicBezTo>
                    <a:pt x="6275" y="6370"/>
                    <a:pt x="5335" y="7311"/>
                    <a:pt x="4168" y="7311"/>
                  </a:cubicBezTo>
                  <a:cubicBezTo>
                    <a:pt x="4161" y="7311"/>
                    <a:pt x="4154" y="7311"/>
                    <a:pt x="4146" y="7311"/>
                  </a:cubicBezTo>
                  <a:cubicBezTo>
                    <a:pt x="3001" y="7311"/>
                    <a:pt x="2060" y="6363"/>
                    <a:pt x="2060" y="5215"/>
                  </a:cubicBezTo>
                  <a:cubicBezTo>
                    <a:pt x="2060" y="5120"/>
                    <a:pt x="1989" y="5049"/>
                    <a:pt x="1894" y="5049"/>
                  </a:cubicBezTo>
                  <a:cubicBezTo>
                    <a:pt x="1810" y="5049"/>
                    <a:pt x="1727" y="5120"/>
                    <a:pt x="1727" y="5215"/>
                  </a:cubicBezTo>
                  <a:lnTo>
                    <a:pt x="1727" y="5227"/>
                  </a:lnTo>
                  <a:lnTo>
                    <a:pt x="1632" y="5227"/>
                  </a:lnTo>
                  <a:cubicBezTo>
                    <a:pt x="1477" y="5227"/>
                    <a:pt x="1358" y="5108"/>
                    <a:pt x="1358" y="4965"/>
                  </a:cubicBezTo>
                  <a:cubicBezTo>
                    <a:pt x="1358" y="4810"/>
                    <a:pt x="1477" y="4691"/>
                    <a:pt x="1632" y="4691"/>
                  </a:cubicBezTo>
                  <a:lnTo>
                    <a:pt x="2251" y="4691"/>
                  </a:lnTo>
                  <a:lnTo>
                    <a:pt x="2251" y="4870"/>
                  </a:lnTo>
                  <a:cubicBezTo>
                    <a:pt x="2251" y="5346"/>
                    <a:pt x="2644" y="5739"/>
                    <a:pt x="3120" y="5739"/>
                  </a:cubicBezTo>
                  <a:cubicBezTo>
                    <a:pt x="3596" y="5739"/>
                    <a:pt x="3977" y="5346"/>
                    <a:pt x="3977" y="4870"/>
                  </a:cubicBezTo>
                  <a:lnTo>
                    <a:pt x="3977" y="4858"/>
                  </a:lnTo>
                  <a:lnTo>
                    <a:pt x="4346" y="4858"/>
                  </a:lnTo>
                  <a:lnTo>
                    <a:pt x="4346" y="4870"/>
                  </a:lnTo>
                  <a:cubicBezTo>
                    <a:pt x="4346" y="5346"/>
                    <a:pt x="4739" y="5739"/>
                    <a:pt x="5216" y="5739"/>
                  </a:cubicBezTo>
                  <a:cubicBezTo>
                    <a:pt x="5692" y="5739"/>
                    <a:pt x="6073" y="5346"/>
                    <a:pt x="6073" y="4870"/>
                  </a:cubicBezTo>
                  <a:lnTo>
                    <a:pt x="6073" y="4691"/>
                  </a:lnTo>
                  <a:close/>
                  <a:moveTo>
                    <a:pt x="5049" y="7477"/>
                  </a:moveTo>
                  <a:lnTo>
                    <a:pt x="5049" y="7942"/>
                  </a:lnTo>
                  <a:lnTo>
                    <a:pt x="4168" y="8811"/>
                  </a:lnTo>
                  <a:lnTo>
                    <a:pt x="3299" y="7942"/>
                  </a:lnTo>
                  <a:lnTo>
                    <a:pt x="3299" y="7477"/>
                  </a:lnTo>
                  <a:cubicBezTo>
                    <a:pt x="3561" y="7585"/>
                    <a:pt x="3858" y="7644"/>
                    <a:pt x="4168" y="7644"/>
                  </a:cubicBezTo>
                  <a:cubicBezTo>
                    <a:pt x="4489" y="7644"/>
                    <a:pt x="4787" y="7585"/>
                    <a:pt x="5049" y="7477"/>
                  </a:cubicBezTo>
                  <a:close/>
                  <a:moveTo>
                    <a:pt x="2953" y="8073"/>
                  </a:moveTo>
                  <a:lnTo>
                    <a:pt x="3918" y="9037"/>
                  </a:lnTo>
                  <a:lnTo>
                    <a:pt x="3192" y="9644"/>
                  </a:lnTo>
                  <a:lnTo>
                    <a:pt x="3156" y="9644"/>
                  </a:lnTo>
                  <a:lnTo>
                    <a:pt x="2608" y="8394"/>
                  </a:lnTo>
                  <a:lnTo>
                    <a:pt x="2941" y="8073"/>
                  </a:lnTo>
                  <a:close/>
                  <a:moveTo>
                    <a:pt x="2370" y="8620"/>
                  </a:moveTo>
                  <a:lnTo>
                    <a:pt x="2894" y="9787"/>
                  </a:lnTo>
                  <a:cubicBezTo>
                    <a:pt x="2941" y="9883"/>
                    <a:pt x="3025" y="9942"/>
                    <a:pt x="3132" y="9978"/>
                  </a:cubicBezTo>
                  <a:cubicBezTo>
                    <a:pt x="3156" y="9978"/>
                    <a:pt x="3180" y="9990"/>
                    <a:pt x="3203" y="9990"/>
                  </a:cubicBezTo>
                  <a:cubicBezTo>
                    <a:pt x="3275" y="9990"/>
                    <a:pt x="3358" y="9954"/>
                    <a:pt x="3418" y="9918"/>
                  </a:cubicBezTo>
                  <a:lnTo>
                    <a:pt x="4013" y="9406"/>
                  </a:lnTo>
                  <a:lnTo>
                    <a:pt x="4013" y="10633"/>
                  </a:lnTo>
                  <a:cubicBezTo>
                    <a:pt x="3001" y="10561"/>
                    <a:pt x="2179" y="9752"/>
                    <a:pt x="2072" y="8728"/>
                  </a:cubicBezTo>
                  <a:lnTo>
                    <a:pt x="2370" y="8620"/>
                  </a:lnTo>
                  <a:close/>
                  <a:moveTo>
                    <a:pt x="5394" y="8085"/>
                  </a:moveTo>
                  <a:lnTo>
                    <a:pt x="5716" y="8418"/>
                  </a:lnTo>
                  <a:lnTo>
                    <a:pt x="5692" y="8490"/>
                  </a:lnTo>
                  <a:cubicBezTo>
                    <a:pt x="5656" y="8573"/>
                    <a:pt x="5692" y="8668"/>
                    <a:pt x="5775" y="8692"/>
                  </a:cubicBezTo>
                  <a:cubicBezTo>
                    <a:pt x="5795" y="8702"/>
                    <a:pt x="5816" y="8706"/>
                    <a:pt x="5838" y="8706"/>
                  </a:cubicBezTo>
                  <a:cubicBezTo>
                    <a:pt x="5895" y="8706"/>
                    <a:pt x="5955" y="8676"/>
                    <a:pt x="5989" y="8632"/>
                  </a:cubicBezTo>
                  <a:lnTo>
                    <a:pt x="6287" y="8740"/>
                  </a:lnTo>
                  <a:cubicBezTo>
                    <a:pt x="6168" y="9740"/>
                    <a:pt x="5347" y="10537"/>
                    <a:pt x="4335" y="10633"/>
                  </a:cubicBezTo>
                  <a:lnTo>
                    <a:pt x="4335" y="9406"/>
                  </a:lnTo>
                  <a:lnTo>
                    <a:pt x="4930" y="9918"/>
                  </a:lnTo>
                  <a:cubicBezTo>
                    <a:pt x="4989" y="9954"/>
                    <a:pt x="5061" y="9990"/>
                    <a:pt x="5144" y="9990"/>
                  </a:cubicBezTo>
                  <a:cubicBezTo>
                    <a:pt x="5168" y="9990"/>
                    <a:pt x="5180" y="9990"/>
                    <a:pt x="5216" y="9978"/>
                  </a:cubicBezTo>
                  <a:cubicBezTo>
                    <a:pt x="5323" y="9942"/>
                    <a:pt x="5406" y="9883"/>
                    <a:pt x="5454" y="9787"/>
                  </a:cubicBezTo>
                  <a:lnTo>
                    <a:pt x="5704" y="9228"/>
                  </a:lnTo>
                  <a:cubicBezTo>
                    <a:pt x="5739" y="9144"/>
                    <a:pt x="5704" y="9049"/>
                    <a:pt x="5620" y="9025"/>
                  </a:cubicBezTo>
                  <a:cubicBezTo>
                    <a:pt x="5595" y="9016"/>
                    <a:pt x="5571" y="9011"/>
                    <a:pt x="5549" y="9011"/>
                  </a:cubicBezTo>
                  <a:cubicBezTo>
                    <a:pt x="5485" y="9011"/>
                    <a:pt x="5432" y="9047"/>
                    <a:pt x="5406" y="9109"/>
                  </a:cubicBezTo>
                  <a:lnTo>
                    <a:pt x="5156" y="9668"/>
                  </a:lnTo>
                  <a:lnTo>
                    <a:pt x="5120" y="9668"/>
                  </a:lnTo>
                  <a:lnTo>
                    <a:pt x="4394" y="9049"/>
                  </a:lnTo>
                  <a:lnTo>
                    <a:pt x="5358" y="8085"/>
                  </a:lnTo>
                  <a:close/>
                  <a:moveTo>
                    <a:pt x="4168" y="0"/>
                  </a:moveTo>
                  <a:cubicBezTo>
                    <a:pt x="3930" y="0"/>
                    <a:pt x="3739" y="155"/>
                    <a:pt x="3561" y="286"/>
                  </a:cubicBezTo>
                  <a:cubicBezTo>
                    <a:pt x="3442" y="381"/>
                    <a:pt x="3334" y="453"/>
                    <a:pt x="3239" y="477"/>
                  </a:cubicBezTo>
                  <a:cubicBezTo>
                    <a:pt x="3197" y="491"/>
                    <a:pt x="3148" y="495"/>
                    <a:pt x="3095" y="495"/>
                  </a:cubicBezTo>
                  <a:cubicBezTo>
                    <a:pt x="3012" y="495"/>
                    <a:pt x="2921" y="484"/>
                    <a:pt x="2834" y="477"/>
                  </a:cubicBezTo>
                  <a:cubicBezTo>
                    <a:pt x="2738" y="466"/>
                    <a:pt x="2639" y="456"/>
                    <a:pt x="2543" y="456"/>
                  </a:cubicBezTo>
                  <a:cubicBezTo>
                    <a:pt x="2414" y="456"/>
                    <a:pt x="2289" y="475"/>
                    <a:pt x="2179" y="536"/>
                  </a:cubicBezTo>
                  <a:cubicBezTo>
                    <a:pt x="1965" y="655"/>
                    <a:pt x="1882" y="881"/>
                    <a:pt x="1787" y="1072"/>
                  </a:cubicBezTo>
                  <a:cubicBezTo>
                    <a:pt x="1727" y="1203"/>
                    <a:pt x="1668" y="1346"/>
                    <a:pt x="1596" y="1417"/>
                  </a:cubicBezTo>
                  <a:cubicBezTo>
                    <a:pt x="1525" y="1489"/>
                    <a:pt x="1394" y="1548"/>
                    <a:pt x="1251" y="1608"/>
                  </a:cubicBezTo>
                  <a:cubicBezTo>
                    <a:pt x="1060" y="1703"/>
                    <a:pt x="834" y="1786"/>
                    <a:pt x="715" y="2001"/>
                  </a:cubicBezTo>
                  <a:cubicBezTo>
                    <a:pt x="596" y="2191"/>
                    <a:pt x="632" y="2429"/>
                    <a:pt x="655" y="2655"/>
                  </a:cubicBezTo>
                  <a:cubicBezTo>
                    <a:pt x="679" y="2798"/>
                    <a:pt x="691" y="2929"/>
                    <a:pt x="655" y="3048"/>
                  </a:cubicBezTo>
                  <a:cubicBezTo>
                    <a:pt x="632" y="3156"/>
                    <a:pt x="560" y="3263"/>
                    <a:pt x="465" y="3382"/>
                  </a:cubicBezTo>
                  <a:cubicBezTo>
                    <a:pt x="334" y="3560"/>
                    <a:pt x="179" y="3751"/>
                    <a:pt x="179" y="3989"/>
                  </a:cubicBezTo>
                  <a:cubicBezTo>
                    <a:pt x="179" y="4227"/>
                    <a:pt x="334" y="4418"/>
                    <a:pt x="465" y="4596"/>
                  </a:cubicBezTo>
                  <a:cubicBezTo>
                    <a:pt x="560" y="4715"/>
                    <a:pt x="632" y="4822"/>
                    <a:pt x="655" y="4930"/>
                  </a:cubicBezTo>
                  <a:cubicBezTo>
                    <a:pt x="691" y="5037"/>
                    <a:pt x="679" y="5180"/>
                    <a:pt x="655" y="5334"/>
                  </a:cubicBezTo>
                  <a:cubicBezTo>
                    <a:pt x="632" y="5561"/>
                    <a:pt x="620" y="5799"/>
                    <a:pt x="715" y="5989"/>
                  </a:cubicBezTo>
                  <a:cubicBezTo>
                    <a:pt x="834" y="6192"/>
                    <a:pt x="1060" y="6287"/>
                    <a:pt x="1251" y="6370"/>
                  </a:cubicBezTo>
                  <a:cubicBezTo>
                    <a:pt x="1394" y="6430"/>
                    <a:pt x="1525" y="6489"/>
                    <a:pt x="1596" y="6573"/>
                  </a:cubicBezTo>
                  <a:cubicBezTo>
                    <a:pt x="1668" y="6644"/>
                    <a:pt x="1727" y="6775"/>
                    <a:pt x="1787" y="6906"/>
                  </a:cubicBezTo>
                  <a:cubicBezTo>
                    <a:pt x="1882" y="7096"/>
                    <a:pt x="1965" y="7323"/>
                    <a:pt x="2179" y="7442"/>
                  </a:cubicBezTo>
                  <a:cubicBezTo>
                    <a:pt x="2286" y="7509"/>
                    <a:pt x="2408" y="7530"/>
                    <a:pt x="2534" y="7530"/>
                  </a:cubicBezTo>
                  <a:cubicBezTo>
                    <a:pt x="2633" y="7530"/>
                    <a:pt x="2735" y="7517"/>
                    <a:pt x="2834" y="7501"/>
                  </a:cubicBezTo>
                  <a:cubicBezTo>
                    <a:pt x="2882" y="7501"/>
                    <a:pt x="2918" y="7489"/>
                    <a:pt x="2965" y="7489"/>
                  </a:cubicBezTo>
                  <a:lnTo>
                    <a:pt x="2965" y="7716"/>
                  </a:lnTo>
                  <a:lnTo>
                    <a:pt x="2953" y="7716"/>
                  </a:lnTo>
                  <a:cubicBezTo>
                    <a:pt x="2858" y="7716"/>
                    <a:pt x="2775" y="7739"/>
                    <a:pt x="2715" y="7823"/>
                  </a:cubicBezTo>
                  <a:lnTo>
                    <a:pt x="2310" y="8216"/>
                  </a:lnTo>
                  <a:cubicBezTo>
                    <a:pt x="2299" y="8239"/>
                    <a:pt x="2287" y="8263"/>
                    <a:pt x="2263" y="8299"/>
                  </a:cubicBezTo>
                  <a:lnTo>
                    <a:pt x="810" y="8811"/>
                  </a:lnTo>
                  <a:cubicBezTo>
                    <a:pt x="334" y="8978"/>
                    <a:pt x="1" y="9442"/>
                    <a:pt x="1" y="9966"/>
                  </a:cubicBezTo>
                  <a:lnTo>
                    <a:pt x="1" y="10954"/>
                  </a:lnTo>
                  <a:cubicBezTo>
                    <a:pt x="1" y="11049"/>
                    <a:pt x="84" y="11121"/>
                    <a:pt x="167" y="11121"/>
                  </a:cubicBezTo>
                  <a:cubicBezTo>
                    <a:pt x="263" y="11121"/>
                    <a:pt x="334" y="11049"/>
                    <a:pt x="334" y="10954"/>
                  </a:cubicBezTo>
                  <a:lnTo>
                    <a:pt x="334" y="9966"/>
                  </a:lnTo>
                  <a:cubicBezTo>
                    <a:pt x="334" y="9859"/>
                    <a:pt x="346" y="9752"/>
                    <a:pt x="394" y="9644"/>
                  </a:cubicBezTo>
                  <a:lnTo>
                    <a:pt x="1215" y="10347"/>
                  </a:lnTo>
                  <a:cubicBezTo>
                    <a:pt x="1334" y="10454"/>
                    <a:pt x="1406" y="10597"/>
                    <a:pt x="1406" y="10752"/>
                  </a:cubicBezTo>
                  <a:lnTo>
                    <a:pt x="1406" y="10954"/>
                  </a:lnTo>
                  <a:cubicBezTo>
                    <a:pt x="1406" y="11049"/>
                    <a:pt x="1477" y="11121"/>
                    <a:pt x="1572" y="11121"/>
                  </a:cubicBezTo>
                  <a:cubicBezTo>
                    <a:pt x="1656" y="11121"/>
                    <a:pt x="1727" y="11049"/>
                    <a:pt x="1727" y="10954"/>
                  </a:cubicBezTo>
                  <a:lnTo>
                    <a:pt x="1727" y="10764"/>
                  </a:lnTo>
                  <a:cubicBezTo>
                    <a:pt x="1727" y="10514"/>
                    <a:pt x="1632" y="10275"/>
                    <a:pt x="1429" y="10109"/>
                  </a:cubicBezTo>
                  <a:lnTo>
                    <a:pt x="572" y="9371"/>
                  </a:lnTo>
                  <a:cubicBezTo>
                    <a:pt x="655" y="9263"/>
                    <a:pt x="798" y="9168"/>
                    <a:pt x="929" y="9132"/>
                  </a:cubicBezTo>
                  <a:lnTo>
                    <a:pt x="1775" y="8835"/>
                  </a:lnTo>
                  <a:cubicBezTo>
                    <a:pt x="1929" y="10037"/>
                    <a:pt x="2953" y="10954"/>
                    <a:pt x="4192" y="10954"/>
                  </a:cubicBezTo>
                  <a:cubicBezTo>
                    <a:pt x="5418" y="10954"/>
                    <a:pt x="6454" y="10037"/>
                    <a:pt x="6597" y="8835"/>
                  </a:cubicBezTo>
                  <a:lnTo>
                    <a:pt x="7442" y="9132"/>
                  </a:lnTo>
                  <a:cubicBezTo>
                    <a:pt x="7585" y="9168"/>
                    <a:pt x="7716" y="9263"/>
                    <a:pt x="7799" y="9371"/>
                  </a:cubicBezTo>
                  <a:lnTo>
                    <a:pt x="6942" y="10109"/>
                  </a:lnTo>
                  <a:cubicBezTo>
                    <a:pt x="6751" y="10275"/>
                    <a:pt x="6644" y="10514"/>
                    <a:pt x="6644" y="10764"/>
                  </a:cubicBezTo>
                  <a:lnTo>
                    <a:pt x="6644" y="10978"/>
                  </a:lnTo>
                  <a:cubicBezTo>
                    <a:pt x="6644" y="11061"/>
                    <a:pt x="6716" y="11133"/>
                    <a:pt x="6811" y="11133"/>
                  </a:cubicBezTo>
                  <a:cubicBezTo>
                    <a:pt x="6894" y="11133"/>
                    <a:pt x="6966" y="11061"/>
                    <a:pt x="6966" y="10978"/>
                  </a:cubicBezTo>
                  <a:lnTo>
                    <a:pt x="6966" y="10764"/>
                  </a:lnTo>
                  <a:cubicBezTo>
                    <a:pt x="6966" y="10621"/>
                    <a:pt x="7049" y="10466"/>
                    <a:pt x="7168" y="10359"/>
                  </a:cubicBezTo>
                  <a:lnTo>
                    <a:pt x="7978" y="9656"/>
                  </a:lnTo>
                  <a:cubicBezTo>
                    <a:pt x="8014" y="9763"/>
                    <a:pt x="8037" y="9871"/>
                    <a:pt x="8037" y="9978"/>
                  </a:cubicBezTo>
                  <a:lnTo>
                    <a:pt x="8037" y="10978"/>
                  </a:lnTo>
                  <a:cubicBezTo>
                    <a:pt x="8037" y="11061"/>
                    <a:pt x="8121" y="11133"/>
                    <a:pt x="8204" y="11133"/>
                  </a:cubicBezTo>
                  <a:cubicBezTo>
                    <a:pt x="8299" y="11133"/>
                    <a:pt x="8371" y="11061"/>
                    <a:pt x="8371" y="10978"/>
                  </a:cubicBezTo>
                  <a:lnTo>
                    <a:pt x="8371" y="9978"/>
                  </a:lnTo>
                  <a:cubicBezTo>
                    <a:pt x="8335" y="9454"/>
                    <a:pt x="8014" y="8990"/>
                    <a:pt x="7537" y="8835"/>
                  </a:cubicBezTo>
                  <a:lnTo>
                    <a:pt x="6073" y="8311"/>
                  </a:lnTo>
                  <a:cubicBezTo>
                    <a:pt x="6061" y="8275"/>
                    <a:pt x="6061" y="8263"/>
                    <a:pt x="6037" y="8239"/>
                  </a:cubicBezTo>
                  <a:lnTo>
                    <a:pt x="5632" y="7835"/>
                  </a:lnTo>
                  <a:cubicBezTo>
                    <a:pt x="5573" y="7775"/>
                    <a:pt x="5478" y="7728"/>
                    <a:pt x="5394" y="7728"/>
                  </a:cubicBezTo>
                  <a:lnTo>
                    <a:pt x="5382" y="7728"/>
                  </a:lnTo>
                  <a:lnTo>
                    <a:pt x="5382" y="7501"/>
                  </a:lnTo>
                  <a:cubicBezTo>
                    <a:pt x="5418" y="7501"/>
                    <a:pt x="5466" y="7525"/>
                    <a:pt x="5513" y="7525"/>
                  </a:cubicBezTo>
                  <a:cubicBezTo>
                    <a:pt x="5597" y="7537"/>
                    <a:pt x="5704" y="7537"/>
                    <a:pt x="5799" y="7537"/>
                  </a:cubicBezTo>
                  <a:cubicBezTo>
                    <a:pt x="5930" y="7537"/>
                    <a:pt x="6049" y="7525"/>
                    <a:pt x="6168" y="7442"/>
                  </a:cubicBezTo>
                  <a:cubicBezTo>
                    <a:pt x="6370" y="7323"/>
                    <a:pt x="6466" y="7108"/>
                    <a:pt x="6549" y="6906"/>
                  </a:cubicBezTo>
                  <a:cubicBezTo>
                    <a:pt x="6609" y="6775"/>
                    <a:pt x="6668" y="6644"/>
                    <a:pt x="6751" y="6573"/>
                  </a:cubicBezTo>
                  <a:cubicBezTo>
                    <a:pt x="6823" y="6489"/>
                    <a:pt x="6954" y="6430"/>
                    <a:pt x="7085" y="6370"/>
                  </a:cubicBezTo>
                  <a:cubicBezTo>
                    <a:pt x="7287" y="6287"/>
                    <a:pt x="7502" y="6192"/>
                    <a:pt x="7621" y="5989"/>
                  </a:cubicBezTo>
                  <a:cubicBezTo>
                    <a:pt x="7740" y="5799"/>
                    <a:pt x="7716" y="5561"/>
                    <a:pt x="7680" y="5334"/>
                  </a:cubicBezTo>
                  <a:cubicBezTo>
                    <a:pt x="7668" y="5180"/>
                    <a:pt x="7656" y="5049"/>
                    <a:pt x="7680" y="4930"/>
                  </a:cubicBezTo>
                  <a:cubicBezTo>
                    <a:pt x="7716" y="4822"/>
                    <a:pt x="7787" y="4727"/>
                    <a:pt x="7883" y="4596"/>
                  </a:cubicBezTo>
                  <a:cubicBezTo>
                    <a:pt x="8014" y="4418"/>
                    <a:pt x="8156" y="4227"/>
                    <a:pt x="8156" y="3989"/>
                  </a:cubicBezTo>
                  <a:cubicBezTo>
                    <a:pt x="8156" y="3751"/>
                    <a:pt x="8014" y="3560"/>
                    <a:pt x="7883" y="3382"/>
                  </a:cubicBezTo>
                  <a:cubicBezTo>
                    <a:pt x="7787" y="3263"/>
                    <a:pt x="7716" y="3156"/>
                    <a:pt x="7680" y="3048"/>
                  </a:cubicBezTo>
                  <a:cubicBezTo>
                    <a:pt x="7656" y="2953"/>
                    <a:pt x="7668" y="2798"/>
                    <a:pt x="7680" y="2655"/>
                  </a:cubicBezTo>
                  <a:cubicBezTo>
                    <a:pt x="7716" y="2429"/>
                    <a:pt x="7728" y="2191"/>
                    <a:pt x="7621" y="2001"/>
                  </a:cubicBezTo>
                  <a:cubicBezTo>
                    <a:pt x="7502" y="1786"/>
                    <a:pt x="7287" y="1703"/>
                    <a:pt x="7085" y="1608"/>
                  </a:cubicBezTo>
                  <a:cubicBezTo>
                    <a:pt x="6954" y="1548"/>
                    <a:pt x="6823" y="1489"/>
                    <a:pt x="6751" y="1417"/>
                  </a:cubicBezTo>
                  <a:cubicBezTo>
                    <a:pt x="6668" y="1346"/>
                    <a:pt x="6609" y="1203"/>
                    <a:pt x="6549" y="1072"/>
                  </a:cubicBezTo>
                  <a:cubicBezTo>
                    <a:pt x="6466" y="881"/>
                    <a:pt x="6370" y="655"/>
                    <a:pt x="6168" y="536"/>
                  </a:cubicBezTo>
                  <a:cubicBezTo>
                    <a:pt x="6064" y="471"/>
                    <a:pt x="5947" y="452"/>
                    <a:pt x="5825" y="452"/>
                  </a:cubicBezTo>
                  <a:cubicBezTo>
                    <a:pt x="5722" y="452"/>
                    <a:pt x="5616" y="466"/>
                    <a:pt x="5513" y="477"/>
                  </a:cubicBezTo>
                  <a:cubicBezTo>
                    <a:pt x="5419" y="484"/>
                    <a:pt x="5334" y="495"/>
                    <a:pt x="5255" y="495"/>
                  </a:cubicBezTo>
                  <a:cubicBezTo>
                    <a:pt x="5204" y="495"/>
                    <a:pt x="5155" y="491"/>
                    <a:pt x="5108" y="477"/>
                  </a:cubicBezTo>
                  <a:cubicBezTo>
                    <a:pt x="5001" y="453"/>
                    <a:pt x="4906" y="369"/>
                    <a:pt x="4787" y="286"/>
                  </a:cubicBezTo>
                  <a:cubicBezTo>
                    <a:pt x="4608" y="155"/>
                    <a:pt x="4406" y="0"/>
                    <a:pt x="4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1" name="Google Shape;11641;p61"/>
            <p:cNvSpPr/>
            <p:nvPr/>
          </p:nvSpPr>
          <p:spPr>
            <a:xfrm>
              <a:off x="6363140" y="3540532"/>
              <a:ext cx="43402" cy="15396"/>
            </a:xfrm>
            <a:custGeom>
              <a:avLst/>
              <a:gdLst/>
              <a:ahLst/>
              <a:cxnLst/>
              <a:rect l="l" t="t" r="r" b="b"/>
              <a:pathLst>
                <a:path w="1370" h="486" extrusionOk="0">
                  <a:moveTo>
                    <a:pt x="173" y="0"/>
                  </a:moveTo>
                  <a:cubicBezTo>
                    <a:pt x="131" y="0"/>
                    <a:pt x="89" y="15"/>
                    <a:pt x="60" y="45"/>
                  </a:cubicBezTo>
                  <a:cubicBezTo>
                    <a:pt x="0" y="104"/>
                    <a:pt x="0" y="200"/>
                    <a:pt x="60" y="259"/>
                  </a:cubicBezTo>
                  <a:cubicBezTo>
                    <a:pt x="191" y="402"/>
                    <a:pt x="429" y="485"/>
                    <a:pt x="703" y="485"/>
                  </a:cubicBezTo>
                  <a:cubicBezTo>
                    <a:pt x="964" y="485"/>
                    <a:pt x="1191" y="402"/>
                    <a:pt x="1334" y="259"/>
                  </a:cubicBezTo>
                  <a:cubicBezTo>
                    <a:pt x="1369" y="200"/>
                    <a:pt x="1369" y="104"/>
                    <a:pt x="1310" y="45"/>
                  </a:cubicBezTo>
                  <a:cubicBezTo>
                    <a:pt x="1280" y="15"/>
                    <a:pt x="1238" y="0"/>
                    <a:pt x="1197" y="0"/>
                  </a:cubicBezTo>
                  <a:cubicBezTo>
                    <a:pt x="1155" y="0"/>
                    <a:pt x="1113" y="15"/>
                    <a:pt x="1084" y="45"/>
                  </a:cubicBezTo>
                  <a:cubicBezTo>
                    <a:pt x="1024" y="104"/>
                    <a:pt x="881" y="176"/>
                    <a:pt x="691" y="176"/>
                  </a:cubicBezTo>
                  <a:cubicBezTo>
                    <a:pt x="488" y="176"/>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2" name="Google Shape;11642;p61"/>
            <p:cNvSpPr/>
            <p:nvPr/>
          </p:nvSpPr>
          <p:spPr>
            <a:xfrm>
              <a:off x="6406890" y="3468397"/>
              <a:ext cx="21511" cy="10201"/>
            </a:xfrm>
            <a:custGeom>
              <a:avLst/>
              <a:gdLst/>
              <a:ahLst/>
              <a:cxnLst/>
              <a:rect l="l" t="t" r="r" b="b"/>
              <a:pathLst>
                <a:path w="679" h="322" extrusionOk="0">
                  <a:moveTo>
                    <a:pt x="167" y="0"/>
                  </a:moveTo>
                  <a:cubicBezTo>
                    <a:pt x="84" y="0"/>
                    <a:pt x="0" y="72"/>
                    <a:pt x="0" y="155"/>
                  </a:cubicBezTo>
                  <a:cubicBezTo>
                    <a:pt x="0" y="250"/>
                    <a:pt x="84" y="322"/>
                    <a:pt x="167" y="322"/>
                  </a:cubicBezTo>
                  <a:lnTo>
                    <a:pt x="512" y="322"/>
                  </a:lnTo>
                  <a:cubicBezTo>
                    <a:pt x="596" y="322"/>
                    <a:pt x="679" y="250"/>
                    <a:pt x="679" y="155"/>
                  </a:cubicBezTo>
                  <a:cubicBezTo>
                    <a:pt x="679" y="72"/>
                    <a:pt x="59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3" name="Google Shape;11643;p61"/>
          <p:cNvGrpSpPr/>
          <p:nvPr/>
        </p:nvGrpSpPr>
        <p:grpSpPr>
          <a:xfrm>
            <a:off x="5801105" y="3347696"/>
            <a:ext cx="264813" cy="351933"/>
            <a:chOff x="5801105" y="3347696"/>
            <a:chExt cx="264813" cy="351933"/>
          </a:xfrm>
        </p:grpSpPr>
        <p:sp>
          <p:nvSpPr>
            <p:cNvPr id="11644" name="Google Shape;11644;p61"/>
            <p:cNvSpPr/>
            <p:nvPr/>
          </p:nvSpPr>
          <p:spPr>
            <a:xfrm>
              <a:off x="5911256" y="3534862"/>
              <a:ext cx="43782" cy="15396"/>
            </a:xfrm>
            <a:custGeom>
              <a:avLst/>
              <a:gdLst/>
              <a:ahLst/>
              <a:cxnLst/>
              <a:rect l="l" t="t" r="r" b="b"/>
              <a:pathLst>
                <a:path w="1382" h="486" extrusionOk="0">
                  <a:moveTo>
                    <a:pt x="177" y="1"/>
                  </a:moveTo>
                  <a:cubicBezTo>
                    <a:pt x="137" y="1"/>
                    <a:pt x="96" y="16"/>
                    <a:pt x="60" y="45"/>
                  </a:cubicBezTo>
                  <a:cubicBezTo>
                    <a:pt x="0" y="105"/>
                    <a:pt x="0" y="200"/>
                    <a:pt x="60" y="260"/>
                  </a:cubicBezTo>
                  <a:cubicBezTo>
                    <a:pt x="203" y="402"/>
                    <a:pt x="441" y="486"/>
                    <a:pt x="703" y="486"/>
                  </a:cubicBezTo>
                  <a:cubicBezTo>
                    <a:pt x="953" y="486"/>
                    <a:pt x="1191" y="402"/>
                    <a:pt x="1346" y="260"/>
                  </a:cubicBezTo>
                  <a:cubicBezTo>
                    <a:pt x="1382" y="200"/>
                    <a:pt x="1382" y="105"/>
                    <a:pt x="1322" y="45"/>
                  </a:cubicBezTo>
                  <a:cubicBezTo>
                    <a:pt x="1286" y="16"/>
                    <a:pt x="1245" y="1"/>
                    <a:pt x="1204" y="1"/>
                  </a:cubicBezTo>
                  <a:cubicBezTo>
                    <a:pt x="1164" y="1"/>
                    <a:pt x="1126" y="16"/>
                    <a:pt x="1096" y="45"/>
                  </a:cubicBezTo>
                  <a:cubicBezTo>
                    <a:pt x="1036" y="105"/>
                    <a:pt x="881" y="176"/>
                    <a:pt x="691" y="176"/>
                  </a:cubicBezTo>
                  <a:cubicBezTo>
                    <a:pt x="477" y="176"/>
                    <a:pt x="346" y="105"/>
                    <a:pt x="286" y="45"/>
                  </a:cubicBezTo>
                  <a:cubicBezTo>
                    <a:pt x="256" y="16"/>
                    <a:pt x="218"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5" name="Google Shape;11645;p61"/>
            <p:cNvSpPr/>
            <p:nvPr/>
          </p:nvSpPr>
          <p:spPr>
            <a:xfrm>
              <a:off x="5894656" y="3490256"/>
              <a:ext cx="10201" cy="16252"/>
            </a:xfrm>
            <a:custGeom>
              <a:avLst/>
              <a:gdLst/>
              <a:ahLst/>
              <a:cxnLst/>
              <a:rect l="l" t="t" r="r" b="b"/>
              <a:pathLst>
                <a:path w="322" h="513" extrusionOk="0">
                  <a:moveTo>
                    <a:pt x="155" y="1"/>
                  </a:moveTo>
                  <a:cubicBezTo>
                    <a:pt x="72" y="1"/>
                    <a:pt x="1" y="84"/>
                    <a:pt x="1" y="167"/>
                  </a:cubicBezTo>
                  <a:lnTo>
                    <a:pt x="1" y="346"/>
                  </a:lnTo>
                  <a:cubicBezTo>
                    <a:pt x="1" y="441"/>
                    <a:pt x="72" y="513"/>
                    <a:pt x="155" y="513"/>
                  </a:cubicBezTo>
                  <a:cubicBezTo>
                    <a:pt x="251" y="513"/>
                    <a:pt x="322" y="441"/>
                    <a:pt x="322" y="346"/>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6" name="Google Shape;11646;p61"/>
            <p:cNvSpPr/>
            <p:nvPr/>
          </p:nvSpPr>
          <p:spPr>
            <a:xfrm>
              <a:off x="5961057" y="3490256"/>
              <a:ext cx="10201" cy="16252"/>
            </a:xfrm>
            <a:custGeom>
              <a:avLst/>
              <a:gdLst/>
              <a:ahLst/>
              <a:cxnLst/>
              <a:rect l="l" t="t" r="r" b="b"/>
              <a:pathLst>
                <a:path w="322" h="513" extrusionOk="0">
                  <a:moveTo>
                    <a:pt x="167" y="1"/>
                  </a:moveTo>
                  <a:cubicBezTo>
                    <a:pt x="71" y="1"/>
                    <a:pt x="0" y="84"/>
                    <a:pt x="0" y="167"/>
                  </a:cubicBezTo>
                  <a:lnTo>
                    <a:pt x="0" y="346"/>
                  </a:lnTo>
                  <a:cubicBezTo>
                    <a:pt x="0" y="441"/>
                    <a:pt x="71" y="513"/>
                    <a:pt x="167" y="513"/>
                  </a:cubicBezTo>
                  <a:cubicBezTo>
                    <a:pt x="250" y="513"/>
                    <a:pt x="321" y="441"/>
                    <a:pt x="321" y="346"/>
                  </a:cubicBezTo>
                  <a:lnTo>
                    <a:pt x="321" y="167"/>
                  </a:lnTo>
                  <a:cubicBezTo>
                    <a:pt x="321"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7" name="Google Shape;11647;p61"/>
            <p:cNvSpPr/>
            <p:nvPr/>
          </p:nvSpPr>
          <p:spPr>
            <a:xfrm>
              <a:off x="5801105" y="3347696"/>
              <a:ext cx="264813" cy="351933"/>
            </a:xfrm>
            <a:custGeom>
              <a:avLst/>
              <a:gdLst/>
              <a:ahLst/>
              <a:cxnLst/>
              <a:rect l="l" t="t" r="r" b="b"/>
              <a:pathLst>
                <a:path w="8359" h="11109" extrusionOk="0">
                  <a:moveTo>
                    <a:pt x="4608" y="310"/>
                  </a:moveTo>
                  <a:cubicBezTo>
                    <a:pt x="5061" y="310"/>
                    <a:pt x="5442" y="619"/>
                    <a:pt x="5549" y="1048"/>
                  </a:cubicBezTo>
                  <a:cubicBezTo>
                    <a:pt x="5559" y="1124"/>
                    <a:pt x="5621" y="1177"/>
                    <a:pt x="5689" y="1177"/>
                  </a:cubicBezTo>
                  <a:cubicBezTo>
                    <a:pt x="5706" y="1177"/>
                    <a:pt x="5723" y="1174"/>
                    <a:pt x="5740" y="1167"/>
                  </a:cubicBezTo>
                  <a:cubicBezTo>
                    <a:pt x="5835" y="1155"/>
                    <a:pt x="5894" y="1072"/>
                    <a:pt x="5859" y="976"/>
                  </a:cubicBezTo>
                  <a:cubicBezTo>
                    <a:pt x="5847" y="929"/>
                    <a:pt x="5835" y="869"/>
                    <a:pt x="5823" y="834"/>
                  </a:cubicBezTo>
                  <a:lnTo>
                    <a:pt x="6430" y="834"/>
                  </a:lnTo>
                  <a:cubicBezTo>
                    <a:pt x="6811" y="834"/>
                    <a:pt x="7145" y="1143"/>
                    <a:pt x="7145" y="1548"/>
                  </a:cubicBezTo>
                  <a:cubicBezTo>
                    <a:pt x="7145" y="1929"/>
                    <a:pt x="6835" y="2262"/>
                    <a:pt x="6430" y="2262"/>
                  </a:cubicBezTo>
                  <a:cubicBezTo>
                    <a:pt x="6335" y="2262"/>
                    <a:pt x="6263" y="2334"/>
                    <a:pt x="6263" y="2417"/>
                  </a:cubicBezTo>
                  <a:cubicBezTo>
                    <a:pt x="6263" y="2512"/>
                    <a:pt x="6335" y="2584"/>
                    <a:pt x="6430" y="2584"/>
                  </a:cubicBezTo>
                  <a:cubicBezTo>
                    <a:pt x="6490" y="2584"/>
                    <a:pt x="6549" y="2584"/>
                    <a:pt x="6609" y="2572"/>
                  </a:cubicBezTo>
                  <a:lnTo>
                    <a:pt x="6609" y="2953"/>
                  </a:lnTo>
                  <a:lnTo>
                    <a:pt x="6073" y="2953"/>
                  </a:lnTo>
                  <a:cubicBezTo>
                    <a:pt x="5978" y="2953"/>
                    <a:pt x="5906" y="3036"/>
                    <a:pt x="5906" y="3120"/>
                  </a:cubicBezTo>
                  <a:cubicBezTo>
                    <a:pt x="5906" y="3215"/>
                    <a:pt x="5978" y="3286"/>
                    <a:pt x="6073" y="3286"/>
                  </a:cubicBezTo>
                  <a:lnTo>
                    <a:pt x="6609" y="3286"/>
                  </a:lnTo>
                  <a:lnTo>
                    <a:pt x="6609" y="3655"/>
                  </a:lnTo>
                  <a:lnTo>
                    <a:pt x="1715" y="3655"/>
                  </a:lnTo>
                  <a:lnTo>
                    <a:pt x="1715" y="3286"/>
                  </a:lnTo>
                  <a:lnTo>
                    <a:pt x="5382" y="3286"/>
                  </a:lnTo>
                  <a:cubicBezTo>
                    <a:pt x="5478" y="3286"/>
                    <a:pt x="5549" y="3215"/>
                    <a:pt x="5549" y="3120"/>
                  </a:cubicBezTo>
                  <a:cubicBezTo>
                    <a:pt x="5549" y="3036"/>
                    <a:pt x="5478" y="2953"/>
                    <a:pt x="5382" y="2953"/>
                  </a:cubicBezTo>
                  <a:lnTo>
                    <a:pt x="1715" y="2953"/>
                  </a:lnTo>
                  <a:lnTo>
                    <a:pt x="1715" y="2560"/>
                  </a:lnTo>
                  <a:cubicBezTo>
                    <a:pt x="1775" y="2572"/>
                    <a:pt x="1834" y="2572"/>
                    <a:pt x="1894" y="2572"/>
                  </a:cubicBezTo>
                  <a:cubicBezTo>
                    <a:pt x="1977" y="2572"/>
                    <a:pt x="2049" y="2500"/>
                    <a:pt x="2049" y="2405"/>
                  </a:cubicBezTo>
                  <a:cubicBezTo>
                    <a:pt x="2049" y="2322"/>
                    <a:pt x="1977" y="2239"/>
                    <a:pt x="1894" y="2239"/>
                  </a:cubicBezTo>
                  <a:cubicBezTo>
                    <a:pt x="1501" y="2239"/>
                    <a:pt x="1191" y="1929"/>
                    <a:pt x="1191" y="1548"/>
                  </a:cubicBezTo>
                  <a:cubicBezTo>
                    <a:pt x="1191" y="1155"/>
                    <a:pt x="1501" y="834"/>
                    <a:pt x="1906" y="834"/>
                  </a:cubicBezTo>
                  <a:lnTo>
                    <a:pt x="2513" y="834"/>
                  </a:lnTo>
                  <a:cubicBezTo>
                    <a:pt x="2501" y="869"/>
                    <a:pt x="2489" y="929"/>
                    <a:pt x="2465" y="976"/>
                  </a:cubicBezTo>
                  <a:cubicBezTo>
                    <a:pt x="2453" y="1072"/>
                    <a:pt x="2501" y="1155"/>
                    <a:pt x="2584" y="1167"/>
                  </a:cubicBezTo>
                  <a:lnTo>
                    <a:pt x="2632" y="1167"/>
                  </a:lnTo>
                  <a:cubicBezTo>
                    <a:pt x="2703" y="1167"/>
                    <a:pt x="2763" y="1131"/>
                    <a:pt x="2799" y="1048"/>
                  </a:cubicBezTo>
                  <a:cubicBezTo>
                    <a:pt x="2906" y="619"/>
                    <a:pt x="3287" y="310"/>
                    <a:pt x="3739" y="310"/>
                  </a:cubicBezTo>
                  <a:close/>
                  <a:moveTo>
                    <a:pt x="2084" y="3965"/>
                  </a:moveTo>
                  <a:cubicBezTo>
                    <a:pt x="2084" y="4072"/>
                    <a:pt x="2037" y="4167"/>
                    <a:pt x="1977" y="4239"/>
                  </a:cubicBezTo>
                  <a:cubicBezTo>
                    <a:pt x="1906" y="4310"/>
                    <a:pt x="1822" y="4346"/>
                    <a:pt x="1727" y="4346"/>
                  </a:cubicBezTo>
                  <a:lnTo>
                    <a:pt x="1715" y="4346"/>
                  </a:lnTo>
                  <a:lnTo>
                    <a:pt x="1715" y="3965"/>
                  </a:lnTo>
                  <a:close/>
                  <a:moveTo>
                    <a:pt x="6609" y="3965"/>
                  </a:moveTo>
                  <a:lnTo>
                    <a:pt x="6609" y="4346"/>
                  </a:lnTo>
                  <a:lnTo>
                    <a:pt x="6597" y="4346"/>
                  </a:lnTo>
                  <a:cubicBezTo>
                    <a:pt x="6502" y="4346"/>
                    <a:pt x="6406" y="4298"/>
                    <a:pt x="6347" y="4239"/>
                  </a:cubicBezTo>
                  <a:cubicBezTo>
                    <a:pt x="6263" y="4167"/>
                    <a:pt x="6240" y="4072"/>
                    <a:pt x="6240" y="3977"/>
                  </a:cubicBezTo>
                  <a:lnTo>
                    <a:pt x="6240" y="3965"/>
                  </a:lnTo>
                  <a:close/>
                  <a:moveTo>
                    <a:pt x="6454" y="5953"/>
                  </a:moveTo>
                  <a:cubicBezTo>
                    <a:pt x="6549" y="6025"/>
                    <a:pt x="6609" y="6132"/>
                    <a:pt x="6609" y="6251"/>
                  </a:cubicBezTo>
                  <a:cubicBezTo>
                    <a:pt x="6609" y="6346"/>
                    <a:pt x="6561" y="6453"/>
                    <a:pt x="6478" y="6513"/>
                  </a:cubicBezTo>
                  <a:cubicBezTo>
                    <a:pt x="6430" y="6561"/>
                    <a:pt x="6418" y="6608"/>
                    <a:pt x="6418" y="6656"/>
                  </a:cubicBezTo>
                  <a:cubicBezTo>
                    <a:pt x="6418" y="6703"/>
                    <a:pt x="6430" y="6739"/>
                    <a:pt x="6430" y="6751"/>
                  </a:cubicBezTo>
                  <a:cubicBezTo>
                    <a:pt x="6430" y="7049"/>
                    <a:pt x="6192" y="7287"/>
                    <a:pt x="5894" y="7287"/>
                  </a:cubicBezTo>
                  <a:cubicBezTo>
                    <a:pt x="5775" y="7287"/>
                    <a:pt x="5656" y="7239"/>
                    <a:pt x="5549" y="7168"/>
                  </a:cubicBezTo>
                  <a:cubicBezTo>
                    <a:pt x="5966" y="6870"/>
                    <a:pt x="6299" y="6441"/>
                    <a:pt x="6454" y="5953"/>
                  </a:cubicBezTo>
                  <a:close/>
                  <a:moveTo>
                    <a:pt x="5918" y="3965"/>
                  </a:moveTo>
                  <a:lnTo>
                    <a:pt x="5918" y="3989"/>
                  </a:lnTo>
                  <a:cubicBezTo>
                    <a:pt x="5918" y="4167"/>
                    <a:pt x="6002" y="4346"/>
                    <a:pt x="6132" y="4477"/>
                  </a:cubicBezTo>
                  <a:cubicBezTo>
                    <a:pt x="6263" y="4608"/>
                    <a:pt x="6430" y="4667"/>
                    <a:pt x="6621" y="4667"/>
                  </a:cubicBezTo>
                  <a:lnTo>
                    <a:pt x="6716" y="4667"/>
                  </a:lnTo>
                  <a:cubicBezTo>
                    <a:pt x="6859" y="4667"/>
                    <a:pt x="6978" y="4786"/>
                    <a:pt x="6978" y="4941"/>
                  </a:cubicBezTo>
                  <a:cubicBezTo>
                    <a:pt x="6978" y="5084"/>
                    <a:pt x="6859" y="5203"/>
                    <a:pt x="6716" y="5203"/>
                  </a:cubicBezTo>
                  <a:lnTo>
                    <a:pt x="6609" y="5203"/>
                  </a:lnTo>
                  <a:lnTo>
                    <a:pt x="6609" y="5191"/>
                  </a:lnTo>
                  <a:cubicBezTo>
                    <a:pt x="6609" y="5096"/>
                    <a:pt x="6537" y="5025"/>
                    <a:pt x="6442" y="5025"/>
                  </a:cubicBezTo>
                  <a:cubicBezTo>
                    <a:pt x="6359" y="5025"/>
                    <a:pt x="6287" y="5096"/>
                    <a:pt x="6287" y="5191"/>
                  </a:cubicBezTo>
                  <a:cubicBezTo>
                    <a:pt x="6287" y="6346"/>
                    <a:pt x="5347" y="7287"/>
                    <a:pt x="4180" y="7287"/>
                  </a:cubicBezTo>
                  <a:cubicBezTo>
                    <a:pt x="4172" y="7287"/>
                    <a:pt x="4165" y="7287"/>
                    <a:pt x="4158" y="7287"/>
                  </a:cubicBezTo>
                  <a:cubicBezTo>
                    <a:pt x="2978" y="7287"/>
                    <a:pt x="2049" y="6339"/>
                    <a:pt x="2049" y="5191"/>
                  </a:cubicBezTo>
                  <a:cubicBezTo>
                    <a:pt x="2049" y="5096"/>
                    <a:pt x="1977" y="5025"/>
                    <a:pt x="1894" y="5025"/>
                  </a:cubicBezTo>
                  <a:cubicBezTo>
                    <a:pt x="1799" y="5025"/>
                    <a:pt x="1727" y="5096"/>
                    <a:pt x="1727" y="5191"/>
                  </a:cubicBezTo>
                  <a:lnTo>
                    <a:pt x="1727" y="5203"/>
                  </a:lnTo>
                  <a:lnTo>
                    <a:pt x="1620" y="5203"/>
                  </a:lnTo>
                  <a:cubicBezTo>
                    <a:pt x="1477" y="5203"/>
                    <a:pt x="1358" y="5084"/>
                    <a:pt x="1358" y="4941"/>
                  </a:cubicBezTo>
                  <a:cubicBezTo>
                    <a:pt x="1358" y="4786"/>
                    <a:pt x="1477" y="4667"/>
                    <a:pt x="1620" y="4667"/>
                  </a:cubicBezTo>
                  <a:lnTo>
                    <a:pt x="1715" y="4667"/>
                  </a:lnTo>
                  <a:cubicBezTo>
                    <a:pt x="1894" y="4667"/>
                    <a:pt x="2072" y="4596"/>
                    <a:pt x="2203" y="4477"/>
                  </a:cubicBezTo>
                  <a:cubicBezTo>
                    <a:pt x="2334" y="4346"/>
                    <a:pt x="2418" y="4179"/>
                    <a:pt x="2418" y="3989"/>
                  </a:cubicBezTo>
                  <a:lnTo>
                    <a:pt x="2418" y="3965"/>
                  </a:lnTo>
                  <a:close/>
                  <a:moveTo>
                    <a:pt x="1846" y="5977"/>
                  </a:moveTo>
                  <a:cubicBezTo>
                    <a:pt x="2013" y="6465"/>
                    <a:pt x="2334" y="6906"/>
                    <a:pt x="2751" y="7203"/>
                  </a:cubicBezTo>
                  <a:cubicBezTo>
                    <a:pt x="2668" y="7263"/>
                    <a:pt x="2549" y="7299"/>
                    <a:pt x="2418" y="7299"/>
                  </a:cubicBezTo>
                  <a:cubicBezTo>
                    <a:pt x="2120" y="7299"/>
                    <a:pt x="1882" y="7061"/>
                    <a:pt x="1882" y="6763"/>
                  </a:cubicBezTo>
                  <a:cubicBezTo>
                    <a:pt x="1882" y="6739"/>
                    <a:pt x="1882" y="6703"/>
                    <a:pt x="1894" y="6680"/>
                  </a:cubicBezTo>
                  <a:cubicBezTo>
                    <a:pt x="1906" y="6620"/>
                    <a:pt x="1882" y="6561"/>
                    <a:pt x="1834" y="6525"/>
                  </a:cubicBezTo>
                  <a:cubicBezTo>
                    <a:pt x="1739" y="6453"/>
                    <a:pt x="1691" y="6358"/>
                    <a:pt x="1691" y="6263"/>
                  </a:cubicBezTo>
                  <a:cubicBezTo>
                    <a:pt x="1691" y="6144"/>
                    <a:pt x="1751" y="6037"/>
                    <a:pt x="1846" y="5977"/>
                  </a:cubicBezTo>
                  <a:close/>
                  <a:moveTo>
                    <a:pt x="5192" y="7382"/>
                  </a:moveTo>
                  <a:lnTo>
                    <a:pt x="5192" y="7775"/>
                  </a:lnTo>
                  <a:cubicBezTo>
                    <a:pt x="4847" y="7918"/>
                    <a:pt x="4513" y="7989"/>
                    <a:pt x="4132" y="7989"/>
                  </a:cubicBezTo>
                  <a:lnTo>
                    <a:pt x="3977" y="7989"/>
                  </a:lnTo>
                  <a:cubicBezTo>
                    <a:pt x="3882" y="7989"/>
                    <a:pt x="3811" y="8049"/>
                    <a:pt x="3799" y="8132"/>
                  </a:cubicBezTo>
                  <a:cubicBezTo>
                    <a:pt x="3799" y="8227"/>
                    <a:pt x="3858" y="8299"/>
                    <a:pt x="3942" y="8311"/>
                  </a:cubicBezTo>
                  <a:lnTo>
                    <a:pt x="4120" y="8311"/>
                  </a:lnTo>
                  <a:cubicBezTo>
                    <a:pt x="4501" y="8311"/>
                    <a:pt x="4859" y="8251"/>
                    <a:pt x="5216" y="8120"/>
                  </a:cubicBezTo>
                  <a:cubicBezTo>
                    <a:pt x="5251" y="8275"/>
                    <a:pt x="5370" y="8394"/>
                    <a:pt x="5525" y="8454"/>
                  </a:cubicBezTo>
                  <a:lnTo>
                    <a:pt x="5704" y="8513"/>
                  </a:lnTo>
                  <a:cubicBezTo>
                    <a:pt x="5418" y="8835"/>
                    <a:pt x="4823" y="9049"/>
                    <a:pt x="4156" y="9049"/>
                  </a:cubicBezTo>
                  <a:cubicBezTo>
                    <a:pt x="3501" y="9049"/>
                    <a:pt x="2894" y="8835"/>
                    <a:pt x="2573" y="8525"/>
                  </a:cubicBezTo>
                  <a:lnTo>
                    <a:pt x="2751" y="8466"/>
                  </a:lnTo>
                  <a:cubicBezTo>
                    <a:pt x="2906" y="8406"/>
                    <a:pt x="3025" y="8287"/>
                    <a:pt x="3073" y="8132"/>
                  </a:cubicBezTo>
                  <a:cubicBezTo>
                    <a:pt x="3132" y="8156"/>
                    <a:pt x="3168" y="8180"/>
                    <a:pt x="3227" y="8192"/>
                  </a:cubicBezTo>
                  <a:lnTo>
                    <a:pt x="3275" y="8192"/>
                  </a:lnTo>
                  <a:cubicBezTo>
                    <a:pt x="3346" y="8192"/>
                    <a:pt x="3406" y="8156"/>
                    <a:pt x="3430" y="8073"/>
                  </a:cubicBezTo>
                  <a:cubicBezTo>
                    <a:pt x="3454" y="7989"/>
                    <a:pt x="3406" y="7894"/>
                    <a:pt x="3323" y="7870"/>
                  </a:cubicBezTo>
                  <a:cubicBezTo>
                    <a:pt x="3239" y="7834"/>
                    <a:pt x="3156" y="7811"/>
                    <a:pt x="3084" y="7775"/>
                  </a:cubicBezTo>
                  <a:lnTo>
                    <a:pt x="3084" y="7382"/>
                  </a:lnTo>
                  <a:cubicBezTo>
                    <a:pt x="3394" y="7525"/>
                    <a:pt x="3763" y="7620"/>
                    <a:pt x="4132" y="7620"/>
                  </a:cubicBezTo>
                  <a:cubicBezTo>
                    <a:pt x="4513" y="7620"/>
                    <a:pt x="4882" y="7525"/>
                    <a:pt x="5192" y="7382"/>
                  </a:cubicBezTo>
                  <a:close/>
                  <a:moveTo>
                    <a:pt x="3727" y="0"/>
                  </a:moveTo>
                  <a:cubicBezTo>
                    <a:pt x="3311" y="0"/>
                    <a:pt x="2918" y="203"/>
                    <a:pt x="2680" y="512"/>
                  </a:cubicBezTo>
                  <a:lnTo>
                    <a:pt x="1894" y="512"/>
                  </a:lnTo>
                  <a:cubicBezTo>
                    <a:pt x="1322" y="512"/>
                    <a:pt x="858" y="976"/>
                    <a:pt x="858" y="1548"/>
                  </a:cubicBezTo>
                  <a:cubicBezTo>
                    <a:pt x="858" y="1929"/>
                    <a:pt x="1072" y="2250"/>
                    <a:pt x="1382" y="2441"/>
                  </a:cubicBezTo>
                  <a:lnTo>
                    <a:pt x="1382" y="4382"/>
                  </a:lnTo>
                  <a:cubicBezTo>
                    <a:pt x="1179" y="4477"/>
                    <a:pt x="1049" y="4679"/>
                    <a:pt x="1049" y="4941"/>
                  </a:cubicBezTo>
                  <a:cubicBezTo>
                    <a:pt x="1049" y="5263"/>
                    <a:pt x="1310" y="5537"/>
                    <a:pt x="1644" y="5537"/>
                  </a:cubicBezTo>
                  <a:lnTo>
                    <a:pt x="1751" y="5537"/>
                  </a:lnTo>
                  <a:cubicBezTo>
                    <a:pt x="1751" y="5560"/>
                    <a:pt x="1775" y="5596"/>
                    <a:pt x="1775" y="5620"/>
                  </a:cubicBezTo>
                  <a:cubicBezTo>
                    <a:pt x="1537" y="5739"/>
                    <a:pt x="1382" y="5977"/>
                    <a:pt x="1382" y="6227"/>
                  </a:cubicBezTo>
                  <a:cubicBezTo>
                    <a:pt x="1382" y="6394"/>
                    <a:pt x="1441" y="6561"/>
                    <a:pt x="1560" y="6691"/>
                  </a:cubicBezTo>
                  <a:lnTo>
                    <a:pt x="1560" y="6751"/>
                  </a:lnTo>
                  <a:cubicBezTo>
                    <a:pt x="1560" y="7227"/>
                    <a:pt x="1953" y="7620"/>
                    <a:pt x="2430" y="7620"/>
                  </a:cubicBezTo>
                  <a:cubicBezTo>
                    <a:pt x="2549" y="7620"/>
                    <a:pt x="2680" y="7584"/>
                    <a:pt x="2787" y="7537"/>
                  </a:cubicBezTo>
                  <a:lnTo>
                    <a:pt x="2787" y="7977"/>
                  </a:lnTo>
                  <a:cubicBezTo>
                    <a:pt x="2787" y="8049"/>
                    <a:pt x="2739" y="8120"/>
                    <a:pt x="2668" y="8156"/>
                  </a:cubicBezTo>
                  <a:lnTo>
                    <a:pt x="810" y="8811"/>
                  </a:lnTo>
                  <a:cubicBezTo>
                    <a:pt x="334" y="8966"/>
                    <a:pt x="1" y="9430"/>
                    <a:pt x="1" y="9954"/>
                  </a:cubicBezTo>
                  <a:lnTo>
                    <a:pt x="1" y="10954"/>
                  </a:lnTo>
                  <a:cubicBezTo>
                    <a:pt x="1" y="11037"/>
                    <a:pt x="72" y="11109"/>
                    <a:pt x="167" y="11109"/>
                  </a:cubicBezTo>
                  <a:cubicBezTo>
                    <a:pt x="251" y="11109"/>
                    <a:pt x="322" y="11037"/>
                    <a:pt x="322" y="10954"/>
                  </a:cubicBezTo>
                  <a:lnTo>
                    <a:pt x="322" y="9954"/>
                  </a:lnTo>
                  <a:cubicBezTo>
                    <a:pt x="322" y="9847"/>
                    <a:pt x="346" y="9739"/>
                    <a:pt x="382" y="9644"/>
                  </a:cubicBezTo>
                  <a:lnTo>
                    <a:pt x="1203" y="10335"/>
                  </a:lnTo>
                  <a:cubicBezTo>
                    <a:pt x="1322" y="10442"/>
                    <a:pt x="1394" y="10597"/>
                    <a:pt x="1394" y="10740"/>
                  </a:cubicBezTo>
                  <a:lnTo>
                    <a:pt x="1394" y="10954"/>
                  </a:lnTo>
                  <a:cubicBezTo>
                    <a:pt x="1394" y="11037"/>
                    <a:pt x="1477" y="11109"/>
                    <a:pt x="1560" y="11109"/>
                  </a:cubicBezTo>
                  <a:cubicBezTo>
                    <a:pt x="1656" y="11109"/>
                    <a:pt x="1727" y="11037"/>
                    <a:pt x="1727" y="10954"/>
                  </a:cubicBezTo>
                  <a:lnTo>
                    <a:pt x="1727" y="10740"/>
                  </a:lnTo>
                  <a:cubicBezTo>
                    <a:pt x="1727" y="10490"/>
                    <a:pt x="1620" y="10251"/>
                    <a:pt x="1430" y="10085"/>
                  </a:cubicBezTo>
                  <a:lnTo>
                    <a:pt x="560" y="9347"/>
                  </a:lnTo>
                  <a:cubicBezTo>
                    <a:pt x="656" y="9239"/>
                    <a:pt x="787" y="9144"/>
                    <a:pt x="918" y="9108"/>
                  </a:cubicBezTo>
                  <a:lnTo>
                    <a:pt x="2263" y="8632"/>
                  </a:lnTo>
                  <a:cubicBezTo>
                    <a:pt x="2620" y="9073"/>
                    <a:pt x="3346" y="9358"/>
                    <a:pt x="4180" y="9358"/>
                  </a:cubicBezTo>
                  <a:cubicBezTo>
                    <a:pt x="4489" y="9358"/>
                    <a:pt x="4775" y="9311"/>
                    <a:pt x="5049" y="9251"/>
                  </a:cubicBezTo>
                  <a:lnTo>
                    <a:pt x="5073" y="9287"/>
                  </a:lnTo>
                  <a:cubicBezTo>
                    <a:pt x="5180" y="9382"/>
                    <a:pt x="5240" y="9525"/>
                    <a:pt x="5240" y="9656"/>
                  </a:cubicBezTo>
                  <a:lnTo>
                    <a:pt x="5240" y="10930"/>
                  </a:lnTo>
                  <a:cubicBezTo>
                    <a:pt x="5240" y="11025"/>
                    <a:pt x="5311" y="11097"/>
                    <a:pt x="5406" y="11097"/>
                  </a:cubicBezTo>
                  <a:cubicBezTo>
                    <a:pt x="5490" y="11097"/>
                    <a:pt x="5561" y="11025"/>
                    <a:pt x="5561" y="10930"/>
                  </a:cubicBezTo>
                  <a:lnTo>
                    <a:pt x="5561" y="9656"/>
                  </a:lnTo>
                  <a:cubicBezTo>
                    <a:pt x="5561" y="9466"/>
                    <a:pt x="5501" y="9287"/>
                    <a:pt x="5382" y="9132"/>
                  </a:cubicBezTo>
                  <a:cubicBezTo>
                    <a:pt x="5680" y="9013"/>
                    <a:pt x="5942" y="8835"/>
                    <a:pt x="6097" y="8632"/>
                  </a:cubicBezTo>
                  <a:lnTo>
                    <a:pt x="7442" y="9108"/>
                  </a:lnTo>
                  <a:cubicBezTo>
                    <a:pt x="7573" y="9144"/>
                    <a:pt x="7704" y="9239"/>
                    <a:pt x="7799" y="9347"/>
                  </a:cubicBezTo>
                  <a:lnTo>
                    <a:pt x="6930" y="10085"/>
                  </a:lnTo>
                  <a:cubicBezTo>
                    <a:pt x="6740" y="10251"/>
                    <a:pt x="6633" y="10490"/>
                    <a:pt x="6633" y="10740"/>
                  </a:cubicBezTo>
                  <a:lnTo>
                    <a:pt x="6633" y="10954"/>
                  </a:lnTo>
                  <a:cubicBezTo>
                    <a:pt x="6633" y="11037"/>
                    <a:pt x="6716" y="11109"/>
                    <a:pt x="6799" y="11109"/>
                  </a:cubicBezTo>
                  <a:cubicBezTo>
                    <a:pt x="6894" y="11109"/>
                    <a:pt x="6966" y="11037"/>
                    <a:pt x="6966" y="10954"/>
                  </a:cubicBezTo>
                  <a:lnTo>
                    <a:pt x="6966" y="10740"/>
                  </a:lnTo>
                  <a:cubicBezTo>
                    <a:pt x="6966" y="10597"/>
                    <a:pt x="7037" y="10442"/>
                    <a:pt x="7156" y="10335"/>
                  </a:cubicBezTo>
                  <a:lnTo>
                    <a:pt x="7978" y="9632"/>
                  </a:lnTo>
                  <a:cubicBezTo>
                    <a:pt x="8002" y="9739"/>
                    <a:pt x="8037" y="9847"/>
                    <a:pt x="8037" y="9954"/>
                  </a:cubicBezTo>
                  <a:lnTo>
                    <a:pt x="8037" y="10954"/>
                  </a:lnTo>
                  <a:cubicBezTo>
                    <a:pt x="8037" y="11037"/>
                    <a:pt x="8109" y="11109"/>
                    <a:pt x="8204" y="11109"/>
                  </a:cubicBezTo>
                  <a:cubicBezTo>
                    <a:pt x="8288" y="11109"/>
                    <a:pt x="8359" y="11037"/>
                    <a:pt x="8359" y="10954"/>
                  </a:cubicBezTo>
                  <a:lnTo>
                    <a:pt x="8359" y="9954"/>
                  </a:lnTo>
                  <a:cubicBezTo>
                    <a:pt x="8335" y="9430"/>
                    <a:pt x="8002" y="8966"/>
                    <a:pt x="7514" y="8811"/>
                  </a:cubicBezTo>
                  <a:lnTo>
                    <a:pt x="5656" y="8156"/>
                  </a:lnTo>
                  <a:cubicBezTo>
                    <a:pt x="5585" y="8120"/>
                    <a:pt x="5537" y="8061"/>
                    <a:pt x="5537" y="7977"/>
                  </a:cubicBezTo>
                  <a:lnTo>
                    <a:pt x="5537" y="7537"/>
                  </a:lnTo>
                  <a:cubicBezTo>
                    <a:pt x="5644" y="7584"/>
                    <a:pt x="5775" y="7620"/>
                    <a:pt x="5894" y="7620"/>
                  </a:cubicBezTo>
                  <a:cubicBezTo>
                    <a:pt x="6371" y="7620"/>
                    <a:pt x="6764" y="7227"/>
                    <a:pt x="6764" y="6751"/>
                  </a:cubicBezTo>
                  <a:lnTo>
                    <a:pt x="6764" y="6691"/>
                  </a:lnTo>
                  <a:cubicBezTo>
                    <a:pt x="6883" y="6572"/>
                    <a:pt x="6942" y="6406"/>
                    <a:pt x="6942" y="6227"/>
                  </a:cubicBezTo>
                  <a:cubicBezTo>
                    <a:pt x="6942" y="5965"/>
                    <a:pt x="6787" y="5727"/>
                    <a:pt x="6549" y="5620"/>
                  </a:cubicBezTo>
                  <a:cubicBezTo>
                    <a:pt x="6549" y="5596"/>
                    <a:pt x="6561" y="5560"/>
                    <a:pt x="6561" y="5537"/>
                  </a:cubicBezTo>
                  <a:lnTo>
                    <a:pt x="6680" y="5537"/>
                  </a:lnTo>
                  <a:cubicBezTo>
                    <a:pt x="7014" y="5537"/>
                    <a:pt x="7275" y="5263"/>
                    <a:pt x="7275" y="4941"/>
                  </a:cubicBezTo>
                  <a:cubicBezTo>
                    <a:pt x="7275" y="4703"/>
                    <a:pt x="7133" y="4489"/>
                    <a:pt x="6942" y="4382"/>
                  </a:cubicBezTo>
                  <a:lnTo>
                    <a:pt x="6942" y="2441"/>
                  </a:lnTo>
                  <a:cubicBezTo>
                    <a:pt x="7252" y="2250"/>
                    <a:pt x="7454" y="1917"/>
                    <a:pt x="7454" y="1548"/>
                  </a:cubicBezTo>
                  <a:cubicBezTo>
                    <a:pt x="7454" y="976"/>
                    <a:pt x="7002" y="512"/>
                    <a:pt x="6430" y="512"/>
                  </a:cubicBezTo>
                  <a:lnTo>
                    <a:pt x="5644" y="512"/>
                  </a:lnTo>
                  <a:cubicBezTo>
                    <a:pt x="5406" y="191"/>
                    <a:pt x="5013" y="0"/>
                    <a:pt x="4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48" name="Google Shape;11648;p61"/>
          <p:cNvGrpSpPr/>
          <p:nvPr/>
        </p:nvGrpSpPr>
        <p:grpSpPr>
          <a:xfrm>
            <a:off x="5349253" y="3346936"/>
            <a:ext cx="265922" cy="352693"/>
            <a:chOff x="5349253" y="3346936"/>
            <a:chExt cx="265922" cy="352693"/>
          </a:xfrm>
        </p:grpSpPr>
        <p:sp>
          <p:nvSpPr>
            <p:cNvPr id="11649" name="Google Shape;11649;p61"/>
            <p:cNvSpPr/>
            <p:nvPr/>
          </p:nvSpPr>
          <p:spPr>
            <a:xfrm>
              <a:off x="5460133" y="3534862"/>
              <a:ext cx="44162" cy="15396"/>
            </a:xfrm>
            <a:custGeom>
              <a:avLst/>
              <a:gdLst/>
              <a:ahLst/>
              <a:cxnLst/>
              <a:rect l="l" t="t" r="r" b="b"/>
              <a:pathLst>
                <a:path w="1394" h="486" extrusionOk="0">
                  <a:moveTo>
                    <a:pt x="173" y="1"/>
                  </a:moveTo>
                  <a:cubicBezTo>
                    <a:pt x="131" y="1"/>
                    <a:pt x="90" y="16"/>
                    <a:pt x="60" y="45"/>
                  </a:cubicBezTo>
                  <a:cubicBezTo>
                    <a:pt x="1" y="105"/>
                    <a:pt x="1" y="200"/>
                    <a:pt x="60" y="260"/>
                  </a:cubicBezTo>
                  <a:cubicBezTo>
                    <a:pt x="203" y="402"/>
                    <a:pt x="429" y="486"/>
                    <a:pt x="703" y="486"/>
                  </a:cubicBezTo>
                  <a:cubicBezTo>
                    <a:pt x="965" y="486"/>
                    <a:pt x="1191" y="402"/>
                    <a:pt x="1346" y="260"/>
                  </a:cubicBezTo>
                  <a:cubicBezTo>
                    <a:pt x="1394" y="200"/>
                    <a:pt x="1394" y="105"/>
                    <a:pt x="1310" y="45"/>
                  </a:cubicBezTo>
                  <a:cubicBezTo>
                    <a:pt x="1280" y="16"/>
                    <a:pt x="1242" y="1"/>
                    <a:pt x="1203" y="1"/>
                  </a:cubicBezTo>
                  <a:cubicBezTo>
                    <a:pt x="1164" y="1"/>
                    <a:pt x="1126" y="16"/>
                    <a:pt x="1096" y="45"/>
                  </a:cubicBezTo>
                  <a:cubicBezTo>
                    <a:pt x="1024" y="105"/>
                    <a:pt x="882" y="176"/>
                    <a:pt x="691" y="176"/>
                  </a:cubicBezTo>
                  <a:cubicBezTo>
                    <a:pt x="501" y="176"/>
                    <a:pt x="346" y="105"/>
                    <a:pt x="286" y="45"/>
                  </a:cubicBez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0" name="Google Shape;11650;p61"/>
            <p:cNvSpPr/>
            <p:nvPr/>
          </p:nvSpPr>
          <p:spPr>
            <a:xfrm>
              <a:off x="5443153" y="3495927"/>
              <a:ext cx="10613" cy="16252"/>
            </a:xfrm>
            <a:custGeom>
              <a:avLst/>
              <a:gdLst/>
              <a:ahLst/>
              <a:cxnLst/>
              <a:rect l="l" t="t" r="r" b="b"/>
              <a:pathLst>
                <a:path w="335" h="513" extrusionOk="0">
                  <a:moveTo>
                    <a:pt x="167" y="0"/>
                  </a:moveTo>
                  <a:cubicBezTo>
                    <a:pt x="84" y="0"/>
                    <a:pt x="1" y="84"/>
                    <a:pt x="1" y="167"/>
                  </a:cubicBezTo>
                  <a:lnTo>
                    <a:pt x="1" y="346"/>
                  </a:lnTo>
                  <a:cubicBezTo>
                    <a:pt x="1" y="441"/>
                    <a:pt x="84" y="512"/>
                    <a:pt x="167" y="512"/>
                  </a:cubicBezTo>
                  <a:cubicBezTo>
                    <a:pt x="251" y="512"/>
                    <a:pt x="334" y="441"/>
                    <a:pt x="334" y="346"/>
                  </a:cubicBezTo>
                  <a:lnTo>
                    <a:pt x="334" y="167"/>
                  </a:lnTo>
                  <a:cubicBezTo>
                    <a:pt x="334" y="84"/>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1" name="Google Shape;11651;p61"/>
            <p:cNvSpPr/>
            <p:nvPr/>
          </p:nvSpPr>
          <p:spPr>
            <a:xfrm>
              <a:off x="5509934" y="3495927"/>
              <a:ext cx="10201" cy="16252"/>
            </a:xfrm>
            <a:custGeom>
              <a:avLst/>
              <a:gdLst/>
              <a:ahLst/>
              <a:cxnLst/>
              <a:rect l="l" t="t" r="r" b="b"/>
              <a:pathLst>
                <a:path w="322" h="513" extrusionOk="0">
                  <a:moveTo>
                    <a:pt x="155" y="0"/>
                  </a:moveTo>
                  <a:cubicBezTo>
                    <a:pt x="72" y="0"/>
                    <a:pt x="0" y="84"/>
                    <a:pt x="0" y="167"/>
                  </a:cubicBezTo>
                  <a:lnTo>
                    <a:pt x="0" y="346"/>
                  </a:lnTo>
                  <a:cubicBezTo>
                    <a:pt x="0" y="441"/>
                    <a:pt x="72" y="512"/>
                    <a:pt x="155" y="512"/>
                  </a:cubicBezTo>
                  <a:cubicBezTo>
                    <a:pt x="250" y="512"/>
                    <a:pt x="322" y="441"/>
                    <a:pt x="322" y="346"/>
                  </a:cubicBezTo>
                  <a:lnTo>
                    <a:pt x="322" y="167"/>
                  </a:lnTo>
                  <a:cubicBezTo>
                    <a:pt x="322" y="84"/>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2" name="Google Shape;11652;p61"/>
            <p:cNvSpPr/>
            <p:nvPr/>
          </p:nvSpPr>
          <p:spPr>
            <a:xfrm>
              <a:off x="5438242" y="3479707"/>
              <a:ext cx="21162" cy="10201"/>
            </a:xfrm>
            <a:custGeom>
              <a:avLst/>
              <a:gdLst/>
              <a:ahLst/>
              <a:cxnLst/>
              <a:rect l="l" t="t" r="r" b="b"/>
              <a:pathLst>
                <a:path w="668" h="322" extrusionOk="0">
                  <a:moveTo>
                    <a:pt x="156" y="0"/>
                  </a:moveTo>
                  <a:cubicBezTo>
                    <a:pt x="72" y="0"/>
                    <a:pt x="1" y="72"/>
                    <a:pt x="1" y="155"/>
                  </a:cubicBezTo>
                  <a:cubicBezTo>
                    <a:pt x="1" y="250"/>
                    <a:pt x="72" y="322"/>
                    <a:pt x="156" y="322"/>
                  </a:cubicBezTo>
                  <a:lnTo>
                    <a:pt x="501" y="322"/>
                  </a:lnTo>
                  <a:cubicBezTo>
                    <a:pt x="596" y="322"/>
                    <a:pt x="668" y="250"/>
                    <a:pt x="668" y="155"/>
                  </a:cubicBezTo>
                  <a:cubicBezTo>
                    <a:pt x="668"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3" name="Google Shape;11653;p61"/>
            <p:cNvSpPr/>
            <p:nvPr/>
          </p:nvSpPr>
          <p:spPr>
            <a:xfrm>
              <a:off x="5504644" y="3479707"/>
              <a:ext cx="21162" cy="10201"/>
            </a:xfrm>
            <a:custGeom>
              <a:avLst/>
              <a:gdLst/>
              <a:ahLst/>
              <a:cxnLst/>
              <a:rect l="l" t="t" r="r" b="b"/>
              <a:pathLst>
                <a:path w="668" h="322" extrusionOk="0">
                  <a:moveTo>
                    <a:pt x="167" y="0"/>
                  </a:moveTo>
                  <a:cubicBezTo>
                    <a:pt x="72" y="0"/>
                    <a:pt x="0" y="72"/>
                    <a:pt x="0" y="155"/>
                  </a:cubicBezTo>
                  <a:cubicBezTo>
                    <a:pt x="0" y="250"/>
                    <a:pt x="72" y="322"/>
                    <a:pt x="167" y="322"/>
                  </a:cubicBezTo>
                  <a:lnTo>
                    <a:pt x="501" y="322"/>
                  </a:lnTo>
                  <a:cubicBezTo>
                    <a:pt x="596" y="322"/>
                    <a:pt x="667" y="250"/>
                    <a:pt x="667" y="155"/>
                  </a:cubicBezTo>
                  <a:cubicBezTo>
                    <a:pt x="655"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4" name="Google Shape;11654;p61"/>
            <p:cNvSpPr/>
            <p:nvPr/>
          </p:nvSpPr>
          <p:spPr>
            <a:xfrm>
              <a:off x="5349253" y="3346936"/>
              <a:ext cx="265922" cy="352693"/>
            </a:xfrm>
            <a:custGeom>
              <a:avLst/>
              <a:gdLst/>
              <a:ahLst/>
              <a:cxnLst/>
              <a:rect l="l" t="t" r="r" b="b"/>
              <a:pathLst>
                <a:path w="8394" h="11133" extrusionOk="0">
                  <a:moveTo>
                    <a:pt x="4179" y="334"/>
                  </a:moveTo>
                  <a:cubicBezTo>
                    <a:pt x="5810" y="334"/>
                    <a:pt x="7156" y="1667"/>
                    <a:pt x="7156" y="3310"/>
                  </a:cubicBezTo>
                  <a:lnTo>
                    <a:pt x="7156" y="3870"/>
                  </a:lnTo>
                  <a:cubicBezTo>
                    <a:pt x="7084" y="3846"/>
                    <a:pt x="7037" y="3846"/>
                    <a:pt x="6977" y="3846"/>
                  </a:cubicBezTo>
                  <a:lnTo>
                    <a:pt x="6953" y="3846"/>
                  </a:lnTo>
                  <a:lnTo>
                    <a:pt x="6953" y="3477"/>
                  </a:lnTo>
                  <a:cubicBezTo>
                    <a:pt x="6953" y="1941"/>
                    <a:pt x="5703" y="691"/>
                    <a:pt x="4179" y="691"/>
                  </a:cubicBezTo>
                  <a:cubicBezTo>
                    <a:pt x="2643" y="691"/>
                    <a:pt x="1393" y="1941"/>
                    <a:pt x="1393" y="3477"/>
                  </a:cubicBezTo>
                  <a:lnTo>
                    <a:pt x="1393" y="3834"/>
                  </a:lnTo>
                  <a:lnTo>
                    <a:pt x="1381" y="3834"/>
                  </a:lnTo>
                  <a:cubicBezTo>
                    <a:pt x="1322" y="3834"/>
                    <a:pt x="1238" y="3846"/>
                    <a:pt x="1203" y="3858"/>
                  </a:cubicBezTo>
                  <a:lnTo>
                    <a:pt x="1203" y="3310"/>
                  </a:lnTo>
                  <a:cubicBezTo>
                    <a:pt x="1203" y="1667"/>
                    <a:pt x="2536" y="334"/>
                    <a:pt x="4179" y="334"/>
                  </a:cubicBezTo>
                  <a:close/>
                  <a:moveTo>
                    <a:pt x="6953" y="4156"/>
                  </a:moveTo>
                  <a:cubicBezTo>
                    <a:pt x="7060" y="4156"/>
                    <a:pt x="7132" y="4251"/>
                    <a:pt x="7132" y="4334"/>
                  </a:cubicBezTo>
                  <a:lnTo>
                    <a:pt x="7132" y="5037"/>
                  </a:lnTo>
                  <a:cubicBezTo>
                    <a:pt x="7156" y="5156"/>
                    <a:pt x="7060" y="5227"/>
                    <a:pt x="6953" y="5227"/>
                  </a:cubicBezTo>
                  <a:lnTo>
                    <a:pt x="6596" y="5227"/>
                  </a:lnTo>
                  <a:lnTo>
                    <a:pt x="6596" y="5215"/>
                  </a:lnTo>
                  <a:lnTo>
                    <a:pt x="6596" y="4156"/>
                  </a:lnTo>
                  <a:close/>
                  <a:moveTo>
                    <a:pt x="1738" y="4168"/>
                  </a:moveTo>
                  <a:lnTo>
                    <a:pt x="1738" y="5239"/>
                  </a:lnTo>
                  <a:lnTo>
                    <a:pt x="1381" y="5239"/>
                  </a:lnTo>
                  <a:cubicBezTo>
                    <a:pt x="1274" y="5239"/>
                    <a:pt x="1203" y="5156"/>
                    <a:pt x="1203" y="5061"/>
                  </a:cubicBezTo>
                  <a:lnTo>
                    <a:pt x="1203" y="4346"/>
                  </a:lnTo>
                  <a:cubicBezTo>
                    <a:pt x="1203" y="4251"/>
                    <a:pt x="1286" y="4168"/>
                    <a:pt x="1381" y="4168"/>
                  </a:cubicBezTo>
                  <a:close/>
                  <a:moveTo>
                    <a:pt x="1203" y="5525"/>
                  </a:moveTo>
                  <a:cubicBezTo>
                    <a:pt x="1262" y="5561"/>
                    <a:pt x="1322" y="5561"/>
                    <a:pt x="1381" y="5561"/>
                  </a:cubicBezTo>
                  <a:lnTo>
                    <a:pt x="1738" y="5561"/>
                  </a:lnTo>
                  <a:cubicBezTo>
                    <a:pt x="1738" y="5692"/>
                    <a:pt x="1715" y="5811"/>
                    <a:pt x="1691" y="5930"/>
                  </a:cubicBezTo>
                  <a:lnTo>
                    <a:pt x="1560" y="5930"/>
                  </a:lnTo>
                  <a:cubicBezTo>
                    <a:pt x="1357" y="5930"/>
                    <a:pt x="1203" y="5763"/>
                    <a:pt x="1203" y="5572"/>
                  </a:cubicBezTo>
                  <a:lnTo>
                    <a:pt x="1203" y="5525"/>
                  </a:lnTo>
                  <a:close/>
                  <a:moveTo>
                    <a:pt x="4200" y="1024"/>
                  </a:moveTo>
                  <a:cubicBezTo>
                    <a:pt x="5536" y="1024"/>
                    <a:pt x="6644" y="2139"/>
                    <a:pt x="6644" y="3489"/>
                  </a:cubicBezTo>
                  <a:lnTo>
                    <a:pt x="6644" y="3846"/>
                  </a:lnTo>
                  <a:lnTo>
                    <a:pt x="6632" y="3846"/>
                  </a:lnTo>
                  <a:lnTo>
                    <a:pt x="6632" y="3822"/>
                  </a:lnTo>
                  <a:cubicBezTo>
                    <a:pt x="6632" y="3667"/>
                    <a:pt x="6560" y="3501"/>
                    <a:pt x="6418" y="3406"/>
                  </a:cubicBezTo>
                  <a:cubicBezTo>
                    <a:pt x="6330" y="3342"/>
                    <a:pt x="6227" y="3316"/>
                    <a:pt x="6126" y="3316"/>
                  </a:cubicBezTo>
                  <a:cubicBezTo>
                    <a:pt x="6075" y="3316"/>
                    <a:pt x="6025" y="3322"/>
                    <a:pt x="5977" y="3334"/>
                  </a:cubicBezTo>
                  <a:cubicBezTo>
                    <a:pt x="5620" y="3441"/>
                    <a:pt x="5263" y="3489"/>
                    <a:pt x="5072" y="3501"/>
                  </a:cubicBezTo>
                  <a:lnTo>
                    <a:pt x="5072" y="2798"/>
                  </a:lnTo>
                  <a:cubicBezTo>
                    <a:pt x="5072" y="2763"/>
                    <a:pt x="5048" y="2691"/>
                    <a:pt x="5013" y="2667"/>
                  </a:cubicBezTo>
                  <a:cubicBezTo>
                    <a:pt x="4983" y="2644"/>
                    <a:pt x="4944" y="2632"/>
                    <a:pt x="4905" y="2632"/>
                  </a:cubicBezTo>
                  <a:cubicBezTo>
                    <a:pt x="4867" y="2632"/>
                    <a:pt x="4828" y="2644"/>
                    <a:pt x="4798" y="2667"/>
                  </a:cubicBezTo>
                  <a:cubicBezTo>
                    <a:pt x="4429" y="2965"/>
                    <a:pt x="3786" y="3263"/>
                    <a:pt x="2941" y="3501"/>
                  </a:cubicBezTo>
                  <a:cubicBezTo>
                    <a:pt x="2846" y="3537"/>
                    <a:pt x="2810" y="3620"/>
                    <a:pt x="2822" y="3691"/>
                  </a:cubicBezTo>
                  <a:cubicBezTo>
                    <a:pt x="2843" y="3775"/>
                    <a:pt x="2919" y="3813"/>
                    <a:pt x="2985" y="3813"/>
                  </a:cubicBezTo>
                  <a:cubicBezTo>
                    <a:pt x="2994" y="3813"/>
                    <a:pt x="3004" y="3812"/>
                    <a:pt x="3012" y="3810"/>
                  </a:cubicBezTo>
                  <a:cubicBezTo>
                    <a:pt x="3739" y="3608"/>
                    <a:pt x="4322" y="3382"/>
                    <a:pt x="4727" y="3108"/>
                  </a:cubicBezTo>
                  <a:lnTo>
                    <a:pt x="4727" y="3667"/>
                  </a:lnTo>
                  <a:cubicBezTo>
                    <a:pt x="4727" y="3751"/>
                    <a:pt x="4798" y="3822"/>
                    <a:pt x="4894" y="3822"/>
                  </a:cubicBezTo>
                  <a:cubicBezTo>
                    <a:pt x="4917" y="3822"/>
                    <a:pt x="5465" y="3822"/>
                    <a:pt x="6048" y="3644"/>
                  </a:cubicBezTo>
                  <a:cubicBezTo>
                    <a:pt x="6063" y="3641"/>
                    <a:pt x="6078" y="3639"/>
                    <a:pt x="6093" y="3639"/>
                  </a:cubicBezTo>
                  <a:cubicBezTo>
                    <a:pt x="6137" y="3639"/>
                    <a:pt x="6179" y="3653"/>
                    <a:pt x="6215" y="3679"/>
                  </a:cubicBezTo>
                  <a:cubicBezTo>
                    <a:pt x="6251" y="3703"/>
                    <a:pt x="6275" y="3763"/>
                    <a:pt x="6275" y="3810"/>
                  </a:cubicBezTo>
                  <a:lnTo>
                    <a:pt x="6275" y="5406"/>
                  </a:lnTo>
                  <a:cubicBezTo>
                    <a:pt x="6227" y="5906"/>
                    <a:pt x="6001" y="6382"/>
                    <a:pt x="5632" y="6739"/>
                  </a:cubicBezTo>
                  <a:cubicBezTo>
                    <a:pt x="5245" y="7104"/>
                    <a:pt x="4746" y="7315"/>
                    <a:pt x="4210" y="7315"/>
                  </a:cubicBezTo>
                  <a:cubicBezTo>
                    <a:pt x="4168" y="7315"/>
                    <a:pt x="4126" y="7313"/>
                    <a:pt x="4084" y="7311"/>
                  </a:cubicBezTo>
                  <a:cubicBezTo>
                    <a:pt x="3548" y="7275"/>
                    <a:pt x="3048" y="7049"/>
                    <a:pt x="2655" y="6644"/>
                  </a:cubicBezTo>
                  <a:cubicBezTo>
                    <a:pt x="2548" y="6525"/>
                    <a:pt x="2453" y="6382"/>
                    <a:pt x="2369" y="6251"/>
                  </a:cubicBezTo>
                  <a:lnTo>
                    <a:pt x="2953" y="6251"/>
                  </a:lnTo>
                  <a:cubicBezTo>
                    <a:pt x="3048" y="6251"/>
                    <a:pt x="3120" y="6180"/>
                    <a:pt x="3120" y="6084"/>
                  </a:cubicBezTo>
                  <a:cubicBezTo>
                    <a:pt x="3120" y="6001"/>
                    <a:pt x="3048" y="5930"/>
                    <a:pt x="2953" y="5930"/>
                  </a:cubicBezTo>
                  <a:lnTo>
                    <a:pt x="2227" y="5930"/>
                  </a:lnTo>
                  <a:cubicBezTo>
                    <a:pt x="2131" y="5692"/>
                    <a:pt x="2096" y="5418"/>
                    <a:pt x="2096" y="5156"/>
                  </a:cubicBezTo>
                  <a:lnTo>
                    <a:pt x="2096" y="4001"/>
                  </a:lnTo>
                  <a:cubicBezTo>
                    <a:pt x="2167" y="3989"/>
                    <a:pt x="2227" y="3977"/>
                    <a:pt x="2298" y="3965"/>
                  </a:cubicBezTo>
                  <a:cubicBezTo>
                    <a:pt x="2393" y="3941"/>
                    <a:pt x="2453" y="3858"/>
                    <a:pt x="2429" y="3763"/>
                  </a:cubicBezTo>
                  <a:cubicBezTo>
                    <a:pt x="2418" y="3687"/>
                    <a:pt x="2347" y="3630"/>
                    <a:pt x="2263" y="3630"/>
                  </a:cubicBezTo>
                  <a:cubicBezTo>
                    <a:pt x="2255" y="3630"/>
                    <a:pt x="2247" y="3631"/>
                    <a:pt x="2238" y="3632"/>
                  </a:cubicBezTo>
                  <a:cubicBezTo>
                    <a:pt x="2072" y="3667"/>
                    <a:pt x="1917" y="3703"/>
                    <a:pt x="1738" y="3739"/>
                  </a:cubicBezTo>
                  <a:lnTo>
                    <a:pt x="1738" y="3501"/>
                  </a:lnTo>
                  <a:cubicBezTo>
                    <a:pt x="1738" y="2143"/>
                    <a:pt x="2822" y="1024"/>
                    <a:pt x="4179" y="1024"/>
                  </a:cubicBezTo>
                  <a:cubicBezTo>
                    <a:pt x="4186" y="1024"/>
                    <a:pt x="4193" y="1024"/>
                    <a:pt x="4200" y="1024"/>
                  </a:cubicBezTo>
                  <a:close/>
                  <a:moveTo>
                    <a:pt x="2000" y="6251"/>
                  </a:moveTo>
                  <a:cubicBezTo>
                    <a:pt x="2107" y="6477"/>
                    <a:pt x="2238" y="6680"/>
                    <a:pt x="2417" y="6870"/>
                  </a:cubicBezTo>
                  <a:cubicBezTo>
                    <a:pt x="2584" y="7049"/>
                    <a:pt x="2762" y="7192"/>
                    <a:pt x="2965" y="7311"/>
                  </a:cubicBezTo>
                  <a:lnTo>
                    <a:pt x="2965" y="7858"/>
                  </a:lnTo>
                  <a:cubicBezTo>
                    <a:pt x="2965" y="8085"/>
                    <a:pt x="2822" y="8299"/>
                    <a:pt x="2608" y="8370"/>
                  </a:cubicBezTo>
                  <a:lnTo>
                    <a:pt x="1691" y="8692"/>
                  </a:lnTo>
                  <a:cubicBezTo>
                    <a:pt x="1536" y="7882"/>
                    <a:pt x="1691" y="7311"/>
                    <a:pt x="1846" y="6727"/>
                  </a:cubicBezTo>
                  <a:cubicBezTo>
                    <a:pt x="1893" y="6585"/>
                    <a:pt x="1941" y="6418"/>
                    <a:pt x="1965" y="6251"/>
                  </a:cubicBezTo>
                  <a:close/>
                  <a:moveTo>
                    <a:pt x="6382" y="6239"/>
                  </a:moveTo>
                  <a:cubicBezTo>
                    <a:pt x="6406" y="6406"/>
                    <a:pt x="6453" y="6549"/>
                    <a:pt x="6489" y="6715"/>
                  </a:cubicBezTo>
                  <a:cubicBezTo>
                    <a:pt x="6656" y="7311"/>
                    <a:pt x="6810" y="7858"/>
                    <a:pt x="6656" y="8692"/>
                  </a:cubicBezTo>
                  <a:lnTo>
                    <a:pt x="5739" y="8370"/>
                  </a:lnTo>
                  <a:cubicBezTo>
                    <a:pt x="5525" y="8299"/>
                    <a:pt x="5382" y="8085"/>
                    <a:pt x="5382" y="7858"/>
                  </a:cubicBezTo>
                  <a:lnTo>
                    <a:pt x="5382" y="7323"/>
                  </a:lnTo>
                  <a:cubicBezTo>
                    <a:pt x="5536" y="7227"/>
                    <a:pt x="5703" y="7120"/>
                    <a:pt x="5858" y="6966"/>
                  </a:cubicBezTo>
                  <a:cubicBezTo>
                    <a:pt x="6084" y="6763"/>
                    <a:pt x="6263" y="6513"/>
                    <a:pt x="6382" y="6239"/>
                  </a:cubicBezTo>
                  <a:close/>
                  <a:moveTo>
                    <a:pt x="4179" y="0"/>
                  </a:moveTo>
                  <a:cubicBezTo>
                    <a:pt x="2346" y="0"/>
                    <a:pt x="869" y="1477"/>
                    <a:pt x="869" y="3310"/>
                  </a:cubicBezTo>
                  <a:lnTo>
                    <a:pt x="869" y="5572"/>
                  </a:lnTo>
                  <a:cubicBezTo>
                    <a:pt x="869" y="5942"/>
                    <a:pt x="1179" y="6251"/>
                    <a:pt x="1548" y="6251"/>
                  </a:cubicBezTo>
                  <a:lnTo>
                    <a:pt x="1631" y="6251"/>
                  </a:lnTo>
                  <a:cubicBezTo>
                    <a:pt x="1596" y="6394"/>
                    <a:pt x="1572" y="6513"/>
                    <a:pt x="1524" y="6644"/>
                  </a:cubicBezTo>
                  <a:cubicBezTo>
                    <a:pt x="1357" y="7251"/>
                    <a:pt x="1179" y="7882"/>
                    <a:pt x="1369" y="8799"/>
                  </a:cubicBezTo>
                  <a:lnTo>
                    <a:pt x="810" y="8990"/>
                  </a:lnTo>
                  <a:cubicBezTo>
                    <a:pt x="333" y="9156"/>
                    <a:pt x="0" y="9621"/>
                    <a:pt x="0" y="10144"/>
                  </a:cubicBezTo>
                  <a:lnTo>
                    <a:pt x="0" y="10978"/>
                  </a:lnTo>
                  <a:cubicBezTo>
                    <a:pt x="0" y="11061"/>
                    <a:pt x="83" y="11133"/>
                    <a:pt x="167" y="11133"/>
                  </a:cubicBezTo>
                  <a:cubicBezTo>
                    <a:pt x="262" y="11133"/>
                    <a:pt x="333" y="11061"/>
                    <a:pt x="333" y="10978"/>
                  </a:cubicBezTo>
                  <a:lnTo>
                    <a:pt x="333" y="10144"/>
                  </a:lnTo>
                  <a:cubicBezTo>
                    <a:pt x="333" y="9978"/>
                    <a:pt x="381" y="9823"/>
                    <a:pt x="453" y="9692"/>
                  </a:cubicBezTo>
                  <a:lnTo>
                    <a:pt x="1226" y="10347"/>
                  </a:lnTo>
                  <a:cubicBezTo>
                    <a:pt x="1345" y="10454"/>
                    <a:pt x="1417" y="10597"/>
                    <a:pt x="1417" y="10752"/>
                  </a:cubicBezTo>
                  <a:lnTo>
                    <a:pt x="1417" y="10954"/>
                  </a:lnTo>
                  <a:cubicBezTo>
                    <a:pt x="1417" y="11049"/>
                    <a:pt x="1488" y="11121"/>
                    <a:pt x="1584" y="11121"/>
                  </a:cubicBezTo>
                  <a:cubicBezTo>
                    <a:pt x="1667" y="11121"/>
                    <a:pt x="1750" y="11049"/>
                    <a:pt x="1750" y="10954"/>
                  </a:cubicBezTo>
                  <a:lnTo>
                    <a:pt x="1750" y="10764"/>
                  </a:lnTo>
                  <a:cubicBezTo>
                    <a:pt x="1750" y="10514"/>
                    <a:pt x="1643" y="10275"/>
                    <a:pt x="1453" y="10109"/>
                  </a:cubicBezTo>
                  <a:lnTo>
                    <a:pt x="679" y="9454"/>
                  </a:lnTo>
                  <a:cubicBezTo>
                    <a:pt x="750" y="9394"/>
                    <a:pt x="834" y="9347"/>
                    <a:pt x="929" y="9311"/>
                  </a:cubicBezTo>
                  <a:lnTo>
                    <a:pt x="2500" y="8751"/>
                  </a:lnTo>
                  <a:cubicBezTo>
                    <a:pt x="2679" y="9525"/>
                    <a:pt x="3381" y="10097"/>
                    <a:pt x="4191" y="10097"/>
                  </a:cubicBezTo>
                  <a:cubicBezTo>
                    <a:pt x="4465" y="10097"/>
                    <a:pt x="4739" y="10037"/>
                    <a:pt x="4977" y="9906"/>
                  </a:cubicBezTo>
                  <a:cubicBezTo>
                    <a:pt x="5048" y="9859"/>
                    <a:pt x="5084" y="9763"/>
                    <a:pt x="5048" y="9680"/>
                  </a:cubicBezTo>
                  <a:cubicBezTo>
                    <a:pt x="5013" y="9628"/>
                    <a:pt x="4959" y="9595"/>
                    <a:pt x="4896" y="9595"/>
                  </a:cubicBezTo>
                  <a:cubicBezTo>
                    <a:pt x="4872" y="9595"/>
                    <a:pt x="4848" y="9599"/>
                    <a:pt x="4822" y="9609"/>
                  </a:cubicBezTo>
                  <a:cubicBezTo>
                    <a:pt x="4632" y="9704"/>
                    <a:pt x="4405" y="9752"/>
                    <a:pt x="4191" y="9752"/>
                  </a:cubicBezTo>
                  <a:cubicBezTo>
                    <a:pt x="3512" y="9752"/>
                    <a:pt x="2941" y="9275"/>
                    <a:pt x="2822" y="8632"/>
                  </a:cubicBezTo>
                  <a:cubicBezTo>
                    <a:pt x="3120" y="8501"/>
                    <a:pt x="3310" y="8192"/>
                    <a:pt x="3310" y="7858"/>
                  </a:cubicBezTo>
                  <a:lnTo>
                    <a:pt x="3310" y="7477"/>
                  </a:lnTo>
                  <a:cubicBezTo>
                    <a:pt x="3548" y="7585"/>
                    <a:pt x="3810" y="7644"/>
                    <a:pt x="4084" y="7644"/>
                  </a:cubicBezTo>
                  <a:lnTo>
                    <a:pt x="4203" y="7644"/>
                  </a:lnTo>
                  <a:cubicBezTo>
                    <a:pt x="4501" y="7644"/>
                    <a:pt x="4798" y="7585"/>
                    <a:pt x="5084" y="7477"/>
                  </a:cubicBezTo>
                  <a:lnTo>
                    <a:pt x="5084" y="7847"/>
                  </a:lnTo>
                  <a:cubicBezTo>
                    <a:pt x="5084" y="8180"/>
                    <a:pt x="5275" y="8490"/>
                    <a:pt x="5572" y="8620"/>
                  </a:cubicBezTo>
                  <a:cubicBezTo>
                    <a:pt x="5525" y="8811"/>
                    <a:pt x="5453" y="9013"/>
                    <a:pt x="5322" y="9168"/>
                  </a:cubicBezTo>
                  <a:cubicBezTo>
                    <a:pt x="5263" y="9252"/>
                    <a:pt x="5275" y="9347"/>
                    <a:pt x="5346" y="9394"/>
                  </a:cubicBezTo>
                  <a:cubicBezTo>
                    <a:pt x="5382" y="9406"/>
                    <a:pt x="5406" y="9430"/>
                    <a:pt x="5453" y="9430"/>
                  </a:cubicBezTo>
                  <a:cubicBezTo>
                    <a:pt x="5501" y="9430"/>
                    <a:pt x="5560" y="9394"/>
                    <a:pt x="5584" y="9371"/>
                  </a:cubicBezTo>
                  <a:cubicBezTo>
                    <a:pt x="5715" y="9168"/>
                    <a:pt x="5822" y="8966"/>
                    <a:pt x="5882" y="8728"/>
                  </a:cubicBezTo>
                  <a:lnTo>
                    <a:pt x="7465" y="9275"/>
                  </a:lnTo>
                  <a:cubicBezTo>
                    <a:pt x="7561" y="9311"/>
                    <a:pt x="7656" y="9371"/>
                    <a:pt x="7727" y="9430"/>
                  </a:cubicBezTo>
                  <a:lnTo>
                    <a:pt x="6965" y="10085"/>
                  </a:lnTo>
                  <a:cubicBezTo>
                    <a:pt x="6775" y="10240"/>
                    <a:pt x="6668" y="10478"/>
                    <a:pt x="6668" y="10740"/>
                  </a:cubicBezTo>
                  <a:lnTo>
                    <a:pt x="6668" y="10942"/>
                  </a:lnTo>
                  <a:cubicBezTo>
                    <a:pt x="6668" y="11037"/>
                    <a:pt x="6751" y="11109"/>
                    <a:pt x="6834" y="11109"/>
                  </a:cubicBezTo>
                  <a:cubicBezTo>
                    <a:pt x="6930" y="11109"/>
                    <a:pt x="7001" y="11037"/>
                    <a:pt x="7001" y="10942"/>
                  </a:cubicBezTo>
                  <a:lnTo>
                    <a:pt x="7001" y="10764"/>
                  </a:lnTo>
                  <a:cubicBezTo>
                    <a:pt x="7001" y="10621"/>
                    <a:pt x="7072" y="10466"/>
                    <a:pt x="7191" y="10359"/>
                  </a:cubicBezTo>
                  <a:lnTo>
                    <a:pt x="7953" y="9704"/>
                  </a:lnTo>
                  <a:cubicBezTo>
                    <a:pt x="8025" y="9847"/>
                    <a:pt x="8073" y="9990"/>
                    <a:pt x="8073" y="10144"/>
                  </a:cubicBezTo>
                  <a:lnTo>
                    <a:pt x="8073" y="10978"/>
                  </a:lnTo>
                  <a:cubicBezTo>
                    <a:pt x="8073" y="11061"/>
                    <a:pt x="8144" y="11133"/>
                    <a:pt x="8239" y="11133"/>
                  </a:cubicBezTo>
                  <a:cubicBezTo>
                    <a:pt x="8323" y="11133"/>
                    <a:pt x="8394" y="11061"/>
                    <a:pt x="8394" y="10978"/>
                  </a:cubicBezTo>
                  <a:lnTo>
                    <a:pt x="8394" y="10144"/>
                  </a:lnTo>
                  <a:cubicBezTo>
                    <a:pt x="8346" y="9633"/>
                    <a:pt x="8013" y="9168"/>
                    <a:pt x="7537" y="8990"/>
                  </a:cubicBezTo>
                  <a:lnTo>
                    <a:pt x="6977" y="8799"/>
                  </a:lnTo>
                  <a:cubicBezTo>
                    <a:pt x="7156" y="7882"/>
                    <a:pt x="6989" y="7251"/>
                    <a:pt x="6822" y="6644"/>
                  </a:cubicBezTo>
                  <a:cubicBezTo>
                    <a:pt x="6739" y="6287"/>
                    <a:pt x="6632" y="5942"/>
                    <a:pt x="6608" y="5561"/>
                  </a:cubicBezTo>
                  <a:lnTo>
                    <a:pt x="6977" y="5561"/>
                  </a:lnTo>
                  <a:cubicBezTo>
                    <a:pt x="7251" y="5561"/>
                    <a:pt x="7477" y="5334"/>
                    <a:pt x="7477" y="5049"/>
                  </a:cubicBezTo>
                  <a:lnTo>
                    <a:pt x="7477" y="3310"/>
                  </a:lnTo>
                  <a:cubicBezTo>
                    <a:pt x="7477" y="1489"/>
                    <a:pt x="6001" y="0"/>
                    <a:pt x="4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5" name="Google Shape;11655;p61"/>
          <p:cNvGrpSpPr/>
          <p:nvPr/>
        </p:nvGrpSpPr>
        <p:grpSpPr>
          <a:xfrm>
            <a:off x="4907159" y="3346936"/>
            <a:ext cx="264845" cy="354214"/>
            <a:chOff x="4907159" y="3346936"/>
            <a:chExt cx="264845" cy="354214"/>
          </a:xfrm>
        </p:grpSpPr>
        <p:sp>
          <p:nvSpPr>
            <p:cNvPr id="11656" name="Google Shape;11656;p61"/>
            <p:cNvSpPr/>
            <p:nvPr/>
          </p:nvSpPr>
          <p:spPr>
            <a:xfrm>
              <a:off x="5015061" y="3556752"/>
              <a:ext cx="43402" cy="15777"/>
            </a:xfrm>
            <a:custGeom>
              <a:avLst/>
              <a:gdLst/>
              <a:ahLst/>
              <a:cxnLst/>
              <a:rect l="l" t="t" r="r" b="b"/>
              <a:pathLst>
                <a:path w="1370" h="498" extrusionOk="0">
                  <a:moveTo>
                    <a:pt x="173" y="0"/>
                  </a:moveTo>
                  <a:cubicBezTo>
                    <a:pt x="131" y="0"/>
                    <a:pt x="89" y="15"/>
                    <a:pt x="60" y="45"/>
                  </a:cubicBezTo>
                  <a:cubicBezTo>
                    <a:pt x="0" y="104"/>
                    <a:pt x="0" y="212"/>
                    <a:pt x="60" y="271"/>
                  </a:cubicBezTo>
                  <a:cubicBezTo>
                    <a:pt x="203" y="402"/>
                    <a:pt x="441" y="497"/>
                    <a:pt x="703" y="497"/>
                  </a:cubicBezTo>
                  <a:cubicBezTo>
                    <a:pt x="953" y="497"/>
                    <a:pt x="1191" y="402"/>
                    <a:pt x="1346" y="271"/>
                  </a:cubicBezTo>
                  <a:cubicBezTo>
                    <a:pt x="1369" y="212"/>
                    <a:pt x="1369" y="104"/>
                    <a:pt x="1310" y="45"/>
                  </a:cubicBezTo>
                  <a:cubicBezTo>
                    <a:pt x="1280" y="15"/>
                    <a:pt x="1241" y="0"/>
                    <a:pt x="1203" y="0"/>
                  </a:cubicBezTo>
                  <a:cubicBezTo>
                    <a:pt x="1164" y="0"/>
                    <a:pt x="1125" y="15"/>
                    <a:pt x="1096" y="45"/>
                  </a:cubicBezTo>
                  <a:cubicBezTo>
                    <a:pt x="1036" y="104"/>
                    <a:pt x="881" y="188"/>
                    <a:pt x="691" y="188"/>
                  </a:cubicBezTo>
                  <a:cubicBezTo>
                    <a:pt x="500" y="188"/>
                    <a:pt x="345" y="104"/>
                    <a:pt x="286" y="45"/>
                  </a:cubicBez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7" name="Google Shape;11657;p61"/>
            <p:cNvSpPr/>
            <p:nvPr/>
          </p:nvSpPr>
          <p:spPr>
            <a:xfrm>
              <a:off x="4907159" y="3346936"/>
              <a:ext cx="264845" cy="354214"/>
            </a:xfrm>
            <a:custGeom>
              <a:avLst/>
              <a:gdLst/>
              <a:ahLst/>
              <a:cxnLst/>
              <a:rect l="l" t="t" r="r" b="b"/>
              <a:pathLst>
                <a:path w="8360" h="11181" extrusionOk="0">
                  <a:moveTo>
                    <a:pt x="4240" y="334"/>
                  </a:moveTo>
                  <a:cubicBezTo>
                    <a:pt x="4418" y="334"/>
                    <a:pt x="4597" y="405"/>
                    <a:pt x="4716" y="560"/>
                  </a:cubicBezTo>
                  <a:lnTo>
                    <a:pt x="5287" y="1227"/>
                  </a:lnTo>
                  <a:cubicBezTo>
                    <a:pt x="5311" y="1274"/>
                    <a:pt x="5335" y="1310"/>
                    <a:pt x="5335" y="1358"/>
                  </a:cubicBezTo>
                  <a:cubicBezTo>
                    <a:pt x="5335" y="1405"/>
                    <a:pt x="5299" y="1465"/>
                    <a:pt x="5252" y="1489"/>
                  </a:cubicBezTo>
                  <a:lnTo>
                    <a:pt x="5156" y="1584"/>
                  </a:lnTo>
                  <a:lnTo>
                    <a:pt x="5013" y="1310"/>
                  </a:lnTo>
                  <a:cubicBezTo>
                    <a:pt x="4979" y="1259"/>
                    <a:pt x="4926" y="1219"/>
                    <a:pt x="4864" y="1219"/>
                  </a:cubicBezTo>
                  <a:cubicBezTo>
                    <a:pt x="4840" y="1219"/>
                    <a:pt x="4814" y="1225"/>
                    <a:pt x="4787" y="1239"/>
                  </a:cubicBezTo>
                  <a:cubicBezTo>
                    <a:pt x="4716" y="1286"/>
                    <a:pt x="4668" y="1370"/>
                    <a:pt x="4716" y="1465"/>
                  </a:cubicBezTo>
                  <a:lnTo>
                    <a:pt x="5549" y="3156"/>
                  </a:lnTo>
                  <a:lnTo>
                    <a:pt x="2573" y="3156"/>
                  </a:lnTo>
                  <a:lnTo>
                    <a:pt x="3680" y="703"/>
                  </a:lnTo>
                  <a:cubicBezTo>
                    <a:pt x="3787" y="477"/>
                    <a:pt x="4001" y="334"/>
                    <a:pt x="4240" y="334"/>
                  </a:cubicBezTo>
                  <a:close/>
                  <a:moveTo>
                    <a:pt x="5799" y="3453"/>
                  </a:moveTo>
                  <a:cubicBezTo>
                    <a:pt x="5799" y="3453"/>
                    <a:pt x="5823" y="3453"/>
                    <a:pt x="5823" y="3477"/>
                  </a:cubicBezTo>
                  <a:lnTo>
                    <a:pt x="5823" y="3834"/>
                  </a:lnTo>
                  <a:lnTo>
                    <a:pt x="5466" y="3834"/>
                  </a:lnTo>
                  <a:cubicBezTo>
                    <a:pt x="5371" y="3834"/>
                    <a:pt x="5299" y="3906"/>
                    <a:pt x="5299" y="3989"/>
                  </a:cubicBezTo>
                  <a:cubicBezTo>
                    <a:pt x="5299" y="4084"/>
                    <a:pt x="5371" y="4156"/>
                    <a:pt x="5466" y="4156"/>
                  </a:cubicBezTo>
                  <a:lnTo>
                    <a:pt x="5942" y="4156"/>
                  </a:lnTo>
                  <a:lnTo>
                    <a:pt x="7585" y="5049"/>
                  </a:lnTo>
                  <a:lnTo>
                    <a:pt x="537" y="5049"/>
                  </a:lnTo>
                  <a:lnTo>
                    <a:pt x="2192" y="4156"/>
                  </a:lnTo>
                  <a:lnTo>
                    <a:pt x="4763" y="4156"/>
                  </a:lnTo>
                  <a:cubicBezTo>
                    <a:pt x="4847" y="4156"/>
                    <a:pt x="4930" y="4084"/>
                    <a:pt x="4930" y="3989"/>
                  </a:cubicBezTo>
                  <a:cubicBezTo>
                    <a:pt x="4930" y="3906"/>
                    <a:pt x="4847" y="3834"/>
                    <a:pt x="4763" y="3834"/>
                  </a:cubicBezTo>
                  <a:lnTo>
                    <a:pt x="2311" y="3834"/>
                  </a:lnTo>
                  <a:lnTo>
                    <a:pt x="2311" y="3477"/>
                  </a:lnTo>
                  <a:cubicBezTo>
                    <a:pt x="2311" y="3477"/>
                    <a:pt x="2311" y="3453"/>
                    <a:pt x="2323" y="3453"/>
                  </a:cubicBezTo>
                  <a:close/>
                  <a:moveTo>
                    <a:pt x="6621" y="5394"/>
                  </a:moveTo>
                  <a:cubicBezTo>
                    <a:pt x="6776" y="5394"/>
                    <a:pt x="6895" y="5513"/>
                    <a:pt x="6895" y="5656"/>
                  </a:cubicBezTo>
                  <a:cubicBezTo>
                    <a:pt x="6883" y="5811"/>
                    <a:pt x="6752" y="5930"/>
                    <a:pt x="6609" y="5930"/>
                  </a:cubicBezTo>
                  <a:lnTo>
                    <a:pt x="6502" y="5930"/>
                  </a:lnTo>
                  <a:lnTo>
                    <a:pt x="6502" y="5918"/>
                  </a:lnTo>
                  <a:cubicBezTo>
                    <a:pt x="6502" y="5823"/>
                    <a:pt x="6430" y="5751"/>
                    <a:pt x="6347" y="5751"/>
                  </a:cubicBezTo>
                  <a:cubicBezTo>
                    <a:pt x="6252" y="5751"/>
                    <a:pt x="6180" y="5823"/>
                    <a:pt x="6180" y="5918"/>
                  </a:cubicBezTo>
                  <a:cubicBezTo>
                    <a:pt x="6180" y="7073"/>
                    <a:pt x="5240" y="8013"/>
                    <a:pt x="4085" y="8013"/>
                  </a:cubicBezTo>
                  <a:cubicBezTo>
                    <a:pt x="2918" y="8013"/>
                    <a:pt x="1977" y="7073"/>
                    <a:pt x="1977" y="5918"/>
                  </a:cubicBezTo>
                  <a:cubicBezTo>
                    <a:pt x="1977" y="5823"/>
                    <a:pt x="1906" y="5751"/>
                    <a:pt x="1823" y="5751"/>
                  </a:cubicBezTo>
                  <a:cubicBezTo>
                    <a:pt x="1727" y="5751"/>
                    <a:pt x="1656" y="5823"/>
                    <a:pt x="1656" y="5918"/>
                  </a:cubicBezTo>
                  <a:lnTo>
                    <a:pt x="1656" y="5930"/>
                  </a:lnTo>
                  <a:lnTo>
                    <a:pt x="1549" y="5930"/>
                  </a:lnTo>
                  <a:cubicBezTo>
                    <a:pt x="1406" y="5930"/>
                    <a:pt x="1287" y="5811"/>
                    <a:pt x="1287" y="5656"/>
                  </a:cubicBezTo>
                  <a:cubicBezTo>
                    <a:pt x="1287" y="5513"/>
                    <a:pt x="1406" y="5394"/>
                    <a:pt x="1549" y="5394"/>
                  </a:cubicBezTo>
                  <a:lnTo>
                    <a:pt x="2870" y="5394"/>
                  </a:lnTo>
                  <a:lnTo>
                    <a:pt x="2870" y="5632"/>
                  </a:lnTo>
                  <a:cubicBezTo>
                    <a:pt x="2870" y="5715"/>
                    <a:pt x="2954" y="5799"/>
                    <a:pt x="3037" y="5799"/>
                  </a:cubicBezTo>
                  <a:cubicBezTo>
                    <a:pt x="3132" y="5799"/>
                    <a:pt x="3204" y="5715"/>
                    <a:pt x="3204" y="5632"/>
                  </a:cubicBezTo>
                  <a:lnTo>
                    <a:pt x="3204" y="5394"/>
                  </a:lnTo>
                  <a:lnTo>
                    <a:pt x="4978" y="5394"/>
                  </a:lnTo>
                  <a:lnTo>
                    <a:pt x="4978" y="5632"/>
                  </a:lnTo>
                  <a:cubicBezTo>
                    <a:pt x="4978" y="5715"/>
                    <a:pt x="5049" y="5799"/>
                    <a:pt x="5133" y="5799"/>
                  </a:cubicBezTo>
                  <a:cubicBezTo>
                    <a:pt x="5228" y="5799"/>
                    <a:pt x="5299" y="5715"/>
                    <a:pt x="5299" y="5632"/>
                  </a:cubicBezTo>
                  <a:lnTo>
                    <a:pt x="5299" y="5394"/>
                  </a:lnTo>
                  <a:close/>
                  <a:moveTo>
                    <a:pt x="6537" y="6251"/>
                  </a:moveTo>
                  <a:cubicBezTo>
                    <a:pt x="6561" y="6596"/>
                    <a:pt x="6657" y="7525"/>
                    <a:pt x="6537" y="8549"/>
                  </a:cubicBezTo>
                  <a:lnTo>
                    <a:pt x="6323" y="8549"/>
                  </a:lnTo>
                  <a:cubicBezTo>
                    <a:pt x="6299" y="8549"/>
                    <a:pt x="6252" y="8549"/>
                    <a:pt x="6228" y="8561"/>
                  </a:cubicBezTo>
                  <a:cubicBezTo>
                    <a:pt x="6061" y="8418"/>
                    <a:pt x="5704" y="8120"/>
                    <a:pt x="5514" y="7882"/>
                  </a:cubicBezTo>
                  <a:cubicBezTo>
                    <a:pt x="6026" y="7501"/>
                    <a:pt x="6383" y="6930"/>
                    <a:pt x="6478" y="6251"/>
                  </a:cubicBezTo>
                  <a:close/>
                  <a:moveTo>
                    <a:pt x="4954" y="8180"/>
                  </a:moveTo>
                  <a:lnTo>
                    <a:pt x="4954" y="8561"/>
                  </a:lnTo>
                  <a:cubicBezTo>
                    <a:pt x="4954" y="8632"/>
                    <a:pt x="4966" y="8692"/>
                    <a:pt x="4990" y="8775"/>
                  </a:cubicBezTo>
                  <a:lnTo>
                    <a:pt x="4442" y="9037"/>
                  </a:lnTo>
                  <a:cubicBezTo>
                    <a:pt x="4347" y="8954"/>
                    <a:pt x="4216" y="8894"/>
                    <a:pt x="4073" y="8894"/>
                  </a:cubicBezTo>
                  <a:cubicBezTo>
                    <a:pt x="3942" y="8894"/>
                    <a:pt x="3811" y="8954"/>
                    <a:pt x="3716" y="9037"/>
                  </a:cubicBezTo>
                  <a:lnTo>
                    <a:pt x="3168" y="8775"/>
                  </a:lnTo>
                  <a:cubicBezTo>
                    <a:pt x="3180" y="8716"/>
                    <a:pt x="3204" y="8632"/>
                    <a:pt x="3204" y="8561"/>
                  </a:cubicBezTo>
                  <a:lnTo>
                    <a:pt x="3204" y="8180"/>
                  </a:lnTo>
                  <a:cubicBezTo>
                    <a:pt x="3466" y="8275"/>
                    <a:pt x="3763" y="8335"/>
                    <a:pt x="4073" y="8335"/>
                  </a:cubicBezTo>
                  <a:cubicBezTo>
                    <a:pt x="4394" y="8335"/>
                    <a:pt x="4692" y="8275"/>
                    <a:pt x="4954" y="8180"/>
                  </a:cubicBezTo>
                  <a:close/>
                  <a:moveTo>
                    <a:pt x="5287" y="8097"/>
                  </a:moveTo>
                  <a:cubicBezTo>
                    <a:pt x="5478" y="8335"/>
                    <a:pt x="5775" y="8597"/>
                    <a:pt x="5942" y="8728"/>
                  </a:cubicBezTo>
                  <a:cubicBezTo>
                    <a:pt x="5883" y="8811"/>
                    <a:pt x="5835" y="8930"/>
                    <a:pt x="5835" y="9049"/>
                  </a:cubicBezTo>
                  <a:lnTo>
                    <a:pt x="5835" y="9132"/>
                  </a:lnTo>
                  <a:lnTo>
                    <a:pt x="5645" y="9049"/>
                  </a:lnTo>
                  <a:cubicBezTo>
                    <a:pt x="5430" y="8978"/>
                    <a:pt x="5287" y="8775"/>
                    <a:pt x="5287" y="8549"/>
                  </a:cubicBezTo>
                  <a:lnTo>
                    <a:pt x="5287" y="8097"/>
                  </a:lnTo>
                  <a:close/>
                  <a:moveTo>
                    <a:pt x="2870" y="8132"/>
                  </a:moveTo>
                  <a:lnTo>
                    <a:pt x="2870" y="8561"/>
                  </a:lnTo>
                  <a:cubicBezTo>
                    <a:pt x="2870" y="8787"/>
                    <a:pt x="2727" y="8990"/>
                    <a:pt x="2513" y="9073"/>
                  </a:cubicBezTo>
                  <a:lnTo>
                    <a:pt x="2323" y="9144"/>
                  </a:lnTo>
                  <a:lnTo>
                    <a:pt x="2323" y="9073"/>
                  </a:lnTo>
                  <a:cubicBezTo>
                    <a:pt x="2323" y="8954"/>
                    <a:pt x="2275" y="8847"/>
                    <a:pt x="2216" y="8751"/>
                  </a:cubicBezTo>
                  <a:cubicBezTo>
                    <a:pt x="2382" y="8620"/>
                    <a:pt x="2680" y="8370"/>
                    <a:pt x="2870" y="8132"/>
                  </a:cubicBezTo>
                  <a:close/>
                  <a:moveTo>
                    <a:pt x="1823" y="8871"/>
                  </a:moveTo>
                  <a:cubicBezTo>
                    <a:pt x="1918" y="8871"/>
                    <a:pt x="2001" y="8966"/>
                    <a:pt x="2001" y="9049"/>
                  </a:cubicBezTo>
                  <a:cubicBezTo>
                    <a:pt x="2001" y="9144"/>
                    <a:pt x="1918" y="9228"/>
                    <a:pt x="1823" y="9228"/>
                  </a:cubicBezTo>
                  <a:lnTo>
                    <a:pt x="1644" y="9228"/>
                  </a:lnTo>
                  <a:cubicBezTo>
                    <a:pt x="1537" y="9228"/>
                    <a:pt x="1465" y="9144"/>
                    <a:pt x="1465" y="9049"/>
                  </a:cubicBezTo>
                  <a:cubicBezTo>
                    <a:pt x="1465" y="8966"/>
                    <a:pt x="1549" y="8871"/>
                    <a:pt x="1644" y="8871"/>
                  </a:cubicBezTo>
                  <a:close/>
                  <a:moveTo>
                    <a:pt x="6526" y="8871"/>
                  </a:moveTo>
                  <a:cubicBezTo>
                    <a:pt x="6621" y="8871"/>
                    <a:pt x="6704" y="8966"/>
                    <a:pt x="6704" y="9049"/>
                  </a:cubicBezTo>
                  <a:cubicBezTo>
                    <a:pt x="6704" y="9144"/>
                    <a:pt x="6621" y="9228"/>
                    <a:pt x="6526" y="9228"/>
                  </a:cubicBezTo>
                  <a:lnTo>
                    <a:pt x="6347" y="9228"/>
                  </a:lnTo>
                  <a:cubicBezTo>
                    <a:pt x="6240" y="9228"/>
                    <a:pt x="6156" y="9144"/>
                    <a:pt x="6156" y="9049"/>
                  </a:cubicBezTo>
                  <a:cubicBezTo>
                    <a:pt x="6156" y="8966"/>
                    <a:pt x="6252" y="8871"/>
                    <a:pt x="6347" y="8871"/>
                  </a:cubicBezTo>
                  <a:close/>
                  <a:moveTo>
                    <a:pt x="4073" y="9228"/>
                  </a:moveTo>
                  <a:cubicBezTo>
                    <a:pt x="4180" y="9228"/>
                    <a:pt x="4263" y="9323"/>
                    <a:pt x="4263" y="9406"/>
                  </a:cubicBezTo>
                  <a:cubicBezTo>
                    <a:pt x="4263" y="9502"/>
                    <a:pt x="4180" y="9585"/>
                    <a:pt x="4073" y="9585"/>
                  </a:cubicBezTo>
                  <a:cubicBezTo>
                    <a:pt x="3978" y="9585"/>
                    <a:pt x="3894" y="9502"/>
                    <a:pt x="3894" y="9406"/>
                  </a:cubicBezTo>
                  <a:cubicBezTo>
                    <a:pt x="3894" y="9323"/>
                    <a:pt x="3990" y="9228"/>
                    <a:pt x="4073" y="9228"/>
                  </a:cubicBezTo>
                  <a:close/>
                  <a:moveTo>
                    <a:pt x="4299" y="0"/>
                  </a:moveTo>
                  <a:cubicBezTo>
                    <a:pt x="3930" y="0"/>
                    <a:pt x="3585" y="227"/>
                    <a:pt x="3442" y="572"/>
                  </a:cubicBezTo>
                  <a:lnTo>
                    <a:pt x="2299" y="3156"/>
                  </a:lnTo>
                  <a:cubicBezTo>
                    <a:pt x="2156" y="3203"/>
                    <a:pt x="2073" y="3322"/>
                    <a:pt x="2073" y="3465"/>
                  </a:cubicBezTo>
                  <a:lnTo>
                    <a:pt x="2073" y="3906"/>
                  </a:lnTo>
                  <a:lnTo>
                    <a:pt x="311" y="4834"/>
                  </a:lnTo>
                  <a:cubicBezTo>
                    <a:pt x="191" y="4894"/>
                    <a:pt x="132" y="5037"/>
                    <a:pt x="180" y="5168"/>
                  </a:cubicBezTo>
                  <a:cubicBezTo>
                    <a:pt x="215" y="5299"/>
                    <a:pt x="334" y="5370"/>
                    <a:pt x="465" y="5370"/>
                  </a:cubicBezTo>
                  <a:lnTo>
                    <a:pt x="1108" y="5370"/>
                  </a:lnTo>
                  <a:cubicBezTo>
                    <a:pt x="1061" y="5453"/>
                    <a:pt x="1049" y="5549"/>
                    <a:pt x="1049" y="5644"/>
                  </a:cubicBezTo>
                  <a:cubicBezTo>
                    <a:pt x="1049" y="5882"/>
                    <a:pt x="1180" y="6084"/>
                    <a:pt x="1382" y="6180"/>
                  </a:cubicBezTo>
                  <a:cubicBezTo>
                    <a:pt x="1382" y="6239"/>
                    <a:pt x="1370" y="6311"/>
                    <a:pt x="1358" y="6418"/>
                  </a:cubicBezTo>
                  <a:cubicBezTo>
                    <a:pt x="1346" y="6501"/>
                    <a:pt x="1418" y="6585"/>
                    <a:pt x="1501" y="6596"/>
                  </a:cubicBezTo>
                  <a:lnTo>
                    <a:pt x="1513" y="6596"/>
                  </a:lnTo>
                  <a:cubicBezTo>
                    <a:pt x="1608" y="6596"/>
                    <a:pt x="1668" y="6537"/>
                    <a:pt x="1680" y="6442"/>
                  </a:cubicBezTo>
                  <a:cubicBezTo>
                    <a:pt x="1680" y="6370"/>
                    <a:pt x="1692" y="6299"/>
                    <a:pt x="1692" y="6251"/>
                  </a:cubicBezTo>
                  <a:lnTo>
                    <a:pt x="1751" y="6251"/>
                  </a:lnTo>
                  <a:cubicBezTo>
                    <a:pt x="1846" y="6906"/>
                    <a:pt x="2204" y="7489"/>
                    <a:pt x="2727" y="7870"/>
                  </a:cubicBezTo>
                  <a:cubicBezTo>
                    <a:pt x="2549" y="8120"/>
                    <a:pt x="2168" y="8430"/>
                    <a:pt x="1989" y="8561"/>
                  </a:cubicBezTo>
                  <a:cubicBezTo>
                    <a:pt x="1965" y="8561"/>
                    <a:pt x="1918" y="8549"/>
                    <a:pt x="1894" y="8549"/>
                  </a:cubicBezTo>
                  <a:lnTo>
                    <a:pt x="1680" y="8549"/>
                  </a:lnTo>
                  <a:cubicBezTo>
                    <a:pt x="1632" y="8097"/>
                    <a:pt x="1608" y="7620"/>
                    <a:pt x="1620" y="7144"/>
                  </a:cubicBezTo>
                  <a:cubicBezTo>
                    <a:pt x="1620" y="7061"/>
                    <a:pt x="1549" y="6977"/>
                    <a:pt x="1454" y="6977"/>
                  </a:cubicBezTo>
                  <a:cubicBezTo>
                    <a:pt x="1370" y="6977"/>
                    <a:pt x="1299" y="7061"/>
                    <a:pt x="1299" y="7144"/>
                  </a:cubicBezTo>
                  <a:cubicBezTo>
                    <a:pt x="1275" y="7680"/>
                    <a:pt x="1311" y="8204"/>
                    <a:pt x="1370" y="8680"/>
                  </a:cubicBezTo>
                  <a:cubicBezTo>
                    <a:pt x="1263" y="8763"/>
                    <a:pt x="1203" y="8906"/>
                    <a:pt x="1203" y="9061"/>
                  </a:cubicBezTo>
                  <a:cubicBezTo>
                    <a:pt x="1203" y="9216"/>
                    <a:pt x="1275" y="9359"/>
                    <a:pt x="1382" y="9454"/>
                  </a:cubicBezTo>
                  <a:lnTo>
                    <a:pt x="1382" y="9513"/>
                  </a:lnTo>
                  <a:lnTo>
                    <a:pt x="799" y="9716"/>
                  </a:lnTo>
                  <a:cubicBezTo>
                    <a:pt x="322" y="9883"/>
                    <a:pt x="1" y="10347"/>
                    <a:pt x="1" y="10871"/>
                  </a:cubicBezTo>
                  <a:lnTo>
                    <a:pt x="1" y="11002"/>
                  </a:lnTo>
                  <a:cubicBezTo>
                    <a:pt x="1" y="11097"/>
                    <a:pt x="72" y="11168"/>
                    <a:pt x="168" y="11168"/>
                  </a:cubicBezTo>
                  <a:cubicBezTo>
                    <a:pt x="251" y="11168"/>
                    <a:pt x="322" y="11097"/>
                    <a:pt x="322" y="11002"/>
                  </a:cubicBezTo>
                  <a:lnTo>
                    <a:pt x="322" y="10871"/>
                  </a:lnTo>
                  <a:cubicBezTo>
                    <a:pt x="322" y="10502"/>
                    <a:pt x="561" y="10156"/>
                    <a:pt x="918" y="10037"/>
                  </a:cubicBezTo>
                  <a:lnTo>
                    <a:pt x="1394" y="9871"/>
                  </a:lnTo>
                  <a:lnTo>
                    <a:pt x="1394" y="11002"/>
                  </a:lnTo>
                  <a:cubicBezTo>
                    <a:pt x="1394" y="11097"/>
                    <a:pt x="1477" y="11168"/>
                    <a:pt x="1561" y="11168"/>
                  </a:cubicBezTo>
                  <a:cubicBezTo>
                    <a:pt x="1656" y="11168"/>
                    <a:pt x="1727" y="11097"/>
                    <a:pt x="1727" y="11002"/>
                  </a:cubicBezTo>
                  <a:lnTo>
                    <a:pt x="1727" y="9609"/>
                  </a:lnTo>
                  <a:lnTo>
                    <a:pt x="1977" y="9609"/>
                  </a:lnTo>
                  <a:cubicBezTo>
                    <a:pt x="2096" y="9823"/>
                    <a:pt x="2466" y="10502"/>
                    <a:pt x="2620" y="11049"/>
                  </a:cubicBezTo>
                  <a:cubicBezTo>
                    <a:pt x="2632" y="11121"/>
                    <a:pt x="2704" y="11168"/>
                    <a:pt x="2787" y="11168"/>
                  </a:cubicBezTo>
                  <a:lnTo>
                    <a:pt x="2823" y="11168"/>
                  </a:lnTo>
                  <a:cubicBezTo>
                    <a:pt x="2918" y="11145"/>
                    <a:pt x="2966" y="11061"/>
                    <a:pt x="2942" y="10978"/>
                  </a:cubicBezTo>
                  <a:cubicBezTo>
                    <a:pt x="2811" y="10454"/>
                    <a:pt x="2501" y="9859"/>
                    <a:pt x="2335" y="9549"/>
                  </a:cubicBezTo>
                  <a:lnTo>
                    <a:pt x="2727" y="9406"/>
                  </a:lnTo>
                  <a:cubicBezTo>
                    <a:pt x="2882" y="9347"/>
                    <a:pt x="3037" y="9252"/>
                    <a:pt x="3144" y="9097"/>
                  </a:cubicBezTo>
                  <a:lnTo>
                    <a:pt x="3680" y="9359"/>
                  </a:lnTo>
                  <a:lnTo>
                    <a:pt x="3680" y="9442"/>
                  </a:lnTo>
                  <a:cubicBezTo>
                    <a:pt x="3680" y="9656"/>
                    <a:pt x="3823" y="9859"/>
                    <a:pt x="4013" y="9930"/>
                  </a:cubicBezTo>
                  <a:lnTo>
                    <a:pt x="4013" y="11014"/>
                  </a:lnTo>
                  <a:cubicBezTo>
                    <a:pt x="4013" y="11109"/>
                    <a:pt x="4097" y="11180"/>
                    <a:pt x="4180" y="11180"/>
                  </a:cubicBezTo>
                  <a:cubicBezTo>
                    <a:pt x="4275" y="11180"/>
                    <a:pt x="4347" y="11109"/>
                    <a:pt x="4347" y="11014"/>
                  </a:cubicBezTo>
                  <a:lnTo>
                    <a:pt x="4347" y="9930"/>
                  </a:lnTo>
                  <a:cubicBezTo>
                    <a:pt x="4549" y="9859"/>
                    <a:pt x="4692" y="9680"/>
                    <a:pt x="4692" y="9442"/>
                  </a:cubicBezTo>
                  <a:lnTo>
                    <a:pt x="4692" y="9359"/>
                  </a:lnTo>
                  <a:lnTo>
                    <a:pt x="5228" y="9097"/>
                  </a:lnTo>
                  <a:cubicBezTo>
                    <a:pt x="5323" y="9228"/>
                    <a:pt x="5466" y="9347"/>
                    <a:pt x="5645" y="9406"/>
                  </a:cubicBezTo>
                  <a:lnTo>
                    <a:pt x="6026" y="9549"/>
                  </a:lnTo>
                  <a:cubicBezTo>
                    <a:pt x="5859" y="9847"/>
                    <a:pt x="5549" y="10454"/>
                    <a:pt x="5418" y="10978"/>
                  </a:cubicBezTo>
                  <a:cubicBezTo>
                    <a:pt x="5406" y="11061"/>
                    <a:pt x="5442" y="11157"/>
                    <a:pt x="5537" y="11168"/>
                  </a:cubicBezTo>
                  <a:lnTo>
                    <a:pt x="5585" y="11168"/>
                  </a:lnTo>
                  <a:cubicBezTo>
                    <a:pt x="5656" y="11168"/>
                    <a:pt x="5716" y="11121"/>
                    <a:pt x="5740" y="11049"/>
                  </a:cubicBezTo>
                  <a:cubicBezTo>
                    <a:pt x="5883" y="10502"/>
                    <a:pt x="6252" y="9811"/>
                    <a:pt x="6383" y="9609"/>
                  </a:cubicBezTo>
                  <a:lnTo>
                    <a:pt x="6633" y="9609"/>
                  </a:lnTo>
                  <a:lnTo>
                    <a:pt x="6633" y="11002"/>
                  </a:lnTo>
                  <a:cubicBezTo>
                    <a:pt x="6633" y="11097"/>
                    <a:pt x="6716" y="11168"/>
                    <a:pt x="6799" y="11168"/>
                  </a:cubicBezTo>
                  <a:cubicBezTo>
                    <a:pt x="6895" y="11168"/>
                    <a:pt x="6966" y="11097"/>
                    <a:pt x="6966" y="11002"/>
                  </a:cubicBezTo>
                  <a:lnTo>
                    <a:pt x="6966" y="9871"/>
                  </a:lnTo>
                  <a:lnTo>
                    <a:pt x="7442" y="10037"/>
                  </a:lnTo>
                  <a:cubicBezTo>
                    <a:pt x="7800" y="10156"/>
                    <a:pt x="8038" y="10502"/>
                    <a:pt x="8038" y="10871"/>
                  </a:cubicBezTo>
                  <a:lnTo>
                    <a:pt x="8038" y="11002"/>
                  </a:lnTo>
                  <a:cubicBezTo>
                    <a:pt x="8038" y="11097"/>
                    <a:pt x="8109" y="11168"/>
                    <a:pt x="8204" y="11168"/>
                  </a:cubicBezTo>
                  <a:cubicBezTo>
                    <a:pt x="8288" y="11168"/>
                    <a:pt x="8359" y="11097"/>
                    <a:pt x="8359" y="11002"/>
                  </a:cubicBezTo>
                  <a:lnTo>
                    <a:pt x="8359" y="10871"/>
                  </a:lnTo>
                  <a:cubicBezTo>
                    <a:pt x="8240" y="10323"/>
                    <a:pt x="7919" y="9871"/>
                    <a:pt x="7442" y="9692"/>
                  </a:cubicBezTo>
                  <a:lnTo>
                    <a:pt x="6859" y="9490"/>
                  </a:lnTo>
                  <a:lnTo>
                    <a:pt x="6859" y="9430"/>
                  </a:lnTo>
                  <a:cubicBezTo>
                    <a:pt x="6966" y="9335"/>
                    <a:pt x="7038" y="9192"/>
                    <a:pt x="7038" y="9037"/>
                  </a:cubicBezTo>
                  <a:cubicBezTo>
                    <a:pt x="7038" y="8894"/>
                    <a:pt x="6978" y="8751"/>
                    <a:pt x="6883" y="8656"/>
                  </a:cubicBezTo>
                  <a:cubicBezTo>
                    <a:pt x="7014" y="7525"/>
                    <a:pt x="6918" y="6513"/>
                    <a:pt x="6895" y="6168"/>
                  </a:cubicBezTo>
                  <a:cubicBezTo>
                    <a:pt x="7085" y="6061"/>
                    <a:pt x="7216" y="5870"/>
                    <a:pt x="7216" y="5632"/>
                  </a:cubicBezTo>
                  <a:cubicBezTo>
                    <a:pt x="7216" y="5525"/>
                    <a:pt x="7192" y="5442"/>
                    <a:pt x="7157" y="5358"/>
                  </a:cubicBezTo>
                  <a:lnTo>
                    <a:pt x="7800" y="5358"/>
                  </a:lnTo>
                  <a:cubicBezTo>
                    <a:pt x="7931" y="5358"/>
                    <a:pt x="8038" y="5275"/>
                    <a:pt x="8085" y="5156"/>
                  </a:cubicBezTo>
                  <a:cubicBezTo>
                    <a:pt x="8109" y="5025"/>
                    <a:pt x="8050" y="4894"/>
                    <a:pt x="7942" y="4822"/>
                  </a:cubicBezTo>
                  <a:lnTo>
                    <a:pt x="6192" y="3894"/>
                  </a:lnTo>
                  <a:lnTo>
                    <a:pt x="6192" y="3477"/>
                  </a:lnTo>
                  <a:cubicBezTo>
                    <a:pt x="6192" y="3322"/>
                    <a:pt x="6109" y="3203"/>
                    <a:pt x="5966" y="3156"/>
                  </a:cubicBezTo>
                  <a:lnTo>
                    <a:pt x="5335" y="1870"/>
                  </a:lnTo>
                  <a:lnTo>
                    <a:pt x="5490" y="1751"/>
                  </a:lnTo>
                  <a:cubicBezTo>
                    <a:pt x="5609" y="1655"/>
                    <a:pt x="5680" y="1536"/>
                    <a:pt x="5704" y="1393"/>
                  </a:cubicBezTo>
                  <a:cubicBezTo>
                    <a:pt x="5716" y="1251"/>
                    <a:pt x="5668" y="1108"/>
                    <a:pt x="5585" y="1000"/>
                  </a:cubicBezTo>
                  <a:lnTo>
                    <a:pt x="5013" y="334"/>
                  </a:lnTo>
                  <a:cubicBezTo>
                    <a:pt x="4835" y="119"/>
                    <a:pt x="4573"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58" name="Google Shape;11658;p61"/>
          <p:cNvGrpSpPr/>
          <p:nvPr/>
        </p:nvGrpSpPr>
        <p:grpSpPr>
          <a:xfrm>
            <a:off x="8048421" y="3334486"/>
            <a:ext cx="276503" cy="369674"/>
            <a:chOff x="8048421" y="3334486"/>
            <a:chExt cx="276503" cy="369674"/>
          </a:xfrm>
        </p:grpSpPr>
        <p:sp>
          <p:nvSpPr>
            <p:cNvPr id="11659" name="Google Shape;11659;p61"/>
            <p:cNvSpPr/>
            <p:nvPr/>
          </p:nvSpPr>
          <p:spPr>
            <a:xfrm>
              <a:off x="8146471" y="3456327"/>
              <a:ext cx="10613" cy="16252"/>
            </a:xfrm>
            <a:custGeom>
              <a:avLst/>
              <a:gdLst/>
              <a:ahLst/>
              <a:cxnLst/>
              <a:rect l="l" t="t" r="r" b="b"/>
              <a:pathLst>
                <a:path w="335" h="513" extrusionOk="0">
                  <a:moveTo>
                    <a:pt x="156" y="0"/>
                  </a:moveTo>
                  <a:cubicBezTo>
                    <a:pt x="72" y="0"/>
                    <a:pt x="1" y="84"/>
                    <a:pt x="1" y="167"/>
                  </a:cubicBezTo>
                  <a:lnTo>
                    <a:pt x="1" y="345"/>
                  </a:lnTo>
                  <a:cubicBezTo>
                    <a:pt x="1" y="441"/>
                    <a:pt x="72" y="512"/>
                    <a:pt x="156" y="512"/>
                  </a:cubicBezTo>
                  <a:cubicBezTo>
                    <a:pt x="251" y="512"/>
                    <a:pt x="322" y="441"/>
                    <a:pt x="322" y="345"/>
                  </a:cubicBezTo>
                  <a:lnTo>
                    <a:pt x="322" y="167"/>
                  </a:lnTo>
                  <a:cubicBezTo>
                    <a:pt x="334" y="84"/>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0" name="Google Shape;11660;p61"/>
            <p:cNvSpPr/>
            <p:nvPr/>
          </p:nvSpPr>
          <p:spPr>
            <a:xfrm>
              <a:off x="8215501" y="3456327"/>
              <a:ext cx="10961" cy="16252"/>
            </a:xfrm>
            <a:custGeom>
              <a:avLst/>
              <a:gdLst/>
              <a:ahLst/>
              <a:cxnLst/>
              <a:rect l="l" t="t" r="r" b="b"/>
              <a:pathLst>
                <a:path w="346" h="513" extrusionOk="0">
                  <a:moveTo>
                    <a:pt x="167" y="0"/>
                  </a:moveTo>
                  <a:cubicBezTo>
                    <a:pt x="84" y="0"/>
                    <a:pt x="1" y="84"/>
                    <a:pt x="1" y="167"/>
                  </a:cubicBezTo>
                  <a:lnTo>
                    <a:pt x="1" y="345"/>
                  </a:lnTo>
                  <a:cubicBezTo>
                    <a:pt x="1" y="441"/>
                    <a:pt x="84" y="512"/>
                    <a:pt x="167" y="512"/>
                  </a:cubicBezTo>
                  <a:cubicBezTo>
                    <a:pt x="263" y="512"/>
                    <a:pt x="334" y="441"/>
                    <a:pt x="334" y="345"/>
                  </a:cubicBezTo>
                  <a:lnTo>
                    <a:pt x="334" y="167"/>
                  </a:lnTo>
                  <a:cubicBezTo>
                    <a:pt x="346" y="84"/>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1" name="Google Shape;11661;p61"/>
            <p:cNvSpPr/>
            <p:nvPr/>
          </p:nvSpPr>
          <p:spPr>
            <a:xfrm>
              <a:off x="8048421" y="3334486"/>
              <a:ext cx="276503" cy="369674"/>
            </a:xfrm>
            <a:custGeom>
              <a:avLst/>
              <a:gdLst/>
              <a:ahLst/>
              <a:cxnLst/>
              <a:rect l="l" t="t" r="r" b="b"/>
              <a:pathLst>
                <a:path w="8728" h="11669" extrusionOk="0">
                  <a:moveTo>
                    <a:pt x="4322" y="334"/>
                  </a:moveTo>
                  <a:cubicBezTo>
                    <a:pt x="4703" y="334"/>
                    <a:pt x="5084" y="417"/>
                    <a:pt x="5441" y="548"/>
                  </a:cubicBezTo>
                  <a:cubicBezTo>
                    <a:pt x="5179" y="655"/>
                    <a:pt x="4953" y="786"/>
                    <a:pt x="4787" y="953"/>
                  </a:cubicBezTo>
                  <a:cubicBezTo>
                    <a:pt x="4679" y="810"/>
                    <a:pt x="4536" y="727"/>
                    <a:pt x="4358" y="727"/>
                  </a:cubicBezTo>
                  <a:cubicBezTo>
                    <a:pt x="4179" y="727"/>
                    <a:pt x="4013" y="810"/>
                    <a:pt x="3917" y="953"/>
                  </a:cubicBezTo>
                  <a:cubicBezTo>
                    <a:pt x="3739" y="774"/>
                    <a:pt x="3501" y="620"/>
                    <a:pt x="3239" y="536"/>
                  </a:cubicBezTo>
                  <a:cubicBezTo>
                    <a:pt x="3584" y="417"/>
                    <a:pt x="3953" y="334"/>
                    <a:pt x="4322" y="334"/>
                  </a:cubicBezTo>
                  <a:close/>
                  <a:moveTo>
                    <a:pt x="6151" y="749"/>
                  </a:moveTo>
                  <a:cubicBezTo>
                    <a:pt x="6261" y="749"/>
                    <a:pt x="6366" y="761"/>
                    <a:pt x="6465" y="786"/>
                  </a:cubicBezTo>
                  <a:cubicBezTo>
                    <a:pt x="6322" y="965"/>
                    <a:pt x="6072" y="1108"/>
                    <a:pt x="5787" y="1203"/>
                  </a:cubicBezTo>
                  <a:cubicBezTo>
                    <a:pt x="5617" y="1253"/>
                    <a:pt x="5443" y="1281"/>
                    <a:pt x="5282" y="1281"/>
                  </a:cubicBezTo>
                  <a:cubicBezTo>
                    <a:pt x="5172" y="1281"/>
                    <a:pt x="5069" y="1268"/>
                    <a:pt x="4977" y="1239"/>
                  </a:cubicBezTo>
                  <a:cubicBezTo>
                    <a:pt x="5132" y="1060"/>
                    <a:pt x="5382" y="917"/>
                    <a:pt x="5668" y="822"/>
                  </a:cubicBezTo>
                  <a:cubicBezTo>
                    <a:pt x="5834" y="773"/>
                    <a:pt x="5997" y="749"/>
                    <a:pt x="6151" y="749"/>
                  </a:cubicBezTo>
                  <a:close/>
                  <a:moveTo>
                    <a:pt x="2542" y="750"/>
                  </a:moveTo>
                  <a:cubicBezTo>
                    <a:pt x="2703" y="750"/>
                    <a:pt x="2878" y="777"/>
                    <a:pt x="3048" y="834"/>
                  </a:cubicBezTo>
                  <a:cubicBezTo>
                    <a:pt x="3334" y="917"/>
                    <a:pt x="3584" y="1072"/>
                    <a:pt x="3727" y="1251"/>
                  </a:cubicBezTo>
                  <a:cubicBezTo>
                    <a:pt x="3646" y="1273"/>
                    <a:pt x="3553" y="1284"/>
                    <a:pt x="3454" y="1284"/>
                  </a:cubicBezTo>
                  <a:cubicBezTo>
                    <a:pt x="3290" y="1284"/>
                    <a:pt x="3107" y="1255"/>
                    <a:pt x="2929" y="1203"/>
                  </a:cubicBezTo>
                  <a:cubicBezTo>
                    <a:pt x="2643" y="1108"/>
                    <a:pt x="2393" y="965"/>
                    <a:pt x="2239" y="786"/>
                  </a:cubicBezTo>
                  <a:cubicBezTo>
                    <a:pt x="2330" y="762"/>
                    <a:pt x="2433" y="750"/>
                    <a:pt x="2542" y="750"/>
                  </a:cubicBezTo>
                  <a:close/>
                  <a:moveTo>
                    <a:pt x="4358" y="1072"/>
                  </a:moveTo>
                  <a:cubicBezTo>
                    <a:pt x="4465" y="1072"/>
                    <a:pt x="4548" y="1155"/>
                    <a:pt x="4548" y="1263"/>
                  </a:cubicBezTo>
                  <a:cubicBezTo>
                    <a:pt x="4548" y="1370"/>
                    <a:pt x="4465" y="1453"/>
                    <a:pt x="4358" y="1453"/>
                  </a:cubicBezTo>
                  <a:cubicBezTo>
                    <a:pt x="4251" y="1453"/>
                    <a:pt x="4167" y="1370"/>
                    <a:pt x="4167" y="1263"/>
                  </a:cubicBezTo>
                  <a:cubicBezTo>
                    <a:pt x="4167" y="1155"/>
                    <a:pt x="4251" y="1072"/>
                    <a:pt x="4358" y="1072"/>
                  </a:cubicBezTo>
                  <a:close/>
                  <a:moveTo>
                    <a:pt x="2203" y="1167"/>
                  </a:moveTo>
                  <a:cubicBezTo>
                    <a:pt x="2381" y="1322"/>
                    <a:pt x="2620" y="1441"/>
                    <a:pt x="2870" y="1524"/>
                  </a:cubicBezTo>
                  <a:cubicBezTo>
                    <a:pt x="3072" y="1584"/>
                    <a:pt x="3286" y="1620"/>
                    <a:pt x="3477" y="1620"/>
                  </a:cubicBezTo>
                  <a:cubicBezTo>
                    <a:pt x="3644" y="1620"/>
                    <a:pt x="3810" y="1584"/>
                    <a:pt x="3953" y="1548"/>
                  </a:cubicBezTo>
                  <a:cubicBezTo>
                    <a:pt x="4048" y="1691"/>
                    <a:pt x="4227" y="1798"/>
                    <a:pt x="4417" y="1798"/>
                  </a:cubicBezTo>
                  <a:cubicBezTo>
                    <a:pt x="4608" y="1798"/>
                    <a:pt x="4775" y="1691"/>
                    <a:pt x="4882" y="1548"/>
                  </a:cubicBezTo>
                  <a:cubicBezTo>
                    <a:pt x="5013" y="1584"/>
                    <a:pt x="5179" y="1620"/>
                    <a:pt x="5358" y="1620"/>
                  </a:cubicBezTo>
                  <a:cubicBezTo>
                    <a:pt x="5549" y="1620"/>
                    <a:pt x="5751" y="1584"/>
                    <a:pt x="5965" y="1524"/>
                  </a:cubicBezTo>
                  <a:cubicBezTo>
                    <a:pt x="6203" y="1453"/>
                    <a:pt x="6430" y="1334"/>
                    <a:pt x="6608" y="1203"/>
                  </a:cubicBezTo>
                  <a:cubicBezTo>
                    <a:pt x="7287" y="1810"/>
                    <a:pt x="7704" y="2656"/>
                    <a:pt x="7763" y="3549"/>
                  </a:cubicBezTo>
                  <a:lnTo>
                    <a:pt x="7930" y="6370"/>
                  </a:lnTo>
                  <a:cubicBezTo>
                    <a:pt x="7977" y="7120"/>
                    <a:pt x="7775" y="7870"/>
                    <a:pt x="7358" y="8490"/>
                  </a:cubicBezTo>
                  <a:lnTo>
                    <a:pt x="5989" y="8037"/>
                  </a:lnTo>
                  <a:cubicBezTo>
                    <a:pt x="5775" y="7954"/>
                    <a:pt x="5620" y="7740"/>
                    <a:pt x="5620" y="7513"/>
                  </a:cubicBezTo>
                  <a:lnTo>
                    <a:pt x="5620" y="6763"/>
                  </a:lnTo>
                  <a:cubicBezTo>
                    <a:pt x="6287" y="6382"/>
                    <a:pt x="6763" y="5715"/>
                    <a:pt x="6870" y="4906"/>
                  </a:cubicBezTo>
                  <a:lnTo>
                    <a:pt x="7001" y="4906"/>
                  </a:lnTo>
                  <a:cubicBezTo>
                    <a:pt x="7346" y="4906"/>
                    <a:pt x="7632" y="4620"/>
                    <a:pt x="7632" y="4287"/>
                  </a:cubicBezTo>
                  <a:cubicBezTo>
                    <a:pt x="7632" y="3941"/>
                    <a:pt x="7346" y="3656"/>
                    <a:pt x="7001" y="3656"/>
                  </a:cubicBezTo>
                  <a:lnTo>
                    <a:pt x="6918" y="3656"/>
                  </a:lnTo>
                  <a:cubicBezTo>
                    <a:pt x="6811" y="3656"/>
                    <a:pt x="6727" y="3560"/>
                    <a:pt x="6727" y="3465"/>
                  </a:cubicBezTo>
                  <a:cubicBezTo>
                    <a:pt x="6727" y="2656"/>
                    <a:pt x="6072" y="2013"/>
                    <a:pt x="5275" y="2013"/>
                  </a:cubicBezTo>
                  <a:cubicBezTo>
                    <a:pt x="5191" y="2013"/>
                    <a:pt x="5120" y="2096"/>
                    <a:pt x="5120" y="2179"/>
                  </a:cubicBezTo>
                  <a:cubicBezTo>
                    <a:pt x="5120" y="2275"/>
                    <a:pt x="5191" y="2346"/>
                    <a:pt x="5275" y="2346"/>
                  </a:cubicBezTo>
                  <a:cubicBezTo>
                    <a:pt x="5894" y="2346"/>
                    <a:pt x="6382" y="2834"/>
                    <a:pt x="6382" y="3453"/>
                  </a:cubicBezTo>
                  <a:cubicBezTo>
                    <a:pt x="6382" y="3751"/>
                    <a:pt x="6620" y="3989"/>
                    <a:pt x="6918" y="3989"/>
                  </a:cubicBezTo>
                  <a:lnTo>
                    <a:pt x="7001" y="3989"/>
                  </a:lnTo>
                  <a:cubicBezTo>
                    <a:pt x="7168" y="3989"/>
                    <a:pt x="7287" y="4120"/>
                    <a:pt x="7287" y="4263"/>
                  </a:cubicBezTo>
                  <a:cubicBezTo>
                    <a:pt x="7287" y="4418"/>
                    <a:pt x="7156" y="4549"/>
                    <a:pt x="7001" y="4549"/>
                  </a:cubicBezTo>
                  <a:lnTo>
                    <a:pt x="6906" y="4549"/>
                  </a:lnTo>
                  <a:lnTo>
                    <a:pt x="6906" y="4537"/>
                  </a:lnTo>
                  <a:cubicBezTo>
                    <a:pt x="6906" y="4441"/>
                    <a:pt x="6822" y="4370"/>
                    <a:pt x="6739" y="4370"/>
                  </a:cubicBezTo>
                  <a:cubicBezTo>
                    <a:pt x="6644" y="4370"/>
                    <a:pt x="6572" y="4441"/>
                    <a:pt x="6572" y="4537"/>
                  </a:cubicBezTo>
                  <a:cubicBezTo>
                    <a:pt x="6572" y="5751"/>
                    <a:pt x="5596" y="6739"/>
                    <a:pt x="4370" y="6739"/>
                  </a:cubicBezTo>
                  <a:cubicBezTo>
                    <a:pt x="3155" y="6739"/>
                    <a:pt x="2167" y="5751"/>
                    <a:pt x="2167" y="4537"/>
                  </a:cubicBezTo>
                  <a:cubicBezTo>
                    <a:pt x="2167" y="4441"/>
                    <a:pt x="2096" y="4370"/>
                    <a:pt x="2000" y="4370"/>
                  </a:cubicBezTo>
                  <a:cubicBezTo>
                    <a:pt x="1917" y="4370"/>
                    <a:pt x="1846" y="4441"/>
                    <a:pt x="1846" y="4537"/>
                  </a:cubicBezTo>
                  <a:lnTo>
                    <a:pt x="1846" y="4549"/>
                  </a:lnTo>
                  <a:lnTo>
                    <a:pt x="1739" y="4549"/>
                  </a:lnTo>
                  <a:cubicBezTo>
                    <a:pt x="1572" y="4549"/>
                    <a:pt x="1453" y="4418"/>
                    <a:pt x="1453" y="4263"/>
                  </a:cubicBezTo>
                  <a:cubicBezTo>
                    <a:pt x="1453" y="4120"/>
                    <a:pt x="1584" y="3989"/>
                    <a:pt x="1739" y="3989"/>
                  </a:cubicBezTo>
                  <a:lnTo>
                    <a:pt x="1822" y="3989"/>
                  </a:lnTo>
                  <a:cubicBezTo>
                    <a:pt x="2120" y="3989"/>
                    <a:pt x="2358" y="3751"/>
                    <a:pt x="2358" y="3453"/>
                  </a:cubicBezTo>
                  <a:cubicBezTo>
                    <a:pt x="2358" y="2834"/>
                    <a:pt x="2858" y="2346"/>
                    <a:pt x="3465" y="2346"/>
                  </a:cubicBezTo>
                  <a:lnTo>
                    <a:pt x="4560" y="2346"/>
                  </a:lnTo>
                  <a:cubicBezTo>
                    <a:pt x="4656" y="2346"/>
                    <a:pt x="4727" y="2275"/>
                    <a:pt x="4727" y="2179"/>
                  </a:cubicBezTo>
                  <a:cubicBezTo>
                    <a:pt x="4727" y="2096"/>
                    <a:pt x="4656" y="2013"/>
                    <a:pt x="4560" y="2013"/>
                  </a:cubicBezTo>
                  <a:lnTo>
                    <a:pt x="3465" y="2013"/>
                  </a:lnTo>
                  <a:cubicBezTo>
                    <a:pt x="2655" y="2013"/>
                    <a:pt x="2024" y="2667"/>
                    <a:pt x="2024" y="3465"/>
                  </a:cubicBezTo>
                  <a:cubicBezTo>
                    <a:pt x="2024" y="3572"/>
                    <a:pt x="1929" y="3656"/>
                    <a:pt x="1822" y="3656"/>
                  </a:cubicBezTo>
                  <a:lnTo>
                    <a:pt x="1739" y="3656"/>
                  </a:lnTo>
                  <a:cubicBezTo>
                    <a:pt x="1393" y="3656"/>
                    <a:pt x="1107" y="3941"/>
                    <a:pt x="1107" y="4287"/>
                  </a:cubicBezTo>
                  <a:cubicBezTo>
                    <a:pt x="1107" y="4620"/>
                    <a:pt x="1393" y="4906"/>
                    <a:pt x="1739" y="4906"/>
                  </a:cubicBezTo>
                  <a:lnTo>
                    <a:pt x="1869" y="4906"/>
                  </a:lnTo>
                  <a:cubicBezTo>
                    <a:pt x="1977" y="5692"/>
                    <a:pt x="2465" y="6382"/>
                    <a:pt x="3120" y="6763"/>
                  </a:cubicBezTo>
                  <a:lnTo>
                    <a:pt x="3120" y="7513"/>
                  </a:lnTo>
                  <a:cubicBezTo>
                    <a:pt x="3120" y="7751"/>
                    <a:pt x="2977" y="7954"/>
                    <a:pt x="2751" y="8037"/>
                  </a:cubicBezTo>
                  <a:lnTo>
                    <a:pt x="1488" y="8478"/>
                  </a:lnTo>
                  <a:cubicBezTo>
                    <a:pt x="1072" y="7859"/>
                    <a:pt x="869" y="7108"/>
                    <a:pt x="917" y="6346"/>
                  </a:cubicBezTo>
                  <a:lnTo>
                    <a:pt x="1084" y="3465"/>
                  </a:lnTo>
                  <a:cubicBezTo>
                    <a:pt x="1131" y="2584"/>
                    <a:pt x="1548" y="1751"/>
                    <a:pt x="2203" y="1167"/>
                  </a:cubicBezTo>
                  <a:close/>
                  <a:moveTo>
                    <a:pt x="4346" y="0"/>
                  </a:moveTo>
                  <a:cubicBezTo>
                    <a:pt x="3763" y="0"/>
                    <a:pt x="3179" y="143"/>
                    <a:pt x="2679" y="417"/>
                  </a:cubicBezTo>
                  <a:cubicBezTo>
                    <a:pt x="2631" y="413"/>
                    <a:pt x="2583" y="411"/>
                    <a:pt x="2536" y="411"/>
                  </a:cubicBezTo>
                  <a:cubicBezTo>
                    <a:pt x="2303" y="411"/>
                    <a:pt x="2085" y="459"/>
                    <a:pt x="1917" y="548"/>
                  </a:cubicBezTo>
                  <a:cubicBezTo>
                    <a:pt x="1846" y="584"/>
                    <a:pt x="1798" y="691"/>
                    <a:pt x="1846" y="774"/>
                  </a:cubicBezTo>
                  <a:cubicBezTo>
                    <a:pt x="1869" y="810"/>
                    <a:pt x="1905" y="870"/>
                    <a:pt x="1929" y="917"/>
                  </a:cubicBezTo>
                  <a:cubicBezTo>
                    <a:pt x="1215" y="1560"/>
                    <a:pt x="774" y="2465"/>
                    <a:pt x="715" y="3429"/>
                  </a:cubicBezTo>
                  <a:lnTo>
                    <a:pt x="548" y="6323"/>
                  </a:lnTo>
                  <a:cubicBezTo>
                    <a:pt x="500" y="7120"/>
                    <a:pt x="691" y="7918"/>
                    <a:pt x="1131" y="8585"/>
                  </a:cubicBezTo>
                  <a:lnTo>
                    <a:pt x="846" y="8692"/>
                  </a:lnTo>
                  <a:cubicBezTo>
                    <a:pt x="334" y="8871"/>
                    <a:pt x="0" y="9347"/>
                    <a:pt x="0" y="9883"/>
                  </a:cubicBezTo>
                  <a:lnTo>
                    <a:pt x="0" y="11466"/>
                  </a:lnTo>
                  <a:cubicBezTo>
                    <a:pt x="0" y="11561"/>
                    <a:pt x="72" y="11633"/>
                    <a:pt x="155" y="11633"/>
                  </a:cubicBezTo>
                  <a:cubicBezTo>
                    <a:pt x="250" y="11633"/>
                    <a:pt x="322" y="11561"/>
                    <a:pt x="322" y="11466"/>
                  </a:cubicBezTo>
                  <a:lnTo>
                    <a:pt x="322" y="9883"/>
                  </a:lnTo>
                  <a:cubicBezTo>
                    <a:pt x="322" y="9490"/>
                    <a:pt x="572" y="9133"/>
                    <a:pt x="929" y="9002"/>
                  </a:cubicBezTo>
                  <a:lnTo>
                    <a:pt x="1941" y="8644"/>
                  </a:lnTo>
                  <a:cubicBezTo>
                    <a:pt x="2036" y="8835"/>
                    <a:pt x="2167" y="9002"/>
                    <a:pt x="2310" y="9168"/>
                  </a:cubicBezTo>
                  <a:cubicBezTo>
                    <a:pt x="2346" y="9192"/>
                    <a:pt x="2393" y="9228"/>
                    <a:pt x="2429" y="9228"/>
                  </a:cubicBezTo>
                  <a:cubicBezTo>
                    <a:pt x="2477" y="9228"/>
                    <a:pt x="2524" y="9204"/>
                    <a:pt x="2548" y="9180"/>
                  </a:cubicBezTo>
                  <a:cubicBezTo>
                    <a:pt x="2631" y="9121"/>
                    <a:pt x="2631" y="9002"/>
                    <a:pt x="2548" y="8942"/>
                  </a:cubicBezTo>
                  <a:cubicBezTo>
                    <a:pt x="2429" y="8823"/>
                    <a:pt x="2346" y="8692"/>
                    <a:pt x="2250" y="8537"/>
                  </a:cubicBezTo>
                  <a:lnTo>
                    <a:pt x="2810" y="8347"/>
                  </a:lnTo>
                  <a:cubicBezTo>
                    <a:pt x="3167" y="8216"/>
                    <a:pt x="3405" y="7882"/>
                    <a:pt x="3405" y="7501"/>
                  </a:cubicBezTo>
                  <a:lnTo>
                    <a:pt x="3405" y="6918"/>
                  </a:lnTo>
                  <a:cubicBezTo>
                    <a:pt x="3679" y="7037"/>
                    <a:pt x="4001" y="7097"/>
                    <a:pt x="4322" y="7097"/>
                  </a:cubicBezTo>
                  <a:cubicBezTo>
                    <a:pt x="4656" y="7097"/>
                    <a:pt x="4965" y="7037"/>
                    <a:pt x="5251" y="6918"/>
                  </a:cubicBezTo>
                  <a:lnTo>
                    <a:pt x="5251" y="7501"/>
                  </a:lnTo>
                  <a:cubicBezTo>
                    <a:pt x="5251" y="7882"/>
                    <a:pt x="5489" y="8228"/>
                    <a:pt x="5846" y="8347"/>
                  </a:cubicBezTo>
                  <a:lnTo>
                    <a:pt x="6394" y="8537"/>
                  </a:lnTo>
                  <a:cubicBezTo>
                    <a:pt x="6227" y="8847"/>
                    <a:pt x="5965" y="9121"/>
                    <a:pt x="5632" y="9311"/>
                  </a:cubicBezTo>
                  <a:cubicBezTo>
                    <a:pt x="5251" y="9549"/>
                    <a:pt x="4787" y="9668"/>
                    <a:pt x="4310" y="9668"/>
                  </a:cubicBezTo>
                  <a:cubicBezTo>
                    <a:pt x="3882" y="9668"/>
                    <a:pt x="3453" y="9561"/>
                    <a:pt x="3072" y="9359"/>
                  </a:cubicBezTo>
                  <a:cubicBezTo>
                    <a:pt x="3047" y="9344"/>
                    <a:pt x="3019" y="9337"/>
                    <a:pt x="2991" y="9337"/>
                  </a:cubicBezTo>
                  <a:cubicBezTo>
                    <a:pt x="2929" y="9337"/>
                    <a:pt x="2867" y="9372"/>
                    <a:pt x="2834" y="9430"/>
                  </a:cubicBezTo>
                  <a:cubicBezTo>
                    <a:pt x="2798" y="9525"/>
                    <a:pt x="2822" y="9621"/>
                    <a:pt x="2917" y="9668"/>
                  </a:cubicBezTo>
                  <a:cubicBezTo>
                    <a:pt x="3334" y="9895"/>
                    <a:pt x="3810" y="10026"/>
                    <a:pt x="4310" y="10026"/>
                  </a:cubicBezTo>
                  <a:cubicBezTo>
                    <a:pt x="4846" y="10026"/>
                    <a:pt x="5370" y="9883"/>
                    <a:pt x="5799" y="9621"/>
                  </a:cubicBezTo>
                  <a:cubicBezTo>
                    <a:pt x="6203" y="9383"/>
                    <a:pt x="6501" y="9061"/>
                    <a:pt x="6703" y="8668"/>
                  </a:cubicBezTo>
                  <a:lnTo>
                    <a:pt x="7715" y="9025"/>
                  </a:lnTo>
                  <a:cubicBezTo>
                    <a:pt x="8096" y="9156"/>
                    <a:pt x="8335" y="9502"/>
                    <a:pt x="8335" y="9906"/>
                  </a:cubicBezTo>
                  <a:lnTo>
                    <a:pt x="8335" y="11502"/>
                  </a:lnTo>
                  <a:cubicBezTo>
                    <a:pt x="8335" y="11585"/>
                    <a:pt x="8406" y="11669"/>
                    <a:pt x="8489" y="11669"/>
                  </a:cubicBezTo>
                  <a:cubicBezTo>
                    <a:pt x="8585" y="11669"/>
                    <a:pt x="8656" y="11585"/>
                    <a:pt x="8656" y="11502"/>
                  </a:cubicBezTo>
                  <a:lnTo>
                    <a:pt x="8656" y="9906"/>
                  </a:lnTo>
                  <a:cubicBezTo>
                    <a:pt x="8727" y="9359"/>
                    <a:pt x="8394" y="8883"/>
                    <a:pt x="7882" y="8704"/>
                  </a:cubicBezTo>
                  <a:lnTo>
                    <a:pt x="7596" y="8597"/>
                  </a:lnTo>
                  <a:cubicBezTo>
                    <a:pt x="8037" y="7918"/>
                    <a:pt x="8227" y="7144"/>
                    <a:pt x="8180" y="6335"/>
                  </a:cubicBezTo>
                  <a:lnTo>
                    <a:pt x="8013" y="3525"/>
                  </a:lnTo>
                  <a:cubicBezTo>
                    <a:pt x="7954" y="2560"/>
                    <a:pt x="7513" y="1632"/>
                    <a:pt x="6763" y="953"/>
                  </a:cubicBezTo>
                  <a:cubicBezTo>
                    <a:pt x="6811" y="893"/>
                    <a:pt x="6858" y="834"/>
                    <a:pt x="6882" y="774"/>
                  </a:cubicBezTo>
                  <a:cubicBezTo>
                    <a:pt x="6930" y="679"/>
                    <a:pt x="6906" y="584"/>
                    <a:pt x="6811" y="548"/>
                  </a:cubicBezTo>
                  <a:cubicBezTo>
                    <a:pt x="6634" y="455"/>
                    <a:pt x="6427" y="406"/>
                    <a:pt x="6192" y="406"/>
                  </a:cubicBezTo>
                  <a:cubicBezTo>
                    <a:pt x="6127" y="406"/>
                    <a:pt x="6059" y="409"/>
                    <a:pt x="5989" y="417"/>
                  </a:cubicBezTo>
                  <a:cubicBezTo>
                    <a:pt x="5477" y="131"/>
                    <a:pt x="4906" y="0"/>
                    <a:pt x="4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2" name="Google Shape;11662;p61"/>
            <p:cNvSpPr/>
            <p:nvPr/>
          </p:nvSpPr>
          <p:spPr>
            <a:xfrm>
              <a:off x="8154771" y="3491016"/>
              <a:ext cx="63392" cy="33993"/>
            </a:xfrm>
            <a:custGeom>
              <a:avLst/>
              <a:gdLst/>
              <a:ahLst/>
              <a:cxnLst/>
              <a:rect l="l" t="t" r="r" b="b"/>
              <a:pathLst>
                <a:path w="2001" h="1073" extrusionOk="0">
                  <a:moveTo>
                    <a:pt x="1608" y="334"/>
                  </a:moveTo>
                  <a:cubicBezTo>
                    <a:pt x="1537" y="560"/>
                    <a:pt x="1287" y="727"/>
                    <a:pt x="1001" y="727"/>
                  </a:cubicBezTo>
                  <a:cubicBezTo>
                    <a:pt x="715" y="727"/>
                    <a:pt x="465" y="560"/>
                    <a:pt x="370" y="334"/>
                  </a:cubicBezTo>
                  <a:close/>
                  <a:moveTo>
                    <a:pt x="167" y="1"/>
                  </a:moveTo>
                  <a:cubicBezTo>
                    <a:pt x="72" y="1"/>
                    <a:pt x="1" y="72"/>
                    <a:pt x="1" y="155"/>
                  </a:cubicBezTo>
                  <a:cubicBezTo>
                    <a:pt x="1" y="655"/>
                    <a:pt x="453" y="1072"/>
                    <a:pt x="1001" y="1072"/>
                  </a:cubicBezTo>
                  <a:cubicBezTo>
                    <a:pt x="1549" y="1072"/>
                    <a:pt x="2001" y="667"/>
                    <a:pt x="2001" y="155"/>
                  </a:cubicBezTo>
                  <a:cubicBezTo>
                    <a:pt x="2001" y="72"/>
                    <a:pt x="1906"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3" name="Google Shape;11663;p61"/>
            <p:cNvSpPr/>
            <p:nvPr/>
          </p:nvSpPr>
          <p:spPr>
            <a:xfrm>
              <a:off x="8139691" y="3435988"/>
              <a:ext cx="23792" cy="13939"/>
            </a:xfrm>
            <a:custGeom>
              <a:avLst/>
              <a:gdLst/>
              <a:ahLst/>
              <a:cxnLst/>
              <a:rect l="l" t="t" r="r" b="b"/>
              <a:pathLst>
                <a:path w="751" h="440" extrusionOk="0">
                  <a:moveTo>
                    <a:pt x="575" y="1"/>
                  </a:moveTo>
                  <a:cubicBezTo>
                    <a:pt x="558" y="1"/>
                    <a:pt x="541" y="4"/>
                    <a:pt x="524" y="11"/>
                  </a:cubicBezTo>
                  <a:lnTo>
                    <a:pt x="155" y="94"/>
                  </a:lnTo>
                  <a:cubicBezTo>
                    <a:pt x="60" y="130"/>
                    <a:pt x="1" y="214"/>
                    <a:pt x="36" y="309"/>
                  </a:cubicBezTo>
                  <a:cubicBezTo>
                    <a:pt x="48" y="380"/>
                    <a:pt x="120" y="440"/>
                    <a:pt x="191" y="440"/>
                  </a:cubicBezTo>
                  <a:lnTo>
                    <a:pt x="239" y="440"/>
                  </a:lnTo>
                  <a:lnTo>
                    <a:pt x="608" y="345"/>
                  </a:lnTo>
                  <a:cubicBezTo>
                    <a:pt x="691" y="309"/>
                    <a:pt x="751" y="214"/>
                    <a:pt x="727" y="130"/>
                  </a:cubicBezTo>
                  <a:cubicBezTo>
                    <a:pt x="708" y="54"/>
                    <a:pt x="643" y="1"/>
                    <a:pt x="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4" name="Google Shape;11664;p61"/>
            <p:cNvSpPr/>
            <p:nvPr/>
          </p:nvSpPr>
          <p:spPr>
            <a:xfrm>
              <a:off x="8209102" y="3435418"/>
              <a:ext cx="23412" cy="13401"/>
            </a:xfrm>
            <a:custGeom>
              <a:avLst/>
              <a:gdLst/>
              <a:ahLst/>
              <a:cxnLst/>
              <a:rect l="l" t="t" r="r" b="b"/>
              <a:pathLst>
                <a:path w="739" h="423" extrusionOk="0">
                  <a:moveTo>
                    <a:pt x="196" y="0"/>
                  </a:moveTo>
                  <a:cubicBezTo>
                    <a:pt x="119" y="0"/>
                    <a:pt x="54" y="54"/>
                    <a:pt x="24" y="124"/>
                  </a:cubicBezTo>
                  <a:cubicBezTo>
                    <a:pt x="0" y="220"/>
                    <a:pt x="60" y="303"/>
                    <a:pt x="143" y="339"/>
                  </a:cubicBezTo>
                  <a:lnTo>
                    <a:pt x="512" y="422"/>
                  </a:lnTo>
                  <a:lnTo>
                    <a:pt x="560" y="422"/>
                  </a:lnTo>
                  <a:cubicBezTo>
                    <a:pt x="631" y="422"/>
                    <a:pt x="715" y="386"/>
                    <a:pt x="727" y="291"/>
                  </a:cubicBezTo>
                  <a:cubicBezTo>
                    <a:pt x="738" y="220"/>
                    <a:pt x="703" y="124"/>
                    <a:pt x="607" y="101"/>
                  </a:cubicBezTo>
                  <a:lnTo>
                    <a:pt x="238" y="5"/>
                  </a:lnTo>
                  <a:cubicBezTo>
                    <a:pt x="224" y="2"/>
                    <a:pt x="210" y="0"/>
                    <a:pt x="1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65" name="Google Shape;11665;p61"/>
          <p:cNvGrpSpPr/>
          <p:nvPr/>
        </p:nvGrpSpPr>
        <p:grpSpPr>
          <a:xfrm>
            <a:off x="7575787" y="3329955"/>
            <a:ext cx="295384" cy="376834"/>
            <a:chOff x="7575787" y="3329955"/>
            <a:chExt cx="295384" cy="376834"/>
          </a:xfrm>
        </p:grpSpPr>
        <p:sp>
          <p:nvSpPr>
            <p:cNvPr id="11666" name="Google Shape;11666;p61"/>
            <p:cNvSpPr/>
            <p:nvPr/>
          </p:nvSpPr>
          <p:spPr>
            <a:xfrm>
              <a:off x="7682549" y="3453666"/>
              <a:ext cx="11341" cy="17392"/>
            </a:xfrm>
            <a:custGeom>
              <a:avLst/>
              <a:gdLst/>
              <a:ahLst/>
              <a:cxnLst/>
              <a:rect l="l" t="t" r="r" b="b"/>
              <a:pathLst>
                <a:path w="358" h="549" extrusionOk="0">
                  <a:moveTo>
                    <a:pt x="179" y="1"/>
                  </a:moveTo>
                  <a:cubicBezTo>
                    <a:pt x="83" y="1"/>
                    <a:pt x="0" y="72"/>
                    <a:pt x="0" y="179"/>
                  </a:cubicBezTo>
                  <a:lnTo>
                    <a:pt x="0" y="370"/>
                  </a:lnTo>
                  <a:cubicBezTo>
                    <a:pt x="0" y="465"/>
                    <a:pt x="72" y="549"/>
                    <a:pt x="179" y="549"/>
                  </a:cubicBezTo>
                  <a:cubicBezTo>
                    <a:pt x="274" y="549"/>
                    <a:pt x="357" y="477"/>
                    <a:pt x="357" y="370"/>
                  </a:cubicBezTo>
                  <a:lnTo>
                    <a:pt x="357" y="179"/>
                  </a:lnTo>
                  <a:cubicBezTo>
                    <a:pt x="357"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7" name="Google Shape;11667;p61"/>
            <p:cNvSpPr/>
            <p:nvPr/>
          </p:nvSpPr>
          <p:spPr>
            <a:xfrm>
              <a:off x="7753068" y="3453666"/>
              <a:ext cx="11341" cy="17392"/>
            </a:xfrm>
            <a:custGeom>
              <a:avLst/>
              <a:gdLst/>
              <a:ahLst/>
              <a:cxnLst/>
              <a:rect l="l" t="t" r="r" b="b"/>
              <a:pathLst>
                <a:path w="358" h="549" extrusionOk="0">
                  <a:moveTo>
                    <a:pt x="179" y="1"/>
                  </a:moveTo>
                  <a:cubicBezTo>
                    <a:pt x="96" y="1"/>
                    <a:pt x="1" y="72"/>
                    <a:pt x="1" y="179"/>
                  </a:cubicBezTo>
                  <a:lnTo>
                    <a:pt x="1" y="370"/>
                  </a:lnTo>
                  <a:cubicBezTo>
                    <a:pt x="1" y="465"/>
                    <a:pt x="72" y="549"/>
                    <a:pt x="179" y="549"/>
                  </a:cubicBezTo>
                  <a:cubicBezTo>
                    <a:pt x="286" y="549"/>
                    <a:pt x="358" y="477"/>
                    <a:pt x="358" y="370"/>
                  </a:cubicBezTo>
                  <a:lnTo>
                    <a:pt x="358" y="179"/>
                  </a:lnTo>
                  <a:cubicBezTo>
                    <a:pt x="358" y="72"/>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8" name="Google Shape;11668;p61"/>
            <p:cNvSpPr/>
            <p:nvPr/>
          </p:nvSpPr>
          <p:spPr>
            <a:xfrm>
              <a:off x="7699149" y="3494691"/>
              <a:ext cx="47932" cy="17487"/>
            </a:xfrm>
            <a:custGeom>
              <a:avLst/>
              <a:gdLst/>
              <a:ahLst/>
              <a:cxnLst/>
              <a:rect l="l" t="t" r="r" b="b"/>
              <a:pathLst>
                <a:path w="1513" h="552" extrusionOk="0">
                  <a:moveTo>
                    <a:pt x="1328" y="1"/>
                  </a:moveTo>
                  <a:cubicBezTo>
                    <a:pt x="1283" y="1"/>
                    <a:pt x="1238" y="21"/>
                    <a:pt x="1203" y="63"/>
                  </a:cubicBezTo>
                  <a:cubicBezTo>
                    <a:pt x="1131" y="123"/>
                    <a:pt x="976" y="194"/>
                    <a:pt x="762" y="194"/>
                  </a:cubicBezTo>
                  <a:cubicBezTo>
                    <a:pt x="536" y="194"/>
                    <a:pt x="393" y="123"/>
                    <a:pt x="333" y="63"/>
                  </a:cubicBezTo>
                  <a:cubicBezTo>
                    <a:pt x="301" y="25"/>
                    <a:pt x="260" y="9"/>
                    <a:pt x="219" y="9"/>
                  </a:cubicBezTo>
                  <a:cubicBezTo>
                    <a:pt x="171" y="9"/>
                    <a:pt x="122" y="31"/>
                    <a:pt x="83" y="63"/>
                  </a:cubicBezTo>
                  <a:cubicBezTo>
                    <a:pt x="0" y="135"/>
                    <a:pt x="24" y="242"/>
                    <a:pt x="83" y="313"/>
                  </a:cubicBezTo>
                  <a:cubicBezTo>
                    <a:pt x="226" y="456"/>
                    <a:pt x="476" y="551"/>
                    <a:pt x="762" y="551"/>
                  </a:cubicBezTo>
                  <a:cubicBezTo>
                    <a:pt x="1048" y="551"/>
                    <a:pt x="1298" y="456"/>
                    <a:pt x="1453" y="313"/>
                  </a:cubicBezTo>
                  <a:cubicBezTo>
                    <a:pt x="1512" y="242"/>
                    <a:pt x="1512" y="123"/>
                    <a:pt x="1453" y="63"/>
                  </a:cubicBezTo>
                  <a:cubicBezTo>
                    <a:pt x="1417" y="21"/>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9" name="Google Shape;11669;p61"/>
            <p:cNvSpPr/>
            <p:nvPr/>
          </p:nvSpPr>
          <p:spPr>
            <a:xfrm>
              <a:off x="7575787" y="3329955"/>
              <a:ext cx="295384" cy="376834"/>
            </a:xfrm>
            <a:custGeom>
              <a:avLst/>
              <a:gdLst/>
              <a:ahLst/>
              <a:cxnLst/>
              <a:rect l="l" t="t" r="r" b="b"/>
              <a:pathLst>
                <a:path w="9324" h="11895" extrusionOk="0">
                  <a:moveTo>
                    <a:pt x="4656" y="334"/>
                  </a:moveTo>
                  <a:cubicBezTo>
                    <a:pt x="5835" y="334"/>
                    <a:pt x="6859" y="929"/>
                    <a:pt x="7454" y="1834"/>
                  </a:cubicBezTo>
                  <a:lnTo>
                    <a:pt x="7335" y="3156"/>
                  </a:lnTo>
                  <a:cubicBezTo>
                    <a:pt x="6049" y="2025"/>
                    <a:pt x="4454" y="1882"/>
                    <a:pt x="4394" y="1858"/>
                  </a:cubicBezTo>
                  <a:cubicBezTo>
                    <a:pt x="4335" y="1858"/>
                    <a:pt x="4275" y="1882"/>
                    <a:pt x="4239" y="1941"/>
                  </a:cubicBezTo>
                  <a:cubicBezTo>
                    <a:pt x="4215" y="2001"/>
                    <a:pt x="4204" y="2060"/>
                    <a:pt x="4227" y="2108"/>
                  </a:cubicBezTo>
                  <a:lnTo>
                    <a:pt x="4406" y="2549"/>
                  </a:lnTo>
                  <a:cubicBezTo>
                    <a:pt x="3394" y="2406"/>
                    <a:pt x="2453" y="2060"/>
                    <a:pt x="1894" y="1810"/>
                  </a:cubicBezTo>
                  <a:cubicBezTo>
                    <a:pt x="2477" y="929"/>
                    <a:pt x="3501" y="334"/>
                    <a:pt x="4656" y="334"/>
                  </a:cubicBezTo>
                  <a:close/>
                  <a:moveTo>
                    <a:pt x="6882" y="3251"/>
                  </a:moveTo>
                  <a:cubicBezTo>
                    <a:pt x="7025" y="3358"/>
                    <a:pt x="7156" y="3477"/>
                    <a:pt x="7299" y="3608"/>
                  </a:cubicBezTo>
                  <a:lnTo>
                    <a:pt x="7275" y="3715"/>
                  </a:lnTo>
                  <a:lnTo>
                    <a:pt x="7073" y="3715"/>
                  </a:lnTo>
                  <a:cubicBezTo>
                    <a:pt x="6966" y="3715"/>
                    <a:pt x="6882" y="3620"/>
                    <a:pt x="6882" y="3513"/>
                  </a:cubicBezTo>
                  <a:lnTo>
                    <a:pt x="6882" y="3251"/>
                  </a:lnTo>
                  <a:close/>
                  <a:moveTo>
                    <a:pt x="2037" y="2251"/>
                  </a:moveTo>
                  <a:cubicBezTo>
                    <a:pt x="2691" y="2513"/>
                    <a:pt x="3644" y="2834"/>
                    <a:pt x="4644" y="2918"/>
                  </a:cubicBezTo>
                  <a:cubicBezTo>
                    <a:pt x="4704" y="2918"/>
                    <a:pt x="4763" y="2906"/>
                    <a:pt x="4811" y="2846"/>
                  </a:cubicBezTo>
                  <a:cubicBezTo>
                    <a:pt x="4835" y="2799"/>
                    <a:pt x="4858" y="2727"/>
                    <a:pt x="4823" y="2679"/>
                  </a:cubicBezTo>
                  <a:lnTo>
                    <a:pt x="4644" y="2251"/>
                  </a:lnTo>
                  <a:lnTo>
                    <a:pt x="4644" y="2251"/>
                  </a:lnTo>
                  <a:cubicBezTo>
                    <a:pt x="5049" y="2322"/>
                    <a:pt x="5787" y="2513"/>
                    <a:pt x="6537" y="2977"/>
                  </a:cubicBezTo>
                  <a:lnTo>
                    <a:pt x="6537" y="3489"/>
                  </a:lnTo>
                  <a:cubicBezTo>
                    <a:pt x="6537" y="3787"/>
                    <a:pt x="6775" y="4037"/>
                    <a:pt x="7085" y="4037"/>
                  </a:cubicBezTo>
                  <a:lnTo>
                    <a:pt x="7371" y="4037"/>
                  </a:lnTo>
                  <a:cubicBezTo>
                    <a:pt x="7454" y="4037"/>
                    <a:pt x="7537" y="4061"/>
                    <a:pt x="7597" y="4120"/>
                  </a:cubicBezTo>
                  <a:cubicBezTo>
                    <a:pt x="7656" y="4180"/>
                    <a:pt x="7680" y="4275"/>
                    <a:pt x="7668" y="4346"/>
                  </a:cubicBezTo>
                  <a:cubicBezTo>
                    <a:pt x="7656" y="4501"/>
                    <a:pt x="7514" y="4620"/>
                    <a:pt x="7359" y="4620"/>
                  </a:cubicBezTo>
                  <a:lnTo>
                    <a:pt x="7275" y="4620"/>
                  </a:lnTo>
                  <a:lnTo>
                    <a:pt x="7275" y="4596"/>
                  </a:lnTo>
                  <a:cubicBezTo>
                    <a:pt x="7275" y="4513"/>
                    <a:pt x="7204" y="4418"/>
                    <a:pt x="7097" y="4418"/>
                  </a:cubicBezTo>
                  <a:cubicBezTo>
                    <a:pt x="7013" y="4418"/>
                    <a:pt x="6918" y="4501"/>
                    <a:pt x="6918" y="4596"/>
                  </a:cubicBezTo>
                  <a:cubicBezTo>
                    <a:pt x="6918" y="5835"/>
                    <a:pt x="5906" y="6847"/>
                    <a:pt x="4680" y="6847"/>
                  </a:cubicBezTo>
                  <a:cubicBezTo>
                    <a:pt x="3442" y="6847"/>
                    <a:pt x="2430" y="5835"/>
                    <a:pt x="2430" y="4596"/>
                  </a:cubicBezTo>
                  <a:cubicBezTo>
                    <a:pt x="2430" y="4513"/>
                    <a:pt x="2358" y="4418"/>
                    <a:pt x="2251" y="4418"/>
                  </a:cubicBezTo>
                  <a:cubicBezTo>
                    <a:pt x="2156" y="4418"/>
                    <a:pt x="2072" y="4501"/>
                    <a:pt x="2072" y="4596"/>
                  </a:cubicBezTo>
                  <a:lnTo>
                    <a:pt x="2072" y="4620"/>
                  </a:lnTo>
                  <a:lnTo>
                    <a:pt x="1965" y="4620"/>
                  </a:lnTo>
                  <a:cubicBezTo>
                    <a:pt x="1882" y="4620"/>
                    <a:pt x="1799" y="4584"/>
                    <a:pt x="1739" y="4525"/>
                  </a:cubicBezTo>
                  <a:cubicBezTo>
                    <a:pt x="1679" y="4465"/>
                    <a:pt x="1656" y="4382"/>
                    <a:pt x="1668" y="4299"/>
                  </a:cubicBezTo>
                  <a:cubicBezTo>
                    <a:pt x="1679" y="4168"/>
                    <a:pt x="1822" y="4049"/>
                    <a:pt x="1977" y="4049"/>
                  </a:cubicBezTo>
                  <a:lnTo>
                    <a:pt x="2239" y="4049"/>
                  </a:lnTo>
                  <a:cubicBezTo>
                    <a:pt x="2537" y="4049"/>
                    <a:pt x="2787" y="3811"/>
                    <a:pt x="2787" y="3501"/>
                  </a:cubicBezTo>
                  <a:lnTo>
                    <a:pt x="2787" y="3072"/>
                  </a:lnTo>
                  <a:cubicBezTo>
                    <a:pt x="2787" y="2977"/>
                    <a:pt x="2715" y="2894"/>
                    <a:pt x="2608" y="2894"/>
                  </a:cubicBezTo>
                  <a:cubicBezTo>
                    <a:pt x="2513" y="2894"/>
                    <a:pt x="2430" y="2965"/>
                    <a:pt x="2430" y="3072"/>
                  </a:cubicBezTo>
                  <a:lnTo>
                    <a:pt x="2430" y="3501"/>
                  </a:lnTo>
                  <a:cubicBezTo>
                    <a:pt x="2430" y="3608"/>
                    <a:pt x="2334" y="3692"/>
                    <a:pt x="2239" y="3692"/>
                  </a:cubicBezTo>
                  <a:lnTo>
                    <a:pt x="2037" y="3692"/>
                  </a:lnTo>
                  <a:lnTo>
                    <a:pt x="2037" y="2251"/>
                  </a:lnTo>
                  <a:close/>
                  <a:moveTo>
                    <a:pt x="1703" y="2120"/>
                  </a:moveTo>
                  <a:lnTo>
                    <a:pt x="1703" y="3763"/>
                  </a:lnTo>
                  <a:cubicBezTo>
                    <a:pt x="1501" y="3858"/>
                    <a:pt x="1358" y="4049"/>
                    <a:pt x="1322" y="4275"/>
                  </a:cubicBezTo>
                  <a:cubicBezTo>
                    <a:pt x="1310" y="4454"/>
                    <a:pt x="1370" y="4632"/>
                    <a:pt x="1489" y="4763"/>
                  </a:cubicBezTo>
                  <a:cubicBezTo>
                    <a:pt x="1608" y="4894"/>
                    <a:pt x="1787" y="4977"/>
                    <a:pt x="1965" y="4977"/>
                  </a:cubicBezTo>
                  <a:lnTo>
                    <a:pt x="2096" y="4977"/>
                  </a:lnTo>
                  <a:cubicBezTo>
                    <a:pt x="2203" y="5704"/>
                    <a:pt x="2608" y="6347"/>
                    <a:pt x="3192" y="6740"/>
                  </a:cubicBezTo>
                  <a:lnTo>
                    <a:pt x="3192" y="7561"/>
                  </a:lnTo>
                  <a:cubicBezTo>
                    <a:pt x="3192" y="7644"/>
                    <a:pt x="3168" y="7716"/>
                    <a:pt x="3120" y="7763"/>
                  </a:cubicBezTo>
                  <a:lnTo>
                    <a:pt x="2822" y="7502"/>
                  </a:lnTo>
                  <a:cubicBezTo>
                    <a:pt x="1858" y="6680"/>
                    <a:pt x="1298" y="5489"/>
                    <a:pt x="1298" y="4215"/>
                  </a:cubicBezTo>
                  <a:lnTo>
                    <a:pt x="1298" y="3692"/>
                  </a:lnTo>
                  <a:cubicBezTo>
                    <a:pt x="1298" y="3132"/>
                    <a:pt x="1441" y="2596"/>
                    <a:pt x="1703" y="2120"/>
                  </a:cubicBezTo>
                  <a:close/>
                  <a:moveTo>
                    <a:pt x="7752" y="2406"/>
                  </a:moveTo>
                  <a:cubicBezTo>
                    <a:pt x="7918" y="2799"/>
                    <a:pt x="8025" y="3239"/>
                    <a:pt x="8025" y="3692"/>
                  </a:cubicBezTo>
                  <a:lnTo>
                    <a:pt x="8025" y="4215"/>
                  </a:lnTo>
                  <a:cubicBezTo>
                    <a:pt x="8025" y="5477"/>
                    <a:pt x="7478" y="6692"/>
                    <a:pt x="6490" y="7502"/>
                  </a:cubicBezTo>
                  <a:lnTo>
                    <a:pt x="6192" y="7763"/>
                  </a:lnTo>
                  <a:cubicBezTo>
                    <a:pt x="6168" y="7704"/>
                    <a:pt x="6132" y="7621"/>
                    <a:pt x="6132" y="7561"/>
                  </a:cubicBezTo>
                  <a:lnTo>
                    <a:pt x="6132" y="7430"/>
                  </a:lnTo>
                  <a:cubicBezTo>
                    <a:pt x="6132" y="7347"/>
                    <a:pt x="6061" y="7251"/>
                    <a:pt x="5954" y="7251"/>
                  </a:cubicBezTo>
                  <a:cubicBezTo>
                    <a:pt x="5870" y="7251"/>
                    <a:pt x="5775" y="7323"/>
                    <a:pt x="5775" y="7430"/>
                  </a:cubicBezTo>
                  <a:lnTo>
                    <a:pt x="5775" y="7561"/>
                  </a:lnTo>
                  <a:cubicBezTo>
                    <a:pt x="5775" y="7716"/>
                    <a:pt x="5823" y="7859"/>
                    <a:pt x="5906" y="8002"/>
                  </a:cubicBezTo>
                  <a:lnTo>
                    <a:pt x="4644" y="9073"/>
                  </a:lnTo>
                  <a:lnTo>
                    <a:pt x="3382" y="8002"/>
                  </a:lnTo>
                  <a:cubicBezTo>
                    <a:pt x="3465" y="7883"/>
                    <a:pt x="3513" y="7728"/>
                    <a:pt x="3513" y="7561"/>
                  </a:cubicBezTo>
                  <a:lnTo>
                    <a:pt x="3513" y="6966"/>
                  </a:lnTo>
                  <a:cubicBezTo>
                    <a:pt x="3858" y="7132"/>
                    <a:pt x="4239" y="7228"/>
                    <a:pt x="4644" y="7228"/>
                  </a:cubicBezTo>
                  <a:cubicBezTo>
                    <a:pt x="5954" y="7228"/>
                    <a:pt x="7037" y="6251"/>
                    <a:pt x="7216" y="4989"/>
                  </a:cubicBezTo>
                  <a:lnTo>
                    <a:pt x="7323" y="4989"/>
                  </a:lnTo>
                  <a:cubicBezTo>
                    <a:pt x="7668" y="4989"/>
                    <a:pt x="7954" y="4739"/>
                    <a:pt x="7990" y="4406"/>
                  </a:cubicBezTo>
                  <a:cubicBezTo>
                    <a:pt x="8002" y="4227"/>
                    <a:pt x="7954" y="4049"/>
                    <a:pt x="7835" y="3918"/>
                  </a:cubicBezTo>
                  <a:cubicBezTo>
                    <a:pt x="7775" y="3858"/>
                    <a:pt x="7716" y="3811"/>
                    <a:pt x="7633" y="3775"/>
                  </a:cubicBezTo>
                  <a:lnTo>
                    <a:pt x="7752" y="2406"/>
                  </a:lnTo>
                  <a:close/>
                  <a:moveTo>
                    <a:pt x="4656" y="9454"/>
                  </a:moveTo>
                  <a:cubicBezTo>
                    <a:pt x="4763" y="9454"/>
                    <a:pt x="4858" y="9549"/>
                    <a:pt x="4858" y="9645"/>
                  </a:cubicBezTo>
                  <a:lnTo>
                    <a:pt x="4858" y="10026"/>
                  </a:lnTo>
                  <a:cubicBezTo>
                    <a:pt x="4858" y="10121"/>
                    <a:pt x="4763" y="10216"/>
                    <a:pt x="4656" y="10216"/>
                  </a:cubicBezTo>
                  <a:cubicBezTo>
                    <a:pt x="4561" y="10216"/>
                    <a:pt x="4466" y="10121"/>
                    <a:pt x="4466" y="10026"/>
                  </a:cubicBezTo>
                  <a:lnTo>
                    <a:pt x="4466" y="9645"/>
                  </a:lnTo>
                  <a:cubicBezTo>
                    <a:pt x="4466" y="9549"/>
                    <a:pt x="4561" y="9454"/>
                    <a:pt x="4656" y="9454"/>
                  </a:cubicBezTo>
                  <a:close/>
                  <a:moveTo>
                    <a:pt x="4644" y="1"/>
                  </a:moveTo>
                  <a:cubicBezTo>
                    <a:pt x="2608" y="1"/>
                    <a:pt x="941" y="1667"/>
                    <a:pt x="941" y="3715"/>
                  </a:cubicBezTo>
                  <a:lnTo>
                    <a:pt x="941" y="4227"/>
                  </a:lnTo>
                  <a:cubicBezTo>
                    <a:pt x="941" y="5597"/>
                    <a:pt x="1537" y="6894"/>
                    <a:pt x="2596" y="7775"/>
                  </a:cubicBezTo>
                  <a:lnTo>
                    <a:pt x="2799" y="7954"/>
                  </a:lnTo>
                  <a:lnTo>
                    <a:pt x="929" y="8502"/>
                  </a:lnTo>
                  <a:cubicBezTo>
                    <a:pt x="370" y="8668"/>
                    <a:pt x="1" y="9168"/>
                    <a:pt x="1" y="9740"/>
                  </a:cubicBezTo>
                  <a:lnTo>
                    <a:pt x="1" y="11693"/>
                  </a:lnTo>
                  <a:cubicBezTo>
                    <a:pt x="1" y="11776"/>
                    <a:pt x="72" y="11871"/>
                    <a:pt x="179" y="11871"/>
                  </a:cubicBezTo>
                  <a:cubicBezTo>
                    <a:pt x="275" y="11871"/>
                    <a:pt x="358" y="11788"/>
                    <a:pt x="358" y="11693"/>
                  </a:cubicBezTo>
                  <a:lnTo>
                    <a:pt x="358" y="9740"/>
                  </a:lnTo>
                  <a:cubicBezTo>
                    <a:pt x="358" y="9609"/>
                    <a:pt x="394" y="9490"/>
                    <a:pt x="429" y="9383"/>
                  </a:cubicBezTo>
                  <a:lnTo>
                    <a:pt x="1489" y="10299"/>
                  </a:lnTo>
                  <a:cubicBezTo>
                    <a:pt x="1608" y="10407"/>
                    <a:pt x="1679" y="10573"/>
                    <a:pt x="1679" y="10740"/>
                  </a:cubicBezTo>
                  <a:lnTo>
                    <a:pt x="1679" y="11704"/>
                  </a:lnTo>
                  <a:cubicBezTo>
                    <a:pt x="1679" y="11788"/>
                    <a:pt x="1763" y="11883"/>
                    <a:pt x="1858" y="11883"/>
                  </a:cubicBezTo>
                  <a:cubicBezTo>
                    <a:pt x="1953" y="11883"/>
                    <a:pt x="2037" y="11812"/>
                    <a:pt x="2037" y="11704"/>
                  </a:cubicBezTo>
                  <a:lnTo>
                    <a:pt x="2037" y="10740"/>
                  </a:lnTo>
                  <a:cubicBezTo>
                    <a:pt x="2037" y="10466"/>
                    <a:pt x="1918" y="10216"/>
                    <a:pt x="1727" y="10049"/>
                  </a:cubicBezTo>
                  <a:lnTo>
                    <a:pt x="644" y="9097"/>
                  </a:lnTo>
                  <a:cubicBezTo>
                    <a:pt x="751" y="8978"/>
                    <a:pt x="894" y="8895"/>
                    <a:pt x="1048" y="8847"/>
                  </a:cubicBezTo>
                  <a:lnTo>
                    <a:pt x="3013" y="8264"/>
                  </a:lnTo>
                  <a:cubicBezTo>
                    <a:pt x="3049" y="8252"/>
                    <a:pt x="3084" y="8240"/>
                    <a:pt x="3132" y="8216"/>
                  </a:cubicBezTo>
                  <a:lnTo>
                    <a:pt x="4323" y="9228"/>
                  </a:lnTo>
                  <a:cubicBezTo>
                    <a:pt x="4180" y="9335"/>
                    <a:pt x="4108" y="9490"/>
                    <a:pt x="4108" y="9668"/>
                  </a:cubicBezTo>
                  <a:lnTo>
                    <a:pt x="4108" y="10038"/>
                  </a:lnTo>
                  <a:cubicBezTo>
                    <a:pt x="4108" y="10276"/>
                    <a:pt x="4263" y="10478"/>
                    <a:pt x="4477" y="10561"/>
                  </a:cubicBezTo>
                  <a:lnTo>
                    <a:pt x="4477" y="11716"/>
                  </a:lnTo>
                  <a:cubicBezTo>
                    <a:pt x="4477" y="11812"/>
                    <a:pt x="4561" y="11895"/>
                    <a:pt x="4656" y="11895"/>
                  </a:cubicBezTo>
                  <a:cubicBezTo>
                    <a:pt x="4751" y="11895"/>
                    <a:pt x="4835" y="11823"/>
                    <a:pt x="4835" y="11716"/>
                  </a:cubicBezTo>
                  <a:lnTo>
                    <a:pt x="4835" y="10561"/>
                  </a:lnTo>
                  <a:cubicBezTo>
                    <a:pt x="5061" y="10478"/>
                    <a:pt x="5216" y="10276"/>
                    <a:pt x="5216" y="10038"/>
                  </a:cubicBezTo>
                  <a:lnTo>
                    <a:pt x="5216" y="9668"/>
                  </a:lnTo>
                  <a:cubicBezTo>
                    <a:pt x="5216" y="9490"/>
                    <a:pt x="5132" y="9335"/>
                    <a:pt x="5001" y="9228"/>
                  </a:cubicBezTo>
                  <a:lnTo>
                    <a:pt x="6192" y="8216"/>
                  </a:lnTo>
                  <a:cubicBezTo>
                    <a:pt x="6240" y="8240"/>
                    <a:pt x="6263" y="8252"/>
                    <a:pt x="6311" y="8264"/>
                  </a:cubicBezTo>
                  <a:lnTo>
                    <a:pt x="8276" y="8847"/>
                  </a:lnTo>
                  <a:cubicBezTo>
                    <a:pt x="8442" y="8895"/>
                    <a:pt x="8573" y="8978"/>
                    <a:pt x="8680" y="9097"/>
                  </a:cubicBezTo>
                  <a:lnTo>
                    <a:pt x="7597" y="10049"/>
                  </a:lnTo>
                  <a:cubicBezTo>
                    <a:pt x="7394" y="10228"/>
                    <a:pt x="7275" y="10478"/>
                    <a:pt x="7275" y="10740"/>
                  </a:cubicBezTo>
                  <a:lnTo>
                    <a:pt x="7275" y="11704"/>
                  </a:lnTo>
                  <a:cubicBezTo>
                    <a:pt x="7275" y="11788"/>
                    <a:pt x="7359" y="11883"/>
                    <a:pt x="7454" y="11883"/>
                  </a:cubicBezTo>
                  <a:cubicBezTo>
                    <a:pt x="7549" y="11883"/>
                    <a:pt x="7633" y="11812"/>
                    <a:pt x="7633" y="11704"/>
                  </a:cubicBezTo>
                  <a:lnTo>
                    <a:pt x="7633" y="10740"/>
                  </a:lnTo>
                  <a:cubicBezTo>
                    <a:pt x="7633" y="10573"/>
                    <a:pt x="7716" y="10407"/>
                    <a:pt x="7835" y="10299"/>
                  </a:cubicBezTo>
                  <a:lnTo>
                    <a:pt x="8883" y="9383"/>
                  </a:lnTo>
                  <a:cubicBezTo>
                    <a:pt x="8930" y="9502"/>
                    <a:pt x="8966" y="9621"/>
                    <a:pt x="8966" y="9740"/>
                  </a:cubicBezTo>
                  <a:lnTo>
                    <a:pt x="8966" y="11693"/>
                  </a:lnTo>
                  <a:cubicBezTo>
                    <a:pt x="8966" y="11776"/>
                    <a:pt x="9038" y="11871"/>
                    <a:pt x="9145" y="11871"/>
                  </a:cubicBezTo>
                  <a:cubicBezTo>
                    <a:pt x="9228" y="11871"/>
                    <a:pt x="9323" y="11788"/>
                    <a:pt x="9323" y="11693"/>
                  </a:cubicBezTo>
                  <a:lnTo>
                    <a:pt x="9323" y="9740"/>
                  </a:lnTo>
                  <a:cubicBezTo>
                    <a:pt x="9299" y="9168"/>
                    <a:pt x="8918" y="8668"/>
                    <a:pt x="8371" y="8502"/>
                  </a:cubicBezTo>
                  <a:lnTo>
                    <a:pt x="6490" y="7954"/>
                  </a:lnTo>
                  <a:lnTo>
                    <a:pt x="6704" y="7775"/>
                  </a:lnTo>
                  <a:cubicBezTo>
                    <a:pt x="7752" y="6894"/>
                    <a:pt x="8347" y="5597"/>
                    <a:pt x="8347" y="4227"/>
                  </a:cubicBezTo>
                  <a:lnTo>
                    <a:pt x="8347" y="3715"/>
                  </a:lnTo>
                  <a:cubicBezTo>
                    <a:pt x="8347" y="1667"/>
                    <a:pt x="6680"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0" name="Google Shape;11670;p61"/>
            <p:cNvSpPr/>
            <p:nvPr/>
          </p:nvSpPr>
          <p:spPr>
            <a:xfrm>
              <a:off x="7676118" y="3435576"/>
              <a:ext cx="23412" cy="11341"/>
            </a:xfrm>
            <a:custGeom>
              <a:avLst/>
              <a:gdLst/>
              <a:ahLst/>
              <a:cxnLst/>
              <a:rect l="l" t="t" r="r" b="b"/>
              <a:pathLst>
                <a:path w="739" h="358" extrusionOk="0">
                  <a:moveTo>
                    <a:pt x="179" y="0"/>
                  </a:moveTo>
                  <a:cubicBezTo>
                    <a:pt x="96" y="0"/>
                    <a:pt x="1" y="84"/>
                    <a:pt x="1" y="179"/>
                  </a:cubicBezTo>
                  <a:cubicBezTo>
                    <a:pt x="1" y="274"/>
                    <a:pt x="84" y="358"/>
                    <a:pt x="179" y="358"/>
                  </a:cubicBezTo>
                  <a:lnTo>
                    <a:pt x="560" y="358"/>
                  </a:lnTo>
                  <a:cubicBezTo>
                    <a:pt x="644" y="358"/>
                    <a:pt x="739" y="286"/>
                    <a:pt x="739" y="179"/>
                  </a:cubicBezTo>
                  <a:cubicBezTo>
                    <a:pt x="739" y="84"/>
                    <a:pt x="656"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1" name="Google Shape;11671;p61"/>
            <p:cNvSpPr/>
            <p:nvPr/>
          </p:nvSpPr>
          <p:spPr>
            <a:xfrm>
              <a:off x="7747049" y="3435576"/>
              <a:ext cx="23031" cy="11341"/>
            </a:xfrm>
            <a:custGeom>
              <a:avLst/>
              <a:gdLst/>
              <a:ahLst/>
              <a:cxnLst/>
              <a:rect l="l" t="t" r="r" b="b"/>
              <a:pathLst>
                <a:path w="727" h="358" extrusionOk="0">
                  <a:moveTo>
                    <a:pt x="179" y="0"/>
                  </a:moveTo>
                  <a:cubicBezTo>
                    <a:pt x="83" y="0"/>
                    <a:pt x="0" y="84"/>
                    <a:pt x="0" y="179"/>
                  </a:cubicBezTo>
                  <a:cubicBezTo>
                    <a:pt x="0" y="274"/>
                    <a:pt x="72" y="358"/>
                    <a:pt x="179" y="358"/>
                  </a:cubicBezTo>
                  <a:lnTo>
                    <a:pt x="548" y="358"/>
                  </a:lnTo>
                  <a:cubicBezTo>
                    <a:pt x="643" y="358"/>
                    <a:pt x="726" y="286"/>
                    <a:pt x="726" y="179"/>
                  </a:cubicBezTo>
                  <a:cubicBezTo>
                    <a:pt x="726" y="84"/>
                    <a:pt x="655"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72" name="Google Shape;11672;p61"/>
          <p:cNvGrpSpPr/>
          <p:nvPr/>
        </p:nvGrpSpPr>
        <p:grpSpPr>
          <a:xfrm>
            <a:off x="864062" y="2884503"/>
            <a:ext cx="264084" cy="347783"/>
            <a:chOff x="864062" y="2884503"/>
            <a:chExt cx="264084" cy="347783"/>
          </a:xfrm>
        </p:grpSpPr>
        <p:sp>
          <p:nvSpPr>
            <p:cNvPr id="11673" name="Google Shape;11673;p61"/>
            <p:cNvSpPr/>
            <p:nvPr/>
          </p:nvSpPr>
          <p:spPr>
            <a:xfrm>
              <a:off x="944783" y="2884503"/>
              <a:ext cx="102263" cy="122982"/>
            </a:xfrm>
            <a:custGeom>
              <a:avLst/>
              <a:gdLst/>
              <a:ahLst/>
              <a:cxnLst/>
              <a:rect l="l" t="t" r="r" b="b"/>
              <a:pathLst>
                <a:path w="3228" h="3882" extrusionOk="0">
                  <a:moveTo>
                    <a:pt x="1608" y="0"/>
                  </a:moveTo>
                  <a:cubicBezTo>
                    <a:pt x="715" y="0"/>
                    <a:pt x="1" y="727"/>
                    <a:pt x="1" y="1608"/>
                  </a:cubicBezTo>
                  <a:cubicBezTo>
                    <a:pt x="1" y="2286"/>
                    <a:pt x="418" y="2882"/>
                    <a:pt x="1060" y="3120"/>
                  </a:cubicBezTo>
                  <a:lnTo>
                    <a:pt x="1477" y="3810"/>
                  </a:lnTo>
                  <a:cubicBezTo>
                    <a:pt x="1501" y="3858"/>
                    <a:pt x="1549" y="3882"/>
                    <a:pt x="1608" y="3882"/>
                  </a:cubicBezTo>
                  <a:cubicBezTo>
                    <a:pt x="1668" y="3882"/>
                    <a:pt x="1715" y="3858"/>
                    <a:pt x="1739" y="3810"/>
                  </a:cubicBezTo>
                  <a:lnTo>
                    <a:pt x="2156" y="3120"/>
                  </a:lnTo>
                  <a:cubicBezTo>
                    <a:pt x="2561" y="2977"/>
                    <a:pt x="2906" y="2667"/>
                    <a:pt x="3085" y="2263"/>
                  </a:cubicBezTo>
                  <a:cubicBezTo>
                    <a:pt x="3108" y="2191"/>
                    <a:pt x="3085" y="2084"/>
                    <a:pt x="3001" y="2060"/>
                  </a:cubicBezTo>
                  <a:cubicBezTo>
                    <a:pt x="2982" y="2051"/>
                    <a:pt x="2961" y="2046"/>
                    <a:pt x="2940" y="2046"/>
                  </a:cubicBezTo>
                  <a:cubicBezTo>
                    <a:pt x="2883" y="2046"/>
                    <a:pt x="2825" y="2079"/>
                    <a:pt x="2799" y="2132"/>
                  </a:cubicBezTo>
                  <a:cubicBezTo>
                    <a:pt x="2644" y="2465"/>
                    <a:pt x="2370" y="2727"/>
                    <a:pt x="2013" y="2834"/>
                  </a:cubicBezTo>
                  <a:cubicBezTo>
                    <a:pt x="1977" y="2846"/>
                    <a:pt x="1930" y="2858"/>
                    <a:pt x="1918" y="2905"/>
                  </a:cubicBezTo>
                  <a:lnTo>
                    <a:pt x="1608" y="3406"/>
                  </a:lnTo>
                  <a:lnTo>
                    <a:pt x="1299" y="2905"/>
                  </a:lnTo>
                  <a:cubicBezTo>
                    <a:pt x="1275" y="2870"/>
                    <a:pt x="1251" y="2846"/>
                    <a:pt x="1203" y="2834"/>
                  </a:cubicBezTo>
                  <a:cubicBezTo>
                    <a:pt x="668" y="2655"/>
                    <a:pt x="310" y="2155"/>
                    <a:pt x="310" y="1596"/>
                  </a:cubicBezTo>
                  <a:cubicBezTo>
                    <a:pt x="310" y="905"/>
                    <a:pt x="894" y="322"/>
                    <a:pt x="1608" y="322"/>
                  </a:cubicBezTo>
                  <a:cubicBezTo>
                    <a:pt x="2311" y="322"/>
                    <a:pt x="2870" y="881"/>
                    <a:pt x="2906" y="1572"/>
                  </a:cubicBezTo>
                  <a:cubicBezTo>
                    <a:pt x="2906" y="1667"/>
                    <a:pt x="2977" y="1739"/>
                    <a:pt x="3061" y="1739"/>
                  </a:cubicBezTo>
                  <a:cubicBezTo>
                    <a:pt x="3156" y="1739"/>
                    <a:pt x="3227" y="1667"/>
                    <a:pt x="3227" y="1572"/>
                  </a:cubicBezTo>
                  <a:cubicBezTo>
                    <a:pt x="3215" y="1167"/>
                    <a:pt x="3049" y="762"/>
                    <a:pt x="2739" y="465"/>
                  </a:cubicBezTo>
                  <a:cubicBezTo>
                    <a:pt x="2442" y="167"/>
                    <a:pt x="2037"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4" name="Google Shape;11674;p61"/>
            <p:cNvSpPr/>
            <p:nvPr/>
          </p:nvSpPr>
          <p:spPr>
            <a:xfrm>
              <a:off x="963664" y="2903733"/>
              <a:ext cx="65261" cy="64152"/>
            </a:xfrm>
            <a:custGeom>
              <a:avLst/>
              <a:gdLst/>
              <a:ahLst/>
              <a:cxnLst/>
              <a:rect l="l" t="t" r="r" b="b"/>
              <a:pathLst>
                <a:path w="2060" h="2025" extrusionOk="0">
                  <a:moveTo>
                    <a:pt x="1012" y="584"/>
                  </a:moveTo>
                  <a:cubicBezTo>
                    <a:pt x="1250" y="584"/>
                    <a:pt x="1441" y="774"/>
                    <a:pt x="1441" y="1013"/>
                  </a:cubicBezTo>
                  <a:cubicBezTo>
                    <a:pt x="1441" y="1251"/>
                    <a:pt x="1250" y="1453"/>
                    <a:pt x="1012" y="1453"/>
                  </a:cubicBezTo>
                  <a:cubicBezTo>
                    <a:pt x="774" y="1453"/>
                    <a:pt x="584" y="1251"/>
                    <a:pt x="584" y="1013"/>
                  </a:cubicBezTo>
                  <a:cubicBezTo>
                    <a:pt x="584" y="774"/>
                    <a:pt x="774" y="584"/>
                    <a:pt x="1012" y="584"/>
                  </a:cubicBezTo>
                  <a:close/>
                  <a:moveTo>
                    <a:pt x="1012" y="1"/>
                  </a:moveTo>
                  <a:cubicBezTo>
                    <a:pt x="929" y="1"/>
                    <a:pt x="845" y="72"/>
                    <a:pt x="845" y="167"/>
                  </a:cubicBezTo>
                  <a:lnTo>
                    <a:pt x="845" y="274"/>
                  </a:lnTo>
                  <a:cubicBezTo>
                    <a:pt x="762" y="286"/>
                    <a:pt x="667" y="334"/>
                    <a:pt x="595" y="370"/>
                  </a:cubicBezTo>
                  <a:lnTo>
                    <a:pt x="524" y="298"/>
                  </a:lnTo>
                  <a:cubicBezTo>
                    <a:pt x="494" y="268"/>
                    <a:pt x="453" y="254"/>
                    <a:pt x="411" y="254"/>
                  </a:cubicBezTo>
                  <a:cubicBezTo>
                    <a:pt x="369" y="254"/>
                    <a:pt x="328" y="268"/>
                    <a:pt x="298" y="298"/>
                  </a:cubicBezTo>
                  <a:cubicBezTo>
                    <a:pt x="238" y="358"/>
                    <a:pt x="238" y="465"/>
                    <a:pt x="298" y="524"/>
                  </a:cubicBezTo>
                  <a:lnTo>
                    <a:pt x="369" y="596"/>
                  </a:lnTo>
                  <a:cubicBezTo>
                    <a:pt x="333" y="667"/>
                    <a:pt x="286" y="763"/>
                    <a:pt x="274" y="858"/>
                  </a:cubicBezTo>
                  <a:lnTo>
                    <a:pt x="167" y="858"/>
                  </a:lnTo>
                  <a:cubicBezTo>
                    <a:pt x="72" y="858"/>
                    <a:pt x="0" y="929"/>
                    <a:pt x="0" y="1013"/>
                  </a:cubicBezTo>
                  <a:cubicBezTo>
                    <a:pt x="0" y="1108"/>
                    <a:pt x="72" y="1179"/>
                    <a:pt x="167" y="1179"/>
                  </a:cubicBezTo>
                  <a:lnTo>
                    <a:pt x="274" y="1179"/>
                  </a:lnTo>
                  <a:cubicBezTo>
                    <a:pt x="286" y="1275"/>
                    <a:pt x="333" y="1358"/>
                    <a:pt x="369" y="1429"/>
                  </a:cubicBezTo>
                  <a:lnTo>
                    <a:pt x="298" y="1513"/>
                  </a:lnTo>
                  <a:cubicBezTo>
                    <a:pt x="238" y="1572"/>
                    <a:pt x="238" y="1667"/>
                    <a:pt x="298" y="1727"/>
                  </a:cubicBezTo>
                  <a:cubicBezTo>
                    <a:pt x="333" y="1763"/>
                    <a:pt x="369" y="1775"/>
                    <a:pt x="417" y="1775"/>
                  </a:cubicBezTo>
                  <a:cubicBezTo>
                    <a:pt x="464" y="1775"/>
                    <a:pt x="512" y="1763"/>
                    <a:pt x="536" y="1727"/>
                  </a:cubicBezTo>
                  <a:lnTo>
                    <a:pt x="607" y="1656"/>
                  </a:lnTo>
                  <a:cubicBezTo>
                    <a:pt x="691" y="1703"/>
                    <a:pt x="774" y="1751"/>
                    <a:pt x="869" y="1763"/>
                  </a:cubicBezTo>
                  <a:lnTo>
                    <a:pt x="869" y="1870"/>
                  </a:lnTo>
                  <a:cubicBezTo>
                    <a:pt x="869" y="1953"/>
                    <a:pt x="941" y="2025"/>
                    <a:pt x="1024" y="2025"/>
                  </a:cubicBezTo>
                  <a:cubicBezTo>
                    <a:pt x="1119" y="2025"/>
                    <a:pt x="1191" y="1953"/>
                    <a:pt x="1191" y="1870"/>
                  </a:cubicBezTo>
                  <a:lnTo>
                    <a:pt x="1191" y="1763"/>
                  </a:lnTo>
                  <a:cubicBezTo>
                    <a:pt x="1286" y="1751"/>
                    <a:pt x="1369" y="1703"/>
                    <a:pt x="1441" y="1656"/>
                  </a:cubicBezTo>
                  <a:lnTo>
                    <a:pt x="1524" y="1727"/>
                  </a:lnTo>
                  <a:cubicBezTo>
                    <a:pt x="1548" y="1763"/>
                    <a:pt x="1596" y="1775"/>
                    <a:pt x="1643" y="1775"/>
                  </a:cubicBezTo>
                  <a:cubicBezTo>
                    <a:pt x="1679" y="1775"/>
                    <a:pt x="1727" y="1763"/>
                    <a:pt x="1762" y="1727"/>
                  </a:cubicBezTo>
                  <a:cubicBezTo>
                    <a:pt x="1822" y="1667"/>
                    <a:pt x="1822" y="1572"/>
                    <a:pt x="1762" y="1513"/>
                  </a:cubicBezTo>
                  <a:lnTo>
                    <a:pt x="1679" y="1429"/>
                  </a:lnTo>
                  <a:cubicBezTo>
                    <a:pt x="1727" y="1358"/>
                    <a:pt x="1774" y="1275"/>
                    <a:pt x="1786" y="1179"/>
                  </a:cubicBezTo>
                  <a:lnTo>
                    <a:pt x="1893" y="1179"/>
                  </a:lnTo>
                  <a:cubicBezTo>
                    <a:pt x="1977" y="1179"/>
                    <a:pt x="2060" y="1108"/>
                    <a:pt x="2060" y="1013"/>
                  </a:cubicBezTo>
                  <a:cubicBezTo>
                    <a:pt x="2012" y="929"/>
                    <a:pt x="1953" y="858"/>
                    <a:pt x="1857" y="858"/>
                  </a:cubicBezTo>
                  <a:lnTo>
                    <a:pt x="1762" y="858"/>
                  </a:lnTo>
                  <a:cubicBezTo>
                    <a:pt x="1738" y="763"/>
                    <a:pt x="1703" y="667"/>
                    <a:pt x="1655" y="596"/>
                  </a:cubicBezTo>
                  <a:lnTo>
                    <a:pt x="1727" y="524"/>
                  </a:lnTo>
                  <a:cubicBezTo>
                    <a:pt x="1786" y="465"/>
                    <a:pt x="1786" y="358"/>
                    <a:pt x="1727" y="298"/>
                  </a:cubicBezTo>
                  <a:cubicBezTo>
                    <a:pt x="1697" y="268"/>
                    <a:pt x="1655" y="254"/>
                    <a:pt x="1613" y="254"/>
                  </a:cubicBezTo>
                  <a:cubicBezTo>
                    <a:pt x="1572" y="254"/>
                    <a:pt x="1530" y="268"/>
                    <a:pt x="1500" y="298"/>
                  </a:cubicBezTo>
                  <a:lnTo>
                    <a:pt x="1429" y="370"/>
                  </a:lnTo>
                  <a:cubicBezTo>
                    <a:pt x="1357" y="334"/>
                    <a:pt x="1262" y="286"/>
                    <a:pt x="1179" y="274"/>
                  </a:cubicBezTo>
                  <a:lnTo>
                    <a:pt x="1179" y="167"/>
                  </a:lnTo>
                  <a:cubicBezTo>
                    <a:pt x="1179" y="72"/>
                    <a:pt x="1107"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5" name="Google Shape;11675;p61"/>
            <p:cNvSpPr/>
            <p:nvPr/>
          </p:nvSpPr>
          <p:spPr>
            <a:xfrm>
              <a:off x="864062" y="2987843"/>
              <a:ext cx="264084" cy="244443"/>
            </a:xfrm>
            <a:custGeom>
              <a:avLst/>
              <a:gdLst/>
              <a:ahLst/>
              <a:cxnLst/>
              <a:rect l="l" t="t" r="r" b="b"/>
              <a:pathLst>
                <a:path w="8336" h="7716" extrusionOk="0">
                  <a:moveTo>
                    <a:pt x="2513" y="1"/>
                  </a:moveTo>
                  <a:cubicBezTo>
                    <a:pt x="2477" y="1"/>
                    <a:pt x="2418" y="13"/>
                    <a:pt x="2370" y="24"/>
                  </a:cubicBezTo>
                  <a:cubicBezTo>
                    <a:pt x="1834" y="167"/>
                    <a:pt x="1442" y="667"/>
                    <a:pt x="1442" y="1263"/>
                  </a:cubicBezTo>
                  <a:lnTo>
                    <a:pt x="1442" y="1358"/>
                  </a:lnTo>
                  <a:cubicBezTo>
                    <a:pt x="953" y="1513"/>
                    <a:pt x="632" y="2013"/>
                    <a:pt x="632" y="2560"/>
                  </a:cubicBezTo>
                  <a:cubicBezTo>
                    <a:pt x="632" y="2751"/>
                    <a:pt x="680" y="2941"/>
                    <a:pt x="751" y="3120"/>
                  </a:cubicBezTo>
                  <a:cubicBezTo>
                    <a:pt x="287" y="3453"/>
                    <a:pt x="1" y="4001"/>
                    <a:pt x="1" y="4596"/>
                  </a:cubicBezTo>
                  <a:cubicBezTo>
                    <a:pt x="1" y="4966"/>
                    <a:pt x="108" y="5323"/>
                    <a:pt x="322" y="5620"/>
                  </a:cubicBezTo>
                  <a:cubicBezTo>
                    <a:pt x="346" y="5675"/>
                    <a:pt x="395" y="5699"/>
                    <a:pt x="446" y="5699"/>
                  </a:cubicBezTo>
                  <a:cubicBezTo>
                    <a:pt x="473" y="5699"/>
                    <a:pt x="500" y="5692"/>
                    <a:pt x="525" y="5680"/>
                  </a:cubicBezTo>
                  <a:cubicBezTo>
                    <a:pt x="620" y="5644"/>
                    <a:pt x="644" y="5537"/>
                    <a:pt x="584" y="5442"/>
                  </a:cubicBezTo>
                  <a:cubicBezTo>
                    <a:pt x="406" y="5192"/>
                    <a:pt x="322" y="4894"/>
                    <a:pt x="322" y="4596"/>
                  </a:cubicBezTo>
                  <a:cubicBezTo>
                    <a:pt x="322" y="4061"/>
                    <a:pt x="596" y="3573"/>
                    <a:pt x="1037" y="3311"/>
                  </a:cubicBezTo>
                  <a:cubicBezTo>
                    <a:pt x="1037" y="3311"/>
                    <a:pt x="1049" y="3311"/>
                    <a:pt x="1049" y="3299"/>
                  </a:cubicBezTo>
                  <a:cubicBezTo>
                    <a:pt x="1049" y="3299"/>
                    <a:pt x="1327" y="3093"/>
                    <a:pt x="1883" y="3093"/>
                  </a:cubicBezTo>
                  <a:cubicBezTo>
                    <a:pt x="1925" y="3093"/>
                    <a:pt x="1968" y="3094"/>
                    <a:pt x="2013" y="3096"/>
                  </a:cubicBezTo>
                  <a:cubicBezTo>
                    <a:pt x="2108" y="3096"/>
                    <a:pt x="2180" y="3037"/>
                    <a:pt x="2180" y="2941"/>
                  </a:cubicBezTo>
                  <a:cubicBezTo>
                    <a:pt x="2180" y="2858"/>
                    <a:pt x="2120" y="2775"/>
                    <a:pt x="2025" y="2775"/>
                  </a:cubicBezTo>
                  <a:cubicBezTo>
                    <a:pt x="2000" y="2774"/>
                    <a:pt x="1975" y="2774"/>
                    <a:pt x="1950" y="2774"/>
                  </a:cubicBezTo>
                  <a:cubicBezTo>
                    <a:pt x="1502" y="2774"/>
                    <a:pt x="1182" y="2874"/>
                    <a:pt x="1013" y="2953"/>
                  </a:cubicBezTo>
                  <a:cubicBezTo>
                    <a:pt x="953" y="2834"/>
                    <a:pt x="941" y="2703"/>
                    <a:pt x="941" y="2560"/>
                  </a:cubicBezTo>
                  <a:cubicBezTo>
                    <a:pt x="941" y="2108"/>
                    <a:pt x="1239" y="1727"/>
                    <a:pt x="1644" y="1632"/>
                  </a:cubicBezTo>
                  <a:cubicBezTo>
                    <a:pt x="1680" y="1632"/>
                    <a:pt x="1882" y="1632"/>
                    <a:pt x="2013" y="1763"/>
                  </a:cubicBezTo>
                  <a:cubicBezTo>
                    <a:pt x="2120" y="1870"/>
                    <a:pt x="2180" y="2025"/>
                    <a:pt x="2180" y="2239"/>
                  </a:cubicBezTo>
                  <a:cubicBezTo>
                    <a:pt x="2180" y="2334"/>
                    <a:pt x="2251" y="2406"/>
                    <a:pt x="2323" y="2406"/>
                  </a:cubicBezTo>
                  <a:cubicBezTo>
                    <a:pt x="2418" y="2406"/>
                    <a:pt x="2489" y="2334"/>
                    <a:pt x="2489" y="2239"/>
                  </a:cubicBezTo>
                  <a:cubicBezTo>
                    <a:pt x="2489" y="1929"/>
                    <a:pt x="2394" y="1691"/>
                    <a:pt x="2215" y="1525"/>
                  </a:cubicBezTo>
                  <a:cubicBezTo>
                    <a:pt x="2073" y="1394"/>
                    <a:pt x="1882" y="1334"/>
                    <a:pt x="1763" y="1322"/>
                  </a:cubicBezTo>
                  <a:lnTo>
                    <a:pt x="1763" y="1275"/>
                  </a:lnTo>
                  <a:cubicBezTo>
                    <a:pt x="1763" y="846"/>
                    <a:pt x="2037" y="453"/>
                    <a:pt x="2430" y="358"/>
                  </a:cubicBezTo>
                  <a:cubicBezTo>
                    <a:pt x="2477" y="334"/>
                    <a:pt x="2513" y="334"/>
                    <a:pt x="2561" y="322"/>
                  </a:cubicBezTo>
                  <a:lnTo>
                    <a:pt x="2846" y="322"/>
                  </a:lnTo>
                  <a:cubicBezTo>
                    <a:pt x="3370" y="322"/>
                    <a:pt x="3799" y="751"/>
                    <a:pt x="3799" y="1275"/>
                  </a:cubicBezTo>
                  <a:lnTo>
                    <a:pt x="3799" y="4608"/>
                  </a:lnTo>
                  <a:cubicBezTo>
                    <a:pt x="3311" y="4644"/>
                    <a:pt x="2858" y="4835"/>
                    <a:pt x="2513" y="5180"/>
                  </a:cubicBezTo>
                  <a:cubicBezTo>
                    <a:pt x="2477" y="5216"/>
                    <a:pt x="2454" y="5311"/>
                    <a:pt x="2489" y="5370"/>
                  </a:cubicBezTo>
                  <a:cubicBezTo>
                    <a:pt x="2513" y="5430"/>
                    <a:pt x="2573" y="5442"/>
                    <a:pt x="2620" y="5442"/>
                  </a:cubicBezTo>
                  <a:cubicBezTo>
                    <a:pt x="2668" y="5442"/>
                    <a:pt x="2715" y="5430"/>
                    <a:pt x="2739" y="5394"/>
                  </a:cubicBezTo>
                  <a:cubicBezTo>
                    <a:pt x="3037" y="5097"/>
                    <a:pt x="3454" y="4918"/>
                    <a:pt x="3894" y="4918"/>
                  </a:cubicBezTo>
                  <a:cubicBezTo>
                    <a:pt x="4168" y="5192"/>
                    <a:pt x="4335" y="5573"/>
                    <a:pt x="4335" y="5978"/>
                  </a:cubicBezTo>
                  <a:cubicBezTo>
                    <a:pt x="4335" y="6382"/>
                    <a:pt x="4168" y="6763"/>
                    <a:pt x="3894" y="7037"/>
                  </a:cubicBezTo>
                  <a:cubicBezTo>
                    <a:pt x="3656" y="7263"/>
                    <a:pt x="3335" y="7394"/>
                    <a:pt x="3013" y="7394"/>
                  </a:cubicBezTo>
                  <a:cubicBezTo>
                    <a:pt x="2358" y="7394"/>
                    <a:pt x="1811" y="6882"/>
                    <a:pt x="1703" y="6204"/>
                  </a:cubicBezTo>
                  <a:cubicBezTo>
                    <a:pt x="1763" y="6097"/>
                    <a:pt x="1942" y="5787"/>
                    <a:pt x="2215" y="5680"/>
                  </a:cubicBezTo>
                  <a:cubicBezTo>
                    <a:pt x="2299" y="5656"/>
                    <a:pt x="2358" y="5561"/>
                    <a:pt x="2323" y="5489"/>
                  </a:cubicBezTo>
                  <a:cubicBezTo>
                    <a:pt x="2304" y="5413"/>
                    <a:pt x="2239" y="5375"/>
                    <a:pt x="2171" y="5375"/>
                  </a:cubicBezTo>
                  <a:cubicBezTo>
                    <a:pt x="2154" y="5375"/>
                    <a:pt x="2137" y="5377"/>
                    <a:pt x="2120" y="5382"/>
                  </a:cubicBezTo>
                  <a:cubicBezTo>
                    <a:pt x="1775" y="5513"/>
                    <a:pt x="1549" y="5847"/>
                    <a:pt x="1442" y="6013"/>
                  </a:cubicBezTo>
                  <a:cubicBezTo>
                    <a:pt x="1287" y="5978"/>
                    <a:pt x="1132" y="5918"/>
                    <a:pt x="989" y="5835"/>
                  </a:cubicBezTo>
                  <a:cubicBezTo>
                    <a:pt x="956" y="5816"/>
                    <a:pt x="920" y="5806"/>
                    <a:pt x="887" y="5806"/>
                  </a:cubicBezTo>
                  <a:cubicBezTo>
                    <a:pt x="837" y="5806"/>
                    <a:pt x="791" y="5828"/>
                    <a:pt x="763" y="5870"/>
                  </a:cubicBezTo>
                  <a:cubicBezTo>
                    <a:pt x="715" y="5954"/>
                    <a:pt x="727" y="6049"/>
                    <a:pt x="810" y="6097"/>
                  </a:cubicBezTo>
                  <a:cubicBezTo>
                    <a:pt x="989" y="6216"/>
                    <a:pt x="1191" y="6287"/>
                    <a:pt x="1406" y="6323"/>
                  </a:cubicBezTo>
                  <a:cubicBezTo>
                    <a:pt x="1549" y="7121"/>
                    <a:pt x="2239" y="7716"/>
                    <a:pt x="3025" y="7716"/>
                  </a:cubicBezTo>
                  <a:cubicBezTo>
                    <a:pt x="3430" y="7716"/>
                    <a:pt x="3823" y="7561"/>
                    <a:pt x="4120" y="7275"/>
                  </a:cubicBezTo>
                  <a:lnTo>
                    <a:pt x="4168" y="7228"/>
                  </a:lnTo>
                  <a:lnTo>
                    <a:pt x="4216" y="7275"/>
                  </a:lnTo>
                  <a:cubicBezTo>
                    <a:pt x="4251" y="7299"/>
                    <a:pt x="4287" y="7335"/>
                    <a:pt x="4323" y="7359"/>
                  </a:cubicBezTo>
                  <a:cubicBezTo>
                    <a:pt x="4609" y="7597"/>
                    <a:pt x="4966" y="7716"/>
                    <a:pt x="5311" y="7716"/>
                  </a:cubicBezTo>
                  <a:cubicBezTo>
                    <a:pt x="6109" y="7716"/>
                    <a:pt x="6787" y="7121"/>
                    <a:pt x="6942" y="6323"/>
                  </a:cubicBezTo>
                  <a:cubicBezTo>
                    <a:pt x="7168" y="6287"/>
                    <a:pt x="7371" y="6204"/>
                    <a:pt x="7561" y="6085"/>
                  </a:cubicBezTo>
                  <a:cubicBezTo>
                    <a:pt x="7633" y="6037"/>
                    <a:pt x="7657" y="5954"/>
                    <a:pt x="7621" y="5870"/>
                  </a:cubicBezTo>
                  <a:cubicBezTo>
                    <a:pt x="7589" y="5816"/>
                    <a:pt x="7538" y="5781"/>
                    <a:pt x="7478" y="5781"/>
                  </a:cubicBezTo>
                  <a:cubicBezTo>
                    <a:pt x="7448" y="5781"/>
                    <a:pt x="7415" y="5791"/>
                    <a:pt x="7383" y="5811"/>
                  </a:cubicBezTo>
                  <a:cubicBezTo>
                    <a:pt x="7240" y="5918"/>
                    <a:pt x="7061" y="5978"/>
                    <a:pt x="6883" y="6013"/>
                  </a:cubicBezTo>
                  <a:cubicBezTo>
                    <a:pt x="6787" y="5835"/>
                    <a:pt x="6573" y="5513"/>
                    <a:pt x="6204" y="5382"/>
                  </a:cubicBezTo>
                  <a:cubicBezTo>
                    <a:pt x="6187" y="5377"/>
                    <a:pt x="6171" y="5375"/>
                    <a:pt x="6154" y="5375"/>
                  </a:cubicBezTo>
                  <a:cubicBezTo>
                    <a:pt x="6089" y="5375"/>
                    <a:pt x="6030" y="5413"/>
                    <a:pt x="6002" y="5489"/>
                  </a:cubicBezTo>
                  <a:cubicBezTo>
                    <a:pt x="5978" y="5573"/>
                    <a:pt x="6025" y="5656"/>
                    <a:pt x="6109" y="5680"/>
                  </a:cubicBezTo>
                  <a:cubicBezTo>
                    <a:pt x="6383" y="5787"/>
                    <a:pt x="6561" y="6097"/>
                    <a:pt x="6621" y="6204"/>
                  </a:cubicBezTo>
                  <a:cubicBezTo>
                    <a:pt x="6525" y="6882"/>
                    <a:pt x="5966" y="7394"/>
                    <a:pt x="5311" y="7394"/>
                  </a:cubicBezTo>
                  <a:cubicBezTo>
                    <a:pt x="5037" y="7394"/>
                    <a:pt x="4751" y="7287"/>
                    <a:pt x="4513" y="7109"/>
                  </a:cubicBezTo>
                  <a:cubicBezTo>
                    <a:pt x="4478" y="7085"/>
                    <a:pt x="4454" y="7061"/>
                    <a:pt x="4418" y="7037"/>
                  </a:cubicBezTo>
                  <a:cubicBezTo>
                    <a:pt x="4394" y="7025"/>
                    <a:pt x="4382" y="6990"/>
                    <a:pt x="4347" y="6966"/>
                  </a:cubicBezTo>
                  <a:cubicBezTo>
                    <a:pt x="4537" y="6680"/>
                    <a:pt x="4644" y="6323"/>
                    <a:pt x="4644" y="5966"/>
                  </a:cubicBezTo>
                  <a:cubicBezTo>
                    <a:pt x="4644" y="5859"/>
                    <a:pt x="4632" y="5775"/>
                    <a:pt x="4620" y="5680"/>
                  </a:cubicBezTo>
                  <a:lnTo>
                    <a:pt x="4620" y="5680"/>
                  </a:lnTo>
                  <a:cubicBezTo>
                    <a:pt x="5430" y="5859"/>
                    <a:pt x="5728" y="6251"/>
                    <a:pt x="5823" y="6430"/>
                  </a:cubicBezTo>
                  <a:cubicBezTo>
                    <a:pt x="5844" y="6482"/>
                    <a:pt x="5910" y="6516"/>
                    <a:pt x="5973" y="6516"/>
                  </a:cubicBezTo>
                  <a:cubicBezTo>
                    <a:pt x="5983" y="6516"/>
                    <a:pt x="5992" y="6515"/>
                    <a:pt x="6002" y="6513"/>
                  </a:cubicBezTo>
                  <a:cubicBezTo>
                    <a:pt x="6109" y="6501"/>
                    <a:pt x="6168" y="6382"/>
                    <a:pt x="6121" y="6275"/>
                  </a:cubicBezTo>
                  <a:cubicBezTo>
                    <a:pt x="5990" y="6025"/>
                    <a:pt x="5633" y="5561"/>
                    <a:pt x="4656" y="5370"/>
                  </a:cubicBezTo>
                  <a:cubicBezTo>
                    <a:pt x="4646" y="5367"/>
                    <a:pt x="4634" y="5365"/>
                    <a:pt x="4622" y="5365"/>
                  </a:cubicBezTo>
                  <a:cubicBezTo>
                    <a:pt x="4594" y="5365"/>
                    <a:pt x="4562" y="5374"/>
                    <a:pt x="4537" y="5382"/>
                  </a:cubicBezTo>
                  <a:cubicBezTo>
                    <a:pt x="4501" y="5239"/>
                    <a:pt x="4418" y="5097"/>
                    <a:pt x="4347" y="4977"/>
                  </a:cubicBezTo>
                  <a:cubicBezTo>
                    <a:pt x="4359" y="4954"/>
                    <a:pt x="4394" y="4942"/>
                    <a:pt x="4418" y="4906"/>
                  </a:cubicBezTo>
                  <a:cubicBezTo>
                    <a:pt x="4859" y="4906"/>
                    <a:pt x="5252" y="5073"/>
                    <a:pt x="5573" y="5382"/>
                  </a:cubicBezTo>
                  <a:cubicBezTo>
                    <a:pt x="5597" y="5418"/>
                    <a:pt x="5644" y="5430"/>
                    <a:pt x="5692" y="5430"/>
                  </a:cubicBezTo>
                  <a:cubicBezTo>
                    <a:pt x="5752" y="5430"/>
                    <a:pt x="5787" y="5394"/>
                    <a:pt x="5823" y="5358"/>
                  </a:cubicBezTo>
                  <a:cubicBezTo>
                    <a:pt x="5847" y="5299"/>
                    <a:pt x="5847" y="5204"/>
                    <a:pt x="5787" y="5156"/>
                  </a:cubicBezTo>
                  <a:cubicBezTo>
                    <a:pt x="5454" y="4823"/>
                    <a:pt x="4990" y="4608"/>
                    <a:pt x="4513" y="4596"/>
                  </a:cubicBezTo>
                  <a:lnTo>
                    <a:pt x="4513" y="1251"/>
                  </a:lnTo>
                  <a:cubicBezTo>
                    <a:pt x="4513" y="727"/>
                    <a:pt x="4942" y="298"/>
                    <a:pt x="5466" y="298"/>
                  </a:cubicBezTo>
                  <a:lnTo>
                    <a:pt x="5752" y="298"/>
                  </a:lnTo>
                  <a:cubicBezTo>
                    <a:pt x="5787" y="298"/>
                    <a:pt x="5835" y="310"/>
                    <a:pt x="5883" y="310"/>
                  </a:cubicBezTo>
                  <a:cubicBezTo>
                    <a:pt x="6287" y="417"/>
                    <a:pt x="6549" y="786"/>
                    <a:pt x="6549" y="1227"/>
                  </a:cubicBezTo>
                  <a:lnTo>
                    <a:pt x="6549" y="1275"/>
                  </a:lnTo>
                  <a:cubicBezTo>
                    <a:pt x="6418" y="1287"/>
                    <a:pt x="6240" y="1334"/>
                    <a:pt x="6085" y="1489"/>
                  </a:cubicBezTo>
                  <a:cubicBezTo>
                    <a:pt x="5906" y="1644"/>
                    <a:pt x="5823" y="1882"/>
                    <a:pt x="5823" y="2203"/>
                  </a:cubicBezTo>
                  <a:cubicBezTo>
                    <a:pt x="5823" y="2287"/>
                    <a:pt x="5883" y="2346"/>
                    <a:pt x="5954" y="2358"/>
                  </a:cubicBezTo>
                  <a:cubicBezTo>
                    <a:pt x="5967" y="2361"/>
                    <a:pt x="5979" y="2362"/>
                    <a:pt x="5990" y="2362"/>
                  </a:cubicBezTo>
                  <a:cubicBezTo>
                    <a:pt x="6077" y="2362"/>
                    <a:pt x="6133" y="2287"/>
                    <a:pt x="6133" y="2203"/>
                  </a:cubicBezTo>
                  <a:cubicBezTo>
                    <a:pt x="6133" y="1977"/>
                    <a:pt x="6192" y="1822"/>
                    <a:pt x="6299" y="1727"/>
                  </a:cubicBezTo>
                  <a:cubicBezTo>
                    <a:pt x="6430" y="1584"/>
                    <a:pt x="6621" y="1584"/>
                    <a:pt x="6668" y="1584"/>
                  </a:cubicBezTo>
                  <a:cubicBezTo>
                    <a:pt x="7073" y="1679"/>
                    <a:pt x="7371" y="2060"/>
                    <a:pt x="7371" y="2513"/>
                  </a:cubicBezTo>
                  <a:cubicBezTo>
                    <a:pt x="7371" y="2644"/>
                    <a:pt x="7335" y="2775"/>
                    <a:pt x="7299" y="2918"/>
                  </a:cubicBezTo>
                  <a:cubicBezTo>
                    <a:pt x="7138" y="2832"/>
                    <a:pt x="6840" y="2736"/>
                    <a:pt x="6424" y="2736"/>
                  </a:cubicBezTo>
                  <a:cubicBezTo>
                    <a:pt x="6380" y="2736"/>
                    <a:pt x="6334" y="2737"/>
                    <a:pt x="6287" y="2739"/>
                  </a:cubicBezTo>
                  <a:cubicBezTo>
                    <a:pt x="6192" y="2739"/>
                    <a:pt x="6133" y="2799"/>
                    <a:pt x="6121" y="2882"/>
                  </a:cubicBezTo>
                  <a:cubicBezTo>
                    <a:pt x="6109" y="2989"/>
                    <a:pt x="6192" y="3061"/>
                    <a:pt x="6287" y="3061"/>
                  </a:cubicBezTo>
                  <a:cubicBezTo>
                    <a:pt x="6317" y="3059"/>
                    <a:pt x="6346" y="3059"/>
                    <a:pt x="6374" y="3059"/>
                  </a:cubicBezTo>
                  <a:cubicBezTo>
                    <a:pt x="6937" y="3059"/>
                    <a:pt x="7240" y="3275"/>
                    <a:pt x="7252" y="3275"/>
                  </a:cubicBezTo>
                  <a:lnTo>
                    <a:pt x="7264" y="3287"/>
                  </a:lnTo>
                  <a:cubicBezTo>
                    <a:pt x="7716" y="3537"/>
                    <a:pt x="7978" y="4025"/>
                    <a:pt x="7978" y="4561"/>
                  </a:cubicBezTo>
                  <a:cubicBezTo>
                    <a:pt x="7978" y="4858"/>
                    <a:pt x="7895" y="5144"/>
                    <a:pt x="7740" y="5382"/>
                  </a:cubicBezTo>
                  <a:cubicBezTo>
                    <a:pt x="7692" y="5454"/>
                    <a:pt x="7716" y="5549"/>
                    <a:pt x="7776" y="5608"/>
                  </a:cubicBezTo>
                  <a:cubicBezTo>
                    <a:pt x="7799" y="5632"/>
                    <a:pt x="7835" y="5632"/>
                    <a:pt x="7871" y="5632"/>
                  </a:cubicBezTo>
                  <a:cubicBezTo>
                    <a:pt x="7930" y="5632"/>
                    <a:pt x="7978" y="5608"/>
                    <a:pt x="8014" y="5561"/>
                  </a:cubicBezTo>
                  <a:cubicBezTo>
                    <a:pt x="8204" y="5263"/>
                    <a:pt x="8311" y="4918"/>
                    <a:pt x="8311" y="4561"/>
                  </a:cubicBezTo>
                  <a:cubicBezTo>
                    <a:pt x="8335" y="4001"/>
                    <a:pt x="8061" y="3453"/>
                    <a:pt x="7597" y="3120"/>
                  </a:cubicBezTo>
                  <a:cubicBezTo>
                    <a:pt x="7680" y="2941"/>
                    <a:pt x="7716" y="2751"/>
                    <a:pt x="7716" y="2560"/>
                  </a:cubicBezTo>
                  <a:cubicBezTo>
                    <a:pt x="7716" y="2013"/>
                    <a:pt x="7371" y="1537"/>
                    <a:pt x="6895" y="1358"/>
                  </a:cubicBezTo>
                  <a:lnTo>
                    <a:pt x="6895" y="1263"/>
                  </a:lnTo>
                  <a:cubicBezTo>
                    <a:pt x="6895" y="679"/>
                    <a:pt x="6525" y="179"/>
                    <a:pt x="5978" y="24"/>
                  </a:cubicBezTo>
                  <a:cubicBezTo>
                    <a:pt x="5930" y="13"/>
                    <a:pt x="5871" y="13"/>
                    <a:pt x="5823" y="1"/>
                  </a:cubicBezTo>
                  <a:lnTo>
                    <a:pt x="5478" y="1"/>
                  </a:lnTo>
                  <a:cubicBezTo>
                    <a:pt x="4787" y="1"/>
                    <a:pt x="4216" y="560"/>
                    <a:pt x="4216" y="1263"/>
                  </a:cubicBezTo>
                  <a:lnTo>
                    <a:pt x="4216" y="4692"/>
                  </a:lnTo>
                  <a:lnTo>
                    <a:pt x="4168" y="4727"/>
                  </a:lnTo>
                  <a:lnTo>
                    <a:pt x="4120" y="4692"/>
                  </a:lnTo>
                  <a:lnTo>
                    <a:pt x="4120" y="1263"/>
                  </a:lnTo>
                  <a:cubicBezTo>
                    <a:pt x="4120" y="560"/>
                    <a:pt x="3561"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6" name="Google Shape;11676;p61"/>
            <p:cNvSpPr/>
            <p:nvPr/>
          </p:nvSpPr>
          <p:spPr>
            <a:xfrm>
              <a:off x="1022494" y="3006724"/>
              <a:ext cx="44162" cy="22271"/>
            </a:xfrm>
            <a:custGeom>
              <a:avLst/>
              <a:gdLst/>
              <a:ahLst/>
              <a:cxnLst/>
              <a:rect l="l" t="t" r="r" b="b"/>
              <a:pathLst>
                <a:path w="1394" h="703" extrusionOk="0">
                  <a:moveTo>
                    <a:pt x="454" y="0"/>
                  </a:moveTo>
                  <a:cubicBezTo>
                    <a:pt x="402" y="0"/>
                    <a:pt x="350" y="4"/>
                    <a:pt x="298" y="12"/>
                  </a:cubicBezTo>
                  <a:lnTo>
                    <a:pt x="155" y="24"/>
                  </a:lnTo>
                  <a:cubicBezTo>
                    <a:pt x="60" y="48"/>
                    <a:pt x="0" y="119"/>
                    <a:pt x="12" y="202"/>
                  </a:cubicBezTo>
                  <a:cubicBezTo>
                    <a:pt x="34" y="290"/>
                    <a:pt x="96" y="347"/>
                    <a:pt x="170" y="347"/>
                  </a:cubicBezTo>
                  <a:cubicBezTo>
                    <a:pt x="177" y="347"/>
                    <a:pt x="184" y="346"/>
                    <a:pt x="191" y="345"/>
                  </a:cubicBezTo>
                  <a:lnTo>
                    <a:pt x="346" y="321"/>
                  </a:lnTo>
                  <a:cubicBezTo>
                    <a:pt x="370" y="319"/>
                    <a:pt x="394" y="318"/>
                    <a:pt x="417" y="318"/>
                  </a:cubicBezTo>
                  <a:cubicBezTo>
                    <a:pt x="675" y="318"/>
                    <a:pt x="908" y="436"/>
                    <a:pt x="1072" y="643"/>
                  </a:cubicBezTo>
                  <a:cubicBezTo>
                    <a:pt x="1108" y="679"/>
                    <a:pt x="1143" y="702"/>
                    <a:pt x="1203" y="702"/>
                  </a:cubicBezTo>
                  <a:cubicBezTo>
                    <a:pt x="1239" y="702"/>
                    <a:pt x="1286" y="679"/>
                    <a:pt x="1298" y="667"/>
                  </a:cubicBezTo>
                  <a:cubicBezTo>
                    <a:pt x="1370" y="607"/>
                    <a:pt x="1394" y="524"/>
                    <a:pt x="1334" y="440"/>
                  </a:cubicBezTo>
                  <a:cubicBezTo>
                    <a:pt x="1126" y="171"/>
                    <a:pt x="802"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7" name="Google Shape;11677;p61"/>
            <p:cNvSpPr/>
            <p:nvPr/>
          </p:nvSpPr>
          <p:spPr>
            <a:xfrm>
              <a:off x="1086234" y="3100244"/>
              <a:ext cx="28322" cy="37002"/>
            </a:xfrm>
            <a:custGeom>
              <a:avLst/>
              <a:gdLst/>
              <a:ahLst/>
              <a:cxnLst/>
              <a:rect l="l" t="t" r="r" b="b"/>
              <a:pathLst>
                <a:path w="894" h="1168" extrusionOk="0">
                  <a:moveTo>
                    <a:pt x="181" y="1"/>
                  </a:moveTo>
                  <a:cubicBezTo>
                    <a:pt x="115" y="1"/>
                    <a:pt x="55" y="44"/>
                    <a:pt x="36" y="108"/>
                  </a:cubicBezTo>
                  <a:cubicBezTo>
                    <a:pt x="1" y="203"/>
                    <a:pt x="48" y="286"/>
                    <a:pt x="132" y="322"/>
                  </a:cubicBezTo>
                  <a:cubicBezTo>
                    <a:pt x="525" y="441"/>
                    <a:pt x="572" y="1025"/>
                    <a:pt x="572" y="1025"/>
                  </a:cubicBezTo>
                  <a:cubicBezTo>
                    <a:pt x="572" y="1108"/>
                    <a:pt x="644" y="1168"/>
                    <a:pt x="727" y="1168"/>
                  </a:cubicBezTo>
                  <a:lnTo>
                    <a:pt x="751" y="1168"/>
                  </a:lnTo>
                  <a:cubicBezTo>
                    <a:pt x="822" y="1168"/>
                    <a:pt x="894" y="1096"/>
                    <a:pt x="894" y="1001"/>
                  </a:cubicBezTo>
                  <a:cubicBezTo>
                    <a:pt x="894" y="977"/>
                    <a:pt x="846" y="203"/>
                    <a:pt x="239" y="13"/>
                  </a:cubicBez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8" name="Google Shape;11678;p61"/>
            <p:cNvSpPr/>
            <p:nvPr/>
          </p:nvSpPr>
          <p:spPr>
            <a:xfrm>
              <a:off x="1023634" y="3077941"/>
              <a:ext cx="26041" cy="49167"/>
            </a:xfrm>
            <a:custGeom>
              <a:avLst/>
              <a:gdLst/>
              <a:ahLst/>
              <a:cxnLst/>
              <a:rect l="l" t="t" r="r" b="b"/>
              <a:pathLst>
                <a:path w="822" h="1552" extrusionOk="0">
                  <a:moveTo>
                    <a:pt x="646" y="0"/>
                  </a:moveTo>
                  <a:cubicBezTo>
                    <a:pt x="617" y="0"/>
                    <a:pt x="588" y="9"/>
                    <a:pt x="560" y="26"/>
                  </a:cubicBezTo>
                  <a:cubicBezTo>
                    <a:pt x="345" y="181"/>
                    <a:pt x="0" y="538"/>
                    <a:pt x="0" y="1383"/>
                  </a:cubicBezTo>
                  <a:cubicBezTo>
                    <a:pt x="0" y="1462"/>
                    <a:pt x="74" y="1551"/>
                    <a:pt x="163" y="1551"/>
                  </a:cubicBezTo>
                  <a:cubicBezTo>
                    <a:pt x="168" y="1551"/>
                    <a:pt x="173" y="1551"/>
                    <a:pt x="179" y="1550"/>
                  </a:cubicBezTo>
                  <a:cubicBezTo>
                    <a:pt x="250" y="1526"/>
                    <a:pt x="310" y="1455"/>
                    <a:pt x="310" y="1383"/>
                  </a:cubicBezTo>
                  <a:cubicBezTo>
                    <a:pt x="310" y="681"/>
                    <a:pt x="584" y="395"/>
                    <a:pt x="726" y="312"/>
                  </a:cubicBezTo>
                  <a:cubicBezTo>
                    <a:pt x="786" y="264"/>
                    <a:pt x="822" y="205"/>
                    <a:pt x="798" y="133"/>
                  </a:cubicBezTo>
                  <a:cubicBezTo>
                    <a:pt x="781" y="49"/>
                    <a:pt x="716" y="0"/>
                    <a:pt x="6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9" name="Google Shape;11679;p61"/>
            <p:cNvSpPr/>
            <p:nvPr/>
          </p:nvSpPr>
          <p:spPr>
            <a:xfrm>
              <a:off x="924413" y="3006819"/>
              <a:ext cx="44162" cy="22176"/>
            </a:xfrm>
            <a:custGeom>
              <a:avLst/>
              <a:gdLst/>
              <a:ahLst/>
              <a:cxnLst/>
              <a:rect l="l" t="t" r="r" b="b"/>
              <a:pathLst>
                <a:path w="1394" h="700" extrusionOk="0">
                  <a:moveTo>
                    <a:pt x="963" y="1"/>
                  </a:moveTo>
                  <a:cubicBezTo>
                    <a:pt x="614" y="1"/>
                    <a:pt x="272" y="163"/>
                    <a:pt x="60" y="437"/>
                  </a:cubicBezTo>
                  <a:cubicBezTo>
                    <a:pt x="1" y="521"/>
                    <a:pt x="25" y="616"/>
                    <a:pt x="96" y="664"/>
                  </a:cubicBezTo>
                  <a:cubicBezTo>
                    <a:pt x="120" y="676"/>
                    <a:pt x="156" y="699"/>
                    <a:pt x="179" y="699"/>
                  </a:cubicBezTo>
                  <a:cubicBezTo>
                    <a:pt x="227" y="699"/>
                    <a:pt x="287" y="664"/>
                    <a:pt x="322" y="640"/>
                  </a:cubicBezTo>
                  <a:cubicBezTo>
                    <a:pt x="464" y="433"/>
                    <a:pt x="716" y="315"/>
                    <a:pt x="976" y="315"/>
                  </a:cubicBezTo>
                  <a:cubicBezTo>
                    <a:pt x="1000" y="315"/>
                    <a:pt x="1025" y="316"/>
                    <a:pt x="1049" y="318"/>
                  </a:cubicBezTo>
                  <a:lnTo>
                    <a:pt x="1191" y="342"/>
                  </a:lnTo>
                  <a:cubicBezTo>
                    <a:pt x="1200" y="343"/>
                    <a:pt x="1208" y="344"/>
                    <a:pt x="1215" y="344"/>
                  </a:cubicBezTo>
                  <a:cubicBezTo>
                    <a:pt x="1298" y="344"/>
                    <a:pt x="1359" y="287"/>
                    <a:pt x="1370" y="199"/>
                  </a:cubicBezTo>
                  <a:cubicBezTo>
                    <a:pt x="1394" y="116"/>
                    <a:pt x="1334" y="21"/>
                    <a:pt x="1239" y="21"/>
                  </a:cubicBezTo>
                  <a:lnTo>
                    <a:pt x="1096" y="9"/>
                  </a:lnTo>
                  <a:cubicBezTo>
                    <a:pt x="1052" y="3"/>
                    <a:pt x="1007" y="1"/>
                    <a:pt x="9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0" name="Google Shape;11680;p61"/>
            <p:cNvSpPr/>
            <p:nvPr/>
          </p:nvSpPr>
          <p:spPr>
            <a:xfrm>
              <a:off x="929703" y="3158757"/>
              <a:ext cx="56232" cy="41849"/>
            </a:xfrm>
            <a:custGeom>
              <a:avLst/>
              <a:gdLst/>
              <a:ahLst/>
              <a:cxnLst/>
              <a:rect l="l" t="t" r="r" b="b"/>
              <a:pathLst>
                <a:path w="1775" h="1321" extrusionOk="0">
                  <a:moveTo>
                    <a:pt x="1604" y="1"/>
                  </a:moveTo>
                  <a:cubicBezTo>
                    <a:pt x="1586" y="1"/>
                    <a:pt x="1567" y="4"/>
                    <a:pt x="1548" y="11"/>
                  </a:cubicBezTo>
                  <a:cubicBezTo>
                    <a:pt x="179" y="309"/>
                    <a:pt x="36" y="1095"/>
                    <a:pt x="12" y="1118"/>
                  </a:cubicBezTo>
                  <a:cubicBezTo>
                    <a:pt x="1" y="1214"/>
                    <a:pt x="60" y="1297"/>
                    <a:pt x="155" y="1321"/>
                  </a:cubicBezTo>
                  <a:lnTo>
                    <a:pt x="179" y="1321"/>
                  </a:lnTo>
                  <a:cubicBezTo>
                    <a:pt x="251" y="1321"/>
                    <a:pt x="334" y="1261"/>
                    <a:pt x="346" y="1178"/>
                  </a:cubicBezTo>
                  <a:cubicBezTo>
                    <a:pt x="346" y="1178"/>
                    <a:pt x="477" y="571"/>
                    <a:pt x="1620" y="333"/>
                  </a:cubicBezTo>
                  <a:cubicBezTo>
                    <a:pt x="1715" y="309"/>
                    <a:pt x="1775" y="213"/>
                    <a:pt x="1739" y="130"/>
                  </a:cubicBezTo>
                  <a:cubicBezTo>
                    <a:pt x="1729" y="54"/>
                    <a:pt x="1674" y="1"/>
                    <a:pt x="16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1" name="Google Shape;11681;p61"/>
            <p:cNvSpPr/>
            <p:nvPr/>
          </p:nvSpPr>
          <p:spPr>
            <a:xfrm>
              <a:off x="876512" y="3100244"/>
              <a:ext cx="28322" cy="37002"/>
            </a:xfrm>
            <a:custGeom>
              <a:avLst/>
              <a:gdLst/>
              <a:ahLst/>
              <a:cxnLst/>
              <a:rect l="l" t="t" r="r" b="b"/>
              <a:pathLst>
                <a:path w="894" h="1168" extrusionOk="0">
                  <a:moveTo>
                    <a:pt x="714" y="1"/>
                  </a:moveTo>
                  <a:cubicBezTo>
                    <a:pt x="694" y="1"/>
                    <a:pt x="675" y="4"/>
                    <a:pt x="656" y="13"/>
                  </a:cubicBezTo>
                  <a:cubicBezTo>
                    <a:pt x="60" y="203"/>
                    <a:pt x="1" y="965"/>
                    <a:pt x="1" y="1001"/>
                  </a:cubicBezTo>
                  <a:cubicBezTo>
                    <a:pt x="1" y="1096"/>
                    <a:pt x="60" y="1168"/>
                    <a:pt x="144" y="1168"/>
                  </a:cubicBezTo>
                  <a:lnTo>
                    <a:pt x="156" y="1168"/>
                  </a:lnTo>
                  <a:cubicBezTo>
                    <a:pt x="251" y="1168"/>
                    <a:pt x="322" y="1108"/>
                    <a:pt x="322" y="1025"/>
                  </a:cubicBezTo>
                  <a:cubicBezTo>
                    <a:pt x="322" y="1025"/>
                    <a:pt x="358" y="441"/>
                    <a:pt x="751" y="322"/>
                  </a:cubicBezTo>
                  <a:cubicBezTo>
                    <a:pt x="846" y="286"/>
                    <a:pt x="894" y="203"/>
                    <a:pt x="858" y="108"/>
                  </a:cubicBezTo>
                  <a:cubicBezTo>
                    <a:pt x="840" y="44"/>
                    <a:pt x="779" y="1"/>
                    <a:pt x="7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2" name="Google Shape;11682;p61"/>
            <p:cNvSpPr/>
            <p:nvPr/>
          </p:nvSpPr>
          <p:spPr>
            <a:xfrm>
              <a:off x="941393" y="3077941"/>
              <a:ext cx="26453" cy="49484"/>
            </a:xfrm>
            <a:custGeom>
              <a:avLst/>
              <a:gdLst/>
              <a:ahLst/>
              <a:cxnLst/>
              <a:rect l="l" t="t" r="r" b="b"/>
              <a:pathLst>
                <a:path w="835" h="1562" extrusionOk="0">
                  <a:moveTo>
                    <a:pt x="185" y="0"/>
                  </a:moveTo>
                  <a:cubicBezTo>
                    <a:pt x="112" y="0"/>
                    <a:pt x="41" y="49"/>
                    <a:pt x="24" y="133"/>
                  </a:cubicBezTo>
                  <a:cubicBezTo>
                    <a:pt x="1" y="193"/>
                    <a:pt x="36" y="264"/>
                    <a:pt x="96" y="312"/>
                  </a:cubicBezTo>
                  <a:cubicBezTo>
                    <a:pt x="239" y="419"/>
                    <a:pt x="513" y="681"/>
                    <a:pt x="513" y="1395"/>
                  </a:cubicBezTo>
                  <a:cubicBezTo>
                    <a:pt x="513" y="1491"/>
                    <a:pt x="584" y="1562"/>
                    <a:pt x="679" y="1562"/>
                  </a:cubicBezTo>
                  <a:cubicBezTo>
                    <a:pt x="763" y="1562"/>
                    <a:pt x="834" y="1491"/>
                    <a:pt x="834" y="1395"/>
                  </a:cubicBezTo>
                  <a:cubicBezTo>
                    <a:pt x="834" y="538"/>
                    <a:pt x="513" y="181"/>
                    <a:pt x="274" y="26"/>
                  </a:cubicBezTo>
                  <a:cubicBezTo>
                    <a:pt x="247" y="9"/>
                    <a:pt x="216"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83" name="Google Shape;11683;p61"/>
          <p:cNvGrpSpPr/>
          <p:nvPr/>
        </p:nvGrpSpPr>
        <p:grpSpPr>
          <a:xfrm>
            <a:off x="3978523" y="2884661"/>
            <a:ext cx="348955" cy="346516"/>
            <a:chOff x="3978523" y="2884661"/>
            <a:chExt cx="348955" cy="346516"/>
          </a:xfrm>
        </p:grpSpPr>
        <p:sp>
          <p:nvSpPr>
            <p:cNvPr id="11684" name="Google Shape;11684;p61"/>
            <p:cNvSpPr/>
            <p:nvPr/>
          </p:nvSpPr>
          <p:spPr>
            <a:xfrm>
              <a:off x="4237285" y="2916658"/>
              <a:ext cx="58101" cy="56897"/>
            </a:xfrm>
            <a:custGeom>
              <a:avLst/>
              <a:gdLst/>
              <a:ahLst/>
              <a:cxnLst/>
              <a:rect l="l" t="t" r="r" b="b"/>
              <a:pathLst>
                <a:path w="1834" h="1796" extrusionOk="0">
                  <a:moveTo>
                    <a:pt x="1661" y="0"/>
                  </a:moveTo>
                  <a:cubicBezTo>
                    <a:pt x="1620" y="0"/>
                    <a:pt x="1578" y="15"/>
                    <a:pt x="1548" y="45"/>
                  </a:cubicBezTo>
                  <a:lnTo>
                    <a:pt x="60" y="1533"/>
                  </a:lnTo>
                  <a:cubicBezTo>
                    <a:pt x="0" y="1593"/>
                    <a:pt x="0" y="1700"/>
                    <a:pt x="60" y="1759"/>
                  </a:cubicBezTo>
                  <a:cubicBezTo>
                    <a:pt x="84" y="1783"/>
                    <a:pt x="131" y="1795"/>
                    <a:pt x="179" y="1795"/>
                  </a:cubicBezTo>
                  <a:cubicBezTo>
                    <a:pt x="215" y="1795"/>
                    <a:pt x="262" y="1783"/>
                    <a:pt x="298" y="1759"/>
                  </a:cubicBezTo>
                  <a:lnTo>
                    <a:pt x="1786" y="271"/>
                  </a:lnTo>
                  <a:cubicBezTo>
                    <a:pt x="1834" y="224"/>
                    <a:pt x="1834" y="116"/>
                    <a:pt x="1774" y="45"/>
                  </a:cubicBezTo>
                  <a:cubicBezTo>
                    <a:pt x="1745" y="15"/>
                    <a:pt x="1703" y="0"/>
                    <a:pt x="16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5" name="Google Shape;11685;p61"/>
            <p:cNvSpPr/>
            <p:nvPr/>
          </p:nvSpPr>
          <p:spPr>
            <a:xfrm>
              <a:off x="4216535" y="2886594"/>
              <a:ext cx="29843" cy="73751"/>
            </a:xfrm>
            <a:custGeom>
              <a:avLst/>
              <a:gdLst/>
              <a:ahLst/>
              <a:cxnLst/>
              <a:rect l="l" t="t" r="r" b="b"/>
              <a:pathLst>
                <a:path w="942" h="2328" extrusionOk="0">
                  <a:moveTo>
                    <a:pt x="760" y="0"/>
                  </a:moveTo>
                  <a:cubicBezTo>
                    <a:pt x="688" y="0"/>
                    <a:pt x="618" y="52"/>
                    <a:pt x="608" y="113"/>
                  </a:cubicBezTo>
                  <a:lnTo>
                    <a:pt x="24" y="2137"/>
                  </a:lnTo>
                  <a:cubicBezTo>
                    <a:pt x="1" y="2232"/>
                    <a:pt x="60" y="2316"/>
                    <a:pt x="132" y="2327"/>
                  </a:cubicBezTo>
                  <a:lnTo>
                    <a:pt x="179" y="2327"/>
                  </a:lnTo>
                  <a:cubicBezTo>
                    <a:pt x="251" y="2327"/>
                    <a:pt x="310" y="2292"/>
                    <a:pt x="322" y="2208"/>
                  </a:cubicBezTo>
                  <a:lnTo>
                    <a:pt x="905" y="184"/>
                  </a:lnTo>
                  <a:cubicBezTo>
                    <a:pt x="941" y="125"/>
                    <a:pt x="894" y="41"/>
                    <a:pt x="798" y="6"/>
                  </a:cubicBezTo>
                  <a:cubicBezTo>
                    <a:pt x="786" y="2"/>
                    <a:pt x="773" y="0"/>
                    <a:pt x="7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6" name="Google Shape;11686;p61"/>
            <p:cNvSpPr/>
            <p:nvPr/>
          </p:nvSpPr>
          <p:spPr>
            <a:xfrm>
              <a:off x="4176935" y="2884661"/>
              <a:ext cx="30571" cy="74163"/>
            </a:xfrm>
            <a:custGeom>
              <a:avLst/>
              <a:gdLst/>
              <a:ahLst/>
              <a:cxnLst/>
              <a:rect l="l" t="t" r="r" b="b"/>
              <a:pathLst>
                <a:path w="965" h="2341" extrusionOk="0">
                  <a:moveTo>
                    <a:pt x="187" y="0"/>
                  </a:moveTo>
                  <a:cubicBezTo>
                    <a:pt x="169" y="0"/>
                    <a:pt x="150" y="2"/>
                    <a:pt x="131" y="7"/>
                  </a:cubicBezTo>
                  <a:cubicBezTo>
                    <a:pt x="48" y="43"/>
                    <a:pt x="0" y="126"/>
                    <a:pt x="24" y="222"/>
                  </a:cubicBezTo>
                  <a:lnTo>
                    <a:pt x="643" y="2222"/>
                  </a:lnTo>
                  <a:cubicBezTo>
                    <a:pt x="655" y="2305"/>
                    <a:pt x="727" y="2341"/>
                    <a:pt x="786" y="2341"/>
                  </a:cubicBezTo>
                  <a:lnTo>
                    <a:pt x="834" y="2341"/>
                  </a:lnTo>
                  <a:cubicBezTo>
                    <a:pt x="917" y="2305"/>
                    <a:pt x="965" y="2210"/>
                    <a:pt x="953" y="2127"/>
                  </a:cubicBezTo>
                  <a:lnTo>
                    <a:pt x="346" y="114"/>
                  </a:lnTo>
                  <a:cubicBezTo>
                    <a:pt x="317" y="38"/>
                    <a:pt x="258"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7" name="Google Shape;11687;p61"/>
            <p:cNvSpPr/>
            <p:nvPr/>
          </p:nvSpPr>
          <p:spPr>
            <a:xfrm>
              <a:off x="4250116" y="2965762"/>
              <a:ext cx="74701" cy="28544"/>
            </a:xfrm>
            <a:custGeom>
              <a:avLst/>
              <a:gdLst/>
              <a:ahLst/>
              <a:cxnLst/>
              <a:rect l="l" t="t" r="r" b="b"/>
              <a:pathLst>
                <a:path w="2358" h="901" extrusionOk="0">
                  <a:moveTo>
                    <a:pt x="2194" y="1"/>
                  </a:moveTo>
                  <a:cubicBezTo>
                    <a:pt x="2181" y="1"/>
                    <a:pt x="2168" y="3"/>
                    <a:pt x="2155" y="7"/>
                  </a:cubicBezTo>
                  <a:lnTo>
                    <a:pt x="131" y="590"/>
                  </a:lnTo>
                  <a:cubicBezTo>
                    <a:pt x="36" y="626"/>
                    <a:pt x="0" y="710"/>
                    <a:pt x="24" y="781"/>
                  </a:cubicBezTo>
                  <a:cubicBezTo>
                    <a:pt x="36" y="852"/>
                    <a:pt x="119" y="900"/>
                    <a:pt x="179" y="900"/>
                  </a:cubicBezTo>
                  <a:lnTo>
                    <a:pt x="215" y="900"/>
                  </a:lnTo>
                  <a:lnTo>
                    <a:pt x="2239" y="317"/>
                  </a:lnTo>
                  <a:cubicBezTo>
                    <a:pt x="2322" y="293"/>
                    <a:pt x="2358" y="209"/>
                    <a:pt x="2346" y="114"/>
                  </a:cubicBezTo>
                  <a:cubicBezTo>
                    <a:pt x="2326" y="45"/>
                    <a:pt x="2258" y="1"/>
                    <a:pt x="2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8" name="Google Shape;11688;p61"/>
            <p:cNvSpPr/>
            <p:nvPr/>
          </p:nvSpPr>
          <p:spPr>
            <a:xfrm>
              <a:off x="4251985" y="3004443"/>
              <a:ext cx="75493" cy="29462"/>
            </a:xfrm>
            <a:custGeom>
              <a:avLst/>
              <a:gdLst/>
              <a:ahLst/>
              <a:cxnLst/>
              <a:rect l="l" t="t" r="r" b="b"/>
              <a:pathLst>
                <a:path w="2383" h="930" extrusionOk="0">
                  <a:moveTo>
                    <a:pt x="175" y="1"/>
                  </a:moveTo>
                  <a:cubicBezTo>
                    <a:pt x="104" y="1"/>
                    <a:pt x="43" y="46"/>
                    <a:pt x="25" y="120"/>
                  </a:cubicBezTo>
                  <a:cubicBezTo>
                    <a:pt x="1" y="203"/>
                    <a:pt x="37" y="298"/>
                    <a:pt x="132" y="322"/>
                  </a:cubicBezTo>
                  <a:lnTo>
                    <a:pt x="2144" y="929"/>
                  </a:lnTo>
                  <a:lnTo>
                    <a:pt x="2180" y="929"/>
                  </a:lnTo>
                  <a:cubicBezTo>
                    <a:pt x="2263" y="929"/>
                    <a:pt x="2323" y="893"/>
                    <a:pt x="2334" y="810"/>
                  </a:cubicBezTo>
                  <a:cubicBezTo>
                    <a:pt x="2382" y="739"/>
                    <a:pt x="2334" y="655"/>
                    <a:pt x="2239" y="620"/>
                  </a:cubicBezTo>
                  <a:lnTo>
                    <a:pt x="239" y="12"/>
                  </a:lnTo>
                  <a:cubicBezTo>
                    <a:pt x="217" y="4"/>
                    <a:pt x="196" y="1"/>
                    <a:pt x="1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9" name="Google Shape;11689;p61"/>
            <p:cNvSpPr/>
            <p:nvPr/>
          </p:nvSpPr>
          <p:spPr>
            <a:xfrm>
              <a:off x="4033615" y="2996428"/>
              <a:ext cx="73941" cy="84237"/>
            </a:xfrm>
            <a:custGeom>
              <a:avLst/>
              <a:gdLst/>
              <a:ahLst/>
              <a:cxnLst/>
              <a:rect l="l" t="t" r="r" b="b"/>
              <a:pathLst>
                <a:path w="2334" h="2659" extrusionOk="0">
                  <a:moveTo>
                    <a:pt x="2157" y="0"/>
                  </a:moveTo>
                  <a:cubicBezTo>
                    <a:pt x="2112" y="0"/>
                    <a:pt x="2069" y="18"/>
                    <a:pt x="2036" y="51"/>
                  </a:cubicBezTo>
                  <a:lnTo>
                    <a:pt x="60" y="2397"/>
                  </a:lnTo>
                  <a:cubicBezTo>
                    <a:pt x="0" y="2468"/>
                    <a:pt x="12" y="2551"/>
                    <a:pt x="72" y="2611"/>
                  </a:cubicBezTo>
                  <a:cubicBezTo>
                    <a:pt x="107" y="2647"/>
                    <a:pt x="143" y="2659"/>
                    <a:pt x="179" y="2659"/>
                  </a:cubicBezTo>
                  <a:cubicBezTo>
                    <a:pt x="226" y="2659"/>
                    <a:pt x="262" y="2647"/>
                    <a:pt x="298" y="2599"/>
                  </a:cubicBezTo>
                  <a:lnTo>
                    <a:pt x="2274" y="265"/>
                  </a:lnTo>
                  <a:cubicBezTo>
                    <a:pt x="2334" y="194"/>
                    <a:pt x="2322" y="87"/>
                    <a:pt x="2262" y="39"/>
                  </a:cubicBezTo>
                  <a:cubicBezTo>
                    <a:pt x="2230" y="12"/>
                    <a:pt x="2193" y="0"/>
                    <a:pt x="21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0" name="Google Shape;11690;p61"/>
            <p:cNvSpPr/>
            <p:nvPr/>
          </p:nvSpPr>
          <p:spPr>
            <a:xfrm>
              <a:off x="3978523" y="2931738"/>
              <a:ext cx="303684" cy="299439"/>
            </a:xfrm>
            <a:custGeom>
              <a:avLst/>
              <a:gdLst/>
              <a:ahLst/>
              <a:cxnLst/>
              <a:rect l="l" t="t" r="r" b="b"/>
              <a:pathLst>
                <a:path w="9586" h="9452" extrusionOk="0">
                  <a:moveTo>
                    <a:pt x="5564" y="351"/>
                  </a:moveTo>
                  <a:cubicBezTo>
                    <a:pt x="5790" y="351"/>
                    <a:pt x="6037" y="460"/>
                    <a:pt x="6252" y="664"/>
                  </a:cubicBezTo>
                  <a:cubicBezTo>
                    <a:pt x="6490" y="902"/>
                    <a:pt x="6585" y="1236"/>
                    <a:pt x="6525" y="1486"/>
                  </a:cubicBezTo>
                  <a:lnTo>
                    <a:pt x="5418" y="367"/>
                  </a:lnTo>
                  <a:cubicBezTo>
                    <a:pt x="5465" y="356"/>
                    <a:pt x="5514" y="351"/>
                    <a:pt x="5564" y="351"/>
                  </a:cubicBezTo>
                  <a:close/>
                  <a:moveTo>
                    <a:pt x="5001" y="414"/>
                  </a:moveTo>
                  <a:lnTo>
                    <a:pt x="6502" y="1915"/>
                  </a:lnTo>
                  <a:lnTo>
                    <a:pt x="6192" y="2236"/>
                  </a:lnTo>
                  <a:lnTo>
                    <a:pt x="4680" y="724"/>
                  </a:lnTo>
                  <a:lnTo>
                    <a:pt x="5001" y="414"/>
                  </a:lnTo>
                  <a:close/>
                  <a:moveTo>
                    <a:pt x="8162" y="2958"/>
                  </a:moveTo>
                  <a:cubicBezTo>
                    <a:pt x="8390" y="2958"/>
                    <a:pt x="8640" y="3065"/>
                    <a:pt x="8835" y="3260"/>
                  </a:cubicBezTo>
                  <a:cubicBezTo>
                    <a:pt x="9085" y="3510"/>
                    <a:pt x="9192" y="3843"/>
                    <a:pt x="9133" y="4093"/>
                  </a:cubicBezTo>
                  <a:lnTo>
                    <a:pt x="8014" y="2974"/>
                  </a:lnTo>
                  <a:cubicBezTo>
                    <a:pt x="8061" y="2963"/>
                    <a:pt x="8111" y="2958"/>
                    <a:pt x="8162" y="2958"/>
                  </a:cubicBezTo>
                  <a:close/>
                  <a:moveTo>
                    <a:pt x="7597" y="3022"/>
                  </a:moveTo>
                  <a:lnTo>
                    <a:pt x="7633" y="3046"/>
                  </a:lnTo>
                  <a:lnTo>
                    <a:pt x="9109" y="4522"/>
                  </a:lnTo>
                  <a:lnTo>
                    <a:pt x="8776" y="4820"/>
                  </a:lnTo>
                  <a:lnTo>
                    <a:pt x="7287" y="3331"/>
                  </a:lnTo>
                  <a:lnTo>
                    <a:pt x="7597" y="3022"/>
                  </a:lnTo>
                  <a:close/>
                  <a:moveTo>
                    <a:pt x="3846" y="4712"/>
                  </a:moveTo>
                  <a:lnTo>
                    <a:pt x="4823" y="5689"/>
                  </a:lnTo>
                  <a:lnTo>
                    <a:pt x="4204" y="6403"/>
                  </a:lnTo>
                  <a:lnTo>
                    <a:pt x="3120" y="5308"/>
                  </a:lnTo>
                  <a:lnTo>
                    <a:pt x="3846" y="4712"/>
                  </a:lnTo>
                  <a:close/>
                  <a:moveTo>
                    <a:pt x="3454" y="7320"/>
                  </a:moveTo>
                  <a:lnTo>
                    <a:pt x="3537" y="7415"/>
                  </a:lnTo>
                  <a:lnTo>
                    <a:pt x="4787" y="8665"/>
                  </a:lnTo>
                  <a:lnTo>
                    <a:pt x="4311" y="9142"/>
                  </a:lnTo>
                  <a:lnTo>
                    <a:pt x="2977" y="7796"/>
                  </a:lnTo>
                  <a:lnTo>
                    <a:pt x="3454" y="7320"/>
                  </a:lnTo>
                  <a:close/>
                  <a:moveTo>
                    <a:pt x="5006" y="1"/>
                  </a:moveTo>
                  <a:cubicBezTo>
                    <a:pt x="4966" y="1"/>
                    <a:pt x="4924" y="15"/>
                    <a:pt x="4894" y="45"/>
                  </a:cubicBezTo>
                  <a:lnTo>
                    <a:pt x="4442" y="486"/>
                  </a:lnTo>
                  <a:cubicBezTo>
                    <a:pt x="4430" y="486"/>
                    <a:pt x="4418" y="474"/>
                    <a:pt x="4382" y="474"/>
                  </a:cubicBezTo>
                  <a:cubicBezTo>
                    <a:pt x="4347" y="474"/>
                    <a:pt x="4299" y="510"/>
                    <a:pt x="4263" y="533"/>
                  </a:cubicBezTo>
                  <a:lnTo>
                    <a:pt x="1049" y="4439"/>
                  </a:lnTo>
                  <a:lnTo>
                    <a:pt x="965" y="4343"/>
                  </a:lnTo>
                  <a:cubicBezTo>
                    <a:pt x="935" y="4314"/>
                    <a:pt x="894" y="4299"/>
                    <a:pt x="852" y="4299"/>
                  </a:cubicBezTo>
                  <a:cubicBezTo>
                    <a:pt x="810" y="4299"/>
                    <a:pt x="769" y="4314"/>
                    <a:pt x="739" y="4343"/>
                  </a:cubicBezTo>
                  <a:lnTo>
                    <a:pt x="36" y="5046"/>
                  </a:lnTo>
                  <a:cubicBezTo>
                    <a:pt x="13" y="5070"/>
                    <a:pt x="1" y="5117"/>
                    <a:pt x="1" y="5165"/>
                  </a:cubicBezTo>
                  <a:cubicBezTo>
                    <a:pt x="1" y="5213"/>
                    <a:pt x="13" y="5248"/>
                    <a:pt x="36" y="5284"/>
                  </a:cubicBezTo>
                  <a:lnTo>
                    <a:pt x="691" y="5939"/>
                  </a:lnTo>
                  <a:cubicBezTo>
                    <a:pt x="721" y="5969"/>
                    <a:pt x="763" y="5983"/>
                    <a:pt x="804" y="5983"/>
                  </a:cubicBezTo>
                  <a:cubicBezTo>
                    <a:pt x="846" y="5983"/>
                    <a:pt x="888" y="5969"/>
                    <a:pt x="918" y="5939"/>
                  </a:cubicBezTo>
                  <a:cubicBezTo>
                    <a:pt x="977" y="5879"/>
                    <a:pt x="977" y="5772"/>
                    <a:pt x="918" y="5713"/>
                  </a:cubicBezTo>
                  <a:lnTo>
                    <a:pt x="382" y="5177"/>
                  </a:lnTo>
                  <a:lnTo>
                    <a:pt x="858" y="4701"/>
                  </a:lnTo>
                  <a:lnTo>
                    <a:pt x="941" y="4796"/>
                  </a:lnTo>
                  <a:lnTo>
                    <a:pt x="2096" y="5939"/>
                  </a:lnTo>
                  <a:lnTo>
                    <a:pt x="2180" y="6022"/>
                  </a:lnTo>
                  <a:lnTo>
                    <a:pt x="1703" y="6498"/>
                  </a:lnTo>
                  <a:lnTo>
                    <a:pt x="1346" y="6141"/>
                  </a:lnTo>
                  <a:cubicBezTo>
                    <a:pt x="1316" y="6111"/>
                    <a:pt x="1278" y="6097"/>
                    <a:pt x="1239" y="6097"/>
                  </a:cubicBezTo>
                  <a:cubicBezTo>
                    <a:pt x="1200" y="6097"/>
                    <a:pt x="1162" y="6111"/>
                    <a:pt x="1132" y="6141"/>
                  </a:cubicBezTo>
                  <a:cubicBezTo>
                    <a:pt x="1072" y="6201"/>
                    <a:pt x="1072" y="6308"/>
                    <a:pt x="1132" y="6367"/>
                  </a:cubicBezTo>
                  <a:lnTo>
                    <a:pt x="1584" y="6832"/>
                  </a:lnTo>
                  <a:cubicBezTo>
                    <a:pt x="1620" y="6856"/>
                    <a:pt x="1668" y="6879"/>
                    <a:pt x="1703" y="6879"/>
                  </a:cubicBezTo>
                  <a:cubicBezTo>
                    <a:pt x="1751" y="6879"/>
                    <a:pt x="1799" y="6856"/>
                    <a:pt x="1822" y="6832"/>
                  </a:cubicBezTo>
                  <a:lnTo>
                    <a:pt x="2525" y="6129"/>
                  </a:lnTo>
                  <a:cubicBezTo>
                    <a:pt x="2561" y="6106"/>
                    <a:pt x="2573" y="6058"/>
                    <a:pt x="2573" y="6010"/>
                  </a:cubicBezTo>
                  <a:cubicBezTo>
                    <a:pt x="2573" y="5963"/>
                    <a:pt x="2549" y="5927"/>
                    <a:pt x="2525" y="5891"/>
                  </a:cubicBezTo>
                  <a:lnTo>
                    <a:pt x="2430" y="5808"/>
                  </a:lnTo>
                  <a:lnTo>
                    <a:pt x="2846" y="5463"/>
                  </a:lnTo>
                  <a:lnTo>
                    <a:pt x="3977" y="6594"/>
                  </a:lnTo>
                  <a:lnTo>
                    <a:pt x="3644" y="7010"/>
                  </a:lnTo>
                  <a:lnTo>
                    <a:pt x="3549" y="6915"/>
                  </a:lnTo>
                  <a:cubicBezTo>
                    <a:pt x="3525" y="6891"/>
                    <a:pt x="3477" y="6879"/>
                    <a:pt x="3430" y="6879"/>
                  </a:cubicBezTo>
                  <a:cubicBezTo>
                    <a:pt x="3394" y="6879"/>
                    <a:pt x="3346" y="6891"/>
                    <a:pt x="3311" y="6915"/>
                  </a:cubicBezTo>
                  <a:lnTo>
                    <a:pt x="2620" y="7618"/>
                  </a:lnTo>
                  <a:cubicBezTo>
                    <a:pt x="2561" y="7677"/>
                    <a:pt x="2561" y="7784"/>
                    <a:pt x="2620" y="7844"/>
                  </a:cubicBezTo>
                  <a:lnTo>
                    <a:pt x="4180" y="9404"/>
                  </a:lnTo>
                  <a:cubicBezTo>
                    <a:pt x="4204" y="9439"/>
                    <a:pt x="4251" y="9451"/>
                    <a:pt x="4299" y="9451"/>
                  </a:cubicBezTo>
                  <a:cubicBezTo>
                    <a:pt x="4335" y="9451"/>
                    <a:pt x="4382" y="9439"/>
                    <a:pt x="4418" y="9404"/>
                  </a:cubicBezTo>
                  <a:lnTo>
                    <a:pt x="5109" y="8701"/>
                  </a:lnTo>
                  <a:cubicBezTo>
                    <a:pt x="5168" y="8642"/>
                    <a:pt x="5168" y="8546"/>
                    <a:pt x="5109" y="8487"/>
                  </a:cubicBezTo>
                  <a:lnTo>
                    <a:pt x="5025" y="8392"/>
                  </a:lnTo>
                  <a:lnTo>
                    <a:pt x="6871" y="6879"/>
                  </a:lnTo>
                  <a:cubicBezTo>
                    <a:pt x="6942" y="6820"/>
                    <a:pt x="6942" y="6713"/>
                    <a:pt x="6883" y="6653"/>
                  </a:cubicBezTo>
                  <a:cubicBezTo>
                    <a:pt x="6851" y="6616"/>
                    <a:pt x="6807" y="6598"/>
                    <a:pt x="6764" y="6598"/>
                  </a:cubicBezTo>
                  <a:cubicBezTo>
                    <a:pt x="6724" y="6598"/>
                    <a:pt x="6685" y="6613"/>
                    <a:pt x="6656" y="6641"/>
                  </a:cubicBezTo>
                  <a:lnTo>
                    <a:pt x="4799" y="8165"/>
                  </a:lnTo>
                  <a:lnTo>
                    <a:pt x="3870" y="7237"/>
                  </a:lnTo>
                  <a:lnTo>
                    <a:pt x="6990" y="3450"/>
                  </a:lnTo>
                  <a:lnTo>
                    <a:pt x="8597" y="5058"/>
                  </a:lnTo>
                  <a:lnTo>
                    <a:pt x="7168" y="6236"/>
                  </a:lnTo>
                  <a:cubicBezTo>
                    <a:pt x="7097" y="6296"/>
                    <a:pt x="7097" y="6403"/>
                    <a:pt x="7156" y="6463"/>
                  </a:cubicBezTo>
                  <a:cubicBezTo>
                    <a:pt x="7188" y="6500"/>
                    <a:pt x="7228" y="6518"/>
                    <a:pt x="7269" y="6518"/>
                  </a:cubicBezTo>
                  <a:cubicBezTo>
                    <a:pt x="7306" y="6518"/>
                    <a:pt x="7342" y="6503"/>
                    <a:pt x="7371" y="6475"/>
                  </a:cubicBezTo>
                  <a:lnTo>
                    <a:pt x="8942" y="5177"/>
                  </a:lnTo>
                  <a:cubicBezTo>
                    <a:pt x="8966" y="5153"/>
                    <a:pt x="9002" y="5105"/>
                    <a:pt x="9002" y="5058"/>
                  </a:cubicBezTo>
                  <a:cubicBezTo>
                    <a:pt x="9002" y="5046"/>
                    <a:pt x="9002" y="5010"/>
                    <a:pt x="8978" y="4998"/>
                  </a:cubicBezTo>
                  <a:lnTo>
                    <a:pt x="9431" y="4558"/>
                  </a:lnTo>
                  <a:cubicBezTo>
                    <a:pt x="9434" y="4558"/>
                    <a:pt x="9438" y="4559"/>
                    <a:pt x="9441" y="4559"/>
                  </a:cubicBezTo>
                  <a:cubicBezTo>
                    <a:pt x="9502" y="4559"/>
                    <a:pt x="9499" y="4459"/>
                    <a:pt x="9442" y="4403"/>
                  </a:cubicBezTo>
                  <a:lnTo>
                    <a:pt x="9383" y="4343"/>
                  </a:lnTo>
                  <a:cubicBezTo>
                    <a:pt x="9585" y="3939"/>
                    <a:pt x="9466" y="3427"/>
                    <a:pt x="9073" y="3034"/>
                  </a:cubicBezTo>
                  <a:cubicBezTo>
                    <a:pt x="8812" y="2773"/>
                    <a:pt x="8485" y="2635"/>
                    <a:pt x="8174" y="2635"/>
                  </a:cubicBezTo>
                  <a:cubicBezTo>
                    <a:pt x="8031" y="2635"/>
                    <a:pt x="7891" y="2664"/>
                    <a:pt x="7764" y="2724"/>
                  </a:cubicBezTo>
                  <a:lnTo>
                    <a:pt x="7704" y="2665"/>
                  </a:lnTo>
                  <a:cubicBezTo>
                    <a:pt x="7680" y="2629"/>
                    <a:pt x="7633" y="2617"/>
                    <a:pt x="7585" y="2617"/>
                  </a:cubicBezTo>
                  <a:cubicBezTo>
                    <a:pt x="7537" y="2617"/>
                    <a:pt x="7502" y="2629"/>
                    <a:pt x="7466" y="2665"/>
                  </a:cubicBezTo>
                  <a:lnTo>
                    <a:pt x="7025" y="3105"/>
                  </a:lnTo>
                  <a:cubicBezTo>
                    <a:pt x="7002" y="3105"/>
                    <a:pt x="6990" y="3093"/>
                    <a:pt x="6966" y="3093"/>
                  </a:cubicBezTo>
                  <a:cubicBezTo>
                    <a:pt x="6918" y="3093"/>
                    <a:pt x="6871" y="3129"/>
                    <a:pt x="6847" y="3153"/>
                  </a:cubicBezTo>
                  <a:lnTo>
                    <a:pt x="5013" y="5415"/>
                  </a:lnTo>
                  <a:lnTo>
                    <a:pt x="4085" y="4498"/>
                  </a:lnTo>
                  <a:lnTo>
                    <a:pt x="4501" y="4153"/>
                  </a:lnTo>
                  <a:cubicBezTo>
                    <a:pt x="4573" y="4093"/>
                    <a:pt x="4573" y="3986"/>
                    <a:pt x="4513" y="3927"/>
                  </a:cubicBezTo>
                  <a:cubicBezTo>
                    <a:pt x="4488" y="3889"/>
                    <a:pt x="4447" y="3872"/>
                    <a:pt x="4405" y="3872"/>
                  </a:cubicBezTo>
                  <a:cubicBezTo>
                    <a:pt x="4367" y="3872"/>
                    <a:pt x="4327" y="3886"/>
                    <a:pt x="4299" y="3915"/>
                  </a:cubicBezTo>
                  <a:lnTo>
                    <a:pt x="3739" y="4379"/>
                  </a:lnTo>
                  <a:lnTo>
                    <a:pt x="2215" y="5641"/>
                  </a:lnTo>
                  <a:lnTo>
                    <a:pt x="1275" y="4701"/>
                  </a:lnTo>
                  <a:lnTo>
                    <a:pt x="4406" y="926"/>
                  </a:lnTo>
                  <a:lnTo>
                    <a:pt x="6002" y="2534"/>
                  </a:lnTo>
                  <a:lnTo>
                    <a:pt x="4799" y="3522"/>
                  </a:lnTo>
                  <a:cubicBezTo>
                    <a:pt x="4728" y="3581"/>
                    <a:pt x="4728" y="3689"/>
                    <a:pt x="4787" y="3748"/>
                  </a:cubicBezTo>
                  <a:cubicBezTo>
                    <a:pt x="4818" y="3785"/>
                    <a:pt x="4862" y="3803"/>
                    <a:pt x="4906" y="3803"/>
                  </a:cubicBezTo>
                  <a:cubicBezTo>
                    <a:pt x="4946" y="3803"/>
                    <a:pt x="4985" y="3788"/>
                    <a:pt x="5013" y="3760"/>
                  </a:cubicBezTo>
                  <a:lnTo>
                    <a:pt x="6347" y="2653"/>
                  </a:lnTo>
                  <a:cubicBezTo>
                    <a:pt x="6383" y="2617"/>
                    <a:pt x="6406" y="2569"/>
                    <a:pt x="6406" y="2534"/>
                  </a:cubicBezTo>
                  <a:lnTo>
                    <a:pt x="6406" y="2474"/>
                  </a:lnTo>
                  <a:lnTo>
                    <a:pt x="6859" y="2022"/>
                  </a:lnTo>
                  <a:cubicBezTo>
                    <a:pt x="6883" y="1998"/>
                    <a:pt x="6894" y="1950"/>
                    <a:pt x="6894" y="1903"/>
                  </a:cubicBezTo>
                  <a:cubicBezTo>
                    <a:pt x="6894" y="1855"/>
                    <a:pt x="6883" y="1819"/>
                    <a:pt x="6859" y="1784"/>
                  </a:cubicBezTo>
                  <a:lnTo>
                    <a:pt x="6799" y="1724"/>
                  </a:lnTo>
                  <a:cubicBezTo>
                    <a:pt x="6990" y="1319"/>
                    <a:pt x="6871" y="807"/>
                    <a:pt x="6478" y="414"/>
                  </a:cubicBezTo>
                  <a:cubicBezTo>
                    <a:pt x="6217" y="153"/>
                    <a:pt x="5889" y="15"/>
                    <a:pt x="5578" y="15"/>
                  </a:cubicBezTo>
                  <a:cubicBezTo>
                    <a:pt x="5435" y="15"/>
                    <a:pt x="5296" y="45"/>
                    <a:pt x="5168" y="105"/>
                  </a:cubicBezTo>
                  <a:lnTo>
                    <a:pt x="5109" y="45"/>
                  </a:lnTo>
                  <a:cubicBezTo>
                    <a:pt x="5085" y="15"/>
                    <a:pt x="5046" y="1"/>
                    <a:pt x="5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1" name="Google Shape;11691;p61"/>
            <p:cNvSpPr/>
            <p:nvPr/>
          </p:nvSpPr>
          <p:spPr>
            <a:xfrm>
              <a:off x="4116204" y="3078638"/>
              <a:ext cx="73973" cy="84269"/>
            </a:xfrm>
            <a:custGeom>
              <a:avLst/>
              <a:gdLst/>
              <a:ahLst/>
              <a:cxnLst/>
              <a:rect l="l" t="t" r="r" b="b"/>
              <a:pathLst>
                <a:path w="2335" h="2660" extrusionOk="0">
                  <a:moveTo>
                    <a:pt x="2152" y="1"/>
                  </a:moveTo>
                  <a:cubicBezTo>
                    <a:pt x="2109" y="1"/>
                    <a:pt x="2069" y="19"/>
                    <a:pt x="2037" y="52"/>
                  </a:cubicBezTo>
                  <a:lnTo>
                    <a:pt x="60" y="2385"/>
                  </a:lnTo>
                  <a:cubicBezTo>
                    <a:pt x="1" y="2457"/>
                    <a:pt x="12" y="2552"/>
                    <a:pt x="72" y="2612"/>
                  </a:cubicBezTo>
                  <a:cubicBezTo>
                    <a:pt x="96" y="2635"/>
                    <a:pt x="143" y="2659"/>
                    <a:pt x="179" y="2659"/>
                  </a:cubicBezTo>
                  <a:cubicBezTo>
                    <a:pt x="215" y="2659"/>
                    <a:pt x="262" y="2635"/>
                    <a:pt x="298" y="2600"/>
                  </a:cubicBezTo>
                  <a:lnTo>
                    <a:pt x="2275" y="254"/>
                  </a:lnTo>
                  <a:cubicBezTo>
                    <a:pt x="2334" y="195"/>
                    <a:pt x="2322" y="99"/>
                    <a:pt x="2263" y="40"/>
                  </a:cubicBezTo>
                  <a:cubicBezTo>
                    <a:pt x="2225" y="13"/>
                    <a:pt x="2188" y="1"/>
                    <a:pt x="21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692" name="Google Shape;11692;p61"/>
          <p:cNvGrpSpPr/>
          <p:nvPr/>
        </p:nvGrpSpPr>
        <p:grpSpPr>
          <a:xfrm>
            <a:off x="3527780" y="2885263"/>
            <a:ext cx="347435" cy="345534"/>
            <a:chOff x="3527780" y="2885263"/>
            <a:chExt cx="347435" cy="345534"/>
          </a:xfrm>
        </p:grpSpPr>
        <p:sp>
          <p:nvSpPr>
            <p:cNvPr id="11693" name="Google Shape;11693;p61"/>
            <p:cNvSpPr/>
            <p:nvPr/>
          </p:nvSpPr>
          <p:spPr>
            <a:xfrm>
              <a:off x="3527780" y="2885263"/>
              <a:ext cx="347435" cy="345534"/>
            </a:xfrm>
            <a:custGeom>
              <a:avLst/>
              <a:gdLst/>
              <a:ahLst/>
              <a:cxnLst/>
              <a:rect l="l" t="t" r="r" b="b"/>
              <a:pathLst>
                <a:path w="10967" h="10907" extrusionOk="0">
                  <a:moveTo>
                    <a:pt x="3751" y="298"/>
                  </a:moveTo>
                  <a:cubicBezTo>
                    <a:pt x="3811" y="298"/>
                    <a:pt x="3847" y="345"/>
                    <a:pt x="3847" y="405"/>
                  </a:cubicBezTo>
                  <a:cubicBezTo>
                    <a:pt x="3847" y="464"/>
                    <a:pt x="3811" y="512"/>
                    <a:pt x="3751" y="512"/>
                  </a:cubicBezTo>
                  <a:cubicBezTo>
                    <a:pt x="3692" y="512"/>
                    <a:pt x="3644" y="464"/>
                    <a:pt x="3644" y="405"/>
                  </a:cubicBezTo>
                  <a:cubicBezTo>
                    <a:pt x="3656" y="345"/>
                    <a:pt x="3704" y="298"/>
                    <a:pt x="3751" y="298"/>
                  </a:cubicBezTo>
                  <a:close/>
                  <a:moveTo>
                    <a:pt x="5490" y="298"/>
                  </a:moveTo>
                  <a:cubicBezTo>
                    <a:pt x="5549" y="298"/>
                    <a:pt x="5597" y="345"/>
                    <a:pt x="5597" y="405"/>
                  </a:cubicBezTo>
                  <a:cubicBezTo>
                    <a:pt x="5597" y="464"/>
                    <a:pt x="5549" y="512"/>
                    <a:pt x="5490" y="512"/>
                  </a:cubicBezTo>
                  <a:cubicBezTo>
                    <a:pt x="5430" y="512"/>
                    <a:pt x="5382" y="464"/>
                    <a:pt x="5382" y="405"/>
                  </a:cubicBezTo>
                  <a:cubicBezTo>
                    <a:pt x="5382" y="345"/>
                    <a:pt x="5430" y="298"/>
                    <a:pt x="5490" y="298"/>
                  </a:cubicBezTo>
                  <a:close/>
                  <a:moveTo>
                    <a:pt x="7216" y="298"/>
                  </a:moveTo>
                  <a:cubicBezTo>
                    <a:pt x="7276" y="298"/>
                    <a:pt x="7323" y="345"/>
                    <a:pt x="7323" y="405"/>
                  </a:cubicBezTo>
                  <a:cubicBezTo>
                    <a:pt x="7323" y="464"/>
                    <a:pt x="7276" y="512"/>
                    <a:pt x="7216" y="512"/>
                  </a:cubicBezTo>
                  <a:cubicBezTo>
                    <a:pt x="7156" y="512"/>
                    <a:pt x="7109" y="464"/>
                    <a:pt x="7109" y="405"/>
                  </a:cubicBezTo>
                  <a:cubicBezTo>
                    <a:pt x="7109" y="345"/>
                    <a:pt x="7156" y="298"/>
                    <a:pt x="7216" y="298"/>
                  </a:cubicBezTo>
                  <a:close/>
                  <a:moveTo>
                    <a:pt x="394" y="3632"/>
                  </a:moveTo>
                  <a:cubicBezTo>
                    <a:pt x="453" y="3632"/>
                    <a:pt x="501" y="3679"/>
                    <a:pt x="501" y="3739"/>
                  </a:cubicBezTo>
                  <a:cubicBezTo>
                    <a:pt x="501" y="3798"/>
                    <a:pt x="453" y="3846"/>
                    <a:pt x="394" y="3846"/>
                  </a:cubicBezTo>
                  <a:cubicBezTo>
                    <a:pt x="334" y="3846"/>
                    <a:pt x="287" y="3798"/>
                    <a:pt x="287" y="3739"/>
                  </a:cubicBezTo>
                  <a:cubicBezTo>
                    <a:pt x="287" y="3679"/>
                    <a:pt x="334" y="3632"/>
                    <a:pt x="394" y="3632"/>
                  </a:cubicBezTo>
                  <a:close/>
                  <a:moveTo>
                    <a:pt x="10562" y="3655"/>
                  </a:moveTo>
                  <a:cubicBezTo>
                    <a:pt x="10621" y="3655"/>
                    <a:pt x="10669" y="3691"/>
                    <a:pt x="10669" y="3763"/>
                  </a:cubicBezTo>
                  <a:cubicBezTo>
                    <a:pt x="10669" y="3822"/>
                    <a:pt x="10621" y="3858"/>
                    <a:pt x="10562" y="3858"/>
                  </a:cubicBezTo>
                  <a:cubicBezTo>
                    <a:pt x="10502" y="3858"/>
                    <a:pt x="10454" y="3822"/>
                    <a:pt x="10454" y="3763"/>
                  </a:cubicBezTo>
                  <a:cubicBezTo>
                    <a:pt x="10454" y="3691"/>
                    <a:pt x="10502" y="3655"/>
                    <a:pt x="10562" y="3655"/>
                  </a:cubicBezTo>
                  <a:close/>
                  <a:moveTo>
                    <a:pt x="394" y="5382"/>
                  </a:moveTo>
                  <a:cubicBezTo>
                    <a:pt x="453" y="5382"/>
                    <a:pt x="501" y="5417"/>
                    <a:pt x="501" y="5477"/>
                  </a:cubicBezTo>
                  <a:cubicBezTo>
                    <a:pt x="501" y="5548"/>
                    <a:pt x="453" y="5584"/>
                    <a:pt x="394" y="5584"/>
                  </a:cubicBezTo>
                  <a:cubicBezTo>
                    <a:pt x="334" y="5584"/>
                    <a:pt x="287" y="5548"/>
                    <a:pt x="287" y="5477"/>
                  </a:cubicBezTo>
                  <a:cubicBezTo>
                    <a:pt x="287" y="5417"/>
                    <a:pt x="334" y="5382"/>
                    <a:pt x="394" y="5382"/>
                  </a:cubicBezTo>
                  <a:close/>
                  <a:moveTo>
                    <a:pt x="10562" y="5382"/>
                  </a:moveTo>
                  <a:cubicBezTo>
                    <a:pt x="10621" y="5382"/>
                    <a:pt x="10669" y="5429"/>
                    <a:pt x="10669" y="5489"/>
                  </a:cubicBezTo>
                  <a:cubicBezTo>
                    <a:pt x="10669" y="5548"/>
                    <a:pt x="10621" y="5584"/>
                    <a:pt x="10562" y="5584"/>
                  </a:cubicBezTo>
                  <a:cubicBezTo>
                    <a:pt x="10502" y="5584"/>
                    <a:pt x="10454" y="5548"/>
                    <a:pt x="10454" y="5489"/>
                  </a:cubicBezTo>
                  <a:cubicBezTo>
                    <a:pt x="10454" y="5429"/>
                    <a:pt x="10502" y="5382"/>
                    <a:pt x="10562" y="5382"/>
                  </a:cubicBezTo>
                  <a:close/>
                  <a:moveTo>
                    <a:pt x="394" y="7108"/>
                  </a:moveTo>
                  <a:cubicBezTo>
                    <a:pt x="453" y="7108"/>
                    <a:pt x="501" y="7144"/>
                    <a:pt x="501" y="7215"/>
                  </a:cubicBezTo>
                  <a:cubicBezTo>
                    <a:pt x="501" y="7275"/>
                    <a:pt x="453" y="7311"/>
                    <a:pt x="394" y="7311"/>
                  </a:cubicBezTo>
                  <a:cubicBezTo>
                    <a:pt x="334" y="7311"/>
                    <a:pt x="287" y="7275"/>
                    <a:pt x="287" y="7215"/>
                  </a:cubicBezTo>
                  <a:cubicBezTo>
                    <a:pt x="287" y="7144"/>
                    <a:pt x="334" y="7108"/>
                    <a:pt x="394" y="7108"/>
                  </a:cubicBezTo>
                  <a:close/>
                  <a:moveTo>
                    <a:pt x="10562" y="7120"/>
                  </a:moveTo>
                  <a:cubicBezTo>
                    <a:pt x="10621" y="7120"/>
                    <a:pt x="10669" y="7168"/>
                    <a:pt x="10669" y="7227"/>
                  </a:cubicBezTo>
                  <a:cubicBezTo>
                    <a:pt x="10669" y="7287"/>
                    <a:pt x="10621" y="7334"/>
                    <a:pt x="10562" y="7334"/>
                  </a:cubicBezTo>
                  <a:cubicBezTo>
                    <a:pt x="10502" y="7334"/>
                    <a:pt x="10454" y="7287"/>
                    <a:pt x="10454" y="7227"/>
                  </a:cubicBezTo>
                  <a:cubicBezTo>
                    <a:pt x="10454" y="7168"/>
                    <a:pt x="10502" y="7120"/>
                    <a:pt x="10562" y="7120"/>
                  </a:cubicBezTo>
                  <a:close/>
                  <a:moveTo>
                    <a:pt x="3751" y="10454"/>
                  </a:moveTo>
                  <a:cubicBezTo>
                    <a:pt x="3811" y="10454"/>
                    <a:pt x="3847" y="10501"/>
                    <a:pt x="3847" y="10561"/>
                  </a:cubicBezTo>
                  <a:cubicBezTo>
                    <a:pt x="3847" y="10621"/>
                    <a:pt x="3811" y="10668"/>
                    <a:pt x="3751" y="10668"/>
                  </a:cubicBezTo>
                  <a:cubicBezTo>
                    <a:pt x="3692" y="10668"/>
                    <a:pt x="3644" y="10621"/>
                    <a:pt x="3644" y="10561"/>
                  </a:cubicBezTo>
                  <a:cubicBezTo>
                    <a:pt x="3644" y="10501"/>
                    <a:pt x="3680" y="10454"/>
                    <a:pt x="3751" y="10454"/>
                  </a:cubicBezTo>
                  <a:close/>
                  <a:moveTo>
                    <a:pt x="5490" y="10454"/>
                  </a:moveTo>
                  <a:cubicBezTo>
                    <a:pt x="5549" y="10454"/>
                    <a:pt x="5597" y="10501"/>
                    <a:pt x="5597" y="10561"/>
                  </a:cubicBezTo>
                  <a:cubicBezTo>
                    <a:pt x="5597" y="10621"/>
                    <a:pt x="5537" y="10668"/>
                    <a:pt x="5490" y="10668"/>
                  </a:cubicBezTo>
                  <a:cubicBezTo>
                    <a:pt x="5430" y="10668"/>
                    <a:pt x="5382" y="10621"/>
                    <a:pt x="5382" y="10561"/>
                  </a:cubicBezTo>
                  <a:cubicBezTo>
                    <a:pt x="5382" y="10501"/>
                    <a:pt x="5430" y="10454"/>
                    <a:pt x="5490" y="10454"/>
                  </a:cubicBezTo>
                  <a:close/>
                  <a:moveTo>
                    <a:pt x="7216" y="10454"/>
                  </a:moveTo>
                  <a:cubicBezTo>
                    <a:pt x="7276" y="10454"/>
                    <a:pt x="7323" y="10501"/>
                    <a:pt x="7323" y="10561"/>
                  </a:cubicBezTo>
                  <a:cubicBezTo>
                    <a:pt x="7323" y="10621"/>
                    <a:pt x="7276" y="10668"/>
                    <a:pt x="7216" y="10668"/>
                  </a:cubicBezTo>
                  <a:cubicBezTo>
                    <a:pt x="7156" y="10668"/>
                    <a:pt x="7109" y="10621"/>
                    <a:pt x="7109" y="10561"/>
                  </a:cubicBezTo>
                  <a:cubicBezTo>
                    <a:pt x="7109" y="10501"/>
                    <a:pt x="7156" y="10454"/>
                    <a:pt x="7216" y="10454"/>
                  </a:cubicBezTo>
                  <a:close/>
                  <a:moveTo>
                    <a:pt x="3811" y="0"/>
                  </a:moveTo>
                  <a:cubicBezTo>
                    <a:pt x="3561" y="0"/>
                    <a:pt x="3394" y="203"/>
                    <a:pt x="3394" y="417"/>
                  </a:cubicBezTo>
                  <a:cubicBezTo>
                    <a:pt x="3394" y="595"/>
                    <a:pt x="3489" y="750"/>
                    <a:pt x="3656" y="810"/>
                  </a:cubicBezTo>
                  <a:lnTo>
                    <a:pt x="3656" y="1738"/>
                  </a:lnTo>
                  <a:lnTo>
                    <a:pt x="1965" y="1738"/>
                  </a:lnTo>
                  <a:cubicBezTo>
                    <a:pt x="1870" y="1738"/>
                    <a:pt x="1799" y="1810"/>
                    <a:pt x="1799" y="1893"/>
                  </a:cubicBezTo>
                  <a:lnTo>
                    <a:pt x="1799" y="3596"/>
                  </a:lnTo>
                  <a:lnTo>
                    <a:pt x="799" y="3596"/>
                  </a:lnTo>
                  <a:cubicBezTo>
                    <a:pt x="739" y="3441"/>
                    <a:pt x="596" y="3322"/>
                    <a:pt x="418" y="3322"/>
                  </a:cubicBezTo>
                  <a:cubicBezTo>
                    <a:pt x="179" y="3322"/>
                    <a:pt x="1" y="3524"/>
                    <a:pt x="1" y="3739"/>
                  </a:cubicBezTo>
                  <a:cubicBezTo>
                    <a:pt x="1" y="3977"/>
                    <a:pt x="191" y="4155"/>
                    <a:pt x="418" y="4155"/>
                  </a:cubicBezTo>
                  <a:cubicBezTo>
                    <a:pt x="596" y="4155"/>
                    <a:pt x="739" y="4048"/>
                    <a:pt x="799" y="3893"/>
                  </a:cubicBezTo>
                  <a:lnTo>
                    <a:pt x="1727" y="3893"/>
                  </a:lnTo>
                  <a:lnTo>
                    <a:pt x="1727" y="5310"/>
                  </a:lnTo>
                  <a:lnTo>
                    <a:pt x="799" y="5310"/>
                  </a:lnTo>
                  <a:cubicBezTo>
                    <a:pt x="739" y="5156"/>
                    <a:pt x="596" y="5036"/>
                    <a:pt x="418" y="5036"/>
                  </a:cubicBezTo>
                  <a:cubicBezTo>
                    <a:pt x="179" y="5036"/>
                    <a:pt x="1" y="5227"/>
                    <a:pt x="1" y="5453"/>
                  </a:cubicBezTo>
                  <a:cubicBezTo>
                    <a:pt x="1" y="5691"/>
                    <a:pt x="191" y="5870"/>
                    <a:pt x="418" y="5870"/>
                  </a:cubicBezTo>
                  <a:cubicBezTo>
                    <a:pt x="596" y="5870"/>
                    <a:pt x="739" y="5763"/>
                    <a:pt x="799" y="5608"/>
                  </a:cubicBezTo>
                  <a:lnTo>
                    <a:pt x="1727" y="5608"/>
                  </a:lnTo>
                  <a:lnTo>
                    <a:pt x="1727" y="7013"/>
                  </a:lnTo>
                  <a:lnTo>
                    <a:pt x="799" y="7013"/>
                  </a:lnTo>
                  <a:cubicBezTo>
                    <a:pt x="739" y="6870"/>
                    <a:pt x="596" y="6751"/>
                    <a:pt x="418" y="6751"/>
                  </a:cubicBezTo>
                  <a:cubicBezTo>
                    <a:pt x="179" y="6751"/>
                    <a:pt x="1" y="6941"/>
                    <a:pt x="1" y="7168"/>
                  </a:cubicBezTo>
                  <a:cubicBezTo>
                    <a:pt x="1" y="7406"/>
                    <a:pt x="191" y="7584"/>
                    <a:pt x="418" y="7584"/>
                  </a:cubicBezTo>
                  <a:cubicBezTo>
                    <a:pt x="596" y="7584"/>
                    <a:pt x="739" y="7477"/>
                    <a:pt x="799" y="7311"/>
                  </a:cubicBezTo>
                  <a:lnTo>
                    <a:pt x="1727" y="7311"/>
                  </a:lnTo>
                  <a:lnTo>
                    <a:pt x="1727" y="9013"/>
                  </a:lnTo>
                  <a:cubicBezTo>
                    <a:pt x="1727" y="9097"/>
                    <a:pt x="1799" y="9180"/>
                    <a:pt x="1882" y="9180"/>
                  </a:cubicBezTo>
                  <a:lnTo>
                    <a:pt x="3585" y="9180"/>
                  </a:lnTo>
                  <a:lnTo>
                    <a:pt x="3585" y="10097"/>
                  </a:lnTo>
                  <a:cubicBezTo>
                    <a:pt x="3430" y="10156"/>
                    <a:pt x="3311" y="10311"/>
                    <a:pt x="3311" y="10490"/>
                  </a:cubicBezTo>
                  <a:cubicBezTo>
                    <a:pt x="3311" y="10728"/>
                    <a:pt x="3513" y="10906"/>
                    <a:pt x="3727" y="10906"/>
                  </a:cubicBezTo>
                  <a:cubicBezTo>
                    <a:pt x="3966" y="10906"/>
                    <a:pt x="4144" y="10704"/>
                    <a:pt x="4144" y="10490"/>
                  </a:cubicBezTo>
                  <a:cubicBezTo>
                    <a:pt x="4144" y="10311"/>
                    <a:pt x="4049" y="10156"/>
                    <a:pt x="3882" y="10097"/>
                  </a:cubicBezTo>
                  <a:lnTo>
                    <a:pt x="3882" y="9180"/>
                  </a:lnTo>
                  <a:lnTo>
                    <a:pt x="5299" y="9180"/>
                  </a:lnTo>
                  <a:lnTo>
                    <a:pt x="5299" y="10097"/>
                  </a:lnTo>
                  <a:cubicBezTo>
                    <a:pt x="5144" y="10156"/>
                    <a:pt x="5025" y="10311"/>
                    <a:pt x="5025" y="10490"/>
                  </a:cubicBezTo>
                  <a:cubicBezTo>
                    <a:pt x="5025" y="10728"/>
                    <a:pt x="5216" y="10906"/>
                    <a:pt x="5442" y="10906"/>
                  </a:cubicBezTo>
                  <a:cubicBezTo>
                    <a:pt x="5680" y="10906"/>
                    <a:pt x="5859" y="10704"/>
                    <a:pt x="5859" y="10490"/>
                  </a:cubicBezTo>
                  <a:cubicBezTo>
                    <a:pt x="5859" y="10311"/>
                    <a:pt x="5752" y="10156"/>
                    <a:pt x="5597" y="10097"/>
                  </a:cubicBezTo>
                  <a:lnTo>
                    <a:pt x="5597" y="9180"/>
                  </a:lnTo>
                  <a:lnTo>
                    <a:pt x="7002" y="9180"/>
                  </a:lnTo>
                  <a:lnTo>
                    <a:pt x="7002" y="10097"/>
                  </a:lnTo>
                  <a:cubicBezTo>
                    <a:pt x="6859" y="10156"/>
                    <a:pt x="6740" y="10311"/>
                    <a:pt x="6740" y="10490"/>
                  </a:cubicBezTo>
                  <a:cubicBezTo>
                    <a:pt x="6740" y="10728"/>
                    <a:pt x="6930" y="10906"/>
                    <a:pt x="7156" y="10906"/>
                  </a:cubicBezTo>
                  <a:cubicBezTo>
                    <a:pt x="7383" y="10906"/>
                    <a:pt x="7573" y="10704"/>
                    <a:pt x="7573" y="10490"/>
                  </a:cubicBezTo>
                  <a:cubicBezTo>
                    <a:pt x="7573" y="10311"/>
                    <a:pt x="7466" y="10156"/>
                    <a:pt x="7299" y="10097"/>
                  </a:cubicBezTo>
                  <a:lnTo>
                    <a:pt x="7299" y="9180"/>
                  </a:lnTo>
                  <a:lnTo>
                    <a:pt x="9002" y="9180"/>
                  </a:lnTo>
                  <a:cubicBezTo>
                    <a:pt x="9085" y="9180"/>
                    <a:pt x="9169" y="9097"/>
                    <a:pt x="9169" y="9013"/>
                  </a:cubicBezTo>
                  <a:lnTo>
                    <a:pt x="9169" y="7311"/>
                  </a:lnTo>
                  <a:lnTo>
                    <a:pt x="10085" y="7311"/>
                  </a:lnTo>
                  <a:cubicBezTo>
                    <a:pt x="10145" y="7465"/>
                    <a:pt x="10300" y="7584"/>
                    <a:pt x="10478" y="7584"/>
                  </a:cubicBezTo>
                  <a:cubicBezTo>
                    <a:pt x="10716" y="7584"/>
                    <a:pt x="10895" y="7394"/>
                    <a:pt x="10895" y="7168"/>
                  </a:cubicBezTo>
                  <a:cubicBezTo>
                    <a:pt x="10895" y="6930"/>
                    <a:pt x="10693" y="6751"/>
                    <a:pt x="10478" y="6751"/>
                  </a:cubicBezTo>
                  <a:cubicBezTo>
                    <a:pt x="10300" y="6751"/>
                    <a:pt x="10145" y="6858"/>
                    <a:pt x="10085" y="7013"/>
                  </a:cubicBezTo>
                  <a:lnTo>
                    <a:pt x="9169" y="7013"/>
                  </a:lnTo>
                  <a:lnTo>
                    <a:pt x="9240" y="5644"/>
                  </a:lnTo>
                  <a:lnTo>
                    <a:pt x="10157" y="5644"/>
                  </a:lnTo>
                  <a:cubicBezTo>
                    <a:pt x="10216" y="5798"/>
                    <a:pt x="10371" y="5918"/>
                    <a:pt x="10550" y="5918"/>
                  </a:cubicBezTo>
                  <a:cubicBezTo>
                    <a:pt x="10788" y="5918"/>
                    <a:pt x="10966" y="5727"/>
                    <a:pt x="10966" y="5501"/>
                  </a:cubicBezTo>
                  <a:cubicBezTo>
                    <a:pt x="10966" y="5263"/>
                    <a:pt x="10776" y="5084"/>
                    <a:pt x="10550" y="5084"/>
                  </a:cubicBezTo>
                  <a:cubicBezTo>
                    <a:pt x="10371" y="5084"/>
                    <a:pt x="10216" y="5191"/>
                    <a:pt x="10157" y="5346"/>
                  </a:cubicBezTo>
                  <a:lnTo>
                    <a:pt x="9240" y="5346"/>
                  </a:lnTo>
                  <a:lnTo>
                    <a:pt x="9240" y="3905"/>
                  </a:lnTo>
                  <a:lnTo>
                    <a:pt x="10157" y="3905"/>
                  </a:lnTo>
                  <a:cubicBezTo>
                    <a:pt x="10216" y="4060"/>
                    <a:pt x="10371" y="4179"/>
                    <a:pt x="10550" y="4179"/>
                  </a:cubicBezTo>
                  <a:cubicBezTo>
                    <a:pt x="10788" y="4179"/>
                    <a:pt x="10966" y="3977"/>
                    <a:pt x="10966" y="3763"/>
                  </a:cubicBezTo>
                  <a:cubicBezTo>
                    <a:pt x="10966" y="3524"/>
                    <a:pt x="10776" y="3346"/>
                    <a:pt x="10550" y="3346"/>
                  </a:cubicBezTo>
                  <a:cubicBezTo>
                    <a:pt x="10371" y="3346"/>
                    <a:pt x="10216" y="3441"/>
                    <a:pt x="10157" y="3608"/>
                  </a:cubicBezTo>
                  <a:lnTo>
                    <a:pt x="9240" y="3608"/>
                  </a:lnTo>
                  <a:lnTo>
                    <a:pt x="9240" y="1917"/>
                  </a:lnTo>
                  <a:cubicBezTo>
                    <a:pt x="9240" y="1822"/>
                    <a:pt x="9169" y="1750"/>
                    <a:pt x="9073" y="1750"/>
                  </a:cubicBezTo>
                  <a:lnTo>
                    <a:pt x="8395" y="1750"/>
                  </a:lnTo>
                  <a:cubicBezTo>
                    <a:pt x="8299" y="1750"/>
                    <a:pt x="8228" y="1822"/>
                    <a:pt x="8228" y="1917"/>
                  </a:cubicBezTo>
                  <a:cubicBezTo>
                    <a:pt x="8228" y="2000"/>
                    <a:pt x="8299" y="2072"/>
                    <a:pt x="8395" y="2072"/>
                  </a:cubicBezTo>
                  <a:lnTo>
                    <a:pt x="8930" y="2072"/>
                  </a:lnTo>
                  <a:lnTo>
                    <a:pt x="8930" y="3763"/>
                  </a:lnTo>
                  <a:lnTo>
                    <a:pt x="8930" y="5489"/>
                  </a:lnTo>
                  <a:lnTo>
                    <a:pt x="8930" y="7215"/>
                  </a:lnTo>
                  <a:lnTo>
                    <a:pt x="8930" y="8906"/>
                  </a:lnTo>
                  <a:lnTo>
                    <a:pt x="2049" y="8906"/>
                  </a:lnTo>
                  <a:lnTo>
                    <a:pt x="2049" y="7215"/>
                  </a:lnTo>
                  <a:lnTo>
                    <a:pt x="2049" y="5489"/>
                  </a:lnTo>
                  <a:lnTo>
                    <a:pt x="2049" y="3763"/>
                  </a:lnTo>
                  <a:lnTo>
                    <a:pt x="2049" y="2060"/>
                  </a:lnTo>
                  <a:lnTo>
                    <a:pt x="7752" y="2060"/>
                  </a:lnTo>
                  <a:cubicBezTo>
                    <a:pt x="7835" y="2060"/>
                    <a:pt x="7918" y="1988"/>
                    <a:pt x="7918" y="1893"/>
                  </a:cubicBezTo>
                  <a:cubicBezTo>
                    <a:pt x="7918" y="1810"/>
                    <a:pt x="7835" y="1738"/>
                    <a:pt x="7752" y="1738"/>
                  </a:cubicBezTo>
                  <a:lnTo>
                    <a:pt x="7383" y="1738"/>
                  </a:lnTo>
                  <a:lnTo>
                    <a:pt x="7383" y="810"/>
                  </a:lnTo>
                  <a:cubicBezTo>
                    <a:pt x="7526" y="750"/>
                    <a:pt x="7645" y="595"/>
                    <a:pt x="7645" y="417"/>
                  </a:cubicBezTo>
                  <a:cubicBezTo>
                    <a:pt x="7645" y="179"/>
                    <a:pt x="7454" y="0"/>
                    <a:pt x="7228" y="0"/>
                  </a:cubicBezTo>
                  <a:cubicBezTo>
                    <a:pt x="6990" y="0"/>
                    <a:pt x="6811" y="203"/>
                    <a:pt x="6811" y="417"/>
                  </a:cubicBezTo>
                  <a:cubicBezTo>
                    <a:pt x="6811" y="595"/>
                    <a:pt x="6918" y="750"/>
                    <a:pt x="7085" y="810"/>
                  </a:cubicBezTo>
                  <a:lnTo>
                    <a:pt x="7085" y="1738"/>
                  </a:lnTo>
                  <a:lnTo>
                    <a:pt x="5668" y="1738"/>
                  </a:lnTo>
                  <a:lnTo>
                    <a:pt x="5668" y="810"/>
                  </a:lnTo>
                  <a:cubicBezTo>
                    <a:pt x="5811" y="750"/>
                    <a:pt x="5930" y="595"/>
                    <a:pt x="5930" y="417"/>
                  </a:cubicBezTo>
                  <a:cubicBezTo>
                    <a:pt x="5930" y="179"/>
                    <a:pt x="5740" y="0"/>
                    <a:pt x="5513" y="0"/>
                  </a:cubicBezTo>
                  <a:cubicBezTo>
                    <a:pt x="5275" y="0"/>
                    <a:pt x="5097" y="203"/>
                    <a:pt x="5097" y="417"/>
                  </a:cubicBezTo>
                  <a:cubicBezTo>
                    <a:pt x="5097" y="595"/>
                    <a:pt x="5204" y="750"/>
                    <a:pt x="5371" y="810"/>
                  </a:cubicBezTo>
                  <a:lnTo>
                    <a:pt x="5371" y="1738"/>
                  </a:lnTo>
                  <a:lnTo>
                    <a:pt x="3954" y="1738"/>
                  </a:lnTo>
                  <a:lnTo>
                    <a:pt x="3954" y="810"/>
                  </a:lnTo>
                  <a:cubicBezTo>
                    <a:pt x="4108" y="750"/>
                    <a:pt x="4216" y="595"/>
                    <a:pt x="4216" y="417"/>
                  </a:cubicBezTo>
                  <a:cubicBezTo>
                    <a:pt x="4216" y="179"/>
                    <a:pt x="4025" y="0"/>
                    <a:pt x="3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4" name="Google Shape;11694;p61"/>
            <p:cNvSpPr/>
            <p:nvPr/>
          </p:nvSpPr>
          <p:spPr>
            <a:xfrm>
              <a:off x="3599440" y="2956543"/>
              <a:ext cx="204494" cy="204843"/>
            </a:xfrm>
            <a:custGeom>
              <a:avLst/>
              <a:gdLst/>
              <a:ahLst/>
              <a:cxnLst/>
              <a:rect l="l" t="t" r="r" b="b"/>
              <a:pathLst>
                <a:path w="6455" h="6466" extrusionOk="0">
                  <a:moveTo>
                    <a:pt x="156" y="0"/>
                  </a:moveTo>
                  <a:cubicBezTo>
                    <a:pt x="72" y="0"/>
                    <a:pt x="1" y="84"/>
                    <a:pt x="1" y="167"/>
                  </a:cubicBezTo>
                  <a:lnTo>
                    <a:pt x="1" y="4644"/>
                  </a:lnTo>
                  <a:cubicBezTo>
                    <a:pt x="1" y="4739"/>
                    <a:pt x="72" y="4811"/>
                    <a:pt x="156" y="4811"/>
                  </a:cubicBezTo>
                  <a:cubicBezTo>
                    <a:pt x="251" y="4811"/>
                    <a:pt x="322" y="4739"/>
                    <a:pt x="322" y="4644"/>
                  </a:cubicBezTo>
                  <a:lnTo>
                    <a:pt x="322" y="334"/>
                  </a:lnTo>
                  <a:lnTo>
                    <a:pt x="6133" y="334"/>
                  </a:lnTo>
                  <a:lnTo>
                    <a:pt x="6133" y="6132"/>
                  </a:lnTo>
                  <a:lnTo>
                    <a:pt x="322" y="6132"/>
                  </a:lnTo>
                  <a:lnTo>
                    <a:pt x="322" y="5287"/>
                  </a:lnTo>
                  <a:cubicBezTo>
                    <a:pt x="322" y="5203"/>
                    <a:pt x="251" y="5120"/>
                    <a:pt x="156" y="5120"/>
                  </a:cubicBezTo>
                  <a:cubicBezTo>
                    <a:pt x="72" y="5120"/>
                    <a:pt x="1" y="5203"/>
                    <a:pt x="1" y="5287"/>
                  </a:cubicBezTo>
                  <a:lnTo>
                    <a:pt x="1" y="6299"/>
                  </a:lnTo>
                  <a:cubicBezTo>
                    <a:pt x="1" y="6394"/>
                    <a:pt x="72" y="6466"/>
                    <a:pt x="156" y="6466"/>
                  </a:cubicBezTo>
                  <a:lnTo>
                    <a:pt x="6287" y="6466"/>
                  </a:lnTo>
                  <a:cubicBezTo>
                    <a:pt x="6383" y="6466"/>
                    <a:pt x="6454" y="6394"/>
                    <a:pt x="6454" y="6299"/>
                  </a:cubicBezTo>
                  <a:lnTo>
                    <a:pt x="6454" y="167"/>
                  </a:lnTo>
                  <a:cubicBezTo>
                    <a:pt x="6442" y="84"/>
                    <a:pt x="6383" y="0"/>
                    <a:pt x="6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5" name="Google Shape;11695;p61"/>
            <p:cNvSpPr/>
            <p:nvPr/>
          </p:nvSpPr>
          <p:spPr>
            <a:xfrm>
              <a:off x="3661691" y="3018763"/>
              <a:ext cx="79992" cy="80372"/>
            </a:xfrm>
            <a:custGeom>
              <a:avLst/>
              <a:gdLst/>
              <a:ahLst/>
              <a:cxnLst/>
              <a:rect l="l" t="t" r="r" b="b"/>
              <a:pathLst>
                <a:path w="2525" h="2537" extrusionOk="0">
                  <a:moveTo>
                    <a:pt x="155" y="1"/>
                  </a:moveTo>
                  <a:cubicBezTo>
                    <a:pt x="72" y="1"/>
                    <a:pt x="1" y="84"/>
                    <a:pt x="1" y="168"/>
                  </a:cubicBezTo>
                  <a:lnTo>
                    <a:pt x="1" y="2370"/>
                  </a:lnTo>
                  <a:cubicBezTo>
                    <a:pt x="1" y="2466"/>
                    <a:pt x="72" y="2537"/>
                    <a:pt x="155" y="2537"/>
                  </a:cubicBezTo>
                  <a:lnTo>
                    <a:pt x="1013" y="2537"/>
                  </a:lnTo>
                  <a:cubicBezTo>
                    <a:pt x="1096" y="2537"/>
                    <a:pt x="1167" y="2466"/>
                    <a:pt x="1167" y="2370"/>
                  </a:cubicBezTo>
                  <a:cubicBezTo>
                    <a:pt x="1167" y="2287"/>
                    <a:pt x="1096" y="2204"/>
                    <a:pt x="1013" y="2204"/>
                  </a:cubicBezTo>
                  <a:lnTo>
                    <a:pt x="322" y="2204"/>
                  </a:lnTo>
                  <a:lnTo>
                    <a:pt x="322" y="322"/>
                  </a:lnTo>
                  <a:lnTo>
                    <a:pt x="2215" y="322"/>
                  </a:lnTo>
                  <a:lnTo>
                    <a:pt x="2215" y="2204"/>
                  </a:lnTo>
                  <a:lnTo>
                    <a:pt x="1632" y="2204"/>
                  </a:lnTo>
                  <a:cubicBezTo>
                    <a:pt x="1548" y="2204"/>
                    <a:pt x="1465" y="2287"/>
                    <a:pt x="1465" y="2370"/>
                  </a:cubicBezTo>
                  <a:cubicBezTo>
                    <a:pt x="1465" y="2466"/>
                    <a:pt x="1548" y="2537"/>
                    <a:pt x="1632" y="2537"/>
                  </a:cubicBezTo>
                  <a:lnTo>
                    <a:pt x="2346" y="2537"/>
                  </a:lnTo>
                  <a:cubicBezTo>
                    <a:pt x="2441" y="2537"/>
                    <a:pt x="2513" y="2466"/>
                    <a:pt x="2513" y="2370"/>
                  </a:cubicBezTo>
                  <a:lnTo>
                    <a:pt x="2513" y="168"/>
                  </a:lnTo>
                  <a:cubicBezTo>
                    <a:pt x="2525" y="84"/>
                    <a:pt x="2453" y="1"/>
                    <a:pt x="2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6" name="Google Shape;11696;p61"/>
            <p:cNvSpPr/>
            <p:nvPr/>
          </p:nvSpPr>
          <p:spPr>
            <a:xfrm>
              <a:off x="3625101" y="2982552"/>
              <a:ext cx="18501" cy="18533"/>
            </a:xfrm>
            <a:custGeom>
              <a:avLst/>
              <a:gdLst/>
              <a:ahLst/>
              <a:cxnLst/>
              <a:rect l="l" t="t" r="r" b="b"/>
              <a:pathLst>
                <a:path w="584" h="585" extrusionOk="0">
                  <a:moveTo>
                    <a:pt x="167" y="1"/>
                  </a:moveTo>
                  <a:cubicBezTo>
                    <a:pt x="84" y="1"/>
                    <a:pt x="1" y="72"/>
                    <a:pt x="1" y="168"/>
                  </a:cubicBezTo>
                  <a:lnTo>
                    <a:pt x="1" y="418"/>
                  </a:lnTo>
                  <a:cubicBezTo>
                    <a:pt x="1" y="513"/>
                    <a:pt x="84"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7" name="Google Shape;11697;p61"/>
            <p:cNvSpPr/>
            <p:nvPr/>
          </p:nvSpPr>
          <p:spPr>
            <a:xfrm>
              <a:off x="3651522" y="2982552"/>
              <a:ext cx="18881" cy="18533"/>
            </a:xfrm>
            <a:custGeom>
              <a:avLst/>
              <a:gdLst/>
              <a:ahLst/>
              <a:cxnLst/>
              <a:rect l="l" t="t" r="r" b="b"/>
              <a:pathLst>
                <a:path w="596" h="585" extrusionOk="0">
                  <a:moveTo>
                    <a:pt x="167" y="1"/>
                  </a:moveTo>
                  <a:cubicBezTo>
                    <a:pt x="83" y="1"/>
                    <a:pt x="0" y="72"/>
                    <a:pt x="0" y="168"/>
                  </a:cubicBezTo>
                  <a:lnTo>
                    <a:pt x="0" y="418"/>
                  </a:lnTo>
                  <a:cubicBezTo>
                    <a:pt x="0" y="513"/>
                    <a:pt x="83" y="584"/>
                    <a:pt x="167" y="584"/>
                  </a:cubicBezTo>
                  <a:lnTo>
                    <a:pt x="417" y="584"/>
                  </a:lnTo>
                  <a:cubicBezTo>
                    <a:pt x="512" y="584"/>
                    <a:pt x="583" y="513"/>
                    <a:pt x="583" y="418"/>
                  </a:cubicBezTo>
                  <a:lnTo>
                    <a:pt x="583" y="168"/>
                  </a:lnTo>
                  <a:cubicBezTo>
                    <a:pt x="595" y="72"/>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8" name="Google Shape;11698;p61"/>
            <p:cNvSpPr/>
            <p:nvPr/>
          </p:nvSpPr>
          <p:spPr>
            <a:xfrm>
              <a:off x="3679052" y="2982552"/>
              <a:ext cx="18501" cy="18533"/>
            </a:xfrm>
            <a:custGeom>
              <a:avLst/>
              <a:gdLst/>
              <a:ahLst/>
              <a:cxnLst/>
              <a:rect l="l" t="t" r="r" b="b"/>
              <a:pathLst>
                <a:path w="584" h="585" extrusionOk="0">
                  <a:moveTo>
                    <a:pt x="167" y="1"/>
                  </a:moveTo>
                  <a:cubicBezTo>
                    <a:pt x="72" y="1"/>
                    <a:pt x="0" y="72"/>
                    <a:pt x="0" y="168"/>
                  </a:cubicBezTo>
                  <a:lnTo>
                    <a:pt x="0" y="418"/>
                  </a:lnTo>
                  <a:cubicBezTo>
                    <a:pt x="0" y="513"/>
                    <a:pt x="72" y="584"/>
                    <a:pt x="167" y="584"/>
                  </a:cubicBezTo>
                  <a:lnTo>
                    <a:pt x="417" y="584"/>
                  </a:lnTo>
                  <a:cubicBezTo>
                    <a:pt x="500" y="584"/>
                    <a:pt x="584" y="513"/>
                    <a:pt x="584" y="418"/>
                  </a:cubicBezTo>
                  <a:lnTo>
                    <a:pt x="584" y="168"/>
                  </a:lnTo>
                  <a:cubicBezTo>
                    <a:pt x="584"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9" name="Google Shape;11699;p61"/>
            <p:cNvSpPr/>
            <p:nvPr/>
          </p:nvSpPr>
          <p:spPr>
            <a:xfrm>
              <a:off x="3705822" y="2982552"/>
              <a:ext cx="18501" cy="18533"/>
            </a:xfrm>
            <a:custGeom>
              <a:avLst/>
              <a:gdLst/>
              <a:ahLst/>
              <a:cxnLst/>
              <a:rect l="l" t="t" r="r" b="b"/>
              <a:pathLst>
                <a:path w="584" h="585" extrusionOk="0">
                  <a:moveTo>
                    <a:pt x="167" y="1"/>
                  </a:moveTo>
                  <a:cubicBezTo>
                    <a:pt x="72" y="1"/>
                    <a:pt x="1" y="72"/>
                    <a:pt x="1" y="168"/>
                  </a:cubicBezTo>
                  <a:lnTo>
                    <a:pt x="1" y="418"/>
                  </a:lnTo>
                  <a:cubicBezTo>
                    <a:pt x="1" y="513"/>
                    <a:pt x="72" y="584"/>
                    <a:pt x="167" y="584"/>
                  </a:cubicBezTo>
                  <a:lnTo>
                    <a:pt x="417" y="584"/>
                  </a:lnTo>
                  <a:cubicBezTo>
                    <a:pt x="513" y="584"/>
                    <a:pt x="584" y="513"/>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0" name="Google Shape;11700;p61"/>
            <p:cNvSpPr/>
            <p:nvPr/>
          </p:nvSpPr>
          <p:spPr>
            <a:xfrm>
              <a:off x="3732591" y="2982552"/>
              <a:ext cx="18533" cy="18533"/>
            </a:xfrm>
            <a:custGeom>
              <a:avLst/>
              <a:gdLst/>
              <a:ahLst/>
              <a:cxnLst/>
              <a:rect l="l" t="t" r="r" b="b"/>
              <a:pathLst>
                <a:path w="585" h="585" extrusionOk="0">
                  <a:moveTo>
                    <a:pt x="168" y="1"/>
                  </a:moveTo>
                  <a:cubicBezTo>
                    <a:pt x="72" y="1"/>
                    <a:pt x="1" y="72"/>
                    <a:pt x="1" y="168"/>
                  </a:cubicBezTo>
                  <a:lnTo>
                    <a:pt x="1" y="418"/>
                  </a:lnTo>
                  <a:cubicBezTo>
                    <a:pt x="1" y="513"/>
                    <a:pt x="72" y="584"/>
                    <a:pt x="168" y="584"/>
                  </a:cubicBezTo>
                  <a:lnTo>
                    <a:pt x="418" y="584"/>
                  </a:lnTo>
                  <a:cubicBezTo>
                    <a:pt x="513" y="584"/>
                    <a:pt x="584" y="513"/>
                    <a:pt x="584" y="418"/>
                  </a:cubicBezTo>
                  <a:lnTo>
                    <a:pt x="584" y="168"/>
                  </a:lnTo>
                  <a:cubicBezTo>
                    <a:pt x="584" y="72"/>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1" name="Google Shape;11701;p61"/>
            <p:cNvSpPr/>
            <p:nvPr/>
          </p:nvSpPr>
          <p:spPr>
            <a:xfrm>
              <a:off x="3759773" y="2982552"/>
              <a:ext cx="18121" cy="18533"/>
            </a:xfrm>
            <a:custGeom>
              <a:avLst/>
              <a:gdLst/>
              <a:ahLst/>
              <a:cxnLst/>
              <a:rect l="l" t="t" r="r" b="b"/>
              <a:pathLst>
                <a:path w="572" h="585" extrusionOk="0">
                  <a:moveTo>
                    <a:pt x="155" y="1"/>
                  </a:moveTo>
                  <a:cubicBezTo>
                    <a:pt x="72" y="1"/>
                    <a:pt x="0" y="72"/>
                    <a:pt x="0" y="168"/>
                  </a:cubicBezTo>
                  <a:lnTo>
                    <a:pt x="0" y="418"/>
                  </a:lnTo>
                  <a:cubicBezTo>
                    <a:pt x="0" y="513"/>
                    <a:pt x="72" y="584"/>
                    <a:pt x="155" y="584"/>
                  </a:cubicBezTo>
                  <a:lnTo>
                    <a:pt x="417" y="584"/>
                  </a:lnTo>
                  <a:cubicBezTo>
                    <a:pt x="500" y="584"/>
                    <a:pt x="572" y="513"/>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2" name="Google Shape;11702;p61"/>
            <p:cNvSpPr/>
            <p:nvPr/>
          </p:nvSpPr>
          <p:spPr>
            <a:xfrm>
              <a:off x="3625101" y="3116844"/>
              <a:ext cx="18501" cy="18501"/>
            </a:xfrm>
            <a:custGeom>
              <a:avLst/>
              <a:gdLst/>
              <a:ahLst/>
              <a:cxnLst/>
              <a:rect l="l" t="t" r="r" b="b"/>
              <a:pathLst>
                <a:path w="584" h="584" extrusionOk="0">
                  <a:moveTo>
                    <a:pt x="167" y="1"/>
                  </a:moveTo>
                  <a:cubicBezTo>
                    <a:pt x="84" y="1"/>
                    <a:pt x="1" y="84"/>
                    <a:pt x="1" y="167"/>
                  </a:cubicBezTo>
                  <a:lnTo>
                    <a:pt x="1" y="417"/>
                  </a:lnTo>
                  <a:cubicBezTo>
                    <a:pt x="1" y="513"/>
                    <a:pt x="84"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3" name="Google Shape;11703;p61"/>
            <p:cNvSpPr/>
            <p:nvPr/>
          </p:nvSpPr>
          <p:spPr>
            <a:xfrm>
              <a:off x="3651522" y="3116844"/>
              <a:ext cx="18881" cy="18501"/>
            </a:xfrm>
            <a:custGeom>
              <a:avLst/>
              <a:gdLst/>
              <a:ahLst/>
              <a:cxnLst/>
              <a:rect l="l" t="t" r="r" b="b"/>
              <a:pathLst>
                <a:path w="596" h="584" extrusionOk="0">
                  <a:moveTo>
                    <a:pt x="167" y="1"/>
                  </a:moveTo>
                  <a:cubicBezTo>
                    <a:pt x="83" y="1"/>
                    <a:pt x="0" y="84"/>
                    <a:pt x="0" y="167"/>
                  </a:cubicBezTo>
                  <a:lnTo>
                    <a:pt x="0" y="417"/>
                  </a:lnTo>
                  <a:cubicBezTo>
                    <a:pt x="0" y="513"/>
                    <a:pt x="83" y="584"/>
                    <a:pt x="167" y="584"/>
                  </a:cubicBezTo>
                  <a:lnTo>
                    <a:pt x="417" y="584"/>
                  </a:lnTo>
                  <a:cubicBezTo>
                    <a:pt x="512" y="584"/>
                    <a:pt x="583" y="513"/>
                    <a:pt x="583" y="417"/>
                  </a:cubicBezTo>
                  <a:lnTo>
                    <a:pt x="583" y="167"/>
                  </a:lnTo>
                  <a:cubicBezTo>
                    <a:pt x="595" y="84"/>
                    <a:pt x="524"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4" name="Google Shape;11704;p61"/>
            <p:cNvSpPr/>
            <p:nvPr/>
          </p:nvSpPr>
          <p:spPr>
            <a:xfrm>
              <a:off x="3679052" y="3116844"/>
              <a:ext cx="18501" cy="18501"/>
            </a:xfrm>
            <a:custGeom>
              <a:avLst/>
              <a:gdLst/>
              <a:ahLst/>
              <a:cxnLst/>
              <a:rect l="l" t="t" r="r" b="b"/>
              <a:pathLst>
                <a:path w="584" h="584" extrusionOk="0">
                  <a:moveTo>
                    <a:pt x="167" y="1"/>
                  </a:moveTo>
                  <a:cubicBezTo>
                    <a:pt x="72" y="1"/>
                    <a:pt x="0" y="84"/>
                    <a:pt x="0" y="167"/>
                  </a:cubicBezTo>
                  <a:lnTo>
                    <a:pt x="0" y="417"/>
                  </a:lnTo>
                  <a:cubicBezTo>
                    <a:pt x="0" y="513"/>
                    <a:pt x="72" y="584"/>
                    <a:pt x="167" y="584"/>
                  </a:cubicBezTo>
                  <a:lnTo>
                    <a:pt x="417" y="584"/>
                  </a:lnTo>
                  <a:cubicBezTo>
                    <a:pt x="500" y="584"/>
                    <a:pt x="584" y="513"/>
                    <a:pt x="584" y="417"/>
                  </a:cubicBezTo>
                  <a:lnTo>
                    <a:pt x="584" y="167"/>
                  </a:lnTo>
                  <a:cubicBezTo>
                    <a:pt x="584"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5" name="Google Shape;11705;p61"/>
            <p:cNvSpPr/>
            <p:nvPr/>
          </p:nvSpPr>
          <p:spPr>
            <a:xfrm>
              <a:off x="3705822" y="3116844"/>
              <a:ext cx="18501" cy="18501"/>
            </a:xfrm>
            <a:custGeom>
              <a:avLst/>
              <a:gdLst/>
              <a:ahLst/>
              <a:cxnLst/>
              <a:rect l="l" t="t" r="r" b="b"/>
              <a:pathLst>
                <a:path w="584" h="584" extrusionOk="0">
                  <a:moveTo>
                    <a:pt x="167" y="1"/>
                  </a:moveTo>
                  <a:cubicBezTo>
                    <a:pt x="72" y="1"/>
                    <a:pt x="1" y="84"/>
                    <a:pt x="1" y="167"/>
                  </a:cubicBezTo>
                  <a:lnTo>
                    <a:pt x="1" y="417"/>
                  </a:lnTo>
                  <a:cubicBezTo>
                    <a:pt x="1" y="513"/>
                    <a:pt x="72" y="584"/>
                    <a:pt x="167" y="584"/>
                  </a:cubicBezTo>
                  <a:lnTo>
                    <a:pt x="417" y="584"/>
                  </a:lnTo>
                  <a:cubicBezTo>
                    <a:pt x="513" y="584"/>
                    <a:pt x="584" y="513"/>
                    <a:pt x="584" y="417"/>
                  </a:cubicBezTo>
                  <a:lnTo>
                    <a:pt x="584" y="167"/>
                  </a:lnTo>
                  <a:cubicBezTo>
                    <a:pt x="584" y="84"/>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6" name="Google Shape;11706;p61"/>
            <p:cNvSpPr/>
            <p:nvPr/>
          </p:nvSpPr>
          <p:spPr>
            <a:xfrm>
              <a:off x="3732591" y="3116844"/>
              <a:ext cx="18533" cy="18501"/>
            </a:xfrm>
            <a:custGeom>
              <a:avLst/>
              <a:gdLst/>
              <a:ahLst/>
              <a:cxnLst/>
              <a:rect l="l" t="t" r="r" b="b"/>
              <a:pathLst>
                <a:path w="585" h="584" extrusionOk="0">
                  <a:moveTo>
                    <a:pt x="168" y="1"/>
                  </a:moveTo>
                  <a:cubicBezTo>
                    <a:pt x="72" y="1"/>
                    <a:pt x="1" y="84"/>
                    <a:pt x="1" y="167"/>
                  </a:cubicBezTo>
                  <a:lnTo>
                    <a:pt x="1" y="417"/>
                  </a:lnTo>
                  <a:cubicBezTo>
                    <a:pt x="1" y="513"/>
                    <a:pt x="72" y="584"/>
                    <a:pt x="168" y="584"/>
                  </a:cubicBezTo>
                  <a:lnTo>
                    <a:pt x="418" y="584"/>
                  </a:lnTo>
                  <a:cubicBezTo>
                    <a:pt x="513" y="584"/>
                    <a:pt x="584" y="513"/>
                    <a:pt x="584" y="417"/>
                  </a:cubicBezTo>
                  <a:lnTo>
                    <a:pt x="584" y="167"/>
                  </a:lnTo>
                  <a:cubicBezTo>
                    <a:pt x="584" y="84"/>
                    <a:pt x="513"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7" name="Google Shape;11707;p61"/>
            <p:cNvSpPr/>
            <p:nvPr/>
          </p:nvSpPr>
          <p:spPr>
            <a:xfrm>
              <a:off x="3759773" y="3116844"/>
              <a:ext cx="18121" cy="18501"/>
            </a:xfrm>
            <a:custGeom>
              <a:avLst/>
              <a:gdLst/>
              <a:ahLst/>
              <a:cxnLst/>
              <a:rect l="l" t="t" r="r" b="b"/>
              <a:pathLst>
                <a:path w="572" h="584" extrusionOk="0">
                  <a:moveTo>
                    <a:pt x="155" y="1"/>
                  </a:moveTo>
                  <a:cubicBezTo>
                    <a:pt x="72" y="1"/>
                    <a:pt x="0" y="84"/>
                    <a:pt x="0" y="167"/>
                  </a:cubicBezTo>
                  <a:lnTo>
                    <a:pt x="0" y="417"/>
                  </a:lnTo>
                  <a:cubicBezTo>
                    <a:pt x="0" y="513"/>
                    <a:pt x="72" y="584"/>
                    <a:pt x="155" y="584"/>
                  </a:cubicBezTo>
                  <a:lnTo>
                    <a:pt x="417" y="584"/>
                  </a:lnTo>
                  <a:cubicBezTo>
                    <a:pt x="500" y="584"/>
                    <a:pt x="572" y="513"/>
                    <a:pt x="572" y="417"/>
                  </a:cubicBezTo>
                  <a:lnTo>
                    <a:pt x="572" y="167"/>
                  </a:lnTo>
                  <a:cubicBezTo>
                    <a:pt x="572" y="84"/>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8" name="Google Shape;11708;p61"/>
            <p:cNvSpPr/>
            <p:nvPr/>
          </p:nvSpPr>
          <p:spPr>
            <a:xfrm>
              <a:off x="3625101" y="3009354"/>
              <a:ext cx="18501" cy="18501"/>
            </a:xfrm>
            <a:custGeom>
              <a:avLst/>
              <a:gdLst/>
              <a:ahLst/>
              <a:cxnLst/>
              <a:rect l="l" t="t" r="r" b="b"/>
              <a:pathLst>
                <a:path w="584" h="584" extrusionOk="0">
                  <a:moveTo>
                    <a:pt x="167" y="0"/>
                  </a:moveTo>
                  <a:cubicBezTo>
                    <a:pt x="84" y="0"/>
                    <a:pt x="1" y="84"/>
                    <a:pt x="1" y="167"/>
                  </a:cubicBezTo>
                  <a:lnTo>
                    <a:pt x="1" y="417"/>
                  </a:lnTo>
                  <a:cubicBezTo>
                    <a:pt x="1" y="512"/>
                    <a:pt x="84" y="584"/>
                    <a:pt x="167" y="584"/>
                  </a:cubicBezTo>
                  <a:lnTo>
                    <a:pt x="417" y="584"/>
                  </a:lnTo>
                  <a:cubicBezTo>
                    <a:pt x="513" y="584"/>
                    <a:pt x="584" y="512"/>
                    <a:pt x="584" y="417"/>
                  </a:cubicBezTo>
                  <a:lnTo>
                    <a:pt x="584" y="167"/>
                  </a:lnTo>
                  <a:cubicBezTo>
                    <a:pt x="584" y="84"/>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9" name="Google Shape;11709;p61"/>
            <p:cNvSpPr/>
            <p:nvPr/>
          </p:nvSpPr>
          <p:spPr>
            <a:xfrm>
              <a:off x="3625101" y="3036503"/>
              <a:ext cx="18501" cy="18153"/>
            </a:xfrm>
            <a:custGeom>
              <a:avLst/>
              <a:gdLst/>
              <a:ahLst/>
              <a:cxnLst/>
              <a:rect l="l" t="t" r="r" b="b"/>
              <a:pathLst>
                <a:path w="584" h="573" extrusionOk="0">
                  <a:moveTo>
                    <a:pt x="167" y="1"/>
                  </a:moveTo>
                  <a:cubicBezTo>
                    <a:pt x="84" y="1"/>
                    <a:pt x="1" y="72"/>
                    <a:pt x="1" y="155"/>
                  </a:cubicBezTo>
                  <a:lnTo>
                    <a:pt x="1" y="417"/>
                  </a:lnTo>
                  <a:cubicBezTo>
                    <a:pt x="1" y="501"/>
                    <a:pt x="84" y="572"/>
                    <a:pt x="167" y="572"/>
                  </a:cubicBezTo>
                  <a:lnTo>
                    <a:pt x="417" y="572"/>
                  </a:lnTo>
                  <a:cubicBezTo>
                    <a:pt x="513" y="572"/>
                    <a:pt x="584" y="501"/>
                    <a:pt x="584" y="417"/>
                  </a:cubicBezTo>
                  <a:lnTo>
                    <a:pt x="584" y="155"/>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0" name="Google Shape;11710;p61"/>
            <p:cNvSpPr/>
            <p:nvPr/>
          </p:nvSpPr>
          <p:spPr>
            <a:xfrm>
              <a:off x="3625101" y="3063273"/>
              <a:ext cx="18501" cy="18533"/>
            </a:xfrm>
            <a:custGeom>
              <a:avLst/>
              <a:gdLst/>
              <a:ahLst/>
              <a:cxnLst/>
              <a:rect l="l" t="t" r="r" b="b"/>
              <a:pathLst>
                <a:path w="584" h="585" extrusionOk="0">
                  <a:moveTo>
                    <a:pt x="167" y="1"/>
                  </a:moveTo>
                  <a:cubicBezTo>
                    <a:pt x="84" y="1"/>
                    <a:pt x="1" y="72"/>
                    <a:pt x="1" y="168"/>
                  </a:cubicBezTo>
                  <a:lnTo>
                    <a:pt x="1" y="418"/>
                  </a:lnTo>
                  <a:cubicBezTo>
                    <a:pt x="1" y="501"/>
                    <a:pt x="84" y="584"/>
                    <a:pt x="167" y="584"/>
                  </a:cubicBezTo>
                  <a:lnTo>
                    <a:pt x="417" y="584"/>
                  </a:lnTo>
                  <a:cubicBezTo>
                    <a:pt x="513" y="584"/>
                    <a:pt x="584" y="501"/>
                    <a:pt x="584" y="418"/>
                  </a:cubicBezTo>
                  <a:lnTo>
                    <a:pt x="584" y="168"/>
                  </a:lnTo>
                  <a:cubicBezTo>
                    <a:pt x="584" y="72"/>
                    <a:pt x="513"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1" name="Google Shape;11711;p61"/>
            <p:cNvSpPr/>
            <p:nvPr/>
          </p:nvSpPr>
          <p:spPr>
            <a:xfrm>
              <a:off x="3625101" y="3090074"/>
              <a:ext cx="18501" cy="18501"/>
            </a:xfrm>
            <a:custGeom>
              <a:avLst/>
              <a:gdLst/>
              <a:ahLst/>
              <a:cxnLst/>
              <a:rect l="l" t="t" r="r" b="b"/>
              <a:pathLst>
                <a:path w="584" h="584" extrusionOk="0">
                  <a:moveTo>
                    <a:pt x="167" y="0"/>
                  </a:moveTo>
                  <a:cubicBezTo>
                    <a:pt x="84" y="0"/>
                    <a:pt x="1" y="72"/>
                    <a:pt x="1" y="167"/>
                  </a:cubicBezTo>
                  <a:lnTo>
                    <a:pt x="1" y="417"/>
                  </a:lnTo>
                  <a:cubicBezTo>
                    <a:pt x="1" y="512"/>
                    <a:pt x="84" y="584"/>
                    <a:pt x="167" y="584"/>
                  </a:cubicBezTo>
                  <a:lnTo>
                    <a:pt x="417" y="584"/>
                  </a:lnTo>
                  <a:cubicBezTo>
                    <a:pt x="513" y="584"/>
                    <a:pt x="584" y="512"/>
                    <a:pt x="584" y="417"/>
                  </a:cubicBezTo>
                  <a:lnTo>
                    <a:pt x="584" y="167"/>
                  </a:lnTo>
                  <a:cubicBezTo>
                    <a:pt x="584" y="72"/>
                    <a:pt x="513"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2" name="Google Shape;11712;p61"/>
            <p:cNvSpPr/>
            <p:nvPr/>
          </p:nvSpPr>
          <p:spPr>
            <a:xfrm>
              <a:off x="3759773" y="3009354"/>
              <a:ext cx="18121" cy="18501"/>
            </a:xfrm>
            <a:custGeom>
              <a:avLst/>
              <a:gdLst/>
              <a:ahLst/>
              <a:cxnLst/>
              <a:rect l="l" t="t" r="r" b="b"/>
              <a:pathLst>
                <a:path w="572" h="584" extrusionOk="0">
                  <a:moveTo>
                    <a:pt x="155" y="0"/>
                  </a:moveTo>
                  <a:cubicBezTo>
                    <a:pt x="72" y="0"/>
                    <a:pt x="0" y="84"/>
                    <a:pt x="0" y="167"/>
                  </a:cubicBezTo>
                  <a:lnTo>
                    <a:pt x="0" y="417"/>
                  </a:lnTo>
                  <a:cubicBezTo>
                    <a:pt x="0" y="512"/>
                    <a:pt x="72" y="584"/>
                    <a:pt x="155" y="584"/>
                  </a:cubicBezTo>
                  <a:lnTo>
                    <a:pt x="417" y="584"/>
                  </a:lnTo>
                  <a:cubicBezTo>
                    <a:pt x="500" y="584"/>
                    <a:pt x="572" y="512"/>
                    <a:pt x="572" y="417"/>
                  </a:cubicBezTo>
                  <a:lnTo>
                    <a:pt x="572" y="167"/>
                  </a:lnTo>
                  <a:cubicBezTo>
                    <a:pt x="572" y="84"/>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3" name="Google Shape;11713;p61"/>
            <p:cNvSpPr/>
            <p:nvPr/>
          </p:nvSpPr>
          <p:spPr>
            <a:xfrm>
              <a:off x="3759773" y="3036503"/>
              <a:ext cx="18121" cy="18153"/>
            </a:xfrm>
            <a:custGeom>
              <a:avLst/>
              <a:gdLst/>
              <a:ahLst/>
              <a:cxnLst/>
              <a:rect l="l" t="t" r="r" b="b"/>
              <a:pathLst>
                <a:path w="572" h="573" extrusionOk="0">
                  <a:moveTo>
                    <a:pt x="155" y="1"/>
                  </a:moveTo>
                  <a:cubicBezTo>
                    <a:pt x="72" y="1"/>
                    <a:pt x="0" y="72"/>
                    <a:pt x="0" y="155"/>
                  </a:cubicBezTo>
                  <a:lnTo>
                    <a:pt x="0" y="417"/>
                  </a:lnTo>
                  <a:cubicBezTo>
                    <a:pt x="0" y="501"/>
                    <a:pt x="72" y="572"/>
                    <a:pt x="155" y="572"/>
                  </a:cubicBezTo>
                  <a:lnTo>
                    <a:pt x="417" y="572"/>
                  </a:lnTo>
                  <a:cubicBezTo>
                    <a:pt x="500" y="572"/>
                    <a:pt x="572" y="501"/>
                    <a:pt x="572" y="417"/>
                  </a:cubicBezTo>
                  <a:lnTo>
                    <a:pt x="572" y="155"/>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4" name="Google Shape;11714;p61"/>
            <p:cNvSpPr/>
            <p:nvPr/>
          </p:nvSpPr>
          <p:spPr>
            <a:xfrm>
              <a:off x="3759773" y="3063273"/>
              <a:ext cx="18121" cy="18533"/>
            </a:xfrm>
            <a:custGeom>
              <a:avLst/>
              <a:gdLst/>
              <a:ahLst/>
              <a:cxnLst/>
              <a:rect l="l" t="t" r="r" b="b"/>
              <a:pathLst>
                <a:path w="572" h="585" extrusionOk="0">
                  <a:moveTo>
                    <a:pt x="155" y="1"/>
                  </a:moveTo>
                  <a:cubicBezTo>
                    <a:pt x="72" y="1"/>
                    <a:pt x="0" y="72"/>
                    <a:pt x="0" y="168"/>
                  </a:cubicBezTo>
                  <a:lnTo>
                    <a:pt x="0" y="418"/>
                  </a:lnTo>
                  <a:cubicBezTo>
                    <a:pt x="0" y="501"/>
                    <a:pt x="72" y="584"/>
                    <a:pt x="155" y="584"/>
                  </a:cubicBezTo>
                  <a:lnTo>
                    <a:pt x="417" y="584"/>
                  </a:lnTo>
                  <a:cubicBezTo>
                    <a:pt x="500" y="584"/>
                    <a:pt x="572" y="501"/>
                    <a:pt x="572" y="418"/>
                  </a:cubicBezTo>
                  <a:lnTo>
                    <a:pt x="572" y="168"/>
                  </a:lnTo>
                  <a:cubicBezTo>
                    <a:pt x="572" y="72"/>
                    <a:pt x="500"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5" name="Google Shape;11715;p61"/>
            <p:cNvSpPr/>
            <p:nvPr/>
          </p:nvSpPr>
          <p:spPr>
            <a:xfrm>
              <a:off x="3759773" y="3090074"/>
              <a:ext cx="18121" cy="18501"/>
            </a:xfrm>
            <a:custGeom>
              <a:avLst/>
              <a:gdLst/>
              <a:ahLst/>
              <a:cxnLst/>
              <a:rect l="l" t="t" r="r" b="b"/>
              <a:pathLst>
                <a:path w="572" h="584" extrusionOk="0">
                  <a:moveTo>
                    <a:pt x="155" y="0"/>
                  </a:moveTo>
                  <a:cubicBezTo>
                    <a:pt x="72" y="0"/>
                    <a:pt x="0" y="72"/>
                    <a:pt x="0" y="167"/>
                  </a:cubicBezTo>
                  <a:lnTo>
                    <a:pt x="0" y="417"/>
                  </a:lnTo>
                  <a:cubicBezTo>
                    <a:pt x="0" y="512"/>
                    <a:pt x="72" y="584"/>
                    <a:pt x="155" y="584"/>
                  </a:cubicBezTo>
                  <a:lnTo>
                    <a:pt x="417" y="584"/>
                  </a:lnTo>
                  <a:cubicBezTo>
                    <a:pt x="500" y="584"/>
                    <a:pt x="572" y="512"/>
                    <a:pt x="572" y="417"/>
                  </a:cubicBezTo>
                  <a:lnTo>
                    <a:pt x="572" y="167"/>
                  </a:lnTo>
                  <a:cubicBezTo>
                    <a:pt x="572" y="72"/>
                    <a:pt x="500"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16" name="Google Shape;11716;p61"/>
          <p:cNvGrpSpPr/>
          <p:nvPr/>
        </p:nvGrpSpPr>
        <p:grpSpPr>
          <a:xfrm>
            <a:off x="2239671" y="2884503"/>
            <a:ext cx="218053" cy="348543"/>
            <a:chOff x="2239671" y="2884503"/>
            <a:chExt cx="218053" cy="348543"/>
          </a:xfrm>
        </p:grpSpPr>
        <p:sp>
          <p:nvSpPr>
            <p:cNvPr id="11717" name="Google Shape;11717;p61"/>
            <p:cNvSpPr/>
            <p:nvPr/>
          </p:nvSpPr>
          <p:spPr>
            <a:xfrm>
              <a:off x="2341903" y="2884503"/>
              <a:ext cx="115822" cy="268963"/>
            </a:xfrm>
            <a:custGeom>
              <a:avLst/>
              <a:gdLst/>
              <a:ahLst/>
              <a:cxnLst/>
              <a:rect l="l" t="t" r="r" b="b"/>
              <a:pathLst>
                <a:path w="3656" h="8490" extrusionOk="0">
                  <a:moveTo>
                    <a:pt x="3144" y="2143"/>
                  </a:moveTo>
                  <a:lnTo>
                    <a:pt x="3144" y="2655"/>
                  </a:lnTo>
                  <a:lnTo>
                    <a:pt x="489" y="2655"/>
                  </a:lnTo>
                  <a:lnTo>
                    <a:pt x="489" y="2143"/>
                  </a:lnTo>
                  <a:close/>
                  <a:moveTo>
                    <a:pt x="1679" y="4882"/>
                  </a:moveTo>
                  <a:cubicBezTo>
                    <a:pt x="1810" y="4882"/>
                    <a:pt x="1917" y="4989"/>
                    <a:pt x="1917" y="5120"/>
                  </a:cubicBezTo>
                  <a:lnTo>
                    <a:pt x="1917" y="5692"/>
                  </a:lnTo>
                  <a:lnTo>
                    <a:pt x="560" y="5692"/>
                  </a:lnTo>
                  <a:cubicBezTo>
                    <a:pt x="429" y="5692"/>
                    <a:pt x="322" y="5584"/>
                    <a:pt x="322" y="5453"/>
                  </a:cubicBezTo>
                  <a:lnTo>
                    <a:pt x="322" y="5120"/>
                  </a:lnTo>
                  <a:lnTo>
                    <a:pt x="298" y="5120"/>
                  </a:lnTo>
                  <a:cubicBezTo>
                    <a:pt x="298" y="4989"/>
                    <a:pt x="405" y="4882"/>
                    <a:pt x="536" y="4882"/>
                  </a:cubicBezTo>
                  <a:close/>
                  <a:moveTo>
                    <a:pt x="1667" y="6013"/>
                  </a:moveTo>
                  <a:lnTo>
                    <a:pt x="1667" y="6787"/>
                  </a:lnTo>
                  <a:lnTo>
                    <a:pt x="1656" y="6787"/>
                  </a:lnTo>
                  <a:cubicBezTo>
                    <a:pt x="1656" y="6942"/>
                    <a:pt x="1536" y="7037"/>
                    <a:pt x="1394" y="7037"/>
                  </a:cubicBezTo>
                  <a:cubicBezTo>
                    <a:pt x="1322" y="7037"/>
                    <a:pt x="1263" y="7013"/>
                    <a:pt x="1215" y="6965"/>
                  </a:cubicBezTo>
                  <a:cubicBezTo>
                    <a:pt x="1179" y="6918"/>
                    <a:pt x="1144" y="6846"/>
                    <a:pt x="1144" y="6787"/>
                  </a:cubicBezTo>
                  <a:lnTo>
                    <a:pt x="1144" y="6501"/>
                  </a:lnTo>
                  <a:lnTo>
                    <a:pt x="1144" y="6013"/>
                  </a:lnTo>
                  <a:close/>
                  <a:moveTo>
                    <a:pt x="3096" y="5870"/>
                  </a:moveTo>
                  <a:cubicBezTo>
                    <a:pt x="3215" y="5870"/>
                    <a:pt x="3322" y="5965"/>
                    <a:pt x="3322" y="6084"/>
                  </a:cubicBezTo>
                  <a:lnTo>
                    <a:pt x="3322" y="6823"/>
                  </a:lnTo>
                  <a:cubicBezTo>
                    <a:pt x="3322" y="6942"/>
                    <a:pt x="3215" y="7037"/>
                    <a:pt x="3096" y="7037"/>
                  </a:cubicBezTo>
                  <a:lnTo>
                    <a:pt x="3037" y="7037"/>
                  </a:lnTo>
                  <a:cubicBezTo>
                    <a:pt x="2918" y="7037"/>
                    <a:pt x="2810" y="6942"/>
                    <a:pt x="2810" y="6823"/>
                  </a:cubicBezTo>
                  <a:lnTo>
                    <a:pt x="2810" y="6084"/>
                  </a:lnTo>
                  <a:cubicBezTo>
                    <a:pt x="2810" y="5965"/>
                    <a:pt x="2918" y="5870"/>
                    <a:pt x="3037" y="5870"/>
                  </a:cubicBezTo>
                  <a:close/>
                  <a:moveTo>
                    <a:pt x="2251" y="5692"/>
                  </a:moveTo>
                  <a:cubicBezTo>
                    <a:pt x="2382" y="5692"/>
                    <a:pt x="2501" y="5787"/>
                    <a:pt x="2501" y="5942"/>
                  </a:cubicBezTo>
                  <a:lnTo>
                    <a:pt x="2501" y="6799"/>
                  </a:lnTo>
                  <a:cubicBezTo>
                    <a:pt x="2501" y="6942"/>
                    <a:pt x="2394" y="7061"/>
                    <a:pt x="2251" y="7061"/>
                  </a:cubicBezTo>
                  <a:lnTo>
                    <a:pt x="2215" y="7061"/>
                  </a:lnTo>
                  <a:cubicBezTo>
                    <a:pt x="2084" y="7037"/>
                    <a:pt x="1977" y="6942"/>
                    <a:pt x="1977" y="6787"/>
                  </a:cubicBezTo>
                  <a:lnTo>
                    <a:pt x="1977" y="6013"/>
                  </a:lnTo>
                  <a:lnTo>
                    <a:pt x="2084" y="6013"/>
                  </a:lnTo>
                  <a:cubicBezTo>
                    <a:pt x="2167" y="6013"/>
                    <a:pt x="2251" y="5942"/>
                    <a:pt x="2251" y="5846"/>
                  </a:cubicBezTo>
                  <a:lnTo>
                    <a:pt x="2251" y="5692"/>
                  </a:lnTo>
                  <a:close/>
                  <a:moveTo>
                    <a:pt x="310" y="5953"/>
                  </a:moveTo>
                  <a:cubicBezTo>
                    <a:pt x="370" y="6001"/>
                    <a:pt x="441" y="6013"/>
                    <a:pt x="536" y="6013"/>
                  </a:cubicBezTo>
                  <a:lnTo>
                    <a:pt x="822" y="6013"/>
                  </a:lnTo>
                  <a:lnTo>
                    <a:pt x="822" y="6489"/>
                  </a:lnTo>
                  <a:lnTo>
                    <a:pt x="822" y="6775"/>
                  </a:lnTo>
                  <a:lnTo>
                    <a:pt x="822" y="7894"/>
                  </a:lnTo>
                  <a:cubicBezTo>
                    <a:pt x="822" y="7966"/>
                    <a:pt x="786" y="8025"/>
                    <a:pt x="739" y="8073"/>
                  </a:cubicBezTo>
                  <a:cubicBezTo>
                    <a:pt x="691" y="8108"/>
                    <a:pt x="620" y="8144"/>
                    <a:pt x="560" y="8144"/>
                  </a:cubicBezTo>
                  <a:cubicBezTo>
                    <a:pt x="417" y="8144"/>
                    <a:pt x="310" y="8025"/>
                    <a:pt x="310" y="7894"/>
                  </a:cubicBezTo>
                  <a:lnTo>
                    <a:pt x="310" y="5953"/>
                  </a:lnTo>
                  <a:close/>
                  <a:moveTo>
                    <a:pt x="346" y="0"/>
                  </a:moveTo>
                  <a:cubicBezTo>
                    <a:pt x="251" y="0"/>
                    <a:pt x="179" y="72"/>
                    <a:pt x="179" y="167"/>
                  </a:cubicBezTo>
                  <a:lnTo>
                    <a:pt x="179" y="762"/>
                  </a:lnTo>
                  <a:cubicBezTo>
                    <a:pt x="179" y="846"/>
                    <a:pt x="251" y="929"/>
                    <a:pt x="346" y="929"/>
                  </a:cubicBezTo>
                  <a:cubicBezTo>
                    <a:pt x="429" y="929"/>
                    <a:pt x="501" y="846"/>
                    <a:pt x="501" y="762"/>
                  </a:cubicBezTo>
                  <a:lnTo>
                    <a:pt x="501" y="334"/>
                  </a:lnTo>
                  <a:lnTo>
                    <a:pt x="3156" y="334"/>
                  </a:lnTo>
                  <a:lnTo>
                    <a:pt x="3156" y="1834"/>
                  </a:lnTo>
                  <a:lnTo>
                    <a:pt x="501" y="1834"/>
                  </a:lnTo>
                  <a:lnTo>
                    <a:pt x="501" y="1405"/>
                  </a:lnTo>
                  <a:cubicBezTo>
                    <a:pt x="501" y="1310"/>
                    <a:pt x="429" y="1239"/>
                    <a:pt x="346" y="1239"/>
                  </a:cubicBezTo>
                  <a:cubicBezTo>
                    <a:pt x="251" y="1239"/>
                    <a:pt x="179" y="1310"/>
                    <a:pt x="179" y="1405"/>
                  </a:cubicBezTo>
                  <a:lnTo>
                    <a:pt x="179" y="2155"/>
                  </a:lnTo>
                  <a:lnTo>
                    <a:pt x="179" y="2834"/>
                  </a:lnTo>
                  <a:cubicBezTo>
                    <a:pt x="179" y="2917"/>
                    <a:pt x="251" y="2989"/>
                    <a:pt x="346" y="2989"/>
                  </a:cubicBezTo>
                  <a:lnTo>
                    <a:pt x="548" y="2989"/>
                  </a:lnTo>
                  <a:lnTo>
                    <a:pt x="548" y="3489"/>
                  </a:lnTo>
                  <a:cubicBezTo>
                    <a:pt x="239" y="3560"/>
                    <a:pt x="1" y="3810"/>
                    <a:pt x="1" y="4120"/>
                  </a:cubicBezTo>
                  <a:lnTo>
                    <a:pt x="1" y="7906"/>
                  </a:lnTo>
                  <a:cubicBezTo>
                    <a:pt x="1" y="8228"/>
                    <a:pt x="262" y="8489"/>
                    <a:pt x="584" y="8489"/>
                  </a:cubicBezTo>
                  <a:cubicBezTo>
                    <a:pt x="727" y="8489"/>
                    <a:pt x="882" y="8430"/>
                    <a:pt x="1001" y="8323"/>
                  </a:cubicBezTo>
                  <a:cubicBezTo>
                    <a:pt x="1096" y="8216"/>
                    <a:pt x="1155" y="8073"/>
                    <a:pt x="1155" y="7906"/>
                  </a:cubicBezTo>
                  <a:lnTo>
                    <a:pt x="1155" y="7311"/>
                  </a:lnTo>
                  <a:cubicBezTo>
                    <a:pt x="1239" y="7358"/>
                    <a:pt x="1322" y="7370"/>
                    <a:pt x="1417" y="7370"/>
                  </a:cubicBezTo>
                  <a:cubicBezTo>
                    <a:pt x="1572" y="7370"/>
                    <a:pt x="1727" y="7299"/>
                    <a:pt x="1834" y="7192"/>
                  </a:cubicBezTo>
                  <a:cubicBezTo>
                    <a:pt x="1929" y="7299"/>
                    <a:pt x="2084" y="7370"/>
                    <a:pt x="2251" y="7370"/>
                  </a:cubicBezTo>
                  <a:lnTo>
                    <a:pt x="2263" y="7370"/>
                  </a:lnTo>
                  <a:cubicBezTo>
                    <a:pt x="2429" y="7370"/>
                    <a:pt x="2560" y="7311"/>
                    <a:pt x="2668" y="7204"/>
                  </a:cubicBezTo>
                  <a:cubicBezTo>
                    <a:pt x="2763" y="7311"/>
                    <a:pt x="2906" y="7370"/>
                    <a:pt x="3049" y="7370"/>
                  </a:cubicBezTo>
                  <a:lnTo>
                    <a:pt x="3108" y="7370"/>
                  </a:lnTo>
                  <a:cubicBezTo>
                    <a:pt x="3406" y="7370"/>
                    <a:pt x="3656" y="7120"/>
                    <a:pt x="3656" y="6823"/>
                  </a:cubicBezTo>
                  <a:lnTo>
                    <a:pt x="3656" y="6489"/>
                  </a:lnTo>
                  <a:lnTo>
                    <a:pt x="3656" y="5132"/>
                  </a:lnTo>
                  <a:cubicBezTo>
                    <a:pt x="3656" y="5049"/>
                    <a:pt x="3584" y="4965"/>
                    <a:pt x="3501" y="4965"/>
                  </a:cubicBezTo>
                  <a:cubicBezTo>
                    <a:pt x="3406" y="4965"/>
                    <a:pt x="3334" y="5049"/>
                    <a:pt x="3334" y="5132"/>
                  </a:cubicBezTo>
                  <a:lnTo>
                    <a:pt x="3334" y="5584"/>
                  </a:lnTo>
                  <a:cubicBezTo>
                    <a:pt x="3263" y="5549"/>
                    <a:pt x="3180" y="5537"/>
                    <a:pt x="3108" y="5537"/>
                  </a:cubicBezTo>
                  <a:lnTo>
                    <a:pt x="3049" y="5537"/>
                  </a:lnTo>
                  <a:cubicBezTo>
                    <a:pt x="2929" y="5537"/>
                    <a:pt x="2822" y="5572"/>
                    <a:pt x="2739" y="5632"/>
                  </a:cubicBezTo>
                  <a:cubicBezTo>
                    <a:pt x="2632" y="5465"/>
                    <a:pt x="2453" y="5358"/>
                    <a:pt x="2251" y="5358"/>
                  </a:cubicBezTo>
                  <a:lnTo>
                    <a:pt x="2251" y="5120"/>
                  </a:lnTo>
                  <a:cubicBezTo>
                    <a:pt x="2251" y="4810"/>
                    <a:pt x="1989" y="4560"/>
                    <a:pt x="1679" y="4560"/>
                  </a:cubicBezTo>
                  <a:lnTo>
                    <a:pt x="536" y="4560"/>
                  </a:lnTo>
                  <a:cubicBezTo>
                    <a:pt x="441" y="4560"/>
                    <a:pt x="370" y="4572"/>
                    <a:pt x="298" y="4620"/>
                  </a:cubicBezTo>
                  <a:lnTo>
                    <a:pt x="298" y="4120"/>
                  </a:lnTo>
                  <a:cubicBezTo>
                    <a:pt x="298" y="3941"/>
                    <a:pt x="477" y="3787"/>
                    <a:pt x="679" y="3787"/>
                  </a:cubicBezTo>
                  <a:cubicBezTo>
                    <a:pt x="774" y="3787"/>
                    <a:pt x="846" y="3703"/>
                    <a:pt x="846" y="3620"/>
                  </a:cubicBezTo>
                  <a:lnTo>
                    <a:pt x="846" y="2977"/>
                  </a:lnTo>
                  <a:lnTo>
                    <a:pt x="2787" y="2977"/>
                  </a:lnTo>
                  <a:lnTo>
                    <a:pt x="2787" y="3620"/>
                  </a:lnTo>
                  <a:cubicBezTo>
                    <a:pt x="2787" y="3703"/>
                    <a:pt x="2858" y="3787"/>
                    <a:pt x="2941" y="3787"/>
                  </a:cubicBezTo>
                  <a:cubicBezTo>
                    <a:pt x="3168" y="3787"/>
                    <a:pt x="3334" y="3929"/>
                    <a:pt x="3334" y="4120"/>
                  </a:cubicBezTo>
                  <a:lnTo>
                    <a:pt x="3334" y="4513"/>
                  </a:lnTo>
                  <a:cubicBezTo>
                    <a:pt x="3334" y="4596"/>
                    <a:pt x="3406" y="4679"/>
                    <a:pt x="3501" y="4679"/>
                  </a:cubicBezTo>
                  <a:cubicBezTo>
                    <a:pt x="3584" y="4679"/>
                    <a:pt x="3656" y="4596"/>
                    <a:pt x="3656" y="4513"/>
                  </a:cubicBezTo>
                  <a:lnTo>
                    <a:pt x="3656" y="4120"/>
                  </a:lnTo>
                  <a:cubicBezTo>
                    <a:pt x="3656" y="3810"/>
                    <a:pt x="3418" y="3548"/>
                    <a:pt x="3108" y="3489"/>
                  </a:cubicBezTo>
                  <a:lnTo>
                    <a:pt x="3108" y="2989"/>
                  </a:lnTo>
                  <a:lnTo>
                    <a:pt x="3322" y="2989"/>
                  </a:lnTo>
                  <a:cubicBezTo>
                    <a:pt x="3406" y="2989"/>
                    <a:pt x="3477" y="2917"/>
                    <a:pt x="3477" y="2834"/>
                  </a:cubicBezTo>
                  <a:lnTo>
                    <a:pt x="3477" y="2143"/>
                  </a:lnTo>
                  <a:lnTo>
                    <a:pt x="3477" y="2001"/>
                  </a:lnTo>
                  <a:lnTo>
                    <a:pt x="3477" y="167"/>
                  </a:lnTo>
                  <a:cubicBezTo>
                    <a:pt x="3477" y="72"/>
                    <a:pt x="3406" y="0"/>
                    <a:pt x="3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8" name="Google Shape;11718;p61"/>
            <p:cNvSpPr/>
            <p:nvPr/>
          </p:nvSpPr>
          <p:spPr>
            <a:xfrm>
              <a:off x="2275881" y="3157965"/>
              <a:ext cx="168284" cy="75082"/>
            </a:xfrm>
            <a:custGeom>
              <a:avLst/>
              <a:gdLst/>
              <a:ahLst/>
              <a:cxnLst/>
              <a:rect l="l" t="t" r="r" b="b"/>
              <a:pathLst>
                <a:path w="5312" h="2370" extrusionOk="0">
                  <a:moveTo>
                    <a:pt x="2668" y="322"/>
                  </a:moveTo>
                  <a:cubicBezTo>
                    <a:pt x="3085" y="322"/>
                    <a:pt x="3466" y="369"/>
                    <a:pt x="3775" y="429"/>
                  </a:cubicBezTo>
                  <a:cubicBezTo>
                    <a:pt x="4073" y="489"/>
                    <a:pt x="4192" y="560"/>
                    <a:pt x="4240" y="608"/>
                  </a:cubicBezTo>
                  <a:cubicBezTo>
                    <a:pt x="4192" y="655"/>
                    <a:pt x="4061" y="727"/>
                    <a:pt x="3775" y="786"/>
                  </a:cubicBezTo>
                  <a:cubicBezTo>
                    <a:pt x="3466" y="870"/>
                    <a:pt x="3085" y="893"/>
                    <a:pt x="2668" y="893"/>
                  </a:cubicBezTo>
                  <a:cubicBezTo>
                    <a:pt x="2251" y="893"/>
                    <a:pt x="1858" y="846"/>
                    <a:pt x="1549" y="786"/>
                  </a:cubicBezTo>
                  <a:cubicBezTo>
                    <a:pt x="1251" y="727"/>
                    <a:pt x="1132" y="655"/>
                    <a:pt x="1084" y="608"/>
                  </a:cubicBezTo>
                  <a:cubicBezTo>
                    <a:pt x="1132" y="584"/>
                    <a:pt x="1251" y="500"/>
                    <a:pt x="1549" y="429"/>
                  </a:cubicBezTo>
                  <a:cubicBezTo>
                    <a:pt x="1858" y="358"/>
                    <a:pt x="2251" y="322"/>
                    <a:pt x="2668" y="322"/>
                  </a:cubicBezTo>
                  <a:close/>
                  <a:moveTo>
                    <a:pt x="2668" y="0"/>
                  </a:moveTo>
                  <a:cubicBezTo>
                    <a:pt x="2466" y="0"/>
                    <a:pt x="846" y="12"/>
                    <a:pt x="763" y="572"/>
                  </a:cubicBezTo>
                  <a:lnTo>
                    <a:pt x="25" y="2143"/>
                  </a:lnTo>
                  <a:cubicBezTo>
                    <a:pt x="1" y="2191"/>
                    <a:pt x="13" y="2251"/>
                    <a:pt x="49" y="2298"/>
                  </a:cubicBezTo>
                  <a:cubicBezTo>
                    <a:pt x="72" y="2334"/>
                    <a:pt x="120" y="2370"/>
                    <a:pt x="180" y="2370"/>
                  </a:cubicBezTo>
                  <a:lnTo>
                    <a:pt x="2644" y="2370"/>
                  </a:lnTo>
                  <a:cubicBezTo>
                    <a:pt x="2739" y="2370"/>
                    <a:pt x="2811" y="2298"/>
                    <a:pt x="2811" y="2203"/>
                  </a:cubicBezTo>
                  <a:cubicBezTo>
                    <a:pt x="2811" y="2120"/>
                    <a:pt x="2739" y="2036"/>
                    <a:pt x="2644" y="2036"/>
                  </a:cubicBezTo>
                  <a:lnTo>
                    <a:pt x="430" y="2036"/>
                  </a:lnTo>
                  <a:lnTo>
                    <a:pt x="965" y="905"/>
                  </a:lnTo>
                  <a:cubicBezTo>
                    <a:pt x="1430" y="1203"/>
                    <a:pt x="2513" y="1227"/>
                    <a:pt x="2680" y="1227"/>
                  </a:cubicBezTo>
                  <a:cubicBezTo>
                    <a:pt x="2847" y="1227"/>
                    <a:pt x="3930" y="1203"/>
                    <a:pt x="4394" y="905"/>
                  </a:cubicBezTo>
                  <a:lnTo>
                    <a:pt x="4930" y="2036"/>
                  </a:lnTo>
                  <a:lnTo>
                    <a:pt x="3287" y="2036"/>
                  </a:lnTo>
                  <a:cubicBezTo>
                    <a:pt x="3204" y="2036"/>
                    <a:pt x="3120" y="2120"/>
                    <a:pt x="3120" y="2203"/>
                  </a:cubicBezTo>
                  <a:cubicBezTo>
                    <a:pt x="3120" y="2298"/>
                    <a:pt x="3204" y="2370"/>
                    <a:pt x="3287" y="2370"/>
                  </a:cubicBezTo>
                  <a:lnTo>
                    <a:pt x="5180" y="2370"/>
                  </a:lnTo>
                  <a:cubicBezTo>
                    <a:pt x="5240" y="2370"/>
                    <a:pt x="5287" y="2334"/>
                    <a:pt x="5311" y="2298"/>
                  </a:cubicBezTo>
                  <a:cubicBezTo>
                    <a:pt x="5311" y="2263"/>
                    <a:pt x="5311" y="2203"/>
                    <a:pt x="5299" y="2143"/>
                  </a:cubicBezTo>
                  <a:lnTo>
                    <a:pt x="4573" y="572"/>
                  </a:lnTo>
                  <a:cubicBezTo>
                    <a:pt x="4490" y="12"/>
                    <a:pt x="2858"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9" name="Google Shape;11719;p61"/>
            <p:cNvSpPr/>
            <p:nvPr/>
          </p:nvSpPr>
          <p:spPr>
            <a:xfrm>
              <a:off x="2320012" y="3098755"/>
              <a:ext cx="10613" cy="54711"/>
            </a:xfrm>
            <a:custGeom>
              <a:avLst/>
              <a:gdLst/>
              <a:ahLst/>
              <a:cxnLst/>
              <a:rect l="l" t="t" r="r" b="b"/>
              <a:pathLst>
                <a:path w="335" h="1727" extrusionOk="0">
                  <a:moveTo>
                    <a:pt x="168" y="0"/>
                  </a:moveTo>
                  <a:cubicBezTo>
                    <a:pt x="84" y="0"/>
                    <a:pt x="1" y="72"/>
                    <a:pt x="1" y="155"/>
                  </a:cubicBezTo>
                  <a:lnTo>
                    <a:pt x="1" y="1560"/>
                  </a:lnTo>
                  <a:cubicBezTo>
                    <a:pt x="1" y="1643"/>
                    <a:pt x="84" y="1726"/>
                    <a:pt x="168" y="1726"/>
                  </a:cubicBezTo>
                  <a:cubicBezTo>
                    <a:pt x="263" y="1726"/>
                    <a:pt x="334" y="1643"/>
                    <a:pt x="334" y="1560"/>
                  </a:cubicBezTo>
                  <a:lnTo>
                    <a:pt x="334" y="155"/>
                  </a:lnTo>
                  <a:cubicBezTo>
                    <a:pt x="322" y="72"/>
                    <a:pt x="239"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0" name="Google Shape;11720;p61"/>
            <p:cNvSpPr/>
            <p:nvPr/>
          </p:nvSpPr>
          <p:spPr>
            <a:xfrm>
              <a:off x="2267961" y="3116939"/>
              <a:ext cx="42293" cy="41437"/>
            </a:xfrm>
            <a:custGeom>
              <a:avLst/>
              <a:gdLst/>
              <a:ahLst/>
              <a:cxnLst/>
              <a:rect l="l" t="t" r="r" b="b"/>
              <a:pathLst>
                <a:path w="1335" h="1308" extrusionOk="0">
                  <a:moveTo>
                    <a:pt x="168" y="1"/>
                  </a:moveTo>
                  <a:cubicBezTo>
                    <a:pt x="129" y="1"/>
                    <a:pt x="90" y="15"/>
                    <a:pt x="60" y="45"/>
                  </a:cubicBezTo>
                  <a:cubicBezTo>
                    <a:pt x="1" y="105"/>
                    <a:pt x="1" y="212"/>
                    <a:pt x="60" y="271"/>
                  </a:cubicBezTo>
                  <a:lnTo>
                    <a:pt x="1049" y="1272"/>
                  </a:lnTo>
                  <a:cubicBezTo>
                    <a:pt x="1084" y="1295"/>
                    <a:pt x="1132" y="1307"/>
                    <a:pt x="1168" y="1307"/>
                  </a:cubicBezTo>
                  <a:cubicBezTo>
                    <a:pt x="1215" y="1307"/>
                    <a:pt x="1263" y="1295"/>
                    <a:pt x="1287" y="1272"/>
                  </a:cubicBezTo>
                  <a:cubicBezTo>
                    <a:pt x="1334" y="1212"/>
                    <a:pt x="1334" y="1105"/>
                    <a:pt x="1275" y="1045"/>
                  </a:cubicBezTo>
                  <a:lnTo>
                    <a:pt x="275" y="45"/>
                  </a:lnTo>
                  <a:cubicBezTo>
                    <a:pt x="245" y="15"/>
                    <a:pt x="206"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1" name="Google Shape;11721;p61"/>
            <p:cNvSpPr/>
            <p:nvPr/>
          </p:nvSpPr>
          <p:spPr>
            <a:xfrm>
              <a:off x="2239671" y="3166645"/>
              <a:ext cx="54743" cy="10201"/>
            </a:xfrm>
            <a:custGeom>
              <a:avLst/>
              <a:gdLst/>
              <a:ahLst/>
              <a:cxnLst/>
              <a:rect l="l" t="t" r="r" b="b"/>
              <a:pathLst>
                <a:path w="1728" h="322" extrusionOk="0">
                  <a:moveTo>
                    <a:pt x="156" y="0"/>
                  </a:moveTo>
                  <a:cubicBezTo>
                    <a:pt x="72" y="0"/>
                    <a:pt x="1" y="72"/>
                    <a:pt x="1" y="155"/>
                  </a:cubicBezTo>
                  <a:cubicBezTo>
                    <a:pt x="1" y="250"/>
                    <a:pt x="72" y="322"/>
                    <a:pt x="156" y="322"/>
                  </a:cubicBezTo>
                  <a:lnTo>
                    <a:pt x="1561" y="322"/>
                  </a:lnTo>
                  <a:cubicBezTo>
                    <a:pt x="1644" y="322"/>
                    <a:pt x="1727" y="250"/>
                    <a:pt x="1727" y="155"/>
                  </a:cubicBezTo>
                  <a:cubicBezTo>
                    <a:pt x="1727" y="72"/>
                    <a:pt x="1644" y="0"/>
                    <a:pt x="1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2" name="Google Shape;11722;p61"/>
          <p:cNvGrpSpPr/>
          <p:nvPr/>
        </p:nvGrpSpPr>
        <p:grpSpPr>
          <a:xfrm>
            <a:off x="2691555" y="2884503"/>
            <a:ext cx="215044" cy="348924"/>
            <a:chOff x="2691555" y="2884503"/>
            <a:chExt cx="215044" cy="348924"/>
          </a:xfrm>
        </p:grpSpPr>
        <p:sp>
          <p:nvSpPr>
            <p:cNvPr id="11723" name="Google Shape;11723;p61"/>
            <p:cNvSpPr/>
            <p:nvPr/>
          </p:nvSpPr>
          <p:spPr>
            <a:xfrm>
              <a:off x="2691555" y="2884503"/>
              <a:ext cx="215044" cy="348924"/>
            </a:xfrm>
            <a:custGeom>
              <a:avLst/>
              <a:gdLst/>
              <a:ahLst/>
              <a:cxnLst/>
              <a:rect l="l" t="t" r="r" b="b"/>
              <a:pathLst>
                <a:path w="6788" h="11014" extrusionOk="0">
                  <a:moveTo>
                    <a:pt x="632" y="4941"/>
                  </a:moveTo>
                  <a:lnTo>
                    <a:pt x="632" y="5394"/>
                  </a:lnTo>
                  <a:lnTo>
                    <a:pt x="441" y="5394"/>
                  </a:lnTo>
                  <a:lnTo>
                    <a:pt x="632" y="4941"/>
                  </a:lnTo>
                  <a:close/>
                  <a:moveTo>
                    <a:pt x="3703" y="0"/>
                  </a:moveTo>
                  <a:cubicBezTo>
                    <a:pt x="2013" y="0"/>
                    <a:pt x="632" y="1346"/>
                    <a:pt x="632" y="2989"/>
                  </a:cubicBezTo>
                  <a:lnTo>
                    <a:pt x="632" y="4179"/>
                  </a:lnTo>
                  <a:lnTo>
                    <a:pt x="36" y="5489"/>
                  </a:lnTo>
                  <a:cubicBezTo>
                    <a:pt x="1" y="5537"/>
                    <a:pt x="13" y="5596"/>
                    <a:pt x="48" y="5644"/>
                  </a:cubicBezTo>
                  <a:cubicBezTo>
                    <a:pt x="72" y="5692"/>
                    <a:pt x="120" y="5715"/>
                    <a:pt x="179" y="5715"/>
                  </a:cubicBezTo>
                  <a:lnTo>
                    <a:pt x="632" y="5715"/>
                  </a:lnTo>
                  <a:lnTo>
                    <a:pt x="632" y="6965"/>
                  </a:lnTo>
                  <a:cubicBezTo>
                    <a:pt x="632" y="7335"/>
                    <a:pt x="941" y="7656"/>
                    <a:pt x="1310" y="7656"/>
                  </a:cubicBezTo>
                  <a:lnTo>
                    <a:pt x="2156" y="7656"/>
                  </a:lnTo>
                  <a:lnTo>
                    <a:pt x="2156" y="8704"/>
                  </a:lnTo>
                  <a:lnTo>
                    <a:pt x="751" y="10775"/>
                  </a:lnTo>
                  <a:cubicBezTo>
                    <a:pt x="703" y="10835"/>
                    <a:pt x="703" y="10906"/>
                    <a:pt x="751" y="10954"/>
                  </a:cubicBezTo>
                  <a:cubicBezTo>
                    <a:pt x="775" y="11002"/>
                    <a:pt x="822" y="11014"/>
                    <a:pt x="882" y="11014"/>
                  </a:cubicBezTo>
                  <a:lnTo>
                    <a:pt x="929" y="11014"/>
                  </a:lnTo>
                  <a:lnTo>
                    <a:pt x="2394" y="10585"/>
                  </a:lnTo>
                  <a:cubicBezTo>
                    <a:pt x="2489" y="10549"/>
                    <a:pt x="2537" y="10466"/>
                    <a:pt x="2501" y="10394"/>
                  </a:cubicBezTo>
                  <a:cubicBezTo>
                    <a:pt x="2482" y="10328"/>
                    <a:pt x="2418" y="10277"/>
                    <a:pt x="2356" y="10277"/>
                  </a:cubicBezTo>
                  <a:cubicBezTo>
                    <a:pt x="2340" y="10277"/>
                    <a:pt x="2325" y="10280"/>
                    <a:pt x="2310" y="10287"/>
                  </a:cubicBezTo>
                  <a:lnTo>
                    <a:pt x="1263" y="10597"/>
                  </a:lnTo>
                  <a:lnTo>
                    <a:pt x="2441" y="8859"/>
                  </a:lnTo>
                  <a:cubicBezTo>
                    <a:pt x="2453" y="8823"/>
                    <a:pt x="2477" y="8799"/>
                    <a:pt x="2477" y="8763"/>
                  </a:cubicBezTo>
                  <a:lnTo>
                    <a:pt x="2477" y="7608"/>
                  </a:lnTo>
                  <a:lnTo>
                    <a:pt x="3453" y="7073"/>
                  </a:lnTo>
                  <a:cubicBezTo>
                    <a:pt x="3537" y="7025"/>
                    <a:pt x="3561" y="6942"/>
                    <a:pt x="3513" y="6846"/>
                  </a:cubicBezTo>
                  <a:cubicBezTo>
                    <a:pt x="3488" y="6797"/>
                    <a:pt x="3436" y="6765"/>
                    <a:pt x="3378" y="6765"/>
                  </a:cubicBezTo>
                  <a:cubicBezTo>
                    <a:pt x="3352" y="6765"/>
                    <a:pt x="3325" y="6772"/>
                    <a:pt x="3299" y="6787"/>
                  </a:cubicBezTo>
                  <a:lnTo>
                    <a:pt x="2263" y="7358"/>
                  </a:lnTo>
                  <a:lnTo>
                    <a:pt x="1298" y="7358"/>
                  </a:lnTo>
                  <a:cubicBezTo>
                    <a:pt x="1108" y="7358"/>
                    <a:pt x="941" y="7192"/>
                    <a:pt x="941" y="7001"/>
                  </a:cubicBezTo>
                  <a:lnTo>
                    <a:pt x="941" y="6549"/>
                  </a:lnTo>
                  <a:lnTo>
                    <a:pt x="1775" y="6549"/>
                  </a:lnTo>
                  <a:cubicBezTo>
                    <a:pt x="1870" y="6549"/>
                    <a:pt x="1941" y="6477"/>
                    <a:pt x="1941" y="6382"/>
                  </a:cubicBezTo>
                  <a:cubicBezTo>
                    <a:pt x="1941" y="6299"/>
                    <a:pt x="1870" y="6227"/>
                    <a:pt x="1775" y="6227"/>
                  </a:cubicBezTo>
                  <a:lnTo>
                    <a:pt x="941" y="6227"/>
                  </a:lnTo>
                  <a:lnTo>
                    <a:pt x="941" y="3025"/>
                  </a:lnTo>
                  <a:cubicBezTo>
                    <a:pt x="941" y="1548"/>
                    <a:pt x="2179" y="358"/>
                    <a:pt x="3715" y="358"/>
                  </a:cubicBezTo>
                  <a:cubicBezTo>
                    <a:pt x="5239" y="358"/>
                    <a:pt x="6478" y="1548"/>
                    <a:pt x="6478" y="3025"/>
                  </a:cubicBezTo>
                  <a:cubicBezTo>
                    <a:pt x="6478" y="4263"/>
                    <a:pt x="5811" y="5406"/>
                    <a:pt x="4727" y="6013"/>
                  </a:cubicBezTo>
                  <a:lnTo>
                    <a:pt x="3954" y="6442"/>
                  </a:lnTo>
                  <a:cubicBezTo>
                    <a:pt x="3870" y="6489"/>
                    <a:pt x="3846" y="6584"/>
                    <a:pt x="3894" y="6668"/>
                  </a:cubicBezTo>
                  <a:cubicBezTo>
                    <a:pt x="3918" y="6717"/>
                    <a:pt x="3971" y="6749"/>
                    <a:pt x="4029" y="6749"/>
                  </a:cubicBezTo>
                  <a:cubicBezTo>
                    <a:pt x="4055" y="6749"/>
                    <a:pt x="4082" y="6742"/>
                    <a:pt x="4108" y="6727"/>
                  </a:cubicBezTo>
                  <a:lnTo>
                    <a:pt x="4882" y="6299"/>
                  </a:lnTo>
                  <a:cubicBezTo>
                    <a:pt x="4918" y="6287"/>
                    <a:pt x="4930" y="6263"/>
                    <a:pt x="4966" y="6251"/>
                  </a:cubicBezTo>
                  <a:lnTo>
                    <a:pt x="4966" y="8525"/>
                  </a:lnTo>
                  <a:cubicBezTo>
                    <a:pt x="4966" y="8573"/>
                    <a:pt x="4977" y="8609"/>
                    <a:pt x="5001" y="8632"/>
                  </a:cubicBezTo>
                  <a:lnTo>
                    <a:pt x="5620" y="9323"/>
                  </a:lnTo>
                  <a:lnTo>
                    <a:pt x="2965" y="10109"/>
                  </a:lnTo>
                  <a:cubicBezTo>
                    <a:pt x="2882" y="10133"/>
                    <a:pt x="2834" y="10228"/>
                    <a:pt x="2858" y="10299"/>
                  </a:cubicBezTo>
                  <a:cubicBezTo>
                    <a:pt x="2882" y="10371"/>
                    <a:pt x="2953" y="10418"/>
                    <a:pt x="3013" y="10418"/>
                  </a:cubicBezTo>
                  <a:lnTo>
                    <a:pt x="3061" y="10418"/>
                  </a:lnTo>
                  <a:lnTo>
                    <a:pt x="5942" y="9573"/>
                  </a:lnTo>
                  <a:cubicBezTo>
                    <a:pt x="6001" y="9549"/>
                    <a:pt x="6037" y="9513"/>
                    <a:pt x="6049" y="9466"/>
                  </a:cubicBezTo>
                  <a:cubicBezTo>
                    <a:pt x="6061" y="9406"/>
                    <a:pt x="6049" y="9359"/>
                    <a:pt x="6013" y="9311"/>
                  </a:cubicBezTo>
                  <a:lnTo>
                    <a:pt x="5263" y="8442"/>
                  </a:lnTo>
                  <a:lnTo>
                    <a:pt x="5263" y="6013"/>
                  </a:lnTo>
                  <a:cubicBezTo>
                    <a:pt x="6216" y="5311"/>
                    <a:pt x="6787" y="4203"/>
                    <a:pt x="6787" y="2989"/>
                  </a:cubicBezTo>
                  <a:cubicBezTo>
                    <a:pt x="6787" y="1346"/>
                    <a:pt x="5406" y="0"/>
                    <a:pt x="3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4" name="Google Shape;11724;p61"/>
            <p:cNvSpPr/>
            <p:nvPr/>
          </p:nvSpPr>
          <p:spPr>
            <a:xfrm>
              <a:off x="2754535" y="2907503"/>
              <a:ext cx="126783" cy="127164"/>
            </a:xfrm>
            <a:custGeom>
              <a:avLst/>
              <a:gdLst/>
              <a:ahLst/>
              <a:cxnLst/>
              <a:rect l="l" t="t" r="r" b="b"/>
              <a:pathLst>
                <a:path w="4002" h="4014" extrusionOk="0">
                  <a:moveTo>
                    <a:pt x="1989" y="1"/>
                  </a:moveTo>
                  <a:cubicBezTo>
                    <a:pt x="953" y="1"/>
                    <a:pt x="72" y="822"/>
                    <a:pt x="1" y="1870"/>
                  </a:cubicBezTo>
                  <a:cubicBezTo>
                    <a:pt x="1" y="1953"/>
                    <a:pt x="61" y="2025"/>
                    <a:pt x="144" y="2048"/>
                  </a:cubicBezTo>
                  <a:cubicBezTo>
                    <a:pt x="239" y="2048"/>
                    <a:pt x="311" y="1989"/>
                    <a:pt x="322" y="1894"/>
                  </a:cubicBezTo>
                  <a:cubicBezTo>
                    <a:pt x="382" y="1013"/>
                    <a:pt x="1108" y="346"/>
                    <a:pt x="1989" y="346"/>
                  </a:cubicBezTo>
                  <a:cubicBezTo>
                    <a:pt x="2918" y="346"/>
                    <a:pt x="3656" y="1096"/>
                    <a:pt x="3656" y="2013"/>
                  </a:cubicBezTo>
                  <a:cubicBezTo>
                    <a:pt x="3656" y="2941"/>
                    <a:pt x="2918" y="3680"/>
                    <a:pt x="1989" y="3680"/>
                  </a:cubicBezTo>
                  <a:cubicBezTo>
                    <a:pt x="1251" y="3680"/>
                    <a:pt x="596" y="3191"/>
                    <a:pt x="382" y="2477"/>
                  </a:cubicBezTo>
                  <a:cubicBezTo>
                    <a:pt x="363" y="2401"/>
                    <a:pt x="298" y="2363"/>
                    <a:pt x="236" y="2363"/>
                  </a:cubicBezTo>
                  <a:cubicBezTo>
                    <a:pt x="221" y="2363"/>
                    <a:pt x="206" y="2365"/>
                    <a:pt x="191" y="2370"/>
                  </a:cubicBezTo>
                  <a:cubicBezTo>
                    <a:pt x="96" y="2406"/>
                    <a:pt x="61" y="2489"/>
                    <a:pt x="84" y="2560"/>
                  </a:cubicBezTo>
                  <a:cubicBezTo>
                    <a:pt x="322" y="3418"/>
                    <a:pt x="1108" y="4013"/>
                    <a:pt x="2001" y="4013"/>
                  </a:cubicBezTo>
                  <a:cubicBezTo>
                    <a:pt x="3109" y="4013"/>
                    <a:pt x="4001" y="3120"/>
                    <a:pt x="4001" y="2013"/>
                  </a:cubicBezTo>
                  <a:cubicBezTo>
                    <a:pt x="3990" y="917"/>
                    <a:pt x="3097" y="1"/>
                    <a:pt x="1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5" name="Google Shape;11725;p61"/>
            <p:cNvSpPr/>
            <p:nvPr/>
          </p:nvSpPr>
          <p:spPr>
            <a:xfrm>
              <a:off x="2781336" y="2931263"/>
              <a:ext cx="74321" cy="74353"/>
            </a:xfrm>
            <a:custGeom>
              <a:avLst/>
              <a:gdLst/>
              <a:ahLst/>
              <a:cxnLst/>
              <a:rect l="l" t="t" r="r" b="b"/>
              <a:pathLst>
                <a:path w="2346" h="2347" extrusionOk="0">
                  <a:moveTo>
                    <a:pt x="1465" y="310"/>
                  </a:moveTo>
                  <a:cubicBezTo>
                    <a:pt x="1620" y="310"/>
                    <a:pt x="1751" y="370"/>
                    <a:pt x="1858" y="477"/>
                  </a:cubicBezTo>
                  <a:cubicBezTo>
                    <a:pt x="1965" y="584"/>
                    <a:pt x="2024" y="715"/>
                    <a:pt x="2024" y="858"/>
                  </a:cubicBezTo>
                  <a:cubicBezTo>
                    <a:pt x="2024" y="1013"/>
                    <a:pt x="1965" y="1144"/>
                    <a:pt x="1858" y="1251"/>
                  </a:cubicBezTo>
                  <a:cubicBezTo>
                    <a:pt x="1751" y="1358"/>
                    <a:pt x="1620" y="1418"/>
                    <a:pt x="1465" y="1418"/>
                  </a:cubicBezTo>
                  <a:cubicBezTo>
                    <a:pt x="1322" y="1418"/>
                    <a:pt x="1191" y="1358"/>
                    <a:pt x="1084" y="1251"/>
                  </a:cubicBezTo>
                  <a:cubicBezTo>
                    <a:pt x="869" y="1037"/>
                    <a:pt x="869" y="679"/>
                    <a:pt x="1084" y="477"/>
                  </a:cubicBezTo>
                  <a:cubicBezTo>
                    <a:pt x="1191" y="370"/>
                    <a:pt x="1322" y="310"/>
                    <a:pt x="1465" y="310"/>
                  </a:cubicBezTo>
                  <a:close/>
                  <a:moveTo>
                    <a:pt x="1489" y="1"/>
                  </a:moveTo>
                  <a:cubicBezTo>
                    <a:pt x="1262" y="1"/>
                    <a:pt x="1036" y="84"/>
                    <a:pt x="869" y="251"/>
                  </a:cubicBezTo>
                  <a:cubicBezTo>
                    <a:pt x="572" y="548"/>
                    <a:pt x="536" y="1025"/>
                    <a:pt x="774" y="1370"/>
                  </a:cubicBezTo>
                  <a:lnTo>
                    <a:pt x="60" y="2084"/>
                  </a:lnTo>
                  <a:cubicBezTo>
                    <a:pt x="0" y="2144"/>
                    <a:pt x="0" y="2239"/>
                    <a:pt x="60" y="2299"/>
                  </a:cubicBezTo>
                  <a:cubicBezTo>
                    <a:pt x="84" y="2334"/>
                    <a:pt x="131" y="2346"/>
                    <a:pt x="179" y="2346"/>
                  </a:cubicBezTo>
                  <a:cubicBezTo>
                    <a:pt x="215" y="2346"/>
                    <a:pt x="262" y="2334"/>
                    <a:pt x="298" y="2299"/>
                  </a:cubicBezTo>
                  <a:lnTo>
                    <a:pt x="1012" y="1584"/>
                  </a:lnTo>
                  <a:cubicBezTo>
                    <a:pt x="1155" y="1691"/>
                    <a:pt x="1322" y="1739"/>
                    <a:pt x="1501" y="1739"/>
                  </a:cubicBezTo>
                  <a:cubicBezTo>
                    <a:pt x="1739" y="1739"/>
                    <a:pt x="1941" y="1644"/>
                    <a:pt x="2108" y="1489"/>
                  </a:cubicBezTo>
                  <a:cubicBezTo>
                    <a:pt x="2263" y="1310"/>
                    <a:pt x="2346" y="1096"/>
                    <a:pt x="2346" y="858"/>
                  </a:cubicBezTo>
                  <a:cubicBezTo>
                    <a:pt x="2346" y="620"/>
                    <a:pt x="2263" y="417"/>
                    <a:pt x="2096" y="251"/>
                  </a:cubicBezTo>
                  <a:cubicBezTo>
                    <a:pt x="1929" y="84"/>
                    <a:pt x="1703"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26" name="Google Shape;11726;p61"/>
          <p:cNvGrpSpPr/>
          <p:nvPr/>
        </p:nvGrpSpPr>
        <p:grpSpPr>
          <a:xfrm>
            <a:off x="1770459" y="2884503"/>
            <a:ext cx="254644" cy="348828"/>
            <a:chOff x="1770459" y="2884503"/>
            <a:chExt cx="254644" cy="348828"/>
          </a:xfrm>
        </p:grpSpPr>
        <p:sp>
          <p:nvSpPr>
            <p:cNvPr id="11727" name="Google Shape;11727;p61"/>
            <p:cNvSpPr/>
            <p:nvPr/>
          </p:nvSpPr>
          <p:spPr>
            <a:xfrm>
              <a:off x="1832330" y="2884503"/>
              <a:ext cx="130902" cy="159572"/>
            </a:xfrm>
            <a:custGeom>
              <a:avLst/>
              <a:gdLst/>
              <a:ahLst/>
              <a:cxnLst/>
              <a:rect l="l" t="t" r="r" b="b"/>
              <a:pathLst>
                <a:path w="4132" h="5037" extrusionOk="0">
                  <a:moveTo>
                    <a:pt x="2060" y="0"/>
                  </a:moveTo>
                  <a:cubicBezTo>
                    <a:pt x="953" y="0"/>
                    <a:pt x="36" y="869"/>
                    <a:pt x="0" y="1977"/>
                  </a:cubicBezTo>
                  <a:cubicBezTo>
                    <a:pt x="0" y="2072"/>
                    <a:pt x="60" y="2143"/>
                    <a:pt x="143" y="2143"/>
                  </a:cubicBezTo>
                  <a:cubicBezTo>
                    <a:pt x="238" y="2143"/>
                    <a:pt x="310" y="2084"/>
                    <a:pt x="310" y="2001"/>
                  </a:cubicBezTo>
                  <a:cubicBezTo>
                    <a:pt x="357" y="1060"/>
                    <a:pt x="1131" y="322"/>
                    <a:pt x="2060" y="322"/>
                  </a:cubicBezTo>
                  <a:cubicBezTo>
                    <a:pt x="3036" y="322"/>
                    <a:pt x="3822" y="1120"/>
                    <a:pt x="3822" y="2084"/>
                  </a:cubicBezTo>
                  <a:cubicBezTo>
                    <a:pt x="3822" y="2846"/>
                    <a:pt x="3334" y="3513"/>
                    <a:pt x="2596" y="3751"/>
                  </a:cubicBezTo>
                  <a:cubicBezTo>
                    <a:pt x="2572" y="3763"/>
                    <a:pt x="2524" y="3787"/>
                    <a:pt x="2512" y="3822"/>
                  </a:cubicBezTo>
                  <a:lnTo>
                    <a:pt x="2060" y="4572"/>
                  </a:lnTo>
                  <a:lnTo>
                    <a:pt x="1619" y="3822"/>
                  </a:lnTo>
                  <a:cubicBezTo>
                    <a:pt x="1608" y="3798"/>
                    <a:pt x="1572" y="3763"/>
                    <a:pt x="1524" y="3751"/>
                  </a:cubicBezTo>
                  <a:cubicBezTo>
                    <a:pt x="977" y="3572"/>
                    <a:pt x="548" y="3144"/>
                    <a:pt x="381" y="2572"/>
                  </a:cubicBezTo>
                  <a:cubicBezTo>
                    <a:pt x="362" y="2503"/>
                    <a:pt x="293" y="2459"/>
                    <a:pt x="230" y="2459"/>
                  </a:cubicBezTo>
                  <a:cubicBezTo>
                    <a:pt x="216" y="2459"/>
                    <a:pt x="203" y="2461"/>
                    <a:pt x="191" y="2465"/>
                  </a:cubicBezTo>
                  <a:cubicBezTo>
                    <a:pt x="95" y="2501"/>
                    <a:pt x="60" y="2584"/>
                    <a:pt x="84" y="2667"/>
                  </a:cubicBezTo>
                  <a:cubicBezTo>
                    <a:pt x="274" y="3298"/>
                    <a:pt x="750" y="3810"/>
                    <a:pt x="1381" y="4037"/>
                  </a:cubicBezTo>
                  <a:lnTo>
                    <a:pt x="1929" y="4953"/>
                  </a:lnTo>
                  <a:cubicBezTo>
                    <a:pt x="1965" y="5001"/>
                    <a:pt x="2000" y="5037"/>
                    <a:pt x="2060" y="5037"/>
                  </a:cubicBezTo>
                  <a:cubicBezTo>
                    <a:pt x="2120" y="5037"/>
                    <a:pt x="2167" y="5001"/>
                    <a:pt x="2191" y="4953"/>
                  </a:cubicBezTo>
                  <a:lnTo>
                    <a:pt x="2751" y="4037"/>
                  </a:lnTo>
                  <a:cubicBezTo>
                    <a:pt x="3584" y="3739"/>
                    <a:pt x="4132" y="2965"/>
                    <a:pt x="4132" y="2084"/>
                  </a:cubicBezTo>
                  <a:cubicBezTo>
                    <a:pt x="4132" y="941"/>
                    <a:pt x="32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8" name="Google Shape;11728;p61"/>
            <p:cNvSpPr/>
            <p:nvPr/>
          </p:nvSpPr>
          <p:spPr>
            <a:xfrm>
              <a:off x="1861000" y="2912698"/>
              <a:ext cx="75842" cy="72167"/>
            </a:xfrm>
            <a:custGeom>
              <a:avLst/>
              <a:gdLst/>
              <a:ahLst/>
              <a:cxnLst/>
              <a:rect l="l" t="t" r="r" b="b"/>
              <a:pathLst>
                <a:path w="2394" h="2278" extrusionOk="0">
                  <a:moveTo>
                    <a:pt x="1441" y="313"/>
                  </a:moveTo>
                  <a:cubicBezTo>
                    <a:pt x="1572" y="313"/>
                    <a:pt x="1715" y="360"/>
                    <a:pt x="1810" y="468"/>
                  </a:cubicBezTo>
                  <a:cubicBezTo>
                    <a:pt x="2036" y="670"/>
                    <a:pt x="2036" y="1015"/>
                    <a:pt x="1834" y="1218"/>
                  </a:cubicBezTo>
                  <a:cubicBezTo>
                    <a:pt x="1726" y="1325"/>
                    <a:pt x="1587" y="1378"/>
                    <a:pt x="1448" y="1378"/>
                  </a:cubicBezTo>
                  <a:cubicBezTo>
                    <a:pt x="1310" y="1378"/>
                    <a:pt x="1173" y="1325"/>
                    <a:pt x="1072" y="1218"/>
                  </a:cubicBezTo>
                  <a:cubicBezTo>
                    <a:pt x="857" y="1015"/>
                    <a:pt x="857" y="670"/>
                    <a:pt x="1072" y="468"/>
                  </a:cubicBezTo>
                  <a:cubicBezTo>
                    <a:pt x="1167" y="360"/>
                    <a:pt x="1310" y="313"/>
                    <a:pt x="1441" y="313"/>
                  </a:cubicBezTo>
                  <a:close/>
                  <a:moveTo>
                    <a:pt x="1451" y="0"/>
                  </a:moveTo>
                  <a:cubicBezTo>
                    <a:pt x="1232" y="0"/>
                    <a:pt x="1012" y="81"/>
                    <a:pt x="845" y="241"/>
                  </a:cubicBezTo>
                  <a:cubicBezTo>
                    <a:pt x="548" y="539"/>
                    <a:pt x="524" y="992"/>
                    <a:pt x="738" y="1325"/>
                  </a:cubicBezTo>
                  <a:lnTo>
                    <a:pt x="60" y="2015"/>
                  </a:lnTo>
                  <a:cubicBezTo>
                    <a:pt x="0" y="2075"/>
                    <a:pt x="0" y="2182"/>
                    <a:pt x="60" y="2242"/>
                  </a:cubicBezTo>
                  <a:cubicBezTo>
                    <a:pt x="83" y="2265"/>
                    <a:pt x="131" y="2277"/>
                    <a:pt x="179" y="2277"/>
                  </a:cubicBezTo>
                  <a:cubicBezTo>
                    <a:pt x="226" y="2277"/>
                    <a:pt x="262" y="2265"/>
                    <a:pt x="298" y="2242"/>
                  </a:cubicBezTo>
                  <a:lnTo>
                    <a:pt x="976" y="1551"/>
                  </a:lnTo>
                  <a:cubicBezTo>
                    <a:pt x="1131" y="1658"/>
                    <a:pt x="1298" y="1706"/>
                    <a:pt x="1453" y="1706"/>
                  </a:cubicBezTo>
                  <a:cubicBezTo>
                    <a:pt x="1679" y="1706"/>
                    <a:pt x="1881" y="1611"/>
                    <a:pt x="2072" y="1444"/>
                  </a:cubicBezTo>
                  <a:cubicBezTo>
                    <a:pt x="2393" y="1122"/>
                    <a:pt x="2393" y="575"/>
                    <a:pt x="2048" y="241"/>
                  </a:cubicBezTo>
                  <a:cubicBezTo>
                    <a:pt x="1887" y="81"/>
                    <a:pt x="1670" y="0"/>
                    <a:pt x="14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9" name="Google Shape;11729;p61"/>
            <p:cNvSpPr/>
            <p:nvPr/>
          </p:nvSpPr>
          <p:spPr>
            <a:xfrm>
              <a:off x="1818359" y="3060644"/>
              <a:ext cx="57753" cy="24172"/>
            </a:xfrm>
            <a:custGeom>
              <a:avLst/>
              <a:gdLst/>
              <a:ahLst/>
              <a:cxnLst/>
              <a:rect l="l" t="t" r="r" b="b"/>
              <a:pathLst>
                <a:path w="1823" h="763" extrusionOk="0">
                  <a:moveTo>
                    <a:pt x="181" y="0"/>
                  </a:moveTo>
                  <a:cubicBezTo>
                    <a:pt x="116" y="0"/>
                    <a:pt x="55" y="43"/>
                    <a:pt x="36" y="108"/>
                  </a:cubicBezTo>
                  <a:cubicBezTo>
                    <a:pt x="1" y="203"/>
                    <a:pt x="48" y="286"/>
                    <a:pt x="144" y="322"/>
                  </a:cubicBezTo>
                  <a:lnTo>
                    <a:pt x="1584" y="763"/>
                  </a:lnTo>
                  <a:lnTo>
                    <a:pt x="1632" y="763"/>
                  </a:lnTo>
                  <a:cubicBezTo>
                    <a:pt x="1703" y="763"/>
                    <a:pt x="1763" y="727"/>
                    <a:pt x="1775" y="643"/>
                  </a:cubicBezTo>
                  <a:cubicBezTo>
                    <a:pt x="1822" y="572"/>
                    <a:pt x="1775" y="465"/>
                    <a:pt x="1691" y="453"/>
                  </a:cubicBezTo>
                  <a:lnTo>
                    <a:pt x="239" y="12"/>
                  </a:ln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0" name="Google Shape;11730;p61"/>
            <p:cNvSpPr/>
            <p:nvPr/>
          </p:nvSpPr>
          <p:spPr>
            <a:xfrm>
              <a:off x="1818359" y="3078384"/>
              <a:ext cx="57753" cy="24552"/>
            </a:xfrm>
            <a:custGeom>
              <a:avLst/>
              <a:gdLst/>
              <a:ahLst/>
              <a:cxnLst/>
              <a:rect l="l" t="t" r="r" b="b"/>
              <a:pathLst>
                <a:path w="1823" h="775" extrusionOk="0">
                  <a:moveTo>
                    <a:pt x="182" y="0"/>
                  </a:moveTo>
                  <a:cubicBezTo>
                    <a:pt x="116" y="0"/>
                    <a:pt x="55" y="45"/>
                    <a:pt x="36" y="119"/>
                  </a:cubicBezTo>
                  <a:cubicBezTo>
                    <a:pt x="1" y="203"/>
                    <a:pt x="48" y="298"/>
                    <a:pt x="144" y="322"/>
                  </a:cubicBezTo>
                  <a:lnTo>
                    <a:pt x="1584" y="774"/>
                  </a:lnTo>
                  <a:lnTo>
                    <a:pt x="1632" y="774"/>
                  </a:lnTo>
                  <a:cubicBezTo>
                    <a:pt x="1703" y="774"/>
                    <a:pt x="1763" y="726"/>
                    <a:pt x="1775" y="655"/>
                  </a:cubicBezTo>
                  <a:cubicBezTo>
                    <a:pt x="1822" y="584"/>
                    <a:pt x="1775" y="488"/>
                    <a:pt x="1691" y="464"/>
                  </a:cubicBezTo>
                  <a:lnTo>
                    <a:pt x="239" y="12"/>
                  </a:lnTo>
                  <a:cubicBezTo>
                    <a:pt x="220" y="4"/>
                    <a:pt x="201"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1" name="Google Shape;11731;p61"/>
            <p:cNvSpPr/>
            <p:nvPr/>
          </p:nvSpPr>
          <p:spPr>
            <a:xfrm>
              <a:off x="1818359" y="3096474"/>
              <a:ext cx="57753" cy="24172"/>
            </a:xfrm>
            <a:custGeom>
              <a:avLst/>
              <a:gdLst/>
              <a:ahLst/>
              <a:cxnLst/>
              <a:rect l="l" t="t" r="r" b="b"/>
              <a:pathLst>
                <a:path w="1823" h="763" extrusionOk="0">
                  <a:moveTo>
                    <a:pt x="181" y="1"/>
                  </a:moveTo>
                  <a:cubicBezTo>
                    <a:pt x="116" y="1"/>
                    <a:pt x="55" y="44"/>
                    <a:pt x="36" y="108"/>
                  </a:cubicBezTo>
                  <a:cubicBezTo>
                    <a:pt x="1" y="203"/>
                    <a:pt x="48" y="286"/>
                    <a:pt x="144" y="322"/>
                  </a:cubicBezTo>
                  <a:lnTo>
                    <a:pt x="1584" y="763"/>
                  </a:lnTo>
                  <a:lnTo>
                    <a:pt x="1632" y="763"/>
                  </a:lnTo>
                  <a:cubicBezTo>
                    <a:pt x="1703" y="763"/>
                    <a:pt x="1763" y="727"/>
                    <a:pt x="1775" y="644"/>
                  </a:cubicBezTo>
                  <a:cubicBezTo>
                    <a:pt x="1822" y="572"/>
                    <a:pt x="1775" y="489"/>
                    <a:pt x="1691" y="453"/>
                  </a:cubicBezTo>
                  <a:lnTo>
                    <a:pt x="239" y="13"/>
                  </a:lnTo>
                  <a:cubicBezTo>
                    <a:pt x="220" y="4"/>
                    <a:pt x="200"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2" name="Google Shape;11732;p61"/>
            <p:cNvSpPr/>
            <p:nvPr/>
          </p:nvSpPr>
          <p:spPr>
            <a:xfrm>
              <a:off x="2022410" y="3029914"/>
              <a:ext cx="760" cy="570"/>
            </a:xfrm>
            <a:custGeom>
              <a:avLst/>
              <a:gdLst/>
              <a:ahLst/>
              <a:cxnLst/>
              <a:rect l="l" t="t" r="r" b="b"/>
              <a:pathLst>
                <a:path w="24" h="18" extrusionOk="0">
                  <a:moveTo>
                    <a:pt x="3" y="0"/>
                  </a:moveTo>
                  <a:cubicBezTo>
                    <a:pt x="0" y="0"/>
                    <a:pt x="21" y="18"/>
                    <a:pt x="23" y="18"/>
                  </a:cubicBezTo>
                  <a:cubicBezTo>
                    <a:pt x="24" y="18"/>
                    <a:pt x="22" y="15"/>
                    <a:pt x="13" y="6"/>
                  </a:cubicBezTo>
                  <a:cubicBezTo>
                    <a:pt x="7" y="2"/>
                    <a:pt x="4" y="0"/>
                    <a:pt x="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3" name="Google Shape;11733;p61"/>
            <p:cNvSpPr/>
            <p:nvPr/>
          </p:nvSpPr>
          <p:spPr>
            <a:xfrm>
              <a:off x="1770459" y="3017337"/>
              <a:ext cx="254644" cy="215994"/>
            </a:xfrm>
            <a:custGeom>
              <a:avLst/>
              <a:gdLst/>
              <a:ahLst/>
              <a:cxnLst/>
              <a:rect l="l" t="t" r="r" b="b"/>
              <a:pathLst>
                <a:path w="8038" h="6818" extrusionOk="0">
                  <a:moveTo>
                    <a:pt x="7275" y="391"/>
                  </a:moveTo>
                  <a:lnTo>
                    <a:pt x="7275" y="3677"/>
                  </a:lnTo>
                  <a:lnTo>
                    <a:pt x="4180" y="4677"/>
                  </a:lnTo>
                  <a:lnTo>
                    <a:pt x="4180" y="2570"/>
                  </a:lnTo>
                  <a:lnTo>
                    <a:pt x="4180" y="1760"/>
                  </a:lnTo>
                  <a:lnTo>
                    <a:pt x="4180" y="1391"/>
                  </a:lnTo>
                  <a:lnTo>
                    <a:pt x="7275" y="391"/>
                  </a:lnTo>
                  <a:close/>
                  <a:moveTo>
                    <a:pt x="310" y="748"/>
                  </a:moveTo>
                  <a:lnTo>
                    <a:pt x="429" y="796"/>
                  </a:lnTo>
                  <a:lnTo>
                    <a:pt x="429" y="3820"/>
                  </a:lnTo>
                  <a:cubicBezTo>
                    <a:pt x="429" y="3892"/>
                    <a:pt x="477" y="3951"/>
                    <a:pt x="548" y="3963"/>
                  </a:cubicBezTo>
                  <a:lnTo>
                    <a:pt x="3858" y="5023"/>
                  </a:lnTo>
                  <a:lnTo>
                    <a:pt x="3858" y="5630"/>
                  </a:lnTo>
                  <a:lnTo>
                    <a:pt x="310" y="4499"/>
                  </a:lnTo>
                  <a:lnTo>
                    <a:pt x="310" y="1332"/>
                  </a:lnTo>
                  <a:lnTo>
                    <a:pt x="310" y="748"/>
                  </a:lnTo>
                  <a:close/>
                  <a:moveTo>
                    <a:pt x="7704" y="748"/>
                  </a:moveTo>
                  <a:lnTo>
                    <a:pt x="7704" y="1332"/>
                  </a:lnTo>
                  <a:lnTo>
                    <a:pt x="7704" y="4499"/>
                  </a:lnTo>
                  <a:lnTo>
                    <a:pt x="4168" y="5630"/>
                  </a:lnTo>
                  <a:lnTo>
                    <a:pt x="4168" y="5023"/>
                  </a:lnTo>
                  <a:lnTo>
                    <a:pt x="7466" y="3963"/>
                  </a:lnTo>
                  <a:cubicBezTo>
                    <a:pt x="7525" y="3951"/>
                    <a:pt x="7585" y="3880"/>
                    <a:pt x="7585" y="3820"/>
                  </a:cubicBezTo>
                  <a:lnTo>
                    <a:pt x="7585" y="796"/>
                  </a:lnTo>
                  <a:lnTo>
                    <a:pt x="7704" y="748"/>
                  </a:lnTo>
                  <a:close/>
                  <a:moveTo>
                    <a:pt x="310" y="4844"/>
                  </a:moveTo>
                  <a:lnTo>
                    <a:pt x="3858" y="5975"/>
                  </a:lnTo>
                  <a:lnTo>
                    <a:pt x="3858" y="6440"/>
                  </a:lnTo>
                  <a:lnTo>
                    <a:pt x="310" y="5309"/>
                  </a:lnTo>
                  <a:lnTo>
                    <a:pt x="310" y="4844"/>
                  </a:lnTo>
                  <a:close/>
                  <a:moveTo>
                    <a:pt x="595" y="0"/>
                  </a:moveTo>
                  <a:cubicBezTo>
                    <a:pt x="562" y="0"/>
                    <a:pt x="522" y="17"/>
                    <a:pt x="489" y="34"/>
                  </a:cubicBezTo>
                  <a:cubicBezTo>
                    <a:pt x="441" y="70"/>
                    <a:pt x="429" y="105"/>
                    <a:pt x="429" y="165"/>
                  </a:cubicBezTo>
                  <a:lnTo>
                    <a:pt x="429" y="439"/>
                  </a:lnTo>
                  <a:lnTo>
                    <a:pt x="203" y="367"/>
                  </a:lnTo>
                  <a:cubicBezTo>
                    <a:pt x="189" y="360"/>
                    <a:pt x="175" y="358"/>
                    <a:pt x="161" y="358"/>
                  </a:cubicBezTo>
                  <a:cubicBezTo>
                    <a:pt x="127" y="358"/>
                    <a:pt x="94" y="374"/>
                    <a:pt x="60" y="391"/>
                  </a:cubicBezTo>
                  <a:cubicBezTo>
                    <a:pt x="12" y="427"/>
                    <a:pt x="1" y="463"/>
                    <a:pt x="1" y="522"/>
                  </a:cubicBezTo>
                  <a:lnTo>
                    <a:pt x="1" y="1332"/>
                  </a:lnTo>
                  <a:lnTo>
                    <a:pt x="1" y="4618"/>
                  </a:lnTo>
                  <a:lnTo>
                    <a:pt x="1" y="5428"/>
                  </a:lnTo>
                  <a:cubicBezTo>
                    <a:pt x="1" y="5499"/>
                    <a:pt x="48" y="5559"/>
                    <a:pt x="120" y="5570"/>
                  </a:cubicBezTo>
                  <a:lnTo>
                    <a:pt x="3977" y="6809"/>
                  </a:lnTo>
                  <a:cubicBezTo>
                    <a:pt x="3989" y="6815"/>
                    <a:pt x="4001" y="6818"/>
                    <a:pt x="4016" y="6818"/>
                  </a:cubicBezTo>
                  <a:cubicBezTo>
                    <a:pt x="4031" y="6818"/>
                    <a:pt x="4049" y="6815"/>
                    <a:pt x="4073" y="6809"/>
                  </a:cubicBezTo>
                  <a:lnTo>
                    <a:pt x="6061" y="6166"/>
                  </a:lnTo>
                  <a:cubicBezTo>
                    <a:pt x="6144" y="6130"/>
                    <a:pt x="6192" y="6047"/>
                    <a:pt x="6156" y="5963"/>
                  </a:cubicBezTo>
                  <a:cubicBezTo>
                    <a:pt x="6138" y="5890"/>
                    <a:pt x="6076" y="5844"/>
                    <a:pt x="6011" y="5844"/>
                  </a:cubicBezTo>
                  <a:cubicBezTo>
                    <a:pt x="5992" y="5844"/>
                    <a:pt x="5972" y="5848"/>
                    <a:pt x="5954" y="5856"/>
                  </a:cubicBezTo>
                  <a:lnTo>
                    <a:pt x="4180" y="6440"/>
                  </a:lnTo>
                  <a:lnTo>
                    <a:pt x="4180" y="5975"/>
                  </a:lnTo>
                  <a:lnTo>
                    <a:pt x="7728" y="4844"/>
                  </a:lnTo>
                  <a:lnTo>
                    <a:pt x="7728" y="5309"/>
                  </a:lnTo>
                  <a:lnTo>
                    <a:pt x="6597" y="5666"/>
                  </a:lnTo>
                  <a:cubicBezTo>
                    <a:pt x="6501" y="5690"/>
                    <a:pt x="6454" y="5773"/>
                    <a:pt x="6489" y="5868"/>
                  </a:cubicBezTo>
                  <a:cubicBezTo>
                    <a:pt x="6501" y="5940"/>
                    <a:pt x="6573" y="5987"/>
                    <a:pt x="6632" y="5987"/>
                  </a:cubicBezTo>
                  <a:cubicBezTo>
                    <a:pt x="6656" y="5987"/>
                    <a:pt x="6668" y="5987"/>
                    <a:pt x="6680" y="5975"/>
                  </a:cubicBezTo>
                  <a:lnTo>
                    <a:pt x="7918" y="5570"/>
                  </a:lnTo>
                  <a:cubicBezTo>
                    <a:pt x="7978" y="5559"/>
                    <a:pt x="8037" y="5475"/>
                    <a:pt x="8037" y="5416"/>
                  </a:cubicBezTo>
                  <a:lnTo>
                    <a:pt x="8037" y="4618"/>
                  </a:lnTo>
                  <a:lnTo>
                    <a:pt x="8037" y="1332"/>
                  </a:lnTo>
                  <a:lnTo>
                    <a:pt x="8037" y="522"/>
                  </a:lnTo>
                  <a:cubicBezTo>
                    <a:pt x="8037" y="486"/>
                    <a:pt x="8002" y="439"/>
                    <a:pt x="7966" y="403"/>
                  </a:cubicBezTo>
                  <a:cubicBezTo>
                    <a:pt x="7931" y="386"/>
                    <a:pt x="7896" y="375"/>
                    <a:pt x="7857" y="375"/>
                  </a:cubicBezTo>
                  <a:cubicBezTo>
                    <a:pt x="7842" y="375"/>
                    <a:pt x="7827" y="376"/>
                    <a:pt x="7811" y="379"/>
                  </a:cubicBezTo>
                  <a:lnTo>
                    <a:pt x="7585" y="451"/>
                  </a:lnTo>
                  <a:lnTo>
                    <a:pt x="7585" y="189"/>
                  </a:lnTo>
                  <a:cubicBezTo>
                    <a:pt x="7585" y="141"/>
                    <a:pt x="7561" y="82"/>
                    <a:pt x="7525" y="46"/>
                  </a:cubicBezTo>
                  <a:cubicBezTo>
                    <a:pt x="7499" y="29"/>
                    <a:pt x="7467" y="17"/>
                    <a:pt x="7428" y="17"/>
                  </a:cubicBezTo>
                  <a:cubicBezTo>
                    <a:pt x="7413" y="17"/>
                    <a:pt x="7398" y="19"/>
                    <a:pt x="7382" y="22"/>
                  </a:cubicBezTo>
                  <a:lnTo>
                    <a:pt x="4013" y="1094"/>
                  </a:lnTo>
                  <a:lnTo>
                    <a:pt x="1965" y="439"/>
                  </a:lnTo>
                  <a:cubicBezTo>
                    <a:pt x="1944" y="431"/>
                    <a:pt x="1923" y="427"/>
                    <a:pt x="1903" y="427"/>
                  </a:cubicBezTo>
                  <a:cubicBezTo>
                    <a:pt x="1835" y="427"/>
                    <a:pt x="1778" y="472"/>
                    <a:pt x="1751" y="546"/>
                  </a:cubicBezTo>
                  <a:cubicBezTo>
                    <a:pt x="1727" y="629"/>
                    <a:pt x="1775" y="725"/>
                    <a:pt x="1858" y="748"/>
                  </a:cubicBezTo>
                  <a:lnTo>
                    <a:pt x="3834" y="1391"/>
                  </a:lnTo>
                  <a:lnTo>
                    <a:pt x="3834" y="1760"/>
                  </a:lnTo>
                  <a:lnTo>
                    <a:pt x="3834" y="2570"/>
                  </a:lnTo>
                  <a:lnTo>
                    <a:pt x="3834" y="4677"/>
                  </a:lnTo>
                  <a:lnTo>
                    <a:pt x="739" y="3677"/>
                  </a:lnTo>
                  <a:lnTo>
                    <a:pt x="739" y="391"/>
                  </a:lnTo>
                  <a:lnTo>
                    <a:pt x="1215" y="546"/>
                  </a:lnTo>
                  <a:cubicBezTo>
                    <a:pt x="1232" y="550"/>
                    <a:pt x="1248" y="552"/>
                    <a:pt x="1264" y="552"/>
                  </a:cubicBezTo>
                  <a:cubicBezTo>
                    <a:pt x="1338" y="552"/>
                    <a:pt x="1400" y="508"/>
                    <a:pt x="1429" y="439"/>
                  </a:cubicBezTo>
                  <a:cubicBezTo>
                    <a:pt x="1453" y="344"/>
                    <a:pt x="1406" y="260"/>
                    <a:pt x="1322" y="225"/>
                  </a:cubicBezTo>
                  <a:lnTo>
                    <a:pt x="632" y="10"/>
                  </a:lnTo>
                  <a:cubicBezTo>
                    <a:pt x="621" y="3"/>
                    <a:pt x="609" y="0"/>
                    <a:pt x="5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4" name="Google Shape;11734;p61"/>
            <p:cNvSpPr/>
            <p:nvPr/>
          </p:nvSpPr>
          <p:spPr>
            <a:xfrm>
              <a:off x="1929271" y="3055987"/>
              <a:ext cx="38111" cy="47298"/>
            </a:xfrm>
            <a:custGeom>
              <a:avLst/>
              <a:gdLst/>
              <a:ahLst/>
              <a:cxnLst/>
              <a:rect l="l" t="t" r="r" b="b"/>
              <a:pathLst>
                <a:path w="1203" h="1493" extrusionOk="0">
                  <a:moveTo>
                    <a:pt x="881" y="374"/>
                  </a:moveTo>
                  <a:lnTo>
                    <a:pt x="881" y="945"/>
                  </a:lnTo>
                  <a:lnTo>
                    <a:pt x="345" y="1112"/>
                  </a:lnTo>
                  <a:lnTo>
                    <a:pt x="345" y="540"/>
                  </a:lnTo>
                  <a:lnTo>
                    <a:pt x="881" y="374"/>
                  </a:lnTo>
                  <a:close/>
                  <a:moveTo>
                    <a:pt x="1029" y="0"/>
                  </a:moveTo>
                  <a:cubicBezTo>
                    <a:pt x="1017" y="0"/>
                    <a:pt x="1003" y="2"/>
                    <a:pt x="988" y="5"/>
                  </a:cubicBezTo>
                  <a:lnTo>
                    <a:pt x="119" y="279"/>
                  </a:lnTo>
                  <a:cubicBezTo>
                    <a:pt x="60" y="290"/>
                    <a:pt x="0" y="362"/>
                    <a:pt x="0" y="421"/>
                  </a:cubicBezTo>
                  <a:lnTo>
                    <a:pt x="0" y="1326"/>
                  </a:lnTo>
                  <a:cubicBezTo>
                    <a:pt x="0" y="1374"/>
                    <a:pt x="24" y="1433"/>
                    <a:pt x="60" y="1469"/>
                  </a:cubicBezTo>
                  <a:cubicBezTo>
                    <a:pt x="83" y="1481"/>
                    <a:pt x="119" y="1493"/>
                    <a:pt x="155" y="1493"/>
                  </a:cubicBezTo>
                  <a:cubicBezTo>
                    <a:pt x="167" y="1493"/>
                    <a:pt x="179" y="1493"/>
                    <a:pt x="191" y="1481"/>
                  </a:cubicBezTo>
                  <a:lnTo>
                    <a:pt x="1060" y="1207"/>
                  </a:lnTo>
                  <a:cubicBezTo>
                    <a:pt x="1119" y="1195"/>
                    <a:pt x="1179" y="1124"/>
                    <a:pt x="1179" y="1064"/>
                  </a:cubicBezTo>
                  <a:lnTo>
                    <a:pt x="1179" y="159"/>
                  </a:lnTo>
                  <a:cubicBezTo>
                    <a:pt x="1203" y="112"/>
                    <a:pt x="1179" y="64"/>
                    <a:pt x="1131" y="40"/>
                  </a:cubicBezTo>
                  <a:cubicBezTo>
                    <a:pt x="1095" y="14"/>
                    <a:pt x="1066" y="0"/>
                    <a:pt x="10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35" name="Google Shape;11735;p61"/>
          <p:cNvGrpSpPr/>
          <p:nvPr/>
        </p:nvGrpSpPr>
        <p:grpSpPr>
          <a:xfrm>
            <a:off x="1317466" y="2884883"/>
            <a:ext cx="258382" cy="348543"/>
            <a:chOff x="1317466" y="2884883"/>
            <a:chExt cx="258382" cy="348543"/>
          </a:xfrm>
        </p:grpSpPr>
        <p:sp>
          <p:nvSpPr>
            <p:cNvPr id="11736" name="Google Shape;11736;p61"/>
            <p:cNvSpPr/>
            <p:nvPr/>
          </p:nvSpPr>
          <p:spPr>
            <a:xfrm>
              <a:off x="1317847" y="2916943"/>
              <a:ext cx="51702" cy="278404"/>
            </a:xfrm>
            <a:custGeom>
              <a:avLst/>
              <a:gdLst/>
              <a:ahLst/>
              <a:cxnLst/>
              <a:rect l="l" t="t" r="r" b="b"/>
              <a:pathLst>
                <a:path w="1632" h="8788" extrusionOk="0">
                  <a:moveTo>
                    <a:pt x="167" y="0"/>
                  </a:moveTo>
                  <a:cubicBezTo>
                    <a:pt x="72" y="0"/>
                    <a:pt x="0" y="84"/>
                    <a:pt x="0" y="167"/>
                  </a:cubicBezTo>
                  <a:lnTo>
                    <a:pt x="0" y="8620"/>
                  </a:lnTo>
                  <a:cubicBezTo>
                    <a:pt x="0" y="8716"/>
                    <a:pt x="72" y="8787"/>
                    <a:pt x="167" y="8787"/>
                  </a:cubicBezTo>
                  <a:cubicBezTo>
                    <a:pt x="250" y="8787"/>
                    <a:pt x="322" y="8716"/>
                    <a:pt x="322" y="8620"/>
                  </a:cubicBezTo>
                  <a:lnTo>
                    <a:pt x="322" y="334"/>
                  </a:lnTo>
                  <a:lnTo>
                    <a:pt x="1476" y="334"/>
                  </a:lnTo>
                  <a:cubicBezTo>
                    <a:pt x="1560" y="334"/>
                    <a:pt x="1631" y="250"/>
                    <a:pt x="1631" y="167"/>
                  </a:cubicBezTo>
                  <a:cubicBezTo>
                    <a:pt x="1631" y="72"/>
                    <a:pt x="1560" y="0"/>
                    <a:pt x="1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7" name="Google Shape;11737;p61"/>
            <p:cNvSpPr/>
            <p:nvPr/>
          </p:nvSpPr>
          <p:spPr>
            <a:xfrm>
              <a:off x="1394766" y="3181725"/>
              <a:ext cx="32852" cy="32852"/>
            </a:xfrm>
            <a:custGeom>
              <a:avLst/>
              <a:gdLst/>
              <a:ahLst/>
              <a:cxnLst/>
              <a:rect l="l" t="t" r="r" b="b"/>
              <a:pathLst>
                <a:path w="1037" h="1037" extrusionOk="0">
                  <a:moveTo>
                    <a:pt x="513" y="322"/>
                  </a:moveTo>
                  <a:cubicBezTo>
                    <a:pt x="620" y="322"/>
                    <a:pt x="715" y="417"/>
                    <a:pt x="715" y="512"/>
                  </a:cubicBezTo>
                  <a:cubicBezTo>
                    <a:pt x="715" y="620"/>
                    <a:pt x="620" y="715"/>
                    <a:pt x="513" y="715"/>
                  </a:cubicBezTo>
                  <a:cubicBezTo>
                    <a:pt x="418" y="715"/>
                    <a:pt x="322" y="620"/>
                    <a:pt x="322" y="512"/>
                  </a:cubicBezTo>
                  <a:cubicBezTo>
                    <a:pt x="322" y="417"/>
                    <a:pt x="418" y="322"/>
                    <a:pt x="513" y="322"/>
                  </a:cubicBezTo>
                  <a:close/>
                  <a:moveTo>
                    <a:pt x="513" y="0"/>
                  </a:moveTo>
                  <a:cubicBezTo>
                    <a:pt x="239" y="0"/>
                    <a:pt x="1" y="239"/>
                    <a:pt x="1" y="512"/>
                  </a:cubicBezTo>
                  <a:cubicBezTo>
                    <a:pt x="1" y="798"/>
                    <a:pt x="239" y="1036"/>
                    <a:pt x="513" y="1036"/>
                  </a:cubicBezTo>
                  <a:cubicBezTo>
                    <a:pt x="799" y="1036"/>
                    <a:pt x="1037" y="798"/>
                    <a:pt x="1037" y="512"/>
                  </a:cubicBezTo>
                  <a:cubicBezTo>
                    <a:pt x="1037" y="215"/>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8" name="Google Shape;11738;p61"/>
            <p:cNvSpPr/>
            <p:nvPr/>
          </p:nvSpPr>
          <p:spPr>
            <a:xfrm>
              <a:off x="1317466" y="2884883"/>
              <a:ext cx="258382" cy="348543"/>
            </a:xfrm>
            <a:custGeom>
              <a:avLst/>
              <a:gdLst/>
              <a:ahLst/>
              <a:cxnLst/>
              <a:rect l="l" t="t" r="r" b="b"/>
              <a:pathLst>
                <a:path w="8156" h="11002" extrusionOk="0">
                  <a:moveTo>
                    <a:pt x="3870" y="2322"/>
                  </a:moveTo>
                  <a:cubicBezTo>
                    <a:pt x="3929" y="3072"/>
                    <a:pt x="4370" y="3703"/>
                    <a:pt x="5013" y="4048"/>
                  </a:cubicBezTo>
                  <a:lnTo>
                    <a:pt x="5013" y="8966"/>
                  </a:lnTo>
                  <a:lnTo>
                    <a:pt x="893" y="8966"/>
                  </a:lnTo>
                  <a:lnTo>
                    <a:pt x="893" y="2322"/>
                  </a:lnTo>
                  <a:close/>
                  <a:moveTo>
                    <a:pt x="6013" y="0"/>
                  </a:moveTo>
                  <a:cubicBezTo>
                    <a:pt x="5239" y="0"/>
                    <a:pt x="4560" y="405"/>
                    <a:pt x="4179" y="1024"/>
                  </a:cubicBezTo>
                  <a:lnTo>
                    <a:pt x="2108" y="1024"/>
                  </a:lnTo>
                  <a:cubicBezTo>
                    <a:pt x="2024" y="1024"/>
                    <a:pt x="1941" y="1108"/>
                    <a:pt x="1941" y="1191"/>
                  </a:cubicBezTo>
                  <a:cubicBezTo>
                    <a:pt x="1941" y="1286"/>
                    <a:pt x="2024" y="1358"/>
                    <a:pt x="2108" y="1358"/>
                  </a:cubicBezTo>
                  <a:lnTo>
                    <a:pt x="4013" y="1358"/>
                  </a:lnTo>
                  <a:cubicBezTo>
                    <a:pt x="3929" y="1560"/>
                    <a:pt x="3882" y="1786"/>
                    <a:pt x="3870" y="2024"/>
                  </a:cubicBezTo>
                  <a:lnTo>
                    <a:pt x="726" y="2024"/>
                  </a:lnTo>
                  <a:cubicBezTo>
                    <a:pt x="631" y="2024"/>
                    <a:pt x="560" y="2096"/>
                    <a:pt x="560" y="2191"/>
                  </a:cubicBezTo>
                  <a:lnTo>
                    <a:pt x="560" y="9132"/>
                  </a:lnTo>
                  <a:cubicBezTo>
                    <a:pt x="560" y="9216"/>
                    <a:pt x="631" y="9287"/>
                    <a:pt x="726" y="9287"/>
                  </a:cubicBezTo>
                  <a:lnTo>
                    <a:pt x="5156" y="9287"/>
                  </a:lnTo>
                  <a:cubicBezTo>
                    <a:pt x="5251" y="9287"/>
                    <a:pt x="5322" y="9216"/>
                    <a:pt x="5322" y="9132"/>
                  </a:cubicBezTo>
                  <a:lnTo>
                    <a:pt x="5322" y="4191"/>
                  </a:lnTo>
                  <a:cubicBezTo>
                    <a:pt x="5394" y="4215"/>
                    <a:pt x="5489" y="4227"/>
                    <a:pt x="5560" y="4251"/>
                  </a:cubicBezTo>
                  <a:lnTo>
                    <a:pt x="5560" y="10680"/>
                  </a:lnTo>
                  <a:lnTo>
                    <a:pt x="322" y="10680"/>
                  </a:lnTo>
                  <a:lnTo>
                    <a:pt x="322" y="10263"/>
                  </a:lnTo>
                  <a:cubicBezTo>
                    <a:pt x="322" y="10168"/>
                    <a:pt x="250" y="10097"/>
                    <a:pt x="155" y="10097"/>
                  </a:cubicBezTo>
                  <a:cubicBezTo>
                    <a:pt x="72" y="10097"/>
                    <a:pt x="0" y="10168"/>
                    <a:pt x="0" y="10263"/>
                  </a:cubicBezTo>
                  <a:lnTo>
                    <a:pt x="0" y="10835"/>
                  </a:lnTo>
                  <a:cubicBezTo>
                    <a:pt x="0" y="10930"/>
                    <a:pt x="72" y="11002"/>
                    <a:pt x="155" y="11002"/>
                  </a:cubicBezTo>
                  <a:lnTo>
                    <a:pt x="5727" y="11002"/>
                  </a:lnTo>
                  <a:cubicBezTo>
                    <a:pt x="5810" y="11002"/>
                    <a:pt x="5894" y="10930"/>
                    <a:pt x="5894" y="10835"/>
                  </a:cubicBezTo>
                  <a:lnTo>
                    <a:pt x="5894" y="4286"/>
                  </a:lnTo>
                  <a:lnTo>
                    <a:pt x="6013" y="4286"/>
                  </a:lnTo>
                  <a:cubicBezTo>
                    <a:pt x="6525" y="4286"/>
                    <a:pt x="7025" y="4108"/>
                    <a:pt x="7406" y="3775"/>
                  </a:cubicBezTo>
                  <a:cubicBezTo>
                    <a:pt x="7799" y="3441"/>
                    <a:pt x="8049" y="2977"/>
                    <a:pt x="8120" y="2477"/>
                  </a:cubicBezTo>
                  <a:cubicBezTo>
                    <a:pt x="8156" y="2381"/>
                    <a:pt x="8096" y="2310"/>
                    <a:pt x="8001" y="2298"/>
                  </a:cubicBezTo>
                  <a:cubicBezTo>
                    <a:pt x="7994" y="2297"/>
                    <a:pt x="7987" y="2297"/>
                    <a:pt x="7980" y="2297"/>
                  </a:cubicBezTo>
                  <a:cubicBezTo>
                    <a:pt x="7904" y="2297"/>
                    <a:pt x="7833" y="2353"/>
                    <a:pt x="7823" y="2429"/>
                  </a:cubicBezTo>
                  <a:cubicBezTo>
                    <a:pt x="7692" y="3322"/>
                    <a:pt x="6930" y="3977"/>
                    <a:pt x="6025" y="3977"/>
                  </a:cubicBezTo>
                  <a:cubicBezTo>
                    <a:pt x="5013" y="3977"/>
                    <a:pt x="4191" y="3155"/>
                    <a:pt x="4191" y="2143"/>
                  </a:cubicBezTo>
                  <a:cubicBezTo>
                    <a:pt x="4191" y="1131"/>
                    <a:pt x="5013" y="322"/>
                    <a:pt x="6025" y="322"/>
                  </a:cubicBezTo>
                  <a:cubicBezTo>
                    <a:pt x="6918" y="322"/>
                    <a:pt x="7680" y="953"/>
                    <a:pt x="7823" y="1846"/>
                  </a:cubicBezTo>
                  <a:cubicBezTo>
                    <a:pt x="7833" y="1933"/>
                    <a:pt x="7914" y="1990"/>
                    <a:pt x="7982" y="1990"/>
                  </a:cubicBezTo>
                  <a:cubicBezTo>
                    <a:pt x="7989" y="1990"/>
                    <a:pt x="7995" y="1990"/>
                    <a:pt x="8001" y="1989"/>
                  </a:cubicBezTo>
                  <a:cubicBezTo>
                    <a:pt x="8096" y="1965"/>
                    <a:pt x="8156" y="1881"/>
                    <a:pt x="8132" y="1798"/>
                  </a:cubicBezTo>
                  <a:cubicBezTo>
                    <a:pt x="8049" y="1310"/>
                    <a:pt x="7799" y="857"/>
                    <a:pt x="7406" y="524"/>
                  </a:cubicBezTo>
                  <a:cubicBezTo>
                    <a:pt x="7025" y="191"/>
                    <a:pt x="6513" y="0"/>
                    <a:pt x="6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9" name="Google Shape;11739;p61"/>
            <p:cNvSpPr/>
            <p:nvPr/>
          </p:nvSpPr>
          <p:spPr>
            <a:xfrm>
              <a:off x="1467186" y="2912033"/>
              <a:ext cx="82653" cy="82273"/>
            </a:xfrm>
            <a:custGeom>
              <a:avLst/>
              <a:gdLst/>
              <a:ahLst/>
              <a:cxnLst/>
              <a:rect l="l" t="t" r="r" b="b"/>
              <a:pathLst>
                <a:path w="2609" h="2597" extrusionOk="0">
                  <a:moveTo>
                    <a:pt x="334" y="1263"/>
                  </a:moveTo>
                  <a:lnTo>
                    <a:pt x="418" y="1298"/>
                  </a:lnTo>
                  <a:cubicBezTo>
                    <a:pt x="656" y="1394"/>
                    <a:pt x="715" y="1489"/>
                    <a:pt x="715" y="1524"/>
                  </a:cubicBezTo>
                  <a:cubicBezTo>
                    <a:pt x="715" y="1560"/>
                    <a:pt x="656" y="1644"/>
                    <a:pt x="453" y="1751"/>
                  </a:cubicBezTo>
                  <a:cubicBezTo>
                    <a:pt x="370" y="1620"/>
                    <a:pt x="334" y="1465"/>
                    <a:pt x="334" y="1310"/>
                  </a:cubicBezTo>
                  <a:lnTo>
                    <a:pt x="334" y="1286"/>
                  </a:lnTo>
                  <a:lnTo>
                    <a:pt x="334" y="1263"/>
                  </a:lnTo>
                  <a:close/>
                  <a:moveTo>
                    <a:pt x="1192" y="334"/>
                  </a:moveTo>
                  <a:lnTo>
                    <a:pt x="1192" y="334"/>
                  </a:lnTo>
                  <a:cubicBezTo>
                    <a:pt x="1180" y="358"/>
                    <a:pt x="1168" y="381"/>
                    <a:pt x="1144" y="393"/>
                  </a:cubicBezTo>
                  <a:cubicBezTo>
                    <a:pt x="1013" y="620"/>
                    <a:pt x="1084" y="786"/>
                    <a:pt x="1144" y="870"/>
                  </a:cubicBezTo>
                  <a:cubicBezTo>
                    <a:pt x="1299" y="1084"/>
                    <a:pt x="1501" y="1132"/>
                    <a:pt x="1656" y="1155"/>
                  </a:cubicBezTo>
                  <a:cubicBezTo>
                    <a:pt x="1835" y="1203"/>
                    <a:pt x="1846" y="1203"/>
                    <a:pt x="1858" y="1322"/>
                  </a:cubicBezTo>
                  <a:cubicBezTo>
                    <a:pt x="1858" y="1429"/>
                    <a:pt x="1680" y="1548"/>
                    <a:pt x="1501" y="1644"/>
                  </a:cubicBezTo>
                  <a:cubicBezTo>
                    <a:pt x="1299" y="1786"/>
                    <a:pt x="1049" y="1929"/>
                    <a:pt x="942" y="2179"/>
                  </a:cubicBezTo>
                  <a:cubicBezTo>
                    <a:pt x="846" y="2156"/>
                    <a:pt x="775" y="2108"/>
                    <a:pt x="703" y="2048"/>
                  </a:cubicBezTo>
                  <a:cubicBezTo>
                    <a:pt x="680" y="2036"/>
                    <a:pt x="668" y="2025"/>
                    <a:pt x="656" y="2025"/>
                  </a:cubicBezTo>
                  <a:cubicBezTo>
                    <a:pt x="918" y="1870"/>
                    <a:pt x="1037" y="1691"/>
                    <a:pt x="1037" y="1513"/>
                  </a:cubicBezTo>
                  <a:cubicBezTo>
                    <a:pt x="1037" y="1370"/>
                    <a:pt x="953" y="1155"/>
                    <a:pt x="537" y="989"/>
                  </a:cubicBezTo>
                  <a:cubicBezTo>
                    <a:pt x="489" y="977"/>
                    <a:pt x="430" y="953"/>
                    <a:pt x="406" y="917"/>
                  </a:cubicBezTo>
                  <a:cubicBezTo>
                    <a:pt x="537" y="596"/>
                    <a:pt x="846" y="381"/>
                    <a:pt x="1192" y="334"/>
                  </a:cubicBezTo>
                  <a:close/>
                  <a:moveTo>
                    <a:pt x="1632" y="370"/>
                  </a:moveTo>
                  <a:cubicBezTo>
                    <a:pt x="1858" y="441"/>
                    <a:pt x="2049" y="620"/>
                    <a:pt x="2180" y="834"/>
                  </a:cubicBezTo>
                  <a:cubicBezTo>
                    <a:pt x="2251" y="965"/>
                    <a:pt x="2275" y="1108"/>
                    <a:pt x="2275" y="1274"/>
                  </a:cubicBezTo>
                  <a:cubicBezTo>
                    <a:pt x="2251" y="1644"/>
                    <a:pt x="2049" y="1977"/>
                    <a:pt x="1727" y="2132"/>
                  </a:cubicBezTo>
                  <a:cubicBezTo>
                    <a:pt x="1596" y="2215"/>
                    <a:pt x="1442" y="2239"/>
                    <a:pt x="1299" y="2239"/>
                  </a:cubicBezTo>
                  <a:cubicBezTo>
                    <a:pt x="1370" y="2132"/>
                    <a:pt x="1501" y="2036"/>
                    <a:pt x="1704" y="1917"/>
                  </a:cubicBezTo>
                  <a:cubicBezTo>
                    <a:pt x="1942" y="1763"/>
                    <a:pt x="2216" y="1584"/>
                    <a:pt x="2204" y="1286"/>
                  </a:cubicBezTo>
                  <a:cubicBezTo>
                    <a:pt x="2192" y="905"/>
                    <a:pt x="1918" y="846"/>
                    <a:pt x="1739" y="798"/>
                  </a:cubicBezTo>
                  <a:cubicBezTo>
                    <a:pt x="1620" y="762"/>
                    <a:pt x="1501" y="751"/>
                    <a:pt x="1442" y="643"/>
                  </a:cubicBezTo>
                  <a:cubicBezTo>
                    <a:pt x="1418" y="608"/>
                    <a:pt x="1454" y="512"/>
                    <a:pt x="1632" y="370"/>
                  </a:cubicBezTo>
                  <a:close/>
                  <a:moveTo>
                    <a:pt x="1299" y="0"/>
                  </a:moveTo>
                  <a:cubicBezTo>
                    <a:pt x="727" y="0"/>
                    <a:pt x="227" y="358"/>
                    <a:pt x="60" y="905"/>
                  </a:cubicBezTo>
                  <a:cubicBezTo>
                    <a:pt x="13" y="1024"/>
                    <a:pt x="1" y="1155"/>
                    <a:pt x="1" y="1286"/>
                  </a:cubicBezTo>
                  <a:lnTo>
                    <a:pt x="1" y="1322"/>
                  </a:lnTo>
                  <a:cubicBezTo>
                    <a:pt x="1" y="1608"/>
                    <a:pt x="96" y="1858"/>
                    <a:pt x="275" y="2084"/>
                  </a:cubicBezTo>
                  <a:lnTo>
                    <a:pt x="275" y="2096"/>
                  </a:lnTo>
                  <a:cubicBezTo>
                    <a:pt x="346" y="2179"/>
                    <a:pt x="418" y="2263"/>
                    <a:pt x="513" y="2334"/>
                  </a:cubicBezTo>
                  <a:cubicBezTo>
                    <a:pt x="656" y="2453"/>
                    <a:pt x="846" y="2525"/>
                    <a:pt x="1049" y="2572"/>
                  </a:cubicBezTo>
                  <a:cubicBezTo>
                    <a:pt x="1120" y="2584"/>
                    <a:pt x="1203" y="2596"/>
                    <a:pt x="1299" y="2596"/>
                  </a:cubicBezTo>
                  <a:cubicBezTo>
                    <a:pt x="1501" y="2596"/>
                    <a:pt x="1704" y="2560"/>
                    <a:pt x="1894" y="2465"/>
                  </a:cubicBezTo>
                  <a:cubicBezTo>
                    <a:pt x="2323" y="2239"/>
                    <a:pt x="2608" y="1798"/>
                    <a:pt x="2608" y="1310"/>
                  </a:cubicBezTo>
                  <a:cubicBezTo>
                    <a:pt x="2597" y="1084"/>
                    <a:pt x="2537" y="870"/>
                    <a:pt x="2442" y="691"/>
                  </a:cubicBezTo>
                  <a:cubicBezTo>
                    <a:pt x="2275" y="370"/>
                    <a:pt x="1965" y="131"/>
                    <a:pt x="1620" y="36"/>
                  </a:cubicBezTo>
                  <a:cubicBezTo>
                    <a:pt x="1525" y="12"/>
                    <a:pt x="1406"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0" name="Google Shape;11740;p61"/>
            <p:cNvSpPr/>
            <p:nvPr/>
          </p:nvSpPr>
          <p:spPr>
            <a:xfrm>
              <a:off x="1403066" y="2929393"/>
              <a:ext cx="15872" cy="15872"/>
            </a:xfrm>
            <a:custGeom>
              <a:avLst/>
              <a:gdLst/>
              <a:ahLst/>
              <a:cxnLst/>
              <a:rect l="l" t="t" r="r" b="b"/>
              <a:pathLst>
                <a:path w="501" h="501" extrusionOk="0">
                  <a:moveTo>
                    <a:pt x="251" y="0"/>
                  </a:moveTo>
                  <a:cubicBezTo>
                    <a:pt x="108" y="0"/>
                    <a:pt x="1" y="119"/>
                    <a:pt x="1" y="250"/>
                  </a:cubicBezTo>
                  <a:cubicBezTo>
                    <a:pt x="1" y="381"/>
                    <a:pt x="120" y="500"/>
                    <a:pt x="251" y="500"/>
                  </a:cubicBezTo>
                  <a:cubicBezTo>
                    <a:pt x="382" y="500"/>
                    <a:pt x="501" y="381"/>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1" name="Google Shape;11741;p61"/>
            <p:cNvSpPr/>
            <p:nvPr/>
          </p:nvSpPr>
          <p:spPr>
            <a:xfrm>
              <a:off x="1361597" y="3023293"/>
              <a:ext cx="98461" cy="30983"/>
            </a:xfrm>
            <a:custGeom>
              <a:avLst/>
              <a:gdLst/>
              <a:ahLst/>
              <a:cxnLst/>
              <a:rect l="l" t="t" r="r" b="b"/>
              <a:pathLst>
                <a:path w="3108" h="978" extrusionOk="0">
                  <a:moveTo>
                    <a:pt x="2798" y="322"/>
                  </a:moveTo>
                  <a:lnTo>
                    <a:pt x="2798" y="656"/>
                  </a:lnTo>
                  <a:lnTo>
                    <a:pt x="322" y="656"/>
                  </a:lnTo>
                  <a:lnTo>
                    <a:pt x="322" y="322"/>
                  </a:lnTo>
                  <a:close/>
                  <a:moveTo>
                    <a:pt x="167" y="1"/>
                  </a:moveTo>
                  <a:cubicBezTo>
                    <a:pt x="72" y="1"/>
                    <a:pt x="0" y="72"/>
                    <a:pt x="0" y="156"/>
                  </a:cubicBezTo>
                  <a:lnTo>
                    <a:pt x="0" y="810"/>
                  </a:lnTo>
                  <a:cubicBezTo>
                    <a:pt x="0" y="906"/>
                    <a:pt x="72" y="977"/>
                    <a:pt x="167" y="977"/>
                  </a:cubicBezTo>
                  <a:lnTo>
                    <a:pt x="2953" y="977"/>
                  </a:lnTo>
                  <a:cubicBezTo>
                    <a:pt x="3036" y="977"/>
                    <a:pt x="3108" y="906"/>
                    <a:pt x="3108" y="810"/>
                  </a:cubicBezTo>
                  <a:lnTo>
                    <a:pt x="3108" y="156"/>
                  </a:lnTo>
                  <a:cubicBezTo>
                    <a:pt x="3108" y="72"/>
                    <a:pt x="3036" y="1"/>
                    <a:pt x="2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2" name="Google Shape;11742;p61"/>
            <p:cNvSpPr/>
            <p:nvPr/>
          </p:nvSpPr>
          <p:spPr>
            <a:xfrm>
              <a:off x="1361597" y="3061024"/>
              <a:ext cx="98461" cy="30951"/>
            </a:xfrm>
            <a:custGeom>
              <a:avLst/>
              <a:gdLst/>
              <a:ahLst/>
              <a:cxnLst/>
              <a:rect l="l" t="t" r="r" b="b"/>
              <a:pathLst>
                <a:path w="3108" h="977" extrusionOk="0">
                  <a:moveTo>
                    <a:pt x="2798" y="322"/>
                  </a:moveTo>
                  <a:lnTo>
                    <a:pt x="2798" y="655"/>
                  </a:lnTo>
                  <a:lnTo>
                    <a:pt x="322" y="655"/>
                  </a:lnTo>
                  <a:lnTo>
                    <a:pt x="322" y="322"/>
                  </a:lnTo>
                  <a:close/>
                  <a:moveTo>
                    <a:pt x="167" y="0"/>
                  </a:moveTo>
                  <a:cubicBezTo>
                    <a:pt x="72" y="0"/>
                    <a:pt x="0" y="72"/>
                    <a:pt x="0" y="155"/>
                  </a:cubicBezTo>
                  <a:lnTo>
                    <a:pt x="0" y="810"/>
                  </a:lnTo>
                  <a:cubicBezTo>
                    <a:pt x="0" y="905"/>
                    <a:pt x="72" y="977"/>
                    <a:pt x="167" y="977"/>
                  </a:cubicBezTo>
                  <a:lnTo>
                    <a:pt x="2953" y="977"/>
                  </a:lnTo>
                  <a:cubicBezTo>
                    <a:pt x="3036" y="977"/>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3" name="Google Shape;11743;p61"/>
            <p:cNvSpPr/>
            <p:nvPr/>
          </p:nvSpPr>
          <p:spPr>
            <a:xfrm>
              <a:off x="1361597" y="3098755"/>
              <a:ext cx="98461" cy="30951"/>
            </a:xfrm>
            <a:custGeom>
              <a:avLst/>
              <a:gdLst/>
              <a:ahLst/>
              <a:cxnLst/>
              <a:rect l="l" t="t" r="r" b="b"/>
              <a:pathLst>
                <a:path w="3108" h="977" extrusionOk="0">
                  <a:moveTo>
                    <a:pt x="2798" y="333"/>
                  </a:moveTo>
                  <a:lnTo>
                    <a:pt x="2798" y="667"/>
                  </a:lnTo>
                  <a:lnTo>
                    <a:pt x="322" y="667"/>
                  </a:lnTo>
                  <a:lnTo>
                    <a:pt x="322" y="333"/>
                  </a:lnTo>
                  <a:close/>
                  <a:moveTo>
                    <a:pt x="167" y="0"/>
                  </a:moveTo>
                  <a:cubicBezTo>
                    <a:pt x="72" y="0"/>
                    <a:pt x="0" y="72"/>
                    <a:pt x="0" y="155"/>
                  </a:cubicBezTo>
                  <a:lnTo>
                    <a:pt x="0" y="810"/>
                  </a:lnTo>
                  <a:cubicBezTo>
                    <a:pt x="0" y="905"/>
                    <a:pt x="72" y="976"/>
                    <a:pt x="167" y="976"/>
                  </a:cubicBezTo>
                  <a:lnTo>
                    <a:pt x="2953" y="976"/>
                  </a:lnTo>
                  <a:cubicBezTo>
                    <a:pt x="3036" y="976"/>
                    <a:pt x="3108" y="905"/>
                    <a:pt x="3108" y="810"/>
                  </a:cubicBezTo>
                  <a:lnTo>
                    <a:pt x="3108" y="155"/>
                  </a:lnTo>
                  <a:cubicBezTo>
                    <a:pt x="3108" y="72"/>
                    <a:pt x="3036" y="0"/>
                    <a:pt x="2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44" name="Google Shape;11744;p61"/>
          <p:cNvGrpSpPr/>
          <p:nvPr/>
        </p:nvGrpSpPr>
        <p:grpSpPr>
          <a:xfrm>
            <a:off x="3121167" y="2884883"/>
            <a:ext cx="258414" cy="348543"/>
            <a:chOff x="3121167" y="2884883"/>
            <a:chExt cx="258414" cy="348543"/>
          </a:xfrm>
        </p:grpSpPr>
        <p:sp>
          <p:nvSpPr>
            <p:cNvPr id="11745" name="Google Shape;11745;p61"/>
            <p:cNvSpPr/>
            <p:nvPr/>
          </p:nvSpPr>
          <p:spPr>
            <a:xfrm>
              <a:off x="3196249" y="2932023"/>
              <a:ext cx="37351" cy="10581"/>
            </a:xfrm>
            <a:custGeom>
              <a:avLst/>
              <a:gdLst/>
              <a:ahLst/>
              <a:cxnLst/>
              <a:rect l="l" t="t" r="r" b="b"/>
              <a:pathLst>
                <a:path w="1179" h="334" extrusionOk="0">
                  <a:moveTo>
                    <a:pt x="167" y="1"/>
                  </a:moveTo>
                  <a:cubicBezTo>
                    <a:pt x="72" y="1"/>
                    <a:pt x="0" y="84"/>
                    <a:pt x="0" y="167"/>
                  </a:cubicBezTo>
                  <a:cubicBezTo>
                    <a:pt x="0" y="262"/>
                    <a:pt x="72" y="334"/>
                    <a:pt x="167" y="334"/>
                  </a:cubicBezTo>
                  <a:lnTo>
                    <a:pt x="1012" y="334"/>
                  </a:lnTo>
                  <a:cubicBezTo>
                    <a:pt x="1096" y="334"/>
                    <a:pt x="1179" y="262"/>
                    <a:pt x="1179" y="167"/>
                  </a:cubicBezTo>
                  <a:cubicBezTo>
                    <a:pt x="1179" y="84"/>
                    <a:pt x="1096" y="1"/>
                    <a:pt x="10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6" name="Google Shape;11746;p61"/>
            <p:cNvSpPr/>
            <p:nvPr/>
          </p:nvSpPr>
          <p:spPr>
            <a:xfrm>
              <a:off x="3165297" y="3031593"/>
              <a:ext cx="98873" cy="31332"/>
            </a:xfrm>
            <a:custGeom>
              <a:avLst/>
              <a:gdLst/>
              <a:ahLst/>
              <a:cxnLst/>
              <a:rect l="l" t="t" r="r" b="b"/>
              <a:pathLst>
                <a:path w="3121" h="989" extrusionOk="0">
                  <a:moveTo>
                    <a:pt x="2787" y="334"/>
                  </a:moveTo>
                  <a:lnTo>
                    <a:pt x="2787" y="656"/>
                  </a:lnTo>
                  <a:lnTo>
                    <a:pt x="334" y="656"/>
                  </a:lnTo>
                  <a:lnTo>
                    <a:pt x="334" y="334"/>
                  </a:lnTo>
                  <a:close/>
                  <a:moveTo>
                    <a:pt x="168" y="1"/>
                  </a:moveTo>
                  <a:cubicBezTo>
                    <a:pt x="84" y="1"/>
                    <a:pt x="1" y="72"/>
                    <a:pt x="1" y="167"/>
                  </a:cubicBezTo>
                  <a:lnTo>
                    <a:pt x="1" y="822"/>
                  </a:lnTo>
                  <a:cubicBezTo>
                    <a:pt x="1" y="906"/>
                    <a:pt x="84" y="989"/>
                    <a:pt x="168" y="989"/>
                  </a:cubicBezTo>
                  <a:lnTo>
                    <a:pt x="2954" y="989"/>
                  </a:lnTo>
                  <a:cubicBezTo>
                    <a:pt x="3049" y="989"/>
                    <a:pt x="3120" y="906"/>
                    <a:pt x="3120" y="822"/>
                  </a:cubicBezTo>
                  <a:lnTo>
                    <a:pt x="3120" y="167"/>
                  </a:lnTo>
                  <a:cubicBezTo>
                    <a:pt x="3120" y="60"/>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7" name="Google Shape;11747;p61"/>
            <p:cNvSpPr/>
            <p:nvPr/>
          </p:nvSpPr>
          <p:spPr>
            <a:xfrm>
              <a:off x="3165297" y="3075343"/>
              <a:ext cx="98873" cy="10613"/>
            </a:xfrm>
            <a:custGeom>
              <a:avLst/>
              <a:gdLst/>
              <a:ahLst/>
              <a:cxnLst/>
              <a:rect l="l" t="t" r="r" b="b"/>
              <a:pathLst>
                <a:path w="3121" h="335" extrusionOk="0">
                  <a:moveTo>
                    <a:pt x="168" y="1"/>
                  </a:moveTo>
                  <a:cubicBezTo>
                    <a:pt x="84" y="1"/>
                    <a:pt x="1" y="84"/>
                    <a:pt x="1" y="168"/>
                  </a:cubicBezTo>
                  <a:cubicBezTo>
                    <a:pt x="1" y="263"/>
                    <a:pt x="84" y="334"/>
                    <a:pt x="168" y="334"/>
                  </a:cubicBezTo>
                  <a:lnTo>
                    <a:pt x="2954" y="334"/>
                  </a:lnTo>
                  <a:cubicBezTo>
                    <a:pt x="3049" y="334"/>
                    <a:pt x="3120" y="263"/>
                    <a:pt x="3120" y="168"/>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8" name="Google Shape;11748;p61"/>
            <p:cNvSpPr/>
            <p:nvPr/>
          </p:nvSpPr>
          <p:spPr>
            <a:xfrm>
              <a:off x="3165297" y="3099863"/>
              <a:ext cx="98873" cy="10613"/>
            </a:xfrm>
            <a:custGeom>
              <a:avLst/>
              <a:gdLst/>
              <a:ahLst/>
              <a:cxnLst/>
              <a:rect l="l" t="t" r="r" b="b"/>
              <a:pathLst>
                <a:path w="3121" h="335" extrusionOk="0">
                  <a:moveTo>
                    <a:pt x="168" y="1"/>
                  </a:moveTo>
                  <a:cubicBezTo>
                    <a:pt x="84" y="1"/>
                    <a:pt x="1" y="84"/>
                    <a:pt x="1" y="167"/>
                  </a:cubicBezTo>
                  <a:cubicBezTo>
                    <a:pt x="1" y="263"/>
                    <a:pt x="84" y="334"/>
                    <a:pt x="168" y="334"/>
                  </a:cubicBezTo>
                  <a:lnTo>
                    <a:pt x="2954" y="334"/>
                  </a:lnTo>
                  <a:cubicBezTo>
                    <a:pt x="3049" y="334"/>
                    <a:pt x="3120" y="263"/>
                    <a:pt x="3120" y="167"/>
                  </a:cubicBezTo>
                  <a:cubicBezTo>
                    <a:pt x="3120" y="84"/>
                    <a:pt x="3049" y="1"/>
                    <a:pt x="29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9" name="Google Shape;11749;p61"/>
            <p:cNvSpPr/>
            <p:nvPr/>
          </p:nvSpPr>
          <p:spPr>
            <a:xfrm>
              <a:off x="3198498" y="3181725"/>
              <a:ext cx="33232" cy="32852"/>
            </a:xfrm>
            <a:custGeom>
              <a:avLst/>
              <a:gdLst/>
              <a:ahLst/>
              <a:cxnLst/>
              <a:rect l="l" t="t" r="r" b="b"/>
              <a:pathLst>
                <a:path w="1049" h="1037" extrusionOk="0">
                  <a:moveTo>
                    <a:pt x="525" y="322"/>
                  </a:moveTo>
                  <a:cubicBezTo>
                    <a:pt x="632" y="322"/>
                    <a:pt x="715" y="417"/>
                    <a:pt x="715" y="512"/>
                  </a:cubicBezTo>
                  <a:cubicBezTo>
                    <a:pt x="715" y="620"/>
                    <a:pt x="632" y="715"/>
                    <a:pt x="525" y="715"/>
                  </a:cubicBezTo>
                  <a:cubicBezTo>
                    <a:pt x="417" y="715"/>
                    <a:pt x="334" y="620"/>
                    <a:pt x="334" y="512"/>
                  </a:cubicBezTo>
                  <a:cubicBezTo>
                    <a:pt x="334" y="417"/>
                    <a:pt x="417" y="322"/>
                    <a:pt x="525" y="322"/>
                  </a:cubicBezTo>
                  <a:close/>
                  <a:moveTo>
                    <a:pt x="525" y="0"/>
                  </a:moveTo>
                  <a:cubicBezTo>
                    <a:pt x="239" y="0"/>
                    <a:pt x="1" y="239"/>
                    <a:pt x="1" y="512"/>
                  </a:cubicBezTo>
                  <a:cubicBezTo>
                    <a:pt x="1" y="798"/>
                    <a:pt x="239" y="1036"/>
                    <a:pt x="525" y="1036"/>
                  </a:cubicBezTo>
                  <a:cubicBezTo>
                    <a:pt x="810" y="1036"/>
                    <a:pt x="1048" y="798"/>
                    <a:pt x="1048" y="512"/>
                  </a:cubicBezTo>
                  <a:cubicBezTo>
                    <a:pt x="1048" y="215"/>
                    <a:pt x="81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0" name="Google Shape;11750;p61"/>
            <p:cNvSpPr/>
            <p:nvPr/>
          </p:nvSpPr>
          <p:spPr>
            <a:xfrm>
              <a:off x="3121167" y="2884883"/>
              <a:ext cx="258414" cy="348543"/>
            </a:xfrm>
            <a:custGeom>
              <a:avLst/>
              <a:gdLst/>
              <a:ahLst/>
              <a:cxnLst/>
              <a:rect l="l" t="t" r="r" b="b"/>
              <a:pathLst>
                <a:path w="8157" h="11002" extrusionOk="0">
                  <a:moveTo>
                    <a:pt x="6014" y="0"/>
                  </a:moveTo>
                  <a:cubicBezTo>
                    <a:pt x="5240" y="0"/>
                    <a:pt x="4573" y="405"/>
                    <a:pt x="4180" y="1024"/>
                  </a:cubicBezTo>
                  <a:lnTo>
                    <a:pt x="168" y="1024"/>
                  </a:lnTo>
                  <a:cubicBezTo>
                    <a:pt x="72" y="1024"/>
                    <a:pt x="1" y="1108"/>
                    <a:pt x="1" y="1191"/>
                  </a:cubicBezTo>
                  <a:lnTo>
                    <a:pt x="1" y="9549"/>
                  </a:lnTo>
                  <a:cubicBezTo>
                    <a:pt x="1" y="9632"/>
                    <a:pt x="72" y="9704"/>
                    <a:pt x="168" y="9704"/>
                  </a:cubicBezTo>
                  <a:cubicBezTo>
                    <a:pt x="251" y="9704"/>
                    <a:pt x="334" y="9632"/>
                    <a:pt x="334" y="9549"/>
                  </a:cubicBezTo>
                  <a:lnTo>
                    <a:pt x="334" y="1358"/>
                  </a:lnTo>
                  <a:lnTo>
                    <a:pt x="4025" y="1358"/>
                  </a:lnTo>
                  <a:cubicBezTo>
                    <a:pt x="3930" y="1560"/>
                    <a:pt x="3882" y="1786"/>
                    <a:pt x="3870" y="2024"/>
                  </a:cubicBezTo>
                  <a:lnTo>
                    <a:pt x="727" y="2024"/>
                  </a:lnTo>
                  <a:cubicBezTo>
                    <a:pt x="644" y="2024"/>
                    <a:pt x="572" y="2096"/>
                    <a:pt x="572" y="2191"/>
                  </a:cubicBezTo>
                  <a:lnTo>
                    <a:pt x="572" y="9132"/>
                  </a:lnTo>
                  <a:cubicBezTo>
                    <a:pt x="572" y="9216"/>
                    <a:pt x="644" y="9287"/>
                    <a:pt x="727" y="9287"/>
                  </a:cubicBezTo>
                  <a:lnTo>
                    <a:pt x="3978" y="9287"/>
                  </a:lnTo>
                  <a:cubicBezTo>
                    <a:pt x="4061" y="9287"/>
                    <a:pt x="4144" y="9216"/>
                    <a:pt x="4144" y="9132"/>
                  </a:cubicBezTo>
                  <a:cubicBezTo>
                    <a:pt x="4144" y="9037"/>
                    <a:pt x="4061" y="8966"/>
                    <a:pt x="3978" y="8966"/>
                  </a:cubicBezTo>
                  <a:lnTo>
                    <a:pt x="894" y="8966"/>
                  </a:lnTo>
                  <a:lnTo>
                    <a:pt x="894" y="2322"/>
                  </a:lnTo>
                  <a:lnTo>
                    <a:pt x="3870" y="2322"/>
                  </a:lnTo>
                  <a:cubicBezTo>
                    <a:pt x="3930" y="3072"/>
                    <a:pt x="4382" y="3703"/>
                    <a:pt x="5013" y="4048"/>
                  </a:cubicBezTo>
                  <a:lnTo>
                    <a:pt x="5013" y="8966"/>
                  </a:lnTo>
                  <a:lnTo>
                    <a:pt x="4620" y="8966"/>
                  </a:lnTo>
                  <a:cubicBezTo>
                    <a:pt x="4525" y="8966"/>
                    <a:pt x="4454" y="9037"/>
                    <a:pt x="4454" y="9132"/>
                  </a:cubicBezTo>
                  <a:cubicBezTo>
                    <a:pt x="4454" y="9216"/>
                    <a:pt x="4525" y="9287"/>
                    <a:pt x="4620" y="9287"/>
                  </a:cubicBezTo>
                  <a:lnTo>
                    <a:pt x="5180" y="9287"/>
                  </a:lnTo>
                  <a:cubicBezTo>
                    <a:pt x="5275" y="9287"/>
                    <a:pt x="5347" y="9216"/>
                    <a:pt x="5347" y="9132"/>
                  </a:cubicBezTo>
                  <a:lnTo>
                    <a:pt x="5347" y="4191"/>
                  </a:lnTo>
                  <a:cubicBezTo>
                    <a:pt x="5418" y="4215"/>
                    <a:pt x="5513" y="4227"/>
                    <a:pt x="5585" y="4251"/>
                  </a:cubicBezTo>
                  <a:lnTo>
                    <a:pt x="5585" y="10680"/>
                  </a:lnTo>
                  <a:lnTo>
                    <a:pt x="346" y="10680"/>
                  </a:lnTo>
                  <a:lnTo>
                    <a:pt x="346" y="10168"/>
                  </a:lnTo>
                  <a:cubicBezTo>
                    <a:pt x="346" y="10085"/>
                    <a:pt x="263" y="10001"/>
                    <a:pt x="179" y="10001"/>
                  </a:cubicBezTo>
                  <a:cubicBezTo>
                    <a:pt x="84" y="10001"/>
                    <a:pt x="13" y="10085"/>
                    <a:pt x="13" y="10168"/>
                  </a:cubicBezTo>
                  <a:lnTo>
                    <a:pt x="13" y="10835"/>
                  </a:lnTo>
                  <a:cubicBezTo>
                    <a:pt x="13" y="10930"/>
                    <a:pt x="84" y="11002"/>
                    <a:pt x="179" y="11002"/>
                  </a:cubicBezTo>
                  <a:lnTo>
                    <a:pt x="5752" y="11002"/>
                  </a:lnTo>
                  <a:cubicBezTo>
                    <a:pt x="5835" y="11002"/>
                    <a:pt x="5906" y="10930"/>
                    <a:pt x="5906" y="10835"/>
                  </a:cubicBezTo>
                  <a:lnTo>
                    <a:pt x="5906" y="4286"/>
                  </a:lnTo>
                  <a:lnTo>
                    <a:pt x="6025" y="4286"/>
                  </a:lnTo>
                  <a:cubicBezTo>
                    <a:pt x="6537" y="4286"/>
                    <a:pt x="7037" y="4108"/>
                    <a:pt x="7430" y="3775"/>
                  </a:cubicBezTo>
                  <a:cubicBezTo>
                    <a:pt x="7811" y="3441"/>
                    <a:pt x="8061" y="2977"/>
                    <a:pt x="8157" y="2489"/>
                  </a:cubicBezTo>
                  <a:cubicBezTo>
                    <a:pt x="8157" y="2417"/>
                    <a:pt x="8097" y="2322"/>
                    <a:pt x="8014" y="2310"/>
                  </a:cubicBezTo>
                  <a:cubicBezTo>
                    <a:pt x="8006" y="2309"/>
                    <a:pt x="7998" y="2309"/>
                    <a:pt x="7990" y="2309"/>
                  </a:cubicBezTo>
                  <a:cubicBezTo>
                    <a:pt x="7907" y="2309"/>
                    <a:pt x="7846" y="2365"/>
                    <a:pt x="7835" y="2441"/>
                  </a:cubicBezTo>
                  <a:cubicBezTo>
                    <a:pt x="7680" y="3322"/>
                    <a:pt x="6918" y="3977"/>
                    <a:pt x="6025" y="3977"/>
                  </a:cubicBezTo>
                  <a:cubicBezTo>
                    <a:pt x="5013" y="3977"/>
                    <a:pt x="4204" y="3155"/>
                    <a:pt x="4204" y="2143"/>
                  </a:cubicBezTo>
                  <a:cubicBezTo>
                    <a:pt x="4204" y="1131"/>
                    <a:pt x="5013" y="322"/>
                    <a:pt x="6025" y="322"/>
                  </a:cubicBezTo>
                  <a:cubicBezTo>
                    <a:pt x="6918" y="322"/>
                    <a:pt x="7692" y="988"/>
                    <a:pt x="7835" y="1870"/>
                  </a:cubicBezTo>
                  <a:cubicBezTo>
                    <a:pt x="7846" y="1946"/>
                    <a:pt x="7907" y="2002"/>
                    <a:pt x="7990" y="2002"/>
                  </a:cubicBezTo>
                  <a:cubicBezTo>
                    <a:pt x="7998" y="2002"/>
                    <a:pt x="8006" y="2002"/>
                    <a:pt x="8014" y="2000"/>
                  </a:cubicBezTo>
                  <a:cubicBezTo>
                    <a:pt x="8097" y="1989"/>
                    <a:pt x="8157" y="1905"/>
                    <a:pt x="8145" y="1822"/>
                  </a:cubicBezTo>
                  <a:cubicBezTo>
                    <a:pt x="8073" y="1310"/>
                    <a:pt x="7811" y="857"/>
                    <a:pt x="7430" y="524"/>
                  </a:cubicBezTo>
                  <a:cubicBezTo>
                    <a:pt x="7037" y="179"/>
                    <a:pt x="6537" y="0"/>
                    <a:pt x="60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1" name="Google Shape;11751;p61"/>
            <p:cNvSpPr/>
            <p:nvPr/>
          </p:nvSpPr>
          <p:spPr>
            <a:xfrm>
              <a:off x="3298448" y="2932403"/>
              <a:ext cx="28322" cy="54331"/>
            </a:xfrm>
            <a:custGeom>
              <a:avLst/>
              <a:gdLst/>
              <a:ahLst/>
              <a:cxnLst/>
              <a:rect l="l" t="t" r="r" b="b"/>
              <a:pathLst>
                <a:path w="894" h="1715" extrusionOk="0">
                  <a:moveTo>
                    <a:pt x="179" y="0"/>
                  </a:moveTo>
                  <a:cubicBezTo>
                    <a:pt x="96" y="0"/>
                    <a:pt x="13" y="84"/>
                    <a:pt x="13" y="167"/>
                  </a:cubicBezTo>
                  <a:cubicBezTo>
                    <a:pt x="13" y="262"/>
                    <a:pt x="96" y="334"/>
                    <a:pt x="179" y="334"/>
                  </a:cubicBezTo>
                  <a:lnTo>
                    <a:pt x="287" y="334"/>
                  </a:lnTo>
                  <a:lnTo>
                    <a:pt x="287" y="1393"/>
                  </a:lnTo>
                  <a:lnTo>
                    <a:pt x="167" y="1393"/>
                  </a:lnTo>
                  <a:cubicBezTo>
                    <a:pt x="72" y="1393"/>
                    <a:pt x="1" y="1465"/>
                    <a:pt x="1" y="1560"/>
                  </a:cubicBezTo>
                  <a:cubicBezTo>
                    <a:pt x="1" y="1643"/>
                    <a:pt x="72" y="1715"/>
                    <a:pt x="167" y="1715"/>
                  </a:cubicBezTo>
                  <a:lnTo>
                    <a:pt x="727" y="1715"/>
                  </a:lnTo>
                  <a:cubicBezTo>
                    <a:pt x="822" y="1715"/>
                    <a:pt x="894" y="1643"/>
                    <a:pt x="894" y="1560"/>
                  </a:cubicBezTo>
                  <a:cubicBezTo>
                    <a:pt x="894" y="1465"/>
                    <a:pt x="822" y="1393"/>
                    <a:pt x="727" y="1393"/>
                  </a:cubicBezTo>
                  <a:lnTo>
                    <a:pt x="608" y="1393"/>
                  </a:lnTo>
                  <a:lnTo>
                    <a:pt x="608" y="167"/>
                  </a:lnTo>
                  <a:cubicBezTo>
                    <a:pt x="608" y="84"/>
                    <a:pt x="537"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2" name="Google Shape;11752;p61"/>
            <p:cNvSpPr/>
            <p:nvPr/>
          </p:nvSpPr>
          <p:spPr>
            <a:xfrm>
              <a:off x="3302218" y="2916183"/>
              <a:ext cx="15492" cy="15111"/>
            </a:xfrm>
            <a:custGeom>
              <a:avLst/>
              <a:gdLst/>
              <a:ahLst/>
              <a:cxnLst/>
              <a:rect l="l" t="t" r="r" b="b"/>
              <a:pathLst>
                <a:path w="489" h="477" extrusionOk="0">
                  <a:moveTo>
                    <a:pt x="239" y="0"/>
                  </a:moveTo>
                  <a:cubicBezTo>
                    <a:pt x="108" y="0"/>
                    <a:pt x="1" y="108"/>
                    <a:pt x="1" y="239"/>
                  </a:cubicBezTo>
                  <a:cubicBezTo>
                    <a:pt x="1" y="370"/>
                    <a:pt x="108" y="477"/>
                    <a:pt x="239" y="477"/>
                  </a:cubicBezTo>
                  <a:cubicBezTo>
                    <a:pt x="370" y="477"/>
                    <a:pt x="477" y="370"/>
                    <a:pt x="477" y="239"/>
                  </a:cubicBezTo>
                  <a:cubicBezTo>
                    <a:pt x="489" y="108"/>
                    <a:pt x="370" y="0"/>
                    <a:pt x="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53" name="Google Shape;11753;p61"/>
          <p:cNvGrpSpPr/>
          <p:nvPr/>
        </p:nvGrpSpPr>
        <p:grpSpPr>
          <a:xfrm>
            <a:off x="4899999" y="2882095"/>
            <a:ext cx="271244" cy="346801"/>
            <a:chOff x="4899999" y="2882095"/>
            <a:chExt cx="271244" cy="346801"/>
          </a:xfrm>
        </p:grpSpPr>
        <p:sp>
          <p:nvSpPr>
            <p:cNvPr id="11754" name="Google Shape;11754;p61"/>
            <p:cNvSpPr/>
            <p:nvPr/>
          </p:nvSpPr>
          <p:spPr>
            <a:xfrm>
              <a:off x="4899999" y="2882095"/>
              <a:ext cx="271244" cy="346801"/>
            </a:xfrm>
            <a:custGeom>
              <a:avLst/>
              <a:gdLst/>
              <a:ahLst/>
              <a:cxnLst/>
              <a:rect l="l" t="t" r="r" b="b"/>
              <a:pathLst>
                <a:path w="8562" h="10947" extrusionOk="0">
                  <a:moveTo>
                    <a:pt x="6609" y="1719"/>
                  </a:moveTo>
                  <a:cubicBezTo>
                    <a:pt x="6823" y="1803"/>
                    <a:pt x="6954" y="2041"/>
                    <a:pt x="6906" y="2279"/>
                  </a:cubicBezTo>
                  <a:lnTo>
                    <a:pt x="6716" y="3398"/>
                  </a:lnTo>
                  <a:lnTo>
                    <a:pt x="6502" y="3398"/>
                  </a:lnTo>
                  <a:cubicBezTo>
                    <a:pt x="6406" y="3398"/>
                    <a:pt x="6323" y="3327"/>
                    <a:pt x="6323" y="3220"/>
                  </a:cubicBezTo>
                  <a:lnTo>
                    <a:pt x="6323" y="1969"/>
                  </a:lnTo>
                  <a:cubicBezTo>
                    <a:pt x="6454" y="1910"/>
                    <a:pt x="6537" y="1815"/>
                    <a:pt x="6609" y="1719"/>
                  </a:cubicBezTo>
                  <a:close/>
                  <a:moveTo>
                    <a:pt x="2287" y="1684"/>
                  </a:moveTo>
                  <a:cubicBezTo>
                    <a:pt x="2287" y="1743"/>
                    <a:pt x="2263" y="1803"/>
                    <a:pt x="2263" y="1862"/>
                  </a:cubicBezTo>
                  <a:lnTo>
                    <a:pt x="2263" y="3231"/>
                  </a:lnTo>
                  <a:cubicBezTo>
                    <a:pt x="2263" y="3339"/>
                    <a:pt x="2191" y="3410"/>
                    <a:pt x="2084" y="3410"/>
                  </a:cubicBezTo>
                  <a:lnTo>
                    <a:pt x="1882" y="3410"/>
                  </a:lnTo>
                  <a:lnTo>
                    <a:pt x="1691" y="2291"/>
                  </a:lnTo>
                  <a:cubicBezTo>
                    <a:pt x="1656" y="2136"/>
                    <a:pt x="1703" y="1981"/>
                    <a:pt x="1810" y="1862"/>
                  </a:cubicBezTo>
                  <a:cubicBezTo>
                    <a:pt x="1906" y="1743"/>
                    <a:pt x="2037" y="1684"/>
                    <a:pt x="2203" y="1684"/>
                  </a:cubicBezTo>
                  <a:close/>
                  <a:moveTo>
                    <a:pt x="6454" y="386"/>
                  </a:moveTo>
                  <a:lnTo>
                    <a:pt x="6454" y="386"/>
                  </a:lnTo>
                  <a:cubicBezTo>
                    <a:pt x="6597" y="815"/>
                    <a:pt x="6573" y="1207"/>
                    <a:pt x="6394" y="1469"/>
                  </a:cubicBezTo>
                  <a:cubicBezTo>
                    <a:pt x="6228" y="1707"/>
                    <a:pt x="5954" y="1862"/>
                    <a:pt x="5680" y="1862"/>
                  </a:cubicBezTo>
                  <a:lnTo>
                    <a:pt x="3120" y="1862"/>
                  </a:lnTo>
                  <a:cubicBezTo>
                    <a:pt x="3025" y="1862"/>
                    <a:pt x="2953" y="1934"/>
                    <a:pt x="2953" y="2029"/>
                  </a:cubicBezTo>
                  <a:cubicBezTo>
                    <a:pt x="2953" y="2112"/>
                    <a:pt x="3025" y="2184"/>
                    <a:pt x="3120" y="2184"/>
                  </a:cubicBezTo>
                  <a:lnTo>
                    <a:pt x="5680" y="2184"/>
                  </a:lnTo>
                  <a:cubicBezTo>
                    <a:pt x="5799" y="2184"/>
                    <a:pt x="5918" y="2172"/>
                    <a:pt x="6037" y="2136"/>
                  </a:cubicBezTo>
                  <a:lnTo>
                    <a:pt x="6037" y="3220"/>
                  </a:lnTo>
                  <a:cubicBezTo>
                    <a:pt x="6037" y="3493"/>
                    <a:pt x="6252" y="3720"/>
                    <a:pt x="6537" y="3720"/>
                  </a:cubicBezTo>
                  <a:lnTo>
                    <a:pt x="6787" y="3720"/>
                  </a:lnTo>
                  <a:cubicBezTo>
                    <a:pt x="6871" y="3720"/>
                    <a:pt x="6942" y="3755"/>
                    <a:pt x="6990" y="3815"/>
                  </a:cubicBezTo>
                  <a:cubicBezTo>
                    <a:pt x="7025" y="3874"/>
                    <a:pt x="7061" y="3946"/>
                    <a:pt x="7061" y="4017"/>
                  </a:cubicBezTo>
                  <a:cubicBezTo>
                    <a:pt x="7049" y="4148"/>
                    <a:pt x="6930" y="4255"/>
                    <a:pt x="6763" y="4255"/>
                  </a:cubicBezTo>
                  <a:lnTo>
                    <a:pt x="6692" y="4255"/>
                  </a:lnTo>
                  <a:lnTo>
                    <a:pt x="6692" y="4244"/>
                  </a:lnTo>
                  <a:cubicBezTo>
                    <a:pt x="6692" y="4148"/>
                    <a:pt x="6609" y="4077"/>
                    <a:pt x="6525" y="4077"/>
                  </a:cubicBezTo>
                  <a:cubicBezTo>
                    <a:pt x="6430" y="4077"/>
                    <a:pt x="6359" y="4148"/>
                    <a:pt x="6359" y="4244"/>
                  </a:cubicBezTo>
                  <a:cubicBezTo>
                    <a:pt x="6359" y="5375"/>
                    <a:pt x="5442" y="6315"/>
                    <a:pt x="4287" y="6315"/>
                  </a:cubicBezTo>
                  <a:cubicBezTo>
                    <a:pt x="3180" y="6315"/>
                    <a:pt x="2239" y="5387"/>
                    <a:pt x="2239" y="4244"/>
                  </a:cubicBezTo>
                  <a:cubicBezTo>
                    <a:pt x="2239" y="4160"/>
                    <a:pt x="2168" y="4077"/>
                    <a:pt x="2072" y="4077"/>
                  </a:cubicBezTo>
                  <a:cubicBezTo>
                    <a:pt x="1989" y="4077"/>
                    <a:pt x="1906" y="4160"/>
                    <a:pt x="1906" y="4244"/>
                  </a:cubicBezTo>
                  <a:lnTo>
                    <a:pt x="1906" y="4255"/>
                  </a:lnTo>
                  <a:lnTo>
                    <a:pt x="1822" y="4255"/>
                  </a:lnTo>
                  <a:cubicBezTo>
                    <a:pt x="1751" y="4255"/>
                    <a:pt x="1668" y="4232"/>
                    <a:pt x="1632" y="4172"/>
                  </a:cubicBezTo>
                  <a:cubicBezTo>
                    <a:pt x="1584" y="4113"/>
                    <a:pt x="1549" y="4041"/>
                    <a:pt x="1549" y="3958"/>
                  </a:cubicBezTo>
                  <a:cubicBezTo>
                    <a:pt x="1572" y="3827"/>
                    <a:pt x="1691" y="3720"/>
                    <a:pt x="1846" y="3720"/>
                  </a:cubicBezTo>
                  <a:lnTo>
                    <a:pt x="2084" y="3720"/>
                  </a:lnTo>
                  <a:cubicBezTo>
                    <a:pt x="2370" y="3720"/>
                    <a:pt x="2596" y="3505"/>
                    <a:pt x="2596" y="3220"/>
                  </a:cubicBezTo>
                  <a:lnTo>
                    <a:pt x="2596" y="1850"/>
                  </a:lnTo>
                  <a:cubicBezTo>
                    <a:pt x="2596" y="1184"/>
                    <a:pt x="3132" y="648"/>
                    <a:pt x="3799" y="648"/>
                  </a:cubicBezTo>
                  <a:lnTo>
                    <a:pt x="5335" y="648"/>
                  </a:lnTo>
                  <a:cubicBezTo>
                    <a:pt x="5894" y="648"/>
                    <a:pt x="6252" y="493"/>
                    <a:pt x="6454" y="386"/>
                  </a:cubicBezTo>
                  <a:close/>
                  <a:moveTo>
                    <a:pt x="5347" y="6387"/>
                  </a:moveTo>
                  <a:lnTo>
                    <a:pt x="5347" y="6911"/>
                  </a:lnTo>
                  <a:lnTo>
                    <a:pt x="4299" y="7494"/>
                  </a:lnTo>
                  <a:lnTo>
                    <a:pt x="3263" y="6911"/>
                  </a:lnTo>
                  <a:lnTo>
                    <a:pt x="3263" y="6387"/>
                  </a:lnTo>
                  <a:cubicBezTo>
                    <a:pt x="3573" y="6541"/>
                    <a:pt x="3930" y="6625"/>
                    <a:pt x="4299" y="6625"/>
                  </a:cubicBezTo>
                  <a:cubicBezTo>
                    <a:pt x="4680" y="6625"/>
                    <a:pt x="5037" y="6541"/>
                    <a:pt x="5347" y="6387"/>
                  </a:cubicBezTo>
                  <a:close/>
                  <a:moveTo>
                    <a:pt x="2846" y="7041"/>
                  </a:moveTo>
                  <a:lnTo>
                    <a:pt x="4073" y="7708"/>
                  </a:lnTo>
                  <a:lnTo>
                    <a:pt x="3704" y="8149"/>
                  </a:lnTo>
                  <a:cubicBezTo>
                    <a:pt x="3680" y="8184"/>
                    <a:pt x="3632" y="8208"/>
                    <a:pt x="3596" y="8220"/>
                  </a:cubicBezTo>
                  <a:cubicBezTo>
                    <a:pt x="3549" y="8220"/>
                    <a:pt x="3489" y="8208"/>
                    <a:pt x="3454" y="8173"/>
                  </a:cubicBezTo>
                  <a:lnTo>
                    <a:pt x="2620" y="7458"/>
                  </a:lnTo>
                  <a:lnTo>
                    <a:pt x="2834" y="7041"/>
                  </a:lnTo>
                  <a:close/>
                  <a:moveTo>
                    <a:pt x="5787" y="7041"/>
                  </a:moveTo>
                  <a:lnTo>
                    <a:pt x="6001" y="7458"/>
                  </a:lnTo>
                  <a:lnTo>
                    <a:pt x="5156" y="8173"/>
                  </a:lnTo>
                  <a:cubicBezTo>
                    <a:pt x="5109" y="8208"/>
                    <a:pt x="5061" y="8220"/>
                    <a:pt x="5013" y="8220"/>
                  </a:cubicBezTo>
                  <a:cubicBezTo>
                    <a:pt x="4978" y="8220"/>
                    <a:pt x="4930" y="8184"/>
                    <a:pt x="4894" y="8149"/>
                  </a:cubicBezTo>
                  <a:lnTo>
                    <a:pt x="4561" y="7708"/>
                  </a:lnTo>
                  <a:lnTo>
                    <a:pt x="5775" y="7041"/>
                  </a:lnTo>
                  <a:close/>
                  <a:moveTo>
                    <a:pt x="6497" y="1"/>
                  </a:moveTo>
                  <a:cubicBezTo>
                    <a:pt x="6455" y="1"/>
                    <a:pt x="6419" y="16"/>
                    <a:pt x="6382" y="53"/>
                  </a:cubicBezTo>
                  <a:cubicBezTo>
                    <a:pt x="6382" y="53"/>
                    <a:pt x="6073" y="350"/>
                    <a:pt x="5299" y="350"/>
                  </a:cubicBezTo>
                  <a:lnTo>
                    <a:pt x="3763" y="350"/>
                  </a:lnTo>
                  <a:cubicBezTo>
                    <a:pt x="3096" y="350"/>
                    <a:pt x="2537" y="779"/>
                    <a:pt x="2322" y="1374"/>
                  </a:cubicBezTo>
                  <a:lnTo>
                    <a:pt x="2180" y="1374"/>
                  </a:lnTo>
                  <a:cubicBezTo>
                    <a:pt x="1918" y="1374"/>
                    <a:pt x="1703" y="1481"/>
                    <a:pt x="1537" y="1672"/>
                  </a:cubicBezTo>
                  <a:cubicBezTo>
                    <a:pt x="1370" y="1862"/>
                    <a:pt x="1310" y="2112"/>
                    <a:pt x="1346" y="2350"/>
                  </a:cubicBezTo>
                  <a:lnTo>
                    <a:pt x="1537" y="3505"/>
                  </a:lnTo>
                  <a:cubicBezTo>
                    <a:pt x="1358" y="3589"/>
                    <a:pt x="1239" y="3755"/>
                    <a:pt x="1203" y="3958"/>
                  </a:cubicBezTo>
                  <a:cubicBezTo>
                    <a:pt x="1191" y="4124"/>
                    <a:pt x="1251" y="4291"/>
                    <a:pt x="1358" y="4422"/>
                  </a:cubicBezTo>
                  <a:cubicBezTo>
                    <a:pt x="1465" y="4541"/>
                    <a:pt x="1620" y="4613"/>
                    <a:pt x="1787" y="4613"/>
                  </a:cubicBezTo>
                  <a:lnTo>
                    <a:pt x="1906" y="4613"/>
                  </a:lnTo>
                  <a:cubicBezTo>
                    <a:pt x="2001" y="5291"/>
                    <a:pt x="2382" y="5863"/>
                    <a:pt x="2906" y="6244"/>
                  </a:cubicBezTo>
                  <a:lnTo>
                    <a:pt x="2906" y="6780"/>
                  </a:lnTo>
                  <a:cubicBezTo>
                    <a:pt x="2876" y="6762"/>
                    <a:pt x="2843" y="6753"/>
                    <a:pt x="2808" y="6753"/>
                  </a:cubicBezTo>
                  <a:cubicBezTo>
                    <a:pt x="2772" y="6753"/>
                    <a:pt x="2733" y="6762"/>
                    <a:pt x="2692" y="6780"/>
                  </a:cubicBezTo>
                  <a:cubicBezTo>
                    <a:pt x="2608" y="6803"/>
                    <a:pt x="2537" y="6863"/>
                    <a:pt x="2501" y="6934"/>
                  </a:cubicBezTo>
                  <a:lnTo>
                    <a:pt x="2251" y="7434"/>
                  </a:lnTo>
                  <a:lnTo>
                    <a:pt x="846" y="7851"/>
                  </a:lnTo>
                  <a:cubicBezTo>
                    <a:pt x="346" y="7994"/>
                    <a:pt x="1" y="8458"/>
                    <a:pt x="1" y="8982"/>
                  </a:cubicBezTo>
                  <a:lnTo>
                    <a:pt x="1" y="10780"/>
                  </a:lnTo>
                  <a:cubicBezTo>
                    <a:pt x="1" y="10863"/>
                    <a:pt x="72" y="10947"/>
                    <a:pt x="167" y="10947"/>
                  </a:cubicBezTo>
                  <a:cubicBezTo>
                    <a:pt x="251" y="10947"/>
                    <a:pt x="334" y="10863"/>
                    <a:pt x="334" y="10780"/>
                  </a:cubicBezTo>
                  <a:lnTo>
                    <a:pt x="334" y="8982"/>
                  </a:lnTo>
                  <a:cubicBezTo>
                    <a:pt x="334" y="8589"/>
                    <a:pt x="584" y="8244"/>
                    <a:pt x="953" y="8149"/>
                  </a:cubicBezTo>
                  <a:lnTo>
                    <a:pt x="1549" y="7958"/>
                  </a:lnTo>
                  <a:lnTo>
                    <a:pt x="1549" y="10756"/>
                  </a:lnTo>
                  <a:cubicBezTo>
                    <a:pt x="1549" y="10851"/>
                    <a:pt x="1620" y="10923"/>
                    <a:pt x="1715" y="10923"/>
                  </a:cubicBezTo>
                  <a:cubicBezTo>
                    <a:pt x="1799" y="10923"/>
                    <a:pt x="1882" y="10851"/>
                    <a:pt x="1882" y="10756"/>
                  </a:cubicBezTo>
                  <a:lnTo>
                    <a:pt x="1882" y="7863"/>
                  </a:lnTo>
                  <a:lnTo>
                    <a:pt x="2239" y="7756"/>
                  </a:lnTo>
                  <a:lnTo>
                    <a:pt x="2239" y="10756"/>
                  </a:lnTo>
                  <a:cubicBezTo>
                    <a:pt x="2239" y="10851"/>
                    <a:pt x="2311" y="10923"/>
                    <a:pt x="2394" y="10923"/>
                  </a:cubicBezTo>
                  <a:cubicBezTo>
                    <a:pt x="2489" y="10923"/>
                    <a:pt x="2561" y="10851"/>
                    <a:pt x="2561" y="10756"/>
                  </a:cubicBezTo>
                  <a:lnTo>
                    <a:pt x="2561" y="7863"/>
                  </a:lnTo>
                  <a:lnTo>
                    <a:pt x="3227" y="8423"/>
                  </a:lnTo>
                  <a:cubicBezTo>
                    <a:pt x="3323" y="8494"/>
                    <a:pt x="3442" y="8542"/>
                    <a:pt x="3561" y="8542"/>
                  </a:cubicBezTo>
                  <a:lnTo>
                    <a:pt x="3608" y="8542"/>
                  </a:lnTo>
                  <a:cubicBezTo>
                    <a:pt x="3739" y="8530"/>
                    <a:pt x="3858" y="8470"/>
                    <a:pt x="3942" y="8351"/>
                  </a:cubicBezTo>
                  <a:lnTo>
                    <a:pt x="4287" y="7934"/>
                  </a:lnTo>
                  <a:lnTo>
                    <a:pt x="4632" y="8351"/>
                  </a:lnTo>
                  <a:cubicBezTo>
                    <a:pt x="4716" y="8458"/>
                    <a:pt x="4835" y="8530"/>
                    <a:pt x="4978" y="8542"/>
                  </a:cubicBezTo>
                  <a:lnTo>
                    <a:pt x="5013" y="8542"/>
                  </a:lnTo>
                  <a:cubicBezTo>
                    <a:pt x="5132" y="8542"/>
                    <a:pt x="5251" y="8494"/>
                    <a:pt x="5347" y="8423"/>
                  </a:cubicBezTo>
                  <a:lnTo>
                    <a:pt x="6180" y="7708"/>
                  </a:lnTo>
                  <a:lnTo>
                    <a:pt x="6680" y="7863"/>
                  </a:lnTo>
                  <a:lnTo>
                    <a:pt x="6680" y="10756"/>
                  </a:lnTo>
                  <a:cubicBezTo>
                    <a:pt x="6680" y="10851"/>
                    <a:pt x="6763" y="10923"/>
                    <a:pt x="6847" y="10923"/>
                  </a:cubicBezTo>
                  <a:cubicBezTo>
                    <a:pt x="6942" y="10923"/>
                    <a:pt x="7014" y="10851"/>
                    <a:pt x="7014" y="10756"/>
                  </a:cubicBezTo>
                  <a:lnTo>
                    <a:pt x="7014" y="7958"/>
                  </a:lnTo>
                  <a:lnTo>
                    <a:pt x="7609" y="8149"/>
                  </a:lnTo>
                  <a:cubicBezTo>
                    <a:pt x="7978" y="8244"/>
                    <a:pt x="8228" y="8589"/>
                    <a:pt x="8228" y="8982"/>
                  </a:cubicBezTo>
                  <a:lnTo>
                    <a:pt x="8228" y="10780"/>
                  </a:lnTo>
                  <a:cubicBezTo>
                    <a:pt x="8228" y="10863"/>
                    <a:pt x="8311" y="10947"/>
                    <a:pt x="8395" y="10947"/>
                  </a:cubicBezTo>
                  <a:cubicBezTo>
                    <a:pt x="8490" y="10947"/>
                    <a:pt x="8561" y="10863"/>
                    <a:pt x="8561" y="10780"/>
                  </a:cubicBezTo>
                  <a:lnTo>
                    <a:pt x="8561" y="8982"/>
                  </a:lnTo>
                  <a:cubicBezTo>
                    <a:pt x="8561" y="8423"/>
                    <a:pt x="8216" y="7970"/>
                    <a:pt x="7716" y="7815"/>
                  </a:cubicBezTo>
                  <a:lnTo>
                    <a:pt x="6311" y="7399"/>
                  </a:lnTo>
                  <a:lnTo>
                    <a:pt x="6061" y="6911"/>
                  </a:lnTo>
                  <a:cubicBezTo>
                    <a:pt x="6013" y="6839"/>
                    <a:pt x="5942" y="6756"/>
                    <a:pt x="5871" y="6744"/>
                  </a:cubicBezTo>
                  <a:cubicBezTo>
                    <a:pt x="5829" y="6738"/>
                    <a:pt x="5793" y="6735"/>
                    <a:pt x="5759" y="6735"/>
                  </a:cubicBezTo>
                  <a:cubicBezTo>
                    <a:pt x="5725" y="6735"/>
                    <a:pt x="5692" y="6738"/>
                    <a:pt x="5656" y="6744"/>
                  </a:cubicBezTo>
                  <a:lnTo>
                    <a:pt x="5656" y="6208"/>
                  </a:lnTo>
                  <a:cubicBezTo>
                    <a:pt x="6192" y="5839"/>
                    <a:pt x="6561" y="5256"/>
                    <a:pt x="6656" y="4589"/>
                  </a:cubicBezTo>
                  <a:lnTo>
                    <a:pt x="6740" y="4589"/>
                  </a:lnTo>
                  <a:cubicBezTo>
                    <a:pt x="7061" y="4589"/>
                    <a:pt x="7323" y="4351"/>
                    <a:pt x="7359" y="4065"/>
                  </a:cubicBezTo>
                  <a:cubicBezTo>
                    <a:pt x="7371" y="3898"/>
                    <a:pt x="7311" y="3743"/>
                    <a:pt x="7204" y="3601"/>
                  </a:cubicBezTo>
                  <a:cubicBezTo>
                    <a:pt x="7156" y="3541"/>
                    <a:pt x="7097" y="3505"/>
                    <a:pt x="7025" y="3470"/>
                  </a:cubicBezTo>
                  <a:lnTo>
                    <a:pt x="7216" y="2339"/>
                  </a:lnTo>
                  <a:cubicBezTo>
                    <a:pt x="7275" y="1969"/>
                    <a:pt x="7085" y="1600"/>
                    <a:pt x="6763" y="1446"/>
                  </a:cubicBezTo>
                  <a:cubicBezTo>
                    <a:pt x="6906" y="1065"/>
                    <a:pt x="6883" y="600"/>
                    <a:pt x="6656" y="88"/>
                  </a:cubicBezTo>
                  <a:cubicBezTo>
                    <a:pt x="6644" y="53"/>
                    <a:pt x="6597" y="5"/>
                    <a:pt x="6537" y="5"/>
                  </a:cubicBezTo>
                  <a:cubicBezTo>
                    <a:pt x="6523" y="2"/>
                    <a:pt x="6510" y="1"/>
                    <a:pt x="64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5" name="Google Shape;11755;p61"/>
            <p:cNvSpPr/>
            <p:nvPr/>
          </p:nvSpPr>
          <p:spPr>
            <a:xfrm>
              <a:off x="5090491" y="3141364"/>
              <a:ext cx="10581" cy="86391"/>
            </a:xfrm>
            <a:custGeom>
              <a:avLst/>
              <a:gdLst/>
              <a:ahLst/>
              <a:cxnLst/>
              <a:rect l="l" t="t" r="r" b="b"/>
              <a:pathLst>
                <a:path w="334" h="2727" extrusionOk="0">
                  <a:moveTo>
                    <a:pt x="167" y="0"/>
                  </a:moveTo>
                  <a:cubicBezTo>
                    <a:pt x="84" y="0"/>
                    <a:pt x="0" y="84"/>
                    <a:pt x="0" y="167"/>
                  </a:cubicBezTo>
                  <a:lnTo>
                    <a:pt x="0" y="2560"/>
                  </a:lnTo>
                  <a:cubicBezTo>
                    <a:pt x="0" y="2656"/>
                    <a:pt x="84" y="2727"/>
                    <a:pt x="167" y="2727"/>
                  </a:cubicBezTo>
                  <a:cubicBezTo>
                    <a:pt x="262" y="2727"/>
                    <a:pt x="334" y="2656"/>
                    <a:pt x="334" y="2560"/>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6" name="Google Shape;11756;p61"/>
            <p:cNvSpPr/>
            <p:nvPr/>
          </p:nvSpPr>
          <p:spPr>
            <a:xfrm>
              <a:off x="5031281" y="3152294"/>
              <a:ext cx="10201" cy="10613"/>
            </a:xfrm>
            <a:custGeom>
              <a:avLst/>
              <a:gdLst/>
              <a:ahLst/>
              <a:cxnLst/>
              <a:rect l="l" t="t" r="r" b="b"/>
              <a:pathLst>
                <a:path w="322" h="335" extrusionOk="0">
                  <a:moveTo>
                    <a:pt x="155" y="1"/>
                  </a:moveTo>
                  <a:cubicBezTo>
                    <a:pt x="72" y="1"/>
                    <a:pt x="0" y="72"/>
                    <a:pt x="0" y="167"/>
                  </a:cubicBezTo>
                  <a:cubicBezTo>
                    <a:pt x="0" y="251"/>
                    <a:pt x="72" y="334"/>
                    <a:pt x="155" y="334"/>
                  </a:cubicBezTo>
                  <a:cubicBezTo>
                    <a:pt x="250" y="334"/>
                    <a:pt x="322" y="251"/>
                    <a:pt x="322" y="167"/>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7" name="Google Shape;11757;p61"/>
            <p:cNvSpPr/>
            <p:nvPr/>
          </p:nvSpPr>
          <p:spPr>
            <a:xfrm>
              <a:off x="5031281" y="3217555"/>
              <a:ext cx="10201" cy="10201"/>
            </a:xfrm>
            <a:custGeom>
              <a:avLst/>
              <a:gdLst/>
              <a:ahLst/>
              <a:cxnLst/>
              <a:rect l="l" t="t" r="r" b="b"/>
              <a:pathLst>
                <a:path w="322" h="322" extrusionOk="0">
                  <a:moveTo>
                    <a:pt x="155" y="1"/>
                  </a:moveTo>
                  <a:cubicBezTo>
                    <a:pt x="72" y="1"/>
                    <a:pt x="0" y="72"/>
                    <a:pt x="0" y="155"/>
                  </a:cubicBezTo>
                  <a:cubicBezTo>
                    <a:pt x="0" y="251"/>
                    <a:pt x="72" y="322"/>
                    <a:pt x="155" y="322"/>
                  </a:cubicBezTo>
                  <a:cubicBezTo>
                    <a:pt x="250" y="322"/>
                    <a:pt x="322" y="251"/>
                    <a:pt x="322" y="155"/>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8" name="Google Shape;11758;p61"/>
            <p:cNvSpPr/>
            <p:nvPr/>
          </p:nvSpPr>
          <p:spPr>
            <a:xfrm>
              <a:off x="5031281" y="3184734"/>
              <a:ext cx="10201" cy="10613"/>
            </a:xfrm>
            <a:custGeom>
              <a:avLst/>
              <a:gdLst/>
              <a:ahLst/>
              <a:cxnLst/>
              <a:rect l="l" t="t" r="r" b="b"/>
              <a:pathLst>
                <a:path w="322" h="335" extrusionOk="0">
                  <a:moveTo>
                    <a:pt x="155" y="1"/>
                  </a:moveTo>
                  <a:cubicBezTo>
                    <a:pt x="72" y="1"/>
                    <a:pt x="0" y="84"/>
                    <a:pt x="0" y="167"/>
                  </a:cubicBezTo>
                  <a:cubicBezTo>
                    <a:pt x="0" y="263"/>
                    <a:pt x="72" y="334"/>
                    <a:pt x="155" y="334"/>
                  </a:cubicBezTo>
                  <a:cubicBezTo>
                    <a:pt x="250" y="334"/>
                    <a:pt x="322" y="263"/>
                    <a:pt x="322" y="167"/>
                  </a:cubicBezTo>
                  <a:cubicBezTo>
                    <a:pt x="322" y="84"/>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9" name="Google Shape;11759;p61"/>
            <p:cNvSpPr/>
            <p:nvPr/>
          </p:nvSpPr>
          <p:spPr>
            <a:xfrm>
              <a:off x="4998841" y="2995763"/>
              <a:ext cx="10201" cy="15492"/>
            </a:xfrm>
            <a:custGeom>
              <a:avLst/>
              <a:gdLst/>
              <a:ahLst/>
              <a:cxnLst/>
              <a:rect l="l" t="t" r="r" b="b"/>
              <a:pathLst>
                <a:path w="322" h="489" extrusionOk="0">
                  <a:moveTo>
                    <a:pt x="155" y="1"/>
                  </a:moveTo>
                  <a:cubicBezTo>
                    <a:pt x="72" y="1"/>
                    <a:pt x="0" y="72"/>
                    <a:pt x="0" y="167"/>
                  </a:cubicBezTo>
                  <a:lnTo>
                    <a:pt x="0" y="334"/>
                  </a:lnTo>
                  <a:cubicBezTo>
                    <a:pt x="0" y="417"/>
                    <a:pt x="72" y="489"/>
                    <a:pt x="155" y="489"/>
                  </a:cubicBezTo>
                  <a:cubicBezTo>
                    <a:pt x="250" y="489"/>
                    <a:pt x="322" y="417"/>
                    <a:pt x="322" y="334"/>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0" name="Google Shape;11760;p61"/>
            <p:cNvSpPr/>
            <p:nvPr/>
          </p:nvSpPr>
          <p:spPr>
            <a:xfrm>
              <a:off x="5063721" y="2995763"/>
              <a:ext cx="10201" cy="15492"/>
            </a:xfrm>
            <a:custGeom>
              <a:avLst/>
              <a:gdLst/>
              <a:ahLst/>
              <a:cxnLst/>
              <a:rect l="l" t="t" r="r" b="b"/>
              <a:pathLst>
                <a:path w="322" h="489" extrusionOk="0">
                  <a:moveTo>
                    <a:pt x="167" y="1"/>
                  </a:moveTo>
                  <a:cubicBezTo>
                    <a:pt x="71" y="1"/>
                    <a:pt x="0" y="72"/>
                    <a:pt x="0" y="167"/>
                  </a:cubicBezTo>
                  <a:lnTo>
                    <a:pt x="0" y="334"/>
                  </a:lnTo>
                  <a:cubicBezTo>
                    <a:pt x="0" y="417"/>
                    <a:pt x="71" y="489"/>
                    <a:pt x="167" y="489"/>
                  </a:cubicBezTo>
                  <a:cubicBezTo>
                    <a:pt x="250" y="489"/>
                    <a:pt x="322" y="417"/>
                    <a:pt x="322" y="334"/>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1" name="Google Shape;11761;p61"/>
            <p:cNvSpPr/>
            <p:nvPr/>
          </p:nvSpPr>
          <p:spPr>
            <a:xfrm>
              <a:off x="4993550"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55" y="84"/>
                    <a:pt x="58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2" name="Google Shape;11762;p61"/>
            <p:cNvSpPr/>
            <p:nvPr/>
          </p:nvSpPr>
          <p:spPr>
            <a:xfrm>
              <a:off x="5058051" y="2979163"/>
              <a:ext cx="21162" cy="10613"/>
            </a:xfrm>
            <a:custGeom>
              <a:avLst/>
              <a:gdLst/>
              <a:ahLst/>
              <a:cxnLst/>
              <a:rect l="l" t="t" r="r" b="b"/>
              <a:pathLst>
                <a:path w="668" h="335" extrusionOk="0">
                  <a:moveTo>
                    <a:pt x="167" y="1"/>
                  </a:moveTo>
                  <a:cubicBezTo>
                    <a:pt x="72" y="1"/>
                    <a:pt x="0" y="84"/>
                    <a:pt x="0" y="167"/>
                  </a:cubicBezTo>
                  <a:cubicBezTo>
                    <a:pt x="0" y="263"/>
                    <a:pt x="72" y="334"/>
                    <a:pt x="167" y="334"/>
                  </a:cubicBezTo>
                  <a:lnTo>
                    <a:pt x="501" y="334"/>
                  </a:lnTo>
                  <a:cubicBezTo>
                    <a:pt x="596" y="334"/>
                    <a:pt x="667" y="263"/>
                    <a:pt x="667" y="167"/>
                  </a:cubicBezTo>
                  <a:cubicBezTo>
                    <a:pt x="667" y="84"/>
                    <a:pt x="596"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3" name="Google Shape;11763;p61"/>
            <p:cNvSpPr/>
            <p:nvPr/>
          </p:nvSpPr>
          <p:spPr>
            <a:xfrm>
              <a:off x="5007141" y="3025574"/>
              <a:ext cx="58481" cy="32092"/>
            </a:xfrm>
            <a:custGeom>
              <a:avLst/>
              <a:gdLst/>
              <a:ahLst/>
              <a:cxnLst/>
              <a:rect l="l" t="t" r="r" b="b"/>
              <a:pathLst>
                <a:path w="1846" h="1013" extrusionOk="0">
                  <a:moveTo>
                    <a:pt x="1500" y="322"/>
                  </a:moveTo>
                  <a:cubicBezTo>
                    <a:pt x="1429" y="536"/>
                    <a:pt x="1191" y="679"/>
                    <a:pt x="917" y="679"/>
                  </a:cubicBezTo>
                  <a:cubicBezTo>
                    <a:pt x="655" y="679"/>
                    <a:pt x="417" y="536"/>
                    <a:pt x="345" y="322"/>
                  </a:cubicBezTo>
                  <a:close/>
                  <a:moveTo>
                    <a:pt x="167" y="0"/>
                  </a:moveTo>
                  <a:cubicBezTo>
                    <a:pt x="72" y="0"/>
                    <a:pt x="0" y="72"/>
                    <a:pt x="0" y="167"/>
                  </a:cubicBezTo>
                  <a:cubicBezTo>
                    <a:pt x="0" y="619"/>
                    <a:pt x="417" y="1012"/>
                    <a:pt x="929" y="1012"/>
                  </a:cubicBezTo>
                  <a:cubicBezTo>
                    <a:pt x="1429" y="1012"/>
                    <a:pt x="1846" y="643"/>
                    <a:pt x="1846" y="167"/>
                  </a:cubicBezTo>
                  <a:cubicBezTo>
                    <a:pt x="1846" y="72"/>
                    <a:pt x="1786"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64" name="Google Shape;11764;p61"/>
          <p:cNvGrpSpPr/>
          <p:nvPr/>
        </p:nvGrpSpPr>
        <p:grpSpPr>
          <a:xfrm>
            <a:off x="7162775" y="2881113"/>
            <a:ext cx="259523" cy="346294"/>
            <a:chOff x="7162775" y="2881113"/>
            <a:chExt cx="259523" cy="346294"/>
          </a:xfrm>
        </p:grpSpPr>
        <p:sp>
          <p:nvSpPr>
            <p:cNvPr id="11765" name="Google Shape;11765;p61"/>
            <p:cNvSpPr/>
            <p:nvPr/>
          </p:nvSpPr>
          <p:spPr>
            <a:xfrm>
              <a:off x="7162775" y="2881113"/>
              <a:ext cx="259523" cy="346294"/>
            </a:xfrm>
            <a:custGeom>
              <a:avLst/>
              <a:gdLst/>
              <a:ahLst/>
              <a:cxnLst/>
              <a:rect l="l" t="t" r="r" b="b"/>
              <a:pathLst>
                <a:path w="8192" h="10931" extrusionOk="0">
                  <a:moveTo>
                    <a:pt x="4084" y="1536"/>
                  </a:moveTo>
                  <a:cubicBezTo>
                    <a:pt x="4382" y="1536"/>
                    <a:pt x="4703" y="1810"/>
                    <a:pt x="4989" y="2239"/>
                  </a:cubicBezTo>
                  <a:lnTo>
                    <a:pt x="3155" y="2239"/>
                  </a:lnTo>
                  <a:cubicBezTo>
                    <a:pt x="3453" y="1810"/>
                    <a:pt x="3787" y="1536"/>
                    <a:pt x="4084" y="1536"/>
                  </a:cubicBezTo>
                  <a:close/>
                  <a:moveTo>
                    <a:pt x="5191" y="2560"/>
                  </a:moveTo>
                  <a:cubicBezTo>
                    <a:pt x="5596" y="3310"/>
                    <a:pt x="5906" y="4334"/>
                    <a:pt x="5965" y="5322"/>
                  </a:cubicBezTo>
                  <a:cubicBezTo>
                    <a:pt x="5621" y="6068"/>
                    <a:pt x="4891" y="6515"/>
                    <a:pt x="4082" y="6515"/>
                  </a:cubicBezTo>
                  <a:cubicBezTo>
                    <a:pt x="4051" y="6515"/>
                    <a:pt x="4020" y="6514"/>
                    <a:pt x="3989" y="6513"/>
                  </a:cubicBezTo>
                  <a:cubicBezTo>
                    <a:pt x="3608" y="6489"/>
                    <a:pt x="3227" y="6358"/>
                    <a:pt x="2905" y="6120"/>
                  </a:cubicBezTo>
                  <a:cubicBezTo>
                    <a:pt x="2596" y="5894"/>
                    <a:pt x="2358" y="5596"/>
                    <a:pt x="2203" y="5239"/>
                  </a:cubicBezTo>
                  <a:cubicBezTo>
                    <a:pt x="2274" y="4286"/>
                    <a:pt x="2572" y="3274"/>
                    <a:pt x="2977" y="2560"/>
                  </a:cubicBezTo>
                  <a:close/>
                  <a:moveTo>
                    <a:pt x="2167" y="5870"/>
                  </a:moveTo>
                  <a:cubicBezTo>
                    <a:pt x="2322" y="6060"/>
                    <a:pt x="2501" y="6239"/>
                    <a:pt x="2691" y="6394"/>
                  </a:cubicBezTo>
                  <a:cubicBezTo>
                    <a:pt x="3060" y="6656"/>
                    <a:pt x="3501" y="6799"/>
                    <a:pt x="3953" y="6834"/>
                  </a:cubicBezTo>
                  <a:lnTo>
                    <a:pt x="4072" y="6834"/>
                  </a:lnTo>
                  <a:cubicBezTo>
                    <a:pt x="4525" y="6834"/>
                    <a:pt x="4965" y="6715"/>
                    <a:pt x="5346" y="6465"/>
                  </a:cubicBezTo>
                  <a:cubicBezTo>
                    <a:pt x="5584" y="6310"/>
                    <a:pt x="5787" y="6120"/>
                    <a:pt x="5953" y="5906"/>
                  </a:cubicBezTo>
                  <a:lnTo>
                    <a:pt x="5953" y="5906"/>
                  </a:lnTo>
                  <a:cubicBezTo>
                    <a:pt x="5918" y="6287"/>
                    <a:pt x="5739" y="6620"/>
                    <a:pt x="5430" y="6894"/>
                  </a:cubicBezTo>
                  <a:cubicBezTo>
                    <a:pt x="5358" y="6953"/>
                    <a:pt x="5358" y="7061"/>
                    <a:pt x="5418" y="7120"/>
                  </a:cubicBezTo>
                  <a:cubicBezTo>
                    <a:pt x="5441" y="7156"/>
                    <a:pt x="5489" y="7180"/>
                    <a:pt x="5537" y="7180"/>
                  </a:cubicBezTo>
                  <a:cubicBezTo>
                    <a:pt x="5561" y="7180"/>
                    <a:pt x="5608" y="7156"/>
                    <a:pt x="5644" y="7132"/>
                  </a:cubicBezTo>
                  <a:cubicBezTo>
                    <a:pt x="5763" y="7025"/>
                    <a:pt x="5858" y="6906"/>
                    <a:pt x="5953" y="6787"/>
                  </a:cubicBezTo>
                  <a:lnTo>
                    <a:pt x="5953" y="6787"/>
                  </a:lnTo>
                  <a:cubicBezTo>
                    <a:pt x="5894" y="7775"/>
                    <a:pt x="5072" y="8561"/>
                    <a:pt x="4060" y="8561"/>
                  </a:cubicBezTo>
                  <a:cubicBezTo>
                    <a:pt x="3084" y="8561"/>
                    <a:pt x="2263" y="7787"/>
                    <a:pt x="2191" y="6787"/>
                  </a:cubicBezTo>
                  <a:lnTo>
                    <a:pt x="2191" y="6787"/>
                  </a:lnTo>
                  <a:cubicBezTo>
                    <a:pt x="2572" y="7323"/>
                    <a:pt x="3275" y="7680"/>
                    <a:pt x="4084" y="7680"/>
                  </a:cubicBezTo>
                  <a:cubicBezTo>
                    <a:pt x="4394" y="7680"/>
                    <a:pt x="4703" y="7620"/>
                    <a:pt x="4989" y="7525"/>
                  </a:cubicBezTo>
                  <a:cubicBezTo>
                    <a:pt x="5072" y="7489"/>
                    <a:pt x="5108" y="7406"/>
                    <a:pt x="5072" y="7311"/>
                  </a:cubicBezTo>
                  <a:cubicBezTo>
                    <a:pt x="5055" y="7249"/>
                    <a:pt x="4998" y="7213"/>
                    <a:pt x="4936" y="7213"/>
                  </a:cubicBezTo>
                  <a:cubicBezTo>
                    <a:pt x="4914" y="7213"/>
                    <a:pt x="4892" y="7218"/>
                    <a:pt x="4870" y="7227"/>
                  </a:cubicBezTo>
                  <a:cubicBezTo>
                    <a:pt x="4608" y="7311"/>
                    <a:pt x="4346" y="7370"/>
                    <a:pt x="4060" y="7370"/>
                  </a:cubicBezTo>
                  <a:cubicBezTo>
                    <a:pt x="3036" y="7370"/>
                    <a:pt x="2203" y="6703"/>
                    <a:pt x="2167" y="5870"/>
                  </a:cubicBezTo>
                  <a:close/>
                  <a:moveTo>
                    <a:pt x="6787" y="7680"/>
                  </a:moveTo>
                  <a:cubicBezTo>
                    <a:pt x="6823" y="7739"/>
                    <a:pt x="6823" y="7823"/>
                    <a:pt x="6823" y="7894"/>
                  </a:cubicBezTo>
                  <a:cubicBezTo>
                    <a:pt x="6835" y="9013"/>
                    <a:pt x="5596" y="9930"/>
                    <a:pt x="4084" y="9930"/>
                  </a:cubicBezTo>
                  <a:cubicBezTo>
                    <a:pt x="3846" y="9930"/>
                    <a:pt x="3608" y="9906"/>
                    <a:pt x="3382" y="9870"/>
                  </a:cubicBezTo>
                  <a:cubicBezTo>
                    <a:pt x="4406" y="9811"/>
                    <a:pt x="5311" y="9442"/>
                    <a:pt x="5989" y="8799"/>
                  </a:cubicBezTo>
                  <a:cubicBezTo>
                    <a:pt x="6311" y="8489"/>
                    <a:pt x="6584" y="8096"/>
                    <a:pt x="6787" y="7680"/>
                  </a:cubicBezTo>
                  <a:close/>
                  <a:moveTo>
                    <a:pt x="4096" y="0"/>
                  </a:moveTo>
                  <a:cubicBezTo>
                    <a:pt x="2465" y="0"/>
                    <a:pt x="1120" y="1274"/>
                    <a:pt x="1024" y="2893"/>
                  </a:cubicBezTo>
                  <a:lnTo>
                    <a:pt x="881" y="5465"/>
                  </a:lnTo>
                  <a:cubicBezTo>
                    <a:pt x="834" y="6096"/>
                    <a:pt x="989" y="6703"/>
                    <a:pt x="1286" y="7239"/>
                  </a:cubicBezTo>
                  <a:cubicBezTo>
                    <a:pt x="1108" y="7418"/>
                    <a:pt x="1024" y="7620"/>
                    <a:pt x="1024" y="7870"/>
                  </a:cubicBezTo>
                  <a:lnTo>
                    <a:pt x="1024" y="7906"/>
                  </a:lnTo>
                  <a:lnTo>
                    <a:pt x="786" y="7989"/>
                  </a:lnTo>
                  <a:cubicBezTo>
                    <a:pt x="310" y="8156"/>
                    <a:pt x="0" y="8608"/>
                    <a:pt x="0" y="9108"/>
                  </a:cubicBezTo>
                  <a:lnTo>
                    <a:pt x="0" y="10763"/>
                  </a:lnTo>
                  <a:cubicBezTo>
                    <a:pt x="0" y="10859"/>
                    <a:pt x="72" y="10930"/>
                    <a:pt x="155" y="10930"/>
                  </a:cubicBezTo>
                  <a:cubicBezTo>
                    <a:pt x="238" y="10930"/>
                    <a:pt x="310" y="10859"/>
                    <a:pt x="310" y="10763"/>
                  </a:cubicBezTo>
                  <a:lnTo>
                    <a:pt x="310" y="9097"/>
                  </a:lnTo>
                  <a:cubicBezTo>
                    <a:pt x="310" y="8727"/>
                    <a:pt x="548" y="8394"/>
                    <a:pt x="893" y="8275"/>
                  </a:cubicBezTo>
                  <a:lnTo>
                    <a:pt x="1060" y="8215"/>
                  </a:lnTo>
                  <a:cubicBezTo>
                    <a:pt x="1108" y="8406"/>
                    <a:pt x="1167" y="8608"/>
                    <a:pt x="1262" y="8787"/>
                  </a:cubicBezTo>
                  <a:cubicBezTo>
                    <a:pt x="1298" y="8847"/>
                    <a:pt x="1358" y="8870"/>
                    <a:pt x="1405" y="8870"/>
                  </a:cubicBezTo>
                  <a:cubicBezTo>
                    <a:pt x="1429" y="8870"/>
                    <a:pt x="1465" y="8858"/>
                    <a:pt x="1489" y="8847"/>
                  </a:cubicBezTo>
                  <a:cubicBezTo>
                    <a:pt x="1548" y="8799"/>
                    <a:pt x="1560" y="8704"/>
                    <a:pt x="1536" y="8632"/>
                  </a:cubicBezTo>
                  <a:cubicBezTo>
                    <a:pt x="1405" y="8394"/>
                    <a:pt x="1346" y="8132"/>
                    <a:pt x="1346" y="7870"/>
                  </a:cubicBezTo>
                  <a:cubicBezTo>
                    <a:pt x="1346" y="7739"/>
                    <a:pt x="1381" y="7620"/>
                    <a:pt x="1465" y="7513"/>
                  </a:cubicBezTo>
                  <a:cubicBezTo>
                    <a:pt x="1548" y="7632"/>
                    <a:pt x="1643" y="7751"/>
                    <a:pt x="1739" y="7858"/>
                  </a:cubicBezTo>
                  <a:cubicBezTo>
                    <a:pt x="2360" y="8503"/>
                    <a:pt x="3177" y="8871"/>
                    <a:pt x="4066" y="8871"/>
                  </a:cubicBezTo>
                  <a:cubicBezTo>
                    <a:pt x="4080" y="8871"/>
                    <a:pt x="4094" y="8871"/>
                    <a:pt x="4108" y="8870"/>
                  </a:cubicBezTo>
                  <a:cubicBezTo>
                    <a:pt x="5311" y="8858"/>
                    <a:pt x="6299" y="7870"/>
                    <a:pt x="6299" y="6656"/>
                  </a:cubicBezTo>
                  <a:lnTo>
                    <a:pt x="6299" y="5632"/>
                  </a:lnTo>
                  <a:cubicBezTo>
                    <a:pt x="6299" y="4691"/>
                    <a:pt x="6061" y="3608"/>
                    <a:pt x="5644" y="2715"/>
                  </a:cubicBezTo>
                  <a:cubicBezTo>
                    <a:pt x="5430" y="2262"/>
                    <a:pt x="5191" y="1893"/>
                    <a:pt x="4953" y="1643"/>
                  </a:cubicBezTo>
                  <a:cubicBezTo>
                    <a:pt x="4679" y="1346"/>
                    <a:pt x="4382" y="1191"/>
                    <a:pt x="4096" y="1191"/>
                  </a:cubicBezTo>
                  <a:cubicBezTo>
                    <a:pt x="3810" y="1191"/>
                    <a:pt x="3513" y="1346"/>
                    <a:pt x="3227" y="1643"/>
                  </a:cubicBezTo>
                  <a:cubicBezTo>
                    <a:pt x="2989" y="1893"/>
                    <a:pt x="2751" y="2262"/>
                    <a:pt x="2548" y="2715"/>
                  </a:cubicBezTo>
                  <a:cubicBezTo>
                    <a:pt x="2132" y="3608"/>
                    <a:pt x="1893" y="4691"/>
                    <a:pt x="1893" y="5632"/>
                  </a:cubicBezTo>
                  <a:lnTo>
                    <a:pt x="1893" y="6656"/>
                  </a:lnTo>
                  <a:cubicBezTo>
                    <a:pt x="1893" y="7120"/>
                    <a:pt x="2036" y="7549"/>
                    <a:pt x="2274" y="7906"/>
                  </a:cubicBezTo>
                  <a:cubicBezTo>
                    <a:pt x="2179" y="7834"/>
                    <a:pt x="2084" y="7739"/>
                    <a:pt x="2001" y="7632"/>
                  </a:cubicBezTo>
                  <a:cubicBezTo>
                    <a:pt x="1441" y="7037"/>
                    <a:pt x="1167" y="6287"/>
                    <a:pt x="1203" y="5477"/>
                  </a:cubicBezTo>
                  <a:lnTo>
                    <a:pt x="1358" y="2905"/>
                  </a:lnTo>
                  <a:cubicBezTo>
                    <a:pt x="1441" y="1465"/>
                    <a:pt x="2655" y="310"/>
                    <a:pt x="4108" y="310"/>
                  </a:cubicBezTo>
                  <a:cubicBezTo>
                    <a:pt x="5549" y="310"/>
                    <a:pt x="6763" y="1441"/>
                    <a:pt x="6846" y="2893"/>
                  </a:cubicBezTo>
                  <a:lnTo>
                    <a:pt x="6954" y="4775"/>
                  </a:lnTo>
                  <a:cubicBezTo>
                    <a:pt x="7061" y="6406"/>
                    <a:pt x="6656" y="7692"/>
                    <a:pt x="5787" y="8537"/>
                  </a:cubicBezTo>
                  <a:cubicBezTo>
                    <a:pt x="5095" y="9187"/>
                    <a:pt x="4135" y="9532"/>
                    <a:pt x="3046" y="9532"/>
                  </a:cubicBezTo>
                  <a:cubicBezTo>
                    <a:pt x="2898" y="9532"/>
                    <a:pt x="2748" y="9526"/>
                    <a:pt x="2596" y="9513"/>
                  </a:cubicBezTo>
                  <a:cubicBezTo>
                    <a:pt x="2501" y="9501"/>
                    <a:pt x="2393" y="9466"/>
                    <a:pt x="2322" y="9430"/>
                  </a:cubicBezTo>
                  <a:cubicBezTo>
                    <a:pt x="2191" y="9335"/>
                    <a:pt x="2060" y="9228"/>
                    <a:pt x="1941" y="9132"/>
                  </a:cubicBezTo>
                  <a:cubicBezTo>
                    <a:pt x="1911" y="9102"/>
                    <a:pt x="1870" y="9088"/>
                    <a:pt x="1828" y="9088"/>
                  </a:cubicBezTo>
                  <a:cubicBezTo>
                    <a:pt x="1786" y="9088"/>
                    <a:pt x="1745" y="9102"/>
                    <a:pt x="1715" y="9132"/>
                  </a:cubicBezTo>
                  <a:cubicBezTo>
                    <a:pt x="1655" y="9180"/>
                    <a:pt x="1655" y="9287"/>
                    <a:pt x="1715" y="9347"/>
                  </a:cubicBezTo>
                  <a:cubicBezTo>
                    <a:pt x="2298" y="9906"/>
                    <a:pt x="3167" y="10228"/>
                    <a:pt x="4096" y="10228"/>
                  </a:cubicBezTo>
                  <a:cubicBezTo>
                    <a:pt x="4918" y="10228"/>
                    <a:pt x="5668" y="9990"/>
                    <a:pt x="6251" y="9537"/>
                  </a:cubicBezTo>
                  <a:cubicBezTo>
                    <a:pt x="6727" y="9180"/>
                    <a:pt x="7037" y="8704"/>
                    <a:pt x="7132" y="8204"/>
                  </a:cubicBezTo>
                  <a:lnTo>
                    <a:pt x="7299" y="8263"/>
                  </a:lnTo>
                  <a:cubicBezTo>
                    <a:pt x="7632" y="8382"/>
                    <a:pt x="7870" y="8704"/>
                    <a:pt x="7870" y="9085"/>
                  </a:cubicBezTo>
                  <a:lnTo>
                    <a:pt x="7870" y="10728"/>
                  </a:lnTo>
                  <a:cubicBezTo>
                    <a:pt x="7870" y="10823"/>
                    <a:pt x="7954" y="10894"/>
                    <a:pt x="8025" y="10894"/>
                  </a:cubicBezTo>
                  <a:cubicBezTo>
                    <a:pt x="8108" y="10894"/>
                    <a:pt x="8192" y="10823"/>
                    <a:pt x="8192" y="10728"/>
                  </a:cubicBezTo>
                  <a:lnTo>
                    <a:pt x="8192" y="9061"/>
                  </a:lnTo>
                  <a:cubicBezTo>
                    <a:pt x="8192" y="8620"/>
                    <a:pt x="7870" y="8156"/>
                    <a:pt x="7394" y="8001"/>
                  </a:cubicBezTo>
                  <a:lnTo>
                    <a:pt x="7156" y="7906"/>
                  </a:lnTo>
                  <a:lnTo>
                    <a:pt x="7156" y="7882"/>
                  </a:lnTo>
                  <a:cubicBezTo>
                    <a:pt x="7156" y="7656"/>
                    <a:pt x="7096" y="7477"/>
                    <a:pt x="6954" y="7311"/>
                  </a:cubicBezTo>
                  <a:cubicBezTo>
                    <a:pt x="7216" y="6584"/>
                    <a:pt x="7323" y="5739"/>
                    <a:pt x="7263" y="4786"/>
                  </a:cubicBezTo>
                  <a:lnTo>
                    <a:pt x="7156" y="2893"/>
                  </a:lnTo>
                  <a:cubicBezTo>
                    <a:pt x="7049" y="1274"/>
                    <a:pt x="5715" y="0"/>
                    <a:pt x="4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6" name="Google Shape;11766;p61"/>
            <p:cNvSpPr/>
            <p:nvPr/>
          </p:nvSpPr>
          <p:spPr>
            <a:xfrm>
              <a:off x="7270645" y="3044519"/>
              <a:ext cx="43402" cy="15396"/>
            </a:xfrm>
            <a:custGeom>
              <a:avLst/>
              <a:gdLst/>
              <a:ahLst/>
              <a:cxnLst/>
              <a:rect l="l" t="t" r="r" b="b"/>
              <a:pathLst>
                <a:path w="1370" h="486" extrusionOk="0">
                  <a:moveTo>
                    <a:pt x="173" y="1"/>
                  </a:moveTo>
                  <a:cubicBezTo>
                    <a:pt x="131" y="1"/>
                    <a:pt x="90" y="15"/>
                    <a:pt x="60" y="45"/>
                  </a:cubicBezTo>
                  <a:cubicBezTo>
                    <a:pt x="1" y="105"/>
                    <a:pt x="1" y="200"/>
                    <a:pt x="60" y="260"/>
                  </a:cubicBezTo>
                  <a:cubicBezTo>
                    <a:pt x="203" y="402"/>
                    <a:pt x="441" y="486"/>
                    <a:pt x="691" y="486"/>
                  </a:cubicBezTo>
                  <a:cubicBezTo>
                    <a:pt x="941" y="486"/>
                    <a:pt x="1179" y="414"/>
                    <a:pt x="1310" y="260"/>
                  </a:cubicBezTo>
                  <a:cubicBezTo>
                    <a:pt x="1370" y="200"/>
                    <a:pt x="1370" y="105"/>
                    <a:pt x="1310" y="45"/>
                  </a:cubicBezTo>
                  <a:cubicBezTo>
                    <a:pt x="1280" y="15"/>
                    <a:pt x="1242" y="1"/>
                    <a:pt x="1203" y="1"/>
                  </a:cubicBezTo>
                  <a:cubicBezTo>
                    <a:pt x="1164" y="1"/>
                    <a:pt x="1126" y="15"/>
                    <a:pt x="1096" y="45"/>
                  </a:cubicBezTo>
                  <a:cubicBezTo>
                    <a:pt x="1036" y="105"/>
                    <a:pt x="893" y="152"/>
                    <a:pt x="691" y="152"/>
                  </a:cubicBezTo>
                  <a:cubicBezTo>
                    <a:pt x="477" y="152"/>
                    <a:pt x="346" y="81"/>
                    <a:pt x="286" y="45"/>
                  </a:cubicBezTo>
                  <a:cubicBezTo>
                    <a:pt x="256"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7" name="Google Shape;11767;p61"/>
            <p:cNvSpPr/>
            <p:nvPr/>
          </p:nvSpPr>
          <p:spPr>
            <a:xfrm>
              <a:off x="7254805" y="3006344"/>
              <a:ext cx="10201" cy="15492"/>
            </a:xfrm>
            <a:custGeom>
              <a:avLst/>
              <a:gdLst/>
              <a:ahLst/>
              <a:cxnLst/>
              <a:rect l="l" t="t" r="r" b="b"/>
              <a:pathLst>
                <a:path w="322" h="489" extrusionOk="0">
                  <a:moveTo>
                    <a:pt x="167" y="0"/>
                  </a:moveTo>
                  <a:cubicBezTo>
                    <a:pt x="72" y="0"/>
                    <a:pt x="0" y="71"/>
                    <a:pt x="0" y="155"/>
                  </a:cubicBezTo>
                  <a:lnTo>
                    <a:pt x="0" y="322"/>
                  </a:lnTo>
                  <a:cubicBezTo>
                    <a:pt x="0" y="417"/>
                    <a:pt x="72" y="488"/>
                    <a:pt x="167" y="488"/>
                  </a:cubicBezTo>
                  <a:cubicBezTo>
                    <a:pt x="250" y="488"/>
                    <a:pt x="322" y="417"/>
                    <a:pt x="322" y="322"/>
                  </a:cubicBezTo>
                  <a:lnTo>
                    <a:pt x="322" y="155"/>
                  </a:lnTo>
                  <a:cubicBezTo>
                    <a:pt x="322"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8" name="Google Shape;11768;p61"/>
            <p:cNvSpPr/>
            <p:nvPr/>
          </p:nvSpPr>
          <p:spPr>
            <a:xfrm>
              <a:off x="7319686" y="3006344"/>
              <a:ext cx="10581" cy="15492"/>
            </a:xfrm>
            <a:custGeom>
              <a:avLst/>
              <a:gdLst/>
              <a:ahLst/>
              <a:cxnLst/>
              <a:rect l="l" t="t" r="r" b="b"/>
              <a:pathLst>
                <a:path w="334" h="489" extrusionOk="0">
                  <a:moveTo>
                    <a:pt x="167" y="0"/>
                  </a:moveTo>
                  <a:cubicBezTo>
                    <a:pt x="84" y="0"/>
                    <a:pt x="0" y="71"/>
                    <a:pt x="0" y="155"/>
                  </a:cubicBezTo>
                  <a:lnTo>
                    <a:pt x="0" y="322"/>
                  </a:lnTo>
                  <a:cubicBezTo>
                    <a:pt x="0" y="417"/>
                    <a:pt x="84" y="488"/>
                    <a:pt x="167" y="488"/>
                  </a:cubicBezTo>
                  <a:cubicBezTo>
                    <a:pt x="262" y="488"/>
                    <a:pt x="334" y="417"/>
                    <a:pt x="334" y="322"/>
                  </a:cubicBezTo>
                  <a:lnTo>
                    <a:pt x="334" y="155"/>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9" name="Google Shape;11769;p61"/>
            <p:cNvSpPr/>
            <p:nvPr/>
          </p:nvSpPr>
          <p:spPr>
            <a:xfrm>
              <a:off x="7249135"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01" y="333"/>
                  </a:lnTo>
                  <a:cubicBezTo>
                    <a:pt x="596"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0" name="Google Shape;11770;p61"/>
            <p:cNvSpPr/>
            <p:nvPr/>
          </p:nvSpPr>
          <p:spPr>
            <a:xfrm>
              <a:off x="7314015" y="2990124"/>
              <a:ext cx="21542" cy="10581"/>
            </a:xfrm>
            <a:custGeom>
              <a:avLst/>
              <a:gdLst/>
              <a:ahLst/>
              <a:cxnLst/>
              <a:rect l="l" t="t" r="r" b="b"/>
              <a:pathLst>
                <a:path w="680" h="334" extrusionOk="0">
                  <a:moveTo>
                    <a:pt x="167" y="0"/>
                  </a:moveTo>
                  <a:cubicBezTo>
                    <a:pt x="84" y="0"/>
                    <a:pt x="1" y="72"/>
                    <a:pt x="1" y="167"/>
                  </a:cubicBezTo>
                  <a:cubicBezTo>
                    <a:pt x="1" y="250"/>
                    <a:pt x="84" y="333"/>
                    <a:pt x="167" y="333"/>
                  </a:cubicBezTo>
                  <a:lnTo>
                    <a:pt x="513" y="333"/>
                  </a:lnTo>
                  <a:cubicBezTo>
                    <a:pt x="596" y="333"/>
                    <a:pt x="667" y="250"/>
                    <a:pt x="667" y="167"/>
                  </a:cubicBezTo>
                  <a:cubicBezTo>
                    <a:pt x="679"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1" name="Google Shape;11771;p61"/>
          <p:cNvGrpSpPr/>
          <p:nvPr/>
        </p:nvGrpSpPr>
        <p:grpSpPr>
          <a:xfrm>
            <a:off x="6709751" y="2881842"/>
            <a:ext cx="261075" cy="347815"/>
            <a:chOff x="6709751" y="2881842"/>
            <a:chExt cx="261075" cy="347815"/>
          </a:xfrm>
        </p:grpSpPr>
        <p:sp>
          <p:nvSpPr>
            <p:cNvPr id="11772" name="Google Shape;11772;p61"/>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3" name="Google Shape;11773;p61"/>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4" name="Google Shape;11774;p61"/>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5" name="Google Shape;11775;p61"/>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6" name="Google Shape;11776;p61"/>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7" name="Google Shape;11777;p61"/>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78" name="Google Shape;11778;p61"/>
          <p:cNvGrpSpPr/>
          <p:nvPr/>
        </p:nvGrpSpPr>
        <p:grpSpPr>
          <a:xfrm>
            <a:off x="5807156" y="2881113"/>
            <a:ext cx="261043" cy="348163"/>
            <a:chOff x="5807156" y="2881113"/>
            <a:chExt cx="261043" cy="348163"/>
          </a:xfrm>
        </p:grpSpPr>
        <p:sp>
          <p:nvSpPr>
            <p:cNvPr id="11779" name="Google Shape;11779;p61"/>
            <p:cNvSpPr/>
            <p:nvPr/>
          </p:nvSpPr>
          <p:spPr>
            <a:xfrm>
              <a:off x="5807156" y="2881113"/>
              <a:ext cx="261043" cy="348163"/>
            </a:xfrm>
            <a:custGeom>
              <a:avLst/>
              <a:gdLst/>
              <a:ahLst/>
              <a:cxnLst/>
              <a:rect l="l" t="t" r="r" b="b"/>
              <a:pathLst>
                <a:path w="8240" h="10990" extrusionOk="0">
                  <a:moveTo>
                    <a:pt x="4477" y="334"/>
                  </a:moveTo>
                  <a:cubicBezTo>
                    <a:pt x="4763" y="334"/>
                    <a:pt x="5001" y="572"/>
                    <a:pt x="5001" y="857"/>
                  </a:cubicBezTo>
                  <a:cubicBezTo>
                    <a:pt x="5001" y="917"/>
                    <a:pt x="4989" y="976"/>
                    <a:pt x="4977" y="1036"/>
                  </a:cubicBezTo>
                  <a:lnTo>
                    <a:pt x="3310" y="1036"/>
                  </a:lnTo>
                  <a:cubicBezTo>
                    <a:pt x="3274" y="976"/>
                    <a:pt x="3274" y="917"/>
                    <a:pt x="3274" y="857"/>
                  </a:cubicBezTo>
                  <a:cubicBezTo>
                    <a:pt x="3274" y="572"/>
                    <a:pt x="3501" y="334"/>
                    <a:pt x="3798" y="334"/>
                  </a:cubicBezTo>
                  <a:close/>
                  <a:moveTo>
                    <a:pt x="5168" y="1369"/>
                  </a:moveTo>
                  <a:cubicBezTo>
                    <a:pt x="6215" y="1369"/>
                    <a:pt x="7061" y="2215"/>
                    <a:pt x="7061" y="3262"/>
                  </a:cubicBezTo>
                  <a:cubicBezTo>
                    <a:pt x="7061" y="3524"/>
                    <a:pt x="7001" y="3786"/>
                    <a:pt x="6894" y="4024"/>
                  </a:cubicBezTo>
                  <a:cubicBezTo>
                    <a:pt x="6811" y="3977"/>
                    <a:pt x="6715" y="3953"/>
                    <a:pt x="6608" y="3953"/>
                  </a:cubicBezTo>
                  <a:lnTo>
                    <a:pt x="6346" y="3953"/>
                  </a:lnTo>
                  <a:lnTo>
                    <a:pt x="6346" y="3596"/>
                  </a:lnTo>
                  <a:cubicBezTo>
                    <a:pt x="6346" y="2941"/>
                    <a:pt x="5811" y="2405"/>
                    <a:pt x="5156" y="2405"/>
                  </a:cubicBezTo>
                  <a:cubicBezTo>
                    <a:pt x="5060" y="2405"/>
                    <a:pt x="4989" y="2477"/>
                    <a:pt x="4989" y="2560"/>
                  </a:cubicBezTo>
                  <a:cubicBezTo>
                    <a:pt x="4989" y="2655"/>
                    <a:pt x="5060" y="2727"/>
                    <a:pt x="5156" y="2727"/>
                  </a:cubicBezTo>
                  <a:cubicBezTo>
                    <a:pt x="5632" y="2727"/>
                    <a:pt x="6013" y="3120"/>
                    <a:pt x="6013" y="3596"/>
                  </a:cubicBezTo>
                  <a:lnTo>
                    <a:pt x="6013" y="3953"/>
                  </a:lnTo>
                  <a:lnTo>
                    <a:pt x="5822" y="3953"/>
                  </a:lnTo>
                  <a:cubicBezTo>
                    <a:pt x="5680" y="3739"/>
                    <a:pt x="5418" y="3608"/>
                    <a:pt x="5144" y="3608"/>
                  </a:cubicBezTo>
                  <a:cubicBezTo>
                    <a:pt x="4798" y="3608"/>
                    <a:pt x="4501" y="3810"/>
                    <a:pt x="4370" y="4108"/>
                  </a:cubicBezTo>
                  <a:lnTo>
                    <a:pt x="3858" y="4108"/>
                  </a:lnTo>
                  <a:cubicBezTo>
                    <a:pt x="3727" y="3810"/>
                    <a:pt x="3429" y="3608"/>
                    <a:pt x="3084" y="3608"/>
                  </a:cubicBezTo>
                  <a:cubicBezTo>
                    <a:pt x="2798" y="3608"/>
                    <a:pt x="2560" y="3739"/>
                    <a:pt x="2405" y="3953"/>
                  </a:cubicBezTo>
                  <a:lnTo>
                    <a:pt x="2203" y="3953"/>
                  </a:lnTo>
                  <a:lnTo>
                    <a:pt x="2203" y="3596"/>
                  </a:lnTo>
                  <a:cubicBezTo>
                    <a:pt x="2203" y="3108"/>
                    <a:pt x="2596" y="2727"/>
                    <a:pt x="3072" y="2727"/>
                  </a:cubicBezTo>
                  <a:lnTo>
                    <a:pt x="4441" y="2727"/>
                  </a:lnTo>
                  <a:cubicBezTo>
                    <a:pt x="4525" y="2727"/>
                    <a:pt x="4608" y="2655"/>
                    <a:pt x="4608" y="2560"/>
                  </a:cubicBezTo>
                  <a:cubicBezTo>
                    <a:pt x="4608" y="2477"/>
                    <a:pt x="4525" y="2405"/>
                    <a:pt x="4441" y="2405"/>
                  </a:cubicBezTo>
                  <a:lnTo>
                    <a:pt x="3072" y="2405"/>
                  </a:lnTo>
                  <a:cubicBezTo>
                    <a:pt x="2417" y="2405"/>
                    <a:pt x="1881" y="2941"/>
                    <a:pt x="1881" y="3596"/>
                  </a:cubicBezTo>
                  <a:lnTo>
                    <a:pt x="1881" y="3953"/>
                  </a:lnTo>
                  <a:lnTo>
                    <a:pt x="1608" y="3953"/>
                  </a:lnTo>
                  <a:cubicBezTo>
                    <a:pt x="1512" y="3953"/>
                    <a:pt x="1417" y="3977"/>
                    <a:pt x="1334" y="4024"/>
                  </a:cubicBezTo>
                  <a:cubicBezTo>
                    <a:pt x="1286" y="3786"/>
                    <a:pt x="1227" y="3513"/>
                    <a:pt x="1227" y="3262"/>
                  </a:cubicBezTo>
                  <a:cubicBezTo>
                    <a:pt x="1227" y="2215"/>
                    <a:pt x="2072" y="1369"/>
                    <a:pt x="3120" y="1369"/>
                  </a:cubicBezTo>
                  <a:close/>
                  <a:moveTo>
                    <a:pt x="3120" y="3929"/>
                  </a:moveTo>
                  <a:cubicBezTo>
                    <a:pt x="3394" y="3929"/>
                    <a:pt x="3632" y="4155"/>
                    <a:pt x="3632" y="4453"/>
                  </a:cubicBezTo>
                  <a:cubicBezTo>
                    <a:pt x="3632" y="4739"/>
                    <a:pt x="3394" y="4977"/>
                    <a:pt x="3120" y="4977"/>
                  </a:cubicBezTo>
                  <a:cubicBezTo>
                    <a:pt x="2834" y="4977"/>
                    <a:pt x="2596" y="4739"/>
                    <a:pt x="2596" y="4453"/>
                  </a:cubicBezTo>
                  <a:cubicBezTo>
                    <a:pt x="2596" y="4167"/>
                    <a:pt x="2834" y="3929"/>
                    <a:pt x="3120" y="3929"/>
                  </a:cubicBezTo>
                  <a:close/>
                  <a:moveTo>
                    <a:pt x="5168" y="3929"/>
                  </a:moveTo>
                  <a:cubicBezTo>
                    <a:pt x="5453" y="3929"/>
                    <a:pt x="5691" y="4155"/>
                    <a:pt x="5691" y="4453"/>
                  </a:cubicBezTo>
                  <a:cubicBezTo>
                    <a:pt x="5691" y="4739"/>
                    <a:pt x="5453" y="4977"/>
                    <a:pt x="5168" y="4977"/>
                  </a:cubicBezTo>
                  <a:cubicBezTo>
                    <a:pt x="4882" y="4977"/>
                    <a:pt x="4644" y="4739"/>
                    <a:pt x="4644" y="4453"/>
                  </a:cubicBezTo>
                  <a:cubicBezTo>
                    <a:pt x="4644" y="4167"/>
                    <a:pt x="4882" y="3929"/>
                    <a:pt x="5168" y="3929"/>
                  </a:cubicBezTo>
                  <a:close/>
                  <a:moveTo>
                    <a:pt x="6632" y="4275"/>
                  </a:moveTo>
                  <a:cubicBezTo>
                    <a:pt x="6775" y="4275"/>
                    <a:pt x="6894" y="4394"/>
                    <a:pt x="6894" y="4548"/>
                  </a:cubicBezTo>
                  <a:cubicBezTo>
                    <a:pt x="6894" y="4691"/>
                    <a:pt x="6775" y="4810"/>
                    <a:pt x="6632" y="4810"/>
                  </a:cubicBezTo>
                  <a:lnTo>
                    <a:pt x="6537" y="4810"/>
                  </a:lnTo>
                  <a:lnTo>
                    <a:pt x="6537" y="4798"/>
                  </a:lnTo>
                  <a:cubicBezTo>
                    <a:pt x="6537" y="4703"/>
                    <a:pt x="6465" y="4632"/>
                    <a:pt x="6370" y="4632"/>
                  </a:cubicBezTo>
                  <a:cubicBezTo>
                    <a:pt x="6287" y="4632"/>
                    <a:pt x="6215" y="4703"/>
                    <a:pt x="6215" y="4798"/>
                  </a:cubicBezTo>
                  <a:cubicBezTo>
                    <a:pt x="6215" y="5929"/>
                    <a:pt x="5287" y="6870"/>
                    <a:pt x="4144" y="6870"/>
                  </a:cubicBezTo>
                  <a:cubicBezTo>
                    <a:pt x="3001" y="6870"/>
                    <a:pt x="2072" y="5929"/>
                    <a:pt x="2072" y="4798"/>
                  </a:cubicBezTo>
                  <a:cubicBezTo>
                    <a:pt x="2072" y="4703"/>
                    <a:pt x="2001" y="4632"/>
                    <a:pt x="1905" y="4632"/>
                  </a:cubicBezTo>
                  <a:cubicBezTo>
                    <a:pt x="1822" y="4632"/>
                    <a:pt x="1750" y="4703"/>
                    <a:pt x="1750" y="4798"/>
                  </a:cubicBezTo>
                  <a:lnTo>
                    <a:pt x="1750" y="4810"/>
                  </a:lnTo>
                  <a:lnTo>
                    <a:pt x="1655" y="4810"/>
                  </a:lnTo>
                  <a:cubicBezTo>
                    <a:pt x="1512" y="4810"/>
                    <a:pt x="1393" y="4691"/>
                    <a:pt x="1393" y="4548"/>
                  </a:cubicBezTo>
                  <a:cubicBezTo>
                    <a:pt x="1393" y="4394"/>
                    <a:pt x="1512" y="4275"/>
                    <a:pt x="1655" y="4275"/>
                  </a:cubicBezTo>
                  <a:lnTo>
                    <a:pt x="2286" y="4275"/>
                  </a:lnTo>
                  <a:cubicBezTo>
                    <a:pt x="2262" y="4334"/>
                    <a:pt x="2262" y="4394"/>
                    <a:pt x="2262" y="4453"/>
                  </a:cubicBezTo>
                  <a:cubicBezTo>
                    <a:pt x="2262" y="4917"/>
                    <a:pt x="2643" y="5298"/>
                    <a:pt x="3120" y="5298"/>
                  </a:cubicBezTo>
                  <a:cubicBezTo>
                    <a:pt x="3572" y="5298"/>
                    <a:pt x="3965" y="4929"/>
                    <a:pt x="3965" y="4453"/>
                  </a:cubicBezTo>
                  <a:lnTo>
                    <a:pt x="3965" y="4441"/>
                  </a:lnTo>
                  <a:lnTo>
                    <a:pt x="4322" y="4441"/>
                  </a:lnTo>
                  <a:lnTo>
                    <a:pt x="4322" y="4453"/>
                  </a:lnTo>
                  <a:cubicBezTo>
                    <a:pt x="4322" y="4917"/>
                    <a:pt x="4691" y="5298"/>
                    <a:pt x="5168" y="5298"/>
                  </a:cubicBezTo>
                  <a:cubicBezTo>
                    <a:pt x="5632" y="5298"/>
                    <a:pt x="6013" y="4929"/>
                    <a:pt x="6013" y="4453"/>
                  </a:cubicBezTo>
                  <a:cubicBezTo>
                    <a:pt x="6013" y="4394"/>
                    <a:pt x="6013" y="4334"/>
                    <a:pt x="6001" y="4275"/>
                  </a:cubicBezTo>
                  <a:close/>
                  <a:moveTo>
                    <a:pt x="5025" y="7013"/>
                  </a:moveTo>
                  <a:lnTo>
                    <a:pt x="5025" y="7882"/>
                  </a:lnTo>
                  <a:cubicBezTo>
                    <a:pt x="5025" y="7977"/>
                    <a:pt x="5001" y="8073"/>
                    <a:pt x="4977" y="8156"/>
                  </a:cubicBezTo>
                  <a:cubicBezTo>
                    <a:pt x="4941" y="8251"/>
                    <a:pt x="4989" y="8335"/>
                    <a:pt x="5084" y="8370"/>
                  </a:cubicBezTo>
                  <a:cubicBezTo>
                    <a:pt x="5096" y="8370"/>
                    <a:pt x="5108" y="8382"/>
                    <a:pt x="5144" y="8382"/>
                  </a:cubicBezTo>
                  <a:cubicBezTo>
                    <a:pt x="5203" y="8382"/>
                    <a:pt x="5275" y="8335"/>
                    <a:pt x="5287" y="8275"/>
                  </a:cubicBezTo>
                  <a:cubicBezTo>
                    <a:pt x="5334" y="8144"/>
                    <a:pt x="5358" y="8025"/>
                    <a:pt x="5358" y="7870"/>
                  </a:cubicBezTo>
                  <a:lnTo>
                    <a:pt x="5358" y="7596"/>
                  </a:lnTo>
                  <a:lnTo>
                    <a:pt x="5799" y="7739"/>
                  </a:lnTo>
                  <a:cubicBezTo>
                    <a:pt x="5870" y="7775"/>
                    <a:pt x="5918" y="7834"/>
                    <a:pt x="5918" y="7906"/>
                  </a:cubicBezTo>
                  <a:cubicBezTo>
                    <a:pt x="5918" y="8513"/>
                    <a:pt x="5775" y="9013"/>
                    <a:pt x="5656" y="9311"/>
                  </a:cubicBezTo>
                  <a:cubicBezTo>
                    <a:pt x="5566" y="9510"/>
                    <a:pt x="5376" y="9635"/>
                    <a:pt x="5169" y="9635"/>
                  </a:cubicBezTo>
                  <a:cubicBezTo>
                    <a:pt x="5130" y="9635"/>
                    <a:pt x="5089" y="9630"/>
                    <a:pt x="5049" y="9620"/>
                  </a:cubicBezTo>
                  <a:lnTo>
                    <a:pt x="4191" y="9406"/>
                  </a:lnTo>
                  <a:lnTo>
                    <a:pt x="4108" y="9406"/>
                  </a:lnTo>
                  <a:lnTo>
                    <a:pt x="3251" y="9620"/>
                  </a:lnTo>
                  <a:cubicBezTo>
                    <a:pt x="3208" y="9631"/>
                    <a:pt x="3165" y="9636"/>
                    <a:pt x="3123" y="9636"/>
                  </a:cubicBezTo>
                  <a:cubicBezTo>
                    <a:pt x="2916" y="9636"/>
                    <a:pt x="2722" y="9518"/>
                    <a:pt x="2643" y="9311"/>
                  </a:cubicBezTo>
                  <a:cubicBezTo>
                    <a:pt x="2524" y="9013"/>
                    <a:pt x="2370" y="8513"/>
                    <a:pt x="2417" y="7918"/>
                  </a:cubicBezTo>
                  <a:cubicBezTo>
                    <a:pt x="2417" y="7846"/>
                    <a:pt x="2477" y="7787"/>
                    <a:pt x="2536" y="7763"/>
                  </a:cubicBezTo>
                  <a:lnTo>
                    <a:pt x="2965" y="7608"/>
                  </a:lnTo>
                  <a:lnTo>
                    <a:pt x="2965" y="7894"/>
                  </a:lnTo>
                  <a:cubicBezTo>
                    <a:pt x="2965" y="8549"/>
                    <a:pt x="3501" y="9085"/>
                    <a:pt x="4156" y="9085"/>
                  </a:cubicBezTo>
                  <a:cubicBezTo>
                    <a:pt x="4394" y="9085"/>
                    <a:pt x="4620" y="9013"/>
                    <a:pt x="4810" y="8894"/>
                  </a:cubicBezTo>
                  <a:cubicBezTo>
                    <a:pt x="4882" y="8847"/>
                    <a:pt x="4906" y="8739"/>
                    <a:pt x="4858" y="8668"/>
                  </a:cubicBezTo>
                  <a:cubicBezTo>
                    <a:pt x="4827" y="8622"/>
                    <a:pt x="4772" y="8596"/>
                    <a:pt x="4717" y="8596"/>
                  </a:cubicBezTo>
                  <a:cubicBezTo>
                    <a:pt x="4687" y="8596"/>
                    <a:pt x="4657" y="8603"/>
                    <a:pt x="4632" y="8620"/>
                  </a:cubicBezTo>
                  <a:cubicBezTo>
                    <a:pt x="4489" y="8716"/>
                    <a:pt x="4322" y="8775"/>
                    <a:pt x="4156" y="8775"/>
                  </a:cubicBezTo>
                  <a:cubicBezTo>
                    <a:pt x="3679" y="8775"/>
                    <a:pt x="3298" y="8382"/>
                    <a:pt x="3298" y="7906"/>
                  </a:cubicBezTo>
                  <a:lnTo>
                    <a:pt x="3298" y="7013"/>
                  </a:lnTo>
                  <a:cubicBezTo>
                    <a:pt x="3560" y="7120"/>
                    <a:pt x="3858" y="7180"/>
                    <a:pt x="4156" y="7180"/>
                  </a:cubicBezTo>
                  <a:cubicBezTo>
                    <a:pt x="4465" y="7180"/>
                    <a:pt x="4751" y="7120"/>
                    <a:pt x="5025" y="7013"/>
                  </a:cubicBezTo>
                  <a:close/>
                  <a:moveTo>
                    <a:pt x="3786" y="0"/>
                  </a:moveTo>
                  <a:cubicBezTo>
                    <a:pt x="3322" y="0"/>
                    <a:pt x="2941" y="381"/>
                    <a:pt x="2941" y="857"/>
                  </a:cubicBezTo>
                  <a:cubicBezTo>
                    <a:pt x="2941" y="917"/>
                    <a:pt x="2953" y="976"/>
                    <a:pt x="2953" y="1048"/>
                  </a:cubicBezTo>
                  <a:cubicBezTo>
                    <a:pt x="1786" y="1119"/>
                    <a:pt x="881" y="2072"/>
                    <a:pt x="881" y="3251"/>
                  </a:cubicBezTo>
                  <a:cubicBezTo>
                    <a:pt x="881" y="3596"/>
                    <a:pt x="965" y="3953"/>
                    <a:pt x="1119" y="4263"/>
                  </a:cubicBezTo>
                  <a:cubicBezTo>
                    <a:pt x="1072" y="4346"/>
                    <a:pt x="1048" y="4441"/>
                    <a:pt x="1048" y="4548"/>
                  </a:cubicBezTo>
                  <a:cubicBezTo>
                    <a:pt x="1048" y="4870"/>
                    <a:pt x="1310" y="5120"/>
                    <a:pt x="1620" y="5120"/>
                  </a:cubicBezTo>
                  <a:lnTo>
                    <a:pt x="1739" y="5120"/>
                  </a:lnTo>
                  <a:cubicBezTo>
                    <a:pt x="1846" y="5870"/>
                    <a:pt x="2298" y="6489"/>
                    <a:pt x="2917" y="6870"/>
                  </a:cubicBezTo>
                  <a:lnTo>
                    <a:pt x="2917" y="7263"/>
                  </a:lnTo>
                  <a:lnTo>
                    <a:pt x="2382" y="7442"/>
                  </a:lnTo>
                  <a:cubicBezTo>
                    <a:pt x="2191" y="7525"/>
                    <a:pt x="2060" y="7680"/>
                    <a:pt x="2048" y="7894"/>
                  </a:cubicBezTo>
                  <a:lnTo>
                    <a:pt x="2048" y="7918"/>
                  </a:lnTo>
                  <a:lnTo>
                    <a:pt x="786" y="8370"/>
                  </a:lnTo>
                  <a:cubicBezTo>
                    <a:pt x="310" y="8537"/>
                    <a:pt x="0" y="8977"/>
                    <a:pt x="0" y="9489"/>
                  </a:cubicBezTo>
                  <a:lnTo>
                    <a:pt x="0" y="10799"/>
                  </a:lnTo>
                  <a:cubicBezTo>
                    <a:pt x="0" y="10882"/>
                    <a:pt x="72" y="10954"/>
                    <a:pt x="167" y="10954"/>
                  </a:cubicBezTo>
                  <a:cubicBezTo>
                    <a:pt x="250" y="10954"/>
                    <a:pt x="334" y="10882"/>
                    <a:pt x="334" y="10799"/>
                  </a:cubicBezTo>
                  <a:lnTo>
                    <a:pt x="334" y="9489"/>
                  </a:lnTo>
                  <a:cubicBezTo>
                    <a:pt x="334" y="9382"/>
                    <a:pt x="346" y="9263"/>
                    <a:pt x="393" y="9168"/>
                  </a:cubicBezTo>
                  <a:lnTo>
                    <a:pt x="1203" y="9870"/>
                  </a:lnTo>
                  <a:cubicBezTo>
                    <a:pt x="1322" y="9978"/>
                    <a:pt x="1381" y="10109"/>
                    <a:pt x="1381" y="10275"/>
                  </a:cubicBezTo>
                  <a:lnTo>
                    <a:pt x="1381" y="10799"/>
                  </a:lnTo>
                  <a:cubicBezTo>
                    <a:pt x="1381" y="10882"/>
                    <a:pt x="1465" y="10954"/>
                    <a:pt x="1548" y="10954"/>
                  </a:cubicBezTo>
                  <a:cubicBezTo>
                    <a:pt x="1643" y="10954"/>
                    <a:pt x="1715" y="10882"/>
                    <a:pt x="1715" y="10799"/>
                  </a:cubicBezTo>
                  <a:lnTo>
                    <a:pt x="1715" y="10275"/>
                  </a:lnTo>
                  <a:cubicBezTo>
                    <a:pt x="1715" y="10025"/>
                    <a:pt x="1608" y="9799"/>
                    <a:pt x="1417" y="9632"/>
                  </a:cubicBezTo>
                  <a:lnTo>
                    <a:pt x="572" y="8906"/>
                  </a:lnTo>
                  <a:cubicBezTo>
                    <a:pt x="655" y="8799"/>
                    <a:pt x="774" y="8727"/>
                    <a:pt x="905" y="8680"/>
                  </a:cubicBezTo>
                  <a:lnTo>
                    <a:pt x="2036" y="8275"/>
                  </a:lnTo>
                  <a:cubicBezTo>
                    <a:pt x="2060" y="8787"/>
                    <a:pt x="2191" y="9192"/>
                    <a:pt x="2298" y="9454"/>
                  </a:cubicBezTo>
                  <a:cubicBezTo>
                    <a:pt x="2425" y="9776"/>
                    <a:pt x="2729" y="9970"/>
                    <a:pt x="3057" y="9970"/>
                  </a:cubicBezTo>
                  <a:cubicBezTo>
                    <a:pt x="3129" y="9970"/>
                    <a:pt x="3202" y="9961"/>
                    <a:pt x="3274" y="9942"/>
                  </a:cubicBezTo>
                  <a:lnTo>
                    <a:pt x="4096" y="9739"/>
                  </a:lnTo>
                  <a:lnTo>
                    <a:pt x="4918" y="9942"/>
                  </a:lnTo>
                  <a:cubicBezTo>
                    <a:pt x="4989" y="9966"/>
                    <a:pt x="5049" y="9978"/>
                    <a:pt x="5120" y="9978"/>
                  </a:cubicBezTo>
                  <a:cubicBezTo>
                    <a:pt x="5453" y="9978"/>
                    <a:pt x="5763" y="9787"/>
                    <a:pt x="5894" y="9454"/>
                  </a:cubicBezTo>
                  <a:cubicBezTo>
                    <a:pt x="6001" y="9192"/>
                    <a:pt x="6132" y="8787"/>
                    <a:pt x="6144" y="8299"/>
                  </a:cubicBezTo>
                  <a:lnTo>
                    <a:pt x="7275" y="8692"/>
                  </a:lnTo>
                  <a:cubicBezTo>
                    <a:pt x="7418" y="8739"/>
                    <a:pt x="7537" y="8835"/>
                    <a:pt x="7620" y="8918"/>
                  </a:cubicBezTo>
                  <a:lnTo>
                    <a:pt x="6775" y="9644"/>
                  </a:lnTo>
                  <a:cubicBezTo>
                    <a:pt x="6584" y="9811"/>
                    <a:pt x="6477" y="10037"/>
                    <a:pt x="6477" y="10287"/>
                  </a:cubicBezTo>
                  <a:lnTo>
                    <a:pt x="6477" y="10811"/>
                  </a:lnTo>
                  <a:cubicBezTo>
                    <a:pt x="6477" y="10894"/>
                    <a:pt x="6549" y="10978"/>
                    <a:pt x="6644" y="10978"/>
                  </a:cubicBezTo>
                  <a:cubicBezTo>
                    <a:pt x="6727" y="10978"/>
                    <a:pt x="6799" y="10894"/>
                    <a:pt x="6799" y="10811"/>
                  </a:cubicBezTo>
                  <a:lnTo>
                    <a:pt x="6799" y="10287"/>
                  </a:lnTo>
                  <a:cubicBezTo>
                    <a:pt x="6799" y="10144"/>
                    <a:pt x="6858" y="9990"/>
                    <a:pt x="6977" y="9882"/>
                  </a:cubicBezTo>
                  <a:lnTo>
                    <a:pt x="7787" y="9204"/>
                  </a:lnTo>
                  <a:cubicBezTo>
                    <a:pt x="7835" y="9311"/>
                    <a:pt x="7846" y="9406"/>
                    <a:pt x="7846" y="9513"/>
                  </a:cubicBezTo>
                  <a:lnTo>
                    <a:pt x="7846" y="10823"/>
                  </a:lnTo>
                  <a:cubicBezTo>
                    <a:pt x="7846" y="10918"/>
                    <a:pt x="7918" y="10990"/>
                    <a:pt x="8013" y="10990"/>
                  </a:cubicBezTo>
                  <a:cubicBezTo>
                    <a:pt x="8097" y="10990"/>
                    <a:pt x="8168" y="10918"/>
                    <a:pt x="8168" y="10823"/>
                  </a:cubicBezTo>
                  <a:lnTo>
                    <a:pt x="8168" y="9513"/>
                  </a:lnTo>
                  <a:cubicBezTo>
                    <a:pt x="8239" y="8977"/>
                    <a:pt x="7918" y="8513"/>
                    <a:pt x="7442" y="8358"/>
                  </a:cubicBezTo>
                  <a:lnTo>
                    <a:pt x="6215" y="7918"/>
                  </a:lnTo>
                  <a:lnTo>
                    <a:pt x="6215" y="7894"/>
                  </a:lnTo>
                  <a:cubicBezTo>
                    <a:pt x="6192" y="7680"/>
                    <a:pt x="6061" y="7501"/>
                    <a:pt x="5870" y="7442"/>
                  </a:cubicBezTo>
                  <a:lnTo>
                    <a:pt x="5334" y="7263"/>
                  </a:lnTo>
                  <a:lnTo>
                    <a:pt x="5334" y="6870"/>
                  </a:lnTo>
                  <a:cubicBezTo>
                    <a:pt x="5953" y="6513"/>
                    <a:pt x="6406" y="5870"/>
                    <a:pt x="6513" y="5120"/>
                  </a:cubicBezTo>
                  <a:lnTo>
                    <a:pt x="6632" y="5120"/>
                  </a:lnTo>
                  <a:cubicBezTo>
                    <a:pt x="6954" y="5120"/>
                    <a:pt x="7204" y="4858"/>
                    <a:pt x="7204" y="4548"/>
                  </a:cubicBezTo>
                  <a:cubicBezTo>
                    <a:pt x="7204" y="4441"/>
                    <a:pt x="7180" y="4346"/>
                    <a:pt x="7132" y="4263"/>
                  </a:cubicBezTo>
                  <a:cubicBezTo>
                    <a:pt x="7299" y="3953"/>
                    <a:pt x="7370" y="3608"/>
                    <a:pt x="7370" y="3251"/>
                  </a:cubicBezTo>
                  <a:cubicBezTo>
                    <a:pt x="7370" y="2072"/>
                    <a:pt x="6453" y="1107"/>
                    <a:pt x="5299" y="1048"/>
                  </a:cubicBezTo>
                  <a:cubicBezTo>
                    <a:pt x="5322" y="988"/>
                    <a:pt x="5322" y="929"/>
                    <a:pt x="5322" y="857"/>
                  </a:cubicBezTo>
                  <a:cubicBezTo>
                    <a:pt x="5322" y="393"/>
                    <a:pt x="4941"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0" name="Google Shape;11780;p61"/>
            <p:cNvSpPr/>
            <p:nvPr/>
          </p:nvSpPr>
          <p:spPr>
            <a:xfrm>
              <a:off x="5916547" y="3055828"/>
              <a:ext cx="43402" cy="15396"/>
            </a:xfrm>
            <a:custGeom>
              <a:avLst/>
              <a:gdLst/>
              <a:ahLst/>
              <a:cxnLst/>
              <a:rect l="l" t="t" r="r" b="b"/>
              <a:pathLst>
                <a:path w="1370" h="486" extrusionOk="0">
                  <a:moveTo>
                    <a:pt x="173" y="1"/>
                  </a:moveTo>
                  <a:cubicBezTo>
                    <a:pt x="131" y="1"/>
                    <a:pt x="89" y="16"/>
                    <a:pt x="60" y="45"/>
                  </a:cubicBezTo>
                  <a:cubicBezTo>
                    <a:pt x="0" y="105"/>
                    <a:pt x="0" y="200"/>
                    <a:pt x="60" y="260"/>
                  </a:cubicBezTo>
                  <a:cubicBezTo>
                    <a:pt x="191" y="403"/>
                    <a:pt x="429" y="486"/>
                    <a:pt x="691" y="486"/>
                  </a:cubicBezTo>
                  <a:cubicBezTo>
                    <a:pt x="941" y="486"/>
                    <a:pt x="1179" y="414"/>
                    <a:pt x="1310" y="260"/>
                  </a:cubicBezTo>
                  <a:cubicBezTo>
                    <a:pt x="1369" y="200"/>
                    <a:pt x="1369" y="105"/>
                    <a:pt x="1310" y="45"/>
                  </a:cubicBezTo>
                  <a:cubicBezTo>
                    <a:pt x="1280" y="16"/>
                    <a:pt x="1241" y="1"/>
                    <a:pt x="1201" y="1"/>
                  </a:cubicBezTo>
                  <a:cubicBezTo>
                    <a:pt x="1161" y="1"/>
                    <a:pt x="1119" y="16"/>
                    <a:pt x="1084" y="45"/>
                  </a:cubicBezTo>
                  <a:cubicBezTo>
                    <a:pt x="1024" y="105"/>
                    <a:pt x="893" y="164"/>
                    <a:pt x="691" y="164"/>
                  </a:cubicBezTo>
                  <a:cubicBezTo>
                    <a:pt x="476" y="164"/>
                    <a:pt x="345" y="81"/>
                    <a:pt x="286" y="45"/>
                  </a:cubicBezTo>
                  <a:cubicBezTo>
                    <a:pt x="256" y="16"/>
                    <a:pt x="214"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1" name="Google Shape;11781;p61"/>
            <p:cNvSpPr/>
            <p:nvPr/>
          </p:nvSpPr>
          <p:spPr>
            <a:xfrm>
              <a:off x="5900707" y="3012363"/>
              <a:ext cx="10201" cy="15492"/>
            </a:xfrm>
            <a:custGeom>
              <a:avLst/>
              <a:gdLst/>
              <a:ahLst/>
              <a:cxnLst/>
              <a:rect l="l" t="t" r="r" b="b"/>
              <a:pathLst>
                <a:path w="322" h="489" extrusionOk="0">
                  <a:moveTo>
                    <a:pt x="167" y="1"/>
                  </a:moveTo>
                  <a:cubicBezTo>
                    <a:pt x="71" y="1"/>
                    <a:pt x="0" y="72"/>
                    <a:pt x="0" y="167"/>
                  </a:cubicBezTo>
                  <a:lnTo>
                    <a:pt x="0" y="322"/>
                  </a:lnTo>
                  <a:cubicBezTo>
                    <a:pt x="0" y="417"/>
                    <a:pt x="71" y="489"/>
                    <a:pt x="167" y="489"/>
                  </a:cubicBezTo>
                  <a:cubicBezTo>
                    <a:pt x="250" y="489"/>
                    <a:pt x="321" y="417"/>
                    <a:pt x="321" y="322"/>
                  </a:cubicBezTo>
                  <a:lnTo>
                    <a:pt x="321" y="167"/>
                  </a:lnTo>
                  <a:cubicBezTo>
                    <a:pt x="321"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2" name="Google Shape;11782;p61"/>
            <p:cNvSpPr/>
            <p:nvPr/>
          </p:nvSpPr>
          <p:spPr>
            <a:xfrm>
              <a:off x="5965556" y="3012363"/>
              <a:ext cx="10613" cy="15492"/>
            </a:xfrm>
            <a:custGeom>
              <a:avLst/>
              <a:gdLst/>
              <a:ahLst/>
              <a:cxnLst/>
              <a:rect l="l" t="t" r="r" b="b"/>
              <a:pathLst>
                <a:path w="335" h="489" extrusionOk="0">
                  <a:moveTo>
                    <a:pt x="168" y="1"/>
                  </a:moveTo>
                  <a:cubicBezTo>
                    <a:pt x="84" y="1"/>
                    <a:pt x="1" y="72"/>
                    <a:pt x="1" y="167"/>
                  </a:cubicBezTo>
                  <a:lnTo>
                    <a:pt x="1" y="322"/>
                  </a:lnTo>
                  <a:cubicBezTo>
                    <a:pt x="1" y="417"/>
                    <a:pt x="84" y="489"/>
                    <a:pt x="168" y="489"/>
                  </a:cubicBezTo>
                  <a:cubicBezTo>
                    <a:pt x="251" y="489"/>
                    <a:pt x="334" y="417"/>
                    <a:pt x="334" y="322"/>
                  </a:cubicBezTo>
                  <a:lnTo>
                    <a:pt x="334" y="167"/>
                  </a:lnTo>
                  <a:cubicBezTo>
                    <a:pt x="334" y="60"/>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3" name="Google Shape;11783;p61"/>
            <p:cNvSpPr/>
            <p:nvPr/>
          </p:nvSpPr>
          <p:spPr>
            <a:xfrm>
              <a:off x="5933116" y="3206625"/>
              <a:ext cx="10613" cy="1020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84" name="Google Shape;11784;p61"/>
          <p:cNvGrpSpPr/>
          <p:nvPr/>
        </p:nvGrpSpPr>
        <p:grpSpPr>
          <a:xfrm>
            <a:off x="5355653" y="2881493"/>
            <a:ext cx="262184" cy="346643"/>
            <a:chOff x="5355653" y="2881493"/>
            <a:chExt cx="262184" cy="346643"/>
          </a:xfrm>
        </p:grpSpPr>
        <p:sp>
          <p:nvSpPr>
            <p:cNvPr id="11785" name="Google Shape;11785;p61"/>
            <p:cNvSpPr/>
            <p:nvPr/>
          </p:nvSpPr>
          <p:spPr>
            <a:xfrm>
              <a:off x="5465044" y="3060359"/>
              <a:ext cx="43402" cy="15777"/>
            </a:xfrm>
            <a:custGeom>
              <a:avLst/>
              <a:gdLst/>
              <a:ahLst/>
              <a:cxnLst/>
              <a:rect l="l" t="t" r="r" b="b"/>
              <a:pathLst>
                <a:path w="1370" h="498" extrusionOk="0">
                  <a:moveTo>
                    <a:pt x="167" y="1"/>
                  </a:moveTo>
                  <a:cubicBezTo>
                    <a:pt x="128" y="1"/>
                    <a:pt x="90" y="15"/>
                    <a:pt x="60" y="45"/>
                  </a:cubicBezTo>
                  <a:cubicBezTo>
                    <a:pt x="0" y="105"/>
                    <a:pt x="0" y="212"/>
                    <a:pt x="60" y="271"/>
                  </a:cubicBezTo>
                  <a:cubicBezTo>
                    <a:pt x="191" y="402"/>
                    <a:pt x="429" y="498"/>
                    <a:pt x="679" y="498"/>
                  </a:cubicBezTo>
                  <a:cubicBezTo>
                    <a:pt x="941" y="498"/>
                    <a:pt x="1167" y="414"/>
                    <a:pt x="1310" y="271"/>
                  </a:cubicBezTo>
                  <a:cubicBezTo>
                    <a:pt x="1370" y="212"/>
                    <a:pt x="1370" y="117"/>
                    <a:pt x="1310" y="45"/>
                  </a:cubicBezTo>
                  <a:cubicBezTo>
                    <a:pt x="1280" y="15"/>
                    <a:pt x="1239" y="1"/>
                    <a:pt x="1197" y="1"/>
                  </a:cubicBezTo>
                  <a:cubicBezTo>
                    <a:pt x="1155" y="1"/>
                    <a:pt x="1114" y="15"/>
                    <a:pt x="1084" y="45"/>
                  </a:cubicBezTo>
                  <a:cubicBezTo>
                    <a:pt x="1024" y="105"/>
                    <a:pt x="893" y="164"/>
                    <a:pt x="679" y="164"/>
                  </a:cubicBezTo>
                  <a:cubicBezTo>
                    <a:pt x="477" y="164"/>
                    <a:pt x="346" y="93"/>
                    <a:pt x="274" y="45"/>
                  </a:cubicBezTo>
                  <a:cubicBezTo>
                    <a:pt x="244" y="15"/>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6" name="Google Shape;11786;p61"/>
            <p:cNvSpPr/>
            <p:nvPr/>
          </p:nvSpPr>
          <p:spPr>
            <a:xfrm>
              <a:off x="5448823" y="3022564"/>
              <a:ext cx="10581" cy="15872"/>
            </a:xfrm>
            <a:custGeom>
              <a:avLst/>
              <a:gdLst/>
              <a:ahLst/>
              <a:cxnLst/>
              <a:rect l="l" t="t" r="r" b="b"/>
              <a:pathLst>
                <a:path w="334" h="501" extrusionOk="0">
                  <a:moveTo>
                    <a:pt x="167" y="0"/>
                  </a:moveTo>
                  <a:cubicBezTo>
                    <a:pt x="84" y="0"/>
                    <a:pt x="0" y="83"/>
                    <a:pt x="0" y="167"/>
                  </a:cubicBezTo>
                  <a:lnTo>
                    <a:pt x="0" y="333"/>
                  </a:lnTo>
                  <a:cubicBezTo>
                    <a:pt x="0" y="417"/>
                    <a:pt x="84" y="500"/>
                    <a:pt x="167" y="500"/>
                  </a:cubicBezTo>
                  <a:cubicBezTo>
                    <a:pt x="262" y="500"/>
                    <a:pt x="334" y="417"/>
                    <a:pt x="334" y="333"/>
                  </a:cubicBezTo>
                  <a:lnTo>
                    <a:pt x="334" y="167"/>
                  </a:lnTo>
                  <a:cubicBezTo>
                    <a:pt x="334"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7" name="Google Shape;11787;p61"/>
            <p:cNvSpPr/>
            <p:nvPr/>
          </p:nvSpPr>
          <p:spPr>
            <a:xfrm>
              <a:off x="5514084" y="3022564"/>
              <a:ext cx="10201" cy="15872"/>
            </a:xfrm>
            <a:custGeom>
              <a:avLst/>
              <a:gdLst/>
              <a:ahLst/>
              <a:cxnLst/>
              <a:rect l="l" t="t" r="r" b="b"/>
              <a:pathLst>
                <a:path w="322" h="501" extrusionOk="0">
                  <a:moveTo>
                    <a:pt x="167" y="0"/>
                  </a:moveTo>
                  <a:cubicBezTo>
                    <a:pt x="72" y="0"/>
                    <a:pt x="0" y="83"/>
                    <a:pt x="0" y="167"/>
                  </a:cubicBezTo>
                  <a:lnTo>
                    <a:pt x="0" y="333"/>
                  </a:lnTo>
                  <a:cubicBezTo>
                    <a:pt x="0" y="417"/>
                    <a:pt x="72" y="500"/>
                    <a:pt x="167" y="500"/>
                  </a:cubicBezTo>
                  <a:cubicBezTo>
                    <a:pt x="250" y="500"/>
                    <a:pt x="322" y="417"/>
                    <a:pt x="322" y="333"/>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8" name="Google Shape;11788;p61"/>
            <p:cNvSpPr/>
            <p:nvPr/>
          </p:nvSpPr>
          <p:spPr>
            <a:xfrm>
              <a:off x="5355653" y="2881493"/>
              <a:ext cx="262184" cy="346643"/>
            </a:xfrm>
            <a:custGeom>
              <a:avLst/>
              <a:gdLst/>
              <a:ahLst/>
              <a:cxnLst/>
              <a:rect l="l" t="t" r="r" b="b"/>
              <a:pathLst>
                <a:path w="8276" h="10942" extrusionOk="0">
                  <a:moveTo>
                    <a:pt x="4656" y="322"/>
                  </a:moveTo>
                  <a:cubicBezTo>
                    <a:pt x="4942" y="322"/>
                    <a:pt x="5180" y="560"/>
                    <a:pt x="5180" y="845"/>
                  </a:cubicBezTo>
                  <a:cubicBezTo>
                    <a:pt x="5180" y="988"/>
                    <a:pt x="5120" y="1119"/>
                    <a:pt x="5013" y="1215"/>
                  </a:cubicBezTo>
                  <a:cubicBezTo>
                    <a:pt x="4894" y="1203"/>
                    <a:pt x="4775" y="1179"/>
                    <a:pt x="4656" y="1179"/>
                  </a:cubicBezTo>
                  <a:lnTo>
                    <a:pt x="3632" y="1179"/>
                  </a:lnTo>
                  <a:cubicBezTo>
                    <a:pt x="3513" y="1179"/>
                    <a:pt x="3394" y="1203"/>
                    <a:pt x="3275" y="1215"/>
                  </a:cubicBezTo>
                  <a:cubicBezTo>
                    <a:pt x="3168" y="1107"/>
                    <a:pt x="3108" y="976"/>
                    <a:pt x="3108" y="845"/>
                  </a:cubicBezTo>
                  <a:cubicBezTo>
                    <a:pt x="3096" y="560"/>
                    <a:pt x="3334" y="322"/>
                    <a:pt x="3632" y="322"/>
                  </a:cubicBezTo>
                  <a:close/>
                  <a:moveTo>
                    <a:pt x="4632" y="1512"/>
                  </a:moveTo>
                  <a:cubicBezTo>
                    <a:pt x="5858" y="1512"/>
                    <a:pt x="6858" y="2512"/>
                    <a:pt x="6858" y="3739"/>
                  </a:cubicBezTo>
                  <a:lnTo>
                    <a:pt x="6858" y="4155"/>
                  </a:lnTo>
                  <a:cubicBezTo>
                    <a:pt x="6787" y="4120"/>
                    <a:pt x="6680" y="4096"/>
                    <a:pt x="6597" y="4096"/>
                  </a:cubicBezTo>
                  <a:lnTo>
                    <a:pt x="6489" y="4096"/>
                  </a:lnTo>
                  <a:lnTo>
                    <a:pt x="6489" y="4084"/>
                  </a:lnTo>
                  <a:lnTo>
                    <a:pt x="6489" y="3917"/>
                  </a:lnTo>
                  <a:cubicBezTo>
                    <a:pt x="6489" y="3834"/>
                    <a:pt x="6418" y="3762"/>
                    <a:pt x="6323" y="3762"/>
                  </a:cubicBezTo>
                  <a:lnTo>
                    <a:pt x="5418" y="3762"/>
                  </a:lnTo>
                  <a:lnTo>
                    <a:pt x="5287" y="3191"/>
                  </a:lnTo>
                  <a:cubicBezTo>
                    <a:pt x="5263" y="3131"/>
                    <a:pt x="5227" y="3084"/>
                    <a:pt x="5168" y="3072"/>
                  </a:cubicBezTo>
                  <a:cubicBezTo>
                    <a:pt x="5154" y="3069"/>
                    <a:pt x="5140" y="3068"/>
                    <a:pt x="5126" y="3068"/>
                  </a:cubicBezTo>
                  <a:cubicBezTo>
                    <a:pt x="5081" y="3068"/>
                    <a:pt x="5040" y="3083"/>
                    <a:pt x="5013" y="3120"/>
                  </a:cubicBezTo>
                  <a:lnTo>
                    <a:pt x="4370" y="3762"/>
                  </a:lnTo>
                  <a:lnTo>
                    <a:pt x="2906" y="3762"/>
                  </a:lnTo>
                  <a:cubicBezTo>
                    <a:pt x="2810" y="3762"/>
                    <a:pt x="2739" y="3834"/>
                    <a:pt x="2739" y="3917"/>
                  </a:cubicBezTo>
                  <a:cubicBezTo>
                    <a:pt x="2739" y="4012"/>
                    <a:pt x="2810" y="4084"/>
                    <a:pt x="2906" y="4084"/>
                  </a:cubicBezTo>
                  <a:lnTo>
                    <a:pt x="4430" y="4084"/>
                  </a:lnTo>
                  <a:cubicBezTo>
                    <a:pt x="4477" y="4084"/>
                    <a:pt x="4525" y="4072"/>
                    <a:pt x="4549" y="4036"/>
                  </a:cubicBezTo>
                  <a:lnTo>
                    <a:pt x="5049" y="3548"/>
                  </a:lnTo>
                  <a:lnTo>
                    <a:pt x="5144" y="3965"/>
                  </a:lnTo>
                  <a:cubicBezTo>
                    <a:pt x="5168" y="4036"/>
                    <a:pt x="5227" y="4084"/>
                    <a:pt x="5299" y="4084"/>
                  </a:cubicBezTo>
                  <a:lnTo>
                    <a:pt x="6156" y="4084"/>
                  </a:lnTo>
                  <a:lnTo>
                    <a:pt x="6156" y="4096"/>
                  </a:lnTo>
                  <a:cubicBezTo>
                    <a:pt x="6156" y="4191"/>
                    <a:pt x="6192" y="4274"/>
                    <a:pt x="6263" y="4334"/>
                  </a:cubicBezTo>
                  <a:cubicBezTo>
                    <a:pt x="6323" y="4393"/>
                    <a:pt x="6418" y="4441"/>
                    <a:pt x="6501" y="4441"/>
                  </a:cubicBezTo>
                  <a:lnTo>
                    <a:pt x="6597" y="4441"/>
                  </a:lnTo>
                  <a:cubicBezTo>
                    <a:pt x="6739" y="4441"/>
                    <a:pt x="6858" y="4560"/>
                    <a:pt x="6858" y="4715"/>
                  </a:cubicBezTo>
                  <a:cubicBezTo>
                    <a:pt x="6858" y="4858"/>
                    <a:pt x="6739" y="4977"/>
                    <a:pt x="6597" y="4977"/>
                  </a:cubicBezTo>
                  <a:lnTo>
                    <a:pt x="6501" y="4977"/>
                  </a:lnTo>
                  <a:lnTo>
                    <a:pt x="6501" y="4965"/>
                  </a:lnTo>
                  <a:cubicBezTo>
                    <a:pt x="6501" y="4870"/>
                    <a:pt x="6430" y="4798"/>
                    <a:pt x="6335" y="4798"/>
                  </a:cubicBezTo>
                  <a:cubicBezTo>
                    <a:pt x="6251" y="4798"/>
                    <a:pt x="6180" y="4870"/>
                    <a:pt x="6180" y="4965"/>
                  </a:cubicBezTo>
                  <a:cubicBezTo>
                    <a:pt x="6180" y="6096"/>
                    <a:pt x="5251" y="7037"/>
                    <a:pt x="4108" y="7037"/>
                  </a:cubicBezTo>
                  <a:cubicBezTo>
                    <a:pt x="2965" y="7037"/>
                    <a:pt x="2072" y="6096"/>
                    <a:pt x="2072" y="4953"/>
                  </a:cubicBezTo>
                  <a:cubicBezTo>
                    <a:pt x="2072" y="4858"/>
                    <a:pt x="1989" y="4786"/>
                    <a:pt x="1905" y="4786"/>
                  </a:cubicBezTo>
                  <a:cubicBezTo>
                    <a:pt x="1810" y="4786"/>
                    <a:pt x="1739" y="4858"/>
                    <a:pt x="1739" y="4953"/>
                  </a:cubicBezTo>
                  <a:lnTo>
                    <a:pt x="1739" y="4965"/>
                  </a:lnTo>
                  <a:lnTo>
                    <a:pt x="1655" y="4965"/>
                  </a:lnTo>
                  <a:cubicBezTo>
                    <a:pt x="1501" y="4965"/>
                    <a:pt x="1382" y="4846"/>
                    <a:pt x="1382" y="4691"/>
                  </a:cubicBezTo>
                  <a:cubicBezTo>
                    <a:pt x="1382" y="4548"/>
                    <a:pt x="1501" y="4429"/>
                    <a:pt x="1655" y="4429"/>
                  </a:cubicBezTo>
                  <a:lnTo>
                    <a:pt x="1739" y="4429"/>
                  </a:lnTo>
                  <a:cubicBezTo>
                    <a:pt x="1917" y="4429"/>
                    <a:pt x="2072" y="4274"/>
                    <a:pt x="2072" y="4096"/>
                  </a:cubicBezTo>
                  <a:lnTo>
                    <a:pt x="2072" y="4084"/>
                  </a:lnTo>
                  <a:lnTo>
                    <a:pt x="2251" y="4084"/>
                  </a:lnTo>
                  <a:cubicBezTo>
                    <a:pt x="2334" y="4084"/>
                    <a:pt x="2406" y="4012"/>
                    <a:pt x="2406" y="3917"/>
                  </a:cubicBezTo>
                  <a:cubicBezTo>
                    <a:pt x="2406" y="3834"/>
                    <a:pt x="2334" y="3762"/>
                    <a:pt x="2251" y="3762"/>
                  </a:cubicBezTo>
                  <a:lnTo>
                    <a:pt x="1905" y="3762"/>
                  </a:lnTo>
                  <a:cubicBezTo>
                    <a:pt x="1810" y="3762"/>
                    <a:pt x="1739" y="3834"/>
                    <a:pt x="1739" y="3917"/>
                  </a:cubicBezTo>
                  <a:lnTo>
                    <a:pt x="1739" y="4084"/>
                  </a:lnTo>
                  <a:cubicBezTo>
                    <a:pt x="1739" y="4084"/>
                    <a:pt x="1739" y="4096"/>
                    <a:pt x="1727" y="4096"/>
                  </a:cubicBezTo>
                  <a:lnTo>
                    <a:pt x="1632" y="4096"/>
                  </a:lnTo>
                  <a:cubicBezTo>
                    <a:pt x="1548" y="4096"/>
                    <a:pt x="1441" y="4132"/>
                    <a:pt x="1370" y="4155"/>
                  </a:cubicBezTo>
                  <a:lnTo>
                    <a:pt x="1370" y="3739"/>
                  </a:lnTo>
                  <a:cubicBezTo>
                    <a:pt x="1370" y="2512"/>
                    <a:pt x="2370" y="1512"/>
                    <a:pt x="3596" y="1512"/>
                  </a:cubicBezTo>
                  <a:close/>
                  <a:moveTo>
                    <a:pt x="2965" y="7513"/>
                  </a:moveTo>
                  <a:cubicBezTo>
                    <a:pt x="2941" y="7656"/>
                    <a:pt x="2858" y="7775"/>
                    <a:pt x="2715" y="7834"/>
                  </a:cubicBezTo>
                  <a:lnTo>
                    <a:pt x="2679" y="7846"/>
                  </a:lnTo>
                  <a:cubicBezTo>
                    <a:pt x="2667" y="7834"/>
                    <a:pt x="2644" y="7834"/>
                    <a:pt x="2632" y="7822"/>
                  </a:cubicBezTo>
                  <a:cubicBezTo>
                    <a:pt x="2581" y="7786"/>
                    <a:pt x="2521" y="7772"/>
                    <a:pt x="2460" y="7772"/>
                  </a:cubicBezTo>
                  <a:cubicBezTo>
                    <a:pt x="2422" y="7772"/>
                    <a:pt x="2383" y="7778"/>
                    <a:pt x="2346" y="7787"/>
                  </a:cubicBezTo>
                  <a:lnTo>
                    <a:pt x="1858" y="7977"/>
                  </a:lnTo>
                  <a:cubicBezTo>
                    <a:pt x="1751" y="8025"/>
                    <a:pt x="1667" y="8120"/>
                    <a:pt x="1620" y="8227"/>
                  </a:cubicBezTo>
                  <a:lnTo>
                    <a:pt x="1394" y="8299"/>
                  </a:lnTo>
                  <a:lnTo>
                    <a:pt x="1394" y="8025"/>
                  </a:lnTo>
                  <a:cubicBezTo>
                    <a:pt x="1394" y="7751"/>
                    <a:pt x="1632" y="7513"/>
                    <a:pt x="1917" y="7513"/>
                  </a:cubicBezTo>
                  <a:close/>
                  <a:moveTo>
                    <a:pt x="6370" y="7513"/>
                  </a:moveTo>
                  <a:cubicBezTo>
                    <a:pt x="6656" y="7513"/>
                    <a:pt x="6894" y="7751"/>
                    <a:pt x="6894" y="8025"/>
                  </a:cubicBezTo>
                  <a:lnTo>
                    <a:pt x="6894" y="8299"/>
                  </a:lnTo>
                  <a:lnTo>
                    <a:pt x="6882" y="8299"/>
                  </a:lnTo>
                  <a:lnTo>
                    <a:pt x="6668" y="8227"/>
                  </a:lnTo>
                  <a:cubicBezTo>
                    <a:pt x="6620" y="8120"/>
                    <a:pt x="6525" y="8025"/>
                    <a:pt x="6430" y="7989"/>
                  </a:cubicBezTo>
                  <a:lnTo>
                    <a:pt x="5942" y="7787"/>
                  </a:lnTo>
                  <a:cubicBezTo>
                    <a:pt x="5905" y="7778"/>
                    <a:pt x="5866" y="7772"/>
                    <a:pt x="5828" y="7772"/>
                  </a:cubicBezTo>
                  <a:cubicBezTo>
                    <a:pt x="5767" y="7772"/>
                    <a:pt x="5707" y="7786"/>
                    <a:pt x="5656" y="7822"/>
                  </a:cubicBezTo>
                  <a:cubicBezTo>
                    <a:pt x="5644" y="7834"/>
                    <a:pt x="5620" y="7834"/>
                    <a:pt x="5608" y="7846"/>
                  </a:cubicBezTo>
                  <a:lnTo>
                    <a:pt x="5561" y="7834"/>
                  </a:lnTo>
                  <a:cubicBezTo>
                    <a:pt x="5430" y="7787"/>
                    <a:pt x="5323" y="7656"/>
                    <a:pt x="5323" y="7513"/>
                  </a:cubicBezTo>
                  <a:close/>
                  <a:moveTo>
                    <a:pt x="2441" y="8084"/>
                  </a:moveTo>
                  <a:lnTo>
                    <a:pt x="2441" y="9073"/>
                  </a:lnTo>
                  <a:lnTo>
                    <a:pt x="1905" y="9073"/>
                  </a:lnTo>
                  <a:lnTo>
                    <a:pt x="1905" y="8382"/>
                  </a:lnTo>
                  <a:cubicBezTo>
                    <a:pt x="1905" y="8346"/>
                    <a:pt x="1929" y="8299"/>
                    <a:pt x="1977" y="8275"/>
                  </a:cubicBezTo>
                  <a:lnTo>
                    <a:pt x="2441" y="8084"/>
                  </a:lnTo>
                  <a:close/>
                  <a:moveTo>
                    <a:pt x="5835" y="8108"/>
                  </a:moveTo>
                  <a:lnTo>
                    <a:pt x="6287" y="8299"/>
                  </a:lnTo>
                  <a:cubicBezTo>
                    <a:pt x="6335" y="8311"/>
                    <a:pt x="6370" y="8358"/>
                    <a:pt x="6370" y="8406"/>
                  </a:cubicBezTo>
                  <a:lnTo>
                    <a:pt x="6370" y="9073"/>
                  </a:lnTo>
                  <a:lnTo>
                    <a:pt x="5835" y="9073"/>
                  </a:lnTo>
                  <a:lnTo>
                    <a:pt x="5835" y="8108"/>
                  </a:lnTo>
                  <a:close/>
                  <a:moveTo>
                    <a:pt x="4989" y="7168"/>
                  </a:moveTo>
                  <a:lnTo>
                    <a:pt x="4989" y="7489"/>
                  </a:lnTo>
                  <a:cubicBezTo>
                    <a:pt x="4989" y="7775"/>
                    <a:pt x="5168" y="8025"/>
                    <a:pt x="5430" y="8132"/>
                  </a:cubicBezTo>
                  <a:lnTo>
                    <a:pt x="5489" y="8168"/>
                  </a:lnTo>
                  <a:lnTo>
                    <a:pt x="5489" y="8406"/>
                  </a:lnTo>
                  <a:lnTo>
                    <a:pt x="5525" y="8406"/>
                  </a:lnTo>
                  <a:cubicBezTo>
                    <a:pt x="5251" y="8918"/>
                    <a:pt x="4727" y="9251"/>
                    <a:pt x="4132" y="9251"/>
                  </a:cubicBezTo>
                  <a:cubicBezTo>
                    <a:pt x="3560" y="9251"/>
                    <a:pt x="3025" y="8918"/>
                    <a:pt x="2751" y="8406"/>
                  </a:cubicBezTo>
                  <a:lnTo>
                    <a:pt x="2751" y="8168"/>
                  </a:lnTo>
                  <a:lnTo>
                    <a:pt x="2810" y="8132"/>
                  </a:lnTo>
                  <a:cubicBezTo>
                    <a:pt x="3084" y="8037"/>
                    <a:pt x="3263" y="7775"/>
                    <a:pt x="3263" y="7489"/>
                  </a:cubicBezTo>
                  <a:lnTo>
                    <a:pt x="3263" y="7168"/>
                  </a:lnTo>
                  <a:cubicBezTo>
                    <a:pt x="3525" y="7275"/>
                    <a:pt x="3822" y="7334"/>
                    <a:pt x="4120" y="7334"/>
                  </a:cubicBezTo>
                  <a:cubicBezTo>
                    <a:pt x="4418" y="7334"/>
                    <a:pt x="4715" y="7275"/>
                    <a:pt x="4989" y="7168"/>
                  </a:cubicBezTo>
                  <a:close/>
                  <a:moveTo>
                    <a:pt x="3596" y="0"/>
                  </a:moveTo>
                  <a:cubicBezTo>
                    <a:pt x="3144" y="0"/>
                    <a:pt x="2751" y="381"/>
                    <a:pt x="2751" y="857"/>
                  </a:cubicBezTo>
                  <a:cubicBezTo>
                    <a:pt x="2751" y="1012"/>
                    <a:pt x="2798" y="1167"/>
                    <a:pt x="2882" y="1298"/>
                  </a:cubicBezTo>
                  <a:cubicBezTo>
                    <a:pt x="1810" y="1607"/>
                    <a:pt x="1036" y="2596"/>
                    <a:pt x="1036" y="3751"/>
                  </a:cubicBezTo>
                  <a:lnTo>
                    <a:pt x="1036" y="4691"/>
                  </a:lnTo>
                  <a:cubicBezTo>
                    <a:pt x="1036" y="5025"/>
                    <a:pt x="1310" y="5275"/>
                    <a:pt x="1620" y="5275"/>
                  </a:cubicBezTo>
                  <a:lnTo>
                    <a:pt x="1739" y="5275"/>
                  </a:lnTo>
                  <a:cubicBezTo>
                    <a:pt x="1846" y="6013"/>
                    <a:pt x="2286" y="6644"/>
                    <a:pt x="2918" y="7013"/>
                  </a:cubicBezTo>
                  <a:lnTo>
                    <a:pt x="2918" y="7180"/>
                  </a:lnTo>
                  <a:lnTo>
                    <a:pt x="1870" y="7180"/>
                  </a:lnTo>
                  <a:cubicBezTo>
                    <a:pt x="1417" y="7180"/>
                    <a:pt x="1024" y="7549"/>
                    <a:pt x="1024" y="8025"/>
                  </a:cubicBezTo>
                  <a:lnTo>
                    <a:pt x="1024" y="8418"/>
                  </a:lnTo>
                  <a:lnTo>
                    <a:pt x="786" y="8501"/>
                  </a:lnTo>
                  <a:cubicBezTo>
                    <a:pt x="310" y="8668"/>
                    <a:pt x="0" y="9120"/>
                    <a:pt x="0" y="9620"/>
                  </a:cubicBezTo>
                  <a:lnTo>
                    <a:pt x="0" y="10763"/>
                  </a:lnTo>
                  <a:cubicBezTo>
                    <a:pt x="0" y="10859"/>
                    <a:pt x="72" y="10930"/>
                    <a:pt x="167" y="10930"/>
                  </a:cubicBezTo>
                  <a:cubicBezTo>
                    <a:pt x="251" y="10930"/>
                    <a:pt x="322" y="10859"/>
                    <a:pt x="322" y="10763"/>
                  </a:cubicBezTo>
                  <a:lnTo>
                    <a:pt x="322" y="9620"/>
                  </a:lnTo>
                  <a:cubicBezTo>
                    <a:pt x="322" y="9251"/>
                    <a:pt x="560" y="8918"/>
                    <a:pt x="905" y="8799"/>
                  </a:cubicBezTo>
                  <a:lnTo>
                    <a:pt x="1560" y="8584"/>
                  </a:lnTo>
                  <a:lnTo>
                    <a:pt x="1560" y="10787"/>
                  </a:lnTo>
                  <a:cubicBezTo>
                    <a:pt x="1560" y="10870"/>
                    <a:pt x="1632" y="10942"/>
                    <a:pt x="1727" y="10942"/>
                  </a:cubicBezTo>
                  <a:cubicBezTo>
                    <a:pt x="1810" y="10942"/>
                    <a:pt x="1894" y="10870"/>
                    <a:pt x="1894" y="10787"/>
                  </a:cubicBezTo>
                  <a:lnTo>
                    <a:pt x="1894" y="9382"/>
                  </a:lnTo>
                  <a:lnTo>
                    <a:pt x="2417" y="9382"/>
                  </a:lnTo>
                  <a:lnTo>
                    <a:pt x="2417" y="10763"/>
                  </a:lnTo>
                  <a:cubicBezTo>
                    <a:pt x="2417" y="10859"/>
                    <a:pt x="2501" y="10930"/>
                    <a:pt x="2584" y="10930"/>
                  </a:cubicBezTo>
                  <a:cubicBezTo>
                    <a:pt x="2679" y="10930"/>
                    <a:pt x="2751" y="10859"/>
                    <a:pt x="2751" y="10763"/>
                  </a:cubicBezTo>
                  <a:lnTo>
                    <a:pt x="2751" y="8954"/>
                  </a:lnTo>
                  <a:cubicBezTo>
                    <a:pt x="2858" y="9073"/>
                    <a:pt x="2989" y="9168"/>
                    <a:pt x="3120" y="9263"/>
                  </a:cubicBezTo>
                  <a:cubicBezTo>
                    <a:pt x="3418" y="9454"/>
                    <a:pt x="3775" y="9561"/>
                    <a:pt x="4132" y="9561"/>
                  </a:cubicBezTo>
                  <a:cubicBezTo>
                    <a:pt x="4489" y="9561"/>
                    <a:pt x="4834" y="9454"/>
                    <a:pt x="5144" y="9263"/>
                  </a:cubicBezTo>
                  <a:cubicBezTo>
                    <a:pt x="5275" y="9168"/>
                    <a:pt x="5418" y="9073"/>
                    <a:pt x="5513" y="8954"/>
                  </a:cubicBezTo>
                  <a:lnTo>
                    <a:pt x="5513" y="9573"/>
                  </a:lnTo>
                  <a:cubicBezTo>
                    <a:pt x="5513" y="9668"/>
                    <a:pt x="5596" y="9739"/>
                    <a:pt x="5680" y="9739"/>
                  </a:cubicBezTo>
                  <a:cubicBezTo>
                    <a:pt x="5775" y="9739"/>
                    <a:pt x="5846" y="9668"/>
                    <a:pt x="5846" y="9573"/>
                  </a:cubicBezTo>
                  <a:lnTo>
                    <a:pt x="5846" y="9382"/>
                  </a:lnTo>
                  <a:lnTo>
                    <a:pt x="6382" y="9382"/>
                  </a:lnTo>
                  <a:lnTo>
                    <a:pt x="6382" y="10763"/>
                  </a:lnTo>
                  <a:cubicBezTo>
                    <a:pt x="6382" y="10859"/>
                    <a:pt x="6454" y="10930"/>
                    <a:pt x="6549" y="10930"/>
                  </a:cubicBezTo>
                  <a:cubicBezTo>
                    <a:pt x="6632" y="10930"/>
                    <a:pt x="6704" y="10859"/>
                    <a:pt x="6704" y="10763"/>
                  </a:cubicBezTo>
                  <a:lnTo>
                    <a:pt x="6704" y="8561"/>
                  </a:lnTo>
                  <a:lnTo>
                    <a:pt x="7359" y="8787"/>
                  </a:lnTo>
                  <a:cubicBezTo>
                    <a:pt x="7704" y="8906"/>
                    <a:pt x="7942" y="9239"/>
                    <a:pt x="7942" y="9608"/>
                  </a:cubicBezTo>
                  <a:lnTo>
                    <a:pt x="7942" y="10751"/>
                  </a:lnTo>
                  <a:cubicBezTo>
                    <a:pt x="7942" y="10847"/>
                    <a:pt x="8013" y="10918"/>
                    <a:pt x="8109" y="10918"/>
                  </a:cubicBezTo>
                  <a:cubicBezTo>
                    <a:pt x="8192" y="10918"/>
                    <a:pt x="8275" y="10847"/>
                    <a:pt x="8275" y="10751"/>
                  </a:cubicBezTo>
                  <a:lnTo>
                    <a:pt x="8275" y="9608"/>
                  </a:lnTo>
                  <a:cubicBezTo>
                    <a:pt x="8240" y="9120"/>
                    <a:pt x="7918" y="8668"/>
                    <a:pt x="7442" y="8501"/>
                  </a:cubicBezTo>
                  <a:lnTo>
                    <a:pt x="7204" y="8418"/>
                  </a:lnTo>
                  <a:lnTo>
                    <a:pt x="7204" y="8025"/>
                  </a:lnTo>
                  <a:cubicBezTo>
                    <a:pt x="7204" y="7572"/>
                    <a:pt x="6835" y="7180"/>
                    <a:pt x="6358" y="7180"/>
                  </a:cubicBezTo>
                  <a:lnTo>
                    <a:pt x="5311" y="7180"/>
                  </a:lnTo>
                  <a:lnTo>
                    <a:pt x="5311" y="7013"/>
                  </a:lnTo>
                  <a:cubicBezTo>
                    <a:pt x="5942" y="6656"/>
                    <a:pt x="6382" y="6013"/>
                    <a:pt x="6489" y="5275"/>
                  </a:cubicBezTo>
                  <a:lnTo>
                    <a:pt x="6608" y="5275"/>
                  </a:lnTo>
                  <a:cubicBezTo>
                    <a:pt x="6930" y="5275"/>
                    <a:pt x="7192" y="5001"/>
                    <a:pt x="7192" y="4691"/>
                  </a:cubicBezTo>
                  <a:lnTo>
                    <a:pt x="7192" y="3751"/>
                  </a:lnTo>
                  <a:cubicBezTo>
                    <a:pt x="7192" y="2596"/>
                    <a:pt x="6418" y="1607"/>
                    <a:pt x="5346" y="1298"/>
                  </a:cubicBezTo>
                  <a:cubicBezTo>
                    <a:pt x="5430" y="1167"/>
                    <a:pt x="5477" y="1000"/>
                    <a:pt x="5477" y="857"/>
                  </a:cubicBezTo>
                  <a:cubicBezTo>
                    <a:pt x="5477" y="393"/>
                    <a:pt x="5108" y="0"/>
                    <a:pt x="4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9" name="Google Shape;11789;p61"/>
            <p:cNvSpPr/>
            <p:nvPr/>
          </p:nvSpPr>
          <p:spPr>
            <a:xfrm>
              <a:off x="5529924" y="3201335"/>
              <a:ext cx="10581" cy="26421"/>
            </a:xfrm>
            <a:custGeom>
              <a:avLst/>
              <a:gdLst/>
              <a:ahLst/>
              <a:cxnLst/>
              <a:rect l="l" t="t" r="r" b="b"/>
              <a:pathLst>
                <a:path w="334" h="834" extrusionOk="0">
                  <a:moveTo>
                    <a:pt x="167" y="1"/>
                  </a:moveTo>
                  <a:cubicBezTo>
                    <a:pt x="84" y="1"/>
                    <a:pt x="0" y="72"/>
                    <a:pt x="0" y="167"/>
                  </a:cubicBezTo>
                  <a:lnTo>
                    <a:pt x="0" y="667"/>
                  </a:lnTo>
                  <a:cubicBezTo>
                    <a:pt x="0" y="763"/>
                    <a:pt x="84" y="834"/>
                    <a:pt x="167" y="834"/>
                  </a:cubicBezTo>
                  <a:cubicBezTo>
                    <a:pt x="262" y="834"/>
                    <a:pt x="334" y="763"/>
                    <a:pt x="334" y="667"/>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0" name="Google Shape;11790;p61"/>
          <p:cNvGrpSpPr/>
          <p:nvPr/>
        </p:nvGrpSpPr>
        <p:grpSpPr>
          <a:xfrm>
            <a:off x="8055961" y="2881842"/>
            <a:ext cx="260283" cy="345914"/>
            <a:chOff x="8055961" y="2881842"/>
            <a:chExt cx="260283" cy="345914"/>
          </a:xfrm>
        </p:grpSpPr>
        <p:sp>
          <p:nvSpPr>
            <p:cNvPr id="11791" name="Google Shape;11791;p61"/>
            <p:cNvSpPr/>
            <p:nvPr/>
          </p:nvSpPr>
          <p:spPr>
            <a:xfrm>
              <a:off x="8055961" y="2881842"/>
              <a:ext cx="260283" cy="345914"/>
            </a:xfrm>
            <a:custGeom>
              <a:avLst/>
              <a:gdLst/>
              <a:ahLst/>
              <a:cxnLst/>
              <a:rect l="l" t="t" r="r" b="b"/>
              <a:pathLst>
                <a:path w="8216" h="10919" extrusionOk="0">
                  <a:moveTo>
                    <a:pt x="4918" y="2358"/>
                  </a:moveTo>
                  <a:cubicBezTo>
                    <a:pt x="5120" y="2656"/>
                    <a:pt x="5334" y="2882"/>
                    <a:pt x="5561" y="3073"/>
                  </a:cubicBezTo>
                  <a:lnTo>
                    <a:pt x="4477" y="3073"/>
                  </a:lnTo>
                  <a:cubicBezTo>
                    <a:pt x="4429" y="3073"/>
                    <a:pt x="4382" y="3085"/>
                    <a:pt x="4358" y="3132"/>
                  </a:cubicBezTo>
                  <a:cubicBezTo>
                    <a:pt x="4310" y="3168"/>
                    <a:pt x="4298" y="3216"/>
                    <a:pt x="4298" y="3251"/>
                  </a:cubicBezTo>
                  <a:lnTo>
                    <a:pt x="4322" y="3442"/>
                  </a:lnTo>
                  <a:cubicBezTo>
                    <a:pt x="4263" y="3418"/>
                    <a:pt x="4191" y="3418"/>
                    <a:pt x="4120" y="3418"/>
                  </a:cubicBezTo>
                  <a:cubicBezTo>
                    <a:pt x="4048" y="3418"/>
                    <a:pt x="3965" y="3430"/>
                    <a:pt x="3906" y="3442"/>
                  </a:cubicBezTo>
                  <a:lnTo>
                    <a:pt x="3941" y="3251"/>
                  </a:lnTo>
                  <a:lnTo>
                    <a:pt x="3941" y="3228"/>
                  </a:lnTo>
                  <a:cubicBezTo>
                    <a:pt x="4263" y="2966"/>
                    <a:pt x="4596" y="2692"/>
                    <a:pt x="4918" y="2358"/>
                  </a:cubicBezTo>
                  <a:close/>
                  <a:moveTo>
                    <a:pt x="3572" y="3478"/>
                  </a:moveTo>
                  <a:lnTo>
                    <a:pt x="3525" y="3823"/>
                  </a:lnTo>
                  <a:cubicBezTo>
                    <a:pt x="3525" y="3823"/>
                    <a:pt x="3513" y="3894"/>
                    <a:pt x="3513" y="3906"/>
                  </a:cubicBezTo>
                  <a:cubicBezTo>
                    <a:pt x="3429" y="4121"/>
                    <a:pt x="3239" y="4263"/>
                    <a:pt x="3013" y="4263"/>
                  </a:cubicBezTo>
                  <a:lnTo>
                    <a:pt x="2858" y="4263"/>
                  </a:lnTo>
                  <a:cubicBezTo>
                    <a:pt x="2739" y="4263"/>
                    <a:pt x="2632" y="4204"/>
                    <a:pt x="2572" y="4121"/>
                  </a:cubicBezTo>
                  <a:cubicBezTo>
                    <a:pt x="2596" y="4097"/>
                    <a:pt x="2620" y="4085"/>
                    <a:pt x="2644" y="4073"/>
                  </a:cubicBezTo>
                  <a:cubicBezTo>
                    <a:pt x="2739" y="4013"/>
                    <a:pt x="2834" y="3954"/>
                    <a:pt x="2941" y="3894"/>
                  </a:cubicBezTo>
                  <a:lnTo>
                    <a:pt x="2941" y="3906"/>
                  </a:lnTo>
                  <a:cubicBezTo>
                    <a:pt x="2929" y="4013"/>
                    <a:pt x="3001" y="4073"/>
                    <a:pt x="3096" y="4073"/>
                  </a:cubicBezTo>
                  <a:cubicBezTo>
                    <a:pt x="3179" y="4073"/>
                    <a:pt x="3239" y="4001"/>
                    <a:pt x="3239" y="3906"/>
                  </a:cubicBezTo>
                  <a:lnTo>
                    <a:pt x="3239" y="3704"/>
                  </a:lnTo>
                  <a:cubicBezTo>
                    <a:pt x="3346" y="3632"/>
                    <a:pt x="3453" y="3549"/>
                    <a:pt x="3572" y="3478"/>
                  </a:cubicBezTo>
                  <a:close/>
                  <a:moveTo>
                    <a:pt x="4965" y="3370"/>
                  </a:moveTo>
                  <a:lnTo>
                    <a:pt x="4965" y="3382"/>
                  </a:lnTo>
                  <a:lnTo>
                    <a:pt x="5811" y="3382"/>
                  </a:lnTo>
                  <a:lnTo>
                    <a:pt x="5727" y="3966"/>
                  </a:lnTo>
                  <a:cubicBezTo>
                    <a:pt x="5692" y="4144"/>
                    <a:pt x="5549" y="4263"/>
                    <a:pt x="5382" y="4263"/>
                  </a:cubicBezTo>
                  <a:lnTo>
                    <a:pt x="5215" y="4263"/>
                  </a:lnTo>
                  <a:cubicBezTo>
                    <a:pt x="4977" y="4263"/>
                    <a:pt x="4775" y="4097"/>
                    <a:pt x="4715" y="3882"/>
                  </a:cubicBezTo>
                  <a:cubicBezTo>
                    <a:pt x="4715" y="3847"/>
                    <a:pt x="4703" y="3823"/>
                    <a:pt x="4703" y="3787"/>
                  </a:cubicBezTo>
                  <a:cubicBezTo>
                    <a:pt x="4679" y="3668"/>
                    <a:pt x="4644" y="3370"/>
                    <a:pt x="4644" y="3370"/>
                  </a:cubicBezTo>
                  <a:close/>
                  <a:moveTo>
                    <a:pt x="4453" y="311"/>
                  </a:moveTo>
                  <a:cubicBezTo>
                    <a:pt x="4549" y="311"/>
                    <a:pt x="4632" y="322"/>
                    <a:pt x="4715" y="358"/>
                  </a:cubicBezTo>
                  <a:cubicBezTo>
                    <a:pt x="5072" y="453"/>
                    <a:pt x="5299" y="811"/>
                    <a:pt x="5275" y="1215"/>
                  </a:cubicBezTo>
                  <a:cubicBezTo>
                    <a:pt x="5275" y="1299"/>
                    <a:pt x="5334" y="1382"/>
                    <a:pt x="5430" y="1382"/>
                  </a:cubicBezTo>
                  <a:cubicBezTo>
                    <a:pt x="5513" y="1382"/>
                    <a:pt x="5584" y="1323"/>
                    <a:pt x="5584" y="1227"/>
                  </a:cubicBezTo>
                  <a:cubicBezTo>
                    <a:pt x="5608" y="1025"/>
                    <a:pt x="5572" y="823"/>
                    <a:pt x="5501" y="668"/>
                  </a:cubicBezTo>
                  <a:lnTo>
                    <a:pt x="5501" y="668"/>
                  </a:lnTo>
                  <a:cubicBezTo>
                    <a:pt x="6084" y="751"/>
                    <a:pt x="6525" y="1263"/>
                    <a:pt x="6525" y="1858"/>
                  </a:cubicBezTo>
                  <a:lnTo>
                    <a:pt x="6525" y="3299"/>
                  </a:lnTo>
                  <a:cubicBezTo>
                    <a:pt x="6215" y="3156"/>
                    <a:pt x="5596" y="2811"/>
                    <a:pt x="5144" y="2120"/>
                  </a:cubicBezTo>
                  <a:cubicBezTo>
                    <a:pt x="5191" y="2061"/>
                    <a:pt x="5251" y="2025"/>
                    <a:pt x="5299" y="1966"/>
                  </a:cubicBezTo>
                  <a:cubicBezTo>
                    <a:pt x="5358" y="1906"/>
                    <a:pt x="5358" y="1799"/>
                    <a:pt x="5275" y="1739"/>
                  </a:cubicBezTo>
                  <a:cubicBezTo>
                    <a:pt x="5246" y="1711"/>
                    <a:pt x="5210" y="1696"/>
                    <a:pt x="5173" y="1696"/>
                  </a:cubicBezTo>
                  <a:cubicBezTo>
                    <a:pt x="5132" y="1696"/>
                    <a:pt x="5092" y="1714"/>
                    <a:pt x="5060" y="1751"/>
                  </a:cubicBezTo>
                  <a:cubicBezTo>
                    <a:pt x="3727" y="3239"/>
                    <a:pt x="2060" y="4061"/>
                    <a:pt x="1429" y="4323"/>
                  </a:cubicBezTo>
                  <a:cubicBezTo>
                    <a:pt x="1465" y="4061"/>
                    <a:pt x="1512" y="3585"/>
                    <a:pt x="1512" y="2882"/>
                  </a:cubicBezTo>
                  <a:cubicBezTo>
                    <a:pt x="1512" y="2192"/>
                    <a:pt x="1798" y="1549"/>
                    <a:pt x="2322" y="1049"/>
                  </a:cubicBezTo>
                  <a:cubicBezTo>
                    <a:pt x="2822" y="572"/>
                    <a:pt x="3477" y="311"/>
                    <a:pt x="4120" y="311"/>
                  </a:cubicBezTo>
                  <a:close/>
                  <a:moveTo>
                    <a:pt x="6108" y="3466"/>
                  </a:moveTo>
                  <a:cubicBezTo>
                    <a:pt x="6144" y="3478"/>
                    <a:pt x="6156" y="3490"/>
                    <a:pt x="6192" y="3490"/>
                  </a:cubicBezTo>
                  <a:cubicBezTo>
                    <a:pt x="6227" y="3632"/>
                    <a:pt x="6346" y="3728"/>
                    <a:pt x="6501" y="3728"/>
                  </a:cubicBezTo>
                  <a:lnTo>
                    <a:pt x="6584" y="3728"/>
                  </a:lnTo>
                  <a:cubicBezTo>
                    <a:pt x="6739" y="3728"/>
                    <a:pt x="6858" y="3847"/>
                    <a:pt x="6858" y="4001"/>
                  </a:cubicBezTo>
                  <a:cubicBezTo>
                    <a:pt x="6858" y="4144"/>
                    <a:pt x="6739" y="4263"/>
                    <a:pt x="6584" y="4263"/>
                  </a:cubicBezTo>
                  <a:lnTo>
                    <a:pt x="6477" y="4263"/>
                  </a:lnTo>
                  <a:cubicBezTo>
                    <a:pt x="6477" y="4180"/>
                    <a:pt x="6418" y="4097"/>
                    <a:pt x="6334" y="4097"/>
                  </a:cubicBezTo>
                  <a:cubicBezTo>
                    <a:pt x="6239" y="4097"/>
                    <a:pt x="6168" y="4156"/>
                    <a:pt x="6156" y="4252"/>
                  </a:cubicBezTo>
                  <a:cubicBezTo>
                    <a:pt x="6108" y="4775"/>
                    <a:pt x="5882" y="5252"/>
                    <a:pt x="5501" y="5609"/>
                  </a:cubicBezTo>
                  <a:cubicBezTo>
                    <a:pt x="5108" y="5966"/>
                    <a:pt x="4620" y="6157"/>
                    <a:pt x="4096" y="6157"/>
                  </a:cubicBezTo>
                  <a:cubicBezTo>
                    <a:pt x="3596" y="6157"/>
                    <a:pt x="3108" y="5966"/>
                    <a:pt x="2715" y="5621"/>
                  </a:cubicBezTo>
                  <a:cubicBezTo>
                    <a:pt x="2358" y="5287"/>
                    <a:pt x="2143" y="4859"/>
                    <a:pt x="2060" y="4382"/>
                  </a:cubicBezTo>
                  <a:cubicBezTo>
                    <a:pt x="2120" y="4359"/>
                    <a:pt x="2203" y="4311"/>
                    <a:pt x="2274" y="4287"/>
                  </a:cubicBezTo>
                  <a:cubicBezTo>
                    <a:pt x="2393" y="4478"/>
                    <a:pt x="2596" y="4597"/>
                    <a:pt x="2834" y="4597"/>
                  </a:cubicBezTo>
                  <a:lnTo>
                    <a:pt x="3001" y="4597"/>
                  </a:lnTo>
                  <a:cubicBezTo>
                    <a:pt x="3382" y="4597"/>
                    <a:pt x="3727" y="4311"/>
                    <a:pt x="3822" y="3942"/>
                  </a:cubicBezTo>
                  <a:cubicBezTo>
                    <a:pt x="3858" y="3823"/>
                    <a:pt x="3965" y="3728"/>
                    <a:pt x="4108" y="3728"/>
                  </a:cubicBezTo>
                  <a:cubicBezTo>
                    <a:pt x="4239" y="3728"/>
                    <a:pt x="4358" y="3823"/>
                    <a:pt x="4382" y="3942"/>
                  </a:cubicBezTo>
                  <a:cubicBezTo>
                    <a:pt x="4477" y="4311"/>
                    <a:pt x="4822" y="4597"/>
                    <a:pt x="5203" y="4597"/>
                  </a:cubicBezTo>
                  <a:lnTo>
                    <a:pt x="5370" y="4597"/>
                  </a:lnTo>
                  <a:cubicBezTo>
                    <a:pt x="5692" y="4597"/>
                    <a:pt x="5989" y="4347"/>
                    <a:pt x="6037" y="4013"/>
                  </a:cubicBezTo>
                  <a:lnTo>
                    <a:pt x="6108" y="3466"/>
                  </a:lnTo>
                  <a:close/>
                  <a:moveTo>
                    <a:pt x="4977" y="6311"/>
                  </a:moveTo>
                  <a:lnTo>
                    <a:pt x="4977" y="6859"/>
                  </a:lnTo>
                  <a:cubicBezTo>
                    <a:pt x="4977" y="7216"/>
                    <a:pt x="5203" y="7526"/>
                    <a:pt x="5549" y="7645"/>
                  </a:cubicBezTo>
                  <a:lnTo>
                    <a:pt x="5799" y="7740"/>
                  </a:lnTo>
                  <a:lnTo>
                    <a:pt x="5656" y="8062"/>
                  </a:lnTo>
                  <a:cubicBezTo>
                    <a:pt x="5382" y="8669"/>
                    <a:pt x="4775" y="9062"/>
                    <a:pt x="4120" y="9062"/>
                  </a:cubicBezTo>
                  <a:cubicBezTo>
                    <a:pt x="3453" y="9062"/>
                    <a:pt x="2858" y="8669"/>
                    <a:pt x="2584" y="8062"/>
                  </a:cubicBezTo>
                  <a:lnTo>
                    <a:pt x="2441" y="7740"/>
                  </a:lnTo>
                  <a:lnTo>
                    <a:pt x="2691" y="7645"/>
                  </a:lnTo>
                  <a:cubicBezTo>
                    <a:pt x="3036" y="7526"/>
                    <a:pt x="3251" y="7216"/>
                    <a:pt x="3251" y="6859"/>
                  </a:cubicBezTo>
                  <a:lnTo>
                    <a:pt x="3251" y="6311"/>
                  </a:lnTo>
                  <a:cubicBezTo>
                    <a:pt x="3525" y="6407"/>
                    <a:pt x="3822" y="6466"/>
                    <a:pt x="4120" y="6466"/>
                  </a:cubicBezTo>
                  <a:cubicBezTo>
                    <a:pt x="4418" y="6466"/>
                    <a:pt x="4715" y="6407"/>
                    <a:pt x="4977" y="6311"/>
                  </a:cubicBezTo>
                  <a:close/>
                  <a:moveTo>
                    <a:pt x="4084" y="1"/>
                  </a:moveTo>
                  <a:cubicBezTo>
                    <a:pt x="3358" y="1"/>
                    <a:pt x="2620" y="299"/>
                    <a:pt x="2060" y="834"/>
                  </a:cubicBezTo>
                  <a:cubicBezTo>
                    <a:pt x="1489" y="1382"/>
                    <a:pt x="1155" y="2120"/>
                    <a:pt x="1155" y="2882"/>
                  </a:cubicBezTo>
                  <a:cubicBezTo>
                    <a:pt x="1155" y="4025"/>
                    <a:pt x="1024" y="4537"/>
                    <a:pt x="1024" y="4537"/>
                  </a:cubicBezTo>
                  <a:cubicBezTo>
                    <a:pt x="1012" y="4597"/>
                    <a:pt x="1024" y="4656"/>
                    <a:pt x="1072" y="4704"/>
                  </a:cubicBezTo>
                  <a:cubicBezTo>
                    <a:pt x="1096" y="4728"/>
                    <a:pt x="1143" y="4740"/>
                    <a:pt x="1167" y="4740"/>
                  </a:cubicBezTo>
                  <a:cubicBezTo>
                    <a:pt x="1191" y="4740"/>
                    <a:pt x="1203" y="4740"/>
                    <a:pt x="1227" y="4728"/>
                  </a:cubicBezTo>
                  <a:cubicBezTo>
                    <a:pt x="1250" y="4728"/>
                    <a:pt x="1441" y="4656"/>
                    <a:pt x="1739" y="4525"/>
                  </a:cubicBezTo>
                  <a:cubicBezTo>
                    <a:pt x="1822" y="5025"/>
                    <a:pt x="2096" y="5490"/>
                    <a:pt x="2477" y="5847"/>
                  </a:cubicBezTo>
                  <a:cubicBezTo>
                    <a:pt x="2620" y="5966"/>
                    <a:pt x="2751" y="6073"/>
                    <a:pt x="2894" y="6145"/>
                  </a:cubicBezTo>
                  <a:lnTo>
                    <a:pt x="2894" y="6847"/>
                  </a:lnTo>
                  <a:cubicBezTo>
                    <a:pt x="2894" y="7061"/>
                    <a:pt x="2763" y="7264"/>
                    <a:pt x="2560" y="7335"/>
                  </a:cubicBezTo>
                  <a:lnTo>
                    <a:pt x="786" y="7954"/>
                  </a:lnTo>
                  <a:cubicBezTo>
                    <a:pt x="310" y="8121"/>
                    <a:pt x="0" y="8573"/>
                    <a:pt x="0" y="9074"/>
                  </a:cubicBezTo>
                  <a:lnTo>
                    <a:pt x="0" y="10740"/>
                  </a:lnTo>
                  <a:cubicBezTo>
                    <a:pt x="0" y="10836"/>
                    <a:pt x="72" y="10907"/>
                    <a:pt x="155" y="10907"/>
                  </a:cubicBezTo>
                  <a:cubicBezTo>
                    <a:pt x="250" y="10907"/>
                    <a:pt x="322" y="10836"/>
                    <a:pt x="322" y="10740"/>
                  </a:cubicBezTo>
                  <a:lnTo>
                    <a:pt x="322" y="9074"/>
                  </a:lnTo>
                  <a:cubicBezTo>
                    <a:pt x="322" y="8931"/>
                    <a:pt x="358" y="8788"/>
                    <a:pt x="429" y="8669"/>
                  </a:cubicBezTo>
                  <a:lnTo>
                    <a:pt x="596" y="8824"/>
                  </a:lnTo>
                  <a:cubicBezTo>
                    <a:pt x="619" y="8847"/>
                    <a:pt x="667" y="8871"/>
                    <a:pt x="691" y="8871"/>
                  </a:cubicBezTo>
                  <a:cubicBezTo>
                    <a:pt x="739" y="8871"/>
                    <a:pt x="786" y="8847"/>
                    <a:pt x="810" y="8812"/>
                  </a:cubicBezTo>
                  <a:cubicBezTo>
                    <a:pt x="869" y="8728"/>
                    <a:pt x="858" y="8645"/>
                    <a:pt x="798" y="8585"/>
                  </a:cubicBezTo>
                  <a:lnTo>
                    <a:pt x="619" y="8431"/>
                  </a:lnTo>
                  <a:cubicBezTo>
                    <a:pt x="691" y="8359"/>
                    <a:pt x="798" y="8312"/>
                    <a:pt x="893" y="8276"/>
                  </a:cubicBezTo>
                  <a:lnTo>
                    <a:pt x="2096" y="7835"/>
                  </a:lnTo>
                  <a:lnTo>
                    <a:pt x="2239" y="8181"/>
                  </a:lnTo>
                  <a:cubicBezTo>
                    <a:pt x="2572" y="8907"/>
                    <a:pt x="3286" y="9371"/>
                    <a:pt x="4072" y="9371"/>
                  </a:cubicBezTo>
                  <a:cubicBezTo>
                    <a:pt x="4858" y="9371"/>
                    <a:pt x="5572" y="8907"/>
                    <a:pt x="5906" y="8181"/>
                  </a:cubicBezTo>
                  <a:lnTo>
                    <a:pt x="6049" y="7835"/>
                  </a:lnTo>
                  <a:lnTo>
                    <a:pt x="7263" y="8276"/>
                  </a:lnTo>
                  <a:cubicBezTo>
                    <a:pt x="7358" y="8300"/>
                    <a:pt x="7454" y="8359"/>
                    <a:pt x="7525" y="8431"/>
                  </a:cubicBezTo>
                  <a:lnTo>
                    <a:pt x="6751" y="9085"/>
                  </a:lnTo>
                  <a:cubicBezTo>
                    <a:pt x="6561" y="9252"/>
                    <a:pt x="6454" y="9478"/>
                    <a:pt x="6454" y="9728"/>
                  </a:cubicBezTo>
                  <a:lnTo>
                    <a:pt x="6454" y="10752"/>
                  </a:lnTo>
                  <a:cubicBezTo>
                    <a:pt x="6454" y="10848"/>
                    <a:pt x="6525" y="10919"/>
                    <a:pt x="6620" y="10919"/>
                  </a:cubicBezTo>
                  <a:cubicBezTo>
                    <a:pt x="6704" y="10919"/>
                    <a:pt x="6787" y="10848"/>
                    <a:pt x="6787" y="10752"/>
                  </a:cubicBezTo>
                  <a:lnTo>
                    <a:pt x="6787" y="9728"/>
                  </a:lnTo>
                  <a:cubicBezTo>
                    <a:pt x="6787" y="9586"/>
                    <a:pt x="6846" y="9431"/>
                    <a:pt x="6965" y="9324"/>
                  </a:cubicBezTo>
                  <a:lnTo>
                    <a:pt x="7716" y="8669"/>
                  </a:lnTo>
                  <a:cubicBezTo>
                    <a:pt x="7775" y="8788"/>
                    <a:pt x="7823" y="8943"/>
                    <a:pt x="7823" y="9074"/>
                  </a:cubicBezTo>
                  <a:lnTo>
                    <a:pt x="7823" y="10740"/>
                  </a:lnTo>
                  <a:cubicBezTo>
                    <a:pt x="7823" y="10836"/>
                    <a:pt x="7894" y="10907"/>
                    <a:pt x="7989" y="10907"/>
                  </a:cubicBezTo>
                  <a:cubicBezTo>
                    <a:pt x="8073" y="10907"/>
                    <a:pt x="8144" y="10836"/>
                    <a:pt x="8144" y="10740"/>
                  </a:cubicBezTo>
                  <a:lnTo>
                    <a:pt x="8144" y="9074"/>
                  </a:lnTo>
                  <a:cubicBezTo>
                    <a:pt x="8216" y="8585"/>
                    <a:pt x="7882" y="8133"/>
                    <a:pt x="7418" y="7978"/>
                  </a:cubicBezTo>
                  <a:lnTo>
                    <a:pt x="5656" y="7347"/>
                  </a:lnTo>
                  <a:cubicBezTo>
                    <a:pt x="5441" y="7276"/>
                    <a:pt x="5311" y="7085"/>
                    <a:pt x="5311" y="6859"/>
                  </a:cubicBezTo>
                  <a:lnTo>
                    <a:pt x="5311" y="6157"/>
                  </a:lnTo>
                  <a:cubicBezTo>
                    <a:pt x="5453" y="6073"/>
                    <a:pt x="5608" y="5966"/>
                    <a:pt x="5739" y="5835"/>
                  </a:cubicBezTo>
                  <a:cubicBezTo>
                    <a:pt x="6096" y="5490"/>
                    <a:pt x="6346" y="5049"/>
                    <a:pt x="6442" y="4597"/>
                  </a:cubicBezTo>
                  <a:lnTo>
                    <a:pt x="6584" y="4597"/>
                  </a:lnTo>
                  <a:cubicBezTo>
                    <a:pt x="6918" y="4597"/>
                    <a:pt x="7168" y="4323"/>
                    <a:pt x="7168" y="4013"/>
                  </a:cubicBezTo>
                  <a:cubicBezTo>
                    <a:pt x="7168" y="3775"/>
                    <a:pt x="7037" y="3573"/>
                    <a:pt x="6823" y="3478"/>
                  </a:cubicBezTo>
                  <a:lnTo>
                    <a:pt x="6823" y="1870"/>
                  </a:lnTo>
                  <a:cubicBezTo>
                    <a:pt x="6823" y="1025"/>
                    <a:pt x="6144" y="334"/>
                    <a:pt x="5299" y="334"/>
                  </a:cubicBezTo>
                  <a:lnTo>
                    <a:pt x="5251" y="334"/>
                  </a:lnTo>
                  <a:cubicBezTo>
                    <a:pt x="5132" y="203"/>
                    <a:pt x="4965" y="96"/>
                    <a:pt x="4787" y="61"/>
                  </a:cubicBezTo>
                  <a:cubicBezTo>
                    <a:pt x="4668" y="25"/>
                    <a:pt x="4549"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2" name="Google Shape;11792;p61"/>
            <p:cNvSpPr/>
            <p:nvPr/>
          </p:nvSpPr>
          <p:spPr>
            <a:xfrm>
              <a:off x="8164591" y="3033589"/>
              <a:ext cx="43402" cy="15396"/>
            </a:xfrm>
            <a:custGeom>
              <a:avLst/>
              <a:gdLst/>
              <a:ahLst/>
              <a:cxnLst/>
              <a:rect l="l" t="t" r="r" b="b"/>
              <a:pathLst>
                <a:path w="1370" h="486" extrusionOk="0">
                  <a:moveTo>
                    <a:pt x="173" y="0"/>
                  </a:moveTo>
                  <a:cubicBezTo>
                    <a:pt x="131" y="0"/>
                    <a:pt x="90" y="15"/>
                    <a:pt x="60" y="45"/>
                  </a:cubicBezTo>
                  <a:cubicBezTo>
                    <a:pt x="0" y="104"/>
                    <a:pt x="0" y="212"/>
                    <a:pt x="60" y="271"/>
                  </a:cubicBezTo>
                  <a:cubicBezTo>
                    <a:pt x="203" y="402"/>
                    <a:pt x="441" y="485"/>
                    <a:pt x="691" y="485"/>
                  </a:cubicBezTo>
                  <a:cubicBezTo>
                    <a:pt x="941" y="485"/>
                    <a:pt x="1179" y="414"/>
                    <a:pt x="1310" y="271"/>
                  </a:cubicBezTo>
                  <a:cubicBezTo>
                    <a:pt x="1370" y="212"/>
                    <a:pt x="1370" y="104"/>
                    <a:pt x="1310" y="45"/>
                  </a:cubicBezTo>
                  <a:cubicBezTo>
                    <a:pt x="1280" y="15"/>
                    <a:pt x="1242" y="0"/>
                    <a:pt x="1203" y="0"/>
                  </a:cubicBezTo>
                  <a:cubicBezTo>
                    <a:pt x="1164" y="0"/>
                    <a:pt x="1125" y="15"/>
                    <a:pt x="1096" y="45"/>
                  </a:cubicBezTo>
                  <a:cubicBezTo>
                    <a:pt x="1036" y="104"/>
                    <a:pt x="893" y="164"/>
                    <a:pt x="691" y="164"/>
                  </a:cubicBezTo>
                  <a:cubicBezTo>
                    <a:pt x="477" y="164"/>
                    <a:pt x="346" y="93"/>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3" name="Google Shape;11793;p61"/>
            <p:cNvSpPr/>
            <p:nvPr/>
          </p:nvSpPr>
          <p:spPr>
            <a:xfrm>
              <a:off x="8213632" y="2995383"/>
              <a:ext cx="10581" cy="15492"/>
            </a:xfrm>
            <a:custGeom>
              <a:avLst/>
              <a:gdLst/>
              <a:ahLst/>
              <a:cxnLst/>
              <a:rect l="l" t="t" r="r" b="b"/>
              <a:pathLst>
                <a:path w="334" h="489" extrusionOk="0">
                  <a:moveTo>
                    <a:pt x="167" y="1"/>
                  </a:moveTo>
                  <a:cubicBezTo>
                    <a:pt x="83" y="1"/>
                    <a:pt x="0" y="72"/>
                    <a:pt x="0" y="167"/>
                  </a:cubicBezTo>
                  <a:lnTo>
                    <a:pt x="0" y="322"/>
                  </a:lnTo>
                  <a:cubicBezTo>
                    <a:pt x="0" y="417"/>
                    <a:pt x="83" y="489"/>
                    <a:pt x="167" y="489"/>
                  </a:cubicBezTo>
                  <a:cubicBezTo>
                    <a:pt x="250" y="489"/>
                    <a:pt x="334" y="417"/>
                    <a:pt x="334" y="322"/>
                  </a:cubicBezTo>
                  <a:lnTo>
                    <a:pt x="334" y="167"/>
                  </a:ln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4" name="Google Shape;11794;p61"/>
            <p:cNvSpPr/>
            <p:nvPr/>
          </p:nvSpPr>
          <p:spPr>
            <a:xfrm>
              <a:off x="8088401" y="3165758"/>
              <a:ext cx="21511" cy="61998"/>
            </a:xfrm>
            <a:custGeom>
              <a:avLst/>
              <a:gdLst/>
              <a:ahLst/>
              <a:cxnLst/>
              <a:rect l="l" t="t" r="r" b="b"/>
              <a:pathLst>
                <a:path w="679" h="1957" extrusionOk="0">
                  <a:moveTo>
                    <a:pt x="176" y="1"/>
                  </a:moveTo>
                  <a:cubicBezTo>
                    <a:pt x="132" y="1"/>
                    <a:pt x="93" y="19"/>
                    <a:pt x="60" y="52"/>
                  </a:cubicBezTo>
                  <a:cubicBezTo>
                    <a:pt x="0" y="123"/>
                    <a:pt x="12" y="219"/>
                    <a:pt x="72" y="278"/>
                  </a:cubicBezTo>
                  <a:lnTo>
                    <a:pt x="179" y="362"/>
                  </a:lnTo>
                  <a:cubicBezTo>
                    <a:pt x="298" y="469"/>
                    <a:pt x="357" y="600"/>
                    <a:pt x="357" y="766"/>
                  </a:cubicBezTo>
                  <a:lnTo>
                    <a:pt x="357" y="1790"/>
                  </a:lnTo>
                  <a:cubicBezTo>
                    <a:pt x="357" y="1886"/>
                    <a:pt x="429" y="1957"/>
                    <a:pt x="524" y="1957"/>
                  </a:cubicBezTo>
                  <a:cubicBezTo>
                    <a:pt x="607" y="1957"/>
                    <a:pt x="679" y="1886"/>
                    <a:pt x="679" y="1790"/>
                  </a:cubicBezTo>
                  <a:lnTo>
                    <a:pt x="679" y="766"/>
                  </a:lnTo>
                  <a:cubicBezTo>
                    <a:pt x="679" y="528"/>
                    <a:pt x="584" y="290"/>
                    <a:pt x="381" y="123"/>
                  </a:cubicBezTo>
                  <a:lnTo>
                    <a:pt x="286" y="40"/>
                  </a:lnTo>
                  <a:cubicBezTo>
                    <a:pt x="248" y="13"/>
                    <a:pt x="211" y="1"/>
                    <a:pt x="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795" name="Google Shape;11795;p61"/>
          <p:cNvGrpSpPr/>
          <p:nvPr/>
        </p:nvGrpSpPr>
        <p:grpSpPr>
          <a:xfrm>
            <a:off x="7609368" y="2893912"/>
            <a:ext cx="264813" cy="353105"/>
            <a:chOff x="7609368" y="2893912"/>
            <a:chExt cx="264813" cy="353105"/>
          </a:xfrm>
        </p:grpSpPr>
        <p:sp>
          <p:nvSpPr>
            <p:cNvPr id="11796" name="Google Shape;11796;p61"/>
            <p:cNvSpPr/>
            <p:nvPr/>
          </p:nvSpPr>
          <p:spPr>
            <a:xfrm>
              <a:off x="7703267" y="3015753"/>
              <a:ext cx="10233" cy="15872"/>
            </a:xfrm>
            <a:custGeom>
              <a:avLst/>
              <a:gdLst/>
              <a:ahLst/>
              <a:cxnLst/>
              <a:rect l="l" t="t" r="r" b="b"/>
              <a:pathLst>
                <a:path w="323" h="501" extrusionOk="0">
                  <a:moveTo>
                    <a:pt x="156" y="1"/>
                  </a:moveTo>
                  <a:cubicBezTo>
                    <a:pt x="72" y="1"/>
                    <a:pt x="1" y="72"/>
                    <a:pt x="1" y="155"/>
                  </a:cubicBezTo>
                  <a:lnTo>
                    <a:pt x="1" y="334"/>
                  </a:lnTo>
                  <a:cubicBezTo>
                    <a:pt x="1" y="429"/>
                    <a:pt x="72" y="501"/>
                    <a:pt x="156" y="501"/>
                  </a:cubicBezTo>
                  <a:cubicBezTo>
                    <a:pt x="251" y="501"/>
                    <a:pt x="322" y="429"/>
                    <a:pt x="322" y="334"/>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7" name="Google Shape;11797;p61"/>
            <p:cNvSpPr/>
            <p:nvPr/>
          </p:nvSpPr>
          <p:spPr>
            <a:xfrm>
              <a:off x="7769288" y="3015753"/>
              <a:ext cx="10233" cy="15872"/>
            </a:xfrm>
            <a:custGeom>
              <a:avLst/>
              <a:gdLst/>
              <a:ahLst/>
              <a:cxnLst/>
              <a:rect l="l" t="t" r="r" b="b"/>
              <a:pathLst>
                <a:path w="323" h="501" extrusionOk="0">
                  <a:moveTo>
                    <a:pt x="155" y="1"/>
                  </a:moveTo>
                  <a:cubicBezTo>
                    <a:pt x="72" y="1"/>
                    <a:pt x="1" y="72"/>
                    <a:pt x="1" y="155"/>
                  </a:cubicBezTo>
                  <a:lnTo>
                    <a:pt x="1" y="334"/>
                  </a:lnTo>
                  <a:cubicBezTo>
                    <a:pt x="1" y="429"/>
                    <a:pt x="72" y="501"/>
                    <a:pt x="155" y="501"/>
                  </a:cubicBezTo>
                  <a:cubicBezTo>
                    <a:pt x="251" y="501"/>
                    <a:pt x="322" y="429"/>
                    <a:pt x="322" y="334"/>
                  </a:cubicBezTo>
                  <a:lnTo>
                    <a:pt x="322" y="155"/>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8" name="Google Shape;11798;p61"/>
            <p:cNvSpPr/>
            <p:nvPr/>
          </p:nvSpPr>
          <p:spPr>
            <a:xfrm>
              <a:off x="7697628" y="2997664"/>
              <a:ext cx="21542" cy="11722"/>
            </a:xfrm>
            <a:custGeom>
              <a:avLst/>
              <a:gdLst/>
              <a:ahLst/>
              <a:cxnLst/>
              <a:rect l="l" t="t" r="r" b="b"/>
              <a:pathLst>
                <a:path w="680" h="370" extrusionOk="0">
                  <a:moveTo>
                    <a:pt x="489" y="0"/>
                  </a:moveTo>
                  <a:lnTo>
                    <a:pt x="143" y="48"/>
                  </a:lnTo>
                  <a:cubicBezTo>
                    <a:pt x="60" y="60"/>
                    <a:pt x="0" y="131"/>
                    <a:pt x="0" y="226"/>
                  </a:cubicBezTo>
                  <a:cubicBezTo>
                    <a:pt x="12" y="310"/>
                    <a:pt x="72" y="369"/>
                    <a:pt x="155" y="369"/>
                  </a:cubicBezTo>
                  <a:lnTo>
                    <a:pt x="167" y="369"/>
                  </a:lnTo>
                  <a:lnTo>
                    <a:pt x="512" y="334"/>
                  </a:lnTo>
                  <a:cubicBezTo>
                    <a:pt x="620" y="322"/>
                    <a:pt x="679" y="238"/>
                    <a:pt x="667" y="155"/>
                  </a:cubicBezTo>
                  <a:cubicBezTo>
                    <a:pt x="655" y="60"/>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9" name="Google Shape;11799;p61"/>
            <p:cNvSpPr/>
            <p:nvPr/>
          </p:nvSpPr>
          <p:spPr>
            <a:xfrm>
              <a:off x="7763618" y="2997600"/>
              <a:ext cx="21542" cy="11785"/>
            </a:xfrm>
            <a:custGeom>
              <a:avLst/>
              <a:gdLst/>
              <a:ahLst/>
              <a:cxnLst/>
              <a:rect l="l" t="t" r="r" b="b"/>
              <a:pathLst>
                <a:path w="680" h="372" extrusionOk="0">
                  <a:moveTo>
                    <a:pt x="171" y="1"/>
                  </a:moveTo>
                  <a:cubicBezTo>
                    <a:pt x="86" y="1"/>
                    <a:pt x="24" y="69"/>
                    <a:pt x="13" y="157"/>
                  </a:cubicBezTo>
                  <a:cubicBezTo>
                    <a:pt x="1" y="240"/>
                    <a:pt x="72" y="312"/>
                    <a:pt x="156" y="336"/>
                  </a:cubicBezTo>
                  <a:lnTo>
                    <a:pt x="501" y="371"/>
                  </a:lnTo>
                  <a:lnTo>
                    <a:pt x="513" y="371"/>
                  </a:lnTo>
                  <a:cubicBezTo>
                    <a:pt x="584" y="371"/>
                    <a:pt x="668" y="312"/>
                    <a:pt x="680" y="228"/>
                  </a:cubicBezTo>
                  <a:cubicBezTo>
                    <a:pt x="680" y="133"/>
                    <a:pt x="620" y="62"/>
                    <a:pt x="537" y="50"/>
                  </a:cubicBezTo>
                  <a:lnTo>
                    <a:pt x="191" y="2"/>
                  </a:lnTo>
                  <a:cubicBezTo>
                    <a:pt x="184" y="1"/>
                    <a:pt x="178" y="1"/>
                    <a:pt x="1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0" name="Google Shape;11800;p61"/>
            <p:cNvSpPr/>
            <p:nvPr/>
          </p:nvSpPr>
          <p:spPr>
            <a:xfrm>
              <a:off x="7609368" y="2893912"/>
              <a:ext cx="264813" cy="353105"/>
            </a:xfrm>
            <a:custGeom>
              <a:avLst/>
              <a:gdLst/>
              <a:ahLst/>
              <a:cxnLst/>
              <a:rect l="l" t="t" r="r" b="b"/>
              <a:pathLst>
                <a:path w="8359" h="11146" extrusionOk="0">
                  <a:moveTo>
                    <a:pt x="4168" y="370"/>
                  </a:moveTo>
                  <a:cubicBezTo>
                    <a:pt x="5715" y="370"/>
                    <a:pt x="6965" y="1620"/>
                    <a:pt x="6965" y="3168"/>
                  </a:cubicBezTo>
                  <a:cubicBezTo>
                    <a:pt x="6965" y="3370"/>
                    <a:pt x="6954" y="3561"/>
                    <a:pt x="6906" y="3751"/>
                  </a:cubicBezTo>
                  <a:cubicBezTo>
                    <a:pt x="6846" y="3728"/>
                    <a:pt x="6775" y="3704"/>
                    <a:pt x="6692" y="3704"/>
                  </a:cubicBezTo>
                  <a:lnTo>
                    <a:pt x="6596" y="3704"/>
                  </a:lnTo>
                  <a:lnTo>
                    <a:pt x="6596" y="3323"/>
                  </a:lnTo>
                  <a:lnTo>
                    <a:pt x="6608" y="3323"/>
                  </a:lnTo>
                  <a:cubicBezTo>
                    <a:pt x="6692" y="3323"/>
                    <a:pt x="6763" y="3251"/>
                    <a:pt x="6763" y="3156"/>
                  </a:cubicBezTo>
                  <a:cubicBezTo>
                    <a:pt x="6763" y="3073"/>
                    <a:pt x="6692" y="2989"/>
                    <a:pt x="6608" y="2989"/>
                  </a:cubicBezTo>
                  <a:cubicBezTo>
                    <a:pt x="5239" y="2989"/>
                    <a:pt x="4251" y="2549"/>
                    <a:pt x="3667" y="2180"/>
                  </a:cubicBezTo>
                  <a:cubicBezTo>
                    <a:pt x="3036" y="1775"/>
                    <a:pt x="2715" y="1358"/>
                    <a:pt x="2703" y="1358"/>
                  </a:cubicBezTo>
                  <a:cubicBezTo>
                    <a:pt x="2667" y="1315"/>
                    <a:pt x="2617" y="1289"/>
                    <a:pt x="2568" y="1289"/>
                  </a:cubicBezTo>
                  <a:cubicBezTo>
                    <a:pt x="2536" y="1289"/>
                    <a:pt x="2505" y="1299"/>
                    <a:pt x="2477" y="1323"/>
                  </a:cubicBezTo>
                  <a:cubicBezTo>
                    <a:pt x="2405" y="1382"/>
                    <a:pt x="2393" y="1489"/>
                    <a:pt x="2453" y="1549"/>
                  </a:cubicBezTo>
                  <a:cubicBezTo>
                    <a:pt x="2465" y="1561"/>
                    <a:pt x="2798" y="2001"/>
                    <a:pt x="3477" y="2430"/>
                  </a:cubicBezTo>
                  <a:cubicBezTo>
                    <a:pt x="4060" y="2799"/>
                    <a:pt x="5001" y="3216"/>
                    <a:pt x="6263" y="3287"/>
                  </a:cubicBezTo>
                  <a:lnTo>
                    <a:pt x="6263" y="3847"/>
                  </a:lnTo>
                  <a:cubicBezTo>
                    <a:pt x="6263" y="3906"/>
                    <a:pt x="6299" y="3942"/>
                    <a:pt x="6334" y="3978"/>
                  </a:cubicBezTo>
                  <a:cubicBezTo>
                    <a:pt x="6382" y="4001"/>
                    <a:pt x="6382" y="4001"/>
                    <a:pt x="6549" y="4001"/>
                  </a:cubicBezTo>
                  <a:lnTo>
                    <a:pt x="6680" y="4001"/>
                  </a:lnTo>
                  <a:cubicBezTo>
                    <a:pt x="6835" y="4001"/>
                    <a:pt x="6954" y="4121"/>
                    <a:pt x="6954" y="4275"/>
                  </a:cubicBezTo>
                  <a:cubicBezTo>
                    <a:pt x="6954" y="4418"/>
                    <a:pt x="6835" y="4537"/>
                    <a:pt x="6680" y="4537"/>
                  </a:cubicBezTo>
                  <a:lnTo>
                    <a:pt x="6573" y="4537"/>
                  </a:lnTo>
                  <a:lnTo>
                    <a:pt x="6573" y="4525"/>
                  </a:lnTo>
                  <a:cubicBezTo>
                    <a:pt x="6573" y="4430"/>
                    <a:pt x="6501" y="4359"/>
                    <a:pt x="6418" y="4359"/>
                  </a:cubicBezTo>
                  <a:cubicBezTo>
                    <a:pt x="6323" y="4359"/>
                    <a:pt x="6251" y="4430"/>
                    <a:pt x="6251" y="4525"/>
                  </a:cubicBezTo>
                  <a:cubicBezTo>
                    <a:pt x="6263" y="5692"/>
                    <a:pt x="5322" y="6645"/>
                    <a:pt x="4168" y="6645"/>
                  </a:cubicBezTo>
                  <a:cubicBezTo>
                    <a:pt x="3001" y="6645"/>
                    <a:pt x="2072" y="5704"/>
                    <a:pt x="2072" y="4537"/>
                  </a:cubicBezTo>
                  <a:cubicBezTo>
                    <a:pt x="2072" y="4454"/>
                    <a:pt x="1989" y="4382"/>
                    <a:pt x="1905" y="4382"/>
                  </a:cubicBezTo>
                  <a:cubicBezTo>
                    <a:pt x="1810" y="4382"/>
                    <a:pt x="1739" y="4454"/>
                    <a:pt x="1739" y="4537"/>
                  </a:cubicBezTo>
                  <a:lnTo>
                    <a:pt x="1739" y="4561"/>
                  </a:lnTo>
                  <a:lnTo>
                    <a:pt x="1631" y="4561"/>
                  </a:lnTo>
                  <a:cubicBezTo>
                    <a:pt x="1489" y="4561"/>
                    <a:pt x="1370" y="4442"/>
                    <a:pt x="1370" y="4287"/>
                  </a:cubicBezTo>
                  <a:cubicBezTo>
                    <a:pt x="1370" y="4144"/>
                    <a:pt x="1489" y="4025"/>
                    <a:pt x="1631" y="4025"/>
                  </a:cubicBezTo>
                  <a:lnTo>
                    <a:pt x="1774" y="4025"/>
                  </a:lnTo>
                  <a:cubicBezTo>
                    <a:pt x="1953" y="4025"/>
                    <a:pt x="1953" y="4025"/>
                    <a:pt x="1977" y="4001"/>
                  </a:cubicBezTo>
                  <a:cubicBezTo>
                    <a:pt x="2036" y="3978"/>
                    <a:pt x="2072" y="3918"/>
                    <a:pt x="2072" y="3859"/>
                  </a:cubicBezTo>
                  <a:lnTo>
                    <a:pt x="2072" y="3680"/>
                  </a:lnTo>
                  <a:cubicBezTo>
                    <a:pt x="2072" y="3156"/>
                    <a:pt x="2227" y="2716"/>
                    <a:pt x="2548" y="2335"/>
                  </a:cubicBezTo>
                  <a:cubicBezTo>
                    <a:pt x="2608" y="2263"/>
                    <a:pt x="2584" y="2156"/>
                    <a:pt x="2524" y="2120"/>
                  </a:cubicBezTo>
                  <a:cubicBezTo>
                    <a:pt x="2492" y="2093"/>
                    <a:pt x="2453" y="2081"/>
                    <a:pt x="2416" y="2081"/>
                  </a:cubicBezTo>
                  <a:cubicBezTo>
                    <a:pt x="2371" y="2081"/>
                    <a:pt x="2330" y="2099"/>
                    <a:pt x="2310" y="2132"/>
                  </a:cubicBezTo>
                  <a:cubicBezTo>
                    <a:pt x="1929" y="2561"/>
                    <a:pt x="1739" y="3085"/>
                    <a:pt x="1739" y="3692"/>
                  </a:cubicBezTo>
                  <a:lnTo>
                    <a:pt x="1739" y="3704"/>
                  </a:lnTo>
                  <a:lnTo>
                    <a:pt x="1631" y="3704"/>
                  </a:lnTo>
                  <a:cubicBezTo>
                    <a:pt x="1560" y="3704"/>
                    <a:pt x="1489" y="3728"/>
                    <a:pt x="1429" y="3751"/>
                  </a:cubicBezTo>
                  <a:cubicBezTo>
                    <a:pt x="1381" y="3561"/>
                    <a:pt x="1370" y="3370"/>
                    <a:pt x="1370" y="3168"/>
                  </a:cubicBezTo>
                  <a:cubicBezTo>
                    <a:pt x="1370" y="1620"/>
                    <a:pt x="2620" y="370"/>
                    <a:pt x="4168" y="370"/>
                  </a:cubicBezTo>
                  <a:close/>
                  <a:moveTo>
                    <a:pt x="2132" y="5823"/>
                  </a:moveTo>
                  <a:lnTo>
                    <a:pt x="2132" y="5823"/>
                  </a:lnTo>
                  <a:cubicBezTo>
                    <a:pt x="2334" y="6157"/>
                    <a:pt x="2632" y="6442"/>
                    <a:pt x="2977" y="6645"/>
                  </a:cubicBezTo>
                  <a:lnTo>
                    <a:pt x="2977" y="6799"/>
                  </a:lnTo>
                  <a:lnTo>
                    <a:pt x="2370" y="6799"/>
                  </a:lnTo>
                  <a:cubicBezTo>
                    <a:pt x="2346" y="6680"/>
                    <a:pt x="2322" y="6561"/>
                    <a:pt x="2286" y="6442"/>
                  </a:cubicBezTo>
                  <a:lnTo>
                    <a:pt x="2132" y="5823"/>
                  </a:lnTo>
                  <a:close/>
                  <a:moveTo>
                    <a:pt x="6239" y="5823"/>
                  </a:moveTo>
                  <a:lnTo>
                    <a:pt x="6061" y="6442"/>
                  </a:lnTo>
                  <a:cubicBezTo>
                    <a:pt x="6025" y="6561"/>
                    <a:pt x="6001" y="6680"/>
                    <a:pt x="5977" y="6799"/>
                  </a:cubicBezTo>
                  <a:lnTo>
                    <a:pt x="5382" y="6799"/>
                  </a:lnTo>
                  <a:lnTo>
                    <a:pt x="5382" y="6645"/>
                  </a:lnTo>
                  <a:cubicBezTo>
                    <a:pt x="5727" y="6442"/>
                    <a:pt x="6025" y="6157"/>
                    <a:pt x="6239" y="5823"/>
                  </a:cubicBezTo>
                  <a:close/>
                  <a:moveTo>
                    <a:pt x="2965" y="7133"/>
                  </a:moveTo>
                  <a:lnTo>
                    <a:pt x="2965" y="7502"/>
                  </a:lnTo>
                  <a:lnTo>
                    <a:pt x="2405" y="7502"/>
                  </a:lnTo>
                  <a:lnTo>
                    <a:pt x="2405" y="7478"/>
                  </a:lnTo>
                  <a:cubicBezTo>
                    <a:pt x="2405" y="7359"/>
                    <a:pt x="2405" y="7252"/>
                    <a:pt x="2393" y="7133"/>
                  </a:cubicBezTo>
                  <a:close/>
                  <a:moveTo>
                    <a:pt x="5930" y="7133"/>
                  </a:moveTo>
                  <a:cubicBezTo>
                    <a:pt x="5918" y="7252"/>
                    <a:pt x="5918" y="7359"/>
                    <a:pt x="5918" y="7478"/>
                  </a:cubicBezTo>
                  <a:lnTo>
                    <a:pt x="5918" y="7502"/>
                  </a:lnTo>
                  <a:lnTo>
                    <a:pt x="5370" y="7502"/>
                  </a:lnTo>
                  <a:lnTo>
                    <a:pt x="5370" y="7133"/>
                  </a:lnTo>
                  <a:close/>
                  <a:moveTo>
                    <a:pt x="4168" y="1"/>
                  </a:moveTo>
                  <a:cubicBezTo>
                    <a:pt x="2441" y="1"/>
                    <a:pt x="1036" y="1406"/>
                    <a:pt x="1036" y="3132"/>
                  </a:cubicBezTo>
                  <a:cubicBezTo>
                    <a:pt x="1036" y="3394"/>
                    <a:pt x="1072" y="3668"/>
                    <a:pt x="1143" y="3930"/>
                  </a:cubicBezTo>
                  <a:cubicBezTo>
                    <a:pt x="1084" y="4025"/>
                    <a:pt x="1036" y="4144"/>
                    <a:pt x="1036" y="4275"/>
                  </a:cubicBezTo>
                  <a:cubicBezTo>
                    <a:pt x="1036" y="4561"/>
                    <a:pt x="1250" y="4799"/>
                    <a:pt x="1512" y="4859"/>
                  </a:cubicBezTo>
                  <a:lnTo>
                    <a:pt x="1965" y="6538"/>
                  </a:lnTo>
                  <a:cubicBezTo>
                    <a:pt x="2048" y="6847"/>
                    <a:pt x="2084" y="7157"/>
                    <a:pt x="2084" y="7478"/>
                  </a:cubicBezTo>
                  <a:cubicBezTo>
                    <a:pt x="2084" y="7597"/>
                    <a:pt x="2084" y="7728"/>
                    <a:pt x="2072" y="7847"/>
                  </a:cubicBezTo>
                  <a:lnTo>
                    <a:pt x="2048" y="8050"/>
                  </a:lnTo>
                  <a:lnTo>
                    <a:pt x="798" y="8490"/>
                  </a:lnTo>
                  <a:cubicBezTo>
                    <a:pt x="322" y="8645"/>
                    <a:pt x="0" y="9109"/>
                    <a:pt x="0" y="9633"/>
                  </a:cubicBezTo>
                  <a:lnTo>
                    <a:pt x="0" y="10990"/>
                  </a:lnTo>
                  <a:cubicBezTo>
                    <a:pt x="0" y="11074"/>
                    <a:pt x="72" y="11145"/>
                    <a:pt x="167" y="11145"/>
                  </a:cubicBezTo>
                  <a:cubicBezTo>
                    <a:pt x="250" y="11145"/>
                    <a:pt x="322" y="11074"/>
                    <a:pt x="322" y="10990"/>
                  </a:cubicBezTo>
                  <a:lnTo>
                    <a:pt x="322" y="9633"/>
                  </a:lnTo>
                  <a:cubicBezTo>
                    <a:pt x="322" y="9264"/>
                    <a:pt x="560" y="8919"/>
                    <a:pt x="917" y="8800"/>
                  </a:cubicBezTo>
                  <a:lnTo>
                    <a:pt x="2024" y="8407"/>
                  </a:lnTo>
                  <a:lnTo>
                    <a:pt x="1751" y="10967"/>
                  </a:lnTo>
                  <a:cubicBezTo>
                    <a:pt x="1739" y="11062"/>
                    <a:pt x="1810" y="11133"/>
                    <a:pt x="1905" y="11145"/>
                  </a:cubicBezTo>
                  <a:lnTo>
                    <a:pt x="1917" y="11145"/>
                  </a:lnTo>
                  <a:cubicBezTo>
                    <a:pt x="2012" y="11145"/>
                    <a:pt x="2072" y="11086"/>
                    <a:pt x="2084" y="11002"/>
                  </a:cubicBezTo>
                  <a:lnTo>
                    <a:pt x="2405" y="7895"/>
                  </a:lnTo>
                  <a:lnTo>
                    <a:pt x="2405" y="7847"/>
                  </a:lnTo>
                  <a:lnTo>
                    <a:pt x="2977" y="7847"/>
                  </a:lnTo>
                  <a:lnTo>
                    <a:pt x="2977" y="10990"/>
                  </a:lnTo>
                  <a:cubicBezTo>
                    <a:pt x="2977" y="11074"/>
                    <a:pt x="3048" y="11145"/>
                    <a:pt x="3144" y="11145"/>
                  </a:cubicBezTo>
                  <a:cubicBezTo>
                    <a:pt x="3227" y="11145"/>
                    <a:pt x="3298" y="11074"/>
                    <a:pt x="3298" y="10990"/>
                  </a:cubicBezTo>
                  <a:lnTo>
                    <a:pt x="3298" y="9514"/>
                  </a:lnTo>
                  <a:cubicBezTo>
                    <a:pt x="3572" y="9681"/>
                    <a:pt x="3870" y="9752"/>
                    <a:pt x="4179" y="9752"/>
                  </a:cubicBezTo>
                  <a:cubicBezTo>
                    <a:pt x="4489" y="9752"/>
                    <a:pt x="4787" y="9657"/>
                    <a:pt x="5060" y="9514"/>
                  </a:cubicBezTo>
                  <a:lnTo>
                    <a:pt x="5060" y="10990"/>
                  </a:lnTo>
                  <a:cubicBezTo>
                    <a:pt x="5060" y="11074"/>
                    <a:pt x="5132" y="11145"/>
                    <a:pt x="5227" y="11145"/>
                  </a:cubicBezTo>
                  <a:cubicBezTo>
                    <a:pt x="5311" y="11145"/>
                    <a:pt x="5382" y="11074"/>
                    <a:pt x="5382" y="10990"/>
                  </a:cubicBezTo>
                  <a:lnTo>
                    <a:pt x="5382" y="8728"/>
                  </a:lnTo>
                  <a:cubicBezTo>
                    <a:pt x="5382" y="8633"/>
                    <a:pt x="5311" y="8562"/>
                    <a:pt x="5227" y="8562"/>
                  </a:cubicBezTo>
                  <a:cubicBezTo>
                    <a:pt x="5132" y="8562"/>
                    <a:pt x="5060" y="8633"/>
                    <a:pt x="5060" y="8728"/>
                  </a:cubicBezTo>
                  <a:lnTo>
                    <a:pt x="5060" y="9109"/>
                  </a:lnTo>
                  <a:cubicBezTo>
                    <a:pt x="4810" y="9324"/>
                    <a:pt x="4489" y="9419"/>
                    <a:pt x="4179" y="9419"/>
                  </a:cubicBezTo>
                  <a:cubicBezTo>
                    <a:pt x="3846" y="9419"/>
                    <a:pt x="3548" y="9324"/>
                    <a:pt x="3298" y="9109"/>
                  </a:cubicBezTo>
                  <a:lnTo>
                    <a:pt x="3298" y="6799"/>
                  </a:lnTo>
                  <a:cubicBezTo>
                    <a:pt x="3572" y="6907"/>
                    <a:pt x="3870" y="6966"/>
                    <a:pt x="4179" y="6966"/>
                  </a:cubicBezTo>
                  <a:cubicBezTo>
                    <a:pt x="4489" y="6966"/>
                    <a:pt x="4787" y="6907"/>
                    <a:pt x="5060" y="6799"/>
                  </a:cubicBezTo>
                  <a:lnTo>
                    <a:pt x="5060" y="8026"/>
                  </a:lnTo>
                  <a:cubicBezTo>
                    <a:pt x="5060" y="8109"/>
                    <a:pt x="5132" y="8192"/>
                    <a:pt x="5227" y="8192"/>
                  </a:cubicBezTo>
                  <a:cubicBezTo>
                    <a:pt x="5311" y="8192"/>
                    <a:pt x="5382" y="8109"/>
                    <a:pt x="5382" y="8026"/>
                  </a:cubicBezTo>
                  <a:lnTo>
                    <a:pt x="5382" y="7847"/>
                  </a:lnTo>
                  <a:lnTo>
                    <a:pt x="5953" y="7847"/>
                  </a:lnTo>
                  <a:lnTo>
                    <a:pt x="5953" y="7895"/>
                  </a:lnTo>
                  <a:lnTo>
                    <a:pt x="6275" y="11002"/>
                  </a:lnTo>
                  <a:cubicBezTo>
                    <a:pt x="6287" y="11086"/>
                    <a:pt x="6346" y="11145"/>
                    <a:pt x="6442" y="11145"/>
                  </a:cubicBezTo>
                  <a:lnTo>
                    <a:pt x="6454" y="11145"/>
                  </a:lnTo>
                  <a:cubicBezTo>
                    <a:pt x="6549" y="11133"/>
                    <a:pt x="6608" y="11062"/>
                    <a:pt x="6608" y="10967"/>
                  </a:cubicBezTo>
                  <a:lnTo>
                    <a:pt x="6334" y="8407"/>
                  </a:lnTo>
                  <a:lnTo>
                    <a:pt x="7442" y="8800"/>
                  </a:lnTo>
                  <a:cubicBezTo>
                    <a:pt x="7799" y="8919"/>
                    <a:pt x="8037" y="9264"/>
                    <a:pt x="8037" y="9633"/>
                  </a:cubicBezTo>
                  <a:lnTo>
                    <a:pt x="8037" y="10990"/>
                  </a:lnTo>
                  <a:cubicBezTo>
                    <a:pt x="8037" y="11074"/>
                    <a:pt x="8108" y="11145"/>
                    <a:pt x="8192" y="11145"/>
                  </a:cubicBezTo>
                  <a:cubicBezTo>
                    <a:pt x="8287" y="11145"/>
                    <a:pt x="8359" y="11074"/>
                    <a:pt x="8359" y="10990"/>
                  </a:cubicBezTo>
                  <a:lnTo>
                    <a:pt x="8359" y="9633"/>
                  </a:lnTo>
                  <a:cubicBezTo>
                    <a:pt x="8335" y="9121"/>
                    <a:pt x="8001" y="8669"/>
                    <a:pt x="7525" y="8490"/>
                  </a:cubicBezTo>
                  <a:lnTo>
                    <a:pt x="6275" y="8050"/>
                  </a:lnTo>
                  <a:lnTo>
                    <a:pt x="6263" y="7847"/>
                  </a:lnTo>
                  <a:cubicBezTo>
                    <a:pt x="6251" y="7728"/>
                    <a:pt x="6251" y="7597"/>
                    <a:pt x="6251" y="7478"/>
                  </a:cubicBezTo>
                  <a:cubicBezTo>
                    <a:pt x="6251" y="7157"/>
                    <a:pt x="6299" y="6847"/>
                    <a:pt x="6370" y="6538"/>
                  </a:cubicBezTo>
                  <a:lnTo>
                    <a:pt x="6811" y="4859"/>
                  </a:lnTo>
                  <a:cubicBezTo>
                    <a:pt x="7085" y="4799"/>
                    <a:pt x="7287" y="4561"/>
                    <a:pt x="7287" y="4275"/>
                  </a:cubicBezTo>
                  <a:cubicBezTo>
                    <a:pt x="7287" y="4156"/>
                    <a:pt x="7251" y="4037"/>
                    <a:pt x="7192" y="3930"/>
                  </a:cubicBezTo>
                  <a:cubicBezTo>
                    <a:pt x="7263" y="3680"/>
                    <a:pt x="7287" y="3406"/>
                    <a:pt x="7287" y="3132"/>
                  </a:cubicBezTo>
                  <a:cubicBezTo>
                    <a:pt x="7287" y="1406"/>
                    <a:pt x="5894" y="1"/>
                    <a:pt x="4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1" name="Google Shape;11801;p61"/>
            <p:cNvSpPr/>
            <p:nvPr/>
          </p:nvSpPr>
          <p:spPr>
            <a:xfrm>
              <a:off x="7711219" y="3046324"/>
              <a:ext cx="60350" cy="32472"/>
            </a:xfrm>
            <a:custGeom>
              <a:avLst/>
              <a:gdLst/>
              <a:ahLst/>
              <a:cxnLst/>
              <a:rect l="l" t="t" r="r" b="b"/>
              <a:pathLst>
                <a:path w="1905" h="1025" extrusionOk="0">
                  <a:moveTo>
                    <a:pt x="1536" y="322"/>
                  </a:moveTo>
                  <a:cubicBezTo>
                    <a:pt x="1453" y="536"/>
                    <a:pt x="1238" y="703"/>
                    <a:pt x="953" y="703"/>
                  </a:cubicBezTo>
                  <a:cubicBezTo>
                    <a:pt x="667" y="703"/>
                    <a:pt x="441" y="548"/>
                    <a:pt x="357" y="322"/>
                  </a:cubicBezTo>
                  <a:close/>
                  <a:moveTo>
                    <a:pt x="167" y="0"/>
                  </a:moveTo>
                  <a:cubicBezTo>
                    <a:pt x="71" y="0"/>
                    <a:pt x="0" y="72"/>
                    <a:pt x="0" y="167"/>
                  </a:cubicBezTo>
                  <a:cubicBezTo>
                    <a:pt x="0" y="643"/>
                    <a:pt x="429" y="1024"/>
                    <a:pt x="953" y="1024"/>
                  </a:cubicBezTo>
                  <a:cubicBezTo>
                    <a:pt x="1476" y="1024"/>
                    <a:pt x="1905" y="643"/>
                    <a:pt x="1905" y="167"/>
                  </a:cubicBezTo>
                  <a:cubicBezTo>
                    <a:pt x="1905" y="72"/>
                    <a:pt x="1834"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2" name="Google Shape;11802;p61"/>
          <p:cNvGrpSpPr/>
          <p:nvPr/>
        </p:nvGrpSpPr>
        <p:grpSpPr>
          <a:xfrm>
            <a:off x="6248458" y="2869772"/>
            <a:ext cx="270864" cy="360645"/>
            <a:chOff x="6248458" y="2869772"/>
            <a:chExt cx="270864" cy="360645"/>
          </a:xfrm>
        </p:grpSpPr>
        <p:sp>
          <p:nvSpPr>
            <p:cNvPr id="11803" name="Google Shape;11803;p61"/>
            <p:cNvSpPr/>
            <p:nvPr/>
          </p:nvSpPr>
          <p:spPr>
            <a:xfrm>
              <a:off x="6345399" y="2995003"/>
              <a:ext cx="10201" cy="15872"/>
            </a:xfrm>
            <a:custGeom>
              <a:avLst/>
              <a:gdLst/>
              <a:ahLst/>
              <a:cxnLst/>
              <a:rect l="l" t="t" r="r" b="b"/>
              <a:pathLst>
                <a:path w="322" h="501" extrusionOk="0">
                  <a:moveTo>
                    <a:pt x="155" y="1"/>
                  </a:moveTo>
                  <a:cubicBezTo>
                    <a:pt x="72" y="1"/>
                    <a:pt x="0" y="72"/>
                    <a:pt x="0" y="156"/>
                  </a:cubicBezTo>
                  <a:lnTo>
                    <a:pt x="0" y="334"/>
                  </a:lnTo>
                  <a:cubicBezTo>
                    <a:pt x="0" y="429"/>
                    <a:pt x="72" y="501"/>
                    <a:pt x="155" y="501"/>
                  </a:cubicBezTo>
                  <a:cubicBezTo>
                    <a:pt x="251" y="501"/>
                    <a:pt x="322" y="429"/>
                    <a:pt x="322" y="334"/>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4" name="Google Shape;11804;p61"/>
            <p:cNvSpPr/>
            <p:nvPr/>
          </p:nvSpPr>
          <p:spPr>
            <a:xfrm>
              <a:off x="6412529" y="2995003"/>
              <a:ext cx="10993" cy="15872"/>
            </a:xfrm>
            <a:custGeom>
              <a:avLst/>
              <a:gdLst/>
              <a:ahLst/>
              <a:cxnLst/>
              <a:rect l="l" t="t" r="r" b="b"/>
              <a:pathLst>
                <a:path w="347" h="501" extrusionOk="0">
                  <a:moveTo>
                    <a:pt x="167" y="1"/>
                  </a:moveTo>
                  <a:cubicBezTo>
                    <a:pt x="84" y="1"/>
                    <a:pt x="1" y="72"/>
                    <a:pt x="1" y="156"/>
                  </a:cubicBezTo>
                  <a:lnTo>
                    <a:pt x="1" y="334"/>
                  </a:lnTo>
                  <a:cubicBezTo>
                    <a:pt x="1" y="429"/>
                    <a:pt x="84" y="501"/>
                    <a:pt x="167" y="501"/>
                  </a:cubicBezTo>
                  <a:cubicBezTo>
                    <a:pt x="251" y="501"/>
                    <a:pt x="334" y="429"/>
                    <a:pt x="334" y="334"/>
                  </a:cubicBezTo>
                  <a:lnTo>
                    <a:pt x="334" y="156"/>
                  </a:lnTo>
                  <a:cubicBezTo>
                    <a:pt x="346" y="72"/>
                    <a:pt x="275"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5" name="Google Shape;11805;p61"/>
            <p:cNvSpPr/>
            <p:nvPr/>
          </p:nvSpPr>
          <p:spPr>
            <a:xfrm>
              <a:off x="6248458" y="2869772"/>
              <a:ext cx="270864" cy="360645"/>
            </a:xfrm>
            <a:custGeom>
              <a:avLst/>
              <a:gdLst/>
              <a:ahLst/>
              <a:cxnLst/>
              <a:rect l="l" t="t" r="r" b="b"/>
              <a:pathLst>
                <a:path w="8550" h="11384" extrusionOk="0">
                  <a:moveTo>
                    <a:pt x="4275" y="513"/>
                  </a:moveTo>
                  <a:cubicBezTo>
                    <a:pt x="5585" y="513"/>
                    <a:pt x="6668" y="1537"/>
                    <a:pt x="6775" y="2823"/>
                  </a:cubicBezTo>
                  <a:cubicBezTo>
                    <a:pt x="6073" y="2608"/>
                    <a:pt x="5204" y="2489"/>
                    <a:pt x="4275" y="2489"/>
                  </a:cubicBezTo>
                  <a:cubicBezTo>
                    <a:pt x="3358" y="2489"/>
                    <a:pt x="2477" y="2608"/>
                    <a:pt x="1775" y="2823"/>
                  </a:cubicBezTo>
                  <a:cubicBezTo>
                    <a:pt x="1882" y="1537"/>
                    <a:pt x="2965" y="513"/>
                    <a:pt x="4275" y="513"/>
                  </a:cubicBezTo>
                  <a:close/>
                  <a:moveTo>
                    <a:pt x="2156" y="3073"/>
                  </a:moveTo>
                  <a:lnTo>
                    <a:pt x="2156" y="3382"/>
                  </a:lnTo>
                  <a:cubicBezTo>
                    <a:pt x="2156" y="3490"/>
                    <a:pt x="2120" y="3573"/>
                    <a:pt x="2060" y="3632"/>
                  </a:cubicBezTo>
                  <a:cubicBezTo>
                    <a:pt x="1977" y="3716"/>
                    <a:pt x="1894" y="3740"/>
                    <a:pt x="1798" y="3740"/>
                  </a:cubicBezTo>
                  <a:lnTo>
                    <a:pt x="1787" y="3740"/>
                  </a:lnTo>
                  <a:lnTo>
                    <a:pt x="1787" y="3168"/>
                  </a:lnTo>
                  <a:lnTo>
                    <a:pt x="1775" y="3168"/>
                  </a:lnTo>
                  <a:cubicBezTo>
                    <a:pt x="1894" y="3132"/>
                    <a:pt x="2025" y="3097"/>
                    <a:pt x="2156" y="3073"/>
                  </a:cubicBezTo>
                  <a:close/>
                  <a:moveTo>
                    <a:pt x="4263" y="2835"/>
                  </a:moveTo>
                  <a:cubicBezTo>
                    <a:pt x="5204" y="2835"/>
                    <a:pt x="6073" y="2954"/>
                    <a:pt x="6763" y="3180"/>
                  </a:cubicBezTo>
                  <a:lnTo>
                    <a:pt x="6763" y="4430"/>
                  </a:lnTo>
                  <a:cubicBezTo>
                    <a:pt x="6692" y="4371"/>
                    <a:pt x="6597" y="4287"/>
                    <a:pt x="6489" y="4204"/>
                  </a:cubicBezTo>
                  <a:cubicBezTo>
                    <a:pt x="6459" y="4178"/>
                    <a:pt x="6421" y="4166"/>
                    <a:pt x="6384" y="4166"/>
                  </a:cubicBezTo>
                  <a:cubicBezTo>
                    <a:pt x="6334" y="4166"/>
                    <a:pt x="6285" y="4187"/>
                    <a:pt x="6251" y="4228"/>
                  </a:cubicBezTo>
                  <a:cubicBezTo>
                    <a:pt x="6192" y="4311"/>
                    <a:pt x="6216" y="4406"/>
                    <a:pt x="6287" y="4466"/>
                  </a:cubicBezTo>
                  <a:cubicBezTo>
                    <a:pt x="6335" y="4502"/>
                    <a:pt x="6370" y="4525"/>
                    <a:pt x="6406" y="4561"/>
                  </a:cubicBezTo>
                  <a:lnTo>
                    <a:pt x="6406" y="4621"/>
                  </a:lnTo>
                  <a:cubicBezTo>
                    <a:pt x="6406" y="5811"/>
                    <a:pt x="5442" y="6764"/>
                    <a:pt x="4251" y="6764"/>
                  </a:cubicBezTo>
                  <a:cubicBezTo>
                    <a:pt x="3060" y="6764"/>
                    <a:pt x="2084" y="5799"/>
                    <a:pt x="2084" y="4609"/>
                  </a:cubicBezTo>
                  <a:cubicBezTo>
                    <a:pt x="2084" y="4513"/>
                    <a:pt x="2013" y="4442"/>
                    <a:pt x="1929" y="4442"/>
                  </a:cubicBezTo>
                  <a:cubicBezTo>
                    <a:pt x="1834" y="4442"/>
                    <a:pt x="1763" y="4513"/>
                    <a:pt x="1763" y="4609"/>
                  </a:cubicBezTo>
                  <a:lnTo>
                    <a:pt x="1763" y="4621"/>
                  </a:lnTo>
                  <a:lnTo>
                    <a:pt x="1656" y="4621"/>
                  </a:lnTo>
                  <a:cubicBezTo>
                    <a:pt x="1584" y="4621"/>
                    <a:pt x="1513" y="4585"/>
                    <a:pt x="1453" y="4525"/>
                  </a:cubicBezTo>
                  <a:cubicBezTo>
                    <a:pt x="1429" y="4490"/>
                    <a:pt x="1417" y="4406"/>
                    <a:pt x="1417" y="4335"/>
                  </a:cubicBezTo>
                  <a:cubicBezTo>
                    <a:pt x="1429" y="4204"/>
                    <a:pt x="1572" y="4085"/>
                    <a:pt x="1715" y="4085"/>
                  </a:cubicBezTo>
                  <a:lnTo>
                    <a:pt x="1775" y="4085"/>
                  </a:lnTo>
                  <a:cubicBezTo>
                    <a:pt x="1965" y="4085"/>
                    <a:pt x="2132" y="4013"/>
                    <a:pt x="2263" y="3871"/>
                  </a:cubicBezTo>
                  <a:cubicBezTo>
                    <a:pt x="2406" y="3740"/>
                    <a:pt x="2477" y="3561"/>
                    <a:pt x="2477" y="3382"/>
                  </a:cubicBezTo>
                  <a:lnTo>
                    <a:pt x="2477" y="3001"/>
                  </a:lnTo>
                  <a:cubicBezTo>
                    <a:pt x="2787" y="2942"/>
                    <a:pt x="3120" y="2894"/>
                    <a:pt x="3453" y="2858"/>
                  </a:cubicBezTo>
                  <a:cubicBezTo>
                    <a:pt x="4251" y="3156"/>
                    <a:pt x="5001" y="3549"/>
                    <a:pt x="5739" y="4049"/>
                  </a:cubicBezTo>
                  <a:cubicBezTo>
                    <a:pt x="5763" y="4073"/>
                    <a:pt x="5799" y="4085"/>
                    <a:pt x="5823" y="4085"/>
                  </a:cubicBezTo>
                  <a:cubicBezTo>
                    <a:pt x="5882" y="4085"/>
                    <a:pt x="5930" y="4049"/>
                    <a:pt x="5954" y="4013"/>
                  </a:cubicBezTo>
                  <a:cubicBezTo>
                    <a:pt x="6013" y="3930"/>
                    <a:pt x="5989" y="3835"/>
                    <a:pt x="5918" y="3775"/>
                  </a:cubicBezTo>
                  <a:cubicBezTo>
                    <a:pt x="5382" y="3394"/>
                    <a:pt x="4823" y="3085"/>
                    <a:pt x="4251" y="2835"/>
                  </a:cubicBezTo>
                  <a:close/>
                  <a:moveTo>
                    <a:pt x="1822" y="4990"/>
                  </a:moveTo>
                  <a:cubicBezTo>
                    <a:pt x="1929" y="5764"/>
                    <a:pt x="2406" y="6418"/>
                    <a:pt x="3037" y="6811"/>
                  </a:cubicBezTo>
                  <a:lnTo>
                    <a:pt x="3037" y="7538"/>
                  </a:lnTo>
                  <a:cubicBezTo>
                    <a:pt x="3037" y="7776"/>
                    <a:pt x="2894" y="7966"/>
                    <a:pt x="2679" y="8062"/>
                  </a:cubicBezTo>
                  <a:lnTo>
                    <a:pt x="1656" y="8383"/>
                  </a:lnTo>
                  <a:lnTo>
                    <a:pt x="1310" y="8157"/>
                  </a:lnTo>
                  <a:lnTo>
                    <a:pt x="1906" y="7419"/>
                  </a:lnTo>
                  <a:cubicBezTo>
                    <a:pt x="1941" y="7371"/>
                    <a:pt x="1953" y="7323"/>
                    <a:pt x="1941" y="7288"/>
                  </a:cubicBezTo>
                  <a:cubicBezTo>
                    <a:pt x="1929" y="7240"/>
                    <a:pt x="1894" y="7192"/>
                    <a:pt x="1846" y="7169"/>
                  </a:cubicBezTo>
                  <a:lnTo>
                    <a:pt x="1286" y="6883"/>
                  </a:lnTo>
                  <a:cubicBezTo>
                    <a:pt x="1656" y="6073"/>
                    <a:pt x="1727" y="5323"/>
                    <a:pt x="1763" y="4990"/>
                  </a:cubicBezTo>
                  <a:close/>
                  <a:moveTo>
                    <a:pt x="6775" y="4847"/>
                  </a:moveTo>
                  <a:lnTo>
                    <a:pt x="6811" y="4871"/>
                  </a:lnTo>
                  <a:cubicBezTo>
                    <a:pt x="6823" y="5121"/>
                    <a:pt x="6882" y="5978"/>
                    <a:pt x="7287" y="6871"/>
                  </a:cubicBezTo>
                  <a:lnTo>
                    <a:pt x="6716" y="7145"/>
                  </a:lnTo>
                  <a:cubicBezTo>
                    <a:pt x="6668" y="7180"/>
                    <a:pt x="6644" y="7204"/>
                    <a:pt x="6632" y="7264"/>
                  </a:cubicBezTo>
                  <a:cubicBezTo>
                    <a:pt x="6609" y="7311"/>
                    <a:pt x="6632" y="7371"/>
                    <a:pt x="6656" y="7407"/>
                  </a:cubicBezTo>
                  <a:lnTo>
                    <a:pt x="7251" y="8145"/>
                  </a:lnTo>
                  <a:lnTo>
                    <a:pt x="6906" y="8383"/>
                  </a:lnTo>
                  <a:lnTo>
                    <a:pt x="5894" y="8026"/>
                  </a:lnTo>
                  <a:cubicBezTo>
                    <a:pt x="5680" y="7954"/>
                    <a:pt x="5537" y="7740"/>
                    <a:pt x="5537" y="7502"/>
                  </a:cubicBezTo>
                  <a:lnTo>
                    <a:pt x="5537" y="6776"/>
                  </a:lnTo>
                  <a:cubicBezTo>
                    <a:pt x="6228" y="6371"/>
                    <a:pt x="6704" y="5680"/>
                    <a:pt x="6775" y="4847"/>
                  </a:cubicBezTo>
                  <a:close/>
                  <a:moveTo>
                    <a:pt x="5192" y="6966"/>
                  </a:moveTo>
                  <a:lnTo>
                    <a:pt x="5192" y="7538"/>
                  </a:lnTo>
                  <a:cubicBezTo>
                    <a:pt x="5192" y="7859"/>
                    <a:pt x="5370" y="8157"/>
                    <a:pt x="5656" y="8312"/>
                  </a:cubicBezTo>
                  <a:cubicBezTo>
                    <a:pt x="5597" y="8478"/>
                    <a:pt x="5525" y="8621"/>
                    <a:pt x="5418" y="8752"/>
                  </a:cubicBezTo>
                  <a:cubicBezTo>
                    <a:pt x="5358" y="8835"/>
                    <a:pt x="5370" y="8931"/>
                    <a:pt x="5454" y="8990"/>
                  </a:cubicBezTo>
                  <a:cubicBezTo>
                    <a:pt x="5477" y="9026"/>
                    <a:pt x="5525" y="9026"/>
                    <a:pt x="5549" y="9026"/>
                  </a:cubicBezTo>
                  <a:cubicBezTo>
                    <a:pt x="5597" y="9026"/>
                    <a:pt x="5656" y="9014"/>
                    <a:pt x="5692" y="8966"/>
                  </a:cubicBezTo>
                  <a:cubicBezTo>
                    <a:pt x="5823" y="8800"/>
                    <a:pt x="5918" y="8621"/>
                    <a:pt x="5989" y="8431"/>
                  </a:cubicBezTo>
                  <a:lnTo>
                    <a:pt x="6347" y="8550"/>
                  </a:lnTo>
                  <a:cubicBezTo>
                    <a:pt x="6013" y="9395"/>
                    <a:pt x="5204" y="9990"/>
                    <a:pt x="4275" y="9990"/>
                  </a:cubicBezTo>
                  <a:cubicBezTo>
                    <a:pt x="3358" y="9990"/>
                    <a:pt x="2537" y="9395"/>
                    <a:pt x="2239" y="8538"/>
                  </a:cubicBezTo>
                  <a:lnTo>
                    <a:pt x="2596" y="8419"/>
                  </a:lnTo>
                  <a:cubicBezTo>
                    <a:pt x="2834" y="9133"/>
                    <a:pt x="3501" y="9621"/>
                    <a:pt x="4275" y="9621"/>
                  </a:cubicBezTo>
                  <a:cubicBezTo>
                    <a:pt x="4525" y="9621"/>
                    <a:pt x="4787" y="9562"/>
                    <a:pt x="5025" y="9455"/>
                  </a:cubicBezTo>
                  <a:cubicBezTo>
                    <a:pt x="5108" y="9407"/>
                    <a:pt x="5144" y="9324"/>
                    <a:pt x="5108" y="9228"/>
                  </a:cubicBezTo>
                  <a:cubicBezTo>
                    <a:pt x="5075" y="9170"/>
                    <a:pt x="5025" y="9136"/>
                    <a:pt x="4965" y="9136"/>
                  </a:cubicBezTo>
                  <a:cubicBezTo>
                    <a:pt x="4939" y="9136"/>
                    <a:pt x="4911" y="9142"/>
                    <a:pt x="4882" y="9157"/>
                  </a:cubicBezTo>
                  <a:cubicBezTo>
                    <a:pt x="4692" y="9252"/>
                    <a:pt x="4501" y="9288"/>
                    <a:pt x="4287" y="9288"/>
                  </a:cubicBezTo>
                  <a:cubicBezTo>
                    <a:pt x="3668" y="9288"/>
                    <a:pt x="3120" y="8895"/>
                    <a:pt x="2918" y="8312"/>
                  </a:cubicBezTo>
                  <a:cubicBezTo>
                    <a:pt x="3203" y="8157"/>
                    <a:pt x="3382" y="7859"/>
                    <a:pt x="3382" y="7538"/>
                  </a:cubicBezTo>
                  <a:lnTo>
                    <a:pt x="3382" y="6966"/>
                  </a:lnTo>
                  <a:cubicBezTo>
                    <a:pt x="3668" y="7073"/>
                    <a:pt x="3965" y="7133"/>
                    <a:pt x="4287" y="7133"/>
                  </a:cubicBezTo>
                  <a:cubicBezTo>
                    <a:pt x="4596" y="7133"/>
                    <a:pt x="4918" y="7073"/>
                    <a:pt x="5192" y="6966"/>
                  </a:cubicBezTo>
                  <a:close/>
                  <a:moveTo>
                    <a:pt x="4096" y="1"/>
                  </a:moveTo>
                  <a:cubicBezTo>
                    <a:pt x="4013" y="1"/>
                    <a:pt x="3930" y="84"/>
                    <a:pt x="3930" y="168"/>
                  </a:cubicBezTo>
                  <a:lnTo>
                    <a:pt x="3930" y="203"/>
                  </a:lnTo>
                  <a:cubicBezTo>
                    <a:pt x="2549" y="358"/>
                    <a:pt x="1477" y="1525"/>
                    <a:pt x="1429" y="2942"/>
                  </a:cubicBezTo>
                  <a:cubicBezTo>
                    <a:pt x="1346" y="2966"/>
                    <a:pt x="1251" y="3013"/>
                    <a:pt x="1167" y="3037"/>
                  </a:cubicBezTo>
                  <a:cubicBezTo>
                    <a:pt x="1072" y="3085"/>
                    <a:pt x="1048" y="3180"/>
                    <a:pt x="1072" y="3263"/>
                  </a:cubicBezTo>
                  <a:cubicBezTo>
                    <a:pt x="1109" y="3336"/>
                    <a:pt x="1173" y="3367"/>
                    <a:pt x="1238" y="3367"/>
                  </a:cubicBezTo>
                  <a:cubicBezTo>
                    <a:pt x="1258" y="3367"/>
                    <a:pt x="1279" y="3364"/>
                    <a:pt x="1298" y="3359"/>
                  </a:cubicBezTo>
                  <a:cubicBezTo>
                    <a:pt x="1346" y="3335"/>
                    <a:pt x="1370" y="3323"/>
                    <a:pt x="1417" y="3299"/>
                  </a:cubicBezTo>
                  <a:lnTo>
                    <a:pt x="1417" y="3799"/>
                  </a:lnTo>
                  <a:cubicBezTo>
                    <a:pt x="1227" y="3894"/>
                    <a:pt x="1096" y="4073"/>
                    <a:pt x="1060" y="4287"/>
                  </a:cubicBezTo>
                  <a:cubicBezTo>
                    <a:pt x="1048" y="4466"/>
                    <a:pt x="1108" y="4633"/>
                    <a:pt x="1215" y="4763"/>
                  </a:cubicBezTo>
                  <a:cubicBezTo>
                    <a:pt x="1275" y="4823"/>
                    <a:pt x="1334" y="4871"/>
                    <a:pt x="1406" y="4918"/>
                  </a:cubicBezTo>
                  <a:cubicBezTo>
                    <a:pt x="1394" y="5216"/>
                    <a:pt x="1298" y="6049"/>
                    <a:pt x="894" y="6871"/>
                  </a:cubicBezTo>
                  <a:cubicBezTo>
                    <a:pt x="858" y="6954"/>
                    <a:pt x="882" y="7049"/>
                    <a:pt x="965" y="7085"/>
                  </a:cubicBezTo>
                  <a:lnTo>
                    <a:pt x="1501" y="7359"/>
                  </a:lnTo>
                  <a:lnTo>
                    <a:pt x="929" y="8085"/>
                  </a:lnTo>
                  <a:cubicBezTo>
                    <a:pt x="894" y="8121"/>
                    <a:pt x="882" y="8181"/>
                    <a:pt x="894" y="8216"/>
                  </a:cubicBezTo>
                  <a:cubicBezTo>
                    <a:pt x="894" y="8264"/>
                    <a:pt x="929" y="8312"/>
                    <a:pt x="965" y="8335"/>
                  </a:cubicBezTo>
                  <a:lnTo>
                    <a:pt x="1251" y="8538"/>
                  </a:lnTo>
                  <a:lnTo>
                    <a:pt x="822" y="8681"/>
                  </a:lnTo>
                  <a:cubicBezTo>
                    <a:pt x="334" y="8859"/>
                    <a:pt x="1" y="9324"/>
                    <a:pt x="1" y="9836"/>
                  </a:cubicBezTo>
                  <a:lnTo>
                    <a:pt x="1" y="11229"/>
                  </a:lnTo>
                  <a:cubicBezTo>
                    <a:pt x="1" y="11312"/>
                    <a:pt x="72" y="11383"/>
                    <a:pt x="167" y="11383"/>
                  </a:cubicBezTo>
                  <a:cubicBezTo>
                    <a:pt x="251" y="11383"/>
                    <a:pt x="334" y="11312"/>
                    <a:pt x="334" y="11229"/>
                  </a:cubicBezTo>
                  <a:lnTo>
                    <a:pt x="334" y="9836"/>
                  </a:lnTo>
                  <a:cubicBezTo>
                    <a:pt x="334" y="9455"/>
                    <a:pt x="572" y="9109"/>
                    <a:pt x="929" y="8990"/>
                  </a:cubicBezTo>
                  <a:lnTo>
                    <a:pt x="1906" y="8645"/>
                  </a:lnTo>
                  <a:cubicBezTo>
                    <a:pt x="2251" y="9645"/>
                    <a:pt x="3191" y="10336"/>
                    <a:pt x="4263" y="10336"/>
                  </a:cubicBezTo>
                  <a:cubicBezTo>
                    <a:pt x="5335" y="10336"/>
                    <a:pt x="6263" y="9645"/>
                    <a:pt x="6609" y="8645"/>
                  </a:cubicBezTo>
                  <a:lnTo>
                    <a:pt x="7597" y="8990"/>
                  </a:lnTo>
                  <a:cubicBezTo>
                    <a:pt x="7954" y="9121"/>
                    <a:pt x="8192" y="9466"/>
                    <a:pt x="8192" y="9836"/>
                  </a:cubicBezTo>
                  <a:lnTo>
                    <a:pt x="8192" y="11229"/>
                  </a:lnTo>
                  <a:cubicBezTo>
                    <a:pt x="8192" y="11312"/>
                    <a:pt x="8264" y="11383"/>
                    <a:pt x="8347" y="11383"/>
                  </a:cubicBezTo>
                  <a:cubicBezTo>
                    <a:pt x="8442" y="11383"/>
                    <a:pt x="8514" y="11312"/>
                    <a:pt x="8514" y="11229"/>
                  </a:cubicBezTo>
                  <a:lnTo>
                    <a:pt x="8514" y="9836"/>
                  </a:lnTo>
                  <a:cubicBezTo>
                    <a:pt x="8549" y="9324"/>
                    <a:pt x="8216" y="8847"/>
                    <a:pt x="7728" y="8681"/>
                  </a:cubicBezTo>
                  <a:lnTo>
                    <a:pt x="7299" y="8538"/>
                  </a:lnTo>
                  <a:lnTo>
                    <a:pt x="7585" y="8335"/>
                  </a:lnTo>
                  <a:cubicBezTo>
                    <a:pt x="7621" y="8312"/>
                    <a:pt x="7644" y="8264"/>
                    <a:pt x="7656" y="8216"/>
                  </a:cubicBezTo>
                  <a:cubicBezTo>
                    <a:pt x="7668" y="8181"/>
                    <a:pt x="7656" y="8133"/>
                    <a:pt x="7621" y="8085"/>
                  </a:cubicBezTo>
                  <a:lnTo>
                    <a:pt x="7037" y="7359"/>
                  </a:lnTo>
                  <a:lnTo>
                    <a:pt x="7573" y="7085"/>
                  </a:lnTo>
                  <a:cubicBezTo>
                    <a:pt x="7668" y="7049"/>
                    <a:pt x="7692" y="6942"/>
                    <a:pt x="7656" y="6871"/>
                  </a:cubicBezTo>
                  <a:cubicBezTo>
                    <a:pt x="7144" y="5859"/>
                    <a:pt x="7132" y="4811"/>
                    <a:pt x="7132" y="4799"/>
                  </a:cubicBezTo>
                  <a:lnTo>
                    <a:pt x="7132" y="3299"/>
                  </a:lnTo>
                  <a:cubicBezTo>
                    <a:pt x="7180" y="3311"/>
                    <a:pt x="7204" y="3323"/>
                    <a:pt x="7251" y="3359"/>
                  </a:cubicBezTo>
                  <a:cubicBezTo>
                    <a:pt x="7275" y="3370"/>
                    <a:pt x="7299" y="3370"/>
                    <a:pt x="7323" y="3370"/>
                  </a:cubicBezTo>
                  <a:cubicBezTo>
                    <a:pt x="7382" y="3370"/>
                    <a:pt x="7442" y="3335"/>
                    <a:pt x="7478" y="3263"/>
                  </a:cubicBezTo>
                  <a:cubicBezTo>
                    <a:pt x="7513" y="3180"/>
                    <a:pt x="7478" y="3085"/>
                    <a:pt x="7382" y="3037"/>
                  </a:cubicBezTo>
                  <a:cubicBezTo>
                    <a:pt x="7299" y="3001"/>
                    <a:pt x="7216" y="2966"/>
                    <a:pt x="7121" y="2942"/>
                  </a:cubicBezTo>
                  <a:cubicBezTo>
                    <a:pt x="7073" y="1525"/>
                    <a:pt x="6001" y="358"/>
                    <a:pt x="4620" y="203"/>
                  </a:cubicBezTo>
                  <a:lnTo>
                    <a:pt x="4620" y="168"/>
                  </a:lnTo>
                  <a:cubicBezTo>
                    <a:pt x="4620" y="84"/>
                    <a:pt x="4537" y="1"/>
                    <a:pt x="44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6" name="Google Shape;11806;p61"/>
            <p:cNvSpPr/>
            <p:nvPr/>
          </p:nvSpPr>
          <p:spPr>
            <a:xfrm>
              <a:off x="6339728" y="2977294"/>
              <a:ext cx="21542" cy="10581"/>
            </a:xfrm>
            <a:custGeom>
              <a:avLst/>
              <a:gdLst/>
              <a:ahLst/>
              <a:cxnLst/>
              <a:rect l="l" t="t" r="r" b="b"/>
              <a:pathLst>
                <a:path w="680" h="334" extrusionOk="0">
                  <a:moveTo>
                    <a:pt x="156" y="0"/>
                  </a:moveTo>
                  <a:cubicBezTo>
                    <a:pt x="72" y="0"/>
                    <a:pt x="1" y="72"/>
                    <a:pt x="1" y="167"/>
                  </a:cubicBezTo>
                  <a:cubicBezTo>
                    <a:pt x="1" y="262"/>
                    <a:pt x="72" y="334"/>
                    <a:pt x="156" y="334"/>
                  </a:cubicBezTo>
                  <a:lnTo>
                    <a:pt x="513" y="334"/>
                  </a:lnTo>
                  <a:cubicBezTo>
                    <a:pt x="608" y="334"/>
                    <a:pt x="680" y="262"/>
                    <a:pt x="680" y="167"/>
                  </a:cubicBez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7" name="Google Shape;11807;p61"/>
            <p:cNvSpPr/>
            <p:nvPr/>
          </p:nvSpPr>
          <p:spPr>
            <a:xfrm>
              <a:off x="6353319" y="3025194"/>
              <a:ext cx="61903" cy="32852"/>
            </a:xfrm>
            <a:custGeom>
              <a:avLst/>
              <a:gdLst/>
              <a:ahLst/>
              <a:cxnLst/>
              <a:rect l="l" t="t" r="r" b="b"/>
              <a:pathLst>
                <a:path w="1954" h="1037" extrusionOk="0">
                  <a:moveTo>
                    <a:pt x="1560" y="322"/>
                  </a:moveTo>
                  <a:cubicBezTo>
                    <a:pt x="1501" y="560"/>
                    <a:pt x="1251" y="715"/>
                    <a:pt x="965" y="715"/>
                  </a:cubicBezTo>
                  <a:cubicBezTo>
                    <a:pt x="679" y="715"/>
                    <a:pt x="441" y="548"/>
                    <a:pt x="358" y="322"/>
                  </a:cubicBezTo>
                  <a:close/>
                  <a:moveTo>
                    <a:pt x="167" y="0"/>
                  </a:moveTo>
                  <a:cubicBezTo>
                    <a:pt x="72" y="0"/>
                    <a:pt x="1" y="72"/>
                    <a:pt x="1" y="155"/>
                  </a:cubicBezTo>
                  <a:cubicBezTo>
                    <a:pt x="1" y="655"/>
                    <a:pt x="429" y="1036"/>
                    <a:pt x="965" y="1036"/>
                  </a:cubicBezTo>
                  <a:cubicBezTo>
                    <a:pt x="1501" y="1036"/>
                    <a:pt x="1929" y="631"/>
                    <a:pt x="1929" y="155"/>
                  </a:cubicBezTo>
                  <a:cubicBezTo>
                    <a:pt x="1953" y="72"/>
                    <a:pt x="1870" y="0"/>
                    <a:pt x="1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08" name="Google Shape;11808;p61"/>
          <p:cNvGrpSpPr/>
          <p:nvPr/>
        </p:nvGrpSpPr>
        <p:grpSpPr>
          <a:xfrm>
            <a:off x="3075928" y="2445798"/>
            <a:ext cx="363243" cy="300675"/>
            <a:chOff x="3075928" y="2445798"/>
            <a:chExt cx="363243" cy="300675"/>
          </a:xfrm>
        </p:grpSpPr>
        <p:sp>
          <p:nvSpPr>
            <p:cNvPr id="11809" name="Google Shape;11809;p61"/>
            <p:cNvSpPr/>
            <p:nvPr/>
          </p:nvSpPr>
          <p:spPr>
            <a:xfrm>
              <a:off x="3227168" y="2675542"/>
              <a:ext cx="37002" cy="10581"/>
            </a:xfrm>
            <a:custGeom>
              <a:avLst/>
              <a:gdLst/>
              <a:ahLst/>
              <a:cxnLst/>
              <a:rect l="l" t="t" r="r" b="b"/>
              <a:pathLst>
                <a:path w="1168" h="334" extrusionOk="0">
                  <a:moveTo>
                    <a:pt x="167" y="0"/>
                  </a:moveTo>
                  <a:cubicBezTo>
                    <a:pt x="84" y="0"/>
                    <a:pt x="1" y="72"/>
                    <a:pt x="1" y="167"/>
                  </a:cubicBezTo>
                  <a:cubicBezTo>
                    <a:pt x="1" y="262"/>
                    <a:pt x="84" y="334"/>
                    <a:pt x="167" y="334"/>
                  </a:cubicBezTo>
                  <a:lnTo>
                    <a:pt x="1001" y="334"/>
                  </a:lnTo>
                  <a:cubicBezTo>
                    <a:pt x="1096" y="334"/>
                    <a:pt x="1167" y="262"/>
                    <a:pt x="1167" y="167"/>
                  </a:cubicBezTo>
                  <a:cubicBezTo>
                    <a:pt x="1167" y="72"/>
                    <a:pt x="1096"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0" name="Google Shape;11810;p61"/>
            <p:cNvSpPr/>
            <p:nvPr/>
          </p:nvSpPr>
          <p:spPr>
            <a:xfrm>
              <a:off x="3075928" y="2445798"/>
              <a:ext cx="363243" cy="300675"/>
            </a:xfrm>
            <a:custGeom>
              <a:avLst/>
              <a:gdLst/>
              <a:ahLst/>
              <a:cxnLst/>
              <a:rect l="l" t="t" r="r" b="b"/>
              <a:pathLst>
                <a:path w="11466" h="9491" extrusionOk="0">
                  <a:moveTo>
                    <a:pt x="7299" y="2787"/>
                  </a:moveTo>
                  <a:cubicBezTo>
                    <a:pt x="7322" y="2895"/>
                    <a:pt x="7370" y="3002"/>
                    <a:pt x="7418" y="3085"/>
                  </a:cubicBezTo>
                  <a:lnTo>
                    <a:pt x="1548" y="3085"/>
                  </a:lnTo>
                  <a:lnTo>
                    <a:pt x="1548" y="2787"/>
                  </a:lnTo>
                  <a:close/>
                  <a:moveTo>
                    <a:pt x="8323" y="4121"/>
                  </a:moveTo>
                  <a:lnTo>
                    <a:pt x="8323" y="6026"/>
                  </a:lnTo>
                  <a:lnTo>
                    <a:pt x="6418" y="6026"/>
                  </a:lnTo>
                  <a:lnTo>
                    <a:pt x="6418" y="4121"/>
                  </a:lnTo>
                  <a:close/>
                  <a:moveTo>
                    <a:pt x="6370" y="8467"/>
                  </a:moveTo>
                  <a:lnTo>
                    <a:pt x="6477" y="8550"/>
                  </a:lnTo>
                  <a:lnTo>
                    <a:pt x="4227" y="8550"/>
                  </a:lnTo>
                  <a:lnTo>
                    <a:pt x="4334" y="8467"/>
                  </a:lnTo>
                  <a:close/>
                  <a:moveTo>
                    <a:pt x="9835" y="8050"/>
                  </a:moveTo>
                  <a:lnTo>
                    <a:pt x="10216" y="8550"/>
                  </a:lnTo>
                  <a:lnTo>
                    <a:pt x="7037" y="8550"/>
                  </a:lnTo>
                  <a:lnTo>
                    <a:pt x="6549" y="8169"/>
                  </a:lnTo>
                  <a:cubicBezTo>
                    <a:pt x="6525" y="8133"/>
                    <a:pt x="6489" y="8133"/>
                    <a:pt x="6441" y="8133"/>
                  </a:cubicBezTo>
                  <a:lnTo>
                    <a:pt x="4286" y="8133"/>
                  </a:lnTo>
                  <a:cubicBezTo>
                    <a:pt x="4239" y="8133"/>
                    <a:pt x="4215" y="8145"/>
                    <a:pt x="4179" y="8169"/>
                  </a:cubicBezTo>
                  <a:lnTo>
                    <a:pt x="3691" y="8550"/>
                  </a:lnTo>
                  <a:lnTo>
                    <a:pt x="524" y="8550"/>
                  </a:lnTo>
                  <a:lnTo>
                    <a:pt x="893" y="8050"/>
                  </a:lnTo>
                  <a:close/>
                  <a:moveTo>
                    <a:pt x="9578" y="0"/>
                  </a:moveTo>
                  <a:cubicBezTo>
                    <a:pt x="9500" y="0"/>
                    <a:pt x="9417" y="68"/>
                    <a:pt x="9406" y="156"/>
                  </a:cubicBezTo>
                  <a:cubicBezTo>
                    <a:pt x="9394" y="240"/>
                    <a:pt x="9466" y="335"/>
                    <a:pt x="9561" y="347"/>
                  </a:cubicBezTo>
                  <a:cubicBezTo>
                    <a:pt x="10454" y="466"/>
                    <a:pt x="11121" y="1228"/>
                    <a:pt x="11121" y="2133"/>
                  </a:cubicBezTo>
                  <a:cubicBezTo>
                    <a:pt x="11121" y="3133"/>
                    <a:pt x="10311" y="3930"/>
                    <a:pt x="9323" y="3930"/>
                  </a:cubicBezTo>
                  <a:cubicBezTo>
                    <a:pt x="8323" y="3930"/>
                    <a:pt x="7513" y="3133"/>
                    <a:pt x="7513" y="2133"/>
                  </a:cubicBezTo>
                  <a:cubicBezTo>
                    <a:pt x="7513" y="1287"/>
                    <a:pt x="8108" y="561"/>
                    <a:pt x="8930" y="382"/>
                  </a:cubicBezTo>
                  <a:cubicBezTo>
                    <a:pt x="9025" y="359"/>
                    <a:pt x="9085" y="275"/>
                    <a:pt x="9061" y="180"/>
                  </a:cubicBezTo>
                  <a:cubicBezTo>
                    <a:pt x="9050" y="104"/>
                    <a:pt x="8969" y="48"/>
                    <a:pt x="8892" y="48"/>
                  </a:cubicBezTo>
                  <a:cubicBezTo>
                    <a:pt x="8885" y="48"/>
                    <a:pt x="8877" y="48"/>
                    <a:pt x="8870" y="49"/>
                  </a:cubicBezTo>
                  <a:cubicBezTo>
                    <a:pt x="8394" y="156"/>
                    <a:pt x="7977" y="406"/>
                    <a:pt x="7668" y="775"/>
                  </a:cubicBezTo>
                  <a:cubicBezTo>
                    <a:pt x="7406" y="1097"/>
                    <a:pt x="7251" y="1466"/>
                    <a:pt x="7203" y="1859"/>
                  </a:cubicBezTo>
                  <a:lnTo>
                    <a:pt x="5513" y="1859"/>
                  </a:lnTo>
                  <a:cubicBezTo>
                    <a:pt x="5417" y="1859"/>
                    <a:pt x="5346" y="1930"/>
                    <a:pt x="5346" y="2014"/>
                  </a:cubicBezTo>
                  <a:cubicBezTo>
                    <a:pt x="5346" y="2109"/>
                    <a:pt x="5417" y="2180"/>
                    <a:pt x="5513" y="2180"/>
                  </a:cubicBezTo>
                  <a:lnTo>
                    <a:pt x="7191" y="2180"/>
                  </a:lnTo>
                  <a:cubicBezTo>
                    <a:pt x="7191" y="2275"/>
                    <a:pt x="7203" y="2359"/>
                    <a:pt x="7215" y="2454"/>
                  </a:cubicBezTo>
                  <a:lnTo>
                    <a:pt x="1381" y="2454"/>
                  </a:lnTo>
                  <a:cubicBezTo>
                    <a:pt x="1298" y="2454"/>
                    <a:pt x="1215" y="2526"/>
                    <a:pt x="1215" y="2609"/>
                  </a:cubicBezTo>
                  <a:lnTo>
                    <a:pt x="1215" y="3240"/>
                  </a:lnTo>
                  <a:lnTo>
                    <a:pt x="1215" y="6955"/>
                  </a:lnTo>
                  <a:cubicBezTo>
                    <a:pt x="1215" y="7050"/>
                    <a:pt x="1298" y="7121"/>
                    <a:pt x="1381" y="7121"/>
                  </a:cubicBezTo>
                  <a:lnTo>
                    <a:pt x="7275" y="7121"/>
                  </a:lnTo>
                  <a:cubicBezTo>
                    <a:pt x="7370" y="7121"/>
                    <a:pt x="7442" y="7050"/>
                    <a:pt x="7442" y="6955"/>
                  </a:cubicBezTo>
                  <a:cubicBezTo>
                    <a:pt x="7442" y="6871"/>
                    <a:pt x="7370" y="6800"/>
                    <a:pt x="7275" y="6800"/>
                  </a:cubicBezTo>
                  <a:lnTo>
                    <a:pt x="1560" y="6800"/>
                  </a:lnTo>
                  <a:lnTo>
                    <a:pt x="1560" y="3418"/>
                  </a:lnTo>
                  <a:lnTo>
                    <a:pt x="7656" y="3418"/>
                  </a:lnTo>
                  <a:cubicBezTo>
                    <a:pt x="7751" y="3549"/>
                    <a:pt x="7858" y="3669"/>
                    <a:pt x="7989" y="3776"/>
                  </a:cubicBezTo>
                  <a:lnTo>
                    <a:pt x="6263" y="3776"/>
                  </a:lnTo>
                  <a:cubicBezTo>
                    <a:pt x="6179" y="3776"/>
                    <a:pt x="6096" y="3847"/>
                    <a:pt x="6096" y="3942"/>
                  </a:cubicBezTo>
                  <a:lnTo>
                    <a:pt x="6096" y="6181"/>
                  </a:lnTo>
                  <a:cubicBezTo>
                    <a:pt x="6096" y="6276"/>
                    <a:pt x="6179" y="6347"/>
                    <a:pt x="6263" y="6347"/>
                  </a:cubicBezTo>
                  <a:lnTo>
                    <a:pt x="8513" y="6347"/>
                  </a:lnTo>
                  <a:cubicBezTo>
                    <a:pt x="8596" y="6347"/>
                    <a:pt x="8680" y="6276"/>
                    <a:pt x="8680" y="6181"/>
                  </a:cubicBezTo>
                  <a:lnTo>
                    <a:pt x="8680" y="4145"/>
                  </a:lnTo>
                  <a:cubicBezTo>
                    <a:pt x="8846" y="4192"/>
                    <a:pt x="9001" y="4240"/>
                    <a:pt x="9168" y="4252"/>
                  </a:cubicBezTo>
                  <a:lnTo>
                    <a:pt x="9168" y="6800"/>
                  </a:lnTo>
                  <a:lnTo>
                    <a:pt x="8096" y="6800"/>
                  </a:lnTo>
                  <a:cubicBezTo>
                    <a:pt x="8001" y="6800"/>
                    <a:pt x="7930" y="6871"/>
                    <a:pt x="7930" y="6955"/>
                  </a:cubicBezTo>
                  <a:cubicBezTo>
                    <a:pt x="7930" y="7050"/>
                    <a:pt x="8001" y="7121"/>
                    <a:pt x="8096" y="7121"/>
                  </a:cubicBezTo>
                  <a:lnTo>
                    <a:pt x="9335" y="7121"/>
                  </a:lnTo>
                  <a:cubicBezTo>
                    <a:pt x="9418" y="7121"/>
                    <a:pt x="9489" y="7050"/>
                    <a:pt x="9489" y="6955"/>
                  </a:cubicBezTo>
                  <a:lnTo>
                    <a:pt x="9489" y="4240"/>
                  </a:lnTo>
                  <a:cubicBezTo>
                    <a:pt x="9585" y="4240"/>
                    <a:pt x="9656" y="4216"/>
                    <a:pt x="9751" y="4204"/>
                  </a:cubicBezTo>
                  <a:lnTo>
                    <a:pt x="9751" y="7705"/>
                  </a:lnTo>
                  <a:lnTo>
                    <a:pt x="965" y="7705"/>
                  </a:lnTo>
                  <a:lnTo>
                    <a:pt x="965" y="2168"/>
                  </a:lnTo>
                  <a:lnTo>
                    <a:pt x="4846" y="2168"/>
                  </a:lnTo>
                  <a:cubicBezTo>
                    <a:pt x="4941" y="2168"/>
                    <a:pt x="5013" y="2097"/>
                    <a:pt x="5013" y="2002"/>
                  </a:cubicBezTo>
                  <a:cubicBezTo>
                    <a:pt x="5013" y="1918"/>
                    <a:pt x="4941" y="1835"/>
                    <a:pt x="4846" y="1835"/>
                  </a:cubicBezTo>
                  <a:lnTo>
                    <a:pt x="786" y="1835"/>
                  </a:lnTo>
                  <a:cubicBezTo>
                    <a:pt x="703" y="1835"/>
                    <a:pt x="619" y="1918"/>
                    <a:pt x="619" y="2002"/>
                  </a:cubicBezTo>
                  <a:lnTo>
                    <a:pt x="619" y="7812"/>
                  </a:lnTo>
                  <a:lnTo>
                    <a:pt x="24" y="8598"/>
                  </a:lnTo>
                  <a:cubicBezTo>
                    <a:pt x="12" y="8622"/>
                    <a:pt x="0" y="8657"/>
                    <a:pt x="0" y="8705"/>
                  </a:cubicBezTo>
                  <a:lnTo>
                    <a:pt x="0" y="9324"/>
                  </a:lnTo>
                  <a:cubicBezTo>
                    <a:pt x="0" y="9419"/>
                    <a:pt x="72" y="9491"/>
                    <a:pt x="167" y="9491"/>
                  </a:cubicBezTo>
                  <a:lnTo>
                    <a:pt x="7930" y="9491"/>
                  </a:lnTo>
                  <a:cubicBezTo>
                    <a:pt x="8025" y="9491"/>
                    <a:pt x="8096" y="9419"/>
                    <a:pt x="8096" y="9324"/>
                  </a:cubicBezTo>
                  <a:cubicBezTo>
                    <a:pt x="8096" y="9241"/>
                    <a:pt x="8025" y="9157"/>
                    <a:pt x="7930" y="9157"/>
                  </a:cubicBezTo>
                  <a:lnTo>
                    <a:pt x="322" y="9157"/>
                  </a:lnTo>
                  <a:lnTo>
                    <a:pt x="322" y="8883"/>
                  </a:lnTo>
                  <a:lnTo>
                    <a:pt x="10359" y="8883"/>
                  </a:lnTo>
                  <a:lnTo>
                    <a:pt x="10359" y="9157"/>
                  </a:lnTo>
                  <a:lnTo>
                    <a:pt x="8585" y="9157"/>
                  </a:lnTo>
                  <a:cubicBezTo>
                    <a:pt x="8501" y="9157"/>
                    <a:pt x="8418" y="9241"/>
                    <a:pt x="8418" y="9324"/>
                  </a:cubicBezTo>
                  <a:cubicBezTo>
                    <a:pt x="8418" y="9419"/>
                    <a:pt x="8501" y="9491"/>
                    <a:pt x="8585" y="9491"/>
                  </a:cubicBezTo>
                  <a:lnTo>
                    <a:pt x="10525" y="9491"/>
                  </a:lnTo>
                  <a:cubicBezTo>
                    <a:pt x="10609" y="9491"/>
                    <a:pt x="10680" y="9419"/>
                    <a:pt x="10680" y="9324"/>
                  </a:cubicBezTo>
                  <a:lnTo>
                    <a:pt x="10680" y="8705"/>
                  </a:lnTo>
                  <a:cubicBezTo>
                    <a:pt x="10680" y="8669"/>
                    <a:pt x="10668" y="8622"/>
                    <a:pt x="10656" y="8598"/>
                  </a:cubicBezTo>
                  <a:lnTo>
                    <a:pt x="10061" y="7812"/>
                  </a:lnTo>
                  <a:lnTo>
                    <a:pt x="10061" y="4097"/>
                  </a:lnTo>
                  <a:cubicBezTo>
                    <a:pt x="10894" y="3823"/>
                    <a:pt x="11466" y="3049"/>
                    <a:pt x="11466" y="2121"/>
                  </a:cubicBezTo>
                  <a:cubicBezTo>
                    <a:pt x="11466" y="1049"/>
                    <a:pt x="10656" y="144"/>
                    <a:pt x="9597" y="1"/>
                  </a:cubicBezTo>
                  <a:cubicBezTo>
                    <a:pt x="9590" y="1"/>
                    <a:pt x="9584" y="0"/>
                    <a:pt x="95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1" name="Google Shape;11811;p61"/>
            <p:cNvSpPr/>
            <p:nvPr/>
          </p:nvSpPr>
          <p:spPr>
            <a:xfrm>
              <a:off x="3141537" y="2565390"/>
              <a:ext cx="37763" cy="37382"/>
            </a:xfrm>
            <a:custGeom>
              <a:avLst/>
              <a:gdLst/>
              <a:ahLst/>
              <a:cxnLst/>
              <a:rect l="l" t="t" r="r" b="b"/>
              <a:pathLst>
                <a:path w="1192" h="1180" extrusionOk="0">
                  <a:moveTo>
                    <a:pt x="846" y="322"/>
                  </a:moveTo>
                  <a:lnTo>
                    <a:pt x="846" y="834"/>
                  </a:lnTo>
                  <a:lnTo>
                    <a:pt x="346" y="834"/>
                  </a:lnTo>
                  <a:lnTo>
                    <a:pt x="346" y="322"/>
                  </a:lnTo>
                  <a:close/>
                  <a:moveTo>
                    <a:pt x="156" y="1"/>
                  </a:moveTo>
                  <a:cubicBezTo>
                    <a:pt x="72" y="1"/>
                    <a:pt x="1" y="72"/>
                    <a:pt x="1" y="167"/>
                  </a:cubicBezTo>
                  <a:lnTo>
                    <a:pt x="1" y="1013"/>
                  </a:lnTo>
                  <a:cubicBezTo>
                    <a:pt x="1" y="1096"/>
                    <a:pt x="72" y="1179"/>
                    <a:pt x="156" y="1179"/>
                  </a:cubicBezTo>
                  <a:lnTo>
                    <a:pt x="1013" y="1179"/>
                  </a:lnTo>
                  <a:cubicBezTo>
                    <a:pt x="1096" y="1179"/>
                    <a:pt x="1180" y="1096"/>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2" name="Google Shape;11812;p61"/>
            <p:cNvSpPr/>
            <p:nvPr/>
          </p:nvSpPr>
          <p:spPr>
            <a:xfrm>
              <a:off x="3185287" y="2565390"/>
              <a:ext cx="73593" cy="10233"/>
            </a:xfrm>
            <a:custGeom>
              <a:avLst/>
              <a:gdLst/>
              <a:ahLst/>
              <a:cxnLst/>
              <a:rect l="l" t="t" r="r" b="b"/>
              <a:pathLst>
                <a:path w="2323" h="323" extrusionOk="0">
                  <a:moveTo>
                    <a:pt x="168" y="1"/>
                  </a:moveTo>
                  <a:cubicBezTo>
                    <a:pt x="72" y="1"/>
                    <a:pt x="1" y="72"/>
                    <a:pt x="1" y="167"/>
                  </a:cubicBezTo>
                  <a:cubicBezTo>
                    <a:pt x="1" y="251"/>
                    <a:pt x="72" y="322"/>
                    <a:pt x="168" y="322"/>
                  </a:cubicBezTo>
                  <a:lnTo>
                    <a:pt x="2144" y="322"/>
                  </a:lnTo>
                  <a:cubicBezTo>
                    <a:pt x="2239" y="322"/>
                    <a:pt x="2311" y="251"/>
                    <a:pt x="2311" y="167"/>
                  </a:cubicBezTo>
                  <a:cubicBezTo>
                    <a:pt x="2323"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3" name="Google Shape;11813;p61"/>
            <p:cNvSpPr/>
            <p:nvPr/>
          </p:nvSpPr>
          <p:spPr>
            <a:xfrm>
              <a:off x="3185287" y="2578601"/>
              <a:ext cx="73593" cy="10201"/>
            </a:xfrm>
            <a:custGeom>
              <a:avLst/>
              <a:gdLst/>
              <a:ahLst/>
              <a:cxnLst/>
              <a:rect l="l" t="t" r="r" b="b"/>
              <a:pathLst>
                <a:path w="2323"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23"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4" name="Google Shape;11814;p61"/>
            <p:cNvSpPr/>
            <p:nvPr/>
          </p:nvSpPr>
          <p:spPr>
            <a:xfrm>
              <a:off x="3185287" y="2591811"/>
              <a:ext cx="73212" cy="10201"/>
            </a:xfrm>
            <a:custGeom>
              <a:avLst/>
              <a:gdLst/>
              <a:ahLst/>
              <a:cxnLst/>
              <a:rect l="l" t="t" r="r" b="b"/>
              <a:pathLst>
                <a:path w="2311" h="322" extrusionOk="0">
                  <a:moveTo>
                    <a:pt x="168" y="0"/>
                  </a:moveTo>
                  <a:cubicBezTo>
                    <a:pt x="72" y="0"/>
                    <a:pt x="1" y="72"/>
                    <a:pt x="1" y="167"/>
                  </a:cubicBezTo>
                  <a:cubicBezTo>
                    <a:pt x="1" y="250"/>
                    <a:pt x="72" y="322"/>
                    <a:pt x="168" y="322"/>
                  </a:cubicBezTo>
                  <a:lnTo>
                    <a:pt x="2144" y="322"/>
                  </a:lnTo>
                  <a:cubicBezTo>
                    <a:pt x="2239" y="322"/>
                    <a:pt x="2311" y="250"/>
                    <a:pt x="2311" y="167"/>
                  </a:cubicBezTo>
                  <a:cubicBezTo>
                    <a:pt x="2311" y="72"/>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5" name="Google Shape;11815;p61"/>
            <p:cNvSpPr/>
            <p:nvPr/>
          </p:nvSpPr>
          <p:spPr>
            <a:xfrm>
              <a:off x="3141537" y="2609520"/>
              <a:ext cx="37763" cy="37382"/>
            </a:xfrm>
            <a:custGeom>
              <a:avLst/>
              <a:gdLst/>
              <a:ahLst/>
              <a:cxnLst/>
              <a:rect l="l" t="t" r="r" b="b"/>
              <a:pathLst>
                <a:path w="1192" h="1180" extrusionOk="0">
                  <a:moveTo>
                    <a:pt x="846" y="346"/>
                  </a:moveTo>
                  <a:lnTo>
                    <a:pt x="846" y="858"/>
                  </a:lnTo>
                  <a:lnTo>
                    <a:pt x="346" y="858"/>
                  </a:lnTo>
                  <a:lnTo>
                    <a:pt x="346" y="346"/>
                  </a:lnTo>
                  <a:close/>
                  <a:moveTo>
                    <a:pt x="156" y="1"/>
                  </a:moveTo>
                  <a:cubicBezTo>
                    <a:pt x="72" y="1"/>
                    <a:pt x="1" y="72"/>
                    <a:pt x="1" y="167"/>
                  </a:cubicBezTo>
                  <a:lnTo>
                    <a:pt x="1" y="1013"/>
                  </a:lnTo>
                  <a:cubicBezTo>
                    <a:pt x="1" y="1108"/>
                    <a:pt x="72" y="1179"/>
                    <a:pt x="156" y="1179"/>
                  </a:cubicBezTo>
                  <a:lnTo>
                    <a:pt x="1013" y="1179"/>
                  </a:lnTo>
                  <a:cubicBezTo>
                    <a:pt x="1096" y="1179"/>
                    <a:pt x="1180" y="1108"/>
                    <a:pt x="1180" y="1013"/>
                  </a:cubicBezTo>
                  <a:lnTo>
                    <a:pt x="1180" y="167"/>
                  </a:lnTo>
                  <a:cubicBezTo>
                    <a:pt x="1191" y="72"/>
                    <a:pt x="1096"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6" name="Google Shape;11816;p61"/>
            <p:cNvSpPr/>
            <p:nvPr/>
          </p:nvSpPr>
          <p:spPr>
            <a:xfrm>
              <a:off x="3185287" y="2609520"/>
              <a:ext cx="73212" cy="10613"/>
            </a:xfrm>
            <a:custGeom>
              <a:avLst/>
              <a:gdLst/>
              <a:ahLst/>
              <a:cxnLst/>
              <a:rect l="l" t="t" r="r" b="b"/>
              <a:pathLst>
                <a:path w="2311" h="335" extrusionOk="0">
                  <a:moveTo>
                    <a:pt x="168" y="1"/>
                  </a:moveTo>
                  <a:cubicBezTo>
                    <a:pt x="72" y="1"/>
                    <a:pt x="1" y="72"/>
                    <a:pt x="1" y="167"/>
                  </a:cubicBezTo>
                  <a:cubicBezTo>
                    <a:pt x="1" y="263"/>
                    <a:pt x="72" y="334"/>
                    <a:pt x="168" y="334"/>
                  </a:cubicBezTo>
                  <a:lnTo>
                    <a:pt x="2144" y="334"/>
                  </a:lnTo>
                  <a:cubicBezTo>
                    <a:pt x="2239" y="334"/>
                    <a:pt x="2311" y="263"/>
                    <a:pt x="2311" y="167"/>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7" name="Google Shape;11817;p61"/>
            <p:cNvSpPr/>
            <p:nvPr/>
          </p:nvSpPr>
          <p:spPr>
            <a:xfrm>
              <a:off x="3185287" y="2622731"/>
              <a:ext cx="73212" cy="10581"/>
            </a:xfrm>
            <a:custGeom>
              <a:avLst/>
              <a:gdLst/>
              <a:ahLst/>
              <a:cxnLst/>
              <a:rect l="l" t="t" r="r" b="b"/>
              <a:pathLst>
                <a:path w="2311" h="334" extrusionOk="0">
                  <a:moveTo>
                    <a:pt x="168" y="0"/>
                  </a:moveTo>
                  <a:cubicBezTo>
                    <a:pt x="72" y="0"/>
                    <a:pt x="1" y="84"/>
                    <a:pt x="1" y="167"/>
                  </a:cubicBezTo>
                  <a:cubicBezTo>
                    <a:pt x="1" y="262"/>
                    <a:pt x="72" y="334"/>
                    <a:pt x="168" y="334"/>
                  </a:cubicBezTo>
                  <a:lnTo>
                    <a:pt x="2144" y="334"/>
                  </a:lnTo>
                  <a:cubicBezTo>
                    <a:pt x="2239" y="334"/>
                    <a:pt x="2311" y="262"/>
                    <a:pt x="2311" y="167"/>
                  </a:cubicBezTo>
                  <a:cubicBezTo>
                    <a:pt x="2311" y="84"/>
                    <a:pt x="2251" y="0"/>
                    <a:pt x="21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8" name="Google Shape;11818;p61"/>
            <p:cNvSpPr/>
            <p:nvPr/>
          </p:nvSpPr>
          <p:spPr>
            <a:xfrm>
              <a:off x="3185287" y="2636670"/>
              <a:ext cx="73212" cy="10233"/>
            </a:xfrm>
            <a:custGeom>
              <a:avLst/>
              <a:gdLst/>
              <a:ahLst/>
              <a:cxnLst/>
              <a:rect l="l" t="t" r="r" b="b"/>
              <a:pathLst>
                <a:path w="2311" h="323" extrusionOk="0">
                  <a:moveTo>
                    <a:pt x="168" y="1"/>
                  </a:moveTo>
                  <a:cubicBezTo>
                    <a:pt x="72" y="1"/>
                    <a:pt x="1" y="72"/>
                    <a:pt x="1" y="156"/>
                  </a:cubicBezTo>
                  <a:cubicBezTo>
                    <a:pt x="1" y="251"/>
                    <a:pt x="72" y="322"/>
                    <a:pt x="168" y="322"/>
                  </a:cubicBezTo>
                  <a:lnTo>
                    <a:pt x="2144" y="322"/>
                  </a:lnTo>
                  <a:cubicBezTo>
                    <a:pt x="2239" y="322"/>
                    <a:pt x="2311" y="251"/>
                    <a:pt x="2311" y="156"/>
                  </a:cubicBezTo>
                  <a:cubicBezTo>
                    <a:pt x="2311" y="72"/>
                    <a:pt x="2251" y="1"/>
                    <a:pt x="2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9" name="Google Shape;11819;p61"/>
            <p:cNvSpPr/>
            <p:nvPr/>
          </p:nvSpPr>
          <p:spPr>
            <a:xfrm>
              <a:off x="3330509" y="2471839"/>
              <a:ext cx="82653" cy="82653"/>
            </a:xfrm>
            <a:custGeom>
              <a:avLst/>
              <a:gdLst/>
              <a:ahLst/>
              <a:cxnLst/>
              <a:rect l="l" t="t" r="r" b="b"/>
              <a:pathLst>
                <a:path w="2609" h="2609" extrusionOk="0">
                  <a:moveTo>
                    <a:pt x="346" y="1287"/>
                  </a:moveTo>
                  <a:lnTo>
                    <a:pt x="429" y="1323"/>
                  </a:lnTo>
                  <a:cubicBezTo>
                    <a:pt x="668" y="1418"/>
                    <a:pt x="727" y="1501"/>
                    <a:pt x="727" y="1549"/>
                  </a:cubicBezTo>
                  <a:cubicBezTo>
                    <a:pt x="727" y="1573"/>
                    <a:pt x="668" y="1656"/>
                    <a:pt x="465" y="1775"/>
                  </a:cubicBezTo>
                  <a:cubicBezTo>
                    <a:pt x="394" y="1644"/>
                    <a:pt x="346" y="1489"/>
                    <a:pt x="346" y="1334"/>
                  </a:cubicBezTo>
                  <a:lnTo>
                    <a:pt x="346" y="1311"/>
                  </a:lnTo>
                  <a:lnTo>
                    <a:pt x="346" y="1287"/>
                  </a:lnTo>
                  <a:close/>
                  <a:moveTo>
                    <a:pt x="1203" y="346"/>
                  </a:moveTo>
                  <a:cubicBezTo>
                    <a:pt x="1191" y="358"/>
                    <a:pt x="1180" y="394"/>
                    <a:pt x="1168" y="406"/>
                  </a:cubicBezTo>
                  <a:cubicBezTo>
                    <a:pt x="1025" y="632"/>
                    <a:pt x="1108" y="799"/>
                    <a:pt x="1168" y="882"/>
                  </a:cubicBezTo>
                  <a:cubicBezTo>
                    <a:pt x="1311" y="1096"/>
                    <a:pt x="1525" y="1132"/>
                    <a:pt x="1668" y="1168"/>
                  </a:cubicBezTo>
                  <a:cubicBezTo>
                    <a:pt x="1846" y="1203"/>
                    <a:pt x="1858" y="1203"/>
                    <a:pt x="1882" y="1334"/>
                  </a:cubicBezTo>
                  <a:cubicBezTo>
                    <a:pt x="1882" y="1430"/>
                    <a:pt x="1703" y="1549"/>
                    <a:pt x="1525" y="1656"/>
                  </a:cubicBezTo>
                  <a:cubicBezTo>
                    <a:pt x="1299" y="1787"/>
                    <a:pt x="1049" y="1954"/>
                    <a:pt x="953" y="2192"/>
                  </a:cubicBezTo>
                  <a:cubicBezTo>
                    <a:pt x="870" y="2156"/>
                    <a:pt x="787" y="2120"/>
                    <a:pt x="715" y="2061"/>
                  </a:cubicBezTo>
                  <a:cubicBezTo>
                    <a:pt x="703" y="2037"/>
                    <a:pt x="691" y="2025"/>
                    <a:pt x="668" y="2025"/>
                  </a:cubicBezTo>
                  <a:cubicBezTo>
                    <a:pt x="941" y="1882"/>
                    <a:pt x="1060" y="1704"/>
                    <a:pt x="1060" y="1525"/>
                  </a:cubicBezTo>
                  <a:cubicBezTo>
                    <a:pt x="1060" y="1370"/>
                    <a:pt x="965" y="1168"/>
                    <a:pt x="549" y="1001"/>
                  </a:cubicBezTo>
                  <a:cubicBezTo>
                    <a:pt x="513" y="989"/>
                    <a:pt x="453" y="953"/>
                    <a:pt x="418" y="930"/>
                  </a:cubicBezTo>
                  <a:cubicBezTo>
                    <a:pt x="549" y="596"/>
                    <a:pt x="870" y="394"/>
                    <a:pt x="1203" y="346"/>
                  </a:cubicBezTo>
                  <a:close/>
                  <a:moveTo>
                    <a:pt x="1644" y="394"/>
                  </a:moveTo>
                  <a:cubicBezTo>
                    <a:pt x="1858" y="465"/>
                    <a:pt x="2049" y="644"/>
                    <a:pt x="2180" y="858"/>
                  </a:cubicBezTo>
                  <a:cubicBezTo>
                    <a:pt x="2251" y="989"/>
                    <a:pt x="2275" y="1132"/>
                    <a:pt x="2275" y="1299"/>
                  </a:cubicBezTo>
                  <a:cubicBezTo>
                    <a:pt x="2251" y="1668"/>
                    <a:pt x="2061" y="2001"/>
                    <a:pt x="1727" y="2168"/>
                  </a:cubicBezTo>
                  <a:cubicBezTo>
                    <a:pt x="1596" y="2239"/>
                    <a:pt x="1441" y="2263"/>
                    <a:pt x="1299" y="2263"/>
                  </a:cubicBezTo>
                  <a:cubicBezTo>
                    <a:pt x="1370" y="2168"/>
                    <a:pt x="1501" y="2061"/>
                    <a:pt x="1703" y="1942"/>
                  </a:cubicBezTo>
                  <a:cubicBezTo>
                    <a:pt x="1942" y="1787"/>
                    <a:pt x="2215" y="1608"/>
                    <a:pt x="2203" y="1311"/>
                  </a:cubicBezTo>
                  <a:cubicBezTo>
                    <a:pt x="2192" y="930"/>
                    <a:pt x="1918" y="870"/>
                    <a:pt x="1739" y="822"/>
                  </a:cubicBezTo>
                  <a:cubicBezTo>
                    <a:pt x="1620" y="799"/>
                    <a:pt x="1501" y="775"/>
                    <a:pt x="1441" y="680"/>
                  </a:cubicBezTo>
                  <a:cubicBezTo>
                    <a:pt x="1418" y="632"/>
                    <a:pt x="1465" y="537"/>
                    <a:pt x="1644" y="394"/>
                  </a:cubicBezTo>
                  <a:close/>
                  <a:moveTo>
                    <a:pt x="1299" y="1"/>
                  </a:moveTo>
                  <a:cubicBezTo>
                    <a:pt x="727" y="1"/>
                    <a:pt x="227" y="358"/>
                    <a:pt x="60" y="918"/>
                  </a:cubicBezTo>
                  <a:cubicBezTo>
                    <a:pt x="13" y="1037"/>
                    <a:pt x="1" y="1168"/>
                    <a:pt x="1" y="1299"/>
                  </a:cubicBezTo>
                  <a:lnTo>
                    <a:pt x="1" y="1334"/>
                  </a:lnTo>
                  <a:cubicBezTo>
                    <a:pt x="1" y="1608"/>
                    <a:pt x="96" y="1870"/>
                    <a:pt x="275" y="2085"/>
                  </a:cubicBezTo>
                  <a:lnTo>
                    <a:pt x="275" y="2108"/>
                  </a:lnTo>
                  <a:cubicBezTo>
                    <a:pt x="346" y="2192"/>
                    <a:pt x="418" y="2263"/>
                    <a:pt x="513" y="2346"/>
                  </a:cubicBezTo>
                  <a:cubicBezTo>
                    <a:pt x="656" y="2466"/>
                    <a:pt x="846" y="2537"/>
                    <a:pt x="1049" y="2585"/>
                  </a:cubicBezTo>
                  <a:cubicBezTo>
                    <a:pt x="1120" y="2596"/>
                    <a:pt x="1203" y="2608"/>
                    <a:pt x="1299" y="2608"/>
                  </a:cubicBezTo>
                  <a:cubicBezTo>
                    <a:pt x="1501" y="2608"/>
                    <a:pt x="1703" y="2561"/>
                    <a:pt x="1894" y="2477"/>
                  </a:cubicBezTo>
                  <a:cubicBezTo>
                    <a:pt x="2323" y="2251"/>
                    <a:pt x="2608" y="1811"/>
                    <a:pt x="2608" y="1311"/>
                  </a:cubicBezTo>
                  <a:cubicBezTo>
                    <a:pt x="2596" y="1096"/>
                    <a:pt x="2549" y="894"/>
                    <a:pt x="2442" y="703"/>
                  </a:cubicBezTo>
                  <a:cubicBezTo>
                    <a:pt x="2275" y="370"/>
                    <a:pt x="1965" y="144"/>
                    <a:pt x="1620" y="49"/>
                  </a:cubicBezTo>
                  <a:cubicBezTo>
                    <a:pt x="1525" y="13"/>
                    <a:pt x="1406" y="1"/>
                    <a:pt x="12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0" name="Google Shape;11820;p61"/>
          <p:cNvGrpSpPr/>
          <p:nvPr/>
        </p:nvGrpSpPr>
        <p:grpSpPr>
          <a:xfrm>
            <a:off x="2633105" y="2431859"/>
            <a:ext cx="363243" cy="328585"/>
            <a:chOff x="2633105" y="2431859"/>
            <a:chExt cx="363243" cy="328585"/>
          </a:xfrm>
        </p:grpSpPr>
        <p:sp>
          <p:nvSpPr>
            <p:cNvPr id="11821" name="Google Shape;11821;p61"/>
            <p:cNvSpPr/>
            <p:nvPr/>
          </p:nvSpPr>
          <p:spPr>
            <a:xfrm>
              <a:off x="2633105" y="2498260"/>
              <a:ext cx="250462" cy="262184"/>
            </a:xfrm>
            <a:custGeom>
              <a:avLst/>
              <a:gdLst/>
              <a:ahLst/>
              <a:cxnLst/>
              <a:rect l="l" t="t" r="r" b="b"/>
              <a:pathLst>
                <a:path w="7906" h="8276" extrusionOk="0">
                  <a:moveTo>
                    <a:pt x="5322" y="6644"/>
                  </a:moveTo>
                  <a:lnTo>
                    <a:pt x="5465" y="7263"/>
                  </a:lnTo>
                  <a:lnTo>
                    <a:pt x="4560" y="7263"/>
                  </a:lnTo>
                  <a:lnTo>
                    <a:pt x="4691" y="6644"/>
                  </a:lnTo>
                  <a:close/>
                  <a:moveTo>
                    <a:pt x="6465" y="7608"/>
                  </a:moveTo>
                  <a:lnTo>
                    <a:pt x="6465" y="7954"/>
                  </a:lnTo>
                  <a:lnTo>
                    <a:pt x="3548" y="7954"/>
                  </a:lnTo>
                  <a:lnTo>
                    <a:pt x="3548" y="7608"/>
                  </a:lnTo>
                  <a:close/>
                  <a:moveTo>
                    <a:pt x="167" y="0"/>
                  </a:moveTo>
                  <a:cubicBezTo>
                    <a:pt x="84" y="0"/>
                    <a:pt x="0" y="72"/>
                    <a:pt x="0" y="167"/>
                  </a:cubicBezTo>
                  <a:lnTo>
                    <a:pt x="0" y="6489"/>
                  </a:lnTo>
                  <a:cubicBezTo>
                    <a:pt x="0" y="6585"/>
                    <a:pt x="84" y="6656"/>
                    <a:pt x="167" y="6656"/>
                  </a:cubicBezTo>
                  <a:lnTo>
                    <a:pt x="4346" y="6656"/>
                  </a:lnTo>
                  <a:lnTo>
                    <a:pt x="4203" y="7287"/>
                  </a:lnTo>
                  <a:lnTo>
                    <a:pt x="3370" y="7287"/>
                  </a:lnTo>
                  <a:cubicBezTo>
                    <a:pt x="3274" y="7287"/>
                    <a:pt x="3203" y="7358"/>
                    <a:pt x="3203" y="7442"/>
                  </a:cubicBezTo>
                  <a:lnTo>
                    <a:pt x="3203" y="8120"/>
                  </a:lnTo>
                  <a:cubicBezTo>
                    <a:pt x="3203" y="8204"/>
                    <a:pt x="3274" y="8275"/>
                    <a:pt x="3370" y="8275"/>
                  </a:cubicBezTo>
                  <a:lnTo>
                    <a:pt x="6632" y="8275"/>
                  </a:lnTo>
                  <a:cubicBezTo>
                    <a:pt x="6715" y="8275"/>
                    <a:pt x="6787" y="8204"/>
                    <a:pt x="6787" y="8120"/>
                  </a:cubicBezTo>
                  <a:lnTo>
                    <a:pt x="6787" y="7442"/>
                  </a:lnTo>
                  <a:cubicBezTo>
                    <a:pt x="6787" y="7358"/>
                    <a:pt x="6715" y="7287"/>
                    <a:pt x="6632" y="7287"/>
                  </a:cubicBezTo>
                  <a:lnTo>
                    <a:pt x="5787" y="7287"/>
                  </a:lnTo>
                  <a:lnTo>
                    <a:pt x="5644" y="6656"/>
                  </a:lnTo>
                  <a:lnTo>
                    <a:pt x="7727" y="6656"/>
                  </a:lnTo>
                  <a:cubicBezTo>
                    <a:pt x="7823" y="6656"/>
                    <a:pt x="7894" y="6585"/>
                    <a:pt x="7894" y="6489"/>
                  </a:cubicBezTo>
                  <a:cubicBezTo>
                    <a:pt x="7906" y="6394"/>
                    <a:pt x="7834" y="6311"/>
                    <a:pt x="7739" y="6311"/>
                  </a:cubicBezTo>
                  <a:lnTo>
                    <a:pt x="345" y="6311"/>
                  </a:lnTo>
                  <a:lnTo>
                    <a:pt x="345" y="334"/>
                  </a:lnTo>
                  <a:lnTo>
                    <a:pt x="4763" y="334"/>
                  </a:lnTo>
                  <a:cubicBezTo>
                    <a:pt x="4858" y="334"/>
                    <a:pt x="4929" y="262"/>
                    <a:pt x="4929" y="167"/>
                  </a:cubicBezTo>
                  <a:cubicBezTo>
                    <a:pt x="4929" y="72"/>
                    <a:pt x="4858"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2" name="Google Shape;11822;p61"/>
            <p:cNvSpPr/>
            <p:nvPr/>
          </p:nvSpPr>
          <p:spPr>
            <a:xfrm>
              <a:off x="2772655" y="2680800"/>
              <a:ext cx="38491" cy="10613"/>
            </a:xfrm>
            <a:custGeom>
              <a:avLst/>
              <a:gdLst/>
              <a:ahLst/>
              <a:cxnLst/>
              <a:rect l="l" t="t" r="r" b="b"/>
              <a:pathLst>
                <a:path w="1215" h="335" extrusionOk="0">
                  <a:moveTo>
                    <a:pt x="167" y="1"/>
                  </a:moveTo>
                  <a:cubicBezTo>
                    <a:pt x="84" y="1"/>
                    <a:pt x="0" y="72"/>
                    <a:pt x="0" y="168"/>
                  </a:cubicBezTo>
                  <a:cubicBezTo>
                    <a:pt x="0" y="251"/>
                    <a:pt x="84" y="334"/>
                    <a:pt x="167" y="334"/>
                  </a:cubicBezTo>
                  <a:lnTo>
                    <a:pt x="1048" y="334"/>
                  </a:lnTo>
                  <a:cubicBezTo>
                    <a:pt x="1132" y="334"/>
                    <a:pt x="1215" y="251"/>
                    <a:pt x="1215" y="168"/>
                  </a:cubicBezTo>
                  <a:cubicBezTo>
                    <a:pt x="1215" y="72"/>
                    <a:pt x="1132"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3" name="Google Shape;11823;p61"/>
            <p:cNvSpPr/>
            <p:nvPr/>
          </p:nvSpPr>
          <p:spPr>
            <a:xfrm>
              <a:off x="272928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4" name="Google Shape;11824;p61"/>
            <p:cNvSpPr/>
            <p:nvPr/>
          </p:nvSpPr>
          <p:spPr>
            <a:xfrm>
              <a:off x="2774176" y="2583131"/>
              <a:ext cx="35482" cy="35862"/>
            </a:xfrm>
            <a:custGeom>
              <a:avLst/>
              <a:gdLst/>
              <a:ahLst/>
              <a:cxnLst/>
              <a:rect l="l" t="t" r="r" b="b"/>
              <a:pathLst>
                <a:path w="1120" h="1132" extrusionOk="0">
                  <a:moveTo>
                    <a:pt x="786" y="334"/>
                  </a:moveTo>
                  <a:lnTo>
                    <a:pt x="786" y="810"/>
                  </a:lnTo>
                  <a:lnTo>
                    <a:pt x="333" y="810"/>
                  </a:lnTo>
                  <a:lnTo>
                    <a:pt x="333" y="334"/>
                  </a:lnTo>
                  <a:close/>
                  <a:moveTo>
                    <a:pt x="167" y="0"/>
                  </a:moveTo>
                  <a:cubicBezTo>
                    <a:pt x="72" y="0"/>
                    <a:pt x="0" y="84"/>
                    <a:pt x="0" y="167"/>
                  </a:cubicBezTo>
                  <a:lnTo>
                    <a:pt x="0" y="977"/>
                  </a:lnTo>
                  <a:cubicBezTo>
                    <a:pt x="0" y="1060"/>
                    <a:pt x="72" y="1131"/>
                    <a:pt x="167" y="1131"/>
                  </a:cubicBezTo>
                  <a:lnTo>
                    <a:pt x="953" y="1131"/>
                  </a:lnTo>
                  <a:cubicBezTo>
                    <a:pt x="1048" y="1131"/>
                    <a:pt x="1119" y="1060"/>
                    <a:pt x="1119" y="977"/>
                  </a:cubicBezTo>
                  <a:lnTo>
                    <a:pt x="1119" y="167"/>
                  </a:lnTo>
                  <a:cubicBezTo>
                    <a:pt x="1119" y="84"/>
                    <a:pt x="1036"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5" name="Google Shape;11825;p61"/>
            <p:cNvSpPr/>
            <p:nvPr/>
          </p:nvSpPr>
          <p:spPr>
            <a:xfrm>
              <a:off x="2817926" y="2583131"/>
              <a:ext cx="35862" cy="35862"/>
            </a:xfrm>
            <a:custGeom>
              <a:avLst/>
              <a:gdLst/>
              <a:ahLst/>
              <a:cxnLst/>
              <a:rect l="l" t="t" r="r" b="b"/>
              <a:pathLst>
                <a:path w="1132" h="1132" extrusionOk="0">
                  <a:moveTo>
                    <a:pt x="798" y="334"/>
                  </a:moveTo>
                  <a:lnTo>
                    <a:pt x="798" y="810"/>
                  </a:lnTo>
                  <a:lnTo>
                    <a:pt x="334" y="810"/>
                  </a:lnTo>
                  <a:lnTo>
                    <a:pt x="334" y="334"/>
                  </a:lnTo>
                  <a:close/>
                  <a:moveTo>
                    <a:pt x="167" y="0"/>
                  </a:moveTo>
                  <a:cubicBezTo>
                    <a:pt x="84" y="0"/>
                    <a:pt x="0" y="84"/>
                    <a:pt x="0" y="167"/>
                  </a:cubicBezTo>
                  <a:lnTo>
                    <a:pt x="0" y="977"/>
                  </a:lnTo>
                  <a:cubicBezTo>
                    <a:pt x="0" y="1060"/>
                    <a:pt x="84" y="1131"/>
                    <a:pt x="167" y="1131"/>
                  </a:cubicBezTo>
                  <a:lnTo>
                    <a:pt x="953" y="1131"/>
                  </a:lnTo>
                  <a:cubicBezTo>
                    <a:pt x="1048" y="1131"/>
                    <a:pt x="1119" y="1060"/>
                    <a:pt x="1119" y="977"/>
                  </a:cubicBezTo>
                  <a:lnTo>
                    <a:pt x="1119" y="167"/>
                  </a:lnTo>
                  <a:cubicBezTo>
                    <a:pt x="1131" y="84"/>
                    <a:pt x="1060" y="0"/>
                    <a:pt x="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6" name="Google Shape;11826;p61"/>
            <p:cNvSpPr/>
            <p:nvPr/>
          </p:nvSpPr>
          <p:spPr>
            <a:xfrm>
              <a:off x="2653475" y="2431859"/>
              <a:ext cx="342873" cy="275394"/>
            </a:xfrm>
            <a:custGeom>
              <a:avLst/>
              <a:gdLst/>
              <a:ahLst/>
              <a:cxnLst/>
              <a:rect l="l" t="t" r="r" b="b"/>
              <a:pathLst>
                <a:path w="10823" h="8693" extrusionOk="0">
                  <a:moveTo>
                    <a:pt x="6429" y="3001"/>
                  </a:moveTo>
                  <a:cubicBezTo>
                    <a:pt x="6715" y="3870"/>
                    <a:pt x="7489" y="4513"/>
                    <a:pt x="8406" y="4585"/>
                  </a:cubicBezTo>
                  <a:lnTo>
                    <a:pt x="8406" y="7359"/>
                  </a:lnTo>
                  <a:lnTo>
                    <a:pt x="310" y="7359"/>
                  </a:lnTo>
                  <a:lnTo>
                    <a:pt x="310" y="3001"/>
                  </a:lnTo>
                  <a:close/>
                  <a:moveTo>
                    <a:pt x="8608" y="1"/>
                  </a:moveTo>
                  <a:cubicBezTo>
                    <a:pt x="7430" y="1"/>
                    <a:pt x="6477" y="906"/>
                    <a:pt x="6358" y="2073"/>
                  </a:cubicBezTo>
                  <a:lnTo>
                    <a:pt x="4798" y="2073"/>
                  </a:lnTo>
                  <a:cubicBezTo>
                    <a:pt x="4703" y="2073"/>
                    <a:pt x="4632" y="2144"/>
                    <a:pt x="4632" y="2239"/>
                  </a:cubicBezTo>
                  <a:cubicBezTo>
                    <a:pt x="4632" y="2323"/>
                    <a:pt x="4703" y="2394"/>
                    <a:pt x="4798" y="2394"/>
                  </a:cubicBezTo>
                  <a:lnTo>
                    <a:pt x="6334" y="2394"/>
                  </a:lnTo>
                  <a:cubicBezTo>
                    <a:pt x="6334" y="2489"/>
                    <a:pt x="6358" y="2561"/>
                    <a:pt x="6370" y="2656"/>
                  </a:cubicBezTo>
                  <a:lnTo>
                    <a:pt x="167" y="2656"/>
                  </a:lnTo>
                  <a:cubicBezTo>
                    <a:pt x="72" y="2656"/>
                    <a:pt x="0" y="2727"/>
                    <a:pt x="0" y="2811"/>
                  </a:cubicBezTo>
                  <a:lnTo>
                    <a:pt x="0" y="7502"/>
                  </a:lnTo>
                  <a:cubicBezTo>
                    <a:pt x="0" y="7597"/>
                    <a:pt x="72" y="7668"/>
                    <a:pt x="167" y="7668"/>
                  </a:cubicBezTo>
                  <a:lnTo>
                    <a:pt x="8608" y="7668"/>
                  </a:lnTo>
                  <a:cubicBezTo>
                    <a:pt x="8692" y="7668"/>
                    <a:pt x="8763" y="7597"/>
                    <a:pt x="8763" y="7502"/>
                  </a:cubicBezTo>
                  <a:lnTo>
                    <a:pt x="8763" y="4561"/>
                  </a:lnTo>
                  <a:cubicBezTo>
                    <a:pt x="8858" y="4561"/>
                    <a:pt x="8966" y="4537"/>
                    <a:pt x="9049" y="4513"/>
                  </a:cubicBezTo>
                  <a:lnTo>
                    <a:pt x="9049" y="8371"/>
                  </a:lnTo>
                  <a:lnTo>
                    <a:pt x="7787" y="8371"/>
                  </a:lnTo>
                  <a:cubicBezTo>
                    <a:pt x="7692" y="8371"/>
                    <a:pt x="7620" y="8442"/>
                    <a:pt x="7620" y="8526"/>
                  </a:cubicBezTo>
                  <a:cubicBezTo>
                    <a:pt x="7620" y="8621"/>
                    <a:pt x="7692" y="8692"/>
                    <a:pt x="7787" y="8692"/>
                  </a:cubicBezTo>
                  <a:lnTo>
                    <a:pt x="9216" y="8692"/>
                  </a:lnTo>
                  <a:cubicBezTo>
                    <a:pt x="9299" y="8692"/>
                    <a:pt x="9382" y="8621"/>
                    <a:pt x="9382" y="8526"/>
                  </a:cubicBezTo>
                  <a:lnTo>
                    <a:pt x="9382" y="4406"/>
                  </a:lnTo>
                  <a:cubicBezTo>
                    <a:pt x="9632" y="4323"/>
                    <a:pt x="9858" y="4180"/>
                    <a:pt x="10061" y="4001"/>
                  </a:cubicBezTo>
                  <a:cubicBezTo>
                    <a:pt x="10466" y="3644"/>
                    <a:pt x="10728" y="3168"/>
                    <a:pt x="10823" y="2632"/>
                  </a:cubicBezTo>
                  <a:cubicBezTo>
                    <a:pt x="10823" y="2596"/>
                    <a:pt x="10763" y="2501"/>
                    <a:pt x="10668" y="2489"/>
                  </a:cubicBezTo>
                  <a:cubicBezTo>
                    <a:pt x="10656" y="2486"/>
                    <a:pt x="10643" y="2484"/>
                    <a:pt x="10630" y="2484"/>
                  </a:cubicBezTo>
                  <a:cubicBezTo>
                    <a:pt x="10558" y="2484"/>
                    <a:pt x="10488" y="2539"/>
                    <a:pt x="10478" y="2620"/>
                  </a:cubicBezTo>
                  <a:cubicBezTo>
                    <a:pt x="10359" y="3358"/>
                    <a:pt x="9835" y="3942"/>
                    <a:pt x="9168" y="4156"/>
                  </a:cubicBezTo>
                  <a:lnTo>
                    <a:pt x="9144" y="4156"/>
                  </a:lnTo>
                  <a:cubicBezTo>
                    <a:pt x="8966" y="4216"/>
                    <a:pt x="8763" y="4239"/>
                    <a:pt x="8573" y="4239"/>
                  </a:cubicBezTo>
                  <a:cubicBezTo>
                    <a:pt x="7513" y="4239"/>
                    <a:pt x="6656" y="3358"/>
                    <a:pt x="6656" y="2287"/>
                  </a:cubicBezTo>
                  <a:cubicBezTo>
                    <a:pt x="6656" y="1215"/>
                    <a:pt x="7513" y="346"/>
                    <a:pt x="8573" y="346"/>
                  </a:cubicBezTo>
                  <a:cubicBezTo>
                    <a:pt x="9513" y="346"/>
                    <a:pt x="10335" y="1061"/>
                    <a:pt x="10478" y="1989"/>
                  </a:cubicBezTo>
                  <a:cubicBezTo>
                    <a:pt x="10490" y="2084"/>
                    <a:pt x="10585" y="2144"/>
                    <a:pt x="10668" y="2144"/>
                  </a:cubicBezTo>
                  <a:cubicBezTo>
                    <a:pt x="10763" y="2132"/>
                    <a:pt x="10823" y="2037"/>
                    <a:pt x="10823" y="1953"/>
                  </a:cubicBezTo>
                  <a:cubicBezTo>
                    <a:pt x="10751" y="1418"/>
                    <a:pt x="10478" y="918"/>
                    <a:pt x="10073" y="572"/>
                  </a:cubicBezTo>
                  <a:cubicBezTo>
                    <a:pt x="9656" y="215"/>
                    <a:pt x="9144" y="1"/>
                    <a:pt x="8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7" name="Google Shape;11827;p61"/>
            <p:cNvSpPr/>
            <p:nvPr/>
          </p:nvSpPr>
          <p:spPr>
            <a:xfrm>
              <a:off x="2881286" y="2460529"/>
              <a:ext cx="87532" cy="87912"/>
            </a:xfrm>
            <a:custGeom>
              <a:avLst/>
              <a:gdLst/>
              <a:ahLst/>
              <a:cxnLst/>
              <a:rect l="l" t="t" r="r" b="b"/>
              <a:pathLst>
                <a:path w="2763" h="2775" extrusionOk="0">
                  <a:moveTo>
                    <a:pt x="1414" y="703"/>
                  </a:moveTo>
                  <a:cubicBezTo>
                    <a:pt x="1786" y="703"/>
                    <a:pt x="2084" y="1020"/>
                    <a:pt x="2084" y="1406"/>
                  </a:cubicBezTo>
                  <a:cubicBezTo>
                    <a:pt x="2084" y="1787"/>
                    <a:pt x="1775" y="2108"/>
                    <a:pt x="1394" y="2108"/>
                  </a:cubicBezTo>
                  <a:cubicBezTo>
                    <a:pt x="1013" y="2108"/>
                    <a:pt x="715" y="1787"/>
                    <a:pt x="715" y="1406"/>
                  </a:cubicBezTo>
                  <a:cubicBezTo>
                    <a:pt x="715" y="1013"/>
                    <a:pt x="1024" y="703"/>
                    <a:pt x="1394" y="703"/>
                  </a:cubicBezTo>
                  <a:cubicBezTo>
                    <a:pt x="1400" y="703"/>
                    <a:pt x="1407" y="703"/>
                    <a:pt x="1414" y="703"/>
                  </a:cubicBezTo>
                  <a:close/>
                  <a:moveTo>
                    <a:pt x="1382" y="1"/>
                  </a:moveTo>
                  <a:cubicBezTo>
                    <a:pt x="1286" y="1"/>
                    <a:pt x="1215" y="72"/>
                    <a:pt x="1215" y="167"/>
                  </a:cubicBezTo>
                  <a:lnTo>
                    <a:pt x="1215" y="370"/>
                  </a:lnTo>
                  <a:cubicBezTo>
                    <a:pt x="1048" y="406"/>
                    <a:pt x="917" y="465"/>
                    <a:pt x="786" y="560"/>
                  </a:cubicBezTo>
                  <a:lnTo>
                    <a:pt x="632" y="406"/>
                  </a:lnTo>
                  <a:cubicBezTo>
                    <a:pt x="607" y="374"/>
                    <a:pt x="559" y="356"/>
                    <a:pt x="511" y="356"/>
                  </a:cubicBezTo>
                  <a:cubicBezTo>
                    <a:pt x="467" y="356"/>
                    <a:pt x="422" y="371"/>
                    <a:pt x="393" y="406"/>
                  </a:cubicBezTo>
                  <a:cubicBezTo>
                    <a:pt x="334" y="465"/>
                    <a:pt x="322" y="584"/>
                    <a:pt x="393" y="644"/>
                  </a:cubicBezTo>
                  <a:lnTo>
                    <a:pt x="548" y="798"/>
                  </a:lnTo>
                  <a:cubicBezTo>
                    <a:pt x="453" y="929"/>
                    <a:pt x="393" y="1072"/>
                    <a:pt x="370" y="1227"/>
                  </a:cubicBezTo>
                  <a:lnTo>
                    <a:pt x="155" y="1227"/>
                  </a:lnTo>
                  <a:cubicBezTo>
                    <a:pt x="72" y="1227"/>
                    <a:pt x="0" y="1299"/>
                    <a:pt x="0" y="1394"/>
                  </a:cubicBezTo>
                  <a:cubicBezTo>
                    <a:pt x="0" y="1477"/>
                    <a:pt x="72" y="1549"/>
                    <a:pt x="155" y="1549"/>
                  </a:cubicBezTo>
                  <a:lnTo>
                    <a:pt x="370" y="1549"/>
                  </a:lnTo>
                  <a:cubicBezTo>
                    <a:pt x="393" y="1715"/>
                    <a:pt x="453" y="1870"/>
                    <a:pt x="548" y="1989"/>
                  </a:cubicBezTo>
                  <a:lnTo>
                    <a:pt x="393" y="2132"/>
                  </a:lnTo>
                  <a:cubicBezTo>
                    <a:pt x="334" y="2191"/>
                    <a:pt x="334" y="2311"/>
                    <a:pt x="393" y="2370"/>
                  </a:cubicBezTo>
                  <a:cubicBezTo>
                    <a:pt x="429" y="2406"/>
                    <a:pt x="477" y="2418"/>
                    <a:pt x="512" y="2418"/>
                  </a:cubicBezTo>
                  <a:cubicBezTo>
                    <a:pt x="560" y="2418"/>
                    <a:pt x="608" y="2394"/>
                    <a:pt x="632" y="2370"/>
                  </a:cubicBezTo>
                  <a:lnTo>
                    <a:pt x="786" y="2227"/>
                  </a:lnTo>
                  <a:cubicBezTo>
                    <a:pt x="905" y="2311"/>
                    <a:pt x="1048" y="2370"/>
                    <a:pt x="1215" y="2406"/>
                  </a:cubicBezTo>
                  <a:lnTo>
                    <a:pt x="1215" y="2608"/>
                  </a:lnTo>
                  <a:cubicBezTo>
                    <a:pt x="1215" y="2703"/>
                    <a:pt x="1286" y="2775"/>
                    <a:pt x="1382" y="2775"/>
                  </a:cubicBezTo>
                  <a:cubicBezTo>
                    <a:pt x="1465" y="2775"/>
                    <a:pt x="1548" y="2703"/>
                    <a:pt x="1548" y="2608"/>
                  </a:cubicBezTo>
                  <a:lnTo>
                    <a:pt x="1548" y="2430"/>
                  </a:lnTo>
                  <a:cubicBezTo>
                    <a:pt x="1703" y="2394"/>
                    <a:pt x="1846" y="2346"/>
                    <a:pt x="1977" y="2251"/>
                  </a:cubicBezTo>
                  <a:lnTo>
                    <a:pt x="2120" y="2394"/>
                  </a:lnTo>
                  <a:cubicBezTo>
                    <a:pt x="2156" y="2430"/>
                    <a:pt x="2203" y="2442"/>
                    <a:pt x="2239" y="2442"/>
                  </a:cubicBezTo>
                  <a:cubicBezTo>
                    <a:pt x="2286" y="2442"/>
                    <a:pt x="2334" y="2430"/>
                    <a:pt x="2358" y="2394"/>
                  </a:cubicBezTo>
                  <a:cubicBezTo>
                    <a:pt x="2417" y="2346"/>
                    <a:pt x="2441" y="2215"/>
                    <a:pt x="2358" y="2156"/>
                  </a:cubicBezTo>
                  <a:lnTo>
                    <a:pt x="2215" y="2013"/>
                  </a:lnTo>
                  <a:cubicBezTo>
                    <a:pt x="2298" y="1882"/>
                    <a:pt x="2358" y="1727"/>
                    <a:pt x="2394" y="1584"/>
                  </a:cubicBezTo>
                  <a:lnTo>
                    <a:pt x="2596" y="1584"/>
                  </a:lnTo>
                  <a:cubicBezTo>
                    <a:pt x="2691" y="1584"/>
                    <a:pt x="2763" y="1501"/>
                    <a:pt x="2763" y="1418"/>
                  </a:cubicBezTo>
                  <a:cubicBezTo>
                    <a:pt x="2763" y="1299"/>
                    <a:pt x="2691" y="1227"/>
                    <a:pt x="2608" y="1227"/>
                  </a:cubicBezTo>
                  <a:lnTo>
                    <a:pt x="2394" y="1227"/>
                  </a:lnTo>
                  <a:cubicBezTo>
                    <a:pt x="2370" y="1060"/>
                    <a:pt x="2310" y="906"/>
                    <a:pt x="2215" y="798"/>
                  </a:cubicBezTo>
                  <a:lnTo>
                    <a:pt x="2370" y="644"/>
                  </a:lnTo>
                  <a:cubicBezTo>
                    <a:pt x="2417" y="584"/>
                    <a:pt x="2417" y="465"/>
                    <a:pt x="2370" y="406"/>
                  </a:cubicBezTo>
                  <a:cubicBezTo>
                    <a:pt x="2340" y="376"/>
                    <a:pt x="2292" y="361"/>
                    <a:pt x="2245" y="361"/>
                  </a:cubicBezTo>
                  <a:cubicBezTo>
                    <a:pt x="2197" y="361"/>
                    <a:pt x="2150" y="376"/>
                    <a:pt x="2120" y="406"/>
                  </a:cubicBezTo>
                  <a:lnTo>
                    <a:pt x="1977" y="560"/>
                  </a:lnTo>
                  <a:cubicBezTo>
                    <a:pt x="1858" y="465"/>
                    <a:pt x="1715" y="406"/>
                    <a:pt x="1548" y="370"/>
                  </a:cubicBezTo>
                  <a:lnTo>
                    <a:pt x="1548" y="167"/>
                  </a:ln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8" name="Google Shape;11828;p61"/>
            <p:cNvSpPr/>
            <p:nvPr/>
          </p:nvSpPr>
          <p:spPr>
            <a:xfrm>
              <a:off x="2908436" y="2488059"/>
              <a:ext cx="33612" cy="33993"/>
            </a:xfrm>
            <a:custGeom>
              <a:avLst/>
              <a:gdLst/>
              <a:ahLst/>
              <a:cxnLst/>
              <a:rect l="l" t="t" r="r" b="b"/>
              <a:pathLst>
                <a:path w="1061" h="1073" extrusionOk="0">
                  <a:moveTo>
                    <a:pt x="525" y="346"/>
                  </a:moveTo>
                  <a:cubicBezTo>
                    <a:pt x="632" y="346"/>
                    <a:pt x="715" y="430"/>
                    <a:pt x="715" y="537"/>
                  </a:cubicBezTo>
                  <a:cubicBezTo>
                    <a:pt x="715" y="632"/>
                    <a:pt x="632" y="727"/>
                    <a:pt x="525" y="727"/>
                  </a:cubicBezTo>
                  <a:cubicBezTo>
                    <a:pt x="417" y="727"/>
                    <a:pt x="334" y="632"/>
                    <a:pt x="334" y="537"/>
                  </a:cubicBezTo>
                  <a:cubicBezTo>
                    <a:pt x="334" y="430"/>
                    <a:pt x="417" y="346"/>
                    <a:pt x="525" y="346"/>
                  </a:cubicBezTo>
                  <a:close/>
                  <a:moveTo>
                    <a:pt x="525" y="1"/>
                  </a:moveTo>
                  <a:cubicBezTo>
                    <a:pt x="239" y="1"/>
                    <a:pt x="1" y="239"/>
                    <a:pt x="1" y="537"/>
                  </a:cubicBezTo>
                  <a:cubicBezTo>
                    <a:pt x="1" y="834"/>
                    <a:pt x="239" y="1072"/>
                    <a:pt x="525" y="1072"/>
                  </a:cubicBezTo>
                  <a:cubicBezTo>
                    <a:pt x="810" y="1072"/>
                    <a:pt x="1048" y="834"/>
                    <a:pt x="1048" y="537"/>
                  </a:cubicBezTo>
                  <a:cubicBezTo>
                    <a:pt x="1060" y="239"/>
                    <a:pt x="822"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29" name="Google Shape;11829;p61"/>
          <p:cNvGrpSpPr/>
          <p:nvPr/>
        </p:nvGrpSpPr>
        <p:grpSpPr>
          <a:xfrm>
            <a:off x="2189142" y="2421310"/>
            <a:ext cx="365904" cy="350064"/>
            <a:chOff x="2189142" y="2421310"/>
            <a:chExt cx="365904" cy="350064"/>
          </a:xfrm>
        </p:grpSpPr>
        <p:sp>
          <p:nvSpPr>
            <p:cNvPr id="11830" name="Google Shape;11830;p61"/>
            <p:cNvSpPr/>
            <p:nvPr/>
          </p:nvSpPr>
          <p:spPr>
            <a:xfrm>
              <a:off x="2400384" y="2421310"/>
              <a:ext cx="154662" cy="162613"/>
            </a:xfrm>
            <a:custGeom>
              <a:avLst/>
              <a:gdLst/>
              <a:ahLst/>
              <a:cxnLst/>
              <a:rect l="l" t="t" r="r" b="b"/>
              <a:pathLst>
                <a:path w="4882" h="5133" extrusionOk="0">
                  <a:moveTo>
                    <a:pt x="2482" y="0"/>
                  </a:moveTo>
                  <a:cubicBezTo>
                    <a:pt x="1731" y="0"/>
                    <a:pt x="996" y="363"/>
                    <a:pt x="548" y="1036"/>
                  </a:cubicBezTo>
                  <a:cubicBezTo>
                    <a:pt x="0" y="1870"/>
                    <a:pt x="24" y="2941"/>
                    <a:pt x="619" y="3727"/>
                  </a:cubicBezTo>
                  <a:lnTo>
                    <a:pt x="560" y="4953"/>
                  </a:lnTo>
                  <a:cubicBezTo>
                    <a:pt x="560" y="5013"/>
                    <a:pt x="595" y="5073"/>
                    <a:pt x="643" y="5096"/>
                  </a:cubicBezTo>
                  <a:cubicBezTo>
                    <a:pt x="667" y="5108"/>
                    <a:pt x="702" y="5132"/>
                    <a:pt x="726" y="5132"/>
                  </a:cubicBezTo>
                  <a:cubicBezTo>
                    <a:pt x="762" y="5132"/>
                    <a:pt x="774" y="5132"/>
                    <a:pt x="798" y="5108"/>
                  </a:cubicBezTo>
                  <a:lnTo>
                    <a:pt x="1905" y="4596"/>
                  </a:lnTo>
                  <a:cubicBezTo>
                    <a:pt x="2090" y="4640"/>
                    <a:pt x="2289" y="4665"/>
                    <a:pt x="2486" y="4665"/>
                  </a:cubicBezTo>
                  <a:cubicBezTo>
                    <a:pt x="2555" y="4665"/>
                    <a:pt x="2623" y="4662"/>
                    <a:pt x="2691" y="4656"/>
                  </a:cubicBezTo>
                  <a:cubicBezTo>
                    <a:pt x="2786" y="4632"/>
                    <a:pt x="2858" y="4561"/>
                    <a:pt x="2846" y="4477"/>
                  </a:cubicBezTo>
                  <a:cubicBezTo>
                    <a:pt x="2824" y="4389"/>
                    <a:pt x="2761" y="4321"/>
                    <a:pt x="2685" y="4321"/>
                  </a:cubicBezTo>
                  <a:cubicBezTo>
                    <a:pt x="2679" y="4321"/>
                    <a:pt x="2673" y="4322"/>
                    <a:pt x="2667" y="4322"/>
                  </a:cubicBezTo>
                  <a:cubicBezTo>
                    <a:pt x="2597" y="4332"/>
                    <a:pt x="2528" y="4336"/>
                    <a:pt x="2461" y="4336"/>
                  </a:cubicBezTo>
                  <a:cubicBezTo>
                    <a:pt x="2277" y="4336"/>
                    <a:pt x="2103" y="4303"/>
                    <a:pt x="1929" y="4251"/>
                  </a:cubicBezTo>
                  <a:cubicBezTo>
                    <a:pt x="1913" y="4240"/>
                    <a:pt x="1897" y="4234"/>
                    <a:pt x="1880" y="4234"/>
                  </a:cubicBezTo>
                  <a:cubicBezTo>
                    <a:pt x="1859" y="4234"/>
                    <a:pt x="1836" y="4243"/>
                    <a:pt x="1810" y="4263"/>
                  </a:cubicBezTo>
                  <a:lnTo>
                    <a:pt x="905" y="4680"/>
                  </a:lnTo>
                  <a:lnTo>
                    <a:pt x="953" y="3680"/>
                  </a:lnTo>
                  <a:cubicBezTo>
                    <a:pt x="953" y="3632"/>
                    <a:pt x="941" y="3608"/>
                    <a:pt x="917" y="3560"/>
                  </a:cubicBezTo>
                  <a:cubicBezTo>
                    <a:pt x="381" y="2882"/>
                    <a:pt x="345" y="1941"/>
                    <a:pt x="833" y="1215"/>
                  </a:cubicBezTo>
                  <a:cubicBezTo>
                    <a:pt x="1218" y="642"/>
                    <a:pt x="1855" y="327"/>
                    <a:pt x="2504" y="327"/>
                  </a:cubicBezTo>
                  <a:cubicBezTo>
                    <a:pt x="2880" y="327"/>
                    <a:pt x="3259" y="433"/>
                    <a:pt x="3596" y="655"/>
                  </a:cubicBezTo>
                  <a:cubicBezTo>
                    <a:pt x="4048" y="953"/>
                    <a:pt x="4346" y="1405"/>
                    <a:pt x="4453" y="1929"/>
                  </a:cubicBezTo>
                  <a:cubicBezTo>
                    <a:pt x="4548" y="2441"/>
                    <a:pt x="4453" y="2989"/>
                    <a:pt x="4155" y="3418"/>
                  </a:cubicBezTo>
                  <a:cubicBezTo>
                    <a:pt x="3941" y="3727"/>
                    <a:pt x="3643" y="3977"/>
                    <a:pt x="3286" y="4132"/>
                  </a:cubicBezTo>
                  <a:cubicBezTo>
                    <a:pt x="3203" y="4156"/>
                    <a:pt x="3167" y="4263"/>
                    <a:pt x="3203" y="4346"/>
                  </a:cubicBezTo>
                  <a:cubicBezTo>
                    <a:pt x="3221" y="4419"/>
                    <a:pt x="3288" y="4450"/>
                    <a:pt x="3356" y="4450"/>
                  </a:cubicBezTo>
                  <a:cubicBezTo>
                    <a:pt x="3376" y="4450"/>
                    <a:pt x="3397" y="4447"/>
                    <a:pt x="3417" y="4442"/>
                  </a:cubicBezTo>
                  <a:cubicBezTo>
                    <a:pt x="3834" y="4263"/>
                    <a:pt x="4179" y="3977"/>
                    <a:pt x="4429" y="3608"/>
                  </a:cubicBezTo>
                  <a:cubicBezTo>
                    <a:pt x="4763" y="3108"/>
                    <a:pt x="4882" y="2477"/>
                    <a:pt x="4763" y="1882"/>
                  </a:cubicBezTo>
                  <a:cubicBezTo>
                    <a:pt x="4643" y="1274"/>
                    <a:pt x="4286" y="751"/>
                    <a:pt x="3774" y="393"/>
                  </a:cubicBezTo>
                  <a:cubicBezTo>
                    <a:pt x="3376" y="128"/>
                    <a:pt x="2926" y="0"/>
                    <a:pt x="24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1" name="Google Shape;11831;p61"/>
            <p:cNvSpPr/>
            <p:nvPr/>
          </p:nvSpPr>
          <p:spPr>
            <a:xfrm>
              <a:off x="2292862" y="2724899"/>
              <a:ext cx="168252" cy="46475"/>
            </a:xfrm>
            <a:custGeom>
              <a:avLst/>
              <a:gdLst/>
              <a:ahLst/>
              <a:cxnLst/>
              <a:rect l="l" t="t" r="r" b="b"/>
              <a:pathLst>
                <a:path w="5311" h="1467" extrusionOk="0">
                  <a:moveTo>
                    <a:pt x="5139" y="1"/>
                  </a:moveTo>
                  <a:cubicBezTo>
                    <a:pt x="5133" y="1"/>
                    <a:pt x="5127" y="1"/>
                    <a:pt x="5120" y="2"/>
                  </a:cubicBezTo>
                  <a:cubicBezTo>
                    <a:pt x="5025" y="26"/>
                    <a:pt x="4954" y="97"/>
                    <a:pt x="4966" y="193"/>
                  </a:cubicBezTo>
                  <a:cubicBezTo>
                    <a:pt x="4966" y="264"/>
                    <a:pt x="4989" y="323"/>
                    <a:pt x="4989" y="395"/>
                  </a:cubicBezTo>
                  <a:lnTo>
                    <a:pt x="4989" y="1145"/>
                  </a:lnTo>
                  <a:lnTo>
                    <a:pt x="167" y="1145"/>
                  </a:lnTo>
                  <a:cubicBezTo>
                    <a:pt x="72" y="1145"/>
                    <a:pt x="1" y="1216"/>
                    <a:pt x="1" y="1300"/>
                  </a:cubicBezTo>
                  <a:cubicBezTo>
                    <a:pt x="1" y="1395"/>
                    <a:pt x="72" y="1466"/>
                    <a:pt x="167" y="1466"/>
                  </a:cubicBezTo>
                  <a:lnTo>
                    <a:pt x="5144" y="1466"/>
                  </a:lnTo>
                  <a:cubicBezTo>
                    <a:pt x="5239" y="1466"/>
                    <a:pt x="5311" y="1395"/>
                    <a:pt x="5311" y="1300"/>
                  </a:cubicBezTo>
                  <a:lnTo>
                    <a:pt x="5311" y="395"/>
                  </a:lnTo>
                  <a:cubicBezTo>
                    <a:pt x="5311" y="323"/>
                    <a:pt x="5311" y="252"/>
                    <a:pt x="5299" y="157"/>
                  </a:cubicBezTo>
                  <a:cubicBezTo>
                    <a:pt x="5288" y="69"/>
                    <a:pt x="5216" y="1"/>
                    <a:pt x="51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2" name="Google Shape;11832;p61"/>
            <p:cNvSpPr/>
            <p:nvPr/>
          </p:nvSpPr>
          <p:spPr>
            <a:xfrm>
              <a:off x="2189142" y="2460149"/>
              <a:ext cx="266714" cy="310844"/>
            </a:xfrm>
            <a:custGeom>
              <a:avLst/>
              <a:gdLst/>
              <a:ahLst/>
              <a:cxnLst/>
              <a:rect l="l" t="t" r="r" b="b"/>
              <a:pathLst>
                <a:path w="8419" h="9812" extrusionOk="0">
                  <a:moveTo>
                    <a:pt x="3525" y="787"/>
                  </a:moveTo>
                  <a:lnTo>
                    <a:pt x="3525" y="787"/>
                  </a:lnTo>
                  <a:cubicBezTo>
                    <a:pt x="3322" y="1382"/>
                    <a:pt x="2977" y="1703"/>
                    <a:pt x="2751" y="1834"/>
                  </a:cubicBezTo>
                  <a:cubicBezTo>
                    <a:pt x="2787" y="1358"/>
                    <a:pt x="3096" y="941"/>
                    <a:pt x="3525" y="787"/>
                  </a:cubicBezTo>
                  <a:close/>
                  <a:moveTo>
                    <a:pt x="4692" y="715"/>
                  </a:moveTo>
                  <a:cubicBezTo>
                    <a:pt x="5323" y="715"/>
                    <a:pt x="5846" y="1239"/>
                    <a:pt x="5846" y="1870"/>
                  </a:cubicBezTo>
                  <a:lnTo>
                    <a:pt x="5846" y="2608"/>
                  </a:lnTo>
                  <a:cubicBezTo>
                    <a:pt x="5168" y="2561"/>
                    <a:pt x="4644" y="2215"/>
                    <a:pt x="4299" y="1596"/>
                  </a:cubicBezTo>
                  <a:cubicBezTo>
                    <a:pt x="4108" y="1251"/>
                    <a:pt x="4013" y="906"/>
                    <a:pt x="3977" y="715"/>
                  </a:cubicBezTo>
                  <a:close/>
                  <a:moveTo>
                    <a:pt x="2048" y="2454"/>
                  </a:moveTo>
                  <a:lnTo>
                    <a:pt x="2048" y="3525"/>
                  </a:lnTo>
                  <a:cubicBezTo>
                    <a:pt x="1858" y="3454"/>
                    <a:pt x="1715" y="3275"/>
                    <a:pt x="1715" y="3049"/>
                  </a:cubicBezTo>
                  <a:lnTo>
                    <a:pt x="1715" y="2930"/>
                  </a:lnTo>
                  <a:cubicBezTo>
                    <a:pt x="1715" y="2704"/>
                    <a:pt x="1846" y="2525"/>
                    <a:pt x="2048" y="2454"/>
                  </a:cubicBezTo>
                  <a:close/>
                  <a:moveTo>
                    <a:pt x="6549" y="2454"/>
                  </a:moveTo>
                  <a:cubicBezTo>
                    <a:pt x="6739" y="2537"/>
                    <a:pt x="6894" y="2715"/>
                    <a:pt x="6894" y="2930"/>
                  </a:cubicBezTo>
                  <a:lnTo>
                    <a:pt x="6894" y="3049"/>
                  </a:lnTo>
                  <a:cubicBezTo>
                    <a:pt x="6894" y="3275"/>
                    <a:pt x="6751" y="3454"/>
                    <a:pt x="6549" y="3525"/>
                  </a:cubicBezTo>
                  <a:lnTo>
                    <a:pt x="6549" y="2454"/>
                  </a:lnTo>
                  <a:close/>
                  <a:moveTo>
                    <a:pt x="3739" y="1168"/>
                  </a:moveTo>
                  <a:cubicBezTo>
                    <a:pt x="3799" y="1346"/>
                    <a:pt x="3870" y="1549"/>
                    <a:pt x="3989" y="1763"/>
                  </a:cubicBezTo>
                  <a:cubicBezTo>
                    <a:pt x="4394" y="2489"/>
                    <a:pt x="5025" y="2906"/>
                    <a:pt x="5835" y="2954"/>
                  </a:cubicBezTo>
                  <a:lnTo>
                    <a:pt x="5835" y="3251"/>
                  </a:lnTo>
                  <a:cubicBezTo>
                    <a:pt x="5846" y="3894"/>
                    <a:pt x="5501" y="4489"/>
                    <a:pt x="4942" y="4835"/>
                  </a:cubicBezTo>
                  <a:lnTo>
                    <a:pt x="4692" y="4990"/>
                  </a:lnTo>
                  <a:cubicBezTo>
                    <a:pt x="4573" y="5055"/>
                    <a:pt x="4439" y="5088"/>
                    <a:pt x="4305" y="5088"/>
                  </a:cubicBezTo>
                  <a:cubicBezTo>
                    <a:pt x="4171" y="5088"/>
                    <a:pt x="4037" y="5055"/>
                    <a:pt x="3918" y="4990"/>
                  </a:cubicBezTo>
                  <a:lnTo>
                    <a:pt x="3656" y="4835"/>
                  </a:lnTo>
                  <a:cubicBezTo>
                    <a:pt x="3096" y="4513"/>
                    <a:pt x="2751" y="3906"/>
                    <a:pt x="2751" y="3251"/>
                  </a:cubicBezTo>
                  <a:lnTo>
                    <a:pt x="2751" y="2215"/>
                  </a:lnTo>
                  <a:cubicBezTo>
                    <a:pt x="2965" y="2108"/>
                    <a:pt x="3418" y="1834"/>
                    <a:pt x="3739" y="1168"/>
                  </a:cubicBezTo>
                  <a:close/>
                  <a:moveTo>
                    <a:pt x="4942" y="5228"/>
                  </a:moveTo>
                  <a:lnTo>
                    <a:pt x="4942" y="5656"/>
                  </a:lnTo>
                  <a:cubicBezTo>
                    <a:pt x="4894" y="5656"/>
                    <a:pt x="4834" y="5668"/>
                    <a:pt x="4787" y="5668"/>
                  </a:cubicBezTo>
                  <a:cubicBezTo>
                    <a:pt x="4751" y="5549"/>
                    <a:pt x="4668" y="5454"/>
                    <a:pt x="4573" y="5382"/>
                  </a:cubicBezTo>
                  <a:cubicBezTo>
                    <a:pt x="4668" y="5359"/>
                    <a:pt x="4763" y="5335"/>
                    <a:pt x="4846" y="5275"/>
                  </a:cubicBezTo>
                  <a:lnTo>
                    <a:pt x="4942" y="5228"/>
                  </a:lnTo>
                  <a:close/>
                  <a:moveTo>
                    <a:pt x="4299" y="5656"/>
                  </a:moveTo>
                  <a:cubicBezTo>
                    <a:pt x="4406" y="5656"/>
                    <a:pt x="4477" y="5728"/>
                    <a:pt x="4477" y="5835"/>
                  </a:cubicBezTo>
                  <a:cubicBezTo>
                    <a:pt x="4477" y="5942"/>
                    <a:pt x="4406" y="6013"/>
                    <a:pt x="4299" y="6013"/>
                  </a:cubicBezTo>
                  <a:cubicBezTo>
                    <a:pt x="4215" y="6013"/>
                    <a:pt x="4120" y="5930"/>
                    <a:pt x="4120" y="5835"/>
                  </a:cubicBezTo>
                  <a:cubicBezTo>
                    <a:pt x="4120" y="5728"/>
                    <a:pt x="4192" y="5656"/>
                    <a:pt x="4299" y="5656"/>
                  </a:cubicBezTo>
                  <a:close/>
                  <a:moveTo>
                    <a:pt x="3656" y="5228"/>
                  </a:moveTo>
                  <a:lnTo>
                    <a:pt x="3751" y="5263"/>
                  </a:lnTo>
                  <a:cubicBezTo>
                    <a:pt x="3834" y="5323"/>
                    <a:pt x="3941" y="5359"/>
                    <a:pt x="4037" y="5382"/>
                  </a:cubicBezTo>
                  <a:cubicBezTo>
                    <a:pt x="3882" y="5478"/>
                    <a:pt x="3775" y="5644"/>
                    <a:pt x="3775" y="5835"/>
                  </a:cubicBezTo>
                  <a:cubicBezTo>
                    <a:pt x="3775" y="6121"/>
                    <a:pt x="4013" y="6359"/>
                    <a:pt x="4299" y="6359"/>
                  </a:cubicBezTo>
                  <a:cubicBezTo>
                    <a:pt x="4525" y="6359"/>
                    <a:pt x="4715" y="6204"/>
                    <a:pt x="4787" y="6013"/>
                  </a:cubicBezTo>
                  <a:cubicBezTo>
                    <a:pt x="4834" y="6013"/>
                    <a:pt x="4894" y="6013"/>
                    <a:pt x="4942" y="6002"/>
                  </a:cubicBezTo>
                  <a:lnTo>
                    <a:pt x="4942" y="6073"/>
                  </a:lnTo>
                  <a:lnTo>
                    <a:pt x="4299" y="6514"/>
                  </a:lnTo>
                  <a:lnTo>
                    <a:pt x="3656" y="6061"/>
                  </a:lnTo>
                  <a:lnTo>
                    <a:pt x="3656" y="5228"/>
                  </a:lnTo>
                  <a:close/>
                  <a:moveTo>
                    <a:pt x="3656" y="6466"/>
                  </a:moveTo>
                  <a:lnTo>
                    <a:pt x="4049" y="6740"/>
                  </a:lnTo>
                  <a:lnTo>
                    <a:pt x="3656" y="7204"/>
                  </a:lnTo>
                  <a:lnTo>
                    <a:pt x="3656" y="6549"/>
                  </a:lnTo>
                  <a:lnTo>
                    <a:pt x="3656" y="6466"/>
                  </a:lnTo>
                  <a:close/>
                  <a:moveTo>
                    <a:pt x="4942" y="6466"/>
                  </a:moveTo>
                  <a:lnTo>
                    <a:pt x="4942" y="6549"/>
                  </a:lnTo>
                  <a:lnTo>
                    <a:pt x="4942" y="7204"/>
                  </a:lnTo>
                  <a:lnTo>
                    <a:pt x="4549" y="6740"/>
                  </a:lnTo>
                  <a:lnTo>
                    <a:pt x="4942" y="6466"/>
                  </a:lnTo>
                  <a:close/>
                  <a:moveTo>
                    <a:pt x="3858" y="1"/>
                  </a:moveTo>
                  <a:cubicBezTo>
                    <a:pt x="2858" y="1"/>
                    <a:pt x="2048" y="799"/>
                    <a:pt x="2048" y="1799"/>
                  </a:cubicBezTo>
                  <a:lnTo>
                    <a:pt x="2048" y="2096"/>
                  </a:lnTo>
                  <a:cubicBezTo>
                    <a:pt x="1667" y="2168"/>
                    <a:pt x="1382" y="2513"/>
                    <a:pt x="1382" y="2918"/>
                  </a:cubicBezTo>
                  <a:lnTo>
                    <a:pt x="1382" y="3037"/>
                  </a:lnTo>
                  <a:cubicBezTo>
                    <a:pt x="1382" y="3501"/>
                    <a:pt x="1751" y="3870"/>
                    <a:pt x="2215" y="3870"/>
                  </a:cubicBezTo>
                  <a:cubicBezTo>
                    <a:pt x="2310" y="3870"/>
                    <a:pt x="2382" y="3799"/>
                    <a:pt x="2382" y="3704"/>
                  </a:cubicBezTo>
                  <a:lnTo>
                    <a:pt x="2382" y="2251"/>
                  </a:lnTo>
                  <a:lnTo>
                    <a:pt x="2382" y="1799"/>
                  </a:lnTo>
                  <a:cubicBezTo>
                    <a:pt x="2382" y="1001"/>
                    <a:pt x="3037" y="346"/>
                    <a:pt x="3834" y="346"/>
                  </a:cubicBezTo>
                  <a:lnTo>
                    <a:pt x="4727" y="346"/>
                  </a:lnTo>
                  <a:cubicBezTo>
                    <a:pt x="5537" y="346"/>
                    <a:pt x="6192" y="1001"/>
                    <a:pt x="6192" y="1799"/>
                  </a:cubicBezTo>
                  <a:lnTo>
                    <a:pt x="6192" y="2251"/>
                  </a:lnTo>
                  <a:lnTo>
                    <a:pt x="6192" y="4180"/>
                  </a:lnTo>
                  <a:cubicBezTo>
                    <a:pt x="6192" y="4811"/>
                    <a:pt x="5799" y="5335"/>
                    <a:pt x="5251" y="5549"/>
                  </a:cubicBezTo>
                  <a:lnTo>
                    <a:pt x="5251" y="5001"/>
                  </a:lnTo>
                  <a:cubicBezTo>
                    <a:pt x="5823" y="4597"/>
                    <a:pt x="6156" y="3930"/>
                    <a:pt x="6156" y="3227"/>
                  </a:cubicBezTo>
                  <a:lnTo>
                    <a:pt x="6156" y="1870"/>
                  </a:lnTo>
                  <a:cubicBezTo>
                    <a:pt x="6156" y="1037"/>
                    <a:pt x="5489" y="370"/>
                    <a:pt x="4656" y="370"/>
                  </a:cubicBezTo>
                  <a:lnTo>
                    <a:pt x="3894" y="370"/>
                  </a:lnTo>
                  <a:cubicBezTo>
                    <a:pt x="3834" y="370"/>
                    <a:pt x="3775" y="370"/>
                    <a:pt x="3715" y="382"/>
                  </a:cubicBezTo>
                  <a:cubicBezTo>
                    <a:pt x="2965" y="477"/>
                    <a:pt x="2394" y="1120"/>
                    <a:pt x="2394" y="1870"/>
                  </a:cubicBezTo>
                  <a:lnTo>
                    <a:pt x="2394" y="2084"/>
                  </a:lnTo>
                  <a:lnTo>
                    <a:pt x="2394" y="3227"/>
                  </a:lnTo>
                  <a:cubicBezTo>
                    <a:pt x="2394" y="3930"/>
                    <a:pt x="2739" y="4585"/>
                    <a:pt x="3299" y="5001"/>
                  </a:cubicBezTo>
                  <a:lnTo>
                    <a:pt x="3299" y="6013"/>
                  </a:lnTo>
                  <a:lnTo>
                    <a:pt x="1596" y="6561"/>
                  </a:lnTo>
                  <a:cubicBezTo>
                    <a:pt x="643" y="6859"/>
                    <a:pt x="1" y="7740"/>
                    <a:pt x="1" y="8740"/>
                  </a:cubicBezTo>
                  <a:lnTo>
                    <a:pt x="1" y="9645"/>
                  </a:lnTo>
                  <a:cubicBezTo>
                    <a:pt x="1" y="9740"/>
                    <a:pt x="72" y="9812"/>
                    <a:pt x="167" y="9812"/>
                  </a:cubicBezTo>
                  <a:lnTo>
                    <a:pt x="2739" y="9812"/>
                  </a:lnTo>
                  <a:cubicBezTo>
                    <a:pt x="2822" y="9812"/>
                    <a:pt x="2906" y="9740"/>
                    <a:pt x="2906" y="9645"/>
                  </a:cubicBezTo>
                  <a:cubicBezTo>
                    <a:pt x="2906" y="9550"/>
                    <a:pt x="2822" y="9478"/>
                    <a:pt x="2739" y="9478"/>
                  </a:cubicBezTo>
                  <a:lnTo>
                    <a:pt x="322" y="9478"/>
                  </a:lnTo>
                  <a:lnTo>
                    <a:pt x="322" y="8740"/>
                  </a:lnTo>
                  <a:cubicBezTo>
                    <a:pt x="322" y="7883"/>
                    <a:pt x="882" y="7133"/>
                    <a:pt x="1679" y="6871"/>
                  </a:cubicBezTo>
                  <a:lnTo>
                    <a:pt x="3287" y="6359"/>
                  </a:lnTo>
                  <a:lnTo>
                    <a:pt x="3287" y="6537"/>
                  </a:lnTo>
                  <a:lnTo>
                    <a:pt x="3287" y="7657"/>
                  </a:lnTo>
                  <a:cubicBezTo>
                    <a:pt x="3287" y="7728"/>
                    <a:pt x="3334" y="7788"/>
                    <a:pt x="3394" y="7811"/>
                  </a:cubicBezTo>
                  <a:cubicBezTo>
                    <a:pt x="3406" y="7811"/>
                    <a:pt x="3441" y="7835"/>
                    <a:pt x="3453" y="7835"/>
                  </a:cubicBezTo>
                  <a:cubicBezTo>
                    <a:pt x="3501" y="7835"/>
                    <a:pt x="3537" y="7811"/>
                    <a:pt x="3584" y="7776"/>
                  </a:cubicBezTo>
                  <a:lnTo>
                    <a:pt x="4275" y="6966"/>
                  </a:lnTo>
                  <a:lnTo>
                    <a:pt x="4954" y="7776"/>
                  </a:lnTo>
                  <a:cubicBezTo>
                    <a:pt x="4989" y="7811"/>
                    <a:pt x="5025" y="7835"/>
                    <a:pt x="5084" y="7835"/>
                  </a:cubicBezTo>
                  <a:cubicBezTo>
                    <a:pt x="5108" y="7835"/>
                    <a:pt x="5132" y="7835"/>
                    <a:pt x="5144" y="7811"/>
                  </a:cubicBezTo>
                  <a:cubicBezTo>
                    <a:pt x="5204" y="7788"/>
                    <a:pt x="5251" y="7728"/>
                    <a:pt x="5251" y="7657"/>
                  </a:cubicBezTo>
                  <a:lnTo>
                    <a:pt x="5251" y="6359"/>
                  </a:lnTo>
                  <a:lnTo>
                    <a:pt x="6859" y="6871"/>
                  </a:lnTo>
                  <a:cubicBezTo>
                    <a:pt x="7382" y="7037"/>
                    <a:pt x="7811" y="7430"/>
                    <a:pt x="8037" y="7918"/>
                  </a:cubicBezTo>
                  <a:cubicBezTo>
                    <a:pt x="8074" y="7991"/>
                    <a:pt x="8131" y="8022"/>
                    <a:pt x="8198" y="8022"/>
                  </a:cubicBezTo>
                  <a:cubicBezTo>
                    <a:pt x="8219" y="8022"/>
                    <a:pt x="8241" y="8019"/>
                    <a:pt x="8263" y="8014"/>
                  </a:cubicBezTo>
                  <a:cubicBezTo>
                    <a:pt x="8383" y="7990"/>
                    <a:pt x="8418" y="7895"/>
                    <a:pt x="8383" y="7799"/>
                  </a:cubicBezTo>
                  <a:cubicBezTo>
                    <a:pt x="8109" y="7216"/>
                    <a:pt x="7609" y="6775"/>
                    <a:pt x="6989" y="6561"/>
                  </a:cubicBezTo>
                  <a:lnTo>
                    <a:pt x="5287" y="6013"/>
                  </a:lnTo>
                  <a:lnTo>
                    <a:pt x="5287" y="5906"/>
                  </a:lnTo>
                  <a:cubicBezTo>
                    <a:pt x="6013" y="5680"/>
                    <a:pt x="6549" y="5001"/>
                    <a:pt x="6549" y="4180"/>
                  </a:cubicBezTo>
                  <a:lnTo>
                    <a:pt x="6549" y="3858"/>
                  </a:lnTo>
                  <a:cubicBezTo>
                    <a:pt x="6930" y="3775"/>
                    <a:pt x="7216" y="3442"/>
                    <a:pt x="7216" y="3037"/>
                  </a:cubicBezTo>
                  <a:lnTo>
                    <a:pt x="7216" y="2918"/>
                  </a:lnTo>
                  <a:cubicBezTo>
                    <a:pt x="7216" y="2513"/>
                    <a:pt x="6930" y="2168"/>
                    <a:pt x="6549" y="2096"/>
                  </a:cubicBezTo>
                  <a:lnTo>
                    <a:pt x="6549" y="1799"/>
                  </a:lnTo>
                  <a:cubicBezTo>
                    <a:pt x="6549" y="799"/>
                    <a:pt x="5739"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3" name="Google Shape;11833;p61"/>
            <p:cNvSpPr/>
            <p:nvPr/>
          </p:nvSpPr>
          <p:spPr>
            <a:xfrm>
              <a:off x="2320012" y="2699682"/>
              <a:ext cx="10993" cy="11341"/>
            </a:xfrm>
            <a:custGeom>
              <a:avLst/>
              <a:gdLst/>
              <a:ahLst/>
              <a:cxnLst/>
              <a:rect l="l" t="t" r="r" b="b"/>
              <a:pathLst>
                <a:path w="347" h="358" extrusionOk="0">
                  <a:moveTo>
                    <a:pt x="168" y="0"/>
                  </a:moveTo>
                  <a:cubicBezTo>
                    <a:pt x="84" y="0"/>
                    <a:pt x="1" y="72"/>
                    <a:pt x="1" y="167"/>
                  </a:cubicBezTo>
                  <a:lnTo>
                    <a:pt x="1" y="191"/>
                  </a:lnTo>
                  <a:cubicBezTo>
                    <a:pt x="1" y="286"/>
                    <a:pt x="84" y="357"/>
                    <a:pt x="168" y="357"/>
                  </a:cubicBezTo>
                  <a:cubicBezTo>
                    <a:pt x="263" y="357"/>
                    <a:pt x="334" y="286"/>
                    <a:pt x="334" y="191"/>
                  </a:cubicBezTo>
                  <a:lnTo>
                    <a:pt x="334" y="167"/>
                  </a:lnTo>
                  <a:cubicBezTo>
                    <a:pt x="346"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4" name="Google Shape;11834;p61"/>
            <p:cNvSpPr/>
            <p:nvPr/>
          </p:nvSpPr>
          <p:spPr>
            <a:xfrm>
              <a:off x="2320012" y="2718151"/>
              <a:ext cx="10993" cy="11341"/>
            </a:xfrm>
            <a:custGeom>
              <a:avLst/>
              <a:gdLst/>
              <a:ahLst/>
              <a:cxnLst/>
              <a:rect l="l" t="t" r="r" b="b"/>
              <a:pathLst>
                <a:path w="347" h="358" extrusionOk="0">
                  <a:moveTo>
                    <a:pt x="168" y="1"/>
                  </a:moveTo>
                  <a:cubicBezTo>
                    <a:pt x="84" y="1"/>
                    <a:pt x="1" y="72"/>
                    <a:pt x="1" y="167"/>
                  </a:cubicBezTo>
                  <a:lnTo>
                    <a:pt x="1" y="191"/>
                  </a:lnTo>
                  <a:cubicBezTo>
                    <a:pt x="1" y="286"/>
                    <a:pt x="84" y="358"/>
                    <a:pt x="168" y="358"/>
                  </a:cubicBezTo>
                  <a:cubicBezTo>
                    <a:pt x="263" y="358"/>
                    <a:pt x="334" y="286"/>
                    <a:pt x="334" y="191"/>
                  </a:cubicBezTo>
                  <a:lnTo>
                    <a:pt x="334" y="167"/>
                  </a:lnTo>
                  <a:cubicBezTo>
                    <a:pt x="346" y="72"/>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5" name="Google Shape;11835;p61"/>
            <p:cNvSpPr/>
            <p:nvPr/>
          </p:nvSpPr>
          <p:spPr>
            <a:xfrm>
              <a:off x="2364522" y="2716662"/>
              <a:ext cx="63804" cy="30571"/>
            </a:xfrm>
            <a:custGeom>
              <a:avLst/>
              <a:gdLst/>
              <a:ahLst/>
              <a:cxnLst/>
              <a:rect l="l" t="t" r="r" b="b"/>
              <a:pathLst>
                <a:path w="2014" h="965" extrusionOk="0">
                  <a:moveTo>
                    <a:pt x="1596" y="322"/>
                  </a:moveTo>
                  <a:cubicBezTo>
                    <a:pt x="1632" y="322"/>
                    <a:pt x="1668" y="357"/>
                    <a:pt x="1668" y="405"/>
                  </a:cubicBezTo>
                  <a:lnTo>
                    <a:pt x="1668" y="560"/>
                  </a:lnTo>
                  <a:cubicBezTo>
                    <a:pt x="1668" y="607"/>
                    <a:pt x="1632" y="643"/>
                    <a:pt x="1596" y="643"/>
                  </a:cubicBezTo>
                  <a:lnTo>
                    <a:pt x="382" y="643"/>
                  </a:lnTo>
                  <a:cubicBezTo>
                    <a:pt x="346" y="643"/>
                    <a:pt x="310" y="607"/>
                    <a:pt x="310" y="560"/>
                  </a:cubicBezTo>
                  <a:lnTo>
                    <a:pt x="310" y="405"/>
                  </a:lnTo>
                  <a:cubicBezTo>
                    <a:pt x="310" y="357"/>
                    <a:pt x="346" y="322"/>
                    <a:pt x="382" y="322"/>
                  </a:cubicBezTo>
                  <a:close/>
                  <a:moveTo>
                    <a:pt x="406" y="0"/>
                  </a:moveTo>
                  <a:cubicBezTo>
                    <a:pt x="180" y="0"/>
                    <a:pt x="1" y="179"/>
                    <a:pt x="1" y="405"/>
                  </a:cubicBezTo>
                  <a:lnTo>
                    <a:pt x="1" y="572"/>
                  </a:lnTo>
                  <a:cubicBezTo>
                    <a:pt x="1" y="786"/>
                    <a:pt x="180" y="964"/>
                    <a:pt x="406" y="964"/>
                  </a:cubicBezTo>
                  <a:lnTo>
                    <a:pt x="1608" y="964"/>
                  </a:lnTo>
                  <a:cubicBezTo>
                    <a:pt x="1834" y="964"/>
                    <a:pt x="2013" y="786"/>
                    <a:pt x="2013" y="572"/>
                  </a:cubicBezTo>
                  <a:lnTo>
                    <a:pt x="2013" y="405"/>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6" name="Google Shape;11836;p61"/>
            <p:cNvSpPr/>
            <p:nvPr/>
          </p:nvSpPr>
          <p:spPr>
            <a:xfrm>
              <a:off x="2437323" y="2454510"/>
              <a:ext cx="82273" cy="83002"/>
            </a:xfrm>
            <a:custGeom>
              <a:avLst/>
              <a:gdLst/>
              <a:ahLst/>
              <a:cxnLst/>
              <a:rect l="l" t="t" r="r" b="b"/>
              <a:pathLst>
                <a:path w="2597" h="2620" extrusionOk="0">
                  <a:moveTo>
                    <a:pt x="1299" y="655"/>
                  </a:moveTo>
                  <a:cubicBezTo>
                    <a:pt x="1656" y="655"/>
                    <a:pt x="1942" y="953"/>
                    <a:pt x="1942" y="1310"/>
                  </a:cubicBezTo>
                  <a:cubicBezTo>
                    <a:pt x="1930" y="1667"/>
                    <a:pt x="1644" y="1965"/>
                    <a:pt x="1299" y="1965"/>
                  </a:cubicBezTo>
                  <a:cubicBezTo>
                    <a:pt x="941" y="1965"/>
                    <a:pt x="668" y="1667"/>
                    <a:pt x="668" y="1310"/>
                  </a:cubicBezTo>
                  <a:cubicBezTo>
                    <a:pt x="668" y="953"/>
                    <a:pt x="941" y="655"/>
                    <a:pt x="1299" y="655"/>
                  </a:cubicBezTo>
                  <a:close/>
                  <a:moveTo>
                    <a:pt x="1299" y="0"/>
                  </a:moveTo>
                  <a:cubicBezTo>
                    <a:pt x="1215" y="0"/>
                    <a:pt x="1132" y="72"/>
                    <a:pt x="1132" y="167"/>
                  </a:cubicBezTo>
                  <a:lnTo>
                    <a:pt x="1132" y="346"/>
                  </a:lnTo>
                  <a:cubicBezTo>
                    <a:pt x="989" y="369"/>
                    <a:pt x="858" y="429"/>
                    <a:pt x="751" y="500"/>
                  </a:cubicBezTo>
                  <a:lnTo>
                    <a:pt x="620" y="369"/>
                  </a:lnTo>
                  <a:cubicBezTo>
                    <a:pt x="590" y="340"/>
                    <a:pt x="546" y="325"/>
                    <a:pt x="501" y="325"/>
                  </a:cubicBezTo>
                  <a:cubicBezTo>
                    <a:pt x="456" y="325"/>
                    <a:pt x="412" y="340"/>
                    <a:pt x="382" y="369"/>
                  </a:cubicBezTo>
                  <a:cubicBezTo>
                    <a:pt x="322" y="429"/>
                    <a:pt x="322" y="548"/>
                    <a:pt x="382" y="607"/>
                  </a:cubicBezTo>
                  <a:lnTo>
                    <a:pt x="513" y="750"/>
                  </a:lnTo>
                  <a:cubicBezTo>
                    <a:pt x="441" y="857"/>
                    <a:pt x="382" y="1000"/>
                    <a:pt x="346" y="1143"/>
                  </a:cubicBezTo>
                  <a:lnTo>
                    <a:pt x="168" y="1143"/>
                  </a:lnTo>
                  <a:cubicBezTo>
                    <a:pt x="84" y="1143"/>
                    <a:pt x="1" y="1227"/>
                    <a:pt x="1" y="1310"/>
                  </a:cubicBezTo>
                  <a:cubicBezTo>
                    <a:pt x="1" y="1405"/>
                    <a:pt x="84" y="1477"/>
                    <a:pt x="168" y="1477"/>
                  </a:cubicBezTo>
                  <a:lnTo>
                    <a:pt x="346" y="1477"/>
                  </a:lnTo>
                  <a:cubicBezTo>
                    <a:pt x="382" y="1619"/>
                    <a:pt x="441" y="1762"/>
                    <a:pt x="513" y="1881"/>
                  </a:cubicBezTo>
                  <a:lnTo>
                    <a:pt x="382" y="2012"/>
                  </a:lnTo>
                  <a:cubicBezTo>
                    <a:pt x="322" y="2072"/>
                    <a:pt x="322" y="2191"/>
                    <a:pt x="382" y="2251"/>
                  </a:cubicBezTo>
                  <a:cubicBezTo>
                    <a:pt x="406" y="2274"/>
                    <a:pt x="453" y="2298"/>
                    <a:pt x="501" y="2298"/>
                  </a:cubicBezTo>
                  <a:cubicBezTo>
                    <a:pt x="537" y="2298"/>
                    <a:pt x="584" y="2274"/>
                    <a:pt x="620" y="2251"/>
                  </a:cubicBezTo>
                  <a:lnTo>
                    <a:pt x="751" y="2120"/>
                  </a:lnTo>
                  <a:cubicBezTo>
                    <a:pt x="870" y="2191"/>
                    <a:pt x="1001" y="2251"/>
                    <a:pt x="1132" y="2274"/>
                  </a:cubicBezTo>
                  <a:lnTo>
                    <a:pt x="1132" y="2453"/>
                  </a:lnTo>
                  <a:cubicBezTo>
                    <a:pt x="1132" y="2548"/>
                    <a:pt x="1215" y="2620"/>
                    <a:pt x="1299" y="2620"/>
                  </a:cubicBezTo>
                  <a:cubicBezTo>
                    <a:pt x="1394" y="2620"/>
                    <a:pt x="1465" y="2548"/>
                    <a:pt x="1465" y="2453"/>
                  </a:cubicBezTo>
                  <a:lnTo>
                    <a:pt x="1465" y="2274"/>
                  </a:lnTo>
                  <a:cubicBezTo>
                    <a:pt x="1608" y="2251"/>
                    <a:pt x="1751" y="2191"/>
                    <a:pt x="1846" y="2120"/>
                  </a:cubicBezTo>
                  <a:lnTo>
                    <a:pt x="1989" y="2251"/>
                  </a:lnTo>
                  <a:cubicBezTo>
                    <a:pt x="2013" y="2274"/>
                    <a:pt x="2061" y="2298"/>
                    <a:pt x="2108" y="2298"/>
                  </a:cubicBezTo>
                  <a:cubicBezTo>
                    <a:pt x="2144" y="2298"/>
                    <a:pt x="2192" y="2274"/>
                    <a:pt x="2227" y="2251"/>
                  </a:cubicBezTo>
                  <a:cubicBezTo>
                    <a:pt x="2287" y="2191"/>
                    <a:pt x="2287" y="2072"/>
                    <a:pt x="2227" y="2012"/>
                  </a:cubicBezTo>
                  <a:lnTo>
                    <a:pt x="2084" y="1881"/>
                  </a:lnTo>
                  <a:cubicBezTo>
                    <a:pt x="2168" y="1762"/>
                    <a:pt x="2227" y="1619"/>
                    <a:pt x="2251" y="1477"/>
                  </a:cubicBezTo>
                  <a:lnTo>
                    <a:pt x="2430" y="1477"/>
                  </a:lnTo>
                  <a:cubicBezTo>
                    <a:pt x="2525" y="1477"/>
                    <a:pt x="2596" y="1405"/>
                    <a:pt x="2596" y="1310"/>
                  </a:cubicBezTo>
                  <a:cubicBezTo>
                    <a:pt x="2596" y="1227"/>
                    <a:pt x="2525" y="1143"/>
                    <a:pt x="2430" y="1143"/>
                  </a:cubicBezTo>
                  <a:lnTo>
                    <a:pt x="2251" y="1143"/>
                  </a:lnTo>
                  <a:cubicBezTo>
                    <a:pt x="2227" y="1000"/>
                    <a:pt x="2168" y="869"/>
                    <a:pt x="2096" y="750"/>
                  </a:cubicBezTo>
                  <a:lnTo>
                    <a:pt x="2227" y="607"/>
                  </a:lnTo>
                  <a:cubicBezTo>
                    <a:pt x="2287" y="548"/>
                    <a:pt x="2287" y="429"/>
                    <a:pt x="2227" y="369"/>
                  </a:cubicBezTo>
                  <a:cubicBezTo>
                    <a:pt x="2198" y="340"/>
                    <a:pt x="2153" y="325"/>
                    <a:pt x="2108" y="325"/>
                  </a:cubicBezTo>
                  <a:cubicBezTo>
                    <a:pt x="2064" y="325"/>
                    <a:pt x="2019" y="340"/>
                    <a:pt x="1989" y="369"/>
                  </a:cubicBezTo>
                  <a:lnTo>
                    <a:pt x="1846" y="500"/>
                  </a:lnTo>
                  <a:cubicBezTo>
                    <a:pt x="1727" y="429"/>
                    <a:pt x="1596" y="369"/>
                    <a:pt x="1465" y="346"/>
                  </a:cubicBezTo>
                  <a:lnTo>
                    <a:pt x="1465" y="167"/>
                  </a:lnTo>
                  <a:cubicBezTo>
                    <a:pt x="1465" y="72"/>
                    <a:pt x="1394"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7" name="Google Shape;11837;p61"/>
            <p:cNvSpPr/>
            <p:nvPr/>
          </p:nvSpPr>
          <p:spPr>
            <a:xfrm>
              <a:off x="2462603" y="2479759"/>
              <a:ext cx="32092" cy="32092"/>
            </a:xfrm>
            <a:custGeom>
              <a:avLst/>
              <a:gdLst/>
              <a:ahLst/>
              <a:cxnLst/>
              <a:rect l="l" t="t" r="r" b="b"/>
              <a:pathLst>
                <a:path w="1013" h="1013" extrusionOk="0">
                  <a:moveTo>
                    <a:pt x="501" y="358"/>
                  </a:moveTo>
                  <a:cubicBezTo>
                    <a:pt x="596" y="358"/>
                    <a:pt x="667" y="441"/>
                    <a:pt x="667" y="525"/>
                  </a:cubicBezTo>
                  <a:cubicBezTo>
                    <a:pt x="667" y="620"/>
                    <a:pt x="596" y="692"/>
                    <a:pt x="501" y="692"/>
                  </a:cubicBezTo>
                  <a:cubicBezTo>
                    <a:pt x="417" y="692"/>
                    <a:pt x="346" y="620"/>
                    <a:pt x="346" y="525"/>
                  </a:cubicBezTo>
                  <a:cubicBezTo>
                    <a:pt x="346" y="441"/>
                    <a:pt x="417" y="358"/>
                    <a:pt x="501" y="358"/>
                  </a:cubicBezTo>
                  <a:close/>
                  <a:moveTo>
                    <a:pt x="501" y="1"/>
                  </a:moveTo>
                  <a:cubicBezTo>
                    <a:pt x="227" y="1"/>
                    <a:pt x="1" y="227"/>
                    <a:pt x="1" y="513"/>
                  </a:cubicBezTo>
                  <a:cubicBezTo>
                    <a:pt x="1" y="799"/>
                    <a:pt x="227" y="1013"/>
                    <a:pt x="501" y="1013"/>
                  </a:cubicBezTo>
                  <a:cubicBezTo>
                    <a:pt x="786" y="1013"/>
                    <a:pt x="1013" y="799"/>
                    <a:pt x="1013" y="513"/>
                  </a:cubicBezTo>
                  <a:cubicBezTo>
                    <a:pt x="1001" y="251"/>
                    <a:pt x="774" y="1"/>
                    <a:pt x="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8" name="Google Shape;11838;p61"/>
            <p:cNvSpPr/>
            <p:nvPr/>
          </p:nvSpPr>
          <p:spPr>
            <a:xfrm>
              <a:off x="2314373" y="2546921"/>
              <a:ext cx="21891" cy="36242"/>
            </a:xfrm>
            <a:custGeom>
              <a:avLst/>
              <a:gdLst/>
              <a:ahLst/>
              <a:cxnLst/>
              <a:rect l="l" t="t" r="r" b="b"/>
              <a:pathLst>
                <a:path w="691" h="1144" extrusionOk="0">
                  <a:moveTo>
                    <a:pt x="167" y="0"/>
                  </a:moveTo>
                  <a:cubicBezTo>
                    <a:pt x="72" y="0"/>
                    <a:pt x="0" y="72"/>
                    <a:pt x="0" y="167"/>
                  </a:cubicBezTo>
                  <a:lnTo>
                    <a:pt x="0" y="988"/>
                  </a:lnTo>
                  <a:cubicBezTo>
                    <a:pt x="0" y="1072"/>
                    <a:pt x="72" y="1143"/>
                    <a:pt x="167" y="1143"/>
                  </a:cubicBezTo>
                  <a:lnTo>
                    <a:pt x="524" y="1143"/>
                  </a:lnTo>
                  <a:cubicBezTo>
                    <a:pt x="620" y="1143"/>
                    <a:pt x="691" y="1072"/>
                    <a:pt x="691" y="988"/>
                  </a:cubicBezTo>
                  <a:cubicBezTo>
                    <a:pt x="691" y="893"/>
                    <a:pt x="620" y="822"/>
                    <a:pt x="524" y="822"/>
                  </a:cubicBezTo>
                  <a:lnTo>
                    <a:pt x="334" y="822"/>
                  </a:ln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39" name="Google Shape;11839;p61"/>
          <p:cNvSpPr/>
          <p:nvPr/>
        </p:nvSpPr>
        <p:spPr>
          <a:xfrm>
            <a:off x="3518751" y="2415259"/>
            <a:ext cx="364003" cy="361405"/>
          </a:xfrm>
          <a:custGeom>
            <a:avLst/>
            <a:gdLst/>
            <a:ahLst/>
            <a:cxnLst/>
            <a:rect l="l" t="t" r="r" b="b"/>
            <a:pathLst>
              <a:path w="11490" h="11408" extrusionOk="0">
                <a:moveTo>
                  <a:pt x="9311" y="394"/>
                </a:moveTo>
                <a:lnTo>
                  <a:pt x="11073" y="2144"/>
                </a:lnTo>
                <a:lnTo>
                  <a:pt x="10537" y="2680"/>
                </a:lnTo>
                <a:lnTo>
                  <a:pt x="10513" y="2668"/>
                </a:lnTo>
                <a:lnTo>
                  <a:pt x="8799" y="942"/>
                </a:lnTo>
                <a:lnTo>
                  <a:pt x="9311" y="394"/>
                </a:lnTo>
                <a:close/>
                <a:moveTo>
                  <a:pt x="2846" y="1299"/>
                </a:moveTo>
                <a:lnTo>
                  <a:pt x="3000" y="1465"/>
                </a:lnTo>
                <a:cubicBezTo>
                  <a:pt x="3228" y="1693"/>
                  <a:pt x="3531" y="1812"/>
                  <a:pt x="3838" y="1812"/>
                </a:cubicBezTo>
                <a:cubicBezTo>
                  <a:pt x="3852" y="1812"/>
                  <a:pt x="3867" y="1811"/>
                  <a:pt x="3881" y="1811"/>
                </a:cubicBezTo>
                <a:cubicBezTo>
                  <a:pt x="4524" y="1775"/>
                  <a:pt x="5334" y="1704"/>
                  <a:pt x="5763" y="1596"/>
                </a:cubicBezTo>
                <a:cubicBezTo>
                  <a:pt x="5775" y="1608"/>
                  <a:pt x="5798" y="1656"/>
                  <a:pt x="5834" y="1692"/>
                </a:cubicBezTo>
                <a:cubicBezTo>
                  <a:pt x="5858" y="1835"/>
                  <a:pt x="5798" y="1989"/>
                  <a:pt x="5667" y="2073"/>
                </a:cubicBezTo>
                <a:lnTo>
                  <a:pt x="4715" y="2466"/>
                </a:lnTo>
                <a:cubicBezTo>
                  <a:pt x="4655" y="2477"/>
                  <a:pt x="4632" y="2537"/>
                  <a:pt x="4608" y="2585"/>
                </a:cubicBezTo>
                <a:cubicBezTo>
                  <a:pt x="4596" y="2644"/>
                  <a:pt x="4608" y="2704"/>
                  <a:pt x="4655" y="2728"/>
                </a:cubicBezTo>
                <a:lnTo>
                  <a:pt x="5513" y="3597"/>
                </a:lnTo>
                <a:lnTo>
                  <a:pt x="5227" y="3894"/>
                </a:lnTo>
                <a:lnTo>
                  <a:pt x="4929" y="3597"/>
                </a:lnTo>
                <a:cubicBezTo>
                  <a:pt x="4899" y="3567"/>
                  <a:pt x="4852" y="3552"/>
                  <a:pt x="4806" y="3552"/>
                </a:cubicBezTo>
                <a:cubicBezTo>
                  <a:pt x="4760" y="3552"/>
                  <a:pt x="4715" y="3567"/>
                  <a:pt x="4691" y="3597"/>
                </a:cubicBezTo>
                <a:cubicBezTo>
                  <a:pt x="4632" y="3656"/>
                  <a:pt x="4632" y="3775"/>
                  <a:pt x="4691" y="3835"/>
                </a:cubicBezTo>
                <a:lnTo>
                  <a:pt x="4989" y="4132"/>
                </a:lnTo>
                <a:lnTo>
                  <a:pt x="4691" y="4430"/>
                </a:lnTo>
                <a:lnTo>
                  <a:pt x="4191" y="3930"/>
                </a:lnTo>
                <a:cubicBezTo>
                  <a:pt x="4161" y="3900"/>
                  <a:pt x="4117" y="3885"/>
                  <a:pt x="4072" y="3885"/>
                </a:cubicBezTo>
                <a:cubicBezTo>
                  <a:pt x="4027" y="3885"/>
                  <a:pt x="3983" y="3900"/>
                  <a:pt x="3953" y="3930"/>
                </a:cubicBezTo>
                <a:cubicBezTo>
                  <a:pt x="3893" y="3990"/>
                  <a:pt x="3893" y="4109"/>
                  <a:pt x="3953" y="4168"/>
                </a:cubicBezTo>
                <a:lnTo>
                  <a:pt x="4441" y="4668"/>
                </a:lnTo>
                <a:lnTo>
                  <a:pt x="4143" y="4966"/>
                </a:lnTo>
                <a:lnTo>
                  <a:pt x="3846" y="4668"/>
                </a:lnTo>
                <a:cubicBezTo>
                  <a:pt x="3822" y="4638"/>
                  <a:pt x="3777" y="4624"/>
                  <a:pt x="3731" y="4624"/>
                </a:cubicBezTo>
                <a:cubicBezTo>
                  <a:pt x="3685" y="4624"/>
                  <a:pt x="3637" y="4638"/>
                  <a:pt x="3608" y="4668"/>
                </a:cubicBezTo>
                <a:cubicBezTo>
                  <a:pt x="3548" y="4728"/>
                  <a:pt x="3548" y="4847"/>
                  <a:pt x="3608" y="4906"/>
                </a:cubicBezTo>
                <a:lnTo>
                  <a:pt x="3905" y="5204"/>
                </a:lnTo>
                <a:lnTo>
                  <a:pt x="3608" y="5502"/>
                </a:lnTo>
                <a:lnTo>
                  <a:pt x="1976" y="3859"/>
                </a:lnTo>
                <a:cubicBezTo>
                  <a:pt x="1929" y="3811"/>
                  <a:pt x="1881" y="3751"/>
                  <a:pt x="1857" y="3680"/>
                </a:cubicBezTo>
                <a:cubicBezTo>
                  <a:pt x="1822" y="3620"/>
                  <a:pt x="1810" y="3549"/>
                  <a:pt x="1810" y="3478"/>
                </a:cubicBezTo>
                <a:cubicBezTo>
                  <a:pt x="1798" y="3335"/>
                  <a:pt x="1750" y="3216"/>
                  <a:pt x="1667" y="3132"/>
                </a:cubicBezTo>
                <a:lnTo>
                  <a:pt x="1334" y="2799"/>
                </a:lnTo>
                <a:lnTo>
                  <a:pt x="2846" y="1299"/>
                </a:lnTo>
                <a:close/>
                <a:moveTo>
                  <a:pt x="7882" y="5954"/>
                </a:moveTo>
                <a:lnTo>
                  <a:pt x="9525" y="7597"/>
                </a:lnTo>
                <a:cubicBezTo>
                  <a:pt x="9620" y="7704"/>
                  <a:pt x="9680" y="7835"/>
                  <a:pt x="9680" y="7966"/>
                </a:cubicBezTo>
                <a:cubicBezTo>
                  <a:pt x="9680" y="8026"/>
                  <a:pt x="9704" y="8085"/>
                  <a:pt x="9727" y="8145"/>
                </a:cubicBezTo>
                <a:cubicBezTo>
                  <a:pt x="9763" y="8204"/>
                  <a:pt x="9787" y="8252"/>
                  <a:pt x="9835" y="8300"/>
                </a:cubicBezTo>
                <a:lnTo>
                  <a:pt x="10156" y="8621"/>
                </a:lnTo>
                <a:lnTo>
                  <a:pt x="8680" y="10145"/>
                </a:lnTo>
                <a:lnTo>
                  <a:pt x="8513" y="9978"/>
                </a:lnTo>
                <a:cubicBezTo>
                  <a:pt x="8286" y="9751"/>
                  <a:pt x="7993" y="9632"/>
                  <a:pt x="7677" y="9632"/>
                </a:cubicBezTo>
                <a:cubicBezTo>
                  <a:pt x="7662" y="9632"/>
                  <a:pt x="7647" y="9633"/>
                  <a:pt x="7632" y="9633"/>
                </a:cubicBezTo>
                <a:cubicBezTo>
                  <a:pt x="6989" y="9669"/>
                  <a:pt x="6179" y="9740"/>
                  <a:pt x="5763" y="9847"/>
                </a:cubicBezTo>
                <a:cubicBezTo>
                  <a:pt x="5739" y="9824"/>
                  <a:pt x="5715" y="9788"/>
                  <a:pt x="5679" y="9752"/>
                </a:cubicBezTo>
                <a:cubicBezTo>
                  <a:pt x="5656" y="9609"/>
                  <a:pt x="5715" y="9455"/>
                  <a:pt x="5846" y="9371"/>
                </a:cubicBezTo>
                <a:lnTo>
                  <a:pt x="6799" y="8978"/>
                </a:lnTo>
                <a:cubicBezTo>
                  <a:pt x="6858" y="8966"/>
                  <a:pt x="6894" y="8907"/>
                  <a:pt x="6906" y="8859"/>
                </a:cubicBezTo>
                <a:cubicBezTo>
                  <a:pt x="6918" y="8800"/>
                  <a:pt x="6906" y="8740"/>
                  <a:pt x="6858" y="8716"/>
                </a:cubicBezTo>
                <a:lnTo>
                  <a:pt x="6001" y="7847"/>
                </a:lnTo>
                <a:lnTo>
                  <a:pt x="6298" y="7550"/>
                </a:lnTo>
                <a:lnTo>
                  <a:pt x="6596" y="7847"/>
                </a:lnTo>
                <a:cubicBezTo>
                  <a:pt x="6620" y="7883"/>
                  <a:pt x="6668" y="7895"/>
                  <a:pt x="6715" y="7895"/>
                </a:cubicBezTo>
                <a:cubicBezTo>
                  <a:pt x="6751" y="7895"/>
                  <a:pt x="6799" y="7883"/>
                  <a:pt x="6834" y="7847"/>
                </a:cubicBezTo>
                <a:cubicBezTo>
                  <a:pt x="6894" y="7788"/>
                  <a:pt x="6894" y="7669"/>
                  <a:pt x="6834" y="7609"/>
                </a:cubicBezTo>
                <a:lnTo>
                  <a:pt x="6537" y="7311"/>
                </a:lnTo>
                <a:lnTo>
                  <a:pt x="6834" y="7014"/>
                </a:lnTo>
                <a:lnTo>
                  <a:pt x="7322" y="7502"/>
                </a:lnTo>
                <a:cubicBezTo>
                  <a:pt x="7346" y="7538"/>
                  <a:pt x="7394" y="7550"/>
                  <a:pt x="7441" y="7550"/>
                </a:cubicBezTo>
                <a:cubicBezTo>
                  <a:pt x="7477" y="7550"/>
                  <a:pt x="7525" y="7538"/>
                  <a:pt x="7561" y="7502"/>
                </a:cubicBezTo>
                <a:cubicBezTo>
                  <a:pt x="7620" y="7442"/>
                  <a:pt x="7620" y="7323"/>
                  <a:pt x="7561" y="7264"/>
                </a:cubicBezTo>
                <a:lnTo>
                  <a:pt x="7072" y="6776"/>
                </a:lnTo>
                <a:lnTo>
                  <a:pt x="7263" y="6585"/>
                </a:lnTo>
                <a:lnTo>
                  <a:pt x="7346" y="6490"/>
                </a:lnTo>
                <a:lnTo>
                  <a:pt x="7644" y="6788"/>
                </a:lnTo>
                <a:cubicBezTo>
                  <a:pt x="7680" y="6823"/>
                  <a:pt x="7715" y="6835"/>
                  <a:pt x="7763" y="6835"/>
                </a:cubicBezTo>
                <a:cubicBezTo>
                  <a:pt x="7811" y="6835"/>
                  <a:pt x="7858" y="6823"/>
                  <a:pt x="7882" y="6788"/>
                </a:cubicBezTo>
                <a:cubicBezTo>
                  <a:pt x="7942" y="6728"/>
                  <a:pt x="7942" y="6609"/>
                  <a:pt x="7882" y="6549"/>
                </a:cubicBezTo>
                <a:lnTo>
                  <a:pt x="7584" y="6252"/>
                </a:lnTo>
                <a:lnTo>
                  <a:pt x="7882" y="5954"/>
                </a:lnTo>
                <a:close/>
                <a:moveTo>
                  <a:pt x="964" y="8752"/>
                </a:moveTo>
                <a:lnTo>
                  <a:pt x="976" y="8776"/>
                </a:lnTo>
                <a:lnTo>
                  <a:pt x="2703" y="10502"/>
                </a:lnTo>
                <a:lnTo>
                  <a:pt x="2191" y="11050"/>
                </a:lnTo>
                <a:lnTo>
                  <a:pt x="429" y="9288"/>
                </a:lnTo>
                <a:lnTo>
                  <a:pt x="964" y="8752"/>
                </a:lnTo>
                <a:close/>
                <a:moveTo>
                  <a:pt x="10537" y="8752"/>
                </a:moveTo>
                <a:lnTo>
                  <a:pt x="11073" y="9288"/>
                </a:lnTo>
                <a:lnTo>
                  <a:pt x="9311" y="11050"/>
                </a:lnTo>
                <a:lnTo>
                  <a:pt x="8775" y="10514"/>
                </a:lnTo>
                <a:lnTo>
                  <a:pt x="8799" y="10490"/>
                </a:lnTo>
                <a:lnTo>
                  <a:pt x="10525" y="8764"/>
                </a:lnTo>
                <a:lnTo>
                  <a:pt x="10537" y="8752"/>
                </a:lnTo>
                <a:close/>
                <a:moveTo>
                  <a:pt x="2203" y="1"/>
                </a:moveTo>
                <a:cubicBezTo>
                  <a:pt x="2155" y="1"/>
                  <a:pt x="2107" y="13"/>
                  <a:pt x="2084" y="49"/>
                </a:cubicBezTo>
                <a:lnTo>
                  <a:pt x="1429" y="703"/>
                </a:lnTo>
                <a:cubicBezTo>
                  <a:pt x="1369" y="763"/>
                  <a:pt x="1369" y="882"/>
                  <a:pt x="1429" y="942"/>
                </a:cubicBezTo>
                <a:cubicBezTo>
                  <a:pt x="1459" y="971"/>
                  <a:pt x="1503" y="986"/>
                  <a:pt x="1548" y="986"/>
                </a:cubicBezTo>
                <a:cubicBezTo>
                  <a:pt x="1592" y="986"/>
                  <a:pt x="1637" y="971"/>
                  <a:pt x="1667" y="942"/>
                </a:cubicBezTo>
                <a:lnTo>
                  <a:pt x="2203" y="406"/>
                </a:lnTo>
                <a:lnTo>
                  <a:pt x="2738" y="942"/>
                </a:lnTo>
                <a:lnTo>
                  <a:pt x="2727" y="953"/>
                </a:lnTo>
                <a:lnTo>
                  <a:pt x="964" y="2668"/>
                </a:lnTo>
                <a:lnTo>
                  <a:pt x="953" y="2680"/>
                </a:lnTo>
                <a:lnTo>
                  <a:pt x="417" y="2144"/>
                </a:lnTo>
                <a:lnTo>
                  <a:pt x="1155" y="1406"/>
                </a:lnTo>
                <a:cubicBezTo>
                  <a:pt x="1214" y="1346"/>
                  <a:pt x="1214" y="1227"/>
                  <a:pt x="1155" y="1168"/>
                </a:cubicBezTo>
                <a:cubicBezTo>
                  <a:pt x="1125" y="1138"/>
                  <a:pt x="1081" y="1123"/>
                  <a:pt x="1036" y="1123"/>
                </a:cubicBezTo>
                <a:cubicBezTo>
                  <a:pt x="991" y="1123"/>
                  <a:pt x="947" y="1138"/>
                  <a:pt x="917" y="1168"/>
                </a:cubicBezTo>
                <a:lnTo>
                  <a:pt x="60" y="2025"/>
                </a:lnTo>
                <a:cubicBezTo>
                  <a:pt x="24" y="2061"/>
                  <a:pt x="12" y="2096"/>
                  <a:pt x="12" y="2144"/>
                </a:cubicBezTo>
                <a:cubicBezTo>
                  <a:pt x="12" y="2192"/>
                  <a:pt x="24" y="2239"/>
                  <a:pt x="60" y="2263"/>
                </a:cubicBezTo>
                <a:lnTo>
                  <a:pt x="833" y="3037"/>
                </a:lnTo>
                <a:cubicBezTo>
                  <a:pt x="857" y="3073"/>
                  <a:pt x="905" y="3085"/>
                  <a:pt x="953" y="3085"/>
                </a:cubicBezTo>
                <a:cubicBezTo>
                  <a:pt x="1000" y="3085"/>
                  <a:pt x="1036" y="3073"/>
                  <a:pt x="1072" y="3037"/>
                </a:cubicBezTo>
                <a:lnTo>
                  <a:pt x="1084" y="3025"/>
                </a:lnTo>
                <a:lnTo>
                  <a:pt x="1417" y="3347"/>
                </a:lnTo>
                <a:cubicBezTo>
                  <a:pt x="1441" y="3382"/>
                  <a:pt x="1476" y="3430"/>
                  <a:pt x="1476" y="3466"/>
                </a:cubicBezTo>
                <a:cubicBezTo>
                  <a:pt x="1488" y="3573"/>
                  <a:pt x="1500" y="3692"/>
                  <a:pt x="1548" y="3787"/>
                </a:cubicBezTo>
                <a:cubicBezTo>
                  <a:pt x="1595" y="3882"/>
                  <a:pt x="1655" y="3978"/>
                  <a:pt x="1738" y="4049"/>
                </a:cubicBezTo>
                <a:lnTo>
                  <a:pt x="3381" y="5692"/>
                </a:lnTo>
                <a:lnTo>
                  <a:pt x="2691" y="6371"/>
                </a:lnTo>
                <a:lnTo>
                  <a:pt x="2393" y="5645"/>
                </a:lnTo>
                <a:cubicBezTo>
                  <a:pt x="2393" y="5645"/>
                  <a:pt x="2393" y="5633"/>
                  <a:pt x="2381" y="5633"/>
                </a:cubicBezTo>
                <a:cubicBezTo>
                  <a:pt x="2248" y="5404"/>
                  <a:pt x="2016" y="5274"/>
                  <a:pt x="1775" y="5274"/>
                </a:cubicBezTo>
                <a:cubicBezTo>
                  <a:pt x="1715" y="5274"/>
                  <a:pt x="1655" y="5283"/>
                  <a:pt x="1595" y="5299"/>
                </a:cubicBezTo>
                <a:cubicBezTo>
                  <a:pt x="1572" y="5299"/>
                  <a:pt x="1560" y="5311"/>
                  <a:pt x="1548" y="5311"/>
                </a:cubicBezTo>
                <a:cubicBezTo>
                  <a:pt x="1393" y="5406"/>
                  <a:pt x="1214" y="5573"/>
                  <a:pt x="1274" y="5728"/>
                </a:cubicBezTo>
                <a:cubicBezTo>
                  <a:pt x="1369" y="6014"/>
                  <a:pt x="1441" y="6668"/>
                  <a:pt x="1488" y="7573"/>
                </a:cubicBezTo>
                <a:cubicBezTo>
                  <a:pt x="1500" y="7811"/>
                  <a:pt x="1417" y="8038"/>
                  <a:pt x="1250" y="8204"/>
                </a:cubicBezTo>
                <a:lnTo>
                  <a:pt x="1084" y="8371"/>
                </a:lnTo>
                <a:lnTo>
                  <a:pt x="1072" y="8347"/>
                </a:lnTo>
                <a:cubicBezTo>
                  <a:pt x="1042" y="8317"/>
                  <a:pt x="997" y="8303"/>
                  <a:pt x="953" y="8303"/>
                </a:cubicBezTo>
                <a:cubicBezTo>
                  <a:pt x="908" y="8303"/>
                  <a:pt x="863" y="8317"/>
                  <a:pt x="833" y="8347"/>
                </a:cubicBezTo>
                <a:lnTo>
                  <a:pt x="60" y="9121"/>
                </a:lnTo>
                <a:cubicBezTo>
                  <a:pt x="0" y="9181"/>
                  <a:pt x="0" y="9300"/>
                  <a:pt x="60" y="9359"/>
                </a:cubicBezTo>
                <a:lnTo>
                  <a:pt x="2048" y="11360"/>
                </a:lnTo>
                <a:cubicBezTo>
                  <a:pt x="2084" y="11383"/>
                  <a:pt x="2119" y="11407"/>
                  <a:pt x="2167" y="11407"/>
                </a:cubicBezTo>
                <a:cubicBezTo>
                  <a:pt x="2215" y="11407"/>
                  <a:pt x="2262" y="11383"/>
                  <a:pt x="2286" y="11360"/>
                </a:cubicBezTo>
                <a:lnTo>
                  <a:pt x="3060" y="10586"/>
                </a:lnTo>
                <a:cubicBezTo>
                  <a:pt x="3119" y="10526"/>
                  <a:pt x="3119" y="10407"/>
                  <a:pt x="3060" y="10348"/>
                </a:cubicBezTo>
                <a:lnTo>
                  <a:pt x="3048" y="10336"/>
                </a:lnTo>
                <a:lnTo>
                  <a:pt x="3370" y="10002"/>
                </a:lnTo>
                <a:cubicBezTo>
                  <a:pt x="3405" y="9978"/>
                  <a:pt x="3453" y="9943"/>
                  <a:pt x="3489" y="9943"/>
                </a:cubicBezTo>
                <a:cubicBezTo>
                  <a:pt x="3572" y="9943"/>
                  <a:pt x="3631" y="9931"/>
                  <a:pt x="3691" y="9919"/>
                </a:cubicBezTo>
                <a:cubicBezTo>
                  <a:pt x="3751" y="9895"/>
                  <a:pt x="3822" y="9871"/>
                  <a:pt x="3881" y="9836"/>
                </a:cubicBezTo>
                <a:cubicBezTo>
                  <a:pt x="3953" y="9800"/>
                  <a:pt x="3989" y="9693"/>
                  <a:pt x="3941" y="9621"/>
                </a:cubicBezTo>
                <a:cubicBezTo>
                  <a:pt x="3910" y="9566"/>
                  <a:pt x="3853" y="9537"/>
                  <a:pt x="3797" y="9537"/>
                </a:cubicBezTo>
                <a:cubicBezTo>
                  <a:pt x="3768" y="9537"/>
                  <a:pt x="3739" y="9545"/>
                  <a:pt x="3715" y="9562"/>
                </a:cubicBezTo>
                <a:cubicBezTo>
                  <a:pt x="3667" y="9574"/>
                  <a:pt x="3643" y="9597"/>
                  <a:pt x="3596" y="9597"/>
                </a:cubicBezTo>
                <a:cubicBezTo>
                  <a:pt x="3548" y="9621"/>
                  <a:pt x="3512" y="9621"/>
                  <a:pt x="3465" y="9633"/>
                </a:cubicBezTo>
                <a:cubicBezTo>
                  <a:pt x="3334" y="9645"/>
                  <a:pt x="3215" y="9693"/>
                  <a:pt x="3119" y="9776"/>
                </a:cubicBezTo>
                <a:lnTo>
                  <a:pt x="2798" y="10109"/>
                </a:lnTo>
                <a:lnTo>
                  <a:pt x="1286" y="8609"/>
                </a:lnTo>
                <a:lnTo>
                  <a:pt x="1453" y="8443"/>
                </a:lnTo>
                <a:cubicBezTo>
                  <a:pt x="1691" y="8204"/>
                  <a:pt x="1810" y="7895"/>
                  <a:pt x="1798" y="7561"/>
                </a:cubicBezTo>
                <a:cubicBezTo>
                  <a:pt x="1762" y="6919"/>
                  <a:pt x="1691" y="6109"/>
                  <a:pt x="1584" y="5692"/>
                </a:cubicBezTo>
                <a:cubicBezTo>
                  <a:pt x="1607" y="5668"/>
                  <a:pt x="1643" y="5645"/>
                  <a:pt x="1679" y="5609"/>
                </a:cubicBezTo>
                <a:cubicBezTo>
                  <a:pt x="1699" y="5605"/>
                  <a:pt x="1720" y="5604"/>
                  <a:pt x="1741" y="5604"/>
                </a:cubicBezTo>
                <a:cubicBezTo>
                  <a:pt x="1865" y="5604"/>
                  <a:pt x="1989" y="5663"/>
                  <a:pt x="2060" y="5776"/>
                </a:cubicBezTo>
                <a:lnTo>
                  <a:pt x="2453" y="6728"/>
                </a:lnTo>
                <a:cubicBezTo>
                  <a:pt x="2465" y="6788"/>
                  <a:pt x="2524" y="6823"/>
                  <a:pt x="2572" y="6835"/>
                </a:cubicBezTo>
                <a:cubicBezTo>
                  <a:pt x="2586" y="6838"/>
                  <a:pt x="2600" y="6839"/>
                  <a:pt x="2613" y="6839"/>
                </a:cubicBezTo>
                <a:cubicBezTo>
                  <a:pt x="2657" y="6839"/>
                  <a:pt x="2696" y="6824"/>
                  <a:pt x="2715" y="6788"/>
                </a:cubicBezTo>
                <a:lnTo>
                  <a:pt x="4441" y="5061"/>
                </a:lnTo>
                <a:lnTo>
                  <a:pt x="5298" y="4216"/>
                </a:lnTo>
                <a:lnTo>
                  <a:pt x="5382" y="4121"/>
                </a:lnTo>
                <a:cubicBezTo>
                  <a:pt x="5417" y="4085"/>
                  <a:pt x="5465" y="4067"/>
                  <a:pt x="5514" y="4067"/>
                </a:cubicBezTo>
                <a:cubicBezTo>
                  <a:pt x="5563" y="4067"/>
                  <a:pt x="5614" y="4085"/>
                  <a:pt x="5656" y="4121"/>
                </a:cubicBezTo>
                <a:lnTo>
                  <a:pt x="5679" y="4156"/>
                </a:lnTo>
                <a:cubicBezTo>
                  <a:pt x="5715" y="4180"/>
                  <a:pt x="5739" y="4240"/>
                  <a:pt x="5739" y="4287"/>
                </a:cubicBezTo>
                <a:cubicBezTo>
                  <a:pt x="5739" y="4335"/>
                  <a:pt x="5727" y="4382"/>
                  <a:pt x="5679" y="4418"/>
                </a:cubicBezTo>
                <a:lnTo>
                  <a:pt x="5060" y="5049"/>
                </a:lnTo>
                <a:lnTo>
                  <a:pt x="4739" y="5359"/>
                </a:lnTo>
                <a:lnTo>
                  <a:pt x="3584" y="6526"/>
                </a:lnTo>
                <a:cubicBezTo>
                  <a:pt x="3524" y="6585"/>
                  <a:pt x="3524" y="6704"/>
                  <a:pt x="3584" y="6764"/>
                </a:cubicBezTo>
                <a:cubicBezTo>
                  <a:pt x="3608" y="6788"/>
                  <a:pt x="3655" y="6799"/>
                  <a:pt x="3703" y="6799"/>
                </a:cubicBezTo>
                <a:cubicBezTo>
                  <a:pt x="3751" y="6799"/>
                  <a:pt x="3786" y="6788"/>
                  <a:pt x="3822" y="6764"/>
                </a:cubicBezTo>
                <a:lnTo>
                  <a:pt x="5834" y="4752"/>
                </a:lnTo>
                <a:cubicBezTo>
                  <a:pt x="5846" y="4740"/>
                  <a:pt x="5870" y="4716"/>
                  <a:pt x="5894" y="4704"/>
                </a:cubicBezTo>
                <a:cubicBezTo>
                  <a:pt x="5912" y="4696"/>
                  <a:pt x="5934" y="4692"/>
                  <a:pt x="5955" y="4692"/>
                </a:cubicBezTo>
                <a:cubicBezTo>
                  <a:pt x="6002" y="4692"/>
                  <a:pt x="6052" y="4711"/>
                  <a:pt x="6084" y="4752"/>
                </a:cubicBezTo>
                <a:lnTo>
                  <a:pt x="6132" y="4799"/>
                </a:lnTo>
                <a:cubicBezTo>
                  <a:pt x="6203" y="4871"/>
                  <a:pt x="6203" y="4978"/>
                  <a:pt x="6132" y="5049"/>
                </a:cubicBezTo>
                <a:lnTo>
                  <a:pt x="5132" y="6049"/>
                </a:lnTo>
                <a:lnTo>
                  <a:pt x="5072" y="6109"/>
                </a:lnTo>
                <a:lnTo>
                  <a:pt x="3941" y="7240"/>
                </a:lnTo>
                <a:cubicBezTo>
                  <a:pt x="3881" y="7300"/>
                  <a:pt x="3881" y="7419"/>
                  <a:pt x="3941" y="7478"/>
                </a:cubicBezTo>
                <a:cubicBezTo>
                  <a:pt x="3965" y="7502"/>
                  <a:pt x="4012" y="7514"/>
                  <a:pt x="4060" y="7514"/>
                </a:cubicBezTo>
                <a:cubicBezTo>
                  <a:pt x="4108" y="7514"/>
                  <a:pt x="4143" y="7502"/>
                  <a:pt x="4179" y="7478"/>
                </a:cubicBezTo>
                <a:lnTo>
                  <a:pt x="5310" y="6347"/>
                </a:lnTo>
                <a:lnTo>
                  <a:pt x="6310" y="5347"/>
                </a:lnTo>
                <a:cubicBezTo>
                  <a:pt x="6334" y="5311"/>
                  <a:pt x="6382" y="5299"/>
                  <a:pt x="6429" y="5299"/>
                </a:cubicBezTo>
                <a:cubicBezTo>
                  <a:pt x="6465" y="5299"/>
                  <a:pt x="6513" y="5311"/>
                  <a:pt x="6548" y="5347"/>
                </a:cubicBezTo>
                <a:lnTo>
                  <a:pt x="6584" y="5395"/>
                </a:lnTo>
                <a:cubicBezTo>
                  <a:pt x="6620" y="5418"/>
                  <a:pt x="6632" y="5466"/>
                  <a:pt x="6632" y="5514"/>
                </a:cubicBezTo>
                <a:cubicBezTo>
                  <a:pt x="6632" y="5549"/>
                  <a:pt x="6620" y="5597"/>
                  <a:pt x="6584" y="5633"/>
                </a:cubicBezTo>
                <a:lnTo>
                  <a:pt x="5596" y="6621"/>
                </a:lnTo>
                <a:lnTo>
                  <a:pt x="4655" y="7561"/>
                </a:lnTo>
                <a:cubicBezTo>
                  <a:pt x="4596" y="7621"/>
                  <a:pt x="4596" y="7740"/>
                  <a:pt x="4655" y="7800"/>
                </a:cubicBezTo>
                <a:cubicBezTo>
                  <a:pt x="4679" y="7835"/>
                  <a:pt x="4727" y="7847"/>
                  <a:pt x="4774" y="7847"/>
                </a:cubicBezTo>
                <a:cubicBezTo>
                  <a:pt x="4822" y="7847"/>
                  <a:pt x="4858" y="7835"/>
                  <a:pt x="4894" y="7800"/>
                </a:cubicBezTo>
                <a:lnTo>
                  <a:pt x="6691" y="6002"/>
                </a:lnTo>
                <a:cubicBezTo>
                  <a:pt x="6728" y="5965"/>
                  <a:pt x="6764" y="5950"/>
                  <a:pt x="6806" y="5950"/>
                </a:cubicBezTo>
                <a:cubicBezTo>
                  <a:pt x="6819" y="5950"/>
                  <a:pt x="6832" y="5951"/>
                  <a:pt x="6846" y="5954"/>
                </a:cubicBezTo>
                <a:cubicBezTo>
                  <a:pt x="6870" y="5954"/>
                  <a:pt x="6906" y="5966"/>
                  <a:pt x="6918" y="6002"/>
                </a:cubicBezTo>
                <a:lnTo>
                  <a:pt x="6977" y="6061"/>
                </a:lnTo>
                <a:cubicBezTo>
                  <a:pt x="7037" y="6121"/>
                  <a:pt x="7037" y="6228"/>
                  <a:pt x="6977" y="6287"/>
                </a:cubicBezTo>
                <a:lnTo>
                  <a:pt x="5608" y="7657"/>
                </a:lnTo>
                <a:lnTo>
                  <a:pt x="4179" y="9085"/>
                </a:lnTo>
                <a:cubicBezTo>
                  <a:pt x="4120" y="9145"/>
                  <a:pt x="4120" y="9264"/>
                  <a:pt x="4179" y="9324"/>
                </a:cubicBezTo>
                <a:cubicBezTo>
                  <a:pt x="4203" y="9347"/>
                  <a:pt x="4251" y="9359"/>
                  <a:pt x="4298" y="9359"/>
                </a:cubicBezTo>
                <a:cubicBezTo>
                  <a:pt x="4346" y="9359"/>
                  <a:pt x="4382" y="9347"/>
                  <a:pt x="4417" y="9324"/>
                </a:cubicBezTo>
                <a:lnTo>
                  <a:pt x="5727" y="8014"/>
                </a:lnTo>
                <a:lnTo>
                  <a:pt x="6406" y="8693"/>
                </a:lnTo>
                <a:lnTo>
                  <a:pt x="5679" y="8990"/>
                </a:lnTo>
                <a:cubicBezTo>
                  <a:pt x="5679" y="8990"/>
                  <a:pt x="5667" y="8990"/>
                  <a:pt x="5667" y="9002"/>
                </a:cubicBezTo>
                <a:cubicBezTo>
                  <a:pt x="5382" y="9169"/>
                  <a:pt x="5251" y="9502"/>
                  <a:pt x="5334" y="9800"/>
                </a:cubicBezTo>
                <a:cubicBezTo>
                  <a:pt x="5334" y="9812"/>
                  <a:pt x="5358" y="9824"/>
                  <a:pt x="5358" y="9836"/>
                </a:cubicBezTo>
                <a:cubicBezTo>
                  <a:pt x="5430" y="9969"/>
                  <a:pt x="5564" y="10121"/>
                  <a:pt x="5707" y="10121"/>
                </a:cubicBezTo>
                <a:cubicBezTo>
                  <a:pt x="5730" y="10121"/>
                  <a:pt x="5752" y="10117"/>
                  <a:pt x="5775" y="10109"/>
                </a:cubicBezTo>
                <a:cubicBezTo>
                  <a:pt x="6048" y="10014"/>
                  <a:pt x="6703" y="9943"/>
                  <a:pt x="7620" y="9895"/>
                </a:cubicBezTo>
                <a:cubicBezTo>
                  <a:pt x="7633" y="9894"/>
                  <a:pt x="7647" y="9894"/>
                  <a:pt x="7660" y="9894"/>
                </a:cubicBezTo>
                <a:cubicBezTo>
                  <a:pt x="7882" y="9894"/>
                  <a:pt x="8082" y="9987"/>
                  <a:pt x="8239" y="10133"/>
                </a:cubicBezTo>
                <a:lnTo>
                  <a:pt x="8406" y="10300"/>
                </a:lnTo>
                <a:lnTo>
                  <a:pt x="8394" y="10312"/>
                </a:lnTo>
                <a:cubicBezTo>
                  <a:pt x="8334" y="10371"/>
                  <a:pt x="8334" y="10490"/>
                  <a:pt x="8394" y="10550"/>
                </a:cubicBezTo>
                <a:lnTo>
                  <a:pt x="9168" y="11324"/>
                </a:lnTo>
                <a:cubicBezTo>
                  <a:pt x="9192" y="11360"/>
                  <a:pt x="9239" y="11371"/>
                  <a:pt x="9287" y="11371"/>
                </a:cubicBezTo>
                <a:cubicBezTo>
                  <a:pt x="9323" y="11371"/>
                  <a:pt x="9370" y="11360"/>
                  <a:pt x="9406" y="11324"/>
                </a:cubicBezTo>
                <a:lnTo>
                  <a:pt x="11394" y="9335"/>
                </a:lnTo>
                <a:cubicBezTo>
                  <a:pt x="11454" y="9276"/>
                  <a:pt x="11454" y="9157"/>
                  <a:pt x="11394" y="9097"/>
                </a:cubicBezTo>
                <a:lnTo>
                  <a:pt x="10656" y="8395"/>
                </a:lnTo>
                <a:cubicBezTo>
                  <a:pt x="10620" y="8371"/>
                  <a:pt x="10585" y="8359"/>
                  <a:pt x="10537" y="8359"/>
                </a:cubicBezTo>
                <a:cubicBezTo>
                  <a:pt x="10489" y="8359"/>
                  <a:pt x="10442" y="8371"/>
                  <a:pt x="10418" y="8395"/>
                </a:cubicBezTo>
                <a:lnTo>
                  <a:pt x="10406" y="8419"/>
                </a:lnTo>
                <a:lnTo>
                  <a:pt x="10073" y="8085"/>
                </a:lnTo>
                <a:cubicBezTo>
                  <a:pt x="10061" y="8073"/>
                  <a:pt x="10049" y="8050"/>
                  <a:pt x="10025" y="8026"/>
                </a:cubicBezTo>
                <a:cubicBezTo>
                  <a:pt x="10013" y="8014"/>
                  <a:pt x="10013" y="7978"/>
                  <a:pt x="10013" y="7954"/>
                </a:cubicBezTo>
                <a:cubicBezTo>
                  <a:pt x="10001" y="7728"/>
                  <a:pt x="9906" y="7526"/>
                  <a:pt x="9751" y="7359"/>
                </a:cubicBezTo>
                <a:lnTo>
                  <a:pt x="8108" y="5716"/>
                </a:lnTo>
                <a:lnTo>
                  <a:pt x="8799" y="5037"/>
                </a:lnTo>
                <a:lnTo>
                  <a:pt x="9096" y="5764"/>
                </a:lnTo>
                <a:cubicBezTo>
                  <a:pt x="9096" y="5764"/>
                  <a:pt x="9096" y="5776"/>
                  <a:pt x="9108" y="5776"/>
                </a:cubicBezTo>
                <a:cubicBezTo>
                  <a:pt x="9242" y="6004"/>
                  <a:pt x="9474" y="6134"/>
                  <a:pt x="9714" y="6134"/>
                </a:cubicBezTo>
                <a:cubicBezTo>
                  <a:pt x="9774" y="6134"/>
                  <a:pt x="9835" y="6126"/>
                  <a:pt x="9894" y="6109"/>
                </a:cubicBezTo>
                <a:cubicBezTo>
                  <a:pt x="9906" y="6109"/>
                  <a:pt x="9930" y="6097"/>
                  <a:pt x="9942" y="6097"/>
                </a:cubicBezTo>
                <a:cubicBezTo>
                  <a:pt x="10085" y="6002"/>
                  <a:pt x="10263" y="5835"/>
                  <a:pt x="10204" y="5680"/>
                </a:cubicBezTo>
                <a:cubicBezTo>
                  <a:pt x="10120" y="5406"/>
                  <a:pt x="10049" y="4740"/>
                  <a:pt x="10001" y="3835"/>
                </a:cubicBezTo>
                <a:cubicBezTo>
                  <a:pt x="9989" y="3632"/>
                  <a:pt x="10049" y="3442"/>
                  <a:pt x="10168" y="3299"/>
                </a:cubicBezTo>
                <a:cubicBezTo>
                  <a:pt x="10192" y="3263"/>
                  <a:pt x="10204" y="3239"/>
                  <a:pt x="10239" y="3204"/>
                </a:cubicBezTo>
                <a:lnTo>
                  <a:pt x="10406" y="3037"/>
                </a:lnTo>
                <a:lnTo>
                  <a:pt x="10418" y="3061"/>
                </a:lnTo>
                <a:cubicBezTo>
                  <a:pt x="10442" y="3085"/>
                  <a:pt x="10489" y="3097"/>
                  <a:pt x="10537" y="3097"/>
                </a:cubicBezTo>
                <a:cubicBezTo>
                  <a:pt x="10585" y="3097"/>
                  <a:pt x="10620" y="3085"/>
                  <a:pt x="10656" y="3061"/>
                </a:cubicBezTo>
                <a:lnTo>
                  <a:pt x="11430" y="2287"/>
                </a:lnTo>
                <a:cubicBezTo>
                  <a:pt x="11490" y="2227"/>
                  <a:pt x="11490" y="2096"/>
                  <a:pt x="11430" y="2037"/>
                </a:cubicBezTo>
                <a:lnTo>
                  <a:pt x="9430" y="49"/>
                </a:lnTo>
                <a:cubicBezTo>
                  <a:pt x="9406" y="13"/>
                  <a:pt x="9358" y="1"/>
                  <a:pt x="9311" y="1"/>
                </a:cubicBezTo>
                <a:cubicBezTo>
                  <a:pt x="9275" y="1"/>
                  <a:pt x="9227" y="25"/>
                  <a:pt x="9192" y="49"/>
                </a:cubicBezTo>
                <a:lnTo>
                  <a:pt x="8418" y="823"/>
                </a:lnTo>
                <a:cubicBezTo>
                  <a:pt x="8358" y="882"/>
                  <a:pt x="8358" y="1001"/>
                  <a:pt x="8418" y="1061"/>
                </a:cubicBezTo>
                <a:lnTo>
                  <a:pt x="8442" y="1073"/>
                </a:lnTo>
                <a:lnTo>
                  <a:pt x="8108" y="1406"/>
                </a:lnTo>
                <a:cubicBezTo>
                  <a:pt x="8096" y="1418"/>
                  <a:pt x="8084" y="1430"/>
                  <a:pt x="8049" y="1454"/>
                </a:cubicBezTo>
                <a:cubicBezTo>
                  <a:pt x="8037" y="1465"/>
                  <a:pt x="8001" y="1465"/>
                  <a:pt x="7977" y="1465"/>
                </a:cubicBezTo>
                <a:cubicBezTo>
                  <a:pt x="7751" y="1477"/>
                  <a:pt x="7549" y="1573"/>
                  <a:pt x="7382" y="1727"/>
                </a:cubicBezTo>
                <a:lnTo>
                  <a:pt x="7191" y="1930"/>
                </a:lnTo>
                <a:cubicBezTo>
                  <a:pt x="7132" y="1989"/>
                  <a:pt x="7132" y="2108"/>
                  <a:pt x="7191" y="2168"/>
                </a:cubicBezTo>
                <a:cubicBezTo>
                  <a:pt x="7215" y="2192"/>
                  <a:pt x="7263" y="2204"/>
                  <a:pt x="7310" y="2204"/>
                </a:cubicBezTo>
                <a:cubicBezTo>
                  <a:pt x="7346" y="2204"/>
                  <a:pt x="7394" y="2192"/>
                  <a:pt x="7418" y="2168"/>
                </a:cubicBezTo>
                <a:lnTo>
                  <a:pt x="7632" y="1954"/>
                </a:lnTo>
                <a:cubicBezTo>
                  <a:pt x="7739" y="1846"/>
                  <a:pt x="7870" y="1787"/>
                  <a:pt x="8001" y="1787"/>
                </a:cubicBezTo>
                <a:cubicBezTo>
                  <a:pt x="8061" y="1787"/>
                  <a:pt x="8132" y="1775"/>
                  <a:pt x="8180" y="1751"/>
                </a:cubicBezTo>
                <a:cubicBezTo>
                  <a:pt x="8239" y="1715"/>
                  <a:pt x="8287" y="1692"/>
                  <a:pt x="8346" y="1644"/>
                </a:cubicBezTo>
                <a:lnTo>
                  <a:pt x="8680" y="1311"/>
                </a:lnTo>
                <a:lnTo>
                  <a:pt x="10180" y="2823"/>
                </a:lnTo>
                <a:lnTo>
                  <a:pt x="10013" y="2978"/>
                </a:lnTo>
                <a:cubicBezTo>
                  <a:pt x="9966" y="3025"/>
                  <a:pt x="9942" y="3073"/>
                  <a:pt x="9894" y="3120"/>
                </a:cubicBezTo>
                <a:cubicBezTo>
                  <a:pt x="9727" y="3335"/>
                  <a:pt x="9656" y="3597"/>
                  <a:pt x="9668" y="3859"/>
                </a:cubicBezTo>
                <a:cubicBezTo>
                  <a:pt x="9704" y="4502"/>
                  <a:pt x="9775" y="5311"/>
                  <a:pt x="9882" y="5740"/>
                </a:cubicBezTo>
                <a:cubicBezTo>
                  <a:pt x="9870" y="5752"/>
                  <a:pt x="9823" y="5776"/>
                  <a:pt x="9787" y="5811"/>
                </a:cubicBezTo>
                <a:cubicBezTo>
                  <a:pt x="9766" y="5815"/>
                  <a:pt x="9745" y="5816"/>
                  <a:pt x="9725" y="5816"/>
                </a:cubicBezTo>
                <a:cubicBezTo>
                  <a:pt x="9601" y="5816"/>
                  <a:pt x="9477" y="5757"/>
                  <a:pt x="9406" y="5645"/>
                </a:cubicBezTo>
                <a:lnTo>
                  <a:pt x="9013" y="4692"/>
                </a:lnTo>
                <a:cubicBezTo>
                  <a:pt x="9001" y="4633"/>
                  <a:pt x="8942" y="4609"/>
                  <a:pt x="8894" y="4585"/>
                </a:cubicBezTo>
                <a:cubicBezTo>
                  <a:pt x="8880" y="4582"/>
                  <a:pt x="8866" y="4581"/>
                  <a:pt x="8852" y="4581"/>
                </a:cubicBezTo>
                <a:cubicBezTo>
                  <a:pt x="8808" y="4581"/>
                  <a:pt x="8769" y="4596"/>
                  <a:pt x="8751" y="4633"/>
                </a:cubicBezTo>
                <a:lnTo>
                  <a:pt x="7346" y="6026"/>
                </a:lnTo>
                <a:lnTo>
                  <a:pt x="7263" y="5895"/>
                </a:lnTo>
                <a:lnTo>
                  <a:pt x="7203" y="5835"/>
                </a:lnTo>
                <a:cubicBezTo>
                  <a:pt x="7156" y="5799"/>
                  <a:pt x="7108" y="5764"/>
                  <a:pt x="7072" y="5752"/>
                </a:cubicBezTo>
                <a:lnTo>
                  <a:pt x="7906" y="4918"/>
                </a:lnTo>
                <a:cubicBezTo>
                  <a:pt x="7965" y="4859"/>
                  <a:pt x="7965" y="4740"/>
                  <a:pt x="7906" y="4680"/>
                </a:cubicBezTo>
                <a:cubicBezTo>
                  <a:pt x="7876" y="4650"/>
                  <a:pt x="7831" y="4635"/>
                  <a:pt x="7787" y="4635"/>
                </a:cubicBezTo>
                <a:cubicBezTo>
                  <a:pt x="7742" y="4635"/>
                  <a:pt x="7697" y="4650"/>
                  <a:pt x="7668" y="4680"/>
                </a:cubicBezTo>
                <a:lnTo>
                  <a:pt x="6977" y="5359"/>
                </a:lnTo>
                <a:cubicBezTo>
                  <a:pt x="6953" y="5299"/>
                  <a:pt x="6918" y="5252"/>
                  <a:pt x="6870" y="5216"/>
                </a:cubicBezTo>
                <a:lnTo>
                  <a:pt x="6834" y="5168"/>
                </a:lnTo>
                <a:cubicBezTo>
                  <a:pt x="6787" y="5121"/>
                  <a:pt x="6739" y="5097"/>
                  <a:pt x="6679" y="5061"/>
                </a:cubicBezTo>
                <a:lnTo>
                  <a:pt x="7549" y="4204"/>
                </a:lnTo>
                <a:cubicBezTo>
                  <a:pt x="7608" y="4144"/>
                  <a:pt x="7608" y="4025"/>
                  <a:pt x="7549" y="3966"/>
                </a:cubicBezTo>
                <a:cubicBezTo>
                  <a:pt x="7519" y="3936"/>
                  <a:pt x="7474" y="3921"/>
                  <a:pt x="7430" y="3921"/>
                </a:cubicBezTo>
                <a:cubicBezTo>
                  <a:pt x="7385" y="3921"/>
                  <a:pt x="7340" y="3936"/>
                  <a:pt x="7310" y="3966"/>
                </a:cubicBezTo>
                <a:lnTo>
                  <a:pt x="6513" y="4752"/>
                </a:lnTo>
                <a:cubicBezTo>
                  <a:pt x="6489" y="4692"/>
                  <a:pt x="6453" y="4644"/>
                  <a:pt x="6418" y="4597"/>
                </a:cubicBezTo>
                <a:lnTo>
                  <a:pt x="6370" y="4561"/>
                </a:lnTo>
                <a:cubicBezTo>
                  <a:pt x="6322" y="4513"/>
                  <a:pt x="6275" y="4478"/>
                  <a:pt x="6215" y="4454"/>
                </a:cubicBezTo>
                <a:lnTo>
                  <a:pt x="6834" y="3847"/>
                </a:lnTo>
                <a:cubicBezTo>
                  <a:pt x="6894" y="3787"/>
                  <a:pt x="6894" y="3668"/>
                  <a:pt x="6834" y="3609"/>
                </a:cubicBezTo>
                <a:cubicBezTo>
                  <a:pt x="6804" y="3579"/>
                  <a:pt x="6760" y="3564"/>
                  <a:pt x="6715" y="3564"/>
                </a:cubicBezTo>
                <a:cubicBezTo>
                  <a:pt x="6671" y="3564"/>
                  <a:pt x="6626" y="3579"/>
                  <a:pt x="6596" y="3609"/>
                </a:cubicBezTo>
                <a:lnTo>
                  <a:pt x="6084" y="4109"/>
                </a:lnTo>
                <a:cubicBezTo>
                  <a:pt x="6060" y="4049"/>
                  <a:pt x="6025" y="3990"/>
                  <a:pt x="5977" y="3942"/>
                </a:cubicBezTo>
                <a:lnTo>
                  <a:pt x="5953" y="3918"/>
                </a:lnTo>
                <a:cubicBezTo>
                  <a:pt x="5906" y="3871"/>
                  <a:pt x="5846" y="3823"/>
                  <a:pt x="5786" y="3811"/>
                </a:cubicBezTo>
                <a:lnTo>
                  <a:pt x="6965" y="2632"/>
                </a:lnTo>
                <a:cubicBezTo>
                  <a:pt x="7025" y="2573"/>
                  <a:pt x="7025" y="2454"/>
                  <a:pt x="6965" y="2394"/>
                </a:cubicBezTo>
                <a:cubicBezTo>
                  <a:pt x="6935" y="2364"/>
                  <a:pt x="6891" y="2349"/>
                  <a:pt x="6846" y="2349"/>
                </a:cubicBezTo>
                <a:cubicBezTo>
                  <a:pt x="6801" y="2349"/>
                  <a:pt x="6757" y="2364"/>
                  <a:pt x="6727" y="2394"/>
                </a:cubicBezTo>
                <a:lnTo>
                  <a:pt x="5751" y="3370"/>
                </a:lnTo>
                <a:lnTo>
                  <a:pt x="5072" y="2680"/>
                </a:lnTo>
                <a:lnTo>
                  <a:pt x="5798" y="2382"/>
                </a:lnTo>
                <a:cubicBezTo>
                  <a:pt x="5798" y="2382"/>
                  <a:pt x="5810" y="2382"/>
                  <a:pt x="5810" y="2370"/>
                </a:cubicBezTo>
                <a:cubicBezTo>
                  <a:pt x="6096" y="2204"/>
                  <a:pt x="6227" y="1882"/>
                  <a:pt x="6144" y="1585"/>
                </a:cubicBezTo>
                <a:cubicBezTo>
                  <a:pt x="6144" y="1561"/>
                  <a:pt x="6132" y="1549"/>
                  <a:pt x="6132" y="1537"/>
                </a:cubicBezTo>
                <a:cubicBezTo>
                  <a:pt x="6049" y="1403"/>
                  <a:pt x="5914" y="1251"/>
                  <a:pt x="5778" y="1251"/>
                </a:cubicBezTo>
                <a:cubicBezTo>
                  <a:pt x="5757" y="1251"/>
                  <a:pt x="5736" y="1255"/>
                  <a:pt x="5715" y="1263"/>
                </a:cubicBezTo>
                <a:cubicBezTo>
                  <a:pt x="5429" y="1358"/>
                  <a:pt x="4774" y="1430"/>
                  <a:pt x="3870" y="1477"/>
                </a:cubicBezTo>
                <a:cubicBezTo>
                  <a:pt x="3855" y="1478"/>
                  <a:pt x="3840" y="1478"/>
                  <a:pt x="3825" y="1478"/>
                </a:cubicBezTo>
                <a:cubicBezTo>
                  <a:pt x="3603" y="1478"/>
                  <a:pt x="3395" y="1395"/>
                  <a:pt x="3239" y="1239"/>
                </a:cubicBezTo>
                <a:lnTo>
                  <a:pt x="3072" y="1073"/>
                </a:lnTo>
                <a:lnTo>
                  <a:pt x="3096" y="1061"/>
                </a:lnTo>
                <a:cubicBezTo>
                  <a:pt x="3155" y="1001"/>
                  <a:pt x="3155" y="882"/>
                  <a:pt x="3096" y="823"/>
                </a:cubicBezTo>
                <a:lnTo>
                  <a:pt x="2322" y="49"/>
                </a:lnTo>
                <a:cubicBezTo>
                  <a:pt x="2286" y="13"/>
                  <a:pt x="2238"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0" name="Google Shape;11840;p61"/>
          <p:cNvGrpSpPr/>
          <p:nvPr/>
        </p:nvGrpSpPr>
        <p:grpSpPr>
          <a:xfrm>
            <a:off x="3961923" y="2486317"/>
            <a:ext cx="364415" cy="220936"/>
            <a:chOff x="3961923" y="2486317"/>
            <a:chExt cx="364415" cy="220936"/>
          </a:xfrm>
        </p:grpSpPr>
        <p:sp>
          <p:nvSpPr>
            <p:cNvPr id="11841" name="Google Shape;11841;p61"/>
            <p:cNvSpPr/>
            <p:nvPr/>
          </p:nvSpPr>
          <p:spPr>
            <a:xfrm>
              <a:off x="4106764" y="2486507"/>
              <a:ext cx="219574" cy="220746"/>
            </a:xfrm>
            <a:custGeom>
              <a:avLst/>
              <a:gdLst/>
              <a:ahLst/>
              <a:cxnLst/>
              <a:rect l="l" t="t" r="r" b="b"/>
              <a:pathLst>
                <a:path w="6931" h="6968" extrusionOk="0">
                  <a:moveTo>
                    <a:pt x="4114" y="1"/>
                  </a:moveTo>
                  <a:cubicBezTo>
                    <a:pt x="4035" y="1"/>
                    <a:pt x="3953" y="69"/>
                    <a:pt x="3942" y="157"/>
                  </a:cubicBezTo>
                  <a:cubicBezTo>
                    <a:pt x="3930" y="240"/>
                    <a:pt x="4001" y="336"/>
                    <a:pt x="4085" y="348"/>
                  </a:cubicBezTo>
                  <a:cubicBezTo>
                    <a:pt x="4906" y="455"/>
                    <a:pt x="5633" y="895"/>
                    <a:pt x="6085" y="1574"/>
                  </a:cubicBezTo>
                  <a:cubicBezTo>
                    <a:pt x="6764" y="2610"/>
                    <a:pt x="6728" y="3943"/>
                    <a:pt x="5954" y="4908"/>
                  </a:cubicBezTo>
                  <a:cubicBezTo>
                    <a:pt x="5918" y="4943"/>
                    <a:pt x="5906" y="4991"/>
                    <a:pt x="5918" y="5027"/>
                  </a:cubicBezTo>
                  <a:lnTo>
                    <a:pt x="5990" y="6539"/>
                  </a:lnTo>
                  <a:lnTo>
                    <a:pt x="5990" y="6539"/>
                  </a:lnTo>
                  <a:lnTo>
                    <a:pt x="4644" y="5896"/>
                  </a:lnTo>
                  <a:cubicBezTo>
                    <a:pt x="4609" y="5884"/>
                    <a:pt x="4561" y="5884"/>
                    <a:pt x="4525" y="5884"/>
                  </a:cubicBezTo>
                  <a:cubicBezTo>
                    <a:pt x="4272" y="5957"/>
                    <a:pt x="4014" y="5992"/>
                    <a:pt x="3758" y="5992"/>
                  </a:cubicBezTo>
                  <a:cubicBezTo>
                    <a:pt x="2969" y="5992"/>
                    <a:pt x="2201" y="5659"/>
                    <a:pt x="1644" y="5074"/>
                  </a:cubicBezTo>
                  <a:cubicBezTo>
                    <a:pt x="1584" y="5015"/>
                    <a:pt x="1549" y="4955"/>
                    <a:pt x="1501" y="4896"/>
                  </a:cubicBezTo>
                  <a:cubicBezTo>
                    <a:pt x="1453" y="4836"/>
                    <a:pt x="1430" y="4789"/>
                    <a:pt x="1382" y="4729"/>
                  </a:cubicBezTo>
                  <a:lnTo>
                    <a:pt x="1382" y="4717"/>
                  </a:lnTo>
                  <a:cubicBezTo>
                    <a:pt x="1620" y="4300"/>
                    <a:pt x="1751" y="3836"/>
                    <a:pt x="1787" y="3384"/>
                  </a:cubicBezTo>
                  <a:cubicBezTo>
                    <a:pt x="1787" y="3288"/>
                    <a:pt x="1727" y="3205"/>
                    <a:pt x="1632" y="3205"/>
                  </a:cubicBezTo>
                  <a:cubicBezTo>
                    <a:pt x="1549" y="3205"/>
                    <a:pt x="1453" y="3265"/>
                    <a:pt x="1453" y="3348"/>
                  </a:cubicBezTo>
                  <a:cubicBezTo>
                    <a:pt x="1430" y="3836"/>
                    <a:pt x="1263" y="4312"/>
                    <a:pt x="977" y="4729"/>
                  </a:cubicBezTo>
                  <a:cubicBezTo>
                    <a:pt x="739" y="5074"/>
                    <a:pt x="441" y="5360"/>
                    <a:pt x="96" y="5586"/>
                  </a:cubicBezTo>
                  <a:cubicBezTo>
                    <a:pt x="25" y="5622"/>
                    <a:pt x="1" y="5729"/>
                    <a:pt x="37" y="5801"/>
                  </a:cubicBezTo>
                  <a:cubicBezTo>
                    <a:pt x="72" y="5848"/>
                    <a:pt x="132" y="5884"/>
                    <a:pt x="191" y="5884"/>
                  </a:cubicBezTo>
                  <a:cubicBezTo>
                    <a:pt x="215" y="5884"/>
                    <a:pt x="251" y="5860"/>
                    <a:pt x="275" y="5848"/>
                  </a:cubicBezTo>
                  <a:cubicBezTo>
                    <a:pt x="632" y="5622"/>
                    <a:pt x="953" y="5348"/>
                    <a:pt x="1192" y="5015"/>
                  </a:cubicBezTo>
                  <a:cubicBezTo>
                    <a:pt x="1203" y="5051"/>
                    <a:pt x="1215" y="5062"/>
                    <a:pt x="1251" y="5086"/>
                  </a:cubicBezTo>
                  <a:cubicBezTo>
                    <a:pt x="1311" y="5170"/>
                    <a:pt x="1370" y="5229"/>
                    <a:pt x="1406" y="5301"/>
                  </a:cubicBezTo>
                  <a:cubicBezTo>
                    <a:pt x="1811" y="5729"/>
                    <a:pt x="2323" y="6039"/>
                    <a:pt x="2894" y="6205"/>
                  </a:cubicBezTo>
                  <a:cubicBezTo>
                    <a:pt x="3179" y="6284"/>
                    <a:pt x="3465" y="6323"/>
                    <a:pt x="3749" y="6323"/>
                  </a:cubicBezTo>
                  <a:cubicBezTo>
                    <a:pt x="4021" y="6323"/>
                    <a:pt x="4293" y="6287"/>
                    <a:pt x="4561" y="6217"/>
                  </a:cubicBezTo>
                  <a:lnTo>
                    <a:pt x="6109" y="6956"/>
                  </a:lnTo>
                  <a:cubicBezTo>
                    <a:pt x="6145" y="6967"/>
                    <a:pt x="6156" y="6967"/>
                    <a:pt x="6192" y="6967"/>
                  </a:cubicBezTo>
                  <a:cubicBezTo>
                    <a:pt x="6216" y="6967"/>
                    <a:pt x="6252" y="6956"/>
                    <a:pt x="6275" y="6932"/>
                  </a:cubicBezTo>
                  <a:cubicBezTo>
                    <a:pt x="6323" y="6908"/>
                    <a:pt x="6347" y="6848"/>
                    <a:pt x="6347" y="6789"/>
                  </a:cubicBezTo>
                  <a:lnTo>
                    <a:pt x="6275" y="5074"/>
                  </a:lnTo>
                  <a:cubicBezTo>
                    <a:pt x="6668" y="4574"/>
                    <a:pt x="6883" y="3955"/>
                    <a:pt x="6918" y="3300"/>
                  </a:cubicBezTo>
                  <a:cubicBezTo>
                    <a:pt x="6930" y="2622"/>
                    <a:pt x="6752" y="1967"/>
                    <a:pt x="6371" y="1383"/>
                  </a:cubicBezTo>
                  <a:cubicBezTo>
                    <a:pt x="5859" y="633"/>
                    <a:pt x="5037" y="121"/>
                    <a:pt x="4132" y="2"/>
                  </a:cubicBezTo>
                  <a:cubicBezTo>
                    <a:pt x="4126" y="1"/>
                    <a:pt x="4120" y="1"/>
                    <a:pt x="4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2" name="Google Shape;11842;p61"/>
            <p:cNvSpPr/>
            <p:nvPr/>
          </p:nvSpPr>
          <p:spPr>
            <a:xfrm>
              <a:off x="3961923" y="2486317"/>
              <a:ext cx="259839" cy="220936"/>
            </a:xfrm>
            <a:custGeom>
              <a:avLst/>
              <a:gdLst/>
              <a:ahLst/>
              <a:cxnLst/>
              <a:rect l="l" t="t" r="r" b="b"/>
              <a:pathLst>
                <a:path w="8202" h="6974" extrusionOk="0">
                  <a:moveTo>
                    <a:pt x="3198" y="1"/>
                  </a:moveTo>
                  <a:cubicBezTo>
                    <a:pt x="2177" y="1"/>
                    <a:pt x="1174" y="493"/>
                    <a:pt x="560" y="1413"/>
                  </a:cubicBezTo>
                  <a:cubicBezTo>
                    <a:pt x="179" y="1973"/>
                    <a:pt x="1" y="2640"/>
                    <a:pt x="25" y="3318"/>
                  </a:cubicBezTo>
                  <a:cubicBezTo>
                    <a:pt x="60" y="3949"/>
                    <a:pt x="287" y="4556"/>
                    <a:pt x="668" y="5080"/>
                  </a:cubicBezTo>
                  <a:lnTo>
                    <a:pt x="596" y="6795"/>
                  </a:lnTo>
                  <a:cubicBezTo>
                    <a:pt x="596" y="6854"/>
                    <a:pt x="620" y="6914"/>
                    <a:pt x="668" y="6938"/>
                  </a:cubicBezTo>
                  <a:cubicBezTo>
                    <a:pt x="703" y="6962"/>
                    <a:pt x="727" y="6973"/>
                    <a:pt x="763" y="6973"/>
                  </a:cubicBezTo>
                  <a:cubicBezTo>
                    <a:pt x="787" y="6973"/>
                    <a:pt x="799" y="6973"/>
                    <a:pt x="834" y="6962"/>
                  </a:cubicBezTo>
                  <a:lnTo>
                    <a:pt x="2382" y="6235"/>
                  </a:lnTo>
                  <a:cubicBezTo>
                    <a:pt x="2647" y="6300"/>
                    <a:pt x="2916" y="6333"/>
                    <a:pt x="3186" y="6333"/>
                  </a:cubicBezTo>
                  <a:cubicBezTo>
                    <a:pt x="3512" y="6333"/>
                    <a:pt x="3837" y="6285"/>
                    <a:pt x="4156" y="6188"/>
                  </a:cubicBezTo>
                  <a:cubicBezTo>
                    <a:pt x="4240" y="6152"/>
                    <a:pt x="4287" y="6069"/>
                    <a:pt x="4251" y="5973"/>
                  </a:cubicBezTo>
                  <a:cubicBezTo>
                    <a:pt x="4233" y="5909"/>
                    <a:pt x="4172" y="5866"/>
                    <a:pt x="4107" y="5866"/>
                  </a:cubicBezTo>
                  <a:cubicBezTo>
                    <a:pt x="4088" y="5866"/>
                    <a:pt x="4068" y="5870"/>
                    <a:pt x="4049" y="5878"/>
                  </a:cubicBezTo>
                  <a:cubicBezTo>
                    <a:pt x="3772" y="5971"/>
                    <a:pt x="3484" y="6015"/>
                    <a:pt x="3198" y="6015"/>
                  </a:cubicBezTo>
                  <a:cubicBezTo>
                    <a:pt x="2931" y="6015"/>
                    <a:pt x="2664" y="5976"/>
                    <a:pt x="2406" y="5902"/>
                  </a:cubicBezTo>
                  <a:cubicBezTo>
                    <a:pt x="2391" y="5897"/>
                    <a:pt x="2376" y="5894"/>
                    <a:pt x="2361" y="5894"/>
                  </a:cubicBezTo>
                  <a:cubicBezTo>
                    <a:pt x="2339" y="5894"/>
                    <a:pt x="2315" y="5900"/>
                    <a:pt x="2287" y="5914"/>
                  </a:cubicBezTo>
                  <a:lnTo>
                    <a:pt x="941" y="6533"/>
                  </a:lnTo>
                  <a:lnTo>
                    <a:pt x="941" y="6533"/>
                  </a:lnTo>
                  <a:lnTo>
                    <a:pt x="1013" y="5021"/>
                  </a:lnTo>
                  <a:cubicBezTo>
                    <a:pt x="1013" y="4985"/>
                    <a:pt x="1001" y="4949"/>
                    <a:pt x="977" y="4902"/>
                  </a:cubicBezTo>
                  <a:cubicBezTo>
                    <a:pt x="203" y="3937"/>
                    <a:pt x="168" y="2604"/>
                    <a:pt x="846" y="1568"/>
                  </a:cubicBezTo>
                  <a:cubicBezTo>
                    <a:pt x="1393" y="759"/>
                    <a:pt x="2293" y="318"/>
                    <a:pt x="3208" y="318"/>
                  </a:cubicBezTo>
                  <a:cubicBezTo>
                    <a:pt x="3748" y="318"/>
                    <a:pt x="4294" y="472"/>
                    <a:pt x="4775" y="794"/>
                  </a:cubicBezTo>
                  <a:cubicBezTo>
                    <a:pt x="5430" y="1247"/>
                    <a:pt x="5883" y="1949"/>
                    <a:pt x="6002" y="2735"/>
                  </a:cubicBezTo>
                  <a:cubicBezTo>
                    <a:pt x="6013" y="2811"/>
                    <a:pt x="6083" y="2867"/>
                    <a:pt x="6168" y="2867"/>
                  </a:cubicBezTo>
                  <a:cubicBezTo>
                    <a:pt x="6176" y="2867"/>
                    <a:pt x="6184" y="2867"/>
                    <a:pt x="6192" y="2866"/>
                  </a:cubicBezTo>
                  <a:cubicBezTo>
                    <a:pt x="6275" y="2854"/>
                    <a:pt x="6335" y="2759"/>
                    <a:pt x="6323" y="2675"/>
                  </a:cubicBezTo>
                  <a:cubicBezTo>
                    <a:pt x="6264" y="2282"/>
                    <a:pt x="6133" y="1913"/>
                    <a:pt x="5954" y="1592"/>
                  </a:cubicBezTo>
                  <a:cubicBezTo>
                    <a:pt x="5990" y="1532"/>
                    <a:pt x="6025" y="1473"/>
                    <a:pt x="6073" y="1413"/>
                  </a:cubicBezTo>
                  <a:cubicBezTo>
                    <a:pt x="6133" y="1330"/>
                    <a:pt x="6192" y="1270"/>
                    <a:pt x="6252" y="1199"/>
                  </a:cubicBezTo>
                  <a:cubicBezTo>
                    <a:pt x="6395" y="1056"/>
                    <a:pt x="6561" y="901"/>
                    <a:pt x="6740" y="782"/>
                  </a:cubicBezTo>
                  <a:cubicBezTo>
                    <a:pt x="7121" y="520"/>
                    <a:pt x="7585" y="365"/>
                    <a:pt x="8050" y="318"/>
                  </a:cubicBezTo>
                  <a:cubicBezTo>
                    <a:pt x="8057" y="320"/>
                    <a:pt x="8065" y="322"/>
                    <a:pt x="8073" y="322"/>
                  </a:cubicBezTo>
                  <a:cubicBezTo>
                    <a:pt x="8137" y="322"/>
                    <a:pt x="8202" y="238"/>
                    <a:pt x="8180" y="163"/>
                  </a:cubicBezTo>
                  <a:cubicBezTo>
                    <a:pt x="8169" y="75"/>
                    <a:pt x="8107" y="7"/>
                    <a:pt x="8022" y="7"/>
                  </a:cubicBezTo>
                  <a:cubicBezTo>
                    <a:pt x="8016" y="7"/>
                    <a:pt x="8009" y="7"/>
                    <a:pt x="8002" y="8"/>
                  </a:cubicBezTo>
                  <a:cubicBezTo>
                    <a:pt x="7490" y="56"/>
                    <a:pt x="6978" y="234"/>
                    <a:pt x="6549" y="532"/>
                  </a:cubicBezTo>
                  <a:cubicBezTo>
                    <a:pt x="6359" y="663"/>
                    <a:pt x="6156" y="818"/>
                    <a:pt x="6002" y="996"/>
                  </a:cubicBezTo>
                  <a:cubicBezTo>
                    <a:pt x="5918" y="1068"/>
                    <a:pt x="5859" y="1139"/>
                    <a:pt x="5799" y="1211"/>
                  </a:cubicBezTo>
                  <a:cubicBezTo>
                    <a:pt x="5787" y="1247"/>
                    <a:pt x="5764" y="1258"/>
                    <a:pt x="5740" y="1294"/>
                  </a:cubicBezTo>
                  <a:cubicBezTo>
                    <a:pt x="5525" y="996"/>
                    <a:pt x="5252" y="735"/>
                    <a:pt x="4954" y="532"/>
                  </a:cubicBezTo>
                  <a:cubicBezTo>
                    <a:pt x="4414" y="174"/>
                    <a:pt x="3803" y="1"/>
                    <a:pt x="31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3" name="Google Shape;11843;p61"/>
            <p:cNvSpPr/>
            <p:nvPr/>
          </p:nvSpPr>
          <p:spPr>
            <a:xfrm>
              <a:off x="4015113" y="2540870"/>
              <a:ext cx="96212" cy="95832"/>
            </a:xfrm>
            <a:custGeom>
              <a:avLst/>
              <a:gdLst/>
              <a:ahLst/>
              <a:cxnLst/>
              <a:rect l="l" t="t" r="r" b="b"/>
              <a:pathLst>
                <a:path w="3037" h="3025" extrusionOk="0">
                  <a:moveTo>
                    <a:pt x="1418" y="346"/>
                  </a:moveTo>
                  <a:cubicBezTo>
                    <a:pt x="2013" y="346"/>
                    <a:pt x="2501" y="834"/>
                    <a:pt x="2501" y="1430"/>
                  </a:cubicBezTo>
                  <a:cubicBezTo>
                    <a:pt x="2501" y="1668"/>
                    <a:pt x="2430" y="1894"/>
                    <a:pt x="2299" y="2072"/>
                  </a:cubicBezTo>
                  <a:lnTo>
                    <a:pt x="1537" y="1310"/>
                  </a:lnTo>
                  <a:cubicBezTo>
                    <a:pt x="1507" y="1281"/>
                    <a:pt x="1462" y="1266"/>
                    <a:pt x="1418" y="1266"/>
                  </a:cubicBezTo>
                  <a:cubicBezTo>
                    <a:pt x="1373" y="1266"/>
                    <a:pt x="1328" y="1281"/>
                    <a:pt x="1298" y="1310"/>
                  </a:cubicBezTo>
                  <a:cubicBezTo>
                    <a:pt x="1239" y="1370"/>
                    <a:pt x="1239" y="1489"/>
                    <a:pt x="1298" y="1549"/>
                  </a:cubicBezTo>
                  <a:lnTo>
                    <a:pt x="2060" y="2311"/>
                  </a:lnTo>
                  <a:cubicBezTo>
                    <a:pt x="1870" y="2442"/>
                    <a:pt x="1656" y="2513"/>
                    <a:pt x="1418" y="2513"/>
                  </a:cubicBezTo>
                  <a:cubicBezTo>
                    <a:pt x="822" y="2513"/>
                    <a:pt x="334" y="2025"/>
                    <a:pt x="334" y="1430"/>
                  </a:cubicBezTo>
                  <a:cubicBezTo>
                    <a:pt x="334" y="834"/>
                    <a:pt x="822" y="346"/>
                    <a:pt x="1418" y="346"/>
                  </a:cubicBezTo>
                  <a:close/>
                  <a:moveTo>
                    <a:pt x="1429" y="1"/>
                  </a:moveTo>
                  <a:cubicBezTo>
                    <a:pt x="644" y="1"/>
                    <a:pt x="1" y="644"/>
                    <a:pt x="1" y="1430"/>
                  </a:cubicBezTo>
                  <a:cubicBezTo>
                    <a:pt x="1" y="2215"/>
                    <a:pt x="644" y="2858"/>
                    <a:pt x="1429" y="2858"/>
                  </a:cubicBezTo>
                  <a:cubicBezTo>
                    <a:pt x="1763" y="2858"/>
                    <a:pt x="2072" y="2739"/>
                    <a:pt x="2310" y="2549"/>
                  </a:cubicBezTo>
                  <a:lnTo>
                    <a:pt x="2739" y="2977"/>
                  </a:lnTo>
                  <a:cubicBezTo>
                    <a:pt x="2775" y="3001"/>
                    <a:pt x="2811" y="3025"/>
                    <a:pt x="2858" y="3025"/>
                  </a:cubicBezTo>
                  <a:cubicBezTo>
                    <a:pt x="2906" y="3025"/>
                    <a:pt x="2953" y="3001"/>
                    <a:pt x="2977" y="2977"/>
                  </a:cubicBezTo>
                  <a:cubicBezTo>
                    <a:pt x="3037" y="2918"/>
                    <a:pt x="3037" y="2811"/>
                    <a:pt x="2977" y="2739"/>
                  </a:cubicBezTo>
                  <a:lnTo>
                    <a:pt x="2549" y="2311"/>
                  </a:lnTo>
                  <a:cubicBezTo>
                    <a:pt x="2739" y="2072"/>
                    <a:pt x="2858" y="1751"/>
                    <a:pt x="2858" y="1430"/>
                  </a:cubicBezTo>
                  <a:cubicBezTo>
                    <a:pt x="2858" y="644"/>
                    <a:pt x="221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4" name="Google Shape;11844;p61"/>
            <p:cNvSpPr/>
            <p:nvPr/>
          </p:nvSpPr>
          <p:spPr>
            <a:xfrm>
              <a:off x="4186375" y="2539381"/>
              <a:ext cx="77331" cy="90541"/>
            </a:xfrm>
            <a:custGeom>
              <a:avLst/>
              <a:gdLst/>
              <a:ahLst/>
              <a:cxnLst/>
              <a:rect l="l" t="t" r="r" b="b"/>
              <a:pathLst>
                <a:path w="2441" h="2858" extrusionOk="0">
                  <a:moveTo>
                    <a:pt x="1203" y="607"/>
                  </a:moveTo>
                  <a:lnTo>
                    <a:pt x="1572" y="1524"/>
                  </a:lnTo>
                  <a:lnTo>
                    <a:pt x="834" y="1524"/>
                  </a:lnTo>
                  <a:lnTo>
                    <a:pt x="1203" y="607"/>
                  </a:lnTo>
                  <a:close/>
                  <a:moveTo>
                    <a:pt x="1215" y="0"/>
                  </a:moveTo>
                  <a:cubicBezTo>
                    <a:pt x="1155" y="0"/>
                    <a:pt x="1084" y="48"/>
                    <a:pt x="1072" y="107"/>
                  </a:cubicBezTo>
                  <a:lnTo>
                    <a:pt x="441" y="1619"/>
                  </a:lnTo>
                  <a:lnTo>
                    <a:pt x="24" y="2620"/>
                  </a:lnTo>
                  <a:cubicBezTo>
                    <a:pt x="0" y="2715"/>
                    <a:pt x="24" y="2798"/>
                    <a:pt x="119" y="2846"/>
                  </a:cubicBezTo>
                  <a:cubicBezTo>
                    <a:pt x="139" y="2851"/>
                    <a:pt x="159" y="2854"/>
                    <a:pt x="179" y="2854"/>
                  </a:cubicBezTo>
                  <a:cubicBezTo>
                    <a:pt x="245" y="2854"/>
                    <a:pt x="309" y="2823"/>
                    <a:pt x="345" y="2750"/>
                  </a:cubicBezTo>
                  <a:lnTo>
                    <a:pt x="714" y="1858"/>
                  </a:lnTo>
                  <a:lnTo>
                    <a:pt x="1750" y="1858"/>
                  </a:lnTo>
                  <a:lnTo>
                    <a:pt x="2131" y="2750"/>
                  </a:lnTo>
                  <a:cubicBezTo>
                    <a:pt x="2155" y="2810"/>
                    <a:pt x="2215" y="2858"/>
                    <a:pt x="2274" y="2858"/>
                  </a:cubicBezTo>
                  <a:cubicBezTo>
                    <a:pt x="2286" y="2858"/>
                    <a:pt x="2322" y="2858"/>
                    <a:pt x="2334" y="2846"/>
                  </a:cubicBezTo>
                  <a:cubicBezTo>
                    <a:pt x="2405" y="2798"/>
                    <a:pt x="2441" y="2715"/>
                    <a:pt x="2405" y="2620"/>
                  </a:cubicBezTo>
                  <a:lnTo>
                    <a:pt x="1988" y="1619"/>
                  </a:lnTo>
                  <a:lnTo>
                    <a:pt x="1369" y="107"/>
                  </a:lnTo>
                  <a:cubicBezTo>
                    <a:pt x="1334" y="48"/>
                    <a:pt x="127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845" name="Google Shape;11845;p61"/>
          <p:cNvSpPr/>
          <p:nvPr/>
        </p:nvSpPr>
        <p:spPr>
          <a:xfrm>
            <a:off x="1747839" y="2414150"/>
            <a:ext cx="361754" cy="362514"/>
          </a:xfrm>
          <a:custGeom>
            <a:avLst/>
            <a:gdLst/>
            <a:ahLst/>
            <a:cxnLst/>
            <a:rect l="l" t="t" r="r" b="b"/>
            <a:pathLst>
              <a:path w="11419" h="11443" extrusionOk="0">
                <a:moveTo>
                  <a:pt x="4644" y="3560"/>
                </a:moveTo>
                <a:lnTo>
                  <a:pt x="4727" y="3655"/>
                </a:lnTo>
                <a:lnTo>
                  <a:pt x="4132" y="4263"/>
                </a:lnTo>
                <a:cubicBezTo>
                  <a:pt x="3989" y="4084"/>
                  <a:pt x="3965" y="3834"/>
                  <a:pt x="4108" y="3655"/>
                </a:cubicBezTo>
                <a:lnTo>
                  <a:pt x="4120" y="3655"/>
                </a:lnTo>
                <a:cubicBezTo>
                  <a:pt x="4298" y="3655"/>
                  <a:pt x="4465" y="3620"/>
                  <a:pt x="4644" y="3560"/>
                </a:cubicBezTo>
                <a:close/>
                <a:moveTo>
                  <a:pt x="8751" y="5739"/>
                </a:moveTo>
                <a:lnTo>
                  <a:pt x="8918" y="5906"/>
                </a:lnTo>
                <a:cubicBezTo>
                  <a:pt x="8944" y="5932"/>
                  <a:pt x="8994" y="5951"/>
                  <a:pt x="9043" y="5951"/>
                </a:cubicBezTo>
                <a:cubicBezTo>
                  <a:pt x="9061" y="5951"/>
                  <a:pt x="9080" y="5948"/>
                  <a:pt x="9097" y="5941"/>
                </a:cubicBezTo>
                <a:cubicBezTo>
                  <a:pt x="9275" y="5894"/>
                  <a:pt x="9430" y="5858"/>
                  <a:pt x="9597" y="5846"/>
                </a:cubicBezTo>
                <a:lnTo>
                  <a:pt x="9704" y="5858"/>
                </a:lnTo>
                <a:cubicBezTo>
                  <a:pt x="10478" y="5918"/>
                  <a:pt x="11073" y="6561"/>
                  <a:pt x="11073" y="7335"/>
                </a:cubicBezTo>
                <a:cubicBezTo>
                  <a:pt x="11085" y="7454"/>
                  <a:pt x="11073" y="7585"/>
                  <a:pt x="11025" y="7716"/>
                </a:cubicBezTo>
                <a:lnTo>
                  <a:pt x="10121" y="6811"/>
                </a:lnTo>
                <a:cubicBezTo>
                  <a:pt x="10061" y="6739"/>
                  <a:pt x="9966" y="6692"/>
                  <a:pt x="9870" y="6644"/>
                </a:cubicBezTo>
                <a:cubicBezTo>
                  <a:pt x="9787" y="6620"/>
                  <a:pt x="9704" y="6608"/>
                  <a:pt x="9609" y="6608"/>
                </a:cubicBezTo>
                <a:cubicBezTo>
                  <a:pt x="9418" y="6608"/>
                  <a:pt x="9239" y="6680"/>
                  <a:pt x="9108" y="6811"/>
                </a:cubicBezTo>
                <a:cubicBezTo>
                  <a:pt x="8918" y="7001"/>
                  <a:pt x="8858" y="7299"/>
                  <a:pt x="8942" y="7573"/>
                </a:cubicBezTo>
                <a:cubicBezTo>
                  <a:pt x="8978" y="7680"/>
                  <a:pt x="9037" y="7763"/>
                  <a:pt x="9108" y="7823"/>
                </a:cubicBezTo>
                <a:lnTo>
                  <a:pt x="10013" y="8728"/>
                </a:lnTo>
                <a:cubicBezTo>
                  <a:pt x="9882" y="8775"/>
                  <a:pt x="9751" y="8787"/>
                  <a:pt x="9609" y="8787"/>
                </a:cubicBezTo>
                <a:cubicBezTo>
                  <a:pt x="8835" y="8787"/>
                  <a:pt x="8204" y="8180"/>
                  <a:pt x="8156" y="7418"/>
                </a:cubicBezTo>
                <a:lnTo>
                  <a:pt x="8144" y="7323"/>
                </a:lnTo>
                <a:cubicBezTo>
                  <a:pt x="8144" y="7156"/>
                  <a:pt x="8168" y="6977"/>
                  <a:pt x="8227" y="6811"/>
                </a:cubicBezTo>
                <a:cubicBezTo>
                  <a:pt x="8263" y="6751"/>
                  <a:pt x="8239" y="6680"/>
                  <a:pt x="8180" y="6632"/>
                </a:cubicBezTo>
                <a:lnTo>
                  <a:pt x="8025" y="6465"/>
                </a:lnTo>
                <a:lnTo>
                  <a:pt x="8751" y="5739"/>
                </a:lnTo>
                <a:close/>
                <a:moveTo>
                  <a:pt x="2393" y="6537"/>
                </a:moveTo>
                <a:lnTo>
                  <a:pt x="2751" y="6894"/>
                </a:lnTo>
                <a:lnTo>
                  <a:pt x="4632" y="8775"/>
                </a:lnTo>
                <a:lnTo>
                  <a:pt x="4894" y="9037"/>
                </a:lnTo>
                <a:lnTo>
                  <a:pt x="4358" y="9573"/>
                </a:lnTo>
                <a:lnTo>
                  <a:pt x="1858" y="7084"/>
                </a:lnTo>
                <a:lnTo>
                  <a:pt x="2393" y="6537"/>
                </a:lnTo>
                <a:close/>
                <a:moveTo>
                  <a:pt x="4155" y="0"/>
                </a:moveTo>
                <a:cubicBezTo>
                  <a:pt x="3882" y="0"/>
                  <a:pt x="3632" y="60"/>
                  <a:pt x="3382" y="179"/>
                </a:cubicBezTo>
                <a:cubicBezTo>
                  <a:pt x="3334" y="203"/>
                  <a:pt x="3286" y="250"/>
                  <a:pt x="3286" y="298"/>
                </a:cubicBezTo>
                <a:cubicBezTo>
                  <a:pt x="3274" y="357"/>
                  <a:pt x="3298" y="393"/>
                  <a:pt x="3334" y="441"/>
                </a:cubicBezTo>
                <a:lnTo>
                  <a:pt x="4417" y="1524"/>
                </a:lnTo>
                <a:cubicBezTo>
                  <a:pt x="4453" y="1560"/>
                  <a:pt x="4477" y="1608"/>
                  <a:pt x="4513" y="1667"/>
                </a:cubicBezTo>
                <a:cubicBezTo>
                  <a:pt x="4548" y="1810"/>
                  <a:pt x="4525" y="1965"/>
                  <a:pt x="4417" y="2060"/>
                </a:cubicBezTo>
                <a:cubicBezTo>
                  <a:pt x="4346" y="2143"/>
                  <a:pt x="4251" y="2167"/>
                  <a:pt x="4155" y="2167"/>
                </a:cubicBezTo>
                <a:cubicBezTo>
                  <a:pt x="4108" y="2167"/>
                  <a:pt x="4060" y="2155"/>
                  <a:pt x="4013" y="2143"/>
                </a:cubicBezTo>
                <a:cubicBezTo>
                  <a:pt x="3953" y="2108"/>
                  <a:pt x="3917" y="2096"/>
                  <a:pt x="3882" y="2048"/>
                </a:cubicBezTo>
                <a:lnTo>
                  <a:pt x="2798" y="965"/>
                </a:lnTo>
                <a:cubicBezTo>
                  <a:pt x="2762" y="928"/>
                  <a:pt x="2725" y="913"/>
                  <a:pt x="2684" y="913"/>
                </a:cubicBezTo>
                <a:cubicBezTo>
                  <a:pt x="2671" y="913"/>
                  <a:pt x="2657" y="914"/>
                  <a:pt x="2643" y="917"/>
                </a:cubicBezTo>
                <a:cubicBezTo>
                  <a:pt x="2584" y="929"/>
                  <a:pt x="2548" y="965"/>
                  <a:pt x="2524" y="1012"/>
                </a:cubicBezTo>
                <a:cubicBezTo>
                  <a:pt x="2405" y="1262"/>
                  <a:pt x="2346" y="1512"/>
                  <a:pt x="2346" y="1786"/>
                </a:cubicBezTo>
                <a:cubicBezTo>
                  <a:pt x="2346" y="2239"/>
                  <a:pt x="2524" y="2679"/>
                  <a:pt x="2846" y="3013"/>
                </a:cubicBezTo>
                <a:cubicBezTo>
                  <a:pt x="3096" y="3286"/>
                  <a:pt x="3417" y="3465"/>
                  <a:pt x="3798" y="3548"/>
                </a:cubicBezTo>
                <a:cubicBezTo>
                  <a:pt x="3655" y="3846"/>
                  <a:pt x="3715" y="4203"/>
                  <a:pt x="3941" y="4465"/>
                </a:cubicBezTo>
                <a:lnTo>
                  <a:pt x="3560" y="4846"/>
                </a:lnTo>
                <a:cubicBezTo>
                  <a:pt x="3405" y="5001"/>
                  <a:pt x="3334" y="5191"/>
                  <a:pt x="3334" y="5394"/>
                </a:cubicBezTo>
                <a:cubicBezTo>
                  <a:pt x="3334" y="5596"/>
                  <a:pt x="3405" y="5775"/>
                  <a:pt x="3524" y="5906"/>
                </a:cubicBezTo>
                <a:lnTo>
                  <a:pt x="2917" y="6513"/>
                </a:lnTo>
                <a:lnTo>
                  <a:pt x="2560" y="6156"/>
                </a:lnTo>
                <a:cubicBezTo>
                  <a:pt x="2530" y="6126"/>
                  <a:pt x="2486" y="6111"/>
                  <a:pt x="2441" y="6111"/>
                </a:cubicBezTo>
                <a:cubicBezTo>
                  <a:pt x="2396" y="6111"/>
                  <a:pt x="2352" y="6126"/>
                  <a:pt x="2322" y="6156"/>
                </a:cubicBezTo>
                <a:lnTo>
                  <a:pt x="1417" y="7061"/>
                </a:lnTo>
                <a:lnTo>
                  <a:pt x="60" y="8418"/>
                </a:lnTo>
                <a:cubicBezTo>
                  <a:pt x="0" y="8478"/>
                  <a:pt x="0" y="8597"/>
                  <a:pt x="60" y="8656"/>
                </a:cubicBezTo>
                <a:lnTo>
                  <a:pt x="1096" y="9704"/>
                </a:lnTo>
                <a:cubicBezTo>
                  <a:pt x="1125" y="9734"/>
                  <a:pt x="1170" y="9748"/>
                  <a:pt x="1215" y="9748"/>
                </a:cubicBezTo>
                <a:cubicBezTo>
                  <a:pt x="1259" y="9748"/>
                  <a:pt x="1304" y="9734"/>
                  <a:pt x="1334" y="9704"/>
                </a:cubicBezTo>
                <a:cubicBezTo>
                  <a:pt x="1393" y="9644"/>
                  <a:pt x="1393" y="9525"/>
                  <a:pt x="1334" y="9466"/>
                </a:cubicBezTo>
                <a:lnTo>
                  <a:pt x="417" y="8537"/>
                </a:lnTo>
                <a:lnTo>
                  <a:pt x="1667" y="7287"/>
                </a:lnTo>
                <a:lnTo>
                  <a:pt x="4167" y="9787"/>
                </a:lnTo>
                <a:lnTo>
                  <a:pt x="2917" y="11037"/>
                </a:lnTo>
                <a:lnTo>
                  <a:pt x="1810" y="9942"/>
                </a:lnTo>
                <a:cubicBezTo>
                  <a:pt x="1780" y="9912"/>
                  <a:pt x="1736" y="9897"/>
                  <a:pt x="1691" y="9897"/>
                </a:cubicBezTo>
                <a:cubicBezTo>
                  <a:pt x="1646" y="9897"/>
                  <a:pt x="1602" y="9912"/>
                  <a:pt x="1572" y="9942"/>
                </a:cubicBezTo>
                <a:cubicBezTo>
                  <a:pt x="1512" y="10002"/>
                  <a:pt x="1512" y="10121"/>
                  <a:pt x="1572" y="10180"/>
                </a:cubicBezTo>
                <a:lnTo>
                  <a:pt x="2798" y="11395"/>
                </a:lnTo>
                <a:cubicBezTo>
                  <a:pt x="2822" y="11430"/>
                  <a:pt x="2870" y="11442"/>
                  <a:pt x="2917" y="11442"/>
                </a:cubicBezTo>
                <a:cubicBezTo>
                  <a:pt x="2965" y="11442"/>
                  <a:pt x="3001" y="11430"/>
                  <a:pt x="3036" y="11395"/>
                </a:cubicBezTo>
                <a:lnTo>
                  <a:pt x="4394" y="10037"/>
                </a:lnTo>
                <a:lnTo>
                  <a:pt x="5298" y="9132"/>
                </a:lnTo>
                <a:cubicBezTo>
                  <a:pt x="5322" y="9109"/>
                  <a:pt x="5346" y="9061"/>
                  <a:pt x="5346" y="9013"/>
                </a:cubicBezTo>
                <a:cubicBezTo>
                  <a:pt x="5346" y="8966"/>
                  <a:pt x="5322" y="8930"/>
                  <a:pt x="5298" y="8894"/>
                </a:cubicBezTo>
                <a:lnTo>
                  <a:pt x="5025" y="8632"/>
                </a:lnTo>
                <a:lnTo>
                  <a:pt x="5644" y="8013"/>
                </a:lnTo>
                <a:cubicBezTo>
                  <a:pt x="5770" y="8094"/>
                  <a:pt x="5916" y="8135"/>
                  <a:pt x="6062" y="8135"/>
                </a:cubicBezTo>
                <a:cubicBezTo>
                  <a:pt x="6217" y="8135"/>
                  <a:pt x="6372" y="8088"/>
                  <a:pt x="6501" y="7989"/>
                </a:cubicBezTo>
                <a:cubicBezTo>
                  <a:pt x="6572" y="7930"/>
                  <a:pt x="6596" y="7823"/>
                  <a:pt x="6537" y="7751"/>
                </a:cubicBezTo>
                <a:cubicBezTo>
                  <a:pt x="6500" y="7708"/>
                  <a:pt x="6446" y="7682"/>
                  <a:pt x="6393" y="7682"/>
                </a:cubicBezTo>
                <a:cubicBezTo>
                  <a:pt x="6360" y="7682"/>
                  <a:pt x="6326" y="7692"/>
                  <a:pt x="6299" y="7716"/>
                </a:cubicBezTo>
                <a:cubicBezTo>
                  <a:pt x="6220" y="7778"/>
                  <a:pt x="6131" y="7806"/>
                  <a:pt x="6041" y="7806"/>
                </a:cubicBezTo>
                <a:cubicBezTo>
                  <a:pt x="5927" y="7806"/>
                  <a:pt x="5814" y="7760"/>
                  <a:pt x="5727" y="7680"/>
                </a:cubicBezTo>
                <a:cubicBezTo>
                  <a:pt x="5703" y="7644"/>
                  <a:pt x="5656" y="7632"/>
                  <a:pt x="5608" y="7632"/>
                </a:cubicBezTo>
                <a:cubicBezTo>
                  <a:pt x="5560" y="7632"/>
                  <a:pt x="5525" y="7644"/>
                  <a:pt x="5489" y="7680"/>
                </a:cubicBezTo>
                <a:lnTo>
                  <a:pt x="4763" y="8406"/>
                </a:lnTo>
                <a:lnTo>
                  <a:pt x="3108" y="6799"/>
                </a:lnTo>
                <a:lnTo>
                  <a:pt x="3834" y="6072"/>
                </a:lnTo>
                <a:cubicBezTo>
                  <a:pt x="3894" y="6013"/>
                  <a:pt x="3894" y="5894"/>
                  <a:pt x="3834" y="5834"/>
                </a:cubicBezTo>
                <a:lnTo>
                  <a:pt x="3751" y="5739"/>
                </a:lnTo>
                <a:cubicBezTo>
                  <a:pt x="3655" y="5644"/>
                  <a:pt x="3620" y="5549"/>
                  <a:pt x="3620" y="5430"/>
                </a:cubicBezTo>
                <a:cubicBezTo>
                  <a:pt x="3620" y="5310"/>
                  <a:pt x="3655" y="5203"/>
                  <a:pt x="3751" y="5108"/>
                </a:cubicBezTo>
                <a:lnTo>
                  <a:pt x="4251" y="4608"/>
                </a:lnTo>
                <a:lnTo>
                  <a:pt x="5096" y="3763"/>
                </a:lnTo>
                <a:lnTo>
                  <a:pt x="6013" y="2846"/>
                </a:lnTo>
                <a:cubicBezTo>
                  <a:pt x="6025" y="2834"/>
                  <a:pt x="6037" y="2822"/>
                  <a:pt x="6049" y="2822"/>
                </a:cubicBezTo>
                <a:cubicBezTo>
                  <a:pt x="6106" y="2780"/>
                  <a:pt x="6170" y="2761"/>
                  <a:pt x="6233" y="2761"/>
                </a:cubicBezTo>
                <a:cubicBezTo>
                  <a:pt x="6314" y="2761"/>
                  <a:pt x="6393" y="2792"/>
                  <a:pt x="6453" y="2846"/>
                </a:cubicBezTo>
                <a:lnTo>
                  <a:pt x="6477" y="2870"/>
                </a:lnTo>
                <a:cubicBezTo>
                  <a:pt x="6572" y="2965"/>
                  <a:pt x="6596" y="3132"/>
                  <a:pt x="6501" y="3263"/>
                </a:cubicBezTo>
                <a:cubicBezTo>
                  <a:pt x="6489" y="3286"/>
                  <a:pt x="6477" y="3298"/>
                  <a:pt x="6477" y="3310"/>
                </a:cubicBezTo>
                <a:lnTo>
                  <a:pt x="5477" y="4310"/>
                </a:lnTo>
                <a:cubicBezTo>
                  <a:pt x="5418" y="4370"/>
                  <a:pt x="5418" y="4489"/>
                  <a:pt x="5477" y="4548"/>
                </a:cubicBezTo>
                <a:cubicBezTo>
                  <a:pt x="5501" y="4584"/>
                  <a:pt x="5549" y="4596"/>
                  <a:pt x="5596" y="4596"/>
                </a:cubicBezTo>
                <a:cubicBezTo>
                  <a:pt x="5644" y="4596"/>
                  <a:pt x="5679" y="4572"/>
                  <a:pt x="5715" y="4548"/>
                </a:cubicBezTo>
                <a:lnTo>
                  <a:pt x="6715" y="3548"/>
                </a:lnTo>
                <a:cubicBezTo>
                  <a:pt x="6727" y="3536"/>
                  <a:pt x="6739" y="3525"/>
                  <a:pt x="6751" y="3525"/>
                </a:cubicBezTo>
                <a:cubicBezTo>
                  <a:pt x="6805" y="3481"/>
                  <a:pt x="6872" y="3460"/>
                  <a:pt x="6939" y="3460"/>
                </a:cubicBezTo>
                <a:cubicBezTo>
                  <a:pt x="7018" y="3460"/>
                  <a:pt x="7098" y="3490"/>
                  <a:pt x="7156" y="3548"/>
                </a:cubicBezTo>
                <a:lnTo>
                  <a:pt x="7168" y="3560"/>
                </a:lnTo>
                <a:cubicBezTo>
                  <a:pt x="7275" y="3667"/>
                  <a:pt x="7287" y="3834"/>
                  <a:pt x="7203" y="3965"/>
                </a:cubicBezTo>
                <a:cubicBezTo>
                  <a:pt x="7192" y="3989"/>
                  <a:pt x="7192" y="4001"/>
                  <a:pt x="7168" y="4013"/>
                </a:cubicBezTo>
                <a:lnTo>
                  <a:pt x="6180" y="5013"/>
                </a:lnTo>
                <a:cubicBezTo>
                  <a:pt x="6120" y="5072"/>
                  <a:pt x="6120" y="5191"/>
                  <a:pt x="6180" y="5251"/>
                </a:cubicBezTo>
                <a:cubicBezTo>
                  <a:pt x="6203" y="5275"/>
                  <a:pt x="6251" y="5299"/>
                  <a:pt x="6299" y="5299"/>
                </a:cubicBezTo>
                <a:cubicBezTo>
                  <a:pt x="6334" y="5299"/>
                  <a:pt x="6382" y="5275"/>
                  <a:pt x="6418" y="5251"/>
                </a:cubicBezTo>
                <a:lnTo>
                  <a:pt x="7406" y="4251"/>
                </a:lnTo>
                <a:cubicBezTo>
                  <a:pt x="7430" y="4239"/>
                  <a:pt x="7442" y="4215"/>
                  <a:pt x="7454" y="4215"/>
                </a:cubicBezTo>
                <a:cubicBezTo>
                  <a:pt x="7506" y="4179"/>
                  <a:pt x="7569" y="4160"/>
                  <a:pt x="7633" y="4160"/>
                </a:cubicBezTo>
                <a:cubicBezTo>
                  <a:pt x="7715" y="4160"/>
                  <a:pt x="7798" y="4191"/>
                  <a:pt x="7858" y="4251"/>
                </a:cubicBezTo>
                <a:lnTo>
                  <a:pt x="7870" y="4263"/>
                </a:lnTo>
                <a:cubicBezTo>
                  <a:pt x="7977" y="4370"/>
                  <a:pt x="7989" y="4537"/>
                  <a:pt x="7906" y="4668"/>
                </a:cubicBezTo>
                <a:cubicBezTo>
                  <a:pt x="7882" y="4679"/>
                  <a:pt x="7882" y="4703"/>
                  <a:pt x="7870" y="4715"/>
                </a:cubicBezTo>
                <a:lnTo>
                  <a:pt x="6870" y="5715"/>
                </a:lnTo>
                <a:cubicBezTo>
                  <a:pt x="6811" y="5775"/>
                  <a:pt x="6811" y="5894"/>
                  <a:pt x="6870" y="5953"/>
                </a:cubicBezTo>
                <a:cubicBezTo>
                  <a:pt x="6906" y="5977"/>
                  <a:pt x="6953" y="5989"/>
                  <a:pt x="6989" y="5989"/>
                </a:cubicBezTo>
                <a:cubicBezTo>
                  <a:pt x="7037" y="5989"/>
                  <a:pt x="7084" y="5977"/>
                  <a:pt x="7108" y="5953"/>
                </a:cubicBezTo>
                <a:lnTo>
                  <a:pt x="8108" y="4953"/>
                </a:lnTo>
                <a:cubicBezTo>
                  <a:pt x="8120" y="4941"/>
                  <a:pt x="8144" y="4918"/>
                  <a:pt x="8156" y="4918"/>
                </a:cubicBezTo>
                <a:cubicBezTo>
                  <a:pt x="8208" y="4881"/>
                  <a:pt x="8272" y="4863"/>
                  <a:pt x="8335" y="4863"/>
                </a:cubicBezTo>
                <a:cubicBezTo>
                  <a:pt x="8418" y="4863"/>
                  <a:pt x="8501" y="4893"/>
                  <a:pt x="8561" y="4953"/>
                </a:cubicBezTo>
                <a:lnTo>
                  <a:pt x="8573" y="4965"/>
                </a:lnTo>
                <a:cubicBezTo>
                  <a:pt x="8680" y="5072"/>
                  <a:pt x="8692" y="5239"/>
                  <a:pt x="8597" y="5370"/>
                </a:cubicBezTo>
                <a:cubicBezTo>
                  <a:pt x="8585" y="5382"/>
                  <a:pt x="8573" y="5394"/>
                  <a:pt x="8573" y="5418"/>
                </a:cubicBezTo>
                <a:lnTo>
                  <a:pt x="6715" y="7275"/>
                </a:lnTo>
                <a:cubicBezTo>
                  <a:pt x="6656" y="7335"/>
                  <a:pt x="6656" y="7454"/>
                  <a:pt x="6715" y="7513"/>
                </a:cubicBezTo>
                <a:cubicBezTo>
                  <a:pt x="6739" y="7537"/>
                  <a:pt x="6787" y="7561"/>
                  <a:pt x="6834" y="7561"/>
                </a:cubicBezTo>
                <a:cubicBezTo>
                  <a:pt x="6870" y="7561"/>
                  <a:pt x="6918" y="7537"/>
                  <a:pt x="6953" y="7513"/>
                </a:cubicBezTo>
                <a:lnTo>
                  <a:pt x="7787" y="6680"/>
                </a:lnTo>
                <a:lnTo>
                  <a:pt x="7870" y="6763"/>
                </a:lnTo>
                <a:cubicBezTo>
                  <a:pt x="7811" y="6942"/>
                  <a:pt x="7787" y="7120"/>
                  <a:pt x="7787" y="7287"/>
                </a:cubicBezTo>
                <a:lnTo>
                  <a:pt x="7787" y="7299"/>
                </a:lnTo>
                <a:lnTo>
                  <a:pt x="7799" y="7406"/>
                </a:lnTo>
                <a:cubicBezTo>
                  <a:pt x="7823" y="7870"/>
                  <a:pt x="8037" y="8287"/>
                  <a:pt x="8358" y="8597"/>
                </a:cubicBezTo>
                <a:cubicBezTo>
                  <a:pt x="8692" y="8906"/>
                  <a:pt x="9132" y="9085"/>
                  <a:pt x="9597" y="9085"/>
                </a:cubicBezTo>
                <a:cubicBezTo>
                  <a:pt x="9870" y="9085"/>
                  <a:pt x="10121" y="9025"/>
                  <a:pt x="10371" y="8906"/>
                </a:cubicBezTo>
                <a:cubicBezTo>
                  <a:pt x="10418" y="8882"/>
                  <a:pt x="10466" y="8835"/>
                  <a:pt x="10466" y="8787"/>
                </a:cubicBezTo>
                <a:cubicBezTo>
                  <a:pt x="10478" y="8728"/>
                  <a:pt x="10442" y="8692"/>
                  <a:pt x="10418" y="8644"/>
                </a:cubicBezTo>
                <a:lnTo>
                  <a:pt x="9335" y="7537"/>
                </a:lnTo>
                <a:cubicBezTo>
                  <a:pt x="9287" y="7501"/>
                  <a:pt x="9251" y="7454"/>
                  <a:pt x="9251" y="7406"/>
                </a:cubicBezTo>
                <a:cubicBezTo>
                  <a:pt x="9192" y="7263"/>
                  <a:pt x="9239" y="7108"/>
                  <a:pt x="9347" y="7001"/>
                </a:cubicBezTo>
                <a:cubicBezTo>
                  <a:pt x="9418" y="6930"/>
                  <a:pt x="9513" y="6882"/>
                  <a:pt x="9609" y="6882"/>
                </a:cubicBezTo>
                <a:cubicBezTo>
                  <a:pt x="9656" y="6882"/>
                  <a:pt x="9704" y="6906"/>
                  <a:pt x="9751" y="6918"/>
                </a:cubicBezTo>
                <a:cubicBezTo>
                  <a:pt x="9811" y="6942"/>
                  <a:pt x="9847" y="6965"/>
                  <a:pt x="9882" y="7001"/>
                </a:cubicBezTo>
                <a:lnTo>
                  <a:pt x="10966" y="8097"/>
                </a:lnTo>
                <a:cubicBezTo>
                  <a:pt x="11000" y="8122"/>
                  <a:pt x="11034" y="8142"/>
                  <a:pt x="11073" y="8142"/>
                </a:cubicBezTo>
                <a:cubicBezTo>
                  <a:pt x="11088" y="8142"/>
                  <a:pt x="11104" y="8139"/>
                  <a:pt x="11121" y="8132"/>
                </a:cubicBezTo>
                <a:cubicBezTo>
                  <a:pt x="11180" y="8120"/>
                  <a:pt x="11216" y="8097"/>
                  <a:pt x="11240" y="8049"/>
                </a:cubicBezTo>
                <a:cubicBezTo>
                  <a:pt x="11359" y="7799"/>
                  <a:pt x="11418" y="7537"/>
                  <a:pt x="11418" y="7275"/>
                </a:cubicBezTo>
                <a:cubicBezTo>
                  <a:pt x="11418" y="6858"/>
                  <a:pt x="11252" y="6430"/>
                  <a:pt x="10918" y="6084"/>
                </a:cubicBezTo>
                <a:cubicBezTo>
                  <a:pt x="10609" y="5751"/>
                  <a:pt x="10180" y="5549"/>
                  <a:pt x="9728" y="5513"/>
                </a:cubicBezTo>
                <a:lnTo>
                  <a:pt x="9632" y="5501"/>
                </a:lnTo>
                <a:lnTo>
                  <a:pt x="9609" y="5501"/>
                </a:lnTo>
                <a:cubicBezTo>
                  <a:pt x="9454" y="5501"/>
                  <a:pt x="9275" y="5537"/>
                  <a:pt x="9097" y="5596"/>
                </a:cubicBezTo>
                <a:lnTo>
                  <a:pt x="8954" y="5453"/>
                </a:lnTo>
                <a:cubicBezTo>
                  <a:pt x="9049" y="5215"/>
                  <a:pt x="9001" y="4953"/>
                  <a:pt x="8811" y="4763"/>
                </a:cubicBezTo>
                <a:lnTo>
                  <a:pt x="8799" y="4739"/>
                </a:lnTo>
                <a:cubicBezTo>
                  <a:pt x="8656" y="4608"/>
                  <a:pt x="8477" y="4548"/>
                  <a:pt x="8299" y="4548"/>
                </a:cubicBezTo>
                <a:cubicBezTo>
                  <a:pt x="8323" y="4370"/>
                  <a:pt x="8239" y="4191"/>
                  <a:pt x="8108" y="4060"/>
                </a:cubicBezTo>
                <a:lnTo>
                  <a:pt x="8096" y="4048"/>
                </a:lnTo>
                <a:cubicBezTo>
                  <a:pt x="7965" y="3906"/>
                  <a:pt x="7775" y="3846"/>
                  <a:pt x="7596" y="3846"/>
                </a:cubicBezTo>
                <a:cubicBezTo>
                  <a:pt x="7620" y="3667"/>
                  <a:pt x="7537" y="3489"/>
                  <a:pt x="7406" y="3358"/>
                </a:cubicBezTo>
                <a:lnTo>
                  <a:pt x="7394" y="3346"/>
                </a:lnTo>
                <a:cubicBezTo>
                  <a:pt x="7263" y="3215"/>
                  <a:pt x="7084" y="3155"/>
                  <a:pt x="6906" y="3155"/>
                </a:cubicBezTo>
                <a:cubicBezTo>
                  <a:pt x="6918" y="2977"/>
                  <a:pt x="6846" y="2798"/>
                  <a:pt x="6703" y="2655"/>
                </a:cubicBezTo>
                <a:lnTo>
                  <a:pt x="6692" y="2643"/>
                </a:lnTo>
                <a:cubicBezTo>
                  <a:pt x="6565" y="2516"/>
                  <a:pt x="6400" y="2453"/>
                  <a:pt x="6235" y="2453"/>
                </a:cubicBezTo>
                <a:cubicBezTo>
                  <a:pt x="6152" y="2453"/>
                  <a:pt x="6068" y="2469"/>
                  <a:pt x="5989" y="2501"/>
                </a:cubicBezTo>
                <a:lnTo>
                  <a:pt x="5858" y="2358"/>
                </a:lnTo>
                <a:cubicBezTo>
                  <a:pt x="5918" y="2179"/>
                  <a:pt x="5953" y="2001"/>
                  <a:pt x="5953" y="1846"/>
                </a:cubicBezTo>
                <a:lnTo>
                  <a:pt x="5953" y="1822"/>
                </a:lnTo>
                <a:lnTo>
                  <a:pt x="5930" y="1727"/>
                </a:lnTo>
                <a:cubicBezTo>
                  <a:pt x="5918" y="1465"/>
                  <a:pt x="5846" y="1215"/>
                  <a:pt x="5727" y="988"/>
                </a:cubicBezTo>
                <a:cubicBezTo>
                  <a:pt x="5693" y="937"/>
                  <a:pt x="5628" y="898"/>
                  <a:pt x="5567" y="898"/>
                </a:cubicBezTo>
                <a:cubicBezTo>
                  <a:pt x="5544" y="898"/>
                  <a:pt x="5521" y="904"/>
                  <a:pt x="5501" y="917"/>
                </a:cubicBezTo>
                <a:cubicBezTo>
                  <a:pt x="5429" y="965"/>
                  <a:pt x="5382" y="1072"/>
                  <a:pt x="5429" y="1143"/>
                </a:cubicBezTo>
                <a:cubicBezTo>
                  <a:pt x="5537" y="1334"/>
                  <a:pt x="5596" y="1524"/>
                  <a:pt x="5608" y="1739"/>
                </a:cubicBezTo>
                <a:lnTo>
                  <a:pt x="5620" y="1846"/>
                </a:lnTo>
                <a:cubicBezTo>
                  <a:pt x="5620" y="2001"/>
                  <a:pt x="5596" y="2167"/>
                  <a:pt x="5513" y="2346"/>
                </a:cubicBezTo>
                <a:cubicBezTo>
                  <a:pt x="5489" y="2405"/>
                  <a:pt x="5513" y="2477"/>
                  <a:pt x="5560" y="2524"/>
                </a:cubicBezTo>
                <a:lnTo>
                  <a:pt x="5727" y="2691"/>
                </a:lnTo>
                <a:lnTo>
                  <a:pt x="5001" y="3417"/>
                </a:lnTo>
                <a:lnTo>
                  <a:pt x="4834" y="3251"/>
                </a:lnTo>
                <a:cubicBezTo>
                  <a:pt x="4800" y="3225"/>
                  <a:pt x="4753" y="3205"/>
                  <a:pt x="4707" y="3205"/>
                </a:cubicBezTo>
                <a:cubicBezTo>
                  <a:pt x="4690" y="3205"/>
                  <a:pt x="4672" y="3208"/>
                  <a:pt x="4656" y="3215"/>
                </a:cubicBezTo>
                <a:cubicBezTo>
                  <a:pt x="4477" y="3274"/>
                  <a:pt x="4310" y="3298"/>
                  <a:pt x="4155" y="3298"/>
                </a:cubicBezTo>
                <a:lnTo>
                  <a:pt x="4048" y="3286"/>
                </a:lnTo>
                <a:cubicBezTo>
                  <a:pt x="3274" y="3227"/>
                  <a:pt x="2679" y="2584"/>
                  <a:pt x="2679" y="1822"/>
                </a:cubicBezTo>
                <a:cubicBezTo>
                  <a:pt x="2679" y="1691"/>
                  <a:pt x="2691" y="1560"/>
                  <a:pt x="2739" y="1429"/>
                </a:cubicBezTo>
                <a:lnTo>
                  <a:pt x="3644" y="2334"/>
                </a:lnTo>
                <a:cubicBezTo>
                  <a:pt x="3703" y="2405"/>
                  <a:pt x="3798" y="2453"/>
                  <a:pt x="3894" y="2501"/>
                </a:cubicBezTo>
                <a:cubicBezTo>
                  <a:pt x="3989" y="2524"/>
                  <a:pt x="4060" y="2536"/>
                  <a:pt x="4155" y="2536"/>
                </a:cubicBezTo>
                <a:cubicBezTo>
                  <a:pt x="4346" y="2536"/>
                  <a:pt x="4525" y="2465"/>
                  <a:pt x="4656" y="2334"/>
                </a:cubicBezTo>
                <a:cubicBezTo>
                  <a:pt x="4846" y="2143"/>
                  <a:pt x="4929" y="1846"/>
                  <a:pt x="4822" y="1572"/>
                </a:cubicBezTo>
                <a:lnTo>
                  <a:pt x="4822" y="1560"/>
                </a:lnTo>
                <a:cubicBezTo>
                  <a:pt x="4787" y="1489"/>
                  <a:pt x="4751" y="1393"/>
                  <a:pt x="4656" y="1310"/>
                </a:cubicBezTo>
                <a:lnTo>
                  <a:pt x="3751" y="393"/>
                </a:lnTo>
                <a:cubicBezTo>
                  <a:pt x="3882" y="357"/>
                  <a:pt x="4013" y="334"/>
                  <a:pt x="4144" y="334"/>
                </a:cubicBezTo>
                <a:cubicBezTo>
                  <a:pt x="4489" y="334"/>
                  <a:pt x="4798" y="441"/>
                  <a:pt x="5060" y="655"/>
                </a:cubicBezTo>
                <a:cubicBezTo>
                  <a:pt x="5088" y="678"/>
                  <a:pt x="5121" y="689"/>
                  <a:pt x="5155" y="689"/>
                </a:cubicBezTo>
                <a:cubicBezTo>
                  <a:pt x="5208" y="689"/>
                  <a:pt x="5262" y="663"/>
                  <a:pt x="5298" y="619"/>
                </a:cubicBezTo>
                <a:cubicBezTo>
                  <a:pt x="5358" y="548"/>
                  <a:pt x="5346" y="441"/>
                  <a:pt x="5263" y="381"/>
                </a:cubicBezTo>
                <a:cubicBezTo>
                  <a:pt x="4941" y="131"/>
                  <a:pt x="4548" y="0"/>
                  <a:pt x="4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846" name="Google Shape;11846;p61"/>
          <p:cNvGrpSpPr/>
          <p:nvPr/>
        </p:nvGrpSpPr>
        <p:grpSpPr>
          <a:xfrm>
            <a:off x="1303876" y="2419377"/>
            <a:ext cx="363275" cy="354626"/>
            <a:chOff x="1303876" y="2419377"/>
            <a:chExt cx="363275" cy="354626"/>
          </a:xfrm>
        </p:grpSpPr>
        <p:sp>
          <p:nvSpPr>
            <p:cNvPr id="11847" name="Google Shape;11847;p61"/>
            <p:cNvSpPr/>
            <p:nvPr/>
          </p:nvSpPr>
          <p:spPr>
            <a:xfrm>
              <a:off x="1303876" y="2507701"/>
              <a:ext cx="363275" cy="266302"/>
            </a:xfrm>
            <a:custGeom>
              <a:avLst/>
              <a:gdLst/>
              <a:ahLst/>
              <a:cxnLst/>
              <a:rect l="l" t="t" r="r" b="b"/>
              <a:pathLst>
                <a:path w="11467" h="8406" extrusionOk="0">
                  <a:moveTo>
                    <a:pt x="3251" y="1631"/>
                  </a:moveTo>
                  <a:lnTo>
                    <a:pt x="3680" y="2060"/>
                  </a:lnTo>
                  <a:lnTo>
                    <a:pt x="2060" y="3691"/>
                  </a:lnTo>
                  <a:lnTo>
                    <a:pt x="1620" y="3262"/>
                  </a:lnTo>
                  <a:lnTo>
                    <a:pt x="3251" y="1631"/>
                  </a:lnTo>
                  <a:close/>
                  <a:moveTo>
                    <a:pt x="8156" y="1929"/>
                  </a:moveTo>
                  <a:lnTo>
                    <a:pt x="9799" y="3560"/>
                  </a:lnTo>
                  <a:lnTo>
                    <a:pt x="9371" y="3989"/>
                  </a:lnTo>
                  <a:lnTo>
                    <a:pt x="7728" y="2357"/>
                  </a:lnTo>
                  <a:lnTo>
                    <a:pt x="8156" y="1929"/>
                  </a:lnTo>
                  <a:close/>
                  <a:moveTo>
                    <a:pt x="7609" y="2715"/>
                  </a:moveTo>
                  <a:lnTo>
                    <a:pt x="9014" y="4108"/>
                  </a:lnTo>
                  <a:lnTo>
                    <a:pt x="8692" y="4405"/>
                  </a:lnTo>
                  <a:cubicBezTo>
                    <a:pt x="8656" y="4453"/>
                    <a:pt x="8621" y="4501"/>
                    <a:pt x="8597" y="4560"/>
                  </a:cubicBezTo>
                  <a:cubicBezTo>
                    <a:pt x="8561" y="4620"/>
                    <a:pt x="8549" y="4679"/>
                    <a:pt x="8549" y="4739"/>
                  </a:cubicBezTo>
                  <a:cubicBezTo>
                    <a:pt x="8537" y="4870"/>
                    <a:pt x="8490" y="4989"/>
                    <a:pt x="8383" y="5072"/>
                  </a:cubicBezTo>
                  <a:lnTo>
                    <a:pt x="7847" y="5620"/>
                  </a:lnTo>
                  <a:lnTo>
                    <a:pt x="5930" y="3691"/>
                  </a:lnTo>
                  <a:lnTo>
                    <a:pt x="6609" y="3429"/>
                  </a:lnTo>
                  <a:cubicBezTo>
                    <a:pt x="6609" y="3429"/>
                    <a:pt x="6632" y="3429"/>
                    <a:pt x="6632" y="3417"/>
                  </a:cubicBezTo>
                  <a:cubicBezTo>
                    <a:pt x="6739" y="3358"/>
                    <a:pt x="6823" y="3262"/>
                    <a:pt x="6882" y="3155"/>
                  </a:cubicBezTo>
                  <a:cubicBezTo>
                    <a:pt x="7109" y="3119"/>
                    <a:pt x="7299" y="3012"/>
                    <a:pt x="7466" y="2858"/>
                  </a:cubicBezTo>
                  <a:lnTo>
                    <a:pt x="7609" y="2715"/>
                  </a:lnTo>
                  <a:close/>
                  <a:moveTo>
                    <a:pt x="3846" y="6084"/>
                  </a:moveTo>
                  <a:lnTo>
                    <a:pt x="4120" y="6358"/>
                  </a:lnTo>
                  <a:lnTo>
                    <a:pt x="3739" y="6727"/>
                  </a:lnTo>
                  <a:lnTo>
                    <a:pt x="3656" y="6822"/>
                  </a:lnTo>
                  <a:cubicBezTo>
                    <a:pt x="3620" y="6846"/>
                    <a:pt x="3584" y="6858"/>
                    <a:pt x="3537" y="6858"/>
                  </a:cubicBezTo>
                  <a:cubicBezTo>
                    <a:pt x="3489" y="6858"/>
                    <a:pt x="3441" y="6846"/>
                    <a:pt x="3418" y="6822"/>
                  </a:cubicBezTo>
                  <a:lnTo>
                    <a:pt x="3382" y="6787"/>
                  </a:lnTo>
                  <a:cubicBezTo>
                    <a:pt x="3322" y="6727"/>
                    <a:pt x="3322" y="6608"/>
                    <a:pt x="3382" y="6548"/>
                  </a:cubicBezTo>
                  <a:lnTo>
                    <a:pt x="3846" y="6084"/>
                  </a:lnTo>
                  <a:close/>
                  <a:moveTo>
                    <a:pt x="4334" y="6608"/>
                  </a:moveTo>
                  <a:lnTo>
                    <a:pt x="4608" y="6882"/>
                  </a:lnTo>
                  <a:lnTo>
                    <a:pt x="4311" y="7156"/>
                  </a:lnTo>
                  <a:lnTo>
                    <a:pt x="4227" y="7239"/>
                  </a:lnTo>
                  <a:cubicBezTo>
                    <a:pt x="4203" y="7263"/>
                    <a:pt x="4156" y="7275"/>
                    <a:pt x="4108" y="7275"/>
                  </a:cubicBezTo>
                  <a:cubicBezTo>
                    <a:pt x="4072" y="7275"/>
                    <a:pt x="4025" y="7263"/>
                    <a:pt x="3989" y="7239"/>
                  </a:cubicBezTo>
                  <a:lnTo>
                    <a:pt x="3965" y="7203"/>
                  </a:lnTo>
                  <a:cubicBezTo>
                    <a:pt x="3906" y="7144"/>
                    <a:pt x="3906" y="7037"/>
                    <a:pt x="3965" y="6977"/>
                  </a:cubicBezTo>
                  <a:lnTo>
                    <a:pt x="4334" y="6608"/>
                  </a:lnTo>
                  <a:close/>
                  <a:moveTo>
                    <a:pt x="4858" y="7096"/>
                  </a:moveTo>
                  <a:lnTo>
                    <a:pt x="5132" y="7370"/>
                  </a:lnTo>
                  <a:lnTo>
                    <a:pt x="4954" y="7537"/>
                  </a:lnTo>
                  <a:lnTo>
                    <a:pt x="4811" y="7668"/>
                  </a:lnTo>
                  <a:cubicBezTo>
                    <a:pt x="4781" y="7697"/>
                    <a:pt x="4742" y="7712"/>
                    <a:pt x="4704" y="7712"/>
                  </a:cubicBezTo>
                  <a:cubicBezTo>
                    <a:pt x="4665" y="7712"/>
                    <a:pt x="4626" y="7697"/>
                    <a:pt x="4596" y="7668"/>
                  </a:cubicBezTo>
                  <a:lnTo>
                    <a:pt x="4549" y="7620"/>
                  </a:lnTo>
                  <a:cubicBezTo>
                    <a:pt x="4513" y="7596"/>
                    <a:pt x="4501" y="7549"/>
                    <a:pt x="4501" y="7513"/>
                  </a:cubicBezTo>
                  <a:cubicBezTo>
                    <a:pt x="4501" y="7477"/>
                    <a:pt x="4513" y="7441"/>
                    <a:pt x="4549" y="7418"/>
                  </a:cubicBezTo>
                  <a:lnTo>
                    <a:pt x="4858" y="7096"/>
                  </a:lnTo>
                  <a:close/>
                  <a:moveTo>
                    <a:pt x="3811" y="2417"/>
                  </a:moveTo>
                  <a:lnTo>
                    <a:pt x="3965" y="2560"/>
                  </a:lnTo>
                  <a:cubicBezTo>
                    <a:pt x="4181" y="2776"/>
                    <a:pt x="4462" y="2894"/>
                    <a:pt x="4756" y="2894"/>
                  </a:cubicBezTo>
                  <a:cubicBezTo>
                    <a:pt x="4771" y="2894"/>
                    <a:pt x="4785" y="2894"/>
                    <a:pt x="4799" y="2893"/>
                  </a:cubicBezTo>
                  <a:cubicBezTo>
                    <a:pt x="5394" y="2858"/>
                    <a:pt x="6168" y="2798"/>
                    <a:pt x="6549" y="2703"/>
                  </a:cubicBezTo>
                  <a:cubicBezTo>
                    <a:pt x="6573" y="2715"/>
                    <a:pt x="6597" y="2738"/>
                    <a:pt x="6609" y="2774"/>
                  </a:cubicBezTo>
                  <a:cubicBezTo>
                    <a:pt x="6632" y="2834"/>
                    <a:pt x="6632" y="2893"/>
                    <a:pt x="6597" y="2953"/>
                  </a:cubicBezTo>
                  <a:cubicBezTo>
                    <a:pt x="6573" y="3024"/>
                    <a:pt x="6525" y="3084"/>
                    <a:pt x="6466" y="3119"/>
                  </a:cubicBezTo>
                  <a:lnTo>
                    <a:pt x="5561" y="3489"/>
                  </a:lnTo>
                  <a:cubicBezTo>
                    <a:pt x="5501" y="3500"/>
                    <a:pt x="5466" y="3560"/>
                    <a:pt x="5454" y="3608"/>
                  </a:cubicBezTo>
                  <a:cubicBezTo>
                    <a:pt x="5442" y="3667"/>
                    <a:pt x="5454" y="3727"/>
                    <a:pt x="5501" y="3750"/>
                  </a:cubicBezTo>
                  <a:lnTo>
                    <a:pt x="7716" y="5977"/>
                  </a:lnTo>
                  <a:lnTo>
                    <a:pt x="8013" y="6275"/>
                  </a:lnTo>
                  <a:cubicBezTo>
                    <a:pt x="8097" y="6346"/>
                    <a:pt x="8097" y="6453"/>
                    <a:pt x="8025" y="6513"/>
                  </a:cubicBezTo>
                  <a:lnTo>
                    <a:pt x="8002" y="6537"/>
                  </a:lnTo>
                  <a:cubicBezTo>
                    <a:pt x="7972" y="6566"/>
                    <a:pt x="7927" y="6581"/>
                    <a:pt x="7882" y="6581"/>
                  </a:cubicBezTo>
                  <a:cubicBezTo>
                    <a:pt x="7838" y="6581"/>
                    <a:pt x="7793" y="6566"/>
                    <a:pt x="7763" y="6537"/>
                  </a:cubicBezTo>
                  <a:lnTo>
                    <a:pt x="7668" y="6453"/>
                  </a:lnTo>
                  <a:lnTo>
                    <a:pt x="5775" y="4560"/>
                  </a:lnTo>
                  <a:cubicBezTo>
                    <a:pt x="5745" y="4530"/>
                    <a:pt x="5701" y="4515"/>
                    <a:pt x="5656" y="4515"/>
                  </a:cubicBezTo>
                  <a:cubicBezTo>
                    <a:pt x="5611" y="4515"/>
                    <a:pt x="5567" y="4530"/>
                    <a:pt x="5537" y="4560"/>
                  </a:cubicBezTo>
                  <a:cubicBezTo>
                    <a:pt x="5477" y="4620"/>
                    <a:pt x="5477" y="4739"/>
                    <a:pt x="5537" y="4798"/>
                  </a:cubicBezTo>
                  <a:lnTo>
                    <a:pt x="7430" y="6691"/>
                  </a:lnTo>
                  <a:cubicBezTo>
                    <a:pt x="7490" y="6751"/>
                    <a:pt x="7490" y="6846"/>
                    <a:pt x="7430" y="6906"/>
                  </a:cubicBezTo>
                  <a:lnTo>
                    <a:pt x="7406" y="6941"/>
                  </a:lnTo>
                  <a:cubicBezTo>
                    <a:pt x="7376" y="6971"/>
                    <a:pt x="7335" y="6986"/>
                    <a:pt x="7293" y="6986"/>
                  </a:cubicBezTo>
                  <a:cubicBezTo>
                    <a:pt x="7251" y="6986"/>
                    <a:pt x="7210" y="6971"/>
                    <a:pt x="7180" y="6941"/>
                  </a:cubicBezTo>
                  <a:lnTo>
                    <a:pt x="7120" y="6882"/>
                  </a:lnTo>
                  <a:lnTo>
                    <a:pt x="5120" y="4882"/>
                  </a:lnTo>
                  <a:cubicBezTo>
                    <a:pt x="5096" y="4852"/>
                    <a:pt x="5055" y="4837"/>
                    <a:pt x="5010" y="4837"/>
                  </a:cubicBezTo>
                  <a:cubicBezTo>
                    <a:pt x="4965" y="4837"/>
                    <a:pt x="4918" y="4852"/>
                    <a:pt x="4882" y="4882"/>
                  </a:cubicBezTo>
                  <a:cubicBezTo>
                    <a:pt x="4823" y="4941"/>
                    <a:pt x="4823" y="5060"/>
                    <a:pt x="4882" y="5120"/>
                  </a:cubicBezTo>
                  <a:lnTo>
                    <a:pt x="6882" y="7120"/>
                  </a:lnTo>
                  <a:cubicBezTo>
                    <a:pt x="6906" y="7144"/>
                    <a:pt x="6930" y="7191"/>
                    <a:pt x="6930" y="7227"/>
                  </a:cubicBezTo>
                  <a:cubicBezTo>
                    <a:pt x="6930" y="7251"/>
                    <a:pt x="6906" y="7299"/>
                    <a:pt x="6882" y="7322"/>
                  </a:cubicBezTo>
                  <a:lnTo>
                    <a:pt x="6835" y="7370"/>
                  </a:lnTo>
                  <a:cubicBezTo>
                    <a:pt x="6805" y="7400"/>
                    <a:pt x="6763" y="7415"/>
                    <a:pt x="6722" y="7415"/>
                  </a:cubicBezTo>
                  <a:cubicBezTo>
                    <a:pt x="6680" y="7415"/>
                    <a:pt x="6638" y="7400"/>
                    <a:pt x="6609" y="7370"/>
                  </a:cubicBezTo>
                  <a:lnTo>
                    <a:pt x="6478" y="7239"/>
                  </a:lnTo>
                  <a:lnTo>
                    <a:pt x="4799" y="5560"/>
                  </a:lnTo>
                  <a:cubicBezTo>
                    <a:pt x="4769" y="5530"/>
                    <a:pt x="4724" y="5516"/>
                    <a:pt x="4680" y="5516"/>
                  </a:cubicBezTo>
                  <a:cubicBezTo>
                    <a:pt x="4635" y="5516"/>
                    <a:pt x="4590" y="5530"/>
                    <a:pt x="4561" y="5560"/>
                  </a:cubicBezTo>
                  <a:cubicBezTo>
                    <a:pt x="4501" y="5620"/>
                    <a:pt x="4501" y="5739"/>
                    <a:pt x="4561" y="5798"/>
                  </a:cubicBezTo>
                  <a:lnTo>
                    <a:pt x="6239" y="7477"/>
                  </a:lnTo>
                  <a:cubicBezTo>
                    <a:pt x="6275" y="7501"/>
                    <a:pt x="6287" y="7537"/>
                    <a:pt x="6287" y="7584"/>
                  </a:cubicBezTo>
                  <a:cubicBezTo>
                    <a:pt x="6287" y="7620"/>
                    <a:pt x="6275" y="7656"/>
                    <a:pt x="6239" y="7680"/>
                  </a:cubicBezTo>
                  <a:lnTo>
                    <a:pt x="6180" y="7739"/>
                  </a:lnTo>
                  <a:cubicBezTo>
                    <a:pt x="6150" y="7769"/>
                    <a:pt x="6114" y="7784"/>
                    <a:pt x="6080" y="7784"/>
                  </a:cubicBezTo>
                  <a:cubicBezTo>
                    <a:pt x="6046" y="7784"/>
                    <a:pt x="6013" y="7769"/>
                    <a:pt x="5989" y="7739"/>
                  </a:cubicBezTo>
                  <a:lnTo>
                    <a:pt x="3037" y="4798"/>
                  </a:lnTo>
                  <a:cubicBezTo>
                    <a:pt x="2953" y="4703"/>
                    <a:pt x="2894" y="4584"/>
                    <a:pt x="2882" y="4453"/>
                  </a:cubicBezTo>
                  <a:cubicBezTo>
                    <a:pt x="2882" y="4393"/>
                    <a:pt x="2858" y="4334"/>
                    <a:pt x="2834" y="4274"/>
                  </a:cubicBezTo>
                  <a:cubicBezTo>
                    <a:pt x="2799" y="4215"/>
                    <a:pt x="2775" y="4167"/>
                    <a:pt x="2727" y="4131"/>
                  </a:cubicBezTo>
                  <a:lnTo>
                    <a:pt x="2418" y="3810"/>
                  </a:lnTo>
                  <a:lnTo>
                    <a:pt x="3811" y="2417"/>
                  </a:lnTo>
                  <a:close/>
                  <a:moveTo>
                    <a:pt x="5370" y="7572"/>
                  </a:moveTo>
                  <a:lnTo>
                    <a:pt x="5632" y="7846"/>
                  </a:lnTo>
                  <a:lnTo>
                    <a:pt x="5454" y="8025"/>
                  </a:lnTo>
                  <a:cubicBezTo>
                    <a:pt x="5430" y="8061"/>
                    <a:pt x="5394" y="8072"/>
                    <a:pt x="5346" y="8072"/>
                  </a:cubicBezTo>
                  <a:cubicBezTo>
                    <a:pt x="5311" y="8072"/>
                    <a:pt x="5275" y="8049"/>
                    <a:pt x="5251" y="8025"/>
                  </a:cubicBezTo>
                  <a:lnTo>
                    <a:pt x="5192" y="7965"/>
                  </a:lnTo>
                  <a:cubicBezTo>
                    <a:pt x="5156" y="7941"/>
                    <a:pt x="5144" y="7906"/>
                    <a:pt x="5144" y="7858"/>
                  </a:cubicBezTo>
                  <a:cubicBezTo>
                    <a:pt x="5144" y="7822"/>
                    <a:pt x="5156" y="7787"/>
                    <a:pt x="5192" y="7751"/>
                  </a:cubicBezTo>
                  <a:lnTo>
                    <a:pt x="5370" y="7572"/>
                  </a:lnTo>
                  <a:close/>
                  <a:moveTo>
                    <a:pt x="2251" y="0"/>
                  </a:moveTo>
                  <a:cubicBezTo>
                    <a:pt x="2203" y="0"/>
                    <a:pt x="2167" y="12"/>
                    <a:pt x="2132" y="48"/>
                  </a:cubicBezTo>
                  <a:lnTo>
                    <a:pt x="1394" y="786"/>
                  </a:lnTo>
                  <a:cubicBezTo>
                    <a:pt x="1334" y="845"/>
                    <a:pt x="1334" y="964"/>
                    <a:pt x="1394" y="1024"/>
                  </a:cubicBezTo>
                  <a:cubicBezTo>
                    <a:pt x="1423" y="1054"/>
                    <a:pt x="1468" y="1069"/>
                    <a:pt x="1513" y="1069"/>
                  </a:cubicBezTo>
                  <a:cubicBezTo>
                    <a:pt x="1557" y="1069"/>
                    <a:pt x="1602" y="1054"/>
                    <a:pt x="1632" y="1024"/>
                  </a:cubicBezTo>
                  <a:lnTo>
                    <a:pt x="2251" y="405"/>
                  </a:lnTo>
                  <a:lnTo>
                    <a:pt x="3156" y="1310"/>
                  </a:lnTo>
                  <a:lnTo>
                    <a:pt x="1334" y="3143"/>
                  </a:lnTo>
                  <a:lnTo>
                    <a:pt x="417" y="2238"/>
                  </a:lnTo>
                  <a:lnTo>
                    <a:pt x="1155" y="1500"/>
                  </a:lnTo>
                  <a:cubicBezTo>
                    <a:pt x="1215" y="1441"/>
                    <a:pt x="1215" y="1322"/>
                    <a:pt x="1155" y="1262"/>
                  </a:cubicBezTo>
                  <a:cubicBezTo>
                    <a:pt x="1126" y="1232"/>
                    <a:pt x="1081" y="1217"/>
                    <a:pt x="1036" y="1217"/>
                  </a:cubicBezTo>
                  <a:cubicBezTo>
                    <a:pt x="992" y="1217"/>
                    <a:pt x="947" y="1232"/>
                    <a:pt x="917" y="1262"/>
                  </a:cubicBezTo>
                  <a:lnTo>
                    <a:pt x="60" y="2119"/>
                  </a:lnTo>
                  <a:cubicBezTo>
                    <a:pt x="1" y="2179"/>
                    <a:pt x="1" y="2298"/>
                    <a:pt x="60" y="2357"/>
                  </a:cubicBezTo>
                  <a:lnTo>
                    <a:pt x="1191" y="3489"/>
                  </a:lnTo>
                  <a:cubicBezTo>
                    <a:pt x="1227" y="3512"/>
                    <a:pt x="1275" y="3524"/>
                    <a:pt x="1310" y="3524"/>
                  </a:cubicBezTo>
                  <a:cubicBezTo>
                    <a:pt x="1346" y="3524"/>
                    <a:pt x="1370" y="3512"/>
                    <a:pt x="1405" y="3500"/>
                  </a:cubicBezTo>
                  <a:lnTo>
                    <a:pt x="1953" y="4048"/>
                  </a:lnTo>
                  <a:cubicBezTo>
                    <a:pt x="1989" y="4084"/>
                    <a:pt x="2025" y="4096"/>
                    <a:pt x="2072" y="4096"/>
                  </a:cubicBezTo>
                  <a:cubicBezTo>
                    <a:pt x="2120" y="4096"/>
                    <a:pt x="2167" y="4084"/>
                    <a:pt x="2191" y="4048"/>
                  </a:cubicBezTo>
                  <a:lnTo>
                    <a:pt x="2501" y="4358"/>
                  </a:lnTo>
                  <a:cubicBezTo>
                    <a:pt x="2525" y="4382"/>
                    <a:pt x="2537" y="4393"/>
                    <a:pt x="2537" y="4405"/>
                  </a:cubicBezTo>
                  <a:cubicBezTo>
                    <a:pt x="2548" y="4417"/>
                    <a:pt x="2548" y="4453"/>
                    <a:pt x="2548" y="4465"/>
                  </a:cubicBezTo>
                  <a:cubicBezTo>
                    <a:pt x="2560" y="4679"/>
                    <a:pt x="2656" y="4882"/>
                    <a:pt x="2799" y="5036"/>
                  </a:cubicBezTo>
                  <a:lnTo>
                    <a:pt x="3632" y="5870"/>
                  </a:lnTo>
                  <a:lnTo>
                    <a:pt x="3180" y="6322"/>
                  </a:lnTo>
                  <a:cubicBezTo>
                    <a:pt x="2977" y="6525"/>
                    <a:pt x="2977" y="6846"/>
                    <a:pt x="3180" y="7037"/>
                  </a:cubicBezTo>
                  <a:lnTo>
                    <a:pt x="3203" y="7072"/>
                  </a:lnTo>
                  <a:cubicBezTo>
                    <a:pt x="3299" y="7156"/>
                    <a:pt x="3430" y="7215"/>
                    <a:pt x="3561" y="7215"/>
                  </a:cubicBezTo>
                  <a:lnTo>
                    <a:pt x="3632" y="7215"/>
                  </a:lnTo>
                  <a:cubicBezTo>
                    <a:pt x="3656" y="7310"/>
                    <a:pt x="3691" y="7382"/>
                    <a:pt x="3775" y="7453"/>
                  </a:cubicBezTo>
                  <a:lnTo>
                    <a:pt x="3799" y="7489"/>
                  </a:lnTo>
                  <a:cubicBezTo>
                    <a:pt x="3894" y="7572"/>
                    <a:pt x="4025" y="7632"/>
                    <a:pt x="4156" y="7632"/>
                  </a:cubicBezTo>
                  <a:lnTo>
                    <a:pt x="4203" y="7632"/>
                  </a:lnTo>
                  <a:cubicBezTo>
                    <a:pt x="4215" y="7727"/>
                    <a:pt x="4263" y="7811"/>
                    <a:pt x="4334" y="7870"/>
                  </a:cubicBezTo>
                  <a:lnTo>
                    <a:pt x="4382" y="7918"/>
                  </a:lnTo>
                  <a:cubicBezTo>
                    <a:pt x="4475" y="8011"/>
                    <a:pt x="4593" y="8062"/>
                    <a:pt x="4713" y="8062"/>
                  </a:cubicBezTo>
                  <a:cubicBezTo>
                    <a:pt x="4762" y="8062"/>
                    <a:pt x="4810" y="8054"/>
                    <a:pt x="4858" y="8037"/>
                  </a:cubicBezTo>
                  <a:cubicBezTo>
                    <a:pt x="4882" y="8096"/>
                    <a:pt x="4918" y="8156"/>
                    <a:pt x="4977" y="8215"/>
                  </a:cubicBezTo>
                  <a:lnTo>
                    <a:pt x="5037" y="8275"/>
                  </a:lnTo>
                  <a:cubicBezTo>
                    <a:pt x="5120" y="8370"/>
                    <a:pt x="5239" y="8406"/>
                    <a:pt x="5382" y="8406"/>
                  </a:cubicBezTo>
                  <a:cubicBezTo>
                    <a:pt x="5513" y="8406"/>
                    <a:pt x="5632" y="8370"/>
                    <a:pt x="5716" y="8275"/>
                  </a:cubicBezTo>
                  <a:lnTo>
                    <a:pt x="5918" y="8084"/>
                  </a:lnTo>
                  <a:cubicBezTo>
                    <a:pt x="5977" y="8108"/>
                    <a:pt x="6049" y="8132"/>
                    <a:pt x="6120" y="8132"/>
                  </a:cubicBezTo>
                  <a:cubicBezTo>
                    <a:pt x="6239" y="8132"/>
                    <a:pt x="6358" y="8084"/>
                    <a:pt x="6466" y="7989"/>
                  </a:cubicBezTo>
                  <a:lnTo>
                    <a:pt x="6525" y="7930"/>
                  </a:lnTo>
                  <a:cubicBezTo>
                    <a:pt x="6573" y="7894"/>
                    <a:pt x="6609" y="7834"/>
                    <a:pt x="6644" y="7751"/>
                  </a:cubicBezTo>
                  <a:cubicBezTo>
                    <a:pt x="6687" y="7763"/>
                    <a:pt x="6732" y="7769"/>
                    <a:pt x="6777" y="7769"/>
                  </a:cubicBezTo>
                  <a:cubicBezTo>
                    <a:pt x="6905" y="7769"/>
                    <a:pt x="7032" y="7720"/>
                    <a:pt x="7120" y="7632"/>
                  </a:cubicBezTo>
                  <a:lnTo>
                    <a:pt x="7168" y="7596"/>
                  </a:lnTo>
                  <a:cubicBezTo>
                    <a:pt x="7240" y="7513"/>
                    <a:pt x="7287" y="7441"/>
                    <a:pt x="7299" y="7358"/>
                  </a:cubicBezTo>
                  <a:cubicBezTo>
                    <a:pt x="7313" y="7359"/>
                    <a:pt x="7327" y="7360"/>
                    <a:pt x="7341" y="7360"/>
                  </a:cubicBezTo>
                  <a:cubicBezTo>
                    <a:pt x="7470" y="7360"/>
                    <a:pt x="7597" y="7311"/>
                    <a:pt x="7704" y="7203"/>
                  </a:cubicBezTo>
                  <a:lnTo>
                    <a:pt x="7728" y="7179"/>
                  </a:lnTo>
                  <a:cubicBezTo>
                    <a:pt x="7799" y="7096"/>
                    <a:pt x="7835" y="7025"/>
                    <a:pt x="7859" y="6941"/>
                  </a:cubicBezTo>
                  <a:cubicBezTo>
                    <a:pt x="7874" y="6943"/>
                    <a:pt x="7889" y="6943"/>
                    <a:pt x="7905" y="6943"/>
                  </a:cubicBezTo>
                  <a:cubicBezTo>
                    <a:pt x="8046" y="6943"/>
                    <a:pt x="8192" y="6894"/>
                    <a:pt x="8299" y="6787"/>
                  </a:cubicBezTo>
                  <a:lnTo>
                    <a:pt x="8323" y="6763"/>
                  </a:lnTo>
                  <a:cubicBezTo>
                    <a:pt x="8514" y="6560"/>
                    <a:pt x="8514" y="6239"/>
                    <a:pt x="8323" y="6048"/>
                  </a:cubicBezTo>
                  <a:lnTo>
                    <a:pt x="8144" y="5870"/>
                  </a:lnTo>
                  <a:lnTo>
                    <a:pt x="8680" y="5334"/>
                  </a:lnTo>
                  <a:cubicBezTo>
                    <a:pt x="8835" y="5179"/>
                    <a:pt x="8918" y="4989"/>
                    <a:pt x="8930" y="4763"/>
                  </a:cubicBezTo>
                  <a:cubicBezTo>
                    <a:pt x="8930" y="4751"/>
                    <a:pt x="8930" y="4715"/>
                    <a:pt x="8954" y="4703"/>
                  </a:cubicBezTo>
                  <a:cubicBezTo>
                    <a:pt x="8966" y="4691"/>
                    <a:pt x="8966" y="4679"/>
                    <a:pt x="8978" y="4655"/>
                  </a:cubicBezTo>
                  <a:lnTo>
                    <a:pt x="9287" y="4346"/>
                  </a:lnTo>
                  <a:cubicBezTo>
                    <a:pt x="9323" y="4382"/>
                    <a:pt x="9371" y="4393"/>
                    <a:pt x="9406" y="4393"/>
                  </a:cubicBezTo>
                  <a:cubicBezTo>
                    <a:pt x="9454" y="4393"/>
                    <a:pt x="9502" y="4382"/>
                    <a:pt x="9526" y="4346"/>
                  </a:cubicBezTo>
                  <a:lnTo>
                    <a:pt x="10085" y="3798"/>
                  </a:lnTo>
                  <a:cubicBezTo>
                    <a:pt x="10109" y="3810"/>
                    <a:pt x="10145" y="3822"/>
                    <a:pt x="10168" y="3822"/>
                  </a:cubicBezTo>
                  <a:cubicBezTo>
                    <a:pt x="10216" y="3822"/>
                    <a:pt x="10264" y="3810"/>
                    <a:pt x="10288" y="3786"/>
                  </a:cubicBezTo>
                  <a:lnTo>
                    <a:pt x="11419" y="2655"/>
                  </a:lnTo>
                  <a:cubicBezTo>
                    <a:pt x="11466" y="2560"/>
                    <a:pt x="11466" y="2465"/>
                    <a:pt x="11395" y="2393"/>
                  </a:cubicBezTo>
                  <a:lnTo>
                    <a:pt x="10490" y="1488"/>
                  </a:lnTo>
                  <a:cubicBezTo>
                    <a:pt x="10460" y="1459"/>
                    <a:pt x="10416" y="1444"/>
                    <a:pt x="10369" y="1444"/>
                  </a:cubicBezTo>
                  <a:cubicBezTo>
                    <a:pt x="10323" y="1444"/>
                    <a:pt x="10276" y="1459"/>
                    <a:pt x="10240" y="1488"/>
                  </a:cubicBezTo>
                  <a:cubicBezTo>
                    <a:pt x="10180" y="1548"/>
                    <a:pt x="10180" y="1667"/>
                    <a:pt x="10240" y="1726"/>
                  </a:cubicBezTo>
                  <a:lnTo>
                    <a:pt x="11038" y="2512"/>
                  </a:lnTo>
                  <a:lnTo>
                    <a:pt x="10121" y="3429"/>
                  </a:lnTo>
                  <a:lnTo>
                    <a:pt x="8299" y="1595"/>
                  </a:lnTo>
                  <a:lnTo>
                    <a:pt x="9204" y="691"/>
                  </a:lnTo>
                  <a:lnTo>
                    <a:pt x="9787" y="1262"/>
                  </a:lnTo>
                  <a:cubicBezTo>
                    <a:pt x="9817" y="1292"/>
                    <a:pt x="9862" y="1307"/>
                    <a:pt x="9907" y="1307"/>
                  </a:cubicBezTo>
                  <a:cubicBezTo>
                    <a:pt x="9951" y="1307"/>
                    <a:pt x="9996" y="1292"/>
                    <a:pt x="10026" y="1262"/>
                  </a:cubicBezTo>
                  <a:cubicBezTo>
                    <a:pt x="10085" y="1203"/>
                    <a:pt x="10085" y="1083"/>
                    <a:pt x="10026" y="1024"/>
                  </a:cubicBezTo>
                  <a:lnTo>
                    <a:pt x="9323" y="333"/>
                  </a:lnTo>
                  <a:cubicBezTo>
                    <a:pt x="9287" y="298"/>
                    <a:pt x="9252" y="286"/>
                    <a:pt x="9204" y="286"/>
                  </a:cubicBezTo>
                  <a:cubicBezTo>
                    <a:pt x="9156" y="286"/>
                    <a:pt x="9109" y="298"/>
                    <a:pt x="9085" y="333"/>
                  </a:cubicBezTo>
                  <a:lnTo>
                    <a:pt x="7954" y="1464"/>
                  </a:lnTo>
                  <a:cubicBezTo>
                    <a:pt x="7894" y="1524"/>
                    <a:pt x="7894" y="1607"/>
                    <a:pt x="7942" y="1667"/>
                  </a:cubicBezTo>
                  <a:lnTo>
                    <a:pt x="7382" y="2215"/>
                  </a:lnTo>
                  <a:cubicBezTo>
                    <a:pt x="7359" y="2250"/>
                    <a:pt x="7347" y="2298"/>
                    <a:pt x="7347" y="2334"/>
                  </a:cubicBezTo>
                  <a:cubicBezTo>
                    <a:pt x="7347" y="2381"/>
                    <a:pt x="7359" y="2429"/>
                    <a:pt x="7382" y="2453"/>
                  </a:cubicBezTo>
                  <a:lnTo>
                    <a:pt x="7240" y="2607"/>
                  </a:lnTo>
                  <a:cubicBezTo>
                    <a:pt x="7168" y="2679"/>
                    <a:pt x="7073" y="2738"/>
                    <a:pt x="6966" y="2786"/>
                  </a:cubicBezTo>
                  <a:cubicBezTo>
                    <a:pt x="6966" y="2738"/>
                    <a:pt x="6954" y="2691"/>
                    <a:pt x="6942" y="2655"/>
                  </a:cubicBezTo>
                  <a:cubicBezTo>
                    <a:pt x="6942" y="2631"/>
                    <a:pt x="6930" y="2619"/>
                    <a:pt x="6930" y="2607"/>
                  </a:cubicBezTo>
                  <a:cubicBezTo>
                    <a:pt x="6849" y="2476"/>
                    <a:pt x="6734" y="2344"/>
                    <a:pt x="6599" y="2344"/>
                  </a:cubicBezTo>
                  <a:cubicBezTo>
                    <a:pt x="6575" y="2344"/>
                    <a:pt x="6550" y="2349"/>
                    <a:pt x="6525" y="2357"/>
                  </a:cubicBezTo>
                  <a:cubicBezTo>
                    <a:pt x="6275" y="2441"/>
                    <a:pt x="5644" y="2500"/>
                    <a:pt x="4799" y="2548"/>
                  </a:cubicBezTo>
                  <a:cubicBezTo>
                    <a:pt x="4785" y="2549"/>
                    <a:pt x="4770" y="2549"/>
                    <a:pt x="4756" y="2549"/>
                  </a:cubicBezTo>
                  <a:cubicBezTo>
                    <a:pt x="4547" y="2549"/>
                    <a:pt x="4360" y="2467"/>
                    <a:pt x="4215" y="2322"/>
                  </a:cubicBezTo>
                  <a:lnTo>
                    <a:pt x="4072" y="2179"/>
                  </a:lnTo>
                  <a:cubicBezTo>
                    <a:pt x="4132" y="2119"/>
                    <a:pt x="4132" y="2000"/>
                    <a:pt x="4072" y="1941"/>
                  </a:cubicBezTo>
                  <a:lnTo>
                    <a:pt x="3513" y="1381"/>
                  </a:lnTo>
                  <a:cubicBezTo>
                    <a:pt x="3561" y="1322"/>
                    <a:pt x="3561" y="1238"/>
                    <a:pt x="3501" y="1179"/>
                  </a:cubicBezTo>
                  <a:lnTo>
                    <a:pt x="2370" y="48"/>
                  </a:lnTo>
                  <a:cubicBezTo>
                    <a:pt x="2346" y="12"/>
                    <a:pt x="2298" y="0"/>
                    <a:pt x="2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8" name="Google Shape;11848;p61"/>
            <p:cNvSpPr/>
            <p:nvPr/>
          </p:nvSpPr>
          <p:spPr>
            <a:xfrm>
              <a:off x="1399296" y="2419377"/>
              <a:ext cx="172054" cy="104924"/>
            </a:xfrm>
            <a:custGeom>
              <a:avLst/>
              <a:gdLst/>
              <a:ahLst/>
              <a:cxnLst/>
              <a:rect l="l" t="t" r="r" b="b"/>
              <a:pathLst>
                <a:path w="5431" h="3312" extrusionOk="0">
                  <a:moveTo>
                    <a:pt x="1561" y="323"/>
                  </a:moveTo>
                  <a:cubicBezTo>
                    <a:pt x="1787" y="323"/>
                    <a:pt x="2013" y="395"/>
                    <a:pt x="2215" y="514"/>
                  </a:cubicBezTo>
                  <a:cubicBezTo>
                    <a:pt x="2751" y="883"/>
                    <a:pt x="2894" y="1609"/>
                    <a:pt x="2537" y="2157"/>
                  </a:cubicBezTo>
                  <a:cubicBezTo>
                    <a:pt x="2313" y="2493"/>
                    <a:pt x="1942" y="2675"/>
                    <a:pt x="1558" y="2675"/>
                  </a:cubicBezTo>
                  <a:cubicBezTo>
                    <a:pt x="1452" y="2675"/>
                    <a:pt x="1345" y="2662"/>
                    <a:pt x="1239" y="2633"/>
                  </a:cubicBezTo>
                  <a:cubicBezTo>
                    <a:pt x="1218" y="2623"/>
                    <a:pt x="1201" y="2617"/>
                    <a:pt x="1185" y="2617"/>
                  </a:cubicBezTo>
                  <a:cubicBezTo>
                    <a:pt x="1165" y="2617"/>
                    <a:pt x="1146" y="2625"/>
                    <a:pt x="1120" y="2645"/>
                  </a:cubicBezTo>
                  <a:lnTo>
                    <a:pt x="656" y="2871"/>
                  </a:lnTo>
                  <a:lnTo>
                    <a:pt x="656" y="2871"/>
                  </a:lnTo>
                  <a:lnTo>
                    <a:pt x="679" y="2347"/>
                  </a:lnTo>
                  <a:cubicBezTo>
                    <a:pt x="679" y="2300"/>
                    <a:pt x="668" y="2276"/>
                    <a:pt x="656" y="2228"/>
                  </a:cubicBezTo>
                  <a:cubicBezTo>
                    <a:pt x="346" y="1824"/>
                    <a:pt x="310" y="1276"/>
                    <a:pt x="596" y="847"/>
                  </a:cubicBezTo>
                  <a:cubicBezTo>
                    <a:pt x="775" y="585"/>
                    <a:pt x="1025" y="407"/>
                    <a:pt x="1346" y="347"/>
                  </a:cubicBezTo>
                  <a:cubicBezTo>
                    <a:pt x="1418" y="335"/>
                    <a:pt x="1489" y="323"/>
                    <a:pt x="1561" y="323"/>
                  </a:cubicBezTo>
                  <a:close/>
                  <a:moveTo>
                    <a:pt x="3883" y="0"/>
                  </a:moveTo>
                  <a:cubicBezTo>
                    <a:pt x="3588" y="0"/>
                    <a:pt x="3291" y="87"/>
                    <a:pt x="3037" y="264"/>
                  </a:cubicBezTo>
                  <a:cubicBezTo>
                    <a:pt x="2942" y="323"/>
                    <a:pt x="2858" y="395"/>
                    <a:pt x="2787" y="478"/>
                  </a:cubicBezTo>
                  <a:lnTo>
                    <a:pt x="2739" y="526"/>
                  </a:lnTo>
                  <a:cubicBezTo>
                    <a:pt x="2644" y="419"/>
                    <a:pt x="2549" y="335"/>
                    <a:pt x="2442" y="264"/>
                  </a:cubicBezTo>
                  <a:cubicBezTo>
                    <a:pt x="2191" y="94"/>
                    <a:pt x="1906" y="11"/>
                    <a:pt x="1608" y="11"/>
                  </a:cubicBezTo>
                  <a:cubicBezTo>
                    <a:pt x="1510" y="11"/>
                    <a:pt x="1411" y="20"/>
                    <a:pt x="1311" y="38"/>
                  </a:cubicBezTo>
                  <a:cubicBezTo>
                    <a:pt x="906" y="109"/>
                    <a:pt x="584" y="347"/>
                    <a:pt x="358" y="681"/>
                  </a:cubicBezTo>
                  <a:cubicBezTo>
                    <a:pt x="1" y="1193"/>
                    <a:pt x="13" y="1883"/>
                    <a:pt x="382" y="2407"/>
                  </a:cubicBezTo>
                  <a:lnTo>
                    <a:pt x="358" y="3133"/>
                  </a:lnTo>
                  <a:cubicBezTo>
                    <a:pt x="358" y="3193"/>
                    <a:pt x="382" y="3252"/>
                    <a:pt x="429" y="3276"/>
                  </a:cubicBezTo>
                  <a:cubicBezTo>
                    <a:pt x="465" y="3300"/>
                    <a:pt x="489" y="3312"/>
                    <a:pt x="525" y="3312"/>
                  </a:cubicBezTo>
                  <a:cubicBezTo>
                    <a:pt x="549" y="3312"/>
                    <a:pt x="560" y="3312"/>
                    <a:pt x="596" y="3300"/>
                  </a:cubicBezTo>
                  <a:lnTo>
                    <a:pt x="1251" y="2979"/>
                  </a:lnTo>
                  <a:cubicBezTo>
                    <a:pt x="1369" y="3009"/>
                    <a:pt x="1489" y="3024"/>
                    <a:pt x="1608" y="3024"/>
                  </a:cubicBezTo>
                  <a:cubicBezTo>
                    <a:pt x="2040" y="3024"/>
                    <a:pt x="2459" y="2829"/>
                    <a:pt x="2739" y="2502"/>
                  </a:cubicBezTo>
                  <a:cubicBezTo>
                    <a:pt x="2751" y="2526"/>
                    <a:pt x="2751" y="2538"/>
                    <a:pt x="2763" y="2538"/>
                  </a:cubicBezTo>
                  <a:cubicBezTo>
                    <a:pt x="3049" y="2848"/>
                    <a:pt x="3466" y="3026"/>
                    <a:pt x="3882" y="3026"/>
                  </a:cubicBezTo>
                  <a:cubicBezTo>
                    <a:pt x="4001" y="3026"/>
                    <a:pt x="4120" y="3014"/>
                    <a:pt x="4228" y="2979"/>
                  </a:cubicBezTo>
                  <a:lnTo>
                    <a:pt x="4882" y="3300"/>
                  </a:lnTo>
                  <a:cubicBezTo>
                    <a:pt x="4906" y="3312"/>
                    <a:pt x="4930" y="3312"/>
                    <a:pt x="4954" y="3312"/>
                  </a:cubicBezTo>
                  <a:cubicBezTo>
                    <a:pt x="4990" y="3312"/>
                    <a:pt x="5013" y="3300"/>
                    <a:pt x="5049" y="3276"/>
                  </a:cubicBezTo>
                  <a:cubicBezTo>
                    <a:pt x="5085" y="3252"/>
                    <a:pt x="5121" y="3193"/>
                    <a:pt x="5121" y="3133"/>
                  </a:cubicBezTo>
                  <a:lnTo>
                    <a:pt x="5085" y="2407"/>
                  </a:lnTo>
                  <a:cubicBezTo>
                    <a:pt x="5359" y="1978"/>
                    <a:pt x="5430" y="1419"/>
                    <a:pt x="5251" y="943"/>
                  </a:cubicBezTo>
                  <a:cubicBezTo>
                    <a:pt x="5234" y="882"/>
                    <a:pt x="5173" y="840"/>
                    <a:pt x="5109" y="840"/>
                  </a:cubicBezTo>
                  <a:cubicBezTo>
                    <a:pt x="5085" y="840"/>
                    <a:pt x="5060" y="846"/>
                    <a:pt x="5037" y="859"/>
                  </a:cubicBezTo>
                  <a:cubicBezTo>
                    <a:pt x="4942" y="883"/>
                    <a:pt x="4894" y="990"/>
                    <a:pt x="4942" y="1074"/>
                  </a:cubicBezTo>
                  <a:cubicBezTo>
                    <a:pt x="5085" y="1466"/>
                    <a:pt x="5013" y="1895"/>
                    <a:pt x="4763" y="2228"/>
                  </a:cubicBezTo>
                  <a:cubicBezTo>
                    <a:pt x="4740" y="2252"/>
                    <a:pt x="4716" y="2300"/>
                    <a:pt x="4740" y="2347"/>
                  </a:cubicBezTo>
                  <a:lnTo>
                    <a:pt x="4763" y="2859"/>
                  </a:lnTo>
                  <a:lnTo>
                    <a:pt x="4299" y="2645"/>
                  </a:lnTo>
                  <a:cubicBezTo>
                    <a:pt x="4275" y="2621"/>
                    <a:pt x="4228" y="2621"/>
                    <a:pt x="4180" y="2621"/>
                  </a:cubicBezTo>
                  <a:cubicBezTo>
                    <a:pt x="4077" y="2651"/>
                    <a:pt x="3971" y="2665"/>
                    <a:pt x="3864" y="2665"/>
                  </a:cubicBezTo>
                  <a:cubicBezTo>
                    <a:pt x="3539" y="2665"/>
                    <a:pt x="3213" y="2533"/>
                    <a:pt x="2989" y="2300"/>
                  </a:cubicBezTo>
                  <a:cubicBezTo>
                    <a:pt x="2977" y="2288"/>
                    <a:pt x="2942" y="2252"/>
                    <a:pt x="2930" y="2228"/>
                  </a:cubicBezTo>
                  <a:cubicBezTo>
                    <a:pt x="2930" y="2205"/>
                    <a:pt x="2918" y="2205"/>
                    <a:pt x="2918" y="2193"/>
                  </a:cubicBezTo>
                  <a:cubicBezTo>
                    <a:pt x="3144" y="1752"/>
                    <a:pt x="3144" y="1240"/>
                    <a:pt x="2918" y="812"/>
                  </a:cubicBezTo>
                  <a:cubicBezTo>
                    <a:pt x="2918" y="800"/>
                    <a:pt x="2930" y="800"/>
                    <a:pt x="2930" y="776"/>
                  </a:cubicBezTo>
                  <a:cubicBezTo>
                    <a:pt x="2965" y="752"/>
                    <a:pt x="2977" y="716"/>
                    <a:pt x="3001" y="693"/>
                  </a:cubicBezTo>
                  <a:cubicBezTo>
                    <a:pt x="3061" y="633"/>
                    <a:pt x="3144" y="573"/>
                    <a:pt x="3216" y="526"/>
                  </a:cubicBezTo>
                  <a:cubicBezTo>
                    <a:pt x="3411" y="396"/>
                    <a:pt x="3639" y="332"/>
                    <a:pt x="3865" y="332"/>
                  </a:cubicBezTo>
                  <a:cubicBezTo>
                    <a:pt x="4134" y="332"/>
                    <a:pt x="4401" y="422"/>
                    <a:pt x="4609" y="597"/>
                  </a:cubicBezTo>
                  <a:cubicBezTo>
                    <a:pt x="4646" y="624"/>
                    <a:pt x="4686" y="636"/>
                    <a:pt x="4724" y="636"/>
                  </a:cubicBezTo>
                  <a:cubicBezTo>
                    <a:pt x="4770" y="636"/>
                    <a:pt x="4814" y="618"/>
                    <a:pt x="4847" y="585"/>
                  </a:cubicBezTo>
                  <a:cubicBezTo>
                    <a:pt x="4906" y="514"/>
                    <a:pt x="4894" y="407"/>
                    <a:pt x="4835" y="347"/>
                  </a:cubicBezTo>
                  <a:cubicBezTo>
                    <a:pt x="4566" y="117"/>
                    <a:pt x="4226" y="0"/>
                    <a:pt x="38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9" name="Google Shape;11849;p61"/>
            <p:cNvSpPr/>
            <p:nvPr/>
          </p:nvSpPr>
          <p:spPr>
            <a:xfrm>
              <a:off x="1428346" y="2463191"/>
              <a:ext cx="10581" cy="11341"/>
            </a:xfrm>
            <a:custGeom>
              <a:avLst/>
              <a:gdLst/>
              <a:ahLst/>
              <a:cxnLst/>
              <a:rect l="l" t="t" r="r" b="b"/>
              <a:pathLst>
                <a:path w="334" h="358" extrusionOk="0">
                  <a:moveTo>
                    <a:pt x="167" y="0"/>
                  </a:moveTo>
                  <a:cubicBezTo>
                    <a:pt x="84" y="0"/>
                    <a:pt x="1" y="72"/>
                    <a:pt x="1" y="155"/>
                  </a:cubicBezTo>
                  <a:lnTo>
                    <a:pt x="1" y="191"/>
                  </a:lnTo>
                  <a:cubicBezTo>
                    <a:pt x="1" y="274"/>
                    <a:pt x="84" y="357"/>
                    <a:pt x="167" y="357"/>
                  </a:cubicBezTo>
                  <a:cubicBezTo>
                    <a:pt x="263" y="357"/>
                    <a:pt x="334" y="274"/>
                    <a:pt x="334" y="191"/>
                  </a:cubicBezTo>
                  <a:lnTo>
                    <a:pt x="334" y="155"/>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0" name="Google Shape;11850;p61"/>
            <p:cNvSpPr/>
            <p:nvPr/>
          </p:nvSpPr>
          <p:spPr>
            <a:xfrm>
              <a:off x="1443426"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1" name="Google Shape;11851;p61"/>
            <p:cNvSpPr/>
            <p:nvPr/>
          </p:nvSpPr>
          <p:spPr>
            <a:xfrm>
              <a:off x="1458537" y="2463191"/>
              <a:ext cx="10581" cy="11341"/>
            </a:xfrm>
            <a:custGeom>
              <a:avLst/>
              <a:gdLst/>
              <a:ahLst/>
              <a:cxnLst/>
              <a:rect l="l" t="t" r="r" b="b"/>
              <a:pathLst>
                <a:path w="334" h="358" extrusionOk="0">
                  <a:moveTo>
                    <a:pt x="167" y="0"/>
                  </a:moveTo>
                  <a:cubicBezTo>
                    <a:pt x="83" y="0"/>
                    <a:pt x="0" y="72"/>
                    <a:pt x="0" y="155"/>
                  </a:cubicBezTo>
                  <a:lnTo>
                    <a:pt x="0" y="191"/>
                  </a:lnTo>
                  <a:cubicBezTo>
                    <a:pt x="0" y="274"/>
                    <a:pt x="83" y="357"/>
                    <a:pt x="167" y="357"/>
                  </a:cubicBezTo>
                  <a:cubicBezTo>
                    <a:pt x="262" y="357"/>
                    <a:pt x="333" y="274"/>
                    <a:pt x="333" y="191"/>
                  </a:cubicBezTo>
                  <a:lnTo>
                    <a:pt x="333" y="155"/>
                  </a:lnTo>
                  <a:cubicBezTo>
                    <a:pt x="333"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2" name="Google Shape;11852;p61"/>
            <p:cNvSpPr/>
            <p:nvPr/>
          </p:nvSpPr>
          <p:spPr>
            <a:xfrm>
              <a:off x="150228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0" y="357"/>
                    <a:pt x="322" y="274"/>
                    <a:pt x="322" y="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3" name="Google Shape;11853;p61"/>
            <p:cNvSpPr/>
            <p:nvPr/>
          </p:nvSpPr>
          <p:spPr>
            <a:xfrm>
              <a:off x="1517367" y="2463191"/>
              <a:ext cx="10201" cy="11341"/>
            </a:xfrm>
            <a:custGeom>
              <a:avLst/>
              <a:gdLst/>
              <a:ahLst/>
              <a:cxnLst/>
              <a:rect l="l" t="t" r="r" b="b"/>
              <a:pathLst>
                <a:path w="322" h="358" extrusionOk="0">
                  <a:moveTo>
                    <a:pt x="155" y="0"/>
                  </a:moveTo>
                  <a:cubicBezTo>
                    <a:pt x="72" y="0"/>
                    <a:pt x="0" y="72"/>
                    <a:pt x="0" y="155"/>
                  </a:cubicBezTo>
                  <a:lnTo>
                    <a:pt x="0" y="191"/>
                  </a:lnTo>
                  <a:cubicBezTo>
                    <a:pt x="0" y="274"/>
                    <a:pt x="72" y="357"/>
                    <a:pt x="155" y="357"/>
                  </a:cubicBezTo>
                  <a:cubicBezTo>
                    <a:pt x="251" y="357"/>
                    <a:pt x="322" y="274"/>
                    <a:pt x="322" y="191"/>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4" name="Google Shape;11854;p61"/>
            <p:cNvSpPr/>
            <p:nvPr/>
          </p:nvSpPr>
          <p:spPr>
            <a:xfrm>
              <a:off x="1532067" y="2463191"/>
              <a:ext cx="10613" cy="11341"/>
            </a:xfrm>
            <a:custGeom>
              <a:avLst/>
              <a:gdLst/>
              <a:ahLst/>
              <a:cxnLst/>
              <a:rect l="l" t="t" r="r" b="b"/>
              <a:pathLst>
                <a:path w="335" h="358" extrusionOk="0">
                  <a:moveTo>
                    <a:pt x="168" y="0"/>
                  </a:moveTo>
                  <a:cubicBezTo>
                    <a:pt x="84" y="0"/>
                    <a:pt x="1" y="72"/>
                    <a:pt x="1" y="155"/>
                  </a:cubicBezTo>
                  <a:lnTo>
                    <a:pt x="1" y="191"/>
                  </a:lnTo>
                  <a:cubicBezTo>
                    <a:pt x="1" y="274"/>
                    <a:pt x="84" y="357"/>
                    <a:pt x="168" y="357"/>
                  </a:cubicBezTo>
                  <a:cubicBezTo>
                    <a:pt x="263" y="357"/>
                    <a:pt x="334" y="274"/>
                    <a:pt x="334" y="191"/>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5" name="Google Shape;11855;p61"/>
          <p:cNvGrpSpPr/>
          <p:nvPr/>
        </p:nvGrpSpPr>
        <p:grpSpPr>
          <a:xfrm>
            <a:off x="861053" y="2414910"/>
            <a:ext cx="362134" cy="363623"/>
            <a:chOff x="861053" y="2414910"/>
            <a:chExt cx="362134" cy="363623"/>
          </a:xfrm>
        </p:grpSpPr>
        <p:sp>
          <p:nvSpPr>
            <p:cNvPr id="11856" name="Google Shape;11856;p61"/>
            <p:cNvSpPr/>
            <p:nvPr/>
          </p:nvSpPr>
          <p:spPr>
            <a:xfrm>
              <a:off x="965153" y="2609235"/>
              <a:ext cx="64912" cy="63677"/>
            </a:xfrm>
            <a:custGeom>
              <a:avLst/>
              <a:gdLst/>
              <a:ahLst/>
              <a:cxnLst/>
              <a:rect l="l" t="t" r="r" b="b"/>
              <a:pathLst>
                <a:path w="2049" h="2010" extrusionOk="0">
                  <a:moveTo>
                    <a:pt x="1382" y="1"/>
                  </a:moveTo>
                  <a:cubicBezTo>
                    <a:pt x="1337" y="1"/>
                    <a:pt x="1293" y="16"/>
                    <a:pt x="1263" y="45"/>
                  </a:cubicBezTo>
                  <a:lnTo>
                    <a:pt x="858" y="450"/>
                  </a:lnTo>
                  <a:cubicBezTo>
                    <a:pt x="798" y="510"/>
                    <a:pt x="798" y="629"/>
                    <a:pt x="858" y="688"/>
                  </a:cubicBezTo>
                  <a:cubicBezTo>
                    <a:pt x="888" y="718"/>
                    <a:pt x="932" y="733"/>
                    <a:pt x="977" y="733"/>
                  </a:cubicBezTo>
                  <a:cubicBezTo>
                    <a:pt x="1022" y="733"/>
                    <a:pt x="1066" y="718"/>
                    <a:pt x="1096" y="688"/>
                  </a:cubicBezTo>
                  <a:lnTo>
                    <a:pt x="1382" y="403"/>
                  </a:lnTo>
                  <a:lnTo>
                    <a:pt x="1620" y="641"/>
                  </a:lnTo>
                  <a:lnTo>
                    <a:pt x="656" y="1605"/>
                  </a:lnTo>
                  <a:lnTo>
                    <a:pt x="417" y="1367"/>
                  </a:lnTo>
                  <a:lnTo>
                    <a:pt x="620" y="1165"/>
                  </a:lnTo>
                  <a:cubicBezTo>
                    <a:pt x="679" y="1105"/>
                    <a:pt x="679" y="986"/>
                    <a:pt x="620" y="926"/>
                  </a:cubicBezTo>
                  <a:cubicBezTo>
                    <a:pt x="590" y="897"/>
                    <a:pt x="545" y="882"/>
                    <a:pt x="501" y="882"/>
                  </a:cubicBezTo>
                  <a:cubicBezTo>
                    <a:pt x="456" y="882"/>
                    <a:pt x="411" y="897"/>
                    <a:pt x="382" y="926"/>
                  </a:cubicBezTo>
                  <a:lnTo>
                    <a:pt x="60" y="1248"/>
                  </a:lnTo>
                  <a:cubicBezTo>
                    <a:pt x="1" y="1307"/>
                    <a:pt x="1" y="1427"/>
                    <a:pt x="60" y="1486"/>
                  </a:cubicBezTo>
                  <a:lnTo>
                    <a:pt x="537" y="1962"/>
                  </a:lnTo>
                  <a:cubicBezTo>
                    <a:pt x="560" y="1998"/>
                    <a:pt x="608" y="2010"/>
                    <a:pt x="656" y="2010"/>
                  </a:cubicBezTo>
                  <a:cubicBezTo>
                    <a:pt x="703" y="2010"/>
                    <a:pt x="739" y="1998"/>
                    <a:pt x="775" y="1962"/>
                  </a:cubicBezTo>
                  <a:lnTo>
                    <a:pt x="1977" y="760"/>
                  </a:lnTo>
                  <a:cubicBezTo>
                    <a:pt x="2049" y="676"/>
                    <a:pt x="2049" y="581"/>
                    <a:pt x="1977" y="522"/>
                  </a:cubicBezTo>
                  <a:lnTo>
                    <a:pt x="1501" y="45"/>
                  </a:lnTo>
                  <a:cubicBezTo>
                    <a:pt x="1471" y="16"/>
                    <a:pt x="1426"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7" name="Google Shape;11857;p61"/>
            <p:cNvSpPr/>
            <p:nvPr/>
          </p:nvSpPr>
          <p:spPr>
            <a:xfrm>
              <a:off x="861053" y="2479854"/>
              <a:ext cx="298394" cy="298679"/>
            </a:xfrm>
            <a:custGeom>
              <a:avLst/>
              <a:gdLst/>
              <a:ahLst/>
              <a:cxnLst/>
              <a:rect l="l" t="t" r="r" b="b"/>
              <a:pathLst>
                <a:path w="9419" h="9428" extrusionOk="0">
                  <a:moveTo>
                    <a:pt x="6938" y="1115"/>
                  </a:moveTo>
                  <a:cubicBezTo>
                    <a:pt x="7280" y="1115"/>
                    <a:pt x="7617" y="1256"/>
                    <a:pt x="7883" y="1510"/>
                  </a:cubicBezTo>
                  <a:cubicBezTo>
                    <a:pt x="8156" y="1772"/>
                    <a:pt x="8287" y="2165"/>
                    <a:pt x="8275" y="2534"/>
                  </a:cubicBezTo>
                  <a:lnTo>
                    <a:pt x="6859" y="1117"/>
                  </a:lnTo>
                  <a:cubicBezTo>
                    <a:pt x="6885" y="1115"/>
                    <a:pt x="6912" y="1115"/>
                    <a:pt x="6938" y="1115"/>
                  </a:cubicBezTo>
                  <a:close/>
                  <a:moveTo>
                    <a:pt x="4799" y="2903"/>
                  </a:moveTo>
                  <a:lnTo>
                    <a:pt x="4954" y="3058"/>
                  </a:lnTo>
                  <a:lnTo>
                    <a:pt x="6335" y="4439"/>
                  </a:lnTo>
                  <a:lnTo>
                    <a:pt x="6490" y="4582"/>
                  </a:lnTo>
                  <a:lnTo>
                    <a:pt x="6311" y="4760"/>
                  </a:lnTo>
                  <a:lnTo>
                    <a:pt x="4620" y="3082"/>
                  </a:lnTo>
                  <a:lnTo>
                    <a:pt x="4799" y="2903"/>
                  </a:lnTo>
                  <a:close/>
                  <a:moveTo>
                    <a:pt x="751" y="7856"/>
                  </a:moveTo>
                  <a:lnTo>
                    <a:pt x="1525" y="8630"/>
                  </a:lnTo>
                  <a:lnTo>
                    <a:pt x="1156" y="9011"/>
                  </a:lnTo>
                  <a:lnTo>
                    <a:pt x="382" y="8237"/>
                  </a:lnTo>
                  <a:lnTo>
                    <a:pt x="751" y="7856"/>
                  </a:lnTo>
                  <a:close/>
                  <a:moveTo>
                    <a:pt x="5668" y="1"/>
                  </a:moveTo>
                  <a:cubicBezTo>
                    <a:pt x="5623" y="1"/>
                    <a:pt x="5579" y="16"/>
                    <a:pt x="5549" y="46"/>
                  </a:cubicBezTo>
                  <a:lnTo>
                    <a:pt x="5073" y="522"/>
                  </a:lnTo>
                  <a:cubicBezTo>
                    <a:pt x="5013" y="581"/>
                    <a:pt x="5013" y="700"/>
                    <a:pt x="5073" y="760"/>
                  </a:cubicBezTo>
                  <a:cubicBezTo>
                    <a:pt x="5102" y="790"/>
                    <a:pt x="5147" y="805"/>
                    <a:pt x="5192" y="805"/>
                  </a:cubicBezTo>
                  <a:cubicBezTo>
                    <a:pt x="5236" y="805"/>
                    <a:pt x="5281" y="790"/>
                    <a:pt x="5311" y="760"/>
                  </a:cubicBezTo>
                  <a:lnTo>
                    <a:pt x="5668" y="403"/>
                  </a:lnTo>
                  <a:lnTo>
                    <a:pt x="9014" y="3760"/>
                  </a:lnTo>
                  <a:lnTo>
                    <a:pt x="8549" y="4213"/>
                  </a:lnTo>
                  <a:cubicBezTo>
                    <a:pt x="8287" y="4487"/>
                    <a:pt x="7942" y="4618"/>
                    <a:pt x="7573" y="4618"/>
                  </a:cubicBezTo>
                  <a:cubicBezTo>
                    <a:pt x="7204" y="4618"/>
                    <a:pt x="6859" y="4475"/>
                    <a:pt x="6585" y="4213"/>
                  </a:cubicBezTo>
                  <a:lnTo>
                    <a:pt x="5906" y="3534"/>
                  </a:lnTo>
                  <a:lnTo>
                    <a:pt x="5216" y="2844"/>
                  </a:lnTo>
                  <a:cubicBezTo>
                    <a:pt x="4799" y="2427"/>
                    <a:pt x="4704" y="1796"/>
                    <a:pt x="4954" y="1260"/>
                  </a:cubicBezTo>
                  <a:cubicBezTo>
                    <a:pt x="5001" y="1165"/>
                    <a:pt x="4954" y="1081"/>
                    <a:pt x="4882" y="1034"/>
                  </a:cubicBezTo>
                  <a:cubicBezTo>
                    <a:pt x="4856" y="1020"/>
                    <a:pt x="4830" y="1015"/>
                    <a:pt x="4806" y="1015"/>
                  </a:cubicBezTo>
                  <a:cubicBezTo>
                    <a:pt x="4743" y="1015"/>
                    <a:pt x="4690" y="1054"/>
                    <a:pt x="4656" y="1105"/>
                  </a:cubicBezTo>
                  <a:cubicBezTo>
                    <a:pt x="4418" y="1593"/>
                    <a:pt x="4430" y="2165"/>
                    <a:pt x="4668" y="2629"/>
                  </a:cubicBezTo>
                  <a:lnTo>
                    <a:pt x="4299" y="2998"/>
                  </a:lnTo>
                  <a:cubicBezTo>
                    <a:pt x="4263" y="3022"/>
                    <a:pt x="4251" y="3070"/>
                    <a:pt x="4251" y="3117"/>
                  </a:cubicBezTo>
                  <a:cubicBezTo>
                    <a:pt x="4251" y="3165"/>
                    <a:pt x="4263" y="3201"/>
                    <a:pt x="4299" y="3236"/>
                  </a:cubicBezTo>
                  <a:lnTo>
                    <a:pt x="4442" y="3379"/>
                  </a:lnTo>
                  <a:lnTo>
                    <a:pt x="489" y="7344"/>
                  </a:lnTo>
                  <a:cubicBezTo>
                    <a:pt x="453" y="7368"/>
                    <a:pt x="441" y="7416"/>
                    <a:pt x="441" y="7463"/>
                  </a:cubicBezTo>
                  <a:cubicBezTo>
                    <a:pt x="441" y="7511"/>
                    <a:pt x="453" y="7547"/>
                    <a:pt x="489" y="7582"/>
                  </a:cubicBezTo>
                  <a:lnTo>
                    <a:pt x="548" y="7642"/>
                  </a:lnTo>
                  <a:lnTo>
                    <a:pt x="60" y="8130"/>
                  </a:lnTo>
                  <a:cubicBezTo>
                    <a:pt x="1" y="8189"/>
                    <a:pt x="1" y="8309"/>
                    <a:pt x="60" y="8368"/>
                  </a:cubicBezTo>
                  <a:lnTo>
                    <a:pt x="1072" y="9380"/>
                  </a:lnTo>
                  <a:cubicBezTo>
                    <a:pt x="1096" y="9416"/>
                    <a:pt x="1144" y="9428"/>
                    <a:pt x="1191" y="9428"/>
                  </a:cubicBezTo>
                  <a:cubicBezTo>
                    <a:pt x="1227" y="9428"/>
                    <a:pt x="1275" y="9404"/>
                    <a:pt x="1310" y="9380"/>
                  </a:cubicBezTo>
                  <a:lnTo>
                    <a:pt x="1798" y="8892"/>
                  </a:lnTo>
                  <a:lnTo>
                    <a:pt x="1858" y="8951"/>
                  </a:lnTo>
                  <a:cubicBezTo>
                    <a:pt x="1882" y="8975"/>
                    <a:pt x="1929" y="8987"/>
                    <a:pt x="1977" y="8987"/>
                  </a:cubicBezTo>
                  <a:cubicBezTo>
                    <a:pt x="2025" y="8987"/>
                    <a:pt x="2060" y="8975"/>
                    <a:pt x="2096" y="8951"/>
                  </a:cubicBezTo>
                  <a:lnTo>
                    <a:pt x="3251" y="7785"/>
                  </a:lnTo>
                  <a:cubicBezTo>
                    <a:pt x="3311" y="7725"/>
                    <a:pt x="3311" y="7606"/>
                    <a:pt x="3251" y="7547"/>
                  </a:cubicBezTo>
                  <a:cubicBezTo>
                    <a:pt x="3221" y="7517"/>
                    <a:pt x="3177" y="7502"/>
                    <a:pt x="3132" y="7502"/>
                  </a:cubicBezTo>
                  <a:cubicBezTo>
                    <a:pt x="3087" y="7502"/>
                    <a:pt x="3043" y="7517"/>
                    <a:pt x="3013" y="7547"/>
                  </a:cubicBezTo>
                  <a:lnTo>
                    <a:pt x="1977" y="8594"/>
                  </a:lnTo>
                  <a:lnTo>
                    <a:pt x="1918" y="8535"/>
                  </a:lnTo>
                  <a:lnTo>
                    <a:pt x="905" y="7523"/>
                  </a:lnTo>
                  <a:lnTo>
                    <a:pt x="846" y="7463"/>
                  </a:lnTo>
                  <a:lnTo>
                    <a:pt x="4680" y="3617"/>
                  </a:lnTo>
                  <a:lnTo>
                    <a:pt x="5835" y="4772"/>
                  </a:lnTo>
                  <a:lnTo>
                    <a:pt x="3489" y="7106"/>
                  </a:lnTo>
                  <a:cubicBezTo>
                    <a:pt x="3430" y="7166"/>
                    <a:pt x="3430" y="7285"/>
                    <a:pt x="3489" y="7344"/>
                  </a:cubicBezTo>
                  <a:cubicBezTo>
                    <a:pt x="3525" y="7368"/>
                    <a:pt x="3572" y="7392"/>
                    <a:pt x="3608" y="7392"/>
                  </a:cubicBezTo>
                  <a:cubicBezTo>
                    <a:pt x="3656" y="7392"/>
                    <a:pt x="3703" y="7368"/>
                    <a:pt x="3727" y="7344"/>
                  </a:cubicBezTo>
                  <a:lnTo>
                    <a:pt x="6073" y="5010"/>
                  </a:lnTo>
                  <a:lnTo>
                    <a:pt x="6216" y="5153"/>
                  </a:lnTo>
                  <a:cubicBezTo>
                    <a:pt x="6251" y="5189"/>
                    <a:pt x="6287" y="5201"/>
                    <a:pt x="6335" y="5201"/>
                  </a:cubicBezTo>
                  <a:cubicBezTo>
                    <a:pt x="6382" y="5201"/>
                    <a:pt x="6430" y="5189"/>
                    <a:pt x="6454" y="5153"/>
                  </a:cubicBezTo>
                  <a:lnTo>
                    <a:pt x="6811" y="4796"/>
                  </a:lnTo>
                  <a:cubicBezTo>
                    <a:pt x="7049" y="4915"/>
                    <a:pt x="7323" y="4975"/>
                    <a:pt x="7585" y="4975"/>
                  </a:cubicBezTo>
                  <a:cubicBezTo>
                    <a:pt x="8049" y="4975"/>
                    <a:pt x="8478" y="4796"/>
                    <a:pt x="8811" y="4475"/>
                  </a:cubicBezTo>
                  <a:lnTo>
                    <a:pt x="9383" y="3891"/>
                  </a:lnTo>
                  <a:cubicBezTo>
                    <a:pt x="9418" y="3784"/>
                    <a:pt x="9418" y="3677"/>
                    <a:pt x="9359" y="3617"/>
                  </a:cubicBezTo>
                  <a:lnTo>
                    <a:pt x="8573" y="2832"/>
                  </a:lnTo>
                  <a:cubicBezTo>
                    <a:pt x="8704" y="2272"/>
                    <a:pt x="8537" y="1689"/>
                    <a:pt x="8121" y="1284"/>
                  </a:cubicBezTo>
                  <a:cubicBezTo>
                    <a:pt x="7809" y="972"/>
                    <a:pt x="7384" y="795"/>
                    <a:pt x="6956" y="795"/>
                  </a:cubicBezTo>
                  <a:cubicBezTo>
                    <a:pt x="6827" y="795"/>
                    <a:pt x="6699" y="810"/>
                    <a:pt x="6573" y="843"/>
                  </a:cubicBezTo>
                  <a:lnTo>
                    <a:pt x="5787" y="46"/>
                  </a:lnTo>
                  <a:cubicBezTo>
                    <a:pt x="5757" y="16"/>
                    <a:pt x="5713" y="1"/>
                    <a:pt x="5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8" name="Google Shape;11858;p61"/>
            <p:cNvSpPr/>
            <p:nvPr/>
          </p:nvSpPr>
          <p:spPr>
            <a:xfrm>
              <a:off x="1128875" y="2455366"/>
              <a:ext cx="54711" cy="53856"/>
            </a:xfrm>
            <a:custGeom>
              <a:avLst/>
              <a:gdLst/>
              <a:ahLst/>
              <a:cxnLst/>
              <a:rect l="l" t="t" r="r" b="b"/>
              <a:pathLst>
                <a:path w="1727" h="1700" extrusionOk="0">
                  <a:moveTo>
                    <a:pt x="1548" y="0"/>
                  </a:moveTo>
                  <a:cubicBezTo>
                    <a:pt x="1503" y="0"/>
                    <a:pt x="1459" y="15"/>
                    <a:pt x="1429" y="45"/>
                  </a:cubicBezTo>
                  <a:lnTo>
                    <a:pt x="60" y="1414"/>
                  </a:lnTo>
                  <a:cubicBezTo>
                    <a:pt x="0" y="1473"/>
                    <a:pt x="0" y="1592"/>
                    <a:pt x="60" y="1652"/>
                  </a:cubicBezTo>
                  <a:cubicBezTo>
                    <a:pt x="83" y="1688"/>
                    <a:pt x="131" y="1700"/>
                    <a:pt x="179" y="1700"/>
                  </a:cubicBezTo>
                  <a:cubicBezTo>
                    <a:pt x="214" y="1700"/>
                    <a:pt x="262" y="1688"/>
                    <a:pt x="298" y="1652"/>
                  </a:cubicBezTo>
                  <a:lnTo>
                    <a:pt x="1667" y="283"/>
                  </a:lnTo>
                  <a:cubicBezTo>
                    <a:pt x="1726" y="223"/>
                    <a:pt x="1726" y="104"/>
                    <a:pt x="1667" y="45"/>
                  </a:cubicBezTo>
                  <a:cubicBezTo>
                    <a:pt x="1637" y="15"/>
                    <a:pt x="1592"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9" name="Google Shape;11859;p61"/>
            <p:cNvSpPr/>
            <p:nvPr/>
          </p:nvSpPr>
          <p:spPr>
            <a:xfrm>
              <a:off x="1099445" y="2414910"/>
              <a:ext cx="10581" cy="71692"/>
            </a:xfrm>
            <a:custGeom>
              <a:avLst/>
              <a:gdLst/>
              <a:ahLst/>
              <a:cxnLst/>
              <a:rect l="l" t="t" r="r" b="b"/>
              <a:pathLst>
                <a:path w="334" h="2263" extrusionOk="0">
                  <a:moveTo>
                    <a:pt x="167" y="0"/>
                  </a:moveTo>
                  <a:cubicBezTo>
                    <a:pt x="72" y="0"/>
                    <a:pt x="0" y="72"/>
                    <a:pt x="0" y="167"/>
                  </a:cubicBezTo>
                  <a:lnTo>
                    <a:pt x="0" y="2096"/>
                  </a:lnTo>
                  <a:cubicBezTo>
                    <a:pt x="0" y="2191"/>
                    <a:pt x="72" y="2262"/>
                    <a:pt x="167" y="2262"/>
                  </a:cubicBezTo>
                  <a:cubicBezTo>
                    <a:pt x="250" y="2262"/>
                    <a:pt x="334" y="2191"/>
                    <a:pt x="334" y="209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0" name="Google Shape;11860;p61"/>
            <p:cNvSpPr/>
            <p:nvPr/>
          </p:nvSpPr>
          <p:spPr>
            <a:xfrm>
              <a:off x="1151495" y="2528420"/>
              <a:ext cx="71692" cy="10613"/>
            </a:xfrm>
            <a:custGeom>
              <a:avLst/>
              <a:gdLst/>
              <a:ahLst/>
              <a:cxnLst/>
              <a:rect l="l" t="t" r="r" b="b"/>
              <a:pathLst>
                <a:path w="2263" h="335" extrusionOk="0">
                  <a:moveTo>
                    <a:pt x="155" y="1"/>
                  </a:moveTo>
                  <a:cubicBezTo>
                    <a:pt x="72" y="1"/>
                    <a:pt x="0" y="84"/>
                    <a:pt x="0" y="168"/>
                  </a:cubicBezTo>
                  <a:cubicBezTo>
                    <a:pt x="0" y="263"/>
                    <a:pt x="72" y="334"/>
                    <a:pt x="155" y="334"/>
                  </a:cubicBezTo>
                  <a:lnTo>
                    <a:pt x="2096" y="334"/>
                  </a:lnTo>
                  <a:cubicBezTo>
                    <a:pt x="2179" y="334"/>
                    <a:pt x="2263" y="263"/>
                    <a:pt x="2263" y="168"/>
                  </a:cubicBezTo>
                  <a:cubicBezTo>
                    <a:pt x="2263" y="84"/>
                    <a:pt x="2203" y="1"/>
                    <a:pt x="2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1" name="Google Shape;11861;p61"/>
          <p:cNvGrpSpPr/>
          <p:nvPr/>
        </p:nvGrpSpPr>
        <p:grpSpPr>
          <a:xfrm>
            <a:off x="7594288" y="2415259"/>
            <a:ext cx="279513" cy="355735"/>
            <a:chOff x="7594288" y="2415259"/>
            <a:chExt cx="279513" cy="355735"/>
          </a:xfrm>
        </p:grpSpPr>
        <p:sp>
          <p:nvSpPr>
            <p:cNvPr id="11862" name="Google Shape;11862;p61"/>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3" name="Google Shape;11863;p61"/>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4" name="Google Shape;11864;p61"/>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5" name="Google Shape;11865;p61"/>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6" name="Google Shape;11866;p61"/>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7" name="Google Shape;11867;p61"/>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68" name="Google Shape;11868;p61"/>
          <p:cNvGrpSpPr/>
          <p:nvPr/>
        </p:nvGrpSpPr>
        <p:grpSpPr>
          <a:xfrm>
            <a:off x="7145794" y="2415639"/>
            <a:ext cx="278784" cy="355735"/>
            <a:chOff x="7145794" y="2415639"/>
            <a:chExt cx="278784" cy="355735"/>
          </a:xfrm>
        </p:grpSpPr>
        <p:sp>
          <p:nvSpPr>
            <p:cNvPr id="11869" name="Google Shape;11869;p61"/>
            <p:cNvSpPr/>
            <p:nvPr/>
          </p:nvSpPr>
          <p:spPr>
            <a:xfrm>
              <a:off x="7247265" y="2520880"/>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0" name="Google Shape;11870;p61"/>
            <p:cNvSpPr/>
            <p:nvPr/>
          </p:nvSpPr>
          <p:spPr>
            <a:xfrm>
              <a:off x="7313635" y="2520880"/>
              <a:ext cx="10613" cy="16252"/>
            </a:xfrm>
            <a:custGeom>
              <a:avLst/>
              <a:gdLst/>
              <a:ahLst/>
              <a:cxnLst/>
              <a:rect l="l" t="t" r="r" b="b"/>
              <a:pathLst>
                <a:path w="335" h="513" extrusionOk="0">
                  <a:moveTo>
                    <a:pt x="168" y="1"/>
                  </a:moveTo>
                  <a:cubicBezTo>
                    <a:pt x="72" y="1"/>
                    <a:pt x="1" y="84"/>
                    <a:pt x="1" y="167"/>
                  </a:cubicBezTo>
                  <a:lnTo>
                    <a:pt x="1" y="346"/>
                  </a:lnTo>
                  <a:cubicBezTo>
                    <a:pt x="1" y="441"/>
                    <a:pt x="72" y="513"/>
                    <a:pt x="168" y="513"/>
                  </a:cubicBezTo>
                  <a:cubicBezTo>
                    <a:pt x="251" y="513"/>
                    <a:pt x="334" y="441"/>
                    <a:pt x="334" y="346"/>
                  </a:cubicBezTo>
                  <a:lnTo>
                    <a:pt x="334" y="167"/>
                  </a:lnTo>
                  <a:cubicBezTo>
                    <a:pt x="334" y="84"/>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1" name="Google Shape;11871;p61"/>
            <p:cNvSpPr/>
            <p:nvPr/>
          </p:nvSpPr>
          <p:spPr>
            <a:xfrm>
              <a:off x="7145794" y="2415639"/>
              <a:ext cx="278784" cy="355735"/>
            </a:xfrm>
            <a:custGeom>
              <a:avLst/>
              <a:gdLst/>
              <a:ahLst/>
              <a:cxnLst/>
              <a:rect l="l" t="t" r="r" b="b"/>
              <a:pathLst>
                <a:path w="8800" h="11229" extrusionOk="0">
                  <a:moveTo>
                    <a:pt x="4763" y="310"/>
                  </a:moveTo>
                  <a:cubicBezTo>
                    <a:pt x="5525" y="310"/>
                    <a:pt x="6192" y="751"/>
                    <a:pt x="6501" y="1382"/>
                  </a:cubicBezTo>
                  <a:lnTo>
                    <a:pt x="6180" y="1382"/>
                  </a:lnTo>
                  <a:cubicBezTo>
                    <a:pt x="6085" y="1382"/>
                    <a:pt x="6013" y="1453"/>
                    <a:pt x="6013" y="1537"/>
                  </a:cubicBezTo>
                  <a:cubicBezTo>
                    <a:pt x="6013" y="1632"/>
                    <a:pt x="6085" y="1703"/>
                    <a:pt x="6180" y="1703"/>
                  </a:cubicBezTo>
                  <a:lnTo>
                    <a:pt x="6644" y="1703"/>
                  </a:lnTo>
                  <a:cubicBezTo>
                    <a:pt x="6668" y="1823"/>
                    <a:pt x="6704" y="1954"/>
                    <a:pt x="6716" y="2073"/>
                  </a:cubicBezTo>
                  <a:lnTo>
                    <a:pt x="2132" y="2073"/>
                  </a:lnTo>
                  <a:cubicBezTo>
                    <a:pt x="2203" y="1096"/>
                    <a:pt x="3037" y="310"/>
                    <a:pt x="4061" y="310"/>
                  </a:cubicBezTo>
                  <a:close/>
                  <a:moveTo>
                    <a:pt x="6501" y="2418"/>
                  </a:moveTo>
                  <a:lnTo>
                    <a:pt x="6501" y="2787"/>
                  </a:lnTo>
                  <a:lnTo>
                    <a:pt x="6311" y="2787"/>
                  </a:lnTo>
                  <a:cubicBezTo>
                    <a:pt x="6228" y="2787"/>
                    <a:pt x="6144" y="2870"/>
                    <a:pt x="6144" y="2954"/>
                  </a:cubicBezTo>
                  <a:cubicBezTo>
                    <a:pt x="6144" y="3049"/>
                    <a:pt x="6228" y="3120"/>
                    <a:pt x="6311" y="3120"/>
                  </a:cubicBezTo>
                  <a:lnTo>
                    <a:pt x="6501" y="3120"/>
                  </a:lnTo>
                  <a:lnTo>
                    <a:pt x="6501" y="3311"/>
                  </a:lnTo>
                  <a:cubicBezTo>
                    <a:pt x="6501" y="3406"/>
                    <a:pt x="6573" y="3478"/>
                    <a:pt x="6668" y="3478"/>
                  </a:cubicBezTo>
                  <a:lnTo>
                    <a:pt x="6930" y="3478"/>
                  </a:lnTo>
                  <a:cubicBezTo>
                    <a:pt x="7013" y="3478"/>
                    <a:pt x="7085" y="3501"/>
                    <a:pt x="7144" y="3561"/>
                  </a:cubicBezTo>
                  <a:cubicBezTo>
                    <a:pt x="7204" y="3620"/>
                    <a:pt x="7216" y="3704"/>
                    <a:pt x="7216" y="3775"/>
                  </a:cubicBezTo>
                  <a:cubicBezTo>
                    <a:pt x="7204" y="3906"/>
                    <a:pt x="7073" y="4025"/>
                    <a:pt x="6918" y="4025"/>
                  </a:cubicBezTo>
                  <a:lnTo>
                    <a:pt x="6847" y="4025"/>
                  </a:lnTo>
                  <a:lnTo>
                    <a:pt x="6847" y="4013"/>
                  </a:lnTo>
                  <a:cubicBezTo>
                    <a:pt x="6847" y="3918"/>
                    <a:pt x="6775" y="3847"/>
                    <a:pt x="6680" y="3847"/>
                  </a:cubicBezTo>
                  <a:cubicBezTo>
                    <a:pt x="6597" y="3847"/>
                    <a:pt x="6525" y="3918"/>
                    <a:pt x="6525" y="4013"/>
                  </a:cubicBezTo>
                  <a:cubicBezTo>
                    <a:pt x="6537" y="5192"/>
                    <a:pt x="5585" y="6145"/>
                    <a:pt x="4406" y="6145"/>
                  </a:cubicBezTo>
                  <a:cubicBezTo>
                    <a:pt x="3227" y="6145"/>
                    <a:pt x="2275" y="5192"/>
                    <a:pt x="2275" y="4013"/>
                  </a:cubicBezTo>
                  <a:cubicBezTo>
                    <a:pt x="2275" y="3918"/>
                    <a:pt x="2203" y="3847"/>
                    <a:pt x="2120" y="3847"/>
                  </a:cubicBezTo>
                  <a:cubicBezTo>
                    <a:pt x="2025" y="3847"/>
                    <a:pt x="1953" y="3918"/>
                    <a:pt x="1953" y="4013"/>
                  </a:cubicBezTo>
                  <a:lnTo>
                    <a:pt x="1953" y="4025"/>
                  </a:lnTo>
                  <a:lnTo>
                    <a:pt x="1846" y="4025"/>
                  </a:lnTo>
                  <a:cubicBezTo>
                    <a:pt x="1775" y="4025"/>
                    <a:pt x="1703" y="4001"/>
                    <a:pt x="1644" y="3942"/>
                  </a:cubicBezTo>
                  <a:cubicBezTo>
                    <a:pt x="1584" y="3882"/>
                    <a:pt x="1560" y="3799"/>
                    <a:pt x="1560" y="3728"/>
                  </a:cubicBezTo>
                  <a:cubicBezTo>
                    <a:pt x="1584" y="3597"/>
                    <a:pt x="1715" y="3478"/>
                    <a:pt x="1858" y="3478"/>
                  </a:cubicBezTo>
                  <a:lnTo>
                    <a:pt x="2096" y="3478"/>
                  </a:lnTo>
                  <a:cubicBezTo>
                    <a:pt x="2144" y="3478"/>
                    <a:pt x="2191" y="3466"/>
                    <a:pt x="2215" y="3430"/>
                  </a:cubicBezTo>
                  <a:cubicBezTo>
                    <a:pt x="2251" y="3406"/>
                    <a:pt x="2263" y="3358"/>
                    <a:pt x="2263" y="3311"/>
                  </a:cubicBezTo>
                  <a:lnTo>
                    <a:pt x="2263" y="3120"/>
                  </a:lnTo>
                  <a:lnTo>
                    <a:pt x="5608" y="3120"/>
                  </a:lnTo>
                  <a:cubicBezTo>
                    <a:pt x="5704" y="3120"/>
                    <a:pt x="5775" y="3049"/>
                    <a:pt x="5775" y="2954"/>
                  </a:cubicBezTo>
                  <a:cubicBezTo>
                    <a:pt x="5775" y="2870"/>
                    <a:pt x="5704" y="2787"/>
                    <a:pt x="5608" y="2787"/>
                  </a:cubicBezTo>
                  <a:lnTo>
                    <a:pt x="2263" y="2787"/>
                  </a:lnTo>
                  <a:lnTo>
                    <a:pt x="2263" y="2418"/>
                  </a:lnTo>
                  <a:close/>
                  <a:moveTo>
                    <a:pt x="4049" y="1"/>
                  </a:moveTo>
                  <a:cubicBezTo>
                    <a:pt x="2846" y="1"/>
                    <a:pt x="1858" y="941"/>
                    <a:pt x="1786" y="2120"/>
                  </a:cubicBezTo>
                  <a:lnTo>
                    <a:pt x="536" y="2120"/>
                  </a:lnTo>
                  <a:cubicBezTo>
                    <a:pt x="453" y="2120"/>
                    <a:pt x="370" y="2192"/>
                    <a:pt x="370" y="2287"/>
                  </a:cubicBezTo>
                  <a:cubicBezTo>
                    <a:pt x="370" y="2370"/>
                    <a:pt x="453" y="2454"/>
                    <a:pt x="536" y="2454"/>
                  </a:cubicBezTo>
                  <a:lnTo>
                    <a:pt x="1965" y="2454"/>
                  </a:lnTo>
                  <a:lnTo>
                    <a:pt x="1965" y="3180"/>
                  </a:lnTo>
                  <a:lnTo>
                    <a:pt x="1894" y="3180"/>
                  </a:lnTo>
                  <a:cubicBezTo>
                    <a:pt x="1560" y="3180"/>
                    <a:pt x="1298" y="3418"/>
                    <a:pt x="1263" y="3716"/>
                  </a:cubicBezTo>
                  <a:cubicBezTo>
                    <a:pt x="1251" y="3882"/>
                    <a:pt x="1310" y="4061"/>
                    <a:pt x="1417" y="4180"/>
                  </a:cubicBezTo>
                  <a:cubicBezTo>
                    <a:pt x="1536" y="4299"/>
                    <a:pt x="1703" y="4370"/>
                    <a:pt x="1858" y="4370"/>
                  </a:cubicBezTo>
                  <a:lnTo>
                    <a:pt x="1977" y="4370"/>
                  </a:lnTo>
                  <a:cubicBezTo>
                    <a:pt x="2072" y="5049"/>
                    <a:pt x="2453" y="5668"/>
                    <a:pt x="3001" y="6037"/>
                  </a:cubicBezTo>
                  <a:lnTo>
                    <a:pt x="3001" y="6799"/>
                  </a:lnTo>
                  <a:cubicBezTo>
                    <a:pt x="3001" y="6954"/>
                    <a:pt x="2906" y="7097"/>
                    <a:pt x="2739" y="7133"/>
                  </a:cubicBezTo>
                  <a:lnTo>
                    <a:pt x="882" y="7692"/>
                  </a:lnTo>
                  <a:cubicBezTo>
                    <a:pt x="358" y="7835"/>
                    <a:pt x="1" y="8323"/>
                    <a:pt x="1" y="8859"/>
                  </a:cubicBezTo>
                  <a:lnTo>
                    <a:pt x="1" y="11062"/>
                  </a:lnTo>
                  <a:cubicBezTo>
                    <a:pt x="1" y="11157"/>
                    <a:pt x="72" y="11228"/>
                    <a:pt x="167" y="11228"/>
                  </a:cubicBezTo>
                  <a:cubicBezTo>
                    <a:pt x="251" y="11228"/>
                    <a:pt x="322" y="11157"/>
                    <a:pt x="322" y="11062"/>
                  </a:cubicBezTo>
                  <a:lnTo>
                    <a:pt x="322" y="8859"/>
                  </a:lnTo>
                  <a:cubicBezTo>
                    <a:pt x="322" y="8478"/>
                    <a:pt x="596" y="8121"/>
                    <a:pt x="965" y="8014"/>
                  </a:cubicBezTo>
                  <a:lnTo>
                    <a:pt x="1501" y="7847"/>
                  </a:lnTo>
                  <a:lnTo>
                    <a:pt x="1501" y="7883"/>
                  </a:lnTo>
                  <a:cubicBezTo>
                    <a:pt x="1513" y="7954"/>
                    <a:pt x="1596" y="8002"/>
                    <a:pt x="1667" y="8002"/>
                  </a:cubicBezTo>
                  <a:lnTo>
                    <a:pt x="1715" y="8002"/>
                  </a:lnTo>
                  <a:cubicBezTo>
                    <a:pt x="1798" y="7966"/>
                    <a:pt x="1846" y="7883"/>
                    <a:pt x="1810" y="7788"/>
                  </a:cubicBezTo>
                  <a:lnTo>
                    <a:pt x="1810" y="7776"/>
                  </a:lnTo>
                  <a:lnTo>
                    <a:pt x="2346" y="7609"/>
                  </a:lnTo>
                  <a:cubicBezTo>
                    <a:pt x="2608" y="8502"/>
                    <a:pt x="3441" y="9133"/>
                    <a:pt x="4370" y="9133"/>
                  </a:cubicBezTo>
                  <a:cubicBezTo>
                    <a:pt x="4715" y="9133"/>
                    <a:pt x="5025" y="9062"/>
                    <a:pt x="5323" y="8907"/>
                  </a:cubicBezTo>
                  <a:cubicBezTo>
                    <a:pt x="5406" y="8859"/>
                    <a:pt x="5442" y="8776"/>
                    <a:pt x="5406" y="8681"/>
                  </a:cubicBezTo>
                  <a:cubicBezTo>
                    <a:pt x="5373" y="8623"/>
                    <a:pt x="5317" y="8588"/>
                    <a:pt x="5258" y="8588"/>
                  </a:cubicBezTo>
                  <a:cubicBezTo>
                    <a:pt x="5232" y="8588"/>
                    <a:pt x="5205" y="8595"/>
                    <a:pt x="5180" y="8609"/>
                  </a:cubicBezTo>
                  <a:cubicBezTo>
                    <a:pt x="4930" y="8740"/>
                    <a:pt x="4656" y="8800"/>
                    <a:pt x="4370" y="8800"/>
                  </a:cubicBezTo>
                  <a:cubicBezTo>
                    <a:pt x="3584" y="8800"/>
                    <a:pt x="2882" y="8264"/>
                    <a:pt x="2679" y="7526"/>
                  </a:cubicBezTo>
                  <a:lnTo>
                    <a:pt x="2810" y="7478"/>
                  </a:lnTo>
                  <a:cubicBezTo>
                    <a:pt x="3108" y="7383"/>
                    <a:pt x="3299" y="7121"/>
                    <a:pt x="3299" y="6811"/>
                  </a:cubicBezTo>
                  <a:lnTo>
                    <a:pt x="3299" y="6228"/>
                  </a:lnTo>
                  <a:cubicBezTo>
                    <a:pt x="3632" y="6395"/>
                    <a:pt x="3989" y="6466"/>
                    <a:pt x="4370" y="6466"/>
                  </a:cubicBezTo>
                  <a:cubicBezTo>
                    <a:pt x="4763" y="6466"/>
                    <a:pt x="5120" y="6383"/>
                    <a:pt x="5442" y="6228"/>
                  </a:cubicBezTo>
                  <a:lnTo>
                    <a:pt x="5442" y="6787"/>
                  </a:lnTo>
                  <a:cubicBezTo>
                    <a:pt x="5442" y="7085"/>
                    <a:pt x="5656" y="7371"/>
                    <a:pt x="5942" y="7466"/>
                  </a:cubicBezTo>
                  <a:lnTo>
                    <a:pt x="6073" y="7502"/>
                  </a:lnTo>
                  <a:cubicBezTo>
                    <a:pt x="6001" y="7764"/>
                    <a:pt x="5882" y="7978"/>
                    <a:pt x="5704" y="8180"/>
                  </a:cubicBezTo>
                  <a:cubicBezTo>
                    <a:pt x="5644" y="8252"/>
                    <a:pt x="5644" y="8359"/>
                    <a:pt x="5716" y="8419"/>
                  </a:cubicBezTo>
                  <a:cubicBezTo>
                    <a:pt x="5739" y="8442"/>
                    <a:pt x="5787" y="8454"/>
                    <a:pt x="5823" y="8454"/>
                  </a:cubicBezTo>
                  <a:cubicBezTo>
                    <a:pt x="5858" y="8454"/>
                    <a:pt x="5906" y="8442"/>
                    <a:pt x="5942" y="8395"/>
                  </a:cubicBezTo>
                  <a:cubicBezTo>
                    <a:pt x="6144" y="8157"/>
                    <a:pt x="6299" y="7895"/>
                    <a:pt x="6370" y="7597"/>
                  </a:cubicBezTo>
                  <a:lnTo>
                    <a:pt x="6894" y="7740"/>
                  </a:lnTo>
                  <a:cubicBezTo>
                    <a:pt x="6870" y="7799"/>
                    <a:pt x="6847" y="7883"/>
                    <a:pt x="6835" y="7942"/>
                  </a:cubicBezTo>
                  <a:cubicBezTo>
                    <a:pt x="6799" y="8026"/>
                    <a:pt x="6847" y="8121"/>
                    <a:pt x="6930" y="8145"/>
                  </a:cubicBezTo>
                  <a:cubicBezTo>
                    <a:pt x="6954" y="8145"/>
                    <a:pt x="6978" y="8157"/>
                    <a:pt x="6990" y="8157"/>
                  </a:cubicBezTo>
                  <a:cubicBezTo>
                    <a:pt x="7049" y="8157"/>
                    <a:pt x="7132" y="8121"/>
                    <a:pt x="7144" y="8061"/>
                  </a:cubicBezTo>
                  <a:cubicBezTo>
                    <a:pt x="7168" y="7978"/>
                    <a:pt x="7192" y="7907"/>
                    <a:pt x="7216" y="7835"/>
                  </a:cubicBezTo>
                  <a:lnTo>
                    <a:pt x="7787" y="8002"/>
                  </a:lnTo>
                  <a:cubicBezTo>
                    <a:pt x="8156" y="8097"/>
                    <a:pt x="8418" y="8454"/>
                    <a:pt x="8418" y="8847"/>
                  </a:cubicBezTo>
                  <a:lnTo>
                    <a:pt x="8418" y="11050"/>
                  </a:lnTo>
                  <a:cubicBezTo>
                    <a:pt x="8418" y="11133"/>
                    <a:pt x="8502" y="11217"/>
                    <a:pt x="8585" y="11217"/>
                  </a:cubicBezTo>
                  <a:cubicBezTo>
                    <a:pt x="8680" y="11217"/>
                    <a:pt x="8752" y="11133"/>
                    <a:pt x="8752" y="11050"/>
                  </a:cubicBezTo>
                  <a:lnTo>
                    <a:pt x="8752" y="8847"/>
                  </a:lnTo>
                  <a:cubicBezTo>
                    <a:pt x="8799" y="8311"/>
                    <a:pt x="8442" y="7835"/>
                    <a:pt x="7918" y="7680"/>
                  </a:cubicBezTo>
                  <a:lnTo>
                    <a:pt x="6061" y="7133"/>
                  </a:lnTo>
                  <a:cubicBezTo>
                    <a:pt x="5906" y="7085"/>
                    <a:pt x="5787" y="6942"/>
                    <a:pt x="5787" y="6787"/>
                  </a:cubicBezTo>
                  <a:lnTo>
                    <a:pt x="5787" y="6037"/>
                  </a:lnTo>
                  <a:cubicBezTo>
                    <a:pt x="6347" y="5644"/>
                    <a:pt x="6728" y="5049"/>
                    <a:pt x="6823" y="4370"/>
                  </a:cubicBezTo>
                  <a:lnTo>
                    <a:pt x="6918" y="4370"/>
                  </a:lnTo>
                  <a:cubicBezTo>
                    <a:pt x="7251" y="4370"/>
                    <a:pt x="7513" y="4132"/>
                    <a:pt x="7549" y="3835"/>
                  </a:cubicBezTo>
                  <a:cubicBezTo>
                    <a:pt x="7561" y="3668"/>
                    <a:pt x="7501" y="3489"/>
                    <a:pt x="7394" y="3370"/>
                  </a:cubicBezTo>
                  <a:cubicBezTo>
                    <a:pt x="7275" y="3251"/>
                    <a:pt x="7120" y="3180"/>
                    <a:pt x="6954" y="3180"/>
                  </a:cubicBezTo>
                  <a:lnTo>
                    <a:pt x="6847" y="3180"/>
                  </a:lnTo>
                  <a:lnTo>
                    <a:pt x="6847" y="2442"/>
                  </a:lnTo>
                  <a:lnTo>
                    <a:pt x="6859" y="2442"/>
                  </a:lnTo>
                  <a:cubicBezTo>
                    <a:pt x="6954" y="2442"/>
                    <a:pt x="7025" y="2370"/>
                    <a:pt x="7025" y="2287"/>
                  </a:cubicBezTo>
                  <a:cubicBezTo>
                    <a:pt x="7025" y="1037"/>
                    <a:pt x="6001" y="1"/>
                    <a:pt x="4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2" name="Google Shape;11872;p61"/>
            <p:cNvSpPr/>
            <p:nvPr/>
          </p:nvSpPr>
          <p:spPr>
            <a:xfrm>
              <a:off x="7254045" y="2717834"/>
              <a:ext cx="23031" cy="12799"/>
            </a:xfrm>
            <a:custGeom>
              <a:avLst/>
              <a:gdLst/>
              <a:ahLst/>
              <a:cxnLst/>
              <a:rect l="l" t="t" r="r" b="b"/>
              <a:pathLst>
                <a:path w="727" h="404" extrusionOk="0">
                  <a:moveTo>
                    <a:pt x="195" y="0"/>
                  </a:moveTo>
                  <a:cubicBezTo>
                    <a:pt x="124" y="0"/>
                    <a:pt x="65" y="54"/>
                    <a:pt x="36" y="130"/>
                  </a:cubicBezTo>
                  <a:cubicBezTo>
                    <a:pt x="1" y="213"/>
                    <a:pt x="72" y="308"/>
                    <a:pt x="155" y="332"/>
                  </a:cubicBezTo>
                  <a:cubicBezTo>
                    <a:pt x="274" y="368"/>
                    <a:pt x="394" y="392"/>
                    <a:pt x="513" y="404"/>
                  </a:cubicBezTo>
                  <a:lnTo>
                    <a:pt x="548" y="404"/>
                  </a:lnTo>
                  <a:cubicBezTo>
                    <a:pt x="620" y="404"/>
                    <a:pt x="691" y="344"/>
                    <a:pt x="703" y="273"/>
                  </a:cubicBezTo>
                  <a:cubicBezTo>
                    <a:pt x="727" y="189"/>
                    <a:pt x="667" y="94"/>
                    <a:pt x="572" y="82"/>
                  </a:cubicBezTo>
                  <a:cubicBezTo>
                    <a:pt x="465" y="70"/>
                    <a:pt x="346" y="35"/>
                    <a:pt x="251" y="11"/>
                  </a:cubicBezTo>
                  <a:cubicBezTo>
                    <a:pt x="232" y="4"/>
                    <a:pt x="213"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3" name="Google Shape;11873;p61"/>
            <p:cNvSpPr/>
            <p:nvPr/>
          </p:nvSpPr>
          <p:spPr>
            <a:xfrm>
              <a:off x="7287626" y="2719703"/>
              <a:ext cx="22271" cy="12070"/>
            </a:xfrm>
            <a:custGeom>
              <a:avLst/>
              <a:gdLst/>
              <a:ahLst/>
              <a:cxnLst/>
              <a:rect l="l" t="t" r="r" b="b"/>
              <a:pathLst>
                <a:path w="703" h="381" extrusionOk="0">
                  <a:moveTo>
                    <a:pt x="551" y="1"/>
                  </a:moveTo>
                  <a:cubicBezTo>
                    <a:pt x="534" y="1"/>
                    <a:pt x="517" y="4"/>
                    <a:pt x="500" y="11"/>
                  </a:cubicBezTo>
                  <a:cubicBezTo>
                    <a:pt x="393" y="35"/>
                    <a:pt x="274" y="59"/>
                    <a:pt x="167" y="59"/>
                  </a:cubicBezTo>
                  <a:cubicBezTo>
                    <a:pt x="84" y="71"/>
                    <a:pt x="0" y="142"/>
                    <a:pt x="24" y="237"/>
                  </a:cubicBezTo>
                  <a:cubicBezTo>
                    <a:pt x="36" y="321"/>
                    <a:pt x="96" y="380"/>
                    <a:pt x="179" y="380"/>
                  </a:cubicBezTo>
                  <a:lnTo>
                    <a:pt x="203" y="380"/>
                  </a:lnTo>
                  <a:cubicBezTo>
                    <a:pt x="310" y="368"/>
                    <a:pt x="453" y="357"/>
                    <a:pt x="572" y="321"/>
                  </a:cubicBezTo>
                  <a:cubicBezTo>
                    <a:pt x="643" y="297"/>
                    <a:pt x="703" y="214"/>
                    <a:pt x="691" y="130"/>
                  </a:cubicBezTo>
                  <a:cubicBezTo>
                    <a:pt x="681" y="54"/>
                    <a:pt x="618" y="1"/>
                    <a:pt x="5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4" name="Google Shape;11874;p61"/>
            <p:cNvSpPr/>
            <p:nvPr/>
          </p:nvSpPr>
          <p:spPr>
            <a:xfrm>
              <a:off x="7224614" y="2703357"/>
              <a:ext cx="21162" cy="17107"/>
            </a:xfrm>
            <a:custGeom>
              <a:avLst/>
              <a:gdLst/>
              <a:ahLst/>
              <a:cxnLst/>
              <a:rect l="l" t="t" r="r" b="b"/>
              <a:pathLst>
                <a:path w="668" h="540" extrusionOk="0">
                  <a:moveTo>
                    <a:pt x="193" y="1"/>
                  </a:moveTo>
                  <a:cubicBezTo>
                    <a:pt x="143" y="1"/>
                    <a:pt x="94" y="22"/>
                    <a:pt x="60" y="63"/>
                  </a:cubicBezTo>
                  <a:cubicBezTo>
                    <a:pt x="1" y="134"/>
                    <a:pt x="13" y="241"/>
                    <a:pt x="84" y="301"/>
                  </a:cubicBezTo>
                  <a:cubicBezTo>
                    <a:pt x="191" y="372"/>
                    <a:pt x="299" y="456"/>
                    <a:pt x="406" y="515"/>
                  </a:cubicBezTo>
                  <a:cubicBezTo>
                    <a:pt x="430" y="527"/>
                    <a:pt x="465" y="539"/>
                    <a:pt x="489" y="539"/>
                  </a:cubicBezTo>
                  <a:cubicBezTo>
                    <a:pt x="549" y="539"/>
                    <a:pt x="596" y="515"/>
                    <a:pt x="644" y="468"/>
                  </a:cubicBezTo>
                  <a:cubicBezTo>
                    <a:pt x="668" y="361"/>
                    <a:pt x="644" y="253"/>
                    <a:pt x="561" y="218"/>
                  </a:cubicBezTo>
                  <a:cubicBezTo>
                    <a:pt x="477" y="158"/>
                    <a:pt x="370" y="99"/>
                    <a:pt x="299" y="39"/>
                  </a:cubicBezTo>
                  <a:cubicBezTo>
                    <a:pt x="268" y="13"/>
                    <a:pt x="230"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5" name="Google Shape;11875;p61"/>
            <p:cNvSpPr/>
            <p:nvPr/>
          </p:nvSpPr>
          <p:spPr>
            <a:xfrm>
              <a:off x="7319306" y="2706335"/>
              <a:ext cx="21162" cy="15998"/>
            </a:xfrm>
            <a:custGeom>
              <a:avLst/>
              <a:gdLst/>
              <a:ahLst/>
              <a:cxnLst/>
              <a:rect l="l" t="t" r="r" b="b"/>
              <a:pathLst>
                <a:path w="668" h="505" extrusionOk="0">
                  <a:moveTo>
                    <a:pt x="498" y="1"/>
                  </a:moveTo>
                  <a:cubicBezTo>
                    <a:pt x="466" y="1"/>
                    <a:pt x="433" y="10"/>
                    <a:pt x="405" y="28"/>
                  </a:cubicBezTo>
                  <a:cubicBezTo>
                    <a:pt x="310" y="88"/>
                    <a:pt x="215" y="147"/>
                    <a:pt x="119" y="195"/>
                  </a:cubicBezTo>
                  <a:cubicBezTo>
                    <a:pt x="48" y="243"/>
                    <a:pt x="0" y="326"/>
                    <a:pt x="48" y="421"/>
                  </a:cubicBezTo>
                  <a:cubicBezTo>
                    <a:pt x="72" y="481"/>
                    <a:pt x="131" y="505"/>
                    <a:pt x="191" y="505"/>
                  </a:cubicBezTo>
                  <a:cubicBezTo>
                    <a:pt x="227" y="505"/>
                    <a:pt x="239" y="505"/>
                    <a:pt x="274" y="493"/>
                  </a:cubicBezTo>
                  <a:cubicBezTo>
                    <a:pt x="370" y="433"/>
                    <a:pt x="489" y="374"/>
                    <a:pt x="596" y="302"/>
                  </a:cubicBezTo>
                  <a:cubicBezTo>
                    <a:pt x="655" y="255"/>
                    <a:pt x="667" y="147"/>
                    <a:pt x="631" y="76"/>
                  </a:cubicBezTo>
                  <a:cubicBezTo>
                    <a:pt x="602" y="25"/>
                    <a:pt x="550" y="1"/>
                    <a:pt x="4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6" name="Google Shape;11876;p61"/>
            <p:cNvSpPr/>
            <p:nvPr/>
          </p:nvSpPr>
          <p:spPr>
            <a:xfrm>
              <a:off x="7202375" y="2678234"/>
              <a:ext cx="18501" cy="19578"/>
            </a:xfrm>
            <a:custGeom>
              <a:avLst/>
              <a:gdLst/>
              <a:ahLst/>
              <a:cxnLst/>
              <a:rect l="l" t="t" r="r" b="b"/>
              <a:pathLst>
                <a:path w="584" h="618" extrusionOk="0">
                  <a:moveTo>
                    <a:pt x="183" y="1"/>
                  </a:moveTo>
                  <a:cubicBezTo>
                    <a:pt x="156" y="1"/>
                    <a:pt x="130" y="7"/>
                    <a:pt x="108" y="22"/>
                  </a:cubicBezTo>
                  <a:cubicBezTo>
                    <a:pt x="36" y="70"/>
                    <a:pt x="0" y="177"/>
                    <a:pt x="48" y="249"/>
                  </a:cubicBezTo>
                  <a:cubicBezTo>
                    <a:pt x="108" y="356"/>
                    <a:pt x="179" y="451"/>
                    <a:pt x="251" y="558"/>
                  </a:cubicBezTo>
                  <a:cubicBezTo>
                    <a:pt x="286" y="606"/>
                    <a:pt x="334" y="618"/>
                    <a:pt x="393" y="618"/>
                  </a:cubicBezTo>
                  <a:cubicBezTo>
                    <a:pt x="417" y="618"/>
                    <a:pt x="465" y="606"/>
                    <a:pt x="489" y="594"/>
                  </a:cubicBezTo>
                  <a:cubicBezTo>
                    <a:pt x="572" y="534"/>
                    <a:pt x="584" y="427"/>
                    <a:pt x="524" y="356"/>
                  </a:cubicBezTo>
                  <a:cubicBezTo>
                    <a:pt x="453" y="261"/>
                    <a:pt x="393" y="177"/>
                    <a:pt x="334" y="82"/>
                  </a:cubicBezTo>
                  <a:cubicBezTo>
                    <a:pt x="301" y="33"/>
                    <a:pt x="240"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7" name="Google Shape;11877;p61"/>
            <p:cNvSpPr/>
            <p:nvPr/>
          </p:nvSpPr>
          <p:spPr>
            <a:xfrm>
              <a:off x="7345695" y="2683335"/>
              <a:ext cx="18913" cy="19388"/>
            </a:xfrm>
            <a:custGeom>
              <a:avLst/>
              <a:gdLst/>
              <a:ahLst/>
              <a:cxnLst/>
              <a:rect l="l" t="t" r="r" b="b"/>
              <a:pathLst>
                <a:path w="597" h="612" extrusionOk="0">
                  <a:moveTo>
                    <a:pt x="397" y="0"/>
                  </a:moveTo>
                  <a:cubicBezTo>
                    <a:pt x="346" y="0"/>
                    <a:pt x="297" y="25"/>
                    <a:pt x="275" y="76"/>
                  </a:cubicBezTo>
                  <a:cubicBezTo>
                    <a:pt x="215" y="159"/>
                    <a:pt x="132" y="254"/>
                    <a:pt x="60" y="326"/>
                  </a:cubicBezTo>
                  <a:cubicBezTo>
                    <a:pt x="1" y="397"/>
                    <a:pt x="1" y="504"/>
                    <a:pt x="72" y="564"/>
                  </a:cubicBezTo>
                  <a:cubicBezTo>
                    <a:pt x="108" y="588"/>
                    <a:pt x="156" y="612"/>
                    <a:pt x="179" y="612"/>
                  </a:cubicBezTo>
                  <a:cubicBezTo>
                    <a:pt x="227" y="612"/>
                    <a:pt x="263" y="588"/>
                    <a:pt x="299" y="552"/>
                  </a:cubicBezTo>
                  <a:cubicBezTo>
                    <a:pt x="382" y="457"/>
                    <a:pt x="465" y="350"/>
                    <a:pt x="525" y="254"/>
                  </a:cubicBezTo>
                  <a:cubicBezTo>
                    <a:pt x="596" y="171"/>
                    <a:pt x="572" y="76"/>
                    <a:pt x="489" y="28"/>
                  </a:cubicBezTo>
                  <a:cubicBezTo>
                    <a:pt x="461" y="10"/>
                    <a:pt x="429" y="0"/>
                    <a:pt x="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8" name="Google Shape;11878;p61"/>
            <p:cNvSpPr/>
            <p:nvPr/>
          </p:nvSpPr>
          <p:spPr>
            <a:xfrm>
              <a:off x="7280086" y="2559751"/>
              <a:ext cx="21891" cy="10201"/>
            </a:xfrm>
            <a:custGeom>
              <a:avLst/>
              <a:gdLst/>
              <a:ahLst/>
              <a:cxnLst/>
              <a:rect l="l" t="t" r="r" b="b"/>
              <a:pathLst>
                <a:path w="691" h="322" extrusionOk="0">
                  <a:moveTo>
                    <a:pt x="167" y="0"/>
                  </a:moveTo>
                  <a:cubicBezTo>
                    <a:pt x="84" y="0"/>
                    <a:pt x="0" y="72"/>
                    <a:pt x="0" y="167"/>
                  </a:cubicBezTo>
                  <a:cubicBezTo>
                    <a:pt x="0" y="250"/>
                    <a:pt x="84" y="322"/>
                    <a:pt x="167" y="322"/>
                  </a:cubicBezTo>
                  <a:lnTo>
                    <a:pt x="524" y="322"/>
                  </a:lnTo>
                  <a:cubicBezTo>
                    <a:pt x="619" y="322"/>
                    <a:pt x="691" y="250"/>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79" name="Google Shape;11879;p61"/>
          <p:cNvGrpSpPr/>
          <p:nvPr/>
        </p:nvGrpSpPr>
        <p:grpSpPr>
          <a:xfrm>
            <a:off x="6698441" y="2414530"/>
            <a:ext cx="277644" cy="357984"/>
            <a:chOff x="6698441" y="2414530"/>
            <a:chExt cx="277644" cy="357984"/>
          </a:xfrm>
        </p:grpSpPr>
        <p:sp>
          <p:nvSpPr>
            <p:cNvPr id="11880" name="Google Shape;11880;p61"/>
            <p:cNvSpPr/>
            <p:nvPr/>
          </p:nvSpPr>
          <p:spPr>
            <a:xfrm>
              <a:off x="6764462" y="2710611"/>
              <a:ext cx="10201" cy="60382"/>
            </a:xfrm>
            <a:custGeom>
              <a:avLst/>
              <a:gdLst/>
              <a:ahLst/>
              <a:cxnLst/>
              <a:rect l="l" t="t" r="r" b="b"/>
              <a:pathLst>
                <a:path w="322" h="1906" extrusionOk="0">
                  <a:moveTo>
                    <a:pt x="167" y="1"/>
                  </a:moveTo>
                  <a:cubicBezTo>
                    <a:pt x="72" y="1"/>
                    <a:pt x="0" y="72"/>
                    <a:pt x="0" y="167"/>
                  </a:cubicBezTo>
                  <a:lnTo>
                    <a:pt x="0" y="1739"/>
                  </a:lnTo>
                  <a:cubicBezTo>
                    <a:pt x="0" y="1834"/>
                    <a:pt x="72"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1" name="Google Shape;11881;p61"/>
            <p:cNvSpPr/>
            <p:nvPr/>
          </p:nvSpPr>
          <p:spPr>
            <a:xfrm>
              <a:off x="6898374" y="2710611"/>
              <a:ext cx="10201" cy="60382"/>
            </a:xfrm>
            <a:custGeom>
              <a:avLst/>
              <a:gdLst/>
              <a:ahLst/>
              <a:cxnLst/>
              <a:rect l="l" t="t" r="r" b="b"/>
              <a:pathLst>
                <a:path w="322" h="1906" extrusionOk="0">
                  <a:moveTo>
                    <a:pt x="167" y="1"/>
                  </a:moveTo>
                  <a:cubicBezTo>
                    <a:pt x="71" y="1"/>
                    <a:pt x="0" y="72"/>
                    <a:pt x="0" y="167"/>
                  </a:cubicBezTo>
                  <a:lnTo>
                    <a:pt x="0" y="1739"/>
                  </a:lnTo>
                  <a:cubicBezTo>
                    <a:pt x="0" y="1834"/>
                    <a:pt x="71" y="1906"/>
                    <a:pt x="167" y="1906"/>
                  </a:cubicBezTo>
                  <a:cubicBezTo>
                    <a:pt x="250" y="1906"/>
                    <a:pt x="322" y="1834"/>
                    <a:pt x="322" y="1739"/>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2" name="Google Shape;11882;p61"/>
            <p:cNvSpPr/>
            <p:nvPr/>
          </p:nvSpPr>
          <p:spPr>
            <a:xfrm>
              <a:off x="6698441" y="2414530"/>
              <a:ext cx="277644" cy="357984"/>
            </a:xfrm>
            <a:custGeom>
              <a:avLst/>
              <a:gdLst/>
              <a:ahLst/>
              <a:cxnLst/>
              <a:rect l="l" t="t" r="r" b="b"/>
              <a:pathLst>
                <a:path w="8764" h="11300" extrusionOk="0">
                  <a:moveTo>
                    <a:pt x="3835" y="3334"/>
                  </a:moveTo>
                  <a:lnTo>
                    <a:pt x="3835" y="3691"/>
                  </a:lnTo>
                  <a:cubicBezTo>
                    <a:pt x="3835" y="3798"/>
                    <a:pt x="3751" y="3882"/>
                    <a:pt x="3644" y="3882"/>
                  </a:cubicBezTo>
                  <a:lnTo>
                    <a:pt x="3120" y="3882"/>
                  </a:lnTo>
                  <a:cubicBezTo>
                    <a:pt x="3025" y="3882"/>
                    <a:pt x="2930" y="3786"/>
                    <a:pt x="2930" y="3691"/>
                  </a:cubicBezTo>
                  <a:lnTo>
                    <a:pt x="2930" y="3334"/>
                  </a:lnTo>
                  <a:lnTo>
                    <a:pt x="3215" y="3334"/>
                  </a:lnTo>
                  <a:lnTo>
                    <a:pt x="3215" y="3346"/>
                  </a:lnTo>
                  <a:lnTo>
                    <a:pt x="3215" y="3524"/>
                  </a:lnTo>
                  <a:cubicBezTo>
                    <a:pt x="3227" y="3620"/>
                    <a:pt x="3299" y="3691"/>
                    <a:pt x="3394" y="3691"/>
                  </a:cubicBezTo>
                  <a:cubicBezTo>
                    <a:pt x="3477" y="3691"/>
                    <a:pt x="3561" y="3620"/>
                    <a:pt x="3561" y="3524"/>
                  </a:cubicBezTo>
                  <a:lnTo>
                    <a:pt x="3561" y="3346"/>
                  </a:lnTo>
                  <a:lnTo>
                    <a:pt x="3561" y="3334"/>
                  </a:lnTo>
                  <a:close/>
                  <a:moveTo>
                    <a:pt x="5775" y="3334"/>
                  </a:moveTo>
                  <a:lnTo>
                    <a:pt x="5775" y="3691"/>
                  </a:lnTo>
                  <a:cubicBezTo>
                    <a:pt x="5775" y="3798"/>
                    <a:pt x="5680" y="3882"/>
                    <a:pt x="5585" y="3882"/>
                  </a:cubicBezTo>
                  <a:lnTo>
                    <a:pt x="5061" y="3882"/>
                  </a:lnTo>
                  <a:cubicBezTo>
                    <a:pt x="4954" y="3882"/>
                    <a:pt x="4870" y="3786"/>
                    <a:pt x="4870" y="3691"/>
                  </a:cubicBezTo>
                  <a:lnTo>
                    <a:pt x="4870" y="3334"/>
                  </a:lnTo>
                  <a:lnTo>
                    <a:pt x="5144" y="3334"/>
                  </a:lnTo>
                  <a:lnTo>
                    <a:pt x="5144" y="3346"/>
                  </a:lnTo>
                  <a:lnTo>
                    <a:pt x="5144" y="3524"/>
                  </a:lnTo>
                  <a:cubicBezTo>
                    <a:pt x="5168" y="3620"/>
                    <a:pt x="5239" y="3691"/>
                    <a:pt x="5323" y="3691"/>
                  </a:cubicBezTo>
                  <a:cubicBezTo>
                    <a:pt x="5418" y="3691"/>
                    <a:pt x="5490" y="3620"/>
                    <a:pt x="5490" y="3524"/>
                  </a:cubicBezTo>
                  <a:lnTo>
                    <a:pt x="5490" y="3346"/>
                  </a:lnTo>
                  <a:lnTo>
                    <a:pt x="5490" y="3334"/>
                  </a:lnTo>
                  <a:close/>
                  <a:moveTo>
                    <a:pt x="1858" y="1512"/>
                  </a:moveTo>
                  <a:lnTo>
                    <a:pt x="1858" y="1512"/>
                  </a:lnTo>
                  <a:cubicBezTo>
                    <a:pt x="1644" y="1905"/>
                    <a:pt x="1549" y="2346"/>
                    <a:pt x="1549" y="2810"/>
                  </a:cubicBezTo>
                  <a:lnTo>
                    <a:pt x="1549" y="3239"/>
                  </a:lnTo>
                  <a:cubicBezTo>
                    <a:pt x="1358" y="3334"/>
                    <a:pt x="1215" y="3513"/>
                    <a:pt x="1203" y="3715"/>
                  </a:cubicBezTo>
                  <a:cubicBezTo>
                    <a:pt x="1191" y="3882"/>
                    <a:pt x="1251" y="4060"/>
                    <a:pt x="1358" y="4179"/>
                  </a:cubicBezTo>
                  <a:cubicBezTo>
                    <a:pt x="1477" y="4298"/>
                    <a:pt x="1632" y="4370"/>
                    <a:pt x="1799" y="4370"/>
                  </a:cubicBezTo>
                  <a:lnTo>
                    <a:pt x="1918" y="4370"/>
                  </a:lnTo>
                  <a:cubicBezTo>
                    <a:pt x="1965" y="4691"/>
                    <a:pt x="2072" y="4965"/>
                    <a:pt x="2215" y="5239"/>
                  </a:cubicBezTo>
                  <a:cubicBezTo>
                    <a:pt x="1918" y="5191"/>
                    <a:pt x="1668" y="5108"/>
                    <a:pt x="1501" y="5025"/>
                  </a:cubicBezTo>
                  <a:cubicBezTo>
                    <a:pt x="1382" y="4965"/>
                    <a:pt x="1299" y="4929"/>
                    <a:pt x="1215" y="4882"/>
                  </a:cubicBezTo>
                  <a:cubicBezTo>
                    <a:pt x="1275" y="4751"/>
                    <a:pt x="1358" y="4548"/>
                    <a:pt x="1358" y="4405"/>
                  </a:cubicBezTo>
                  <a:cubicBezTo>
                    <a:pt x="1358" y="4370"/>
                    <a:pt x="1334" y="4334"/>
                    <a:pt x="1322" y="4298"/>
                  </a:cubicBezTo>
                  <a:lnTo>
                    <a:pt x="834" y="3655"/>
                  </a:lnTo>
                  <a:cubicBezTo>
                    <a:pt x="858" y="3501"/>
                    <a:pt x="977" y="3036"/>
                    <a:pt x="1179" y="2560"/>
                  </a:cubicBezTo>
                  <a:cubicBezTo>
                    <a:pt x="1394" y="2048"/>
                    <a:pt x="1632" y="1727"/>
                    <a:pt x="1858" y="1512"/>
                  </a:cubicBezTo>
                  <a:close/>
                  <a:moveTo>
                    <a:pt x="4347" y="334"/>
                  </a:moveTo>
                  <a:cubicBezTo>
                    <a:pt x="5644" y="334"/>
                    <a:pt x="6728" y="1346"/>
                    <a:pt x="6811" y="2643"/>
                  </a:cubicBezTo>
                  <a:cubicBezTo>
                    <a:pt x="6811" y="2732"/>
                    <a:pt x="6893" y="2799"/>
                    <a:pt x="6971" y="2799"/>
                  </a:cubicBezTo>
                  <a:cubicBezTo>
                    <a:pt x="6977" y="2799"/>
                    <a:pt x="6984" y="2799"/>
                    <a:pt x="6990" y="2798"/>
                  </a:cubicBezTo>
                  <a:cubicBezTo>
                    <a:pt x="7085" y="2798"/>
                    <a:pt x="7156" y="2703"/>
                    <a:pt x="7144" y="2620"/>
                  </a:cubicBezTo>
                  <a:cubicBezTo>
                    <a:pt x="7109" y="2215"/>
                    <a:pt x="7002" y="1846"/>
                    <a:pt x="6835" y="1500"/>
                  </a:cubicBezTo>
                  <a:lnTo>
                    <a:pt x="6835" y="1500"/>
                  </a:lnTo>
                  <a:cubicBezTo>
                    <a:pt x="7144" y="1786"/>
                    <a:pt x="7371" y="2179"/>
                    <a:pt x="7514" y="2536"/>
                  </a:cubicBezTo>
                  <a:cubicBezTo>
                    <a:pt x="7728" y="3012"/>
                    <a:pt x="7823" y="3477"/>
                    <a:pt x="7859" y="3643"/>
                  </a:cubicBezTo>
                  <a:lnTo>
                    <a:pt x="7371" y="4286"/>
                  </a:lnTo>
                  <a:cubicBezTo>
                    <a:pt x="7347" y="4310"/>
                    <a:pt x="7335" y="4346"/>
                    <a:pt x="7335" y="4382"/>
                  </a:cubicBezTo>
                  <a:cubicBezTo>
                    <a:pt x="7335" y="4525"/>
                    <a:pt x="7406" y="4727"/>
                    <a:pt x="7466" y="4858"/>
                  </a:cubicBezTo>
                  <a:cubicBezTo>
                    <a:pt x="7406" y="4906"/>
                    <a:pt x="7311" y="4953"/>
                    <a:pt x="7192" y="5013"/>
                  </a:cubicBezTo>
                  <a:cubicBezTo>
                    <a:pt x="7025" y="5084"/>
                    <a:pt x="6775" y="5191"/>
                    <a:pt x="6454" y="5251"/>
                  </a:cubicBezTo>
                  <a:cubicBezTo>
                    <a:pt x="6609" y="4989"/>
                    <a:pt x="6704" y="4691"/>
                    <a:pt x="6752" y="4394"/>
                  </a:cubicBezTo>
                  <a:lnTo>
                    <a:pt x="6859" y="4394"/>
                  </a:lnTo>
                  <a:cubicBezTo>
                    <a:pt x="7192" y="4394"/>
                    <a:pt x="7454" y="4144"/>
                    <a:pt x="7490" y="3846"/>
                  </a:cubicBezTo>
                  <a:cubicBezTo>
                    <a:pt x="7502" y="3691"/>
                    <a:pt x="7442" y="3513"/>
                    <a:pt x="7335" y="3393"/>
                  </a:cubicBezTo>
                  <a:cubicBezTo>
                    <a:pt x="7216" y="3274"/>
                    <a:pt x="7049" y="3203"/>
                    <a:pt x="6894" y="3203"/>
                  </a:cubicBezTo>
                  <a:lnTo>
                    <a:pt x="6085" y="3203"/>
                  </a:lnTo>
                  <a:lnTo>
                    <a:pt x="6085" y="3179"/>
                  </a:lnTo>
                  <a:cubicBezTo>
                    <a:pt x="6085" y="3096"/>
                    <a:pt x="6013" y="3012"/>
                    <a:pt x="5918" y="3012"/>
                  </a:cubicBezTo>
                  <a:lnTo>
                    <a:pt x="4692" y="3012"/>
                  </a:lnTo>
                  <a:cubicBezTo>
                    <a:pt x="4597" y="3012"/>
                    <a:pt x="4525" y="3096"/>
                    <a:pt x="4525" y="3179"/>
                  </a:cubicBezTo>
                  <a:lnTo>
                    <a:pt x="4525" y="3227"/>
                  </a:lnTo>
                  <a:cubicBezTo>
                    <a:pt x="4466" y="3191"/>
                    <a:pt x="4406" y="3191"/>
                    <a:pt x="4335" y="3191"/>
                  </a:cubicBezTo>
                  <a:cubicBezTo>
                    <a:pt x="4251" y="3191"/>
                    <a:pt x="4192" y="3215"/>
                    <a:pt x="4132" y="3227"/>
                  </a:cubicBezTo>
                  <a:lnTo>
                    <a:pt x="4132" y="3179"/>
                  </a:lnTo>
                  <a:cubicBezTo>
                    <a:pt x="4132" y="3096"/>
                    <a:pt x="4061" y="3012"/>
                    <a:pt x="3977" y="3012"/>
                  </a:cubicBezTo>
                  <a:lnTo>
                    <a:pt x="2739" y="3012"/>
                  </a:lnTo>
                  <a:cubicBezTo>
                    <a:pt x="2644" y="3012"/>
                    <a:pt x="2572" y="3096"/>
                    <a:pt x="2572" y="3179"/>
                  </a:cubicBezTo>
                  <a:lnTo>
                    <a:pt x="2572" y="3203"/>
                  </a:lnTo>
                  <a:lnTo>
                    <a:pt x="1846" y="3203"/>
                  </a:lnTo>
                  <a:lnTo>
                    <a:pt x="1846" y="2810"/>
                  </a:lnTo>
                  <a:lnTo>
                    <a:pt x="1870" y="2810"/>
                  </a:lnTo>
                  <a:cubicBezTo>
                    <a:pt x="1870" y="1441"/>
                    <a:pt x="2989" y="334"/>
                    <a:pt x="4347" y="334"/>
                  </a:cubicBezTo>
                  <a:close/>
                  <a:moveTo>
                    <a:pt x="6906" y="3513"/>
                  </a:moveTo>
                  <a:cubicBezTo>
                    <a:pt x="6978" y="3513"/>
                    <a:pt x="7049" y="3536"/>
                    <a:pt x="7109" y="3596"/>
                  </a:cubicBezTo>
                  <a:cubicBezTo>
                    <a:pt x="7168" y="3655"/>
                    <a:pt x="7192" y="3739"/>
                    <a:pt x="7192" y="3810"/>
                  </a:cubicBezTo>
                  <a:cubicBezTo>
                    <a:pt x="7168" y="3941"/>
                    <a:pt x="7037" y="4060"/>
                    <a:pt x="6894" y="4060"/>
                  </a:cubicBezTo>
                  <a:lnTo>
                    <a:pt x="6811" y="4060"/>
                  </a:lnTo>
                  <a:lnTo>
                    <a:pt x="6811" y="4048"/>
                  </a:lnTo>
                  <a:cubicBezTo>
                    <a:pt x="6811" y="3953"/>
                    <a:pt x="6740" y="3882"/>
                    <a:pt x="6656" y="3882"/>
                  </a:cubicBezTo>
                  <a:cubicBezTo>
                    <a:pt x="6561" y="3882"/>
                    <a:pt x="6490" y="3953"/>
                    <a:pt x="6490" y="4048"/>
                  </a:cubicBezTo>
                  <a:cubicBezTo>
                    <a:pt x="6490" y="4536"/>
                    <a:pt x="6323" y="5001"/>
                    <a:pt x="6025" y="5370"/>
                  </a:cubicBezTo>
                  <a:cubicBezTo>
                    <a:pt x="5763" y="5679"/>
                    <a:pt x="5430" y="5918"/>
                    <a:pt x="5049" y="6060"/>
                  </a:cubicBezTo>
                  <a:lnTo>
                    <a:pt x="5049" y="5644"/>
                  </a:lnTo>
                  <a:cubicBezTo>
                    <a:pt x="5049" y="5548"/>
                    <a:pt x="4966" y="5477"/>
                    <a:pt x="4882" y="5477"/>
                  </a:cubicBezTo>
                  <a:lnTo>
                    <a:pt x="3823" y="5477"/>
                  </a:lnTo>
                  <a:cubicBezTo>
                    <a:pt x="3739" y="5477"/>
                    <a:pt x="3656" y="5548"/>
                    <a:pt x="3656" y="5644"/>
                  </a:cubicBezTo>
                  <a:lnTo>
                    <a:pt x="3656" y="6060"/>
                  </a:lnTo>
                  <a:cubicBezTo>
                    <a:pt x="3287" y="5918"/>
                    <a:pt x="2942" y="5679"/>
                    <a:pt x="2692" y="5370"/>
                  </a:cubicBezTo>
                  <a:cubicBezTo>
                    <a:pt x="2394" y="4989"/>
                    <a:pt x="2227" y="4536"/>
                    <a:pt x="2227" y="4048"/>
                  </a:cubicBezTo>
                  <a:cubicBezTo>
                    <a:pt x="2227" y="3953"/>
                    <a:pt x="2156" y="3882"/>
                    <a:pt x="2072" y="3882"/>
                  </a:cubicBezTo>
                  <a:cubicBezTo>
                    <a:pt x="1977" y="3882"/>
                    <a:pt x="1906" y="3953"/>
                    <a:pt x="1906" y="4048"/>
                  </a:cubicBezTo>
                  <a:lnTo>
                    <a:pt x="1906" y="4060"/>
                  </a:lnTo>
                  <a:lnTo>
                    <a:pt x="1799" y="4060"/>
                  </a:lnTo>
                  <a:cubicBezTo>
                    <a:pt x="1727" y="4060"/>
                    <a:pt x="1656" y="4036"/>
                    <a:pt x="1596" y="3977"/>
                  </a:cubicBezTo>
                  <a:cubicBezTo>
                    <a:pt x="1537" y="3917"/>
                    <a:pt x="1513" y="3834"/>
                    <a:pt x="1513" y="3763"/>
                  </a:cubicBezTo>
                  <a:cubicBezTo>
                    <a:pt x="1537" y="3632"/>
                    <a:pt x="1668" y="3513"/>
                    <a:pt x="1810" y="3513"/>
                  </a:cubicBezTo>
                  <a:lnTo>
                    <a:pt x="2584" y="3513"/>
                  </a:lnTo>
                  <a:lnTo>
                    <a:pt x="2584" y="3703"/>
                  </a:lnTo>
                  <a:cubicBezTo>
                    <a:pt x="2584" y="3989"/>
                    <a:pt x="2823" y="4227"/>
                    <a:pt x="3108" y="4227"/>
                  </a:cubicBezTo>
                  <a:lnTo>
                    <a:pt x="3632" y="4227"/>
                  </a:lnTo>
                  <a:cubicBezTo>
                    <a:pt x="3918" y="4227"/>
                    <a:pt x="4156" y="3989"/>
                    <a:pt x="4156" y="3703"/>
                  </a:cubicBezTo>
                  <a:cubicBezTo>
                    <a:pt x="4156" y="3596"/>
                    <a:pt x="4239" y="3513"/>
                    <a:pt x="4347" y="3513"/>
                  </a:cubicBezTo>
                  <a:cubicBezTo>
                    <a:pt x="4454" y="3513"/>
                    <a:pt x="4537" y="3596"/>
                    <a:pt x="4537" y="3703"/>
                  </a:cubicBezTo>
                  <a:cubicBezTo>
                    <a:pt x="4537" y="3989"/>
                    <a:pt x="4775" y="4227"/>
                    <a:pt x="5061" y="4227"/>
                  </a:cubicBezTo>
                  <a:lnTo>
                    <a:pt x="5585" y="4227"/>
                  </a:lnTo>
                  <a:cubicBezTo>
                    <a:pt x="5859" y="4227"/>
                    <a:pt x="6097" y="3989"/>
                    <a:pt x="6097" y="3703"/>
                  </a:cubicBezTo>
                  <a:lnTo>
                    <a:pt x="6097" y="3513"/>
                  </a:lnTo>
                  <a:close/>
                  <a:moveTo>
                    <a:pt x="4716" y="5799"/>
                  </a:moveTo>
                  <a:lnTo>
                    <a:pt x="4716" y="6156"/>
                  </a:lnTo>
                  <a:cubicBezTo>
                    <a:pt x="4716" y="6346"/>
                    <a:pt x="4549" y="6513"/>
                    <a:pt x="4358" y="6513"/>
                  </a:cubicBezTo>
                  <a:cubicBezTo>
                    <a:pt x="4156" y="6513"/>
                    <a:pt x="3989" y="6370"/>
                    <a:pt x="3989" y="6156"/>
                  </a:cubicBezTo>
                  <a:lnTo>
                    <a:pt x="3989" y="5799"/>
                  </a:lnTo>
                  <a:close/>
                  <a:moveTo>
                    <a:pt x="5418" y="6263"/>
                  </a:moveTo>
                  <a:lnTo>
                    <a:pt x="5418" y="6822"/>
                  </a:lnTo>
                  <a:lnTo>
                    <a:pt x="5418" y="6942"/>
                  </a:lnTo>
                  <a:lnTo>
                    <a:pt x="4347" y="7561"/>
                  </a:lnTo>
                  <a:lnTo>
                    <a:pt x="3275" y="6942"/>
                  </a:lnTo>
                  <a:lnTo>
                    <a:pt x="3275" y="6822"/>
                  </a:lnTo>
                  <a:lnTo>
                    <a:pt x="3275" y="6263"/>
                  </a:lnTo>
                  <a:cubicBezTo>
                    <a:pt x="3406" y="6322"/>
                    <a:pt x="3561" y="6382"/>
                    <a:pt x="3692" y="6430"/>
                  </a:cubicBezTo>
                  <a:cubicBezTo>
                    <a:pt x="3811" y="6668"/>
                    <a:pt x="4061" y="6858"/>
                    <a:pt x="4358" y="6858"/>
                  </a:cubicBezTo>
                  <a:cubicBezTo>
                    <a:pt x="4656" y="6858"/>
                    <a:pt x="4894" y="6680"/>
                    <a:pt x="5001" y="6430"/>
                  </a:cubicBezTo>
                  <a:cubicBezTo>
                    <a:pt x="5144" y="6382"/>
                    <a:pt x="5287" y="6334"/>
                    <a:pt x="5418" y="6263"/>
                  </a:cubicBezTo>
                  <a:close/>
                  <a:moveTo>
                    <a:pt x="3204" y="7251"/>
                  </a:moveTo>
                  <a:lnTo>
                    <a:pt x="4096" y="7751"/>
                  </a:lnTo>
                  <a:lnTo>
                    <a:pt x="3632" y="8227"/>
                  </a:lnTo>
                  <a:cubicBezTo>
                    <a:pt x="3585" y="8275"/>
                    <a:pt x="3537" y="8287"/>
                    <a:pt x="3501" y="8287"/>
                  </a:cubicBezTo>
                  <a:cubicBezTo>
                    <a:pt x="3430" y="8287"/>
                    <a:pt x="3394" y="8263"/>
                    <a:pt x="3358" y="8215"/>
                  </a:cubicBezTo>
                  <a:lnTo>
                    <a:pt x="2882" y="7644"/>
                  </a:lnTo>
                  <a:lnTo>
                    <a:pt x="2989" y="7549"/>
                  </a:lnTo>
                  <a:cubicBezTo>
                    <a:pt x="3073" y="7453"/>
                    <a:pt x="3132" y="7370"/>
                    <a:pt x="3204" y="7251"/>
                  </a:cubicBezTo>
                  <a:close/>
                  <a:moveTo>
                    <a:pt x="5513" y="7275"/>
                  </a:moveTo>
                  <a:cubicBezTo>
                    <a:pt x="5561" y="7382"/>
                    <a:pt x="5632" y="7477"/>
                    <a:pt x="5728" y="7573"/>
                  </a:cubicBezTo>
                  <a:lnTo>
                    <a:pt x="5835" y="7668"/>
                  </a:lnTo>
                  <a:lnTo>
                    <a:pt x="5359" y="8227"/>
                  </a:lnTo>
                  <a:cubicBezTo>
                    <a:pt x="5323" y="8275"/>
                    <a:pt x="5263" y="8287"/>
                    <a:pt x="5216" y="8299"/>
                  </a:cubicBezTo>
                  <a:cubicBezTo>
                    <a:pt x="5156" y="8299"/>
                    <a:pt x="5120" y="8287"/>
                    <a:pt x="5085" y="8239"/>
                  </a:cubicBezTo>
                  <a:lnTo>
                    <a:pt x="4620" y="7775"/>
                  </a:lnTo>
                  <a:lnTo>
                    <a:pt x="5513" y="7275"/>
                  </a:lnTo>
                  <a:close/>
                  <a:moveTo>
                    <a:pt x="4358" y="7965"/>
                  </a:moveTo>
                  <a:lnTo>
                    <a:pt x="4704" y="8299"/>
                  </a:lnTo>
                  <a:lnTo>
                    <a:pt x="4632" y="8513"/>
                  </a:lnTo>
                  <a:cubicBezTo>
                    <a:pt x="4608" y="8561"/>
                    <a:pt x="4585" y="8585"/>
                    <a:pt x="4537" y="8620"/>
                  </a:cubicBezTo>
                  <a:lnTo>
                    <a:pt x="4525" y="8620"/>
                  </a:lnTo>
                  <a:cubicBezTo>
                    <a:pt x="4489" y="8632"/>
                    <a:pt x="4477" y="8632"/>
                    <a:pt x="4454" y="8632"/>
                  </a:cubicBezTo>
                  <a:lnTo>
                    <a:pt x="4251" y="8632"/>
                  </a:lnTo>
                  <a:cubicBezTo>
                    <a:pt x="4180" y="8632"/>
                    <a:pt x="4108" y="8585"/>
                    <a:pt x="4073" y="8501"/>
                  </a:cubicBezTo>
                  <a:lnTo>
                    <a:pt x="4013" y="8299"/>
                  </a:lnTo>
                  <a:lnTo>
                    <a:pt x="4358" y="7965"/>
                  </a:lnTo>
                  <a:close/>
                  <a:moveTo>
                    <a:pt x="4370" y="0"/>
                  </a:moveTo>
                  <a:cubicBezTo>
                    <a:pt x="3573" y="0"/>
                    <a:pt x="2823" y="345"/>
                    <a:pt x="2322" y="893"/>
                  </a:cubicBezTo>
                  <a:cubicBezTo>
                    <a:pt x="953" y="1250"/>
                    <a:pt x="537" y="3560"/>
                    <a:pt x="525" y="3643"/>
                  </a:cubicBezTo>
                  <a:cubicBezTo>
                    <a:pt x="501" y="3691"/>
                    <a:pt x="525" y="3739"/>
                    <a:pt x="548" y="3774"/>
                  </a:cubicBezTo>
                  <a:lnTo>
                    <a:pt x="1037" y="4429"/>
                  </a:lnTo>
                  <a:cubicBezTo>
                    <a:pt x="1025" y="4536"/>
                    <a:pt x="941" y="4727"/>
                    <a:pt x="894" y="4834"/>
                  </a:cubicBezTo>
                  <a:cubicBezTo>
                    <a:pt x="858" y="4906"/>
                    <a:pt x="882" y="4989"/>
                    <a:pt x="941" y="5048"/>
                  </a:cubicBezTo>
                  <a:cubicBezTo>
                    <a:pt x="965" y="5060"/>
                    <a:pt x="1549" y="5525"/>
                    <a:pt x="2513" y="5620"/>
                  </a:cubicBezTo>
                  <a:cubicBezTo>
                    <a:pt x="2644" y="5787"/>
                    <a:pt x="2811" y="5941"/>
                    <a:pt x="2989" y="6060"/>
                  </a:cubicBezTo>
                  <a:lnTo>
                    <a:pt x="2989" y="6358"/>
                  </a:lnTo>
                  <a:cubicBezTo>
                    <a:pt x="2703" y="6453"/>
                    <a:pt x="1977" y="6751"/>
                    <a:pt x="1537" y="7489"/>
                  </a:cubicBezTo>
                  <a:lnTo>
                    <a:pt x="882" y="7680"/>
                  </a:lnTo>
                  <a:cubicBezTo>
                    <a:pt x="358" y="7823"/>
                    <a:pt x="1" y="8311"/>
                    <a:pt x="1" y="8858"/>
                  </a:cubicBezTo>
                  <a:lnTo>
                    <a:pt x="1" y="11085"/>
                  </a:lnTo>
                  <a:cubicBezTo>
                    <a:pt x="1" y="11180"/>
                    <a:pt x="72" y="11252"/>
                    <a:pt x="156" y="11252"/>
                  </a:cubicBezTo>
                  <a:cubicBezTo>
                    <a:pt x="251" y="11252"/>
                    <a:pt x="322" y="11180"/>
                    <a:pt x="322" y="11085"/>
                  </a:cubicBezTo>
                  <a:lnTo>
                    <a:pt x="322" y="8858"/>
                  </a:lnTo>
                  <a:cubicBezTo>
                    <a:pt x="322" y="8466"/>
                    <a:pt x="596" y="8108"/>
                    <a:pt x="965" y="8001"/>
                  </a:cubicBezTo>
                  <a:lnTo>
                    <a:pt x="1334" y="7894"/>
                  </a:lnTo>
                  <a:lnTo>
                    <a:pt x="1334" y="7894"/>
                  </a:lnTo>
                  <a:cubicBezTo>
                    <a:pt x="1322" y="7942"/>
                    <a:pt x="1310" y="7977"/>
                    <a:pt x="1287" y="8013"/>
                  </a:cubicBezTo>
                  <a:cubicBezTo>
                    <a:pt x="1251" y="8168"/>
                    <a:pt x="1263" y="8346"/>
                    <a:pt x="1346" y="8477"/>
                  </a:cubicBezTo>
                  <a:lnTo>
                    <a:pt x="1549" y="8763"/>
                  </a:lnTo>
                  <a:lnTo>
                    <a:pt x="1072" y="9239"/>
                  </a:lnTo>
                  <a:cubicBezTo>
                    <a:pt x="953" y="9358"/>
                    <a:pt x="894" y="9537"/>
                    <a:pt x="929" y="9716"/>
                  </a:cubicBezTo>
                  <a:lnTo>
                    <a:pt x="1251" y="11144"/>
                  </a:lnTo>
                  <a:cubicBezTo>
                    <a:pt x="1263" y="11216"/>
                    <a:pt x="1334" y="11275"/>
                    <a:pt x="1406" y="11275"/>
                  </a:cubicBezTo>
                  <a:lnTo>
                    <a:pt x="1441" y="11275"/>
                  </a:lnTo>
                  <a:cubicBezTo>
                    <a:pt x="1525" y="11263"/>
                    <a:pt x="1584" y="11168"/>
                    <a:pt x="1560" y="11085"/>
                  </a:cubicBezTo>
                  <a:lnTo>
                    <a:pt x="1251" y="9656"/>
                  </a:lnTo>
                  <a:cubicBezTo>
                    <a:pt x="1227" y="9597"/>
                    <a:pt x="1251" y="9525"/>
                    <a:pt x="1287" y="9478"/>
                  </a:cubicBezTo>
                  <a:lnTo>
                    <a:pt x="1858" y="8906"/>
                  </a:lnTo>
                  <a:cubicBezTo>
                    <a:pt x="1918" y="8858"/>
                    <a:pt x="1918" y="8763"/>
                    <a:pt x="1870" y="8704"/>
                  </a:cubicBezTo>
                  <a:lnTo>
                    <a:pt x="1608" y="8311"/>
                  </a:lnTo>
                  <a:cubicBezTo>
                    <a:pt x="1572" y="8275"/>
                    <a:pt x="1560" y="8215"/>
                    <a:pt x="1584" y="8156"/>
                  </a:cubicBezTo>
                  <a:cubicBezTo>
                    <a:pt x="1870" y="7287"/>
                    <a:pt x="2620" y="6882"/>
                    <a:pt x="2977" y="6751"/>
                  </a:cubicBezTo>
                  <a:lnTo>
                    <a:pt x="2977" y="6858"/>
                  </a:lnTo>
                  <a:cubicBezTo>
                    <a:pt x="2977" y="7049"/>
                    <a:pt x="2894" y="7227"/>
                    <a:pt x="2763" y="7370"/>
                  </a:cubicBezTo>
                  <a:lnTo>
                    <a:pt x="2561" y="7573"/>
                  </a:lnTo>
                  <a:cubicBezTo>
                    <a:pt x="2263" y="7870"/>
                    <a:pt x="2096" y="8263"/>
                    <a:pt x="2096" y="8692"/>
                  </a:cubicBezTo>
                  <a:lnTo>
                    <a:pt x="2096" y="8835"/>
                  </a:lnTo>
                  <a:cubicBezTo>
                    <a:pt x="2096" y="8930"/>
                    <a:pt x="2168" y="9001"/>
                    <a:pt x="2263" y="9001"/>
                  </a:cubicBezTo>
                  <a:cubicBezTo>
                    <a:pt x="2346" y="9001"/>
                    <a:pt x="2418" y="8930"/>
                    <a:pt x="2418" y="8835"/>
                  </a:cubicBezTo>
                  <a:lnTo>
                    <a:pt x="2418" y="8692"/>
                  </a:lnTo>
                  <a:cubicBezTo>
                    <a:pt x="2418" y="8418"/>
                    <a:pt x="2513" y="8156"/>
                    <a:pt x="2680" y="7942"/>
                  </a:cubicBezTo>
                  <a:lnTo>
                    <a:pt x="3120" y="8477"/>
                  </a:lnTo>
                  <a:cubicBezTo>
                    <a:pt x="3215" y="8585"/>
                    <a:pt x="3346" y="8656"/>
                    <a:pt x="3489" y="8656"/>
                  </a:cubicBezTo>
                  <a:lnTo>
                    <a:pt x="3525" y="8656"/>
                  </a:lnTo>
                  <a:cubicBezTo>
                    <a:pt x="3608" y="8656"/>
                    <a:pt x="3704" y="8632"/>
                    <a:pt x="3775" y="8596"/>
                  </a:cubicBezTo>
                  <a:lnTo>
                    <a:pt x="3787" y="8656"/>
                  </a:lnTo>
                  <a:cubicBezTo>
                    <a:pt x="3823" y="8751"/>
                    <a:pt x="3882" y="8823"/>
                    <a:pt x="3942" y="8882"/>
                  </a:cubicBezTo>
                  <a:lnTo>
                    <a:pt x="3692" y="11121"/>
                  </a:lnTo>
                  <a:cubicBezTo>
                    <a:pt x="3668" y="11204"/>
                    <a:pt x="3751" y="11299"/>
                    <a:pt x="3835" y="11299"/>
                  </a:cubicBezTo>
                  <a:lnTo>
                    <a:pt x="3846" y="11299"/>
                  </a:lnTo>
                  <a:cubicBezTo>
                    <a:pt x="3942" y="11299"/>
                    <a:pt x="4001" y="11240"/>
                    <a:pt x="4013" y="11144"/>
                  </a:cubicBezTo>
                  <a:lnTo>
                    <a:pt x="4251" y="9001"/>
                  </a:lnTo>
                  <a:lnTo>
                    <a:pt x="4501" y="9001"/>
                  </a:lnTo>
                  <a:lnTo>
                    <a:pt x="4739" y="11144"/>
                  </a:lnTo>
                  <a:cubicBezTo>
                    <a:pt x="4763" y="11240"/>
                    <a:pt x="4823" y="11299"/>
                    <a:pt x="4906" y="11299"/>
                  </a:cubicBezTo>
                  <a:lnTo>
                    <a:pt x="4918" y="11299"/>
                  </a:lnTo>
                  <a:cubicBezTo>
                    <a:pt x="5013" y="11275"/>
                    <a:pt x="5073" y="11204"/>
                    <a:pt x="5073" y="11121"/>
                  </a:cubicBezTo>
                  <a:lnTo>
                    <a:pt x="4823" y="8882"/>
                  </a:lnTo>
                  <a:cubicBezTo>
                    <a:pt x="4894" y="8823"/>
                    <a:pt x="4942" y="8751"/>
                    <a:pt x="4966" y="8656"/>
                  </a:cubicBezTo>
                  <a:lnTo>
                    <a:pt x="4978" y="8596"/>
                  </a:lnTo>
                  <a:cubicBezTo>
                    <a:pt x="5061" y="8644"/>
                    <a:pt x="5144" y="8656"/>
                    <a:pt x="5239" y="8656"/>
                  </a:cubicBezTo>
                  <a:lnTo>
                    <a:pt x="5263" y="8656"/>
                  </a:lnTo>
                  <a:cubicBezTo>
                    <a:pt x="5418" y="8656"/>
                    <a:pt x="5549" y="8585"/>
                    <a:pt x="5632" y="8477"/>
                  </a:cubicBezTo>
                  <a:lnTo>
                    <a:pt x="6085" y="7942"/>
                  </a:lnTo>
                  <a:cubicBezTo>
                    <a:pt x="6252" y="8156"/>
                    <a:pt x="6335" y="8418"/>
                    <a:pt x="6335" y="8692"/>
                  </a:cubicBezTo>
                  <a:lnTo>
                    <a:pt x="6335" y="8835"/>
                  </a:lnTo>
                  <a:cubicBezTo>
                    <a:pt x="6335" y="8930"/>
                    <a:pt x="6406" y="9001"/>
                    <a:pt x="6502" y="9001"/>
                  </a:cubicBezTo>
                  <a:cubicBezTo>
                    <a:pt x="6585" y="9001"/>
                    <a:pt x="6668" y="8930"/>
                    <a:pt x="6668" y="8835"/>
                  </a:cubicBezTo>
                  <a:lnTo>
                    <a:pt x="6668" y="8692"/>
                  </a:lnTo>
                  <a:cubicBezTo>
                    <a:pt x="6668" y="8275"/>
                    <a:pt x="6502" y="7870"/>
                    <a:pt x="6204" y="7573"/>
                  </a:cubicBezTo>
                  <a:lnTo>
                    <a:pt x="5990" y="7370"/>
                  </a:lnTo>
                  <a:cubicBezTo>
                    <a:pt x="5859" y="7227"/>
                    <a:pt x="5787" y="7049"/>
                    <a:pt x="5787" y="6858"/>
                  </a:cubicBezTo>
                  <a:lnTo>
                    <a:pt x="5787" y="6715"/>
                  </a:lnTo>
                  <a:cubicBezTo>
                    <a:pt x="6144" y="6858"/>
                    <a:pt x="6883" y="7251"/>
                    <a:pt x="7168" y="8108"/>
                  </a:cubicBezTo>
                  <a:cubicBezTo>
                    <a:pt x="7180" y="8168"/>
                    <a:pt x="7180" y="8227"/>
                    <a:pt x="7156" y="8275"/>
                  </a:cubicBezTo>
                  <a:lnTo>
                    <a:pt x="6883" y="8656"/>
                  </a:lnTo>
                  <a:cubicBezTo>
                    <a:pt x="6847" y="8716"/>
                    <a:pt x="6859" y="8811"/>
                    <a:pt x="6906" y="8870"/>
                  </a:cubicBezTo>
                  <a:lnTo>
                    <a:pt x="7466" y="9430"/>
                  </a:lnTo>
                  <a:cubicBezTo>
                    <a:pt x="7514" y="9478"/>
                    <a:pt x="7525" y="9537"/>
                    <a:pt x="7514" y="9609"/>
                  </a:cubicBezTo>
                  <a:lnTo>
                    <a:pt x="7204" y="11037"/>
                  </a:lnTo>
                  <a:cubicBezTo>
                    <a:pt x="7180" y="11132"/>
                    <a:pt x="7228" y="11216"/>
                    <a:pt x="7323" y="11240"/>
                  </a:cubicBezTo>
                  <a:lnTo>
                    <a:pt x="7347" y="11240"/>
                  </a:lnTo>
                  <a:cubicBezTo>
                    <a:pt x="7418" y="11240"/>
                    <a:pt x="7502" y="11180"/>
                    <a:pt x="7514" y="11097"/>
                  </a:cubicBezTo>
                  <a:lnTo>
                    <a:pt x="7823" y="9668"/>
                  </a:lnTo>
                  <a:cubicBezTo>
                    <a:pt x="7871" y="9489"/>
                    <a:pt x="7811" y="9311"/>
                    <a:pt x="7692" y="9192"/>
                  </a:cubicBezTo>
                  <a:lnTo>
                    <a:pt x="7216" y="8716"/>
                  </a:lnTo>
                  <a:lnTo>
                    <a:pt x="7406" y="8430"/>
                  </a:lnTo>
                  <a:cubicBezTo>
                    <a:pt x="7502" y="8299"/>
                    <a:pt x="7514" y="8132"/>
                    <a:pt x="7466" y="7977"/>
                  </a:cubicBezTo>
                  <a:cubicBezTo>
                    <a:pt x="7454" y="7930"/>
                    <a:pt x="7442" y="7894"/>
                    <a:pt x="7418" y="7858"/>
                  </a:cubicBezTo>
                  <a:lnTo>
                    <a:pt x="7418" y="7858"/>
                  </a:lnTo>
                  <a:lnTo>
                    <a:pt x="7799" y="7965"/>
                  </a:lnTo>
                  <a:cubicBezTo>
                    <a:pt x="8168" y="8061"/>
                    <a:pt x="8430" y="8418"/>
                    <a:pt x="8430" y="8811"/>
                  </a:cubicBezTo>
                  <a:lnTo>
                    <a:pt x="8430" y="11037"/>
                  </a:lnTo>
                  <a:cubicBezTo>
                    <a:pt x="8430" y="11132"/>
                    <a:pt x="8514" y="11204"/>
                    <a:pt x="8597" y="11204"/>
                  </a:cubicBezTo>
                  <a:cubicBezTo>
                    <a:pt x="8692" y="11204"/>
                    <a:pt x="8764" y="11132"/>
                    <a:pt x="8764" y="11037"/>
                  </a:cubicBezTo>
                  <a:lnTo>
                    <a:pt x="8764" y="8811"/>
                  </a:lnTo>
                  <a:cubicBezTo>
                    <a:pt x="8740" y="8311"/>
                    <a:pt x="8383" y="7846"/>
                    <a:pt x="7871" y="7680"/>
                  </a:cubicBezTo>
                  <a:lnTo>
                    <a:pt x="7216" y="7489"/>
                  </a:lnTo>
                  <a:cubicBezTo>
                    <a:pt x="6775" y="6751"/>
                    <a:pt x="6061" y="6453"/>
                    <a:pt x="5763" y="6358"/>
                  </a:cubicBezTo>
                  <a:lnTo>
                    <a:pt x="5763" y="6060"/>
                  </a:lnTo>
                  <a:cubicBezTo>
                    <a:pt x="5942" y="5941"/>
                    <a:pt x="6097" y="5787"/>
                    <a:pt x="6240" y="5620"/>
                  </a:cubicBezTo>
                  <a:cubicBezTo>
                    <a:pt x="7204" y="5525"/>
                    <a:pt x="7787" y="5072"/>
                    <a:pt x="7811" y="5048"/>
                  </a:cubicBezTo>
                  <a:cubicBezTo>
                    <a:pt x="7871" y="5001"/>
                    <a:pt x="7883" y="4906"/>
                    <a:pt x="7859" y="4834"/>
                  </a:cubicBezTo>
                  <a:cubicBezTo>
                    <a:pt x="7799" y="4727"/>
                    <a:pt x="7716" y="4536"/>
                    <a:pt x="7704" y="4429"/>
                  </a:cubicBezTo>
                  <a:lnTo>
                    <a:pt x="8192" y="3774"/>
                  </a:lnTo>
                  <a:cubicBezTo>
                    <a:pt x="8228" y="3751"/>
                    <a:pt x="8240" y="3691"/>
                    <a:pt x="8228" y="3643"/>
                  </a:cubicBezTo>
                  <a:cubicBezTo>
                    <a:pt x="8216" y="3536"/>
                    <a:pt x="7799" y="1250"/>
                    <a:pt x="6430" y="893"/>
                  </a:cubicBezTo>
                  <a:cubicBezTo>
                    <a:pt x="5906" y="345"/>
                    <a:pt x="5180" y="0"/>
                    <a:pt x="4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3" name="Google Shape;11883;p61"/>
            <p:cNvSpPr/>
            <p:nvPr/>
          </p:nvSpPr>
          <p:spPr>
            <a:xfrm>
              <a:off x="6813503" y="2560195"/>
              <a:ext cx="45271" cy="16157"/>
            </a:xfrm>
            <a:custGeom>
              <a:avLst/>
              <a:gdLst/>
              <a:ahLst/>
              <a:cxnLst/>
              <a:rect l="l" t="t" r="r" b="b"/>
              <a:pathLst>
                <a:path w="1429" h="510" extrusionOk="0">
                  <a:moveTo>
                    <a:pt x="183" y="1"/>
                  </a:moveTo>
                  <a:cubicBezTo>
                    <a:pt x="140" y="1"/>
                    <a:pt x="95" y="16"/>
                    <a:pt x="60" y="46"/>
                  </a:cubicBezTo>
                  <a:cubicBezTo>
                    <a:pt x="0" y="105"/>
                    <a:pt x="0" y="212"/>
                    <a:pt x="60" y="284"/>
                  </a:cubicBezTo>
                  <a:cubicBezTo>
                    <a:pt x="203" y="415"/>
                    <a:pt x="441" y="510"/>
                    <a:pt x="703" y="510"/>
                  </a:cubicBezTo>
                  <a:cubicBezTo>
                    <a:pt x="965" y="510"/>
                    <a:pt x="1203" y="415"/>
                    <a:pt x="1334" y="284"/>
                  </a:cubicBezTo>
                  <a:cubicBezTo>
                    <a:pt x="1429" y="212"/>
                    <a:pt x="1429" y="105"/>
                    <a:pt x="1369" y="46"/>
                  </a:cubicBezTo>
                  <a:cubicBezTo>
                    <a:pt x="1340" y="16"/>
                    <a:pt x="1298" y="1"/>
                    <a:pt x="1255" y="1"/>
                  </a:cubicBezTo>
                  <a:cubicBezTo>
                    <a:pt x="1212" y="1"/>
                    <a:pt x="1167" y="16"/>
                    <a:pt x="1131" y="46"/>
                  </a:cubicBezTo>
                  <a:cubicBezTo>
                    <a:pt x="1072" y="105"/>
                    <a:pt x="917" y="177"/>
                    <a:pt x="715" y="177"/>
                  </a:cubicBezTo>
                  <a:cubicBezTo>
                    <a:pt x="500" y="177"/>
                    <a:pt x="357" y="105"/>
                    <a:pt x="298" y="46"/>
                  </a:cubicBezTo>
                  <a:cubicBezTo>
                    <a:pt x="268" y="16"/>
                    <a:pt x="226"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4" name="Google Shape;11884;p61"/>
            <p:cNvSpPr/>
            <p:nvPr/>
          </p:nvSpPr>
          <p:spPr>
            <a:xfrm>
              <a:off x="6792372" y="2493350"/>
              <a:ext cx="26801" cy="10233"/>
            </a:xfrm>
            <a:custGeom>
              <a:avLst/>
              <a:gdLst/>
              <a:ahLst/>
              <a:cxnLst/>
              <a:rect l="l" t="t" r="r" b="b"/>
              <a:pathLst>
                <a:path w="846" h="323" extrusionOk="0">
                  <a:moveTo>
                    <a:pt x="155" y="1"/>
                  </a:moveTo>
                  <a:cubicBezTo>
                    <a:pt x="72" y="1"/>
                    <a:pt x="0" y="72"/>
                    <a:pt x="0" y="155"/>
                  </a:cubicBezTo>
                  <a:cubicBezTo>
                    <a:pt x="0" y="251"/>
                    <a:pt x="72" y="322"/>
                    <a:pt x="155" y="322"/>
                  </a:cubicBezTo>
                  <a:lnTo>
                    <a:pt x="679" y="322"/>
                  </a:lnTo>
                  <a:cubicBezTo>
                    <a:pt x="762" y="322"/>
                    <a:pt x="846" y="251"/>
                    <a:pt x="846" y="155"/>
                  </a:cubicBezTo>
                  <a:cubicBezTo>
                    <a:pt x="846" y="72"/>
                    <a:pt x="786"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5" name="Google Shape;11885;p61"/>
            <p:cNvSpPr/>
            <p:nvPr/>
          </p:nvSpPr>
          <p:spPr>
            <a:xfrm>
              <a:off x="6853483" y="2493350"/>
              <a:ext cx="26801" cy="10233"/>
            </a:xfrm>
            <a:custGeom>
              <a:avLst/>
              <a:gdLst/>
              <a:ahLst/>
              <a:cxnLst/>
              <a:rect l="l" t="t" r="r" b="b"/>
              <a:pathLst>
                <a:path w="846" h="323" extrusionOk="0">
                  <a:moveTo>
                    <a:pt x="167" y="1"/>
                  </a:moveTo>
                  <a:cubicBezTo>
                    <a:pt x="72" y="1"/>
                    <a:pt x="0" y="72"/>
                    <a:pt x="0" y="155"/>
                  </a:cubicBezTo>
                  <a:cubicBezTo>
                    <a:pt x="0" y="251"/>
                    <a:pt x="72" y="322"/>
                    <a:pt x="167" y="322"/>
                  </a:cubicBezTo>
                  <a:lnTo>
                    <a:pt x="691" y="322"/>
                  </a:lnTo>
                  <a:cubicBezTo>
                    <a:pt x="774" y="322"/>
                    <a:pt x="846" y="251"/>
                    <a:pt x="846" y="155"/>
                  </a:cubicBezTo>
                  <a:cubicBezTo>
                    <a:pt x="846" y="72"/>
                    <a:pt x="786"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86" name="Google Shape;11886;p61"/>
          <p:cNvGrpSpPr/>
          <p:nvPr/>
        </p:nvGrpSpPr>
        <p:grpSpPr>
          <a:xfrm>
            <a:off x="4897750" y="2415639"/>
            <a:ext cx="279513" cy="357255"/>
            <a:chOff x="4897750" y="2415639"/>
            <a:chExt cx="279513" cy="357255"/>
          </a:xfrm>
        </p:grpSpPr>
        <p:sp>
          <p:nvSpPr>
            <p:cNvPr id="11887" name="Google Shape;11887;p61"/>
            <p:cNvSpPr/>
            <p:nvPr/>
          </p:nvSpPr>
          <p:spPr>
            <a:xfrm>
              <a:off x="4964119" y="2715522"/>
              <a:ext cx="10613" cy="55472"/>
            </a:xfrm>
            <a:custGeom>
              <a:avLst/>
              <a:gdLst/>
              <a:ahLst/>
              <a:cxnLst/>
              <a:rect l="l" t="t" r="r" b="b"/>
              <a:pathLst>
                <a:path w="335" h="1751" extrusionOk="0">
                  <a:moveTo>
                    <a:pt x="167" y="0"/>
                  </a:moveTo>
                  <a:cubicBezTo>
                    <a:pt x="84" y="0"/>
                    <a:pt x="1" y="84"/>
                    <a:pt x="1" y="167"/>
                  </a:cubicBezTo>
                  <a:lnTo>
                    <a:pt x="1" y="1584"/>
                  </a:lnTo>
                  <a:cubicBezTo>
                    <a:pt x="1" y="1679"/>
                    <a:pt x="84" y="1751"/>
                    <a:pt x="167" y="1751"/>
                  </a:cubicBezTo>
                  <a:cubicBezTo>
                    <a:pt x="263" y="1751"/>
                    <a:pt x="334" y="1679"/>
                    <a:pt x="334" y="1584"/>
                  </a:cubicBezTo>
                  <a:lnTo>
                    <a:pt x="334" y="167"/>
                  </a:lnTo>
                  <a:cubicBezTo>
                    <a:pt x="334" y="84"/>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8" name="Google Shape;11888;p61"/>
            <p:cNvSpPr/>
            <p:nvPr/>
          </p:nvSpPr>
          <p:spPr>
            <a:xfrm>
              <a:off x="5098031" y="2715522"/>
              <a:ext cx="10581" cy="55472"/>
            </a:xfrm>
            <a:custGeom>
              <a:avLst/>
              <a:gdLst/>
              <a:ahLst/>
              <a:cxnLst/>
              <a:rect l="l" t="t" r="r" b="b"/>
              <a:pathLst>
                <a:path w="334" h="1751" extrusionOk="0">
                  <a:moveTo>
                    <a:pt x="167" y="0"/>
                  </a:moveTo>
                  <a:cubicBezTo>
                    <a:pt x="84" y="0"/>
                    <a:pt x="1" y="84"/>
                    <a:pt x="1" y="167"/>
                  </a:cubicBezTo>
                  <a:lnTo>
                    <a:pt x="1" y="1584"/>
                  </a:lnTo>
                  <a:cubicBezTo>
                    <a:pt x="1" y="1679"/>
                    <a:pt x="84" y="1751"/>
                    <a:pt x="167" y="1751"/>
                  </a:cubicBezTo>
                  <a:cubicBezTo>
                    <a:pt x="251" y="1751"/>
                    <a:pt x="334" y="1679"/>
                    <a:pt x="334" y="1584"/>
                  </a:cubicBez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9" name="Google Shape;11889;p61"/>
            <p:cNvSpPr/>
            <p:nvPr/>
          </p:nvSpPr>
          <p:spPr>
            <a:xfrm>
              <a:off x="4897750" y="2415639"/>
              <a:ext cx="279513" cy="357255"/>
            </a:xfrm>
            <a:custGeom>
              <a:avLst/>
              <a:gdLst/>
              <a:ahLst/>
              <a:cxnLst/>
              <a:rect l="l" t="t" r="r" b="b"/>
              <a:pathLst>
                <a:path w="8823" h="11277" extrusionOk="0">
                  <a:moveTo>
                    <a:pt x="4787" y="299"/>
                  </a:moveTo>
                  <a:cubicBezTo>
                    <a:pt x="5418" y="299"/>
                    <a:pt x="6013" y="584"/>
                    <a:pt x="6430" y="1061"/>
                  </a:cubicBezTo>
                  <a:cubicBezTo>
                    <a:pt x="6834" y="1549"/>
                    <a:pt x="6989" y="2180"/>
                    <a:pt x="6894" y="2799"/>
                  </a:cubicBezTo>
                  <a:lnTo>
                    <a:pt x="6799" y="3311"/>
                  </a:lnTo>
                  <a:lnTo>
                    <a:pt x="6715" y="3311"/>
                  </a:lnTo>
                  <a:cubicBezTo>
                    <a:pt x="6656" y="3311"/>
                    <a:pt x="6608" y="3299"/>
                    <a:pt x="6573" y="3251"/>
                  </a:cubicBezTo>
                  <a:cubicBezTo>
                    <a:pt x="6549" y="3204"/>
                    <a:pt x="6513" y="3156"/>
                    <a:pt x="6537" y="3097"/>
                  </a:cubicBezTo>
                  <a:lnTo>
                    <a:pt x="6561" y="2882"/>
                  </a:lnTo>
                  <a:cubicBezTo>
                    <a:pt x="6596" y="2585"/>
                    <a:pt x="6501" y="2287"/>
                    <a:pt x="6311" y="2061"/>
                  </a:cubicBezTo>
                  <a:cubicBezTo>
                    <a:pt x="6120" y="1834"/>
                    <a:pt x="5834" y="1715"/>
                    <a:pt x="5537" y="1715"/>
                  </a:cubicBezTo>
                  <a:lnTo>
                    <a:pt x="5465" y="1715"/>
                  </a:lnTo>
                  <a:cubicBezTo>
                    <a:pt x="5370" y="1715"/>
                    <a:pt x="5299" y="1787"/>
                    <a:pt x="5299" y="1882"/>
                  </a:cubicBezTo>
                  <a:cubicBezTo>
                    <a:pt x="5299" y="1965"/>
                    <a:pt x="5370" y="2049"/>
                    <a:pt x="5465" y="2049"/>
                  </a:cubicBezTo>
                  <a:lnTo>
                    <a:pt x="5537" y="2049"/>
                  </a:lnTo>
                  <a:cubicBezTo>
                    <a:pt x="5751" y="2049"/>
                    <a:pt x="5942" y="2132"/>
                    <a:pt x="6072" y="2287"/>
                  </a:cubicBezTo>
                  <a:cubicBezTo>
                    <a:pt x="6203" y="2430"/>
                    <a:pt x="6263" y="2644"/>
                    <a:pt x="6251" y="2835"/>
                  </a:cubicBezTo>
                  <a:lnTo>
                    <a:pt x="6215" y="3061"/>
                  </a:lnTo>
                  <a:cubicBezTo>
                    <a:pt x="6203" y="3204"/>
                    <a:pt x="6251" y="3358"/>
                    <a:pt x="6358" y="3466"/>
                  </a:cubicBezTo>
                  <a:cubicBezTo>
                    <a:pt x="6453" y="3561"/>
                    <a:pt x="6596" y="3644"/>
                    <a:pt x="6739" y="3644"/>
                  </a:cubicBezTo>
                  <a:lnTo>
                    <a:pt x="6965" y="3644"/>
                  </a:lnTo>
                  <a:cubicBezTo>
                    <a:pt x="7037" y="3644"/>
                    <a:pt x="7108" y="3668"/>
                    <a:pt x="7168" y="3728"/>
                  </a:cubicBezTo>
                  <a:cubicBezTo>
                    <a:pt x="7239" y="3787"/>
                    <a:pt x="7251" y="3859"/>
                    <a:pt x="7251" y="3942"/>
                  </a:cubicBezTo>
                  <a:cubicBezTo>
                    <a:pt x="7239" y="4073"/>
                    <a:pt x="7096" y="4192"/>
                    <a:pt x="6954" y="4192"/>
                  </a:cubicBezTo>
                  <a:lnTo>
                    <a:pt x="6870" y="4192"/>
                  </a:lnTo>
                  <a:lnTo>
                    <a:pt x="6870" y="4180"/>
                  </a:lnTo>
                  <a:cubicBezTo>
                    <a:pt x="6870" y="4085"/>
                    <a:pt x="6799" y="4013"/>
                    <a:pt x="6715" y="4013"/>
                  </a:cubicBezTo>
                  <a:cubicBezTo>
                    <a:pt x="6620" y="4013"/>
                    <a:pt x="6549" y="4085"/>
                    <a:pt x="6549" y="4180"/>
                  </a:cubicBezTo>
                  <a:cubicBezTo>
                    <a:pt x="6549" y="5347"/>
                    <a:pt x="5596" y="6287"/>
                    <a:pt x="4418" y="6287"/>
                  </a:cubicBezTo>
                  <a:cubicBezTo>
                    <a:pt x="4395" y="6288"/>
                    <a:pt x="4373" y="6288"/>
                    <a:pt x="4351" y="6288"/>
                  </a:cubicBezTo>
                  <a:cubicBezTo>
                    <a:pt x="3169" y="6288"/>
                    <a:pt x="2251" y="5349"/>
                    <a:pt x="2251" y="4192"/>
                  </a:cubicBezTo>
                  <a:cubicBezTo>
                    <a:pt x="2251" y="4097"/>
                    <a:pt x="2179" y="4025"/>
                    <a:pt x="2084" y="4025"/>
                  </a:cubicBezTo>
                  <a:cubicBezTo>
                    <a:pt x="2001" y="4025"/>
                    <a:pt x="1917" y="4097"/>
                    <a:pt x="1917" y="4192"/>
                  </a:cubicBezTo>
                  <a:lnTo>
                    <a:pt x="1917" y="4204"/>
                  </a:lnTo>
                  <a:lnTo>
                    <a:pt x="1822" y="4204"/>
                  </a:lnTo>
                  <a:cubicBezTo>
                    <a:pt x="1739" y="4204"/>
                    <a:pt x="1667" y="4168"/>
                    <a:pt x="1608" y="4109"/>
                  </a:cubicBezTo>
                  <a:cubicBezTo>
                    <a:pt x="1548" y="4061"/>
                    <a:pt x="1536" y="3978"/>
                    <a:pt x="1536" y="3906"/>
                  </a:cubicBezTo>
                  <a:cubicBezTo>
                    <a:pt x="1548" y="3775"/>
                    <a:pt x="1679" y="3656"/>
                    <a:pt x="1834" y="3656"/>
                  </a:cubicBezTo>
                  <a:lnTo>
                    <a:pt x="2024" y="3656"/>
                  </a:lnTo>
                  <a:cubicBezTo>
                    <a:pt x="2179" y="3656"/>
                    <a:pt x="2310" y="3597"/>
                    <a:pt x="2405" y="3478"/>
                  </a:cubicBezTo>
                  <a:cubicBezTo>
                    <a:pt x="2513" y="3370"/>
                    <a:pt x="2560" y="3216"/>
                    <a:pt x="2548" y="3073"/>
                  </a:cubicBezTo>
                  <a:lnTo>
                    <a:pt x="2513" y="2846"/>
                  </a:lnTo>
                  <a:cubicBezTo>
                    <a:pt x="2489" y="2644"/>
                    <a:pt x="2560" y="2442"/>
                    <a:pt x="2691" y="2299"/>
                  </a:cubicBezTo>
                  <a:cubicBezTo>
                    <a:pt x="2834" y="2144"/>
                    <a:pt x="3024" y="2061"/>
                    <a:pt x="3227" y="2061"/>
                  </a:cubicBezTo>
                  <a:lnTo>
                    <a:pt x="4703" y="2061"/>
                  </a:lnTo>
                  <a:cubicBezTo>
                    <a:pt x="4787" y="2061"/>
                    <a:pt x="4870" y="1989"/>
                    <a:pt x="4870" y="1894"/>
                  </a:cubicBezTo>
                  <a:cubicBezTo>
                    <a:pt x="4870" y="1811"/>
                    <a:pt x="4787" y="1727"/>
                    <a:pt x="4703" y="1727"/>
                  </a:cubicBezTo>
                  <a:lnTo>
                    <a:pt x="3227" y="1727"/>
                  </a:lnTo>
                  <a:cubicBezTo>
                    <a:pt x="2929" y="1727"/>
                    <a:pt x="2643" y="1870"/>
                    <a:pt x="2453" y="2073"/>
                  </a:cubicBezTo>
                  <a:cubicBezTo>
                    <a:pt x="2262" y="2299"/>
                    <a:pt x="2155" y="2596"/>
                    <a:pt x="2203" y="2894"/>
                  </a:cubicBezTo>
                  <a:lnTo>
                    <a:pt x="2227" y="3120"/>
                  </a:lnTo>
                  <a:cubicBezTo>
                    <a:pt x="2227" y="3180"/>
                    <a:pt x="2215" y="3216"/>
                    <a:pt x="2191" y="3263"/>
                  </a:cubicBezTo>
                  <a:cubicBezTo>
                    <a:pt x="2155" y="3311"/>
                    <a:pt x="2096" y="3323"/>
                    <a:pt x="2048" y="3323"/>
                  </a:cubicBezTo>
                  <a:lnTo>
                    <a:pt x="1893" y="3323"/>
                  </a:lnTo>
                  <a:lnTo>
                    <a:pt x="1798" y="2763"/>
                  </a:lnTo>
                  <a:cubicBezTo>
                    <a:pt x="1691" y="2144"/>
                    <a:pt x="1881" y="1525"/>
                    <a:pt x="2274" y="1049"/>
                  </a:cubicBezTo>
                  <a:cubicBezTo>
                    <a:pt x="2679" y="572"/>
                    <a:pt x="3275" y="299"/>
                    <a:pt x="3882" y="299"/>
                  </a:cubicBezTo>
                  <a:close/>
                  <a:moveTo>
                    <a:pt x="5453" y="6395"/>
                  </a:moveTo>
                  <a:lnTo>
                    <a:pt x="5453" y="6954"/>
                  </a:lnTo>
                  <a:lnTo>
                    <a:pt x="5453" y="7073"/>
                  </a:lnTo>
                  <a:lnTo>
                    <a:pt x="4370" y="7692"/>
                  </a:lnTo>
                  <a:lnTo>
                    <a:pt x="3298" y="7073"/>
                  </a:lnTo>
                  <a:lnTo>
                    <a:pt x="3298" y="6954"/>
                  </a:lnTo>
                  <a:lnTo>
                    <a:pt x="3298" y="6395"/>
                  </a:lnTo>
                  <a:cubicBezTo>
                    <a:pt x="3632" y="6561"/>
                    <a:pt x="3989" y="6633"/>
                    <a:pt x="4370" y="6633"/>
                  </a:cubicBezTo>
                  <a:cubicBezTo>
                    <a:pt x="4763" y="6633"/>
                    <a:pt x="5120" y="6537"/>
                    <a:pt x="5453" y="6395"/>
                  </a:cubicBezTo>
                  <a:close/>
                  <a:moveTo>
                    <a:pt x="3215" y="7383"/>
                  </a:moveTo>
                  <a:lnTo>
                    <a:pt x="4108" y="7895"/>
                  </a:lnTo>
                  <a:lnTo>
                    <a:pt x="3644" y="8371"/>
                  </a:lnTo>
                  <a:cubicBezTo>
                    <a:pt x="3608" y="8419"/>
                    <a:pt x="3560" y="8431"/>
                    <a:pt x="3513" y="8431"/>
                  </a:cubicBezTo>
                  <a:cubicBezTo>
                    <a:pt x="3453" y="8431"/>
                    <a:pt x="3405" y="8395"/>
                    <a:pt x="3382" y="8359"/>
                  </a:cubicBezTo>
                  <a:lnTo>
                    <a:pt x="2905" y="7788"/>
                  </a:lnTo>
                  <a:lnTo>
                    <a:pt x="3001" y="7680"/>
                  </a:lnTo>
                  <a:cubicBezTo>
                    <a:pt x="3096" y="7597"/>
                    <a:pt x="3155" y="7502"/>
                    <a:pt x="3215" y="7383"/>
                  </a:cubicBezTo>
                  <a:close/>
                  <a:moveTo>
                    <a:pt x="5537" y="7407"/>
                  </a:moveTo>
                  <a:cubicBezTo>
                    <a:pt x="5584" y="7514"/>
                    <a:pt x="5656" y="7609"/>
                    <a:pt x="5751" y="7704"/>
                  </a:cubicBezTo>
                  <a:lnTo>
                    <a:pt x="5846" y="7788"/>
                  </a:lnTo>
                  <a:lnTo>
                    <a:pt x="5370" y="8359"/>
                  </a:lnTo>
                  <a:cubicBezTo>
                    <a:pt x="5346" y="8395"/>
                    <a:pt x="5287" y="8419"/>
                    <a:pt x="5239" y="8431"/>
                  </a:cubicBezTo>
                  <a:cubicBezTo>
                    <a:pt x="5180" y="8431"/>
                    <a:pt x="5132" y="8419"/>
                    <a:pt x="5108" y="8371"/>
                  </a:cubicBezTo>
                  <a:lnTo>
                    <a:pt x="4644" y="7907"/>
                  </a:lnTo>
                  <a:lnTo>
                    <a:pt x="5537" y="7407"/>
                  </a:lnTo>
                  <a:close/>
                  <a:moveTo>
                    <a:pt x="4394" y="8121"/>
                  </a:moveTo>
                  <a:lnTo>
                    <a:pt x="4727" y="8466"/>
                  </a:lnTo>
                  <a:lnTo>
                    <a:pt x="4656" y="8657"/>
                  </a:lnTo>
                  <a:cubicBezTo>
                    <a:pt x="4632" y="8728"/>
                    <a:pt x="4560" y="8788"/>
                    <a:pt x="4477" y="8788"/>
                  </a:cubicBezTo>
                  <a:lnTo>
                    <a:pt x="4287" y="8788"/>
                  </a:lnTo>
                  <a:cubicBezTo>
                    <a:pt x="4215" y="8788"/>
                    <a:pt x="4144" y="8740"/>
                    <a:pt x="4108" y="8657"/>
                  </a:cubicBezTo>
                  <a:lnTo>
                    <a:pt x="4048" y="8466"/>
                  </a:lnTo>
                  <a:lnTo>
                    <a:pt x="4394" y="8121"/>
                  </a:lnTo>
                  <a:close/>
                  <a:moveTo>
                    <a:pt x="3906" y="1"/>
                  </a:moveTo>
                  <a:cubicBezTo>
                    <a:pt x="3191" y="1"/>
                    <a:pt x="2501" y="322"/>
                    <a:pt x="2036" y="870"/>
                  </a:cubicBezTo>
                  <a:cubicBezTo>
                    <a:pt x="1584" y="1418"/>
                    <a:pt x="1370" y="2132"/>
                    <a:pt x="1489" y="2846"/>
                  </a:cubicBezTo>
                  <a:lnTo>
                    <a:pt x="1584" y="3430"/>
                  </a:lnTo>
                  <a:cubicBezTo>
                    <a:pt x="1393" y="3513"/>
                    <a:pt x="1262" y="3692"/>
                    <a:pt x="1250" y="3906"/>
                  </a:cubicBezTo>
                  <a:cubicBezTo>
                    <a:pt x="1239" y="4073"/>
                    <a:pt x="1298" y="4251"/>
                    <a:pt x="1393" y="4370"/>
                  </a:cubicBezTo>
                  <a:cubicBezTo>
                    <a:pt x="1512" y="4490"/>
                    <a:pt x="1679" y="4561"/>
                    <a:pt x="1846" y="4561"/>
                  </a:cubicBezTo>
                  <a:lnTo>
                    <a:pt x="1965" y="4561"/>
                  </a:lnTo>
                  <a:cubicBezTo>
                    <a:pt x="2048" y="5240"/>
                    <a:pt x="2441" y="5859"/>
                    <a:pt x="2989" y="6228"/>
                  </a:cubicBezTo>
                  <a:lnTo>
                    <a:pt x="2989" y="6526"/>
                  </a:lnTo>
                  <a:cubicBezTo>
                    <a:pt x="2703" y="6633"/>
                    <a:pt x="1977" y="6930"/>
                    <a:pt x="1536" y="7657"/>
                  </a:cubicBezTo>
                  <a:lnTo>
                    <a:pt x="881" y="7847"/>
                  </a:lnTo>
                  <a:cubicBezTo>
                    <a:pt x="357" y="8002"/>
                    <a:pt x="0" y="8490"/>
                    <a:pt x="0" y="9026"/>
                  </a:cubicBezTo>
                  <a:lnTo>
                    <a:pt x="0" y="11074"/>
                  </a:lnTo>
                  <a:cubicBezTo>
                    <a:pt x="0" y="11169"/>
                    <a:pt x="72" y="11240"/>
                    <a:pt x="167" y="11240"/>
                  </a:cubicBezTo>
                  <a:cubicBezTo>
                    <a:pt x="250" y="11240"/>
                    <a:pt x="334" y="11169"/>
                    <a:pt x="334" y="11074"/>
                  </a:cubicBezTo>
                  <a:lnTo>
                    <a:pt x="334" y="9026"/>
                  </a:lnTo>
                  <a:cubicBezTo>
                    <a:pt x="334" y="8633"/>
                    <a:pt x="596" y="8276"/>
                    <a:pt x="965" y="8180"/>
                  </a:cubicBezTo>
                  <a:lnTo>
                    <a:pt x="1346" y="8073"/>
                  </a:lnTo>
                  <a:lnTo>
                    <a:pt x="1346" y="8073"/>
                  </a:lnTo>
                  <a:cubicBezTo>
                    <a:pt x="1322" y="8121"/>
                    <a:pt x="1310" y="8145"/>
                    <a:pt x="1298" y="8192"/>
                  </a:cubicBezTo>
                  <a:cubicBezTo>
                    <a:pt x="1250" y="8335"/>
                    <a:pt x="1262" y="8514"/>
                    <a:pt x="1358" y="8657"/>
                  </a:cubicBezTo>
                  <a:lnTo>
                    <a:pt x="1548" y="8931"/>
                  </a:lnTo>
                  <a:lnTo>
                    <a:pt x="1084" y="9395"/>
                  </a:lnTo>
                  <a:cubicBezTo>
                    <a:pt x="953" y="9526"/>
                    <a:pt x="905" y="9704"/>
                    <a:pt x="953" y="9883"/>
                  </a:cubicBezTo>
                  <a:lnTo>
                    <a:pt x="1250" y="11133"/>
                  </a:lnTo>
                  <a:cubicBezTo>
                    <a:pt x="1262" y="11217"/>
                    <a:pt x="1346" y="11252"/>
                    <a:pt x="1417" y="11252"/>
                  </a:cubicBezTo>
                  <a:lnTo>
                    <a:pt x="1465" y="11252"/>
                  </a:lnTo>
                  <a:cubicBezTo>
                    <a:pt x="1548" y="11240"/>
                    <a:pt x="1608" y="11157"/>
                    <a:pt x="1584" y="11062"/>
                  </a:cubicBezTo>
                  <a:lnTo>
                    <a:pt x="1286" y="9812"/>
                  </a:lnTo>
                  <a:cubicBezTo>
                    <a:pt x="1262" y="9752"/>
                    <a:pt x="1286" y="9681"/>
                    <a:pt x="1322" y="9633"/>
                  </a:cubicBezTo>
                  <a:lnTo>
                    <a:pt x="1893" y="9073"/>
                  </a:lnTo>
                  <a:cubicBezTo>
                    <a:pt x="1953" y="9014"/>
                    <a:pt x="1953" y="8919"/>
                    <a:pt x="1905" y="8859"/>
                  </a:cubicBezTo>
                  <a:lnTo>
                    <a:pt x="1631" y="8478"/>
                  </a:lnTo>
                  <a:cubicBezTo>
                    <a:pt x="1608" y="8431"/>
                    <a:pt x="1596" y="8371"/>
                    <a:pt x="1620" y="8311"/>
                  </a:cubicBezTo>
                  <a:cubicBezTo>
                    <a:pt x="1905" y="7442"/>
                    <a:pt x="2655" y="7049"/>
                    <a:pt x="3001" y="6907"/>
                  </a:cubicBezTo>
                  <a:lnTo>
                    <a:pt x="3001" y="7014"/>
                  </a:lnTo>
                  <a:cubicBezTo>
                    <a:pt x="3001" y="7204"/>
                    <a:pt x="2929" y="7383"/>
                    <a:pt x="2798" y="7526"/>
                  </a:cubicBezTo>
                  <a:lnTo>
                    <a:pt x="2584" y="7728"/>
                  </a:lnTo>
                  <a:cubicBezTo>
                    <a:pt x="2286" y="8026"/>
                    <a:pt x="2132" y="8419"/>
                    <a:pt x="2132" y="8847"/>
                  </a:cubicBezTo>
                  <a:lnTo>
                    <a:pt x="2132" y="8990"/>
                  </a:lnTo>
                  <a:cubicBezTo>
                    <a:pt x="2132" y="9085"/>
                    <a:pt x="2203" y="9157"/>
                    <a:pt x="2286" y="9157"/>
                  </a:cubicBezTo>
                  <a:cubicBezTo>
                    <a:pt x="2382" y="9157"/>
                    <a:pt x="2453" y="9085"/>
                    <a:pt x="2453" y="8990"/>
                  </a:cubicBezTo>
                  <a:lnTo>
                    <a:pt x="2453" y="8847"/>
                  </a:lnTo>
                  <a:cubicBezTo>
                    <a:pt x="2453" y="8573"/>
                    <a:pt x="2548" y="8311"/>
                    <a:pt x="2703" y="8097"/>
                  </a:cubicBezTo>
                  <a:lnTo>
                    <a:pt x="3155" y="8633"/>
                  </a:lnTo>
                  <a:cubicBezTo>
                    <a:pt x="3239" y="8740"/>
                    <a:pt x="3382" y="8812"/>
                    <a:pt x="3525" y="8812"/>
                  </a:cubicBezTo>
                  <a:lnTo>
                    <a:pt x="3560" y="8812"/>
                  </a:lnTo>
                  <a:cubicBezTo>
                    <a:pt x="3644" y="8812"/>
                    <a:pt x="3739" y="8788"/>
                    <a:pt x="3810" y="8752"/>
                  </a:cubicBezTo>
                  <a:lnTo>
                    <a:pt x="3822" y="8812"/>
                  </a:lnTo>
                  <a:cubicBezTo>
                    <a:pt x="3858" y="8907"/>
                    <a:pt x="3894" y="8978"/>
                    <a:pt x="3977" y="9038"/>
                  </a:cubicBezTo>
                  <a:lnTo>
                    <a:pt x="3715" y="11097"/>
                  </a:lnTo>
                  <a:cubicBezTo>
                    <a:pt x="3703" y="11181"/>
                    <a:pt x="3775" y="11276"/>
                    <a:pt x="3870" y="11276"/>
                  </a:cubicBezTo>
                  <a:lnTo>
                    <a:pt x="3882" y="11276"/>
                  </a:lnTo>
                  <a:cubicBezTo>
                    <a:pt x="3977" y="11276"/>
                    <a:pt x="4037" y="11217"/>
                    <a:pt x="4048" y="11121"/>
                  </a:cubicBezTo>
                  <a:lnTo>
                    <a:pt x="4287" y="9157"/>
                  </a:lnTo>
                  <a:lnTo>
                    <a:pt x="4537" y="9157"/>
                  </a:lnTo>
                  <a:lnTo>
                    <a:pt x="4775" y="11121"/>
                  </a:lnTo>
                  <a:cubicBezTo>
                    <a:pt x="4787" y="11217"/>
                    <a:pt x="4846" y="11276"/>
                    <a:pt x="4941" y="11276"/>
                  </a:cubicBezTo>
                  <a:lnTo>
                    <a:pt x="4953" y="11276"/>
                  </a:lnTo>
                  <a:cubicBezTo>
                    <a:pt x="5049" y="11252"/>
                    <a:pt x="5108" y="11181"/>
                    <a:pt x="5108" y="11097"/>
                  </a:cubicBezTo>
                  <a:lnTo>
                    <a:pt x="4846" y="9038"/>
                  </a:lnTo>
                  <a:cubicBezTo>
                    <a:pt x="4906" y="8978"/>
                    <a:pt x="4965" y="8907"/>
                    <a:pt x="5001" y="8812"/>
                  </a:cubicBezTo>
                  <a:lnTo>
                    <a:pt x="5013" y="8752"/>
                  </a:lnTo>
                  <a:cubicBezTo>
                    <a:pt x="5084" y="8800"/>
                    <a:pt x="5180" y="8812"/>
                    <a:pt x="5263" y="8812"/>
                  </a:cubicBezTo>
                  <a:lnTo>
                    <a:pt x="5299" y="8812"/>
                  </a:lnTo>
                  <a:cubicBezTo>
                    <a:pt x="5441" y="8812"/>
                    <a:pt x="5584" y="8740"/>
                    <a:pt x="5668" y="8633"/>
                  </a:cubicBezTo>
                  <a:lnTo>
                    <a:pt x="6120" y="8097"/>
                  </a:lnTo>
                  <a:cubicBezTo>
                    <a:pt x="6275" y="8311"/>
                    <a:pt x="6370" y="8573"/>
                    <a:pt x="6370" y="8847"/>
                  </a:cubicBezTo>
                  <a:lnTo>
                    <a:pt x="6370" y="8990"/>
                  </a:lnTo>
                  <a:cubicBezTo>
                    <a:pt x="6370" y="9085"/>
                    <a:pt x="6442" y="9157"/>
                    <a:pt x="6537" y="9157"/>
                  </a:cubicBezTo>
                  <a:cubicBezTo>
                    <a:pt x="6620" y="9157"/>
                    <a:pt x="6692" y="9085"/>
                    <a:pt x="6692" y="8990"/>
                  </a:cubicBezTo>
                  <a:lnTo>
                    <a:pt x="6692" y="8847"/>
                  </a:lnTo>
                  <a:cubicBezTo>
                    <a:pt x="6692" y="8431"/>
                    <a:pt x="6537" y="8026"/>
                    <a:pt x="6239" y="7728"/>
                  </a:cubicBezTo>
                  <a:lnTo>
                    <a:pt x="6025" y="7526"/>
                  </a:lnTo>
                  <a:cubicBezTo>
                    <a:pt x="5894" y="7383"/>
                    <a:pt x="5822" y="7204"/>
                    <a:pt x="5822" y="7014"/>
                  </a:cubicBezTo>
                  <a:lnTo>
                    <a:pt x="5822" y="6907"/>
                  </a:lnTo>
                  <a:cubicBezTo>
                    <a:pt x="6180" y="7061"/>
                    <a:pt x="6918" y="7442"/>
                    <a:pt x="7204" y="8311"/>
                  </a:cubicBezTo>
                  <a:cubicBezTo>
                    <a:pt x="7215" y="8371"/>
                    <a:pt x="7215" y="8431"/>
                    <a:pt x="7192" y="8478"/>
                  </a:cubicBezTo>
                  <a:lnTo>
                    <a:pt x="6918" y="8859"/>
                  </a:lnTo>
                  <a:cubicBezTo>
                    <a:pt x="6870" y="8919"/>
                    <a:pt x="6894" y="9014"/>
                    <a:pt x="6930" y="9073"/>
                  </a:cubicBezTo>
                  <a:lnTo>
                    <a:pt x="7501" y="9633"/>
                  </a:lnTo>
                  <a:cubicBezTo>
                    <a:pt x="7549" y="9681"/>
                    <a:pt x="7561" y="9752"/>
                    <a:pt x="7549" y="9812"/>
                  </a:cubicBezTo>
                  <a:lnTo>
                    <a:pt x="7251" y="11062"/>
                  </a:lnTo>
                  <a:cubicBezTo>
                    <a:pt x="7227" y="11157"/>
                    <a:pt x="7275" y="11240"/>
                    <a:pt x="7370" y="11252"/>
                  </a:cubicBezTo>
                  <a:lnTo>
                    <a:pt x="7406" y="11252"/>
                  </a:lnTo>
                  <a:cubicBezTo>
                    <a:pt x="7489" y="11252"/>
                    <a:pt x="7549" y="11217"/>
                    <a:pt x="7573" y="11133"/>
                  </a:cubicBezTo>
                  <a:lnTo>
                    <a:pt x="7870" y="9883"/>
                  </a:lnTo>
                  <a:cubicBezTo>
                    <a:pt x="7918" y="9704"/>
                    <a:pt x="7858" y="9526"/>
                    <a:pt x="7739" y="9395"/>
                  </a:cubicBezTo>
                  <a:lnTo>
                    <a:pt x="7275" y="8931"/>
                  </a:lnTo>
                  <a:lnTo>
                    <a:pt x="7466" y="8657"/>
                  </a:lnTo>
                  <a:cubicBezTo>
                    <a:pt x="7561" y="8514"/>
                    <a:pt x="7573" y="8359"/>
                    <a:pt x="7525" y="8192"/>
                  </a:cubicBezTo>
                  <a:cubicBezTo>
                    <a:pt x="7513" y="8145"/>
                    <a:pt x="7501" y="8121"/>
                    <a:pt x="7489" y="8073"/>
                  </a:cubicBezTo>
                  <a:lnTo>
                    <a:pt x="7489" y="8073"/>
                  </a:lnTo>
                  <a:lnTo>
                    <a:pt x="7858" y="8180"/>
                  </a:lnTo>
                  <a:cubicBezTo>
                    <a:pt x="8228" y="8276"/>
                    <a:pt x="8501" y="8633"/>
                    <a:pt x="8501" y="9026"/>
                  </a:cubicBezTo>
                  <a:lnTo>
                    <a:pt x="8501" y="11074"/>
                  </a:lnTo>
                  <a:cubicBezTo>
                    <a:pt x="8501" y="11169"/>
                    <a:pt x="8573" y="11240"/>
                    <a:pt x="8656" y="11240"/>
                  </a:cubicBezTo>
                  <a:cubicBezTo>
                    <a:pt x="8751" y="11240"/>
                    <a:pt x="8823" y="11169"/>
                    <a:pt x="8823" y="11074"/>
                  </a:cubicBezTo>
                  <a:lnTo>
                    <a:pt x="8823" y="9026"/>
                  </a:lnTo>
                  <a:cubicBezTo>
                    <a:pt x="8763" y="8466"/>
                    <a:pt x="8406" y="7966"/>
                    <a:pt x="7894" y="7823"/>
                  </a:cubicBezTo>
                  <a:lnTo>
                    <a:pt x="7239" y="7633"/>
                  </a:lnTo>
                  <a:cubicBezTo>
                    <a:pt x="6787" y="6895"/>
                    <a:pt x="6072" y="6597"/>
                    <a:pt x="5775" y="6502"/>
                  </a:cubicBezTo>
                  <a:lnTo>
                    <a:pt x="5775" y="6204"/>
                  </a:lnTo>
                  <a:cubicBezTo>
                    <a:pt x="6323" y="5811"/>
                    <a:pt x="6715" y="5216"/>
                    <a:pt x="6799" y="4537"/>
                  </a:cubicBezTo>
                  <a:lnTo>
                    <a:pt x="6906" y="4537"/>
                  </a:lnTo>
                  <a:cubicBezTo>
                    <a:pt x="7239" y="4537"/>
                    <a:pt x="7501" y="4299"/>
                    <a:pt x="7537" y="4001"/>
                  </a:cubicBezTo>
                  <a:cubicBezTo>
                    <a:pt x="7549" y="3835"/>
                    <a:pt x="7489" y="3656"/>
                    <a:pt x="7382" y="3537"/>
                  </a:cubicBezTo>
                  <a:cubicBezTo>
                    <a:pt x="7311" y="3466"/>
                    <a:pt x="7215" y="3406"/>
                    <a:pt x="7132" y="3370"/>
                  </a:cubicBezTo>
                  <a:lnTo>
                    <a:pt x="7215" y="2894"/>
                  </a:lnTo>
                  <a:cubicBezTo>
                    <a:pt x="7358" y="2180"/>
                    <a:pt x="7156" y="1430"/>
                    <a:pt x="6704" y="882"/>
                  </a:cubicBezTo>
                  <a:cubicBezTo>
                    <a:pt x="6239" y="334"/>
                    <a:pt x="5537" y="1"/>
                    <a:pt x="4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0" name="Google Shape;11890;p61"/>
            <p:cNvSpPr/>
            <p:nvPr/>
          </p:nvSpPr>
          <p:spPr>
            <a:xfrm>
              <a:off x="4997700" y="2526551"/>
              <a:ext cx="10201" cy="16252"/>
            </a:xfrm>
            <a:custGeom>
              <a:avLst/>
              <a:gdLst/>
              <a:ahLst/>
              <a:cxnLst/>
              <a:rect l="l" t="t" r="r" b="b"/>
              <a:pathLst>
                <a:path w="322" h="513" extrusionOk="0">
                  <a:moveTo>
                    <a:pt x="167" y="0"/>
                  </a:moveTo>
                  <a:cubicBezTo>
                    <a:pt x="72" y="0"/>
                    <a:pt x="0" y="84"/>
                    <a:pt x="0" y="167"/>
                  </a:cubicBezTo>
                  <a:lnTo>
                    <a:pt x="0" y="346"/>
                  </a:lnTo>
                  <a:cubicBezTo>
                    <a:pt x="0" y="441"/>
                    <a:pt x="72" y="512"/>
                    <a:pt x="167" y="512"/>
                  </a:cubicBezTo>
                  <a:cubicBezTo>
                    <a:pt x="250" y="512"/>
                    <a:pt x="322" y="441"/>
                    <a:pt x="322" y="346"/>
                  </a:cubicBezTo>
                  <a:lnTo>
                    <a:pt x="322" y="167"/>
                  </a:lnTo>
                  <a:cubicBezTo>
                    <a:pt x="322" y="60"/>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1" name="Google Shape;11891;p61"/>
            <p:cNvSpPr/>
            <p:nvPr/>
          </p:nvSpPr>
          <p:spPr>
            <a:xfrm>
              <a:off x="5064830" y="2526551"/>
              <a:ext cx="10233" cy="16252"/>
            </a:xfrm>
            <a:custGeom>
              <a:avLst/>
              <a:gdLst/>
              <a:ahLst/>
              <a:cxnLst/>
              <a:rect l="l" t="t" r="r" b="b"/>
              <a:pathLst>
                <a:path w="323" h="513" extrusionOk="0">
                  <a:moveTo>
                    <a:pt x="156" y="0"/>
                  </a:moveTo>
                  <a:cubicBezTo>
                    <a:pt x="72" y="0"/>
                    <a:pt x="1" y="84"/>
                    <a:pt x="1" y="167"/>
                  </a:cubicBezTo>
                  <a:lnTo>
                    <a:pt x="1" y="346"/>
                  </a:lnTo>
                  <a:cubicBezTo>
                    <a:pt x="1" y="441"/>
                    <a:pt x="72" y="512"/>
                    <a:pt x="156" y="512"/>
                  </a:cubicBezTo>
                  <a:cubicBezTo>
                    <a:pt x="251" y="512"/>
                    <a:pt x="322" y="441"/>
                    <a:pt x="322" y="346"/>
                  </a:cubicBezTo>
                  <a:lnTo>
                    <a:pt x="322" y="167"/>
                  </a:lnTo>
                  <a:cubicBezTo>
                    <a:pt x="322" y="60"/>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2" name="Google Shape;11892;p61"/>
            <p:cNvSpPr/>
            <p:nvPr/>
          </p:nvSpPr>
          <p:spPr>
            <a:xfrm>
              <a:off x="5013160" y="2565865"/>
              <a:ext cx="46063" cy="16157"/>
            </a:xfrm>
            <a:custGeom>
              <a:avLst/>
              <a:gdLst/>
              <a:ahLst/>
              <a:cxnLst/>
              <a:rect l="l" t="t" r="r" b="b"/>
              <a:pathLst>
                <a:path w="1454" h="510" extrusionOk="0">
                  <a:moveTo>
                    <a:pt x="188" y="1"/>
                  </a:moveTo>
                  <a:cubicBezTo>
                    <a:pt x="146" y="1"/>
                    <a:pt x="102" y="15"/>
                    <a:pt x="60" y="45"/>
                  </a:cubicBezTo>
                  <a:cubicBezTo>
                    <a:pt x="1" y="105"/>
                    <a:pt x="1" y="212"/>
                    <a:pt x="60" y="283"/>
                  </a:cubicBezTo>
                  <a:cubicBezTo>
                    <a:pt x="215" y="414"/>
                    <a:pt x="453" y="510"/>
                    <a:pt x="703" y="510"/>
                  </a:cubicBezTo>
                  <a:cubicBezTo>
                    <a:pt x="977" y="510"/>
                    <a:pt x="1215" y="414"/>
                    <a:pt x="1346" y="283"/>
                  </a:cubicBezTo>
                  <a:cubicBezTo>
                    <a:pt x="1453" y="212"/>
                    <a:pt x="1453" y="105"/>
                    <a:pt x="1370" y="45"/>
                  </a:cubicBezTo>
                  <a:cubicBezTo>
                    <a:pt x="1340" y="15"/>
                    <a:pt x="1301" y="1"/>
                    <a:pt x="1260" y="1"/>
                  </a:cubicBezTo>
                  <a:cubicBezTo>
                    <a:pt x="1218" y="1"/>
                    <a:pt x="1173" y="15"/>
                    <a:pt x="1132" y="45"/>
                  </a:cubicBezTo>
                  <a:cubicBezTo>
                    <a:pt x="1072" y="105"/>
                    <a:pt x="929" y="176"/>
                    <a:pt x="715" y="176"/>
                  </a:cubicBezTo>
                  <a:cubicBezTo>
                    <a:pt x="513" y="176"/>
                    <a:pt x="358" y="105"/>
                    <a:pt x="298" y="45"/>
                  </a:cubicBezTo>
                  <a:cubicBezTo>
                    <a:pt x="268" y="15"/>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3" name="Google Shape;11893;p61"/>
            <p:cNvSpPr/>
            <p:nvPr/>
          </p:nvSpPr>
          <p:spPr>
            <a:xfrm>
              <a:off x="4992030" y="2509570"/>
              <a:ext cx="21923" cy="10581"/>
            </a:xfrm>
            <a:custGeom>
              <a:avLst/>
              <a:gdLst/>
              <a:ahLst/>
              <a:cxnLst/>
              <a:rect l="l" t="t" r="r" b="b"/>
              <a:pathLst>
                <a:path w="692" h="334" extrusionOk="0">
                  <a:moveTo>
                    <a:pt x="168" y="1"/>
                  </a:moveTo>
                  <a:cubicBezTo>
                    <a:pt x="72" y="1"/>
                    <a:pt x="1" y="84"/>
                    <a:pt x="1" y="167"/>
                  </a:cubicBezTo>
                  <a:cubicBezTo>
                    <a:pt x="1" y="262"/>
                    <a:pt x="72" y="334"/>
                    <a:pt x="168" y="334"/>
                  </a:cubicBezTo>
                  <a:lnTo>
                    <a:pt x="525" y="334"/>
                  </a:lnTo>
                  <a:cubicBezTo>
                    <a:pt x="608" y="334"/>
                    <a:pt x="691" y="262"/>
                    <a:pt x="691" y="167"/>
                  </a:cubicBezTo>
                  <a:cubicBezTo>
                    <a:pt x="691" y="84"/>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4" name="Google Shape;11894;p61"/>
            <p:cNvSpPr/>
            <p:nvPr/>
          </p:nvSpPr>
          <p:spPr>
            <a:xfrm>
              <a:off x="5059191" y="2509570"/>
              <a:ext cx="21511" cy="10581"/>
            </a:xfrm>
            <a:custGeom>
              <a:avLst/>
              <a:gdLst/>
              <a:ahLst/>
              <a:cxnLst/>
              <a:rect l="l" t="t" r="r" b="b"/>
              <a:pathLst>
                <a:path w="679" h="334" extrusionOk="0">
                  <a:moveTo>
                    <a:pt x="155" y="1"/>
                  </a:moveTo>
                  <a:cubicBezTo>
                    <a:pt x="72" y="1"/>
                    <a:pt x="0" y="84"/>
                    <a:pt x="0" y="167"/>
                  </a:cubicBezTo>
                  <a:cubicBezTo>
                    <a:pt x="0" y="262"/>
                    <a:pt x="72" y="334"/>
                    <a:pt x="155" y="334"/>
                  </a:cubicBezTo>
                  <a:lnTo>
                    <a:pt x="512" y="334"/>
                  </a:lnTo>
                  <a:cubicBezTo>
                    <a:pt x="607" y="334"/>
                    <a:pt x="679" y="262"/>
                    <a:pt x="679" y="167"/>
                  </a:cubicBezTo>
                  <a:cubicBezTo>
                    <a:pt x="679" y="84"/>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95" name="Google Shape;11895;p61"/>
          <p:cNvGrpSpPr/>
          <p:nvPr/>
        </p:nvGrpSpPr>
        <p:grpSpPr>
          <a:xfrm>
            <a:off x="5812066" y="2416019"/>
            <a:ext cx="264813" cy="353454"/>
            <a:chOff x="5812066" y="2416019"/>
            <a:chExt cx="264813" cy="353454"/>
          </a:xfrm>
        </p:grpSpPr>
        <p:sp>
          <p:nvSpPr>
            <p:cNvPr id="11896" name="Google Shape;11896;p61"/>
            <p:cNvSpPr/>
            <p:nvPr/>
          </p:nvSpPr>
          <p:spPr>
            <a:xfrm>
              <a:off x="5812066" y="2416019"/>
              <a:ext cx="264813" cy="353454"/>
            </a:xfrm>
            <a:custGeom>
              <a:avLst/>
              <a:gdLst/>
              <a:ahLst/>
              <a:cxnLst/>
              <a:rect l="l" t="t" r="r" b="b"/>
              <a:pathLst>
                <a:path w="8359" h="11157" extrusionOk="0">
                  <a:moveTo>
                    <a:pt x="1572" y="346"/>
                  </a:moveTo>
                  <a:cubicBezTo>
                    <a:pt x="1905" y="346"/>
                    <a:pt x="2215" y="501"/>
                    <a:pt x="2405" y="751"/>
                  </a:cubicBezTo>
                  <a:cubicBezTo>
                    <a:pt x="1846" y="1144"/>
                    <a:pt x="1405" y="1715"/>
                    <a:pt x="1203" y="2394"/>
                  </a:cubicBezTo>
                  <a:cubicBezTo>
                    <a:pt x="798" y="2239"/>
                    <a:pt x="524" y="1834"/>
                    <a:pt x="524" y="1406"/>
                  </a:cubicBezTo>
                  <a:cubicBezTo>
                    <a:pt x="524" y="822"/>
                    <a:pt x="1000" y="346"/>
                    <a:pt x="1572" y="346"/>
                  </a:cubicBezTo>
                  <a:close/>
                  <a:moveTo>
                    <a:pt x="6799" y="358"/>
                  </a:moveTo>
                  <a:cubicBezTo>
                    <a:pt x="7382" y="358"/>
                    <a:pt x="7858" y="834"/>
                    <a:pt x="7858" y="1406"/>
                  </a:cubicBezTo>
                  <a:cubicBezTo>
                    <a:pt x="7858" y="1858"/>
                    <a:pt x="7572" y="2239"/>
                    <a:pt x="7168" y="2394"/>
                  </a:cubicBezTo>
                  <a:cubicBezTo>
                    <a:pt x="6965" y="1727"/>
                    <a:pt x="6537" y="1144"/>
                    <a:pt x="5965" y="751"/>
                  </a:cubicBezTo>
                  <a:cubicBezTo>
                    <a:pt x="6167" y="501"/>
                    <a:pt x="6465" y="358"/>
                    <a:pt x="6799" y="358"/>
                  </a:cubicBezTo>
                  <a:close/>
                  <a:moveTo>
                    <a:pt x="4191" y="548"/>
                  </a:moveTo>
                  <a:cubicBezTo>
                    <a:pt x="5739" y="548"/>
                    <a:pt x="6989" y="1799"/>
                    <a:pt x="6989" y="3346"/>
                  </a:cubicBezTo>
                  <a:cubicBezTo>
                    <a:pt x="6989" y="3537"/>
                    <a:pt x="6977" y="3727"/>
                    <a:pt x="6929" y="3930"/>
                  </a:cubicBezTo>
                  <a:cubicBezTo>
                    <a:pt x="6870" y="3894"/>
                    <a:pt x="6799" y="3882"/>
                    <a:pt x="6727" y="3882"/>
                  </a:cubicBezTo>
                  <a:lnTo>
                    <a:pt x="6620" y="3882"/>
                  </a:lnTo>
                  <a:lnTo>
                    <a:pt x="6620" y="3489"/>
                  </a:lnTo>
                  <a:lnTo>
                    <a:pt x="6632" y="3489"/>
                  </a:lnTo>
                  <a:cubicBezTo>
                    <a:pt x="6727" y="3489"/>
                    <a:pt x="6799" y="3418"/>
                    <a:pt x="6799" y="3335"/>
                  </a:cubicBezTo>
                  <a:cubicBezTo>
                    <a:pt x="6799" y="3239"/>
                    <a:pt x="6727" y="3168"/>
                    <a:pt x="6632" y="3168"/>
                  </a:cubicBezTo>
                  <a:cubicBezTo>
                    <a:pt x="5263" y="3168"/>
                    <a:pt x="4286" y="2715"/>
                    <a:pt x="3703" y="2346"/>
                  </a:cubicBezTo>
                  <a:cubicBezTo>
                    <a:pt x="3060" y="1942"/>
                    <a:pt x="2750" y="1525"/>
                    <a:pt x="2738" y="1525"/>
                  </a:cubicBezTo>
                  <a:cubicBezTo>
                    <a:pt x="2705" y="1484"/>
                    <a:pt x="2656" y="1463"/>
                    <a:pt x="2608" y="1463"/>
                  </a:cubicBezTo>
                  <a:cubicBezTo>
                    <a:pt x="2573" y="1463"/>
                    <a:pt x="2538" y="1475"/>
                    <a:pt x="2512" y="1501"/>
                  </a:cubicBezTo>
                  <a:cubicBezTo>
                    <a:pt x="2441" y="1561"/>
                    <a:pt x="2417" y="1668"/>
                    <a:pt x="2477" y="1715"/>
                  </a:cubicBezTo>
                  <a:cubicBezTo>
                    <a:pt x="2500" y="1739"/>
                    <a:pt x="2834" y="2168"/>
                    <a:pt x="3512" y="2596"/>
                  </a:cubicBezTo>
                  <a:cubicBezTo>
                    <a:pt x="4084" y="2965"/>
                    <a:pt x="5024" y="3382"/>
                    <a:pt x="6287" y="3466"/>
                  </a:cubicBezTo>
                  <a:lnTo>
                    <a:pt x="6287" y="4013"/>
                  </a:lnTo>
                  <a:cubicBezTo>
                    <a:pt x="6287" y="4073"/>
                    <a:pt x="6322" y="4120"/>
                    <a:pt x="6370" y="4144"/>
                  </a:cubicBezTo>
                  <a:cubicBezTo>
                    <a:pt x="6406" y="4180"/>
                    <a:pt x="6406" y="4180"/>
                    <a:pt x="6572" y="4180"/>
                  </a:cubicBezTo>
                  <a:lnTo>
                    <a:pt x="6715" y="4180"/>
                  </a:lnTo>
                  <a:cubicBezTo>
                    <a:pt x="6858" y="4180"/>
                    <a:pt x="6977" y="4299"/>
                    <a:pt x="6977" y="4442"/>
                  </a:cubicBezTo>
                  <a:cubicBezTo>
                    <a:pt x="6977" y="4597"/>
                    <a:pt x="6858" y="4716"/>
                    <a:pt x="6715" y="4716"/>
                  </a:cubicBezTo>
                  <a:lnTo>
                    <a:pt x="6608" y="4716"/>
                  </a:lnTo>
                  <a:lnTo>
                    <a:pt x="6608" y="4692"/>
                  </a:lnTo>
                  <a:cubicBezTo>
                    <a:pt x="6608" y="4609"/>
                    <a:pt x="6537" y="4537"/>
                    <a:pt x="6441" y="4537"/>
                  </a:cubicBezTo>
                  <a:cubicBezTo>
                    <a:pt x="6358" y="4537"/>
                    <a:pt x="6275" y="4609"/>
                    <a:pt x="6275" y="4692"/>
                  </a:cubicBezTo>
                  <a:cubicBezTo>
                    <a:pt x="6275" y="5859"/>
                    <a:pt x="5346" y="6799"/>
                    <a:pt x="4179" y="6799"/>
                  </a:cubicBezTo>
                  <a:cubicBezTo>
                    <a:pt x="3024" y="6799"/>
                    <a:pt x="2096" y="5871"/>
                    <a:pt x="2096" y="4716"/>
                  </a:cubicBezTo>
                  <a:cubicBezTo>
                    <a:pt x="2096" y="4620"/>
                    <a:pt x="2024" y="4549"/>
                    <a:pt x="1929" y="4549"/>
                  </a:cubicBezTo>
                  <a:cubicBezTo>
                    <a:pt x="1846" y="4549"/>
                    <a:pt x="1774" y="4620"/>
                    <a:pt x="1774" y="4716"/>
                  </a:cubicBezTo>
                  <a:lnTo>
                    <a:pt x="1774" y="4728"/>
                  </a:lnTo>
                  <a:lnTo>
                    <a:pt x="1667" y="4728"/>
                  </a:lnTo>
                  <a:cubicBezTo>
                    <a:pt x="1512" y="4728"/>
                    <a:pt x="1393" y="4609"/>
                    <a:pt x="1393" y="4466"/>
                  </a:cubicBezTo>
                  <a:cubicBezTo>
                    <a:pt x="1393" y="4311"/>
                    <a:pt x="1512" y="4192"/>
                    <a:pt x="1667" y="4192"/>
                  </a:cubicBezTo>
                  <a:lnTo>
                    <a:pt x="1798" y="4192"/>
                  </a:lnTo>
                  <a:cubicBezTo>
                    <a:pt x="1976" y="4192"/>
                    <a:pt x="1976" y="4192"/>
                    <a:pt x="2012" y="4180"/>
                  </a:cubicBezTo>
                  <a:cubicBezTo>
                    <a:pt x="2072" y="4144"/>
                    <a:pt x="2096" y="4085"/>
                    <a:pt x="2096" y="4025"/>
                  </a:cubicBezTo>
                  <a:lnTo>
                    <a:pt x="2096" y="3847"/>
                  </a:lnTo>
                  <a:cubicBezTo>
                    <a:pt x="2096" y="3335"/>
                    <a:pt x="2262" y="2882"/>
                    <a:pt x="2572" y="2513"/>
                  </a:cubicBezTo>
                  <a:cubicBezTo>
                    <a:pt x="2631" y="2442"/>
                    <a:pt x="2619" y="2334"/>
                    <a:pt x="2560" y="2287"/>
                  </a:cubicBezTo>
                  <a:cubicBezTo>
                    <a:pt x="2528" y="2260"/>
                    <a:pt x="2488" y="2248"/>
                    <a:pt x="2450" y="2248"/>
                  </a:cubicBezTo>
                  <a:cubicBezTo>
                    <a:pt x="2404" y="2248"/>
                    <a:pt x="2360" y="2266"/>
                    <a:pt x="2334" y="2299"/>
                  </a:cubicBezTo>
                  <a:cubicBezTo>
                    <a:pt x="1965" y="2739"/>
                    <a:pt x="1774" y="3251"/>
                    <a:pt x="1774" y="3870"/>
                  </a:cubicBezTo>
                  <a:lnTo>
                    <a:pt x="1774" y="3882"/>
                  </a:lnTo>
                  <a:lnTo>
                    <a:pt x="1667" y="3882"/>
                  </a:lnTo>
                  <a:cubicBezTo>
                    <a:pt x="1595" y="3882"/>
                    <a:pt x="1512" y="3894"/>
                    <a:pt x="1453" y="3930"/>
                  </a:cubicBezTo>
                  <a:cubicBezTo>
                    <a:pt x="1417" y="3727"/>
                    <a:pt x="1393" y="3537"/>
                    <a:pt x="1393" y="3346"/>
                  </a:cubicBezTo>
                  <a:cubicBezTo>
                    <a:pt x="1393" y="1799"/>
                    <a:pt x="2643" y="548"/>
                    <a:pt x="4191" y="548"/>
                  </a:cubicBezTo>
                  <a:close/>
                  <a:moveTo>
                    <a:pt x="5084" y="6990"/>
                  </a:moveTo>
                  <a:lnTo>
                    <a:pt x="5084" y="7537"/>
                  </a:lnTo>
                  <a:cubicBezTo>
                    <a:pt x="5084" y="7895"/>
                    <a:pt x="5310" y="8228"/>
                    <a:pt x="5667" y="8347"/>
                  </a:cubicBezTo>
                  <a:lnTo>
                    <a:pt x="6001" y="8466"/>
                  </a:lnTo>
                  <a:lnTo>
                    <a:pt x="5620" y="8811"/>
                  </a:lnTo>
                  <a:cubicBezTo>
                    <a:pt x="5489" y="8942"/>
                    <a:pt x="5429" y="9109"/>
                    <a:pt x="5429" y="9300"/>
                  </a:cubicBezTo>
                  <a:lnTo>
                    <a:pt x="5429" y="9359"/>
                  </a:lnTo>
                  <a:cubicBezTo>
                    <a:pt x="5060" y="9514"/>
                    <a:pt x="4643" y="9621"/>
                    <a:pt x="4191" y="9621"/>
                  </a:cubicBezTo>
                  <a:cubicBezTo>
                    <a:pt x="3762" y="9621"/>
                    <a:pt x="3334" y="9538"/>
                    <a:pt x="2965" y="9359"/>
                  </a:cubicBezTo>
                  <a:lnTo>
                    <a:pt x="2965" y="9300"/>
                  </a:lnTo>
                  <a:cubicBezTo>
                    <a:pt x="2965" y="9121"/>
                    <a:pt x="2881" y="8942"/>
                    <a:pt x="2762" y="8811"/>
                  </a:cubicBezTo>
                  <a:lnTo>
                    <a:pt x="2429" y="8466"/>
                  </a:lnTo>
                  <a:lnTo>
                    <a:pt x="2750" y="8347"/>
                  </a:lnTo>
                  <a:cubicBezTo>
                    <a:pt x="3096" y="8228"/>
                    <a:pt x="3334" y="7895"/>
                    <a:pt x="3334" y="7537"/>
                  </a:cubicBezTo>
                  <a:lnTo>
                    <a:pt x="3334" y="6990"/>
                  </a:lnTo>
                  <a:cubicBezTo>
                    <a:pt x="3596" y="7097"/>
                    <a:pt x="3893" y="7156"/>
                    <a:pt x="4215" y="7156"/>
                  </a:cubicBezTo>
                  <a:cubicBezTo>
                    <a:pt x="4524" y="7156"/>
                    <a:pt x="4822" y="7097"/>
                    <a:pt x="5084" y="6990"/>
                  </a:cubicBezTo>
                  <a:close/>
                  <a:moveTo>
                    <a:pt x="1560" y="1"/>
                  </a:moveTo>
                  <a:cubicBezTo>
                    <a:pt x="798" y="1"/>
                    <a:pt x="179" y="620"/>
                    <a:pt x="179" y="1382"/>
                  </a:cubicBezTo>
                  <a:cubicBezTo>
                    <a:pt x="179" y="1977"/>
                    <a:pt x="548" y="2501"/>
                    <a:pt x="1119" y="2692"/>
                  </a:cubicBezTo>
                  <a:cubicBezTo>
                    <a:pt x="1072" y="2882"/>
                    <a:pt x="1060" y="3096"/>
                    <a:pt x="1060" y="3299"/>
                  </a:cubicBezTo>
                  <a:cubicBezTo>
                    <a:pt x="1060" y="3573"/>
                    <a:pt x="1084" y="3835"/>
                    <a:pt x="1155" y="4108"/>
                  </a:cubicBezTo>
                  <a:cubicBezTo>
                    <a:pt x="1095" y="4192"/>
                    <a:pt x="1060" y="4311"/>
                    <a:pt x="1060" y="4442"/>
                  </a:cubicBezTo>
                  <a:cubicBezTo>
                    <a:pt x="1060" y="4775"/>
                    <a:pt x="1322" y="5037"/>
                    <a:pt x="1655" y="5037"/>
                  </a:cubicBezTo>
                  <a:lnTo>
                    <a:pt x="1774" y="5037"/>
                  </a:lnTo>
                  <a:cubicBezTo>
                    <a:pt x="1869" y="5799"/>
                    <a:pt x="2334" y="6442"/>
                    <a:pt x="2965" y="6811"/>
                  </a:cubicBezTo>
                  <a:lnTo>
                    <a:pt x="2965" y="7526"/>
                  </a:lnTo>
                  <a:cubicBezTo>
                    <a:pt x="2965" y="7752"/>
                    <a:pt x="2810" y="7954"/>
                    <a:pt x="2596" y="8038"/>
                  </a:cubicBezTo>
                  <a:lnTo>
                    <a:pt x="798" y="8669"/>
                  </a:lnTo>
                  <a:cubicBezTo>
                    <a:pt x="322" y="8835"/>
                    <a:pt x="0" y="9300"/>
                    <a:pt x="0" y="9823"/>
                  </a:cubicBezTo>
                  <a:lnTo>
                    <a:pt x="0" y="10990"/>
                  </a:lnTo>
                  <a:cubicBezTo>
                    <a:pt x="0" y="11085"/>
                    <a:pt x="71" y="11157"/>
                    <a:pt x="155" y="11157"/>
                  </a:cubicBezTo>
                  <a:cubicBezTo>
                    <a:pt x="250" y="11157"/>
                    <a:pt x="322" y="11085"/>
                    <a:pt x="322" y="10990"/>
                  </a:cubicBezTo>
                  <a:lnTo>
                    <a:pt x="322" y="9823"/>
                  </a:lnTo>
                  <a:cubicBezTo>
                    <a:pt x="322" y="9442"/>
                    <a:pt x="560" y="9109"/>
                    <a:pt x="917" y="8990"/>
                  </a:cubicBezTo>
                  <a:lnTo>
                    <a:pt x="2048" y="8585"/>
                  </a:lnTo>
                  <a:lnTo>
                    <a:pt x="2512" y="9050"/>
                  </a:lnTo>
                  <a:cubicBezTo>
                    <a:pt x="2584" y="9121"/>
                    <a:pt x="2619" y="9204"/>
                    <a:pt x="2619" y="9300"/>
                  </a:cubicBezTo>
                  <a:lnTo>
                    <a:pt x="2619" y="10990"/>
                  </a:lnTo>
                  <a:cubicBezTo>
                    <a:pt x="2619" y="11085"/>
                    <a:pt x="2691" y="11157"/>
                    <a:pt x="2774" y="11157"/>
                  </a:cubicBezTo>
                  <a:cubicBezTo>
                    <a:pt x="2869" y="11157"/>
                    <a:pt x="2941" y="11085"/>
                    <a:pt x="2941" y="10990"/>
                  </a:cubicBezTo>
                  <a:lnTo>
                    <a:pt x="2941" y="9704"/>
                  </a:lnTo>
                  <a:cubicBezTo>
                    <a:pt x="3334" y="9847"/>
                    <a:pt x="3751" y="9943"/>
                    <a:pt x="4179" y="9943"/>
                  </a:cubicBezTo>
                  <a:cubicBezTo>
                    <a:pt x="4608" y="9943"/>
                    <a:pt x="5024" y="9859"/>
                    <a:pt x="5417" y="9704"/>
                  </a:cubicBezTo>
                  <a:lnTo>
                    <a:pt x="5417" y="9776"/>
                  </a:lnTo>
                  <a:cubicBezTo>
                    <a:pt x="5417" y="9859"/>
                    <a:pt x="5489" y="9943"/>
                    <a:pt x="5572" y="9943"/>
                  </a:cubicBezTo>
                  <a:cubicBezTo>
                    <a:pt x="5667" y="9943"/>
                    <a:pt x="5739" y="9859"/>
                    <a:pt x="5739" y="9776"/>
                  </a:cubicBezTo>
                  <a:lnTo>
                    <a:pt x="5739" y="9300"/>
                  </a:lnTo>
                  <a:cubicBezTo>
                    <a:pt x="5739" y="9204"/>
                    <a:pt x="5786" y="9109"/>
                    <a:pt x="5846" y="9038"/>
                  </a:cubicBezTo>
                  <a:lnTo>
                    <a:pt x="6310" y="8585"/>
                  </a:lnTo>
                  <a:lnTo>
                    <a:pt x="7441" y="8978"/>
                  </a:lnTo>
                  <a:cubicBezTo>
                    <a:pt x="7799" y="9097"/>
                    <a:pt x="8037" y="9442"/>
                    <a:pt x="8037" y="9812"/>
                  </a:cubicBezTo>
                  <a:lnTo>
                    <a:pt x="8037" y="10990"/>
                  </a:lnTo>
                  <a:cubicBezTo>
                    <a:pt x="8037" y="11085"/>
                    <a:pt x="8108" y="11157"/>
                    <a:pt x="8192" y="11157"/>
                  </a:cubicBezTo>
                  <a:cubicBezTo>
                    <a:pt x="8287" y="11157"/>
                    <a:pt x="8358" y="11085"/>
                    <a:pt x="8358" y="10990"/>
                  </a:cubicBezTo>
                  <a:lnTo>
                    <a:pt x="8358" y="9812"/>
                  </a:lnTo>
                  <a:cubicBezTo>
                    <a:pt x="8358" y="9300"/>
                    <a:pt x="8037" y="8835"/>
                    <a:pt x="7561" y="8669"/>
                  </a:cubicBezTo>
                  <a:lnTo>
                    <a:pt x="5763" y="8038"/>
                  </a:lnTo>
                  <a:cubicBezTo>
                    <a:pt x="5548" y="7954"/>
                    <a:pt x="5405" y="7752"/>
                    <a:pt x="5405" y="7526"/>
                  </a:cubicBezTo>
                  <a:lnTo>
                    <a:pt x="5405" y="6811"/>
                  </a:lnTo>
                  <a:cubicBezTo>
                    <a:pt x="6037" y="6442"/>
                    <a:pt x="6489" y="5799"/>
                    <a:pt x="6596" y="5037"/>
                  </a:cubicBezTo>
                  <a:lnTo>
                    <a:pt x="6715" y="5037"/>
                  </a:lnTo>
                  <a:cubicBezTo>
                    <a:pt x="7037" y="5037"/>
                    <a:pt x="7310" y="4775"/>
                    <a:pt x="7310" y="4442"/>
                  </a:cubicBezTo>
                  <a:cubicBezTo>
                    <a:pt x="7310" y="4323"/>
                    <a:pt x="7263" y="4204"/>
                    <a:pt x="7203" y="4108"/>
                  </a:cubicBezTo>
                  <a:cubicBezTo>
                    <a:pt x="7275" y="3847"/>
                    <a:pt x="7310" y="3585"/>
                    <a:pt x="7310" y="3299"/>
                  </a:cubicBezTo>
                  <a:cubicBezTo>
                    <a:pt x="7310" y="3096"/>
                    <a:pt x="7287" y="2882"/>
                    <a:pt x="7251" y="2692"/>
                  </a:cubicBezTo>
                  <a:cubicBezTo>
                    <a:pt x="7799" y="2501"/>
                    <a:pt x="8180" y="1977"/>
                    <a:pt x="8180" y="1382"/>
                  </a:cubicBezTo>
                  <a:cubicBezTo>
                    <a:pt x="8180" y="620"/>
                    <a:pt x="7561" y="1"/>
                    <a:pt x="6799" y="1"/>
                  </a:cubicBezTo>
                  <a:cubicBezTo>
                    <a:pt x="6358" y="1"/>
                    <a:pt x="5953" y="203"/>
                    <a:pt x="5679" y="560"/>
                  </a:cubicBezTo>
                  <a:cubicBezTo>
                    <a:pt x="5239" y="310"/>
                    <a:pt x="4727" y="179"/>
                    <a:pt x="4179" y="179"/>
                  </a:cubicBezTo>
                  <a:cubicBezTo>
                    <a:pt x="3631" y="179"/>
                    <a:pt x="3119" y="310"/>
                    <a:pt x="2679" y="560"/>
                  </a:cubicBezTo>
                  <a:cubicBezTo>
                    <a:pt x="2429" y="203"/>
                    <a:pt x="2012"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7" name="Google Shape;11897;p61"/>
            <p:cNvSpPr/>
            <p:nvPr/>
          </p:nvSpPr>
          <p:spPr>
            <a:xfrm>
              <a:off x="5923707" y="2588136"/>
              <a:ext cx="43402" cy="15396"/>
            </a:xfrm>
            <a:custGeom>
              <a:avLst/>
              <a:gdLst/>
              <a:ahLst/>
              <a:cxnLst/>
              <a:rect l="l" t="t" r="r" b="b"/>
              <a:pathLst>
                <a:path w="1370" h="486" extrusionOk="0">
                  <a:moveTo>
                    <a:pt x="173" y="0"/>
                  </a:moveTo>
                  <a:cubicBezTo>
                    <a:pt x="131" y="0"/>
                    <a:pt x="90" y="15"/>
                    <a:pt x="60" y="45"/>
                  </a:cubicBezTo>
                  <a:cubicBezTo>
                    <a:pt x="0" y="104"/>
                    <a:pt x="0" y="199"/>
                    <a:pt x="60" y="259"/>
                  </a:cubicBezTo>
                  <a:cubicBezTo>
                    <a:pt x="191" y="402"/>
                    <a:pt x="429" y="485"/>
                    <a:pt x="703" y="485"/>
                  </a:cubicBezTo>
                  <a:cubicBezTo>
                    <a:pt x="953" y="485"/>
                    <a:pt x="1191" y="402"/>
                    <a:pt x="1334" y="259"/>
                  </a:cubicBezTo>
                  <a:cubicBezTo>
                    <a:pt x="1370" y="199"/>
                    <a:pt x="1370" y="104"/>
                    <a:pt x="1310" y="45"/>
                  </a:cubicBezTo>
                  <a:cubicBezTo>
                    <a:pt x="1280" y="15"/>
                    <a:pt x="1239" y="0"/>
                    <a:pt x="1197" y="0"/>
                  </a:cubicBezTo>
                  <a:cubicBezTo>
                    <a:pt x="1155" y="0"/>
                    <a:pt x="1114" y="15"/>
                    <a:pt x="1084" y="45"/>
                  </a:cubicBezTo>
                  <a:cubicBezTo>
                    <a:pt x="1024" y="104"/>
                    <a:pt x="881" y="176"/>
                    <a:pt x="679" y="176"/>
                  </a:cubicBezTo>
                  <a:cubicBezTo>
                    <a:pt x="488" y="176"/>
                    <a:pt x="346" y="104"/>
                    <a:pt x="286" y="45"/>
                  </a:cubicBez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8" name="Google Shape;11898;p61"/>
            <p:cNvSpPr/>
            <p:nvPr/>
          </p:nvSpPr>
          <p:spPr>
            <a:xfrm>
              <a:off x="5983677" y="2742291"/>
              <a:ext cx="10201" cy="26833"/>
            </a:xfrm>
            <a:custGeom>
              <a:avLst/>
              <a:gdLst/>
              <a:ahLst/>
              <a:cxnLst/>
              <a:rect l="l" t="t" r="r" b="b"/>
              <a:pathLst>
                <a:path w="322" h="847" extrusionOk="0">
                  <a:moveTo>
                    <a:pt x="155" y="1"/>
                  </a:moveTo>
                  <a:cubicBezTo>
                    <a:pt x="72" y="1"/>
                    <a:pt x="0" y="72"/>
                    <a:pt x="0" y="155"/>
                  </a:cubicBezTo>
                  <a:lnTo>
                    <a:pt x="0" y="679"/>
                  </a:lnTo>
                  <a:cubicBezTo>
                    <a:pt x="0" y="775"/>
                    <a:pt x="72" y="846"/>
                    <a:pt x="155" y="846"/>
                  </a:cubicBezTo>
                  <a:cubicBezTo>
                    <a:pt x="250" y="846"/>
                    <a:pt x="322" y="775"/>
                    <a:pt x="322" y="679"/>
                  </a:cubicBezTo>
                  <a:lnTo>
                    <a:pt x="322" y="155"/>
                  </a:lnTo>
                  <a:cubicBezTo>
                    <a:pt x="322" y="72"/>
                    <a:pt x="262"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9" name="Google Shape;11899;p61"/>
            <p:cNvSpPr/>
            <p:nvPr/>
          </p:nvSpPr>
          <p:spPr>
            <a:xfrm>
              <a:off x="5906726" y="2543531"/>
              <a:ext cx="10581" cy="16252"/>
            </a:xfrm>
            <a:custGeom>
              <a:avLst/>
              <a:gdLst/>
              <a:ahLst/>
              <a:cxnLst/>
              <a:rect l="l" t="t" r="r" b="b"/>
              <a:pathLst>
                <a:path w="334" h="513" extrusionOk="0">
                  <a:moveTo>
                    <a:pt x="167" y="0"/>
                  </a:moveTo>
                  <a:cubicBezTo>
                    <a:pt x="72" y="0"/>
                    <a:pt x="1" y="72"/>
                    <a:pt x="1" y="167"/>
                  </a:cubicBezTo>
                  <a:lnTo>
                    <a:pt x="1" y="345"/>
                  </a:lnTo>
                  <a:cubicBezTo>
                    <a:pt x="1" y="441"/>
                    <a:pt x="72" y="512"/>
                    <a:pt x="167" y="512"/>
                  </a:cubicBezTo>
                  <a:cubicBezTo>
                    <a:pt x="251" y="512"/>
                    <a:pt x="322" y="441"/>
                    <a:pt x="322" y="345"/>
                  </a:cubicBezTo>
                  <a:lnTo>
                    <a:pt x="322"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0" name="Google Shape;11900;p61"/>
            <p:cNvSpPr/>
            <p:nvPr/>
          </p:nvSpPr>
          <p:spPr>
            <a:xfrm>
              <a:off x="5972747" y="2543531"/>
              <a:ext cx="10581" cy="16252"/>
            </a:xfrm>
            <a:custGeom>
              <a:avLst/>
              <a:gdLst/>
              <a:ahLst/>
              <a:cxnLst/>
              <a:rect l="l" t="t" r="r" b="b"/>
              <a:pathLst>
                <a:path w="334" h="513" extrusionOk="0">
                  <a:moveTo>
                    <a:pt x="167" y="0"/>
                  </a:moveTo>
                  <a:cubicBezTo>
                    <a:pt x="72" y="0"/>
                    <a:pt x="0" y="72"/>
                    <a:pt x="0" y="167"/>
                  </a:cubicBezTo>
                  <a:lnTo>
                    <a:pt x="0" y="345"/>
                  </a:lnTo>
                  <a:cubicBezTo>
                    <a:pt x="0" y="441"/>
                    <a:pt x="72" y="512"/>
                    <a:pt x="167" y="512"/>
                  </a:cubicBezTo>
                  <a:cubicBezTo>
                    <a:pt x="250" y="512"/>
                    <a:pt x="322" y="441"/>
                    <a:pt x="322" y="345"/>
                  </a:cubicBezTo>
                  <a:lnTo>
                    <a:pt x="322"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1" name="Google Shape;11901;p61"/>
            <p:cNvSpPr/>
            <p:nvPr/>
          </p:nvSpPr>
          <p:spPr>
            <a:xfrm>
              <a:off x="5901055" y="2526931"/>
              <a:ext cx="16252" cy="10581"/>
            </a:xfrm>
            <a:custGeom>
              <a:avLst/>
              <a:gdLst/>
              <a:ahLst/>
              <a:cxnLst/>
              <a:rect l="l" t="t" r="r" b="b"/>
              <a:pathLst>
                <a:path w="513" h="334" extrusionOk="0">
                  <a:moveTo>
                    <a:pt x="168" y="0"/>
                  </a:moveTo>
                  <a:cubicBezTo>
                    <a:pt x="72" y="0"/>
                    <a:pt x="1" y="84"/>
                    <a:pt x="1" y="167"/>
                  </a:cubicBezTo>
                  <a:cubicBezTo>
                    <a:pt x="1" y="262"/>
                    <a:pt x="72" y="334"/>
                    <a:pt x="168" y="334"/>
                  </a:cubicBezTo>
                  <a:lnTo>
                    <a:pt x="346" y="334"/>
                  </a:lnTo>
                  <a:cubicBezTo>
                    <a:pt x="430" y="334"/>
                    <a:pt x="501" y="262"/>
                    <a:pt x="501" y="167"/>
                  </a:cubicBezTo>
                  <a:cubicBezTo>
                    <a:pt x="513" y="84"/>
                    <a:pt x="430"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2" name="Google Shape;11902;p61"/>
            <p:cNvSpPr/>
            <p:nvPr/>
          </p:nvSpPr>
          <p:spPr>
            <a:xfrm>
              <a:off x="5972367" y="2526899"/>
              <a:ext cx="16220" cy="10613"/>
            </a:xfrm>
            <a:custGeom>
              <a:avLst/>
              <a:gdLst/>
              <a:ahLst/>
              <a:cxnLst/>
              <a:rect l="l" t="t" r="r" b="b"/>
              <a:pathLst>
                <a:path w="512" h="335" extrusionOk="0">
                  <a:moveTo>
                    <a:pt x="364" y="0"/>
                  </a:moveTo>
                  <a:cubicBezTo>
                    <a:pt x="358" y="0"/>
                    <a:pt x="352" y="0"/>
                    <a:pt x="345" y="1"/>
                  </a:cubicBezTo>
                  <a:lnTo>
                    <a:pt x="167" y="1"/>
                  </a:lnTo>
                  <a:cubicBezTo>
                    <a:pt x="72" y="1"/>
                    <a:pt x="0" y="85"/>
                    <a:pt x="0" y="168"/>
                  </a:cubicBezTo>
                  <a:cubicBezTo>
                    <a:pt x="0" y="263"/>
                    <a:pt x="72" y="335"/>
                    <a:pt x="167" y="335"/>
                  </a:cubicBezTo>
                  <a:lnTo>
                    <a:pt x="345" y="335"/>
                  </a:lnTo>
                  <a:cubicBezTo>
                    <a:pt x="429" y="335"/>
                    <a:pt x="500" y="263"/>
                    <a:pt x="500" y="168"/>
                  </a:cubicBezTo>
                  <a:cubicBezTo>
                    <a:pt x="511" y="79"/>
                    <a:pt x="450" y="0"/>
                    <a:pt x="3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03" name="Google Shape;11903;p61"/>
          <p:cNvGrpSpPr/>
          <p:nvPr/>
        </p:nvGrpSpPr>
        <p:grpSpPr>
          <a:xfrm>
            <a:off x="8054820" y="2416399"/>
            <a:ext cx="264433" cy="353454"/>
            <a:chOff x="8054820" y="2416399"/>
            <a:chExt cx="264433" cy="353454"/>
          </a:xfrm>
        </p:grpSpPr>
        <p:sp>
          <p:nvSpPr>
            <p:cNvPr id="11904" name="Google Shape;11904;p61"/>
            <p:cNvSpPr/>
            <p:nvPr/>
          </p:nvSpPr>
          <p:spPr>
            <a:xfrm>
              <a:off x="8148371" y="2538621"/>
              <a:ext cx="10201" cy="15872"/>
            </a:xfrm>
            <a:custGeom>
              <a:avLst/>
              <a:gdLst/>
              <a:ahLst/>
              <a:cxnLst/>
              <a:rect l="l" t="t" r="r" b="b"/>
              <a:pathLst>
                <a:path w="322" h="501" extrusionOk="0">
                  <a:moveTo>
                    <a:pt x="155" y="0"/>
                  </a:moveTo>
                  <a:cubicBezTo>
                    <a:pt x="72" y="0"/>
                    <a:pt x="0" y="72"/>
                    <a:pt x="0" y="155"/>
                  </a:cubicBezTo>
                  <a:lnTo>
                    <a:pt x="0" y="334"/>
                  </a:lnTo>
                  <a:cubicBezTo>
                    <a:pt x="0" y="429"/>
                    <a:pt x="72" y="500"/>
                    <a:pt x="155" y="500"/>
                  </a:cubicBezTo>
                  <a:cubicBezTo>
                    <a:pt x="250" y="500"/>
                    <a:pt x="322" y="429"/>
                    <a:pt x="322" y="334"/>
                  </a:cubicBezTo>
                  <a:lnTo>
                    <a:pt x="322" y="155"/>
                  </a:lnTo>
                  <a:cubicBezTo>
                    <a:pt x="310"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5" name="Google Shape;11905;p61"/>
            <p:cNvSpPr/>
            <p:nvPr/>
          </p:nvSpPr>
          <p:spPr>
            <a:xfrm>
              <a:off x="8214361" y="2538621"/>
              <a:ext cx="10233" cy="15872"/>
            </a:xfrm>
            <a:custGeom>
              <a:avLst/>
              <a:gdLst/>
              <a:ahLst/>
              <a:cxnLst/>
              <a:rect l="l" t="t" r="r" b="b"/>
              <a:pathLst>
                <a:path w="323" h="501" extrusionOk="0">
                  <a:moveTo>
                    <a:pt x="156" y="0"/>
                  </a:moveTo>
                  <a:cubicBezTo>
                    <a:pt x="72" y="0"/>
                    <a:pt x="1" y="72"/>
                    <a:pt x="1" y="155"/>
                  </a:cubicBezTo>
                  <a:lnTo>
                    <a:pt x="1" y="334"/>
                  </a:lnTo>
                  <a:cubicBezTo>
                    <a:pt x="1" y="429"/>
                    <a:pt x="72" y="500"/>
                    <a:pt x="156" y="500"/>
                  </a:cubicBezTo>
                  <a:cubicBezTo>
                    <a:pt x="251" y="500"/>
                    <a:pt x="322" y="429"/>
                    <a:pt x="322" y="334"/>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6" name="Google Shape;11906;p61"/>
            <p:cNvSpPr/>
            <p:nvPr/>
          </p:nvSpPr>
          <p:spPr>
            <a:xfrm>
              <a:off x="8054820" y="2416399"/>
              <a:ext cx="264433" cy="353454"/>
            </a:xfrm>
            <a:custGeom>
              <a:avLst/>
              <a:gdLst/>
              <a:ahLst/>
              <a:cxnLst/>
              <a:rect l="l" t="t" r="r" b="b"/>
              <a:pathLst>
                <a:path w="8347" h="11157" extrusionOk="0">
                  <a:moveTo>
                    <a:pt x="1703" y="5025"/>
                  </a:moveTo>
                  <a:cubicBezTo>
                    <a:pt x="1787" y="5204"/>
                    <a:pt x="1882" y="5418"/>
                    <a:pt x="1882" y="5573"/>
                  </a:cubicBezTo>
                  <a:cubicBezTo>
                    <a:pt x="1882" y="5680"/>
                    <a:pt x="1787" y="5763"/>
                    <a:pt x="1703" y="5763"/>
                  </a:cubicBezTo>
                  <a:cubicBezTo>
                    <a:pt x="1608" y="5763"/>
                    <a:pt x="1525" y="5668"/>
                    <a:pt x="1525" y="5573"/>
                  </a:cubicBezTo>
                  <a:cubicBezTo>
                    <a:pt x="1525" y="5430"/>
                    <a:pt x="1608" y="5204"/>
                    <a:pt x="1703" y="5025"/>
                  </a:cubicBezTo>
                  <a:close/>
                  <a:moveTo>
                    <a:pt x="6585" y="5025"/>
                  </a:moveTo>
                  <a:cubicBezTo>
                    <a:pt x="6668" y="5204"/>
                    <a:pt x="6763" y="5418"/>
                    <a:pt x="6763" y="5573"/>
                  </a:cubicBezTo>
                  <a:cubicBezTo>
                    <a:pt x="6763" y="5680"/>
                    <a:pt x="6668" y="5763"/>
                    <a:pt x="6585" y="5763"/>
                  </a:cubicBezTo>
                  <a:cubicBezTo>
                    <a:pt x="6490" y="5763"/>
                    <a:pt x="6406" y="5668"/>
                    <a:pt x="6406" y="5573"/>
                  </a:cubicBezTo>
                  <a:cubicBezTo>
                    <a:pt x="6406" y="5430"/>
                    <a:pt x="6490" y="5204"/>
                    <a:pt x="6585" y="5025"/>
                  </a:cubicBezTo>
                  <a:close/>
                  <a:moveTo>
                    <a:pt x="4144" y="322"/>
                  </a:moveTo>
                  <a:cubicBezTo>
                    <a:pt x="6073" y="322"/>
                    <a:pt x="7633" y="1894"/>
                    <a:pt x="7633" y="3823"/>
                  </a:cubicBezTo>
                  <a:cubicBezTo>
                    <a:pt x="7633" y="5847"/>
                    <a:pt x="6478" y="7752"/>
                    <a:pt x="6299" y="8049"/>
                  </a:cubicBezTo>
                  <a:lnTo>
                    <a:pt x="5716" y="7847"/>
                  </a:lnTo>
                  <a:cubicBezTo>
                    <a:pt x="5513" y="7764"/>
                    <a:pt x="5358" y="7561"/>
                    <a:pt x="5358" y="7335"/>
                  </a:cubicBezTo>
                  <a:lnTo>
                    <a:pt x="5358" y="6621"/>
                  </a:lnTo>
                  <a:cubicBezTo>
                    <a:pt x="5692" y="6430"/>
                    <a:pt x="5966" y="6180"/>
                    <a:pt x="6180" y="5859"/>
                  </a:cubicBezTo>
                  <a:cubicBezTo>
                    <a:pt x="6263" y="6001"/>
                    <a:pt x="6418" y="6073"/>
                    <a:pt x="6597" y="6073"/>
                  </a:cubicBezTo>
                  <a:cubicBezTo>
                    <a:pt x="6882" y="6073"/>
                    <a:pt x="7097" y="5847"/>
                    <a:pt x="7097" y="5561"/>
                  </a:cubicBezTo>
                  <a:cubicBezTo>
                    <a:pt x="7097" y="5323"/>
                    <a:pt x="6966" y="5025"/>
                    <a:pt x="6859" y="4823"/>
                  </a:cubicBezTo>
                  <a:cubicBezTo>
                    <a:pt x="7097" y="4751"/>
                    <a:pt x="7275" y="4525"/>
                    <a:pt x="7275" y="4251"/>
                  </a:cubicBezTo>
                  <a:cubicBezTo>
                    <a:pt x="7275" y="3930"/>
                    <a:pt x="7013" y="3656"/>
                    <a:pt x="6680" y="3656"/>
                  </a:cubicBezTo>
                  <a:lnTo>
                    <a:pt x="6597" y="3656"/>
                  </a:lnTo>
                  <a:cubicBezTo>
                    <a:pt x="6597" y="3656"/>
                    <a:pt x="6585" y="3656"/>
                    <a:pt x="6585" y="3644"/>
                  </a:cubicBezTo>
                  <a:lnTo>
                    <a:pt x="6585" y="3120"/>
                  </a:lnTo>
                  <a:cubicBezTo>
                    <a:pt x="6585" y="2453"/>
                    <a:pt x="6049" y="1918"/>
                    <a:pt x="5370" y="1918"/>
                  </a:cubicBezTo>
                  <a:lnTo>
                    <a:pt x="5192" y="1918"/>
                  </a:lnTo>
                  <a:cubicBezTo>
                    <a:pt x="5108" y="1918"/>
                    <a:pt x="5037" y="1989"/>
                    <a:pt x="5037" y="2084"/>
                  </a:cubicBezTo>
                  <a:cubicBezTo>
                    <a:pt x="5037" y="2168"/>
                    <a:pt x="5108" y="2251"/>
                    <a:pt x="5192" y="2251"/>
                  </a:cubicBezTo>
                  <a:lnTo>
                    <a:pt x="5370" y="2251"/>
                  </a:lnTo>
                  <a:cubicBezTo>
                    <a:pt x="5870" y="2251"/>
                    <a:pt x="6251" y="2644"/>
                    <a:pt x="6251" y="3120"/>
                  </a:cubicBezTo>
                  <a:lnTo>
                    <a:pt x="6251" y="3644"/>
                  </a:lnTo>
                  <a:cubicBezTo>
                    <a:pt x="6251" y="3823"/>
                    <a:pt x="6406" y="3989"/>
                    <a:pt x="6597" y="3989"/>
                  </a:cubicBezTo>
                  <a:lnTo>
                    <a:pt x="6680" y="3989"/>
                  </a:lnTo>
                  <a:cubicBezTo>
                    <a:pt x="6835" y="3989"/>
                    <a:pt x="6954" y="4108"/>
                    <a:pt x="6954" y="4251"/>
                  </a:cubicBezTo>
                  <a:cubicBezTo>
                    <a:pt x="6954" y="4406"/>
                    <a:pt x="6835" y="4525"/>
                    <a:pt x="6680" y="4525"/>
                  </a:cubicBezTo>
                  <a:lnTo>
                    <a:pt x="6585" y="4525"/>
                  </a:lnTo>
                  <a:lnTo>
                    <a:pt x="6585" y="4501"/>
                  </a:lnTo>
                  <a:cubicBezTo>
                    <a:pt x="6585" y="4418"/>
                    <a:pt x="6501" y="4346"/>
                    <a:pt x="6418" y="4346"/>
                  </a:cubicBezTo>
                  <a:cubicBezTo>
                    <a:pt x="6323" y="4346"/>
                    <a:pt x="6251" y="4418"/>
                    <a:pt x="6251" y="4501"/>
                  </a:cubicBezTo>
                  <a:cubicBezTo>
                    <a:pt x="6251" y="5668"/>
                    <a:pt x="5311" y="6609"/>
                    <a:pt x="4156" y="6609"/>
                  </a:cubicBezTo>
                  <a:cubicBezTo>
                    <a:pt x="2989" y="6609"/>
                    <a:pt x="2060" y="5668"/>
                    <a:pt x="2060" y="4501"/>
                  </a:cubicBezTo>
                  <a:cubicBezTo>
                    <a:pt x="2060" y="4418"/>
                    <a:pt x="1977" y="4346"/>
                    <a:pt x="1894" y="4346"/>
                  </a:cubicBezTo>
                  <a:cubicBezTo>
                    <a:pt x="1798" y="4346"/>
                    <a:pt x="1727" y="4418"/>
                    <a:pt x="1727" y="4501"/>
                  </a:cubicBezTo>
                  <a:lnTo>
                    <a:pt x="1727" y="4525"/>
                  </a:lnTo>
                  <a:lnTo>
                    <a:pt x="1620" y="4525"/>
                  </a:lnTo>
                  <a:cubicBezTo>
                    <a:pt x="1477" y="4525"/>
                    <a:pt x="1358" y="4406"/>
                    <a:pt x="1358" y="4251"/>
                  </a:cubicBezTo>
                  <a:cubicBezTo>
                    <a:pt x="1358" y="4108"/>
                    <a:pt x="1477" y="3989"/>
                    <a:pt x="1620" y="3989"/>
                  </a:cubicBezTo>
                  <a:lnTo>
                    <a:pt x="1715" y="3989"/>
                  </a:lnTo>
                  <a:cubicBezTo>
                    <a:pt x="1894" y="3989"/>
                    <a:pt x="2060" y="3835"/>
                    <a:pt x="2060" y="3644"/>
                  </a:cubicBezTo>
                  <a:lnTo>
                    <a:pt x="2060" y="3120"/>
                  </a:lnTo>
                  <a:cubicBezTo>
                    <a:pt x="2060" y="2632"/>
                    <a:pt x="2453" y="2251"/>
                    <a:pt x="2930" y="2251"/>
                  </a:cubicBezTo>
                  <a:lnTo>
                    <a:pt x="4501" y="2251"/>
                  </a:lnTo>
                  <a:cubicBezTo>
                    <a:pt x="4585" y="2251"/>
                    <a:pt x="4656" y="2168"/>
                    <a:pt x="4656" y="2084"/>
                  </a:cubicBezTo>
                  <a:cubicBezTo>
                    <a:pt x="4656" y="1989"/>
                    <a:pt x="4585" y="1918"/>
                    <a:pt x="4501" y="1918"/>
                  </a:cubicBezTo>
                  <a:lnTo>
                    <a:pt x="2930" y="1918"/>
                  </a:lnTo>
                  <a:cubicBezTo>
                    <a:pt x="2632" y="1918"/>
                    <a:pt x="2394" y="1679"/>
                    <a:pt x="2394" y="1382"/>
                  </a:cubicBezTo>
                  <a:cubicBezTo>
                    <a:pt x="2394" y="798"/>
                    <a:pt x="3025" y="322"/>
                    <a:pt x="3799" y="322"/>
                  </a:cubicBezTo>
                  <a:close/>
                  <a:moveTo>
                    <a:pt x="2084" y="1310"/>
                  </a:moveTo>
                  <a:lnTo>
                    <a:pt x="2084" y="1406"/>
                  </a:lnTo>
                  <a:cubicBezTo>
                    <a:pt x="2084" y="1679"/>
                    <a:pt x="2203" y="1918"/>
                    <a:pt x="2394" y="2084"/>
                  </a:cubicBezTo>
                  <a:cubicBezTo>
                    <a:pt x="2013" y="2275"/>
                    <a:pt x="1727" y="2692"/>
                    <a:pt x="1727" y="3156"/>
                  </a:cubicBezTo>
                  <a:lnTo>
                    <a:pt x="1727" y="3680"/>
                  </a:lnTo>
                  <a:cubicBezTo>
                    <a:pt x="1727" y="3680"/>
                    <a:pt x="1727" y="3692"/>
                    <a:pt x="1715" y="3692"/>
                  </a:cubicBezTo>
                  <a:lnTo>
                    <a:pt x="1620" y="3692"/>
                  </a:lnTo>
                  <a:cubicBezTo>
                    <a:pt x="1298" y="3692"/>
                    <a:pt x="1025" y="3954"/>
                    <a:pt x="1025" y="4287"/>
                  </a:cubicBezTo>
                  <a:cubicBezTo>
                    <a:pt x="1025" y="4549"/>
                    <a:pt x="1203" y="4775"/>
                    <a:pt x="1441" y="4847"/>
                  </a:cubicBezTo>
                  <a:cubicBezTo>
                    <a:pt x="1346" y="5037"/>
                    <a:pt x="1203" y="5335"/>
                    <a:pt x="1203" y="5597"/>
                  </a:cubicBezTo>
                  <a:cubicBezTo>
                    <a:pt x="1203" y="5870"/>
                    <a:pt x="1429" y="6097"/>
                    <a:pt x="1715" y="6097"/>
                  </a:cubicBezTo>
                  <a:cubicBezTo>
                    <a:pt x="1894" y="6097"/>
                    <a:pt x="2037" y="6013"/>
                    <a:pt x="2132" y="5894"/>
                  </a:cubicBezTo>
                  <a:cubicBezTo>
                    <a:pt x="2334" y="6204"/>
                    <a:pt x="2620" y="6466"/>
                    <a:pt x="2953" y="6656"/>
                  </a:cubicBezTo>
                  <a:lnTo>
                    <a:pt x="2953" y="7347"/>
                  </a:lnTo>
                  <a:cubicBezTo>
                    <a:pt x="2953" y="7573"/>
                    <a:pt x="2799" y="7787"/>
                    <a:pt x="2584" y="7859"/>
                  </a:cubicBezTo>
                  <a:lnTo>
                    <a:pt x="1965" y="8085"/>
                  </a:lnTo>
                  <a:cubicBezTo>
                    <a:pt x="1715" y="7621"/>
                    <a:pt x="834" y="5847"/>
                    <a:pt x="834" y="3882"/>
                  </a:cubicBezTo>
                  <a:cubicBezTo>
                    <a:pt x="834" y="3275"/>
                    <a:pt x="989" y="2727"/>
                    <a:pt x="1263" y="2227"/>
                  </a:cubicBezTo>
                  <a:cubicBezTo>
                    <a:pt x="1477" y="1870"/>
                    <a:pt x="1739" y="1560"/>
                    <a:pt x="2084" y="1310"/>
                  </a:cubicBezTo>
                  <a:close/>
                  <a:moveTo>
                    <a:pt x="3811" y="1"/>
                  </a:moveTo>
                  <a:cubicBezTo>
                    <a:pt x="3346" y="1"/>
                    <a:pt x="2918" y="132"/>
                    <a:pt x="2608" y="382"/>
                  </a:cubicBezTo>
                  <a:cubicBezTo>
                    <a:pt x="2453" y="489"/>
                    <a:pt x="2358" y="620"/>
                    <a:pt x="2263" y="763"/>
                  </a:cubicBezTo>
                  <a:cubicBezTo>
                    <a:pt x="1715" y="1084"/>
                    <a:pt x="1286" y="1537"/>
                    <a:pt x="1001" y="2037"/>
                  </a:cubicBezTo>
                  <a:cubicBezTo>
                    <a:pt x="691" y="2572"/>
                    <a:pt x="524" y="3192"/>
                    <a:pt x="524" y="3858"/>
                  </a:cubicBezTo>
                  <a:cubicBezTo>
                    <a:pt x="524" y="5108"/>
                    <a:pt x="870" y="6251"/>
                    <a:pt x="1144" y="6990"/>
                  </a:cubicBezTo>
                  <a:cubicBezTo>
                    <a:pt x="1358" y="7525"/>
                    <a:pt x="1548" y="7942"/>
                    <a:pt x="1667" y="8156"/>
                  </a:cubicBezTo>
                  <a:lnTo>
                    <a:pt x="810" y="8454"/>
                  </a:lnTo>
                  <a:cubicBezTo>
                    <a:pt x="334" y="8621"/>
                    <a:pt x="1" y="9073"/>
                    <a:pt x="1" y="9597"/>
                  </a:cubicBezTo>
                  <a:lnTo>
                    <a:pt x="1" y="10954"/>
                  </a:lnTo>
                  <a:cubicBezTo>
                    <a:pt x="1" y="11038"/>
                    <a:pt x="72" y="11121"/>
                    <a:pt x="167" y="11121"/>
                  </a:cubicBezTo>
                  <a:cubicBezTo>
                    <a:pt x="251" y="11121"/>
                    <a:pt x="322" y="11038"/>
                    <a:pt x="322" y="10954"/>
                  </a:cubicBezTo>
                  <a:lnTo>
                    <a:pt x="322" y="9633"/>
                  </a:lnTo>
                  <a:cubicBezTo>
                    <a:pt x="322" y="9252"/>
                    <a:pt x="560" y="8918"/>
                    <a:pt x="917" y="8799"/>
                  </a:cubicBezTo>
                  <a:lnTo>
                    <a:pt x="1191" y="8704"/>
                  </a:lnTo>
                  <a:cubicBezTo>
                    <a:pt x="1810" y="9561"/>
                    <a:pt x="2941" y="10097"/>
                    <a:pt x="4180" y="10097"/>
                  </a:cubicBezTo>
                  <a:cubicBezTo>
                    <a:pt x="4727" y="10097"/>
                    <a:pt x="5287" y="10002"/>
                    <a:pt x="5775" y="9788"/>
                  </a:cubicBezTo>
                  <a:cubicBezTo>
                    <a:pt x="5858" y="9764"/>
                    <a:pt x="5894" y="9657"/>
                    <a:pt x="5858" y="9585"/>
                  </a:cubicBezTo>
                  <a:cubicBezTo>
                    <a:pt x="5840" y="9512"/>
                    <a:pt x="5773" y="9481"/>
                    <a:pt x="5711" y="9481"/>
                  </a:cubicBezTo>
                  <a:cubicBezTo>
                    <a:pt x="5692" y="9481"/>
                    <a:pt x="5673" y="9484"/>
                    <a:pt x="5656" y="9490"/>
                  </a:cubicBezTo>
                  <a:cubicBezTo>
                    <a:pt x="5204" y="9680"/>
                    <a:pt x="4704" y="9788"/>
                    <a:pt x="4180" y="9788"/>
                  </a:cubicBezTo>
                  <a:cubicBezTo>
                    <a:pt x="3096" y="9788"/>
                    <a:pt x="2084" y="9347"/>
                    <a:pt x="1513" y="8609"/>
                  </a:cubicBezTo>
                  <a:lnTo>
                    <a:pt x="2727" y="8180"/>
                  </a:lnTo>
                  <a:cubicBezTo>
                    <a:pt x="3061" y="8061"/>
                    <a:pt x="3299" y="7740"/>
                    <a:pt x="3299" y="7383"/>
                  </a:cubicBezTo>
                  <a:lnTo>
                    <a:pt x="3299" y="6823"/>
                  </a:lnTo>
                  <a:cubicBezTo>
                    <a:pt x="3572" y="6930"/>
                    <a:pt x="3870" y="6990"/>
                    <a:pt x="4180" y="6990"/>
                  </a:cubicBezTo>
                  <a:cubicBezTo>
                    <a:pt x="4489" y="6990"/>
                    <a:pt x="4787" y="6930"/>
                    <a:pt x="5061" y="6823"/>
                  </a:cubicBezTo>
                  <a:lnTo>
                    <a:pt x="5061" y="7383"/>
                  </a:lnTo>
                  <a:cubicBezTo>
                    <a:pt x="5061" y="7740"/>
                    <a:pt x="5287" y="8061"/>
                    <a:pt x="5644" y="8180"/>
                  </a:cubicBezTo>
                  <a:lnTo>
                    <a:pt x="6847" y="8609"/>
                  </a:lnTo>
                  <a:cubicBezTo>
                    <a:pt x="6680" y="8823"/>
                    <a:pt x="6478" y="9014"/>
                    <a:pt x="6239" y="9180"/>
                  </a:cubicBezTo>
                  <a:cubicBezTo>
                    <a:pt x="6156" y="9228"/>
                    <a:pt x="6144" y="9323"/>
                    <a:pt x="6192" y="9407"/>
                  </a:cubicBezTo>
                  <a:cubicBezTo>
                    <a:pt x="6216" y="9442"/>
                    <a:pt x="6275" y="9478"/>
                    <a:pt x="6323" y="9478"/>
                  </a:cubicBezTo>
                  <a:cubicBezTo>
                    <a:pt x="6359" y="9478"/>
                    <a:pt x="6382" y="9466"/>
                    <a:pt x="6418" y="9442"/>
                  </a:cubicBezTo>
                  <a:cubicBezTo>
                    <a:pt x="6716" y="9240"/>
                    <a:pt x="6966" y="9002"/>
                    <a:pt x="7156" y="8716"/>
                  </a:cubicBezTo>
                  <a:lnTo>
                    <a:pt x="7430" y="8811"/>
                  </a:lnTo>
                  <a:cubicBezTo>
                    <a:pt x="7787" y="8930"/>
                    <a:pt x="8025" y="9264"/>
                    <a:pt x="8025" y="9645"/>
                  </a:cubicBezTo>
                  <a:lnTo>
                    <a:pt x="8025" y="10990"/>
                  </a:lnTo>
                  <a:cubicBezTo>
                    <a:pt x="8025" y="11085"/>
                    <a:pt x="8097" y="11157"/>
                    <a:pt x="8180" y="11157"/>
                  </a:cubicBezTo>
                  <a:cubicBezTo>
                    <a:pt x="8275" y="11157"/>
                    <a:pt x="8347" y="11085"/>
                    <a:pt x="8347" y="10990"/>
                  </a:cubicBezTo>
                  <a:lnTo>
                    <a:pt x="8347" y="9633"/>
                  </a:lnTo>
                  <a:cubicBezTo>
                    <a:pt x="8323" y="9109"/>
                    <a:pt x="7990" y="8657"/>
                    <a:pt x="7513" y="8478"/>
                  </a:cubicBezTo>
                  <a:lnTo>
                    <a:pt x="6620" y="8168"/>
                  </a:lnTo>
                  <a:cubicBezTo>
                    <a:pt x="6740" y="7978"/>
                    <a:pt x="7013" y="7525"/>
                    <a:pt x="7263" y="6918"/>
                  </a:cubicBezTo>
                  <a:cubicBezTo>
                    <a:pt x="7847" y="5561"/>
                    <a:pt x="7978" y="4489"/>
                    <a:pt x="7978" y="3823"/>
                  </a:cubicBezTo>
                  <a:cubicBezTo>
                    <a:pt x="7978" y="1703"/>
                    <a:pt x="6263" y="1"/>
                    <a:pt x="4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7" name="Google Shape;11907;p61"/>
            <p:cNvSpPr/>
            <p:nvPr/>
          </p:nvSpPr>
          <p:spPr>
            <a:xfrm>
              <a:off x="8164972" y="2582371"/>
              <a:ext cx="43782" cy="15492"/>
            </a:xfrm>
            <a:custGeom>
              <a:avLst/>
              <a:gdLst/>
              <a:ahLst/>
              <a:cxnLst/>
              <a:rect l="l" t="t" r="r" b="b"/>
              <a:pathLst>
                <a:path w="1382" h="489" extrusionOk="0">
                  <a:moveTo>
                    <a:pt x="179" y="0"/>
                  </a:moveTo>
                  <a:cubicBezTo>
                    <a:pt x="140" y="0"/>
                    <a:pt x="101" y="12"/>
                    <a:pt x="72" y="36"/>
                  </a:cubicBezTo>
                  <a:cubicBezTo>
                    <a:pt x="0" y="96"/>
                    <a:pt x="0" y="203"/>
                    <a:pt x="72" y="262"/>
                  </a:cubicBezTo>
                  <a:cubicBezTo>
                    <a:pt x="203" y="393"/>
                    <a:pt x="441" y="489"/>
                    <a:pt x="703" y="489"/>
                  </a:cubicBezTo>
                  <a:cubicBezTo>
                    <a:pt x="965" y="489"/>
                    <a:pt x="1191" y="393"/>
                    <a:pt x="1346" y="262"/>
                  </a:cubicBezTo>
                  <a:cubicBezTo>
                    <a:pt x="1381" y="203"/>
                    <a:pt x="1381" y="120"/>
                    <a:pt x="1322" y="36"/>
                  </a:cubicBezTo>
                  <a:cubicBezTo>
                    <a:pt x="1292" y="12"/>
                    <a:pt x="1250" y="0"/>
                    <a:pt x="1209" y="0"/>
                  </a:cubicBezTo>
                  <a:cubicBezTo>
                    <a:pt x="1167" y="0"/>
                    <a:pt x="1125" y="12"/>
                    <a:pt x="1096" y="36"/>
                  </a:cubicBezTo>
                  <a:cubicBezTo>
                    <a:pt x="1036" y="96"/>
                    <a:pt x="881" y="179"/>
                    <a:pt x="691" y="179"/>
                  </a:cubicBezTo>
                  <a:cubicBezTo>
                    <a:pt x="488" y="179"/>
                    <a:pt x="346" y="96"/>
                    <a:pt x="286" y="36"/>
                  </a:cubicBezTo>
                  <a:cubicBezTo>
                    <a:pt x="256" y="12"/>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8" name="Google Shape;11908;p61"/>
            <p:cNvSpPr/>
            <p:nvPr/>
          </p:nvSpPr>
          <p:spPr>
            <a:xfrm>
              <a:off x="8141592" y="2519137"/>
              <a:ext cx="18501" cy="13844"/>
            </a:xfrm>
            <a:custGeom>
              <a:avLst/>
              <a:gdLst/>
              <a:ahLst/>
              <a:cxnLst/>
              <a:rect l="l" t="t" r="r" b="b"/>
              <a:pathLst>
                <a:path w="584" h="437" extrusionOk="0">
                  <a:moveTo>
                    <a:pt x="404" y="1"/>
                  </a:moveTo>
                  <a:cubicBezTo>
                    <a:pt x="381" y="1"/>
                    <a:pt x="357" y="7"/>
                    <a:pt x="333" y="20"/>
                  </a:cubicBezTo>
                  <a:lnTo>
                    <a:pt x="119" y="115"/>
                  </a:lnTo>
                  <a:cubicBezTo>
                    <a:pt x="48" y="163"/>
                    <a:pt x="0" y="258"/>
                    <a:pt x="48" y="341"/>
                  </a:cubicBezTo>
                  <a:cubicBezTo>
                    <a:pt x="71" y="401"/>
                    <a:pt x="131" y="437"/>
                    <a:pt x="191" y="437"/>
                  </a:cubicBezTo>
                  <a:cubicBezTo>
                    <a:pt x="226" y="437"/>
                    <a:pt x="238" y="437"/>
                    <a:pt x="274" y="413"/>
                  </a:cubicBezTo>
                  <a:lnTo>
                    <a:pt x="476" y="318"/>
                  </a:lnTo>
                  <a:cubicBezTo>
                    <a:pt x="548" y="270"/>
                    <a:pt x="583" y="163"/>
                    <a:pt x="548" y="91"/>
                  </a:cubicBezTo>
                  <a:cubicBezTo>
                    <a:pt x="522" y="40"/>
                    <a:pt x="465" y="1"/>
                    <a:pt x="40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9" name="Google Shape;11909;p61"/>
            <p:cNvSpPr/>
            <p:nvPr/>
          </p:nvSpPr>
          <p:spPr>
            <a:xfrm>
              <a:off x="8211731" y="2518409"/>
              <a:ext cx="18881" cy="13812"/>
            </a:xfrm>
            <a:custGeom>
              <a:avLst/>
              <a:gdLst/>
              <a:ahLst/>
              <a:cxnLst/>
              <a:rect l="l" t="t" r="r" b="b"/>
              <a:pathLst>
                <a:path w="596" h="436" extrusionOk="0">
                  <a:moveTo>
                    <a:pt x="208" y="0"/>
                  </a:moveTo>
                  <a:cubicBezTo>
                    <a:pt x="148" y="0"/>
                    <a:pt x="83" y="39"/>
                    <a:pt x="48" y="91"/>
                  </a:cubicBezTo>
                  <a:cubicBezTo>
                    <a:pt x="1" y="174"/>
                    <a:pt x="48" y="269"/>
                    <a:pt x="120" y="317"/>
                  </a:cubicBezTo>
                  <a:lnTo>
                    <a:pt x="334" y="424"/>
                  </a:lnTo>
                  <a:cubicBezTo>
                    <a:pt x="358" y="436"/>
                    <a:pt x="382" y="436"/>
                    <a:pt x="405" y="436"/>
                  </a:cubicBezTo>
                  <a:cubicBezTo>
                    <a:pt x="465" y="436"/>
                    <a:pt x="524" y="412"/>
                    <a:pt x="560" y="353"/>
                  </a:cubicBezTo>
                  <a:cubicBezTo>
                    <a:pt x="596" y="257"/>
                    <a:pt x="572" y="174"/>
                    <a:pt x="477" y="126"/>
                  </a:cubicBezTo>
                  <a:lnTo>
                    <a:pt x="274" y="19"/>
                  </a:lnTo>
                  <a:cubicBezTo>
                    <a:pt x="255" y="6"/>
                    <a:pt x="232" y="0"/>
                    <a:pt x="2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0" name="Google Shape;11910;p61"/>
          <p:cNvGrpSpPr/>
          <p:nvPr/>
        </p:nvGrpSpPr>
        <p:grpSpPr>
          <a:xfrm>
            <a:off x="5356413" y="2413390"/>
            <a:ext cx="271212" cy="361374"/>
            <a:chOff x="5356413" y="2413390"/>
            <a:chExt cx="271212" cy="361374"/>
          </a:xfrm>
        </p:grpSpPr>
        <p:sp>
          <p:nvSpPr>
            <p:cNvPr id="11911" name="Google Shape;11911;p61"/>
            <p:cNvSpPr/>
            <p:nvPr/>
          </p:nvSpPr>
          <p:spPr>
            <a:xfrm>
              <a:off x="5453734" y="2525790"/>
              <a:ext cx="10201" cy="15872"/>
            </a:xfrm>
            <a:custGeom>
              <a:avLst/>
              <a:gdLst/>
              <a:ahLst/>
              <a:cxnLst/>
              <a:rect l="l" t="t" r="r" b="b"/>
              <a:pathLst>
                <a:path w="322" h="501" extrusionOk="0">
                  <a:moveTo>
                    <a:pt x="167" y="1"/>
                  </a:moveTo>
                  <a:cubicBezTo>
                    <a:pt x="72" y="1"/>
                    <a:pt x="0" y="72"/>
                    <a:pt x="0" y="167"/>
                  </a:cubicBezTo>
                  <a:lnTo>
                    <a:pt x="0" y="346"/>
                  </a:lnTo>
                  <a:cubicBezTo>
                    <a:pt x="0" y="429"/>
                    <a:pt x="72" y="501"/>
                    <a:pt x="167" y="501"/>
                  </a:cubicBezTo>
                  <a:cubicBezTo>
                    <a:pt x="250" y="501"/>
                    <a:pt x="322" y="429"/>
                    <a:pt x="322" y="346"/>
                  </a:cubicBezTo>
                  <a:lnTo>
                    <a:pt x="322" y="167"/>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2" name="Google Shape;11912;p61"/>
            <p:cNvSpPr/>
            <p:nvPr/>
          </p:nvSpPr>
          <p:spPr>
            <a:xfrm>
              <a:off x="5521624" y="2525790"/>
              <a:ext cx="10201" cy="15872"/>
            </a:xfrm>
            <a:custGeom>
              <a:avLst/>
              <a:gdLst/>
              <a:ahLst/>
              <a:cxnLst/>
              <a:rect l="l" t="t" r="r" b="b"/>
              <a:pathLst>
                <a:path w="322" h="501" extrusionOk="0">
                  <a:moveTo>
                    <a:pt x="155" y="1"/>
                  </a:moveTo>
                  <a:cubicBezTo>
                    <a:pt x="72" y="1"/>
                    <a:pt x="0" y="72"/>
                    <a:pt x="0" y="167"/>
                  </a:cubicBezTo>
                  <a:lnTo>
                    <a:pt x="0" y="346"/>
                  </a:lnTo>
                  <a:cubicBezTo>
                    <a:pt x="0" y="429"/>
                    <a:pt x="72" y="501"/>
                    <a:pt x="155" y="501"/>
                  </a:cubicBezTo>
                  <a:cubicBezTo>
                    <a:pt x="250" y="501"/>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3" name="Google Shape;11913;p61"/>
            <p:cNvSpPr/>
            <p:nvPr/>
          </p:nvSpPr>
          <p:spPr>
            <a:xfrm>
              <a:off x="5356413" y="2413390"/>
              <a:ext cx="271212" cy="361374"/>
            </a:xfrm>
            <a:custGeom>
              <a:avLst/>
              <a:gdLst/>
              <a:ahLst/>
              <a:cxnLst/>
              <a:rect l="l" t="t" r="r" b="b"/>
              <a:pathLst>
                <a:path w="8561" h="11407" extrusionOk="0">
                  <a:moveTo>
                    <a:pt x="4215" y="298"/>
                  </a:moveTo>
                  <a:cubicBezTo>
                    <a:pt x="4394" y="298"/>
                    <a:pt x="4560" y="381"/>
                    <a:pt x="4679" y="512"/>
                  </a:cubicBezTo>
                  <a:cubicBezTo>
                    <a:pt x="4707" y="549"/>
                    <a:pt x="4762" y="564"/>
                    <a:pt x="4813" y="564"/>
                  </a:cubicBezTo>
                  <a:cubicBezTo>
                    <a:pt x="4829" y="564"/>
                    <a:pt x="4844" y="563"/>
                    <a:pt x="4858" y="560"/>
                  </a:cubicBezTo>
                  <a:cubicBezTo>
                    <a:pt x="4965" y="512"/>
                    <a:pt x="5072" y="501"/>
                    <a:pt x="5180" y="501"/>
                  </a:cubicBezTo>
                  <a:cubicBezTo>
                    <a:pt x="5644" y="501"/>
                    <a:pt x="6037" y="834"/>
                    <a:pt x="6072" y="1310"/>
                  </a:cubicBezTo>
                  <a:cubicBezTo>
                    <a:pt x="6072" y="1370"/>
                    <a:pt x="6120" y="1429"/>
                    <a:pt x="6180" y="1453"/>
                  </a:cubicBezTo>
                  <a:cubicBezTo>
                    <a:pt x="6453" y="1560"/>
                    <a:pt x="6608" y="1822"/>
                    <a:pt x="6608" y="2120"/>
                  </a:cubicBezTo>
                  <a:cubicBezTo>
                    <a:pt x="6608" y="2525"/>
                    <a:pt x="6287" y="2846"/>
                    <a:pt x="5882" y="2846"/>
                  </a:cubicBezTo>
                  <a:cubicBezTo>
                    <a:pt x="5632" y="2846"/>
                    <a:pt x="5406" y="2715"/>
                    <a:pt x="5275" y="2501"/>
                  </a:cubicBezTo>
                  <a:cubicBezTo>
                    <a:pt x="5239" y="2465"/>
                    <a:pt x="5180" y="2429"/>
                    <a:pt x="5120" y="2429"/>
                  </a:cubicBezTo>
                  <a:cubicBezTo>
                    <a:pt x="5096" y="2429"/>
                    <a:pt x="5084" y="2429"/>
                    <a:pt x="5049" y="2441"/>
                  </a:cubicBezTo>
                  <a:cubicBezTo>
                    <a:pt x="4977" y="2489"/>
                    <a:pt x="4882" y="2501"/>
                    <a:pt x="4810" y="2501"/>
                  </a:cubicBezTo>
                  <a:cubicBezTo>
                    <a:pt x="4513" y="2501"/>
                    <a:pt x="4263" y="2263"/>
                    <a:pt x="4263" y="1953"/>
                  </a:cubicBezTo>
                  <a:cubicBezTo>
                    <a:pt x="4263" y="1905"/>
                    <a:pt x="4263" y="1858"/>
                    <a:pt x="4275" y="1822"/>
                  </a:cubicBezTo>
                  <a:cubicBezTo>
                    <a:pt x="4287" y="1774"/>
                    <a:pt x="4275" y="1715"/>
                    <a:pt x="4251" y="1691"/>
                  </a:cubicBezTo>
                  <a:cubicBezTo>
                    <a:pt x="4215" y="1644"/>
                    <a:pt x="4167" y="1632"/>
                    <a:pt x="4132" y="1608"/>
                  </a:cubicBezTo>
                  <a:cubicBezTo>
                    <a:pt x="3798" y="1584"/>
                    <a:pt x="3548" y="1310"/>
                    <a:pt x="3548" y="989"/>
                  </a:cubicBezTo>
                  <a:cubicBezTo>
                    <a:pt x="3572" y="596"/>
                    <a:pt x="3858" y="298"/>
                    <a:pt x="4215" y="298"/>
                  </a:cubicBezTo>
                  <a:close/>
                  <a:moveTo>
                    <a:pt x="6763" y="2715"/>
                  </a:moveTo>
                  <a:cubicBezTo>
                    <a:pt x="6787" y="2858"/>
                    <a:pt x="6811" y="3013"/>
                    <a:pt x="6811" y="3179"/>
                  </a:cubicBezTo>
                  <a:lnTo>
                    <a:pt x="6811" y="3370"/>
                  </a:lnTo>
                  <a:lnTo>
                    <a:pt x="6608" y="3370"/>
                  </a:lnTo>
                  <a:cubicBezTo>
                    <a:pt x="6513" y="3370"/>
                    <a:pt x="6418" y="3275"/>
                    <a:pt x="6418" y="3179"/>
                  </a:cubicBezTo>
                  <a:lnTo>
                    <a:pt x="6418" y="3025"/>
                  </a:lnTo>
                  <a:cubicBezTo>
                    <a:pt x="6549" y="2953"/>
                    <a:pt x="6668" y="2834"/>
                    <a:pt x="6763" y="2715"/>
                  </a:cubicBezTo>
                  <a:close/>
                  <a:moveTo>
                    <a:pt x="1608" y="2215"/>
                  </a:moveTo>
                  <a:cubicBezTo>
                    <a:pt x="1512" y="2513"/>
                    <a:pt x="1465" y="2810"/>
                    <a:pt x="1465" y="3144"/>
                  </a:cubicBezTo>
                  <a:lnTo>
                    <a:pt x="1465" y="3382"/>
                  </a:lnTo>
                  <a:cubicBezTo>
                    <a:pt x="1250" y="3489"/>
                    <a:pt x="1108" y="3691"/>
                    <a:pt x="1108" y="3930"/>
                  </a:cubicBezTo>
                  <a:cubicBezTo>
                    <a:pt x="1108" y="4275"/>
                    <a:pt x="1370" y="4549"/>
                    <a:pt x="1715" y="4549"/>
                  </a:cubicBezTo>
                  <a:lnTo>
                    <a:pt x="1822" y="4549"/>
                  </a:lnTo>
                  <a:lnTo>
                    <a:pt x="1822" y="4561"/>
                  </a:lnTo>
                  <a:cubicBezTo>
                    <a:pt x="1822" y="5049"/>
                    <a:pt x="1953" y="5501"/>
                    <a:pt x="2203" y="5882"/>
                  </a:cubicBezTo>
                  <a:cubicBezTo>
                    <a:pt x="2092" y="5973"/>
                    <a:pt x="1972" y="6004"/>
                    <a:pt x="1844" y="6004"/>
                  </a:cubicBezTo>
                  <a:cubicBezTo>
                    <a:pt x="1821" y="6004"/>
                    <a:pt x="1798" y="6003"/>
                    <a:pt x="1774" y="6001"/>
                  </a:cubicBezTo>
                  <a:cubicBezTo>
                    <a:pt x="1334" y="5989"/>
                    <a:pt x="953" y="5632"/>
                    <a:pt x="917" y="5180"/>
                  </a:cubicBezTo>
                  <a:lnTo>
                    <a:pt x="917" y="4989"/>
                  </a:lnTo>
                  <a:cubicBezTo>
                    <a:pt x="929" y="4811"/>
                    <a:pt x="881" y="4644"/>
                    <a:pt x="762" y="4549"/>
                  </a:cubicBezTo>
                  <a:cubicBezTo>
                    <a:pt x="631" y="4406"/>
                    <a:pt x="536" y="4215"/>
                    <a:pt x="536" y="4025"/>
                  </a:cubicBezTo>
                  <a:cubicBezTo>
                    <a:pt x="536" y="3751"/>
                    <a:pt x="691" y="3513"/>
                    <a:pt x="917" y="3394"/>
                  </a:cubicBezTo>
                  <a:cubicBezTo>
                    <a:pt x="1072" y="3310"/>
                    <a:pt x="1155" y="3120"/>
                    <a:pt x="1096" y="2941"/>
                  </a:cubicBezTo>
                  <a:cubicBezTo>
                    <a:pt x="1060" y="2834"/>
                    <a:pt x="1060" y="2727"/>
                    <a:pt x="1096" y="2620"/>
                  </a:cubicBezTo>
                  <a:cubicBezTo>
                    <a:pt x="1131" y="2429"/>
                    <a:pt x="1298" y="2286"/>
                    <a:pt x="1489" y="2239"/>
                  </a:cubicBezTo>
                  <a:cubicBezTo>
                    <a:pt x="1536" y="2215"/>
                    <a:pt x="1572" y="2215"/>
                    <a:pt x="1608" y="2215"/>
                  </a:cubicBezTo>
                  <a:close/>
                  <a:moveTo>
                    <a:pt x="6977" y="2251"/>
                  </a:moveTo>
                  <a:cubicBezTo>
                    <a:pt x="7025" y="2251"/>
                    <a:pt x="7061" y="2251"/>
                    <a:pt x="7108" y="2263"/>
                  </a:cubicBezTo>
                  <a:cubicBezTo>
                    <a:pt x="7299" y="2310"/>
                    <a:pt x="7442" y="2453"/>
                    <a:pt x="7501" y="2656"/>
                  </a:cubicBezTo>
                  <a:cubicBezTo>
                    <a:pt x="7537" y="2763"/>
                    <a:pt x="7537" y="2858"/>
                    <a:pt x="7501" y="2965"/>
                  </a:cubicBezTo>
                  <a:cubicBezTo>
                    <a:pt x="7442" y="3144"/>
                    <a:pt x="7525" y="3334"/>
                    <a:pt x="7680" y="3429"/>
                  </a:cubicBezTo>
                  <a:cubicBezTo>
                    <a:pt x="7918" y="3560"/>
                    <a:pt x="8061" y="3799"/>
                    <a:pt x="8061" y="4049"/>
                  </a:cubicBezTo>
                  <a:cubicBezTo>
                    <a:pt x="8061" y="4251"/>
                    <a:pt x="7977" y="4441"/>
                    <a:pt x="7835" y="4572"/>
                  </a:cubicBezTo>
                  <a:cubicBezTo>
                    <a:pt x="7727" y="4680"/>
                    <a:pt x="7668" y="4846"/>
                    <a:pt x="7680" y="5025"/>
                  </a:cubicBezTo>
                  <a:cubicBezTo>
                    <a:pt x="7704" y="5084"/>
                    <a:pt x="7704" y="5156"/>
                    <a:pt x="7680" y="5215"/>
                  </a:cubicBezTo>
                  <a:cubicBezTo>
                    <a:pt x="7644" y="5644"/>
                    <a:pt x="7263" y="6001"/>
                    <a:pt x="6823" y="6037"/>
                  </a:cubicBezTo>
                  <a:cubicBezTo>
                    <a:pt x="6668" y="6037"/>
                    <a:pt x="6525" y="6001"/>
                    <a:pt x="6394" y="5942"/>
                  </a:cubicBezTo>
                  <a:cubicBezTo>
                    <a:pt x="6632" y="5561"/>
                    <a:pt x="6775" y="5108"/>
                    <a:pt x="6775" y="4620"/>
                  </a:cubicBezTo>
                  <a:lnTo>
                    <a:pt x="6775" y="4608"/>
                  </a:lnTo>
                  <a:lnTo>
                    <a:pt x="6882" y="4608"/>
                  </a:lnTo>
                  <a:cubicBezTo>
                    <a:pt x="7227" y="4608"/>
                    <a:pt x="7489" y="4334"/>
                    <a:pt x="7489" y="3989"/>
                  </a:cubicBezTo>
                  <a:cubicBezTo>
                    <a:pt x="7489" y="3739"/>
                    <a:pt x="7346" y="3537"/>
                    <a:pt x="7132" y="3441"/>
                  </a:cubicBezTo>
                  <a:lnTo>
                    <a:pt x="7132" y="3179"/>
                  </a:lnTo>
                  <a:cubicBezTo>
                    <a:pt x="7132" y="2858"/>
                    <a:pt x="7085" y="2548"/>
                    <a:pt x="6977" y="2251"/>
                  </a:cubicBezTo>
                  <a:close/>
                  <a:moveTo>
                    <a:pt x="3239" y="893"/>
                  </a:moveTo>
                  <a:lnTo>
                    <a:pt x="3239" y="941"/>
                  </a:lnTo>
                  <a:cubicBezTo>
                    <a:pt x="3239" y="1370"/>
                    <a:pt x="3536" y="1763"/>
                    <a:pt x="3953" y="1870"/>
                  </a:cubicBezTo>
                  <a:lnTo>
                    <a:pt x="3953" y="1905"/>
                  </a:lnTo>
                  <a:cubicBezTo>
                    <a:pt x="3953" y="2394"/>
                    <a:pt x="4334" y="2787"/>
                    <a:pt x="4822" y="2787"/>
                  </a:cubicBezTo>
                  <a:cubicBezTo>
                    <a:pt x="4918" y="2787"/>
                    <a:pt x="4989" y="2775"/>
                    <a:pt x="5084" y="2739"/>
                  </a:cubicBezTo>
                  <a:cubicBezTo>
                    <a:pt x="5275" y="3001"/>
                    <a:pt x="5572" y="3132"/>
                    <a:pt x="5894" y="3132"/>
                  </a:cubicBezTo>
                  <a:cubicBezTo>
                    <a:pt x="5953" y="3132"/>
                    <a:pt x="6037" y="3132"/>
                    <a:pt x="6096" y="3120"/>
                  </a:cubicBezTo>
                  <a:lnTo>
                    <a:pt x="6096" y="3144"/>
                  </a:lnTo>
                  <a:cubicBezTo>
                    <a:pt x="6096" y="3429"/>
                    <a:pt x="6334" y="3668"/>
                    <a:pt x="6608" y="3668"/>
                  </a:cubicBezTo>
                  <a:lnTo>
                    <a:pt x="6882" y="3668"/>
                  </a:lnTo>
                  <a:cubicBezTo>
                    <a:pt x="7025" y="3668"/>
                    <a:pt x="7168" y="3787"/>
                    <a:pt x="7168" y="3953"/>
                  </a:cubicBezTo>
                  <a:cubicBezTo>
                    <a:pt x="7168" y="4096"/>
                    <a:pt x="7049" y="4227"/>
                    <a:pt x="6882" y="4227"/>
                  </a:cubicBezTo>
                  <a:lnTo>
                    <a:pt x="6775" y="4227"/>
                  </a:lnTo>
                  <a:lnTo>
                    <a:pt x="6775" y="4215"/>
                  </a:lnTo>
                  <a:cubicBezTo>
                    <a:pt x="6775" y="4132"/>
                    <a:pt x="6704" y="4049"/>
                    <a:pt x="6608" y="4049"/>
                  </a:cubicBezTo>
                  <a:cubicBezTo>
                    <a:pt x="6525" y="4049"/>
                    <a:pt x="6453" y="4132"/>
                    <a:pt x="6453" y="4215"/>
                  </a:cubicBezTo>
                  <a:lnTo>
                    <a:pt x="6453" y="4572"/>
                  </a:lnTo>
                  <a:cubicBezTo>
                    <a:pt x="6453" y="5763"/>
                    <a:pt x="5477" y="6716"/>
                    <a:pt x="4310" y="6716"/>
                  </a:cubicBezTo>
                  <a:cubicBezTo>
                    <a:pt x="4289" y="6716"/>
                    <a:pt x="4268" y="6717"/>
                    <a:pt x="4247" y="6717"/>
                  </a:cubicBezTo>
                  <a:cubicBezTo>
                    <a:pt x="3086" y="6717"/>
                    <a:pt x="2167" y="5754"/>
                    <a:pt x="2167" y="4584"/>
                  </a:cubicBezTo>
                  <a:lnTo>
                    <a:pt x="2167" y="4227"/>
                  </a:lnTo>
                  <a:cubicBezTo>
                    <a:pt x="2167" y="4144"/>
                    <a:pt x="2084" y="4072"/>
                    <a:pt x="2001" y="4072"/>
                  </a:cubicBezTo>
                  <a:cubicBezTo>
                    <a:pt x="1905" y="4072"/>
                    <a:pt x="1834" y="4144"/>
                    <a:pt x="1834" y="4227"/>
                  </a:cubicBezTo>
                  <a:lnTo>
                    <a:pt x="1834" y="4251"/>
                  </a:lnTo>
                  <a:lnTo>
                    <a:pt x="1727" y="4251"/>
                  </a:lnTo>
                  <a:cubicBezTo>
                    <a:pt x="1584" y="4251"/>
                    <a:pt x="1453" y="4132"/>
                    <a:pt x="1453" y="3965"/>
                  </a:cubicBezTo>
                  <a:cubicBezTo>
                    <a:pt x="1453" y="3810"/>
                    <a:pt x="1572" y="3679"/>
                    <a:pt x="1727" y="3679"/>
                  </a:cubicBezTo>
                  <a:lnTo>
                    <a:pt x="2001" y="3679"/>
                  </a:lnTo>
                  <a:cubicBezTo>
                    <a:pt x="2286" y="3679"/>
                    <a:pt x="2524" y="3441"/>
                    <a:pt x="2524" y="3156"/>
                  </a:cubicBezTo>
                  <a:cubicBezTo>
                    <a:pt x="2524" y="2667"/>
                    <a:pt x="2715" y="2191"/>
                    <a:pt x="3084" y="1846"/>
                  </a:cubicBezTo>
                  <a:cubicBezTo>
                    <a:pt x="3155" y="1786"/>
                    <a:pt x="3155" y="1691"/>
                    <a:pt x="3084" y="1608"/>
                  </a:cubicBezTo>
                  <a:cubicBezTo>
                    <a:pt x="3054" y="1572"/>
                    <a:pt x="3013" y="1554"/>
                    <a:pt x="2969" y="1554"/>
                  </a:cubicBezTo>
                  <a:cubicBezTo>
                    <a:pt x="2926" y="1554"/>
                    <a:pt x="2882" y="1572"/>
                    <a:pt x="2846" y="1608"/>
                  </a:cubicBezTo>
                  <a:cubicBezTo>
                    <a:pt x="2417" y="2013"/>
                    <a:pt x="2179" y="2560"/>
                    <a:pt x="2179" y="3156"/>
                  </a:cubicBezTo>
                  <a:cubicBezTo>
                    <a:pt x="2179" y="3263"/>
                    <a:pt x="2084" y="3358"/>
                    <a:pt x="1989" y="3358"/>
                  </a:cubicBezTo>
                  <a:lnTo>
                    <a:pt x="1786" y="3358"/>
                  </a:lnTo>
                  <a:lnTo>
                    <a:pt x="1786" y="3179"/>
                  </a:lnTo>
                  <a:cubicBezTo>
                    <a:pt x="1786" y="2191"/>
                    <a:pt x="2358" y="1310"/>
                    <a:pt x="3239" y="893"/>
                  </a:cubicBezTo>
                  <a:close/>
                  <a:moveTo>
                    <a:pt x="5227" y="6894"/>
                  </a:moveTo>
                  <a:lnTo>
                    <a:pt x="5227" y="7251"/>
                  </a:lnTo>
                  <a:cubicBezTo>
                    <a:pt x="5227" y="7359"/>
                    <a:pt x="5215" y="7454"/>
                    <a:pt x="5168" y="7561"/>
                  </a:cubicBezTo>
                  <a:cubicBezTo>
                    <a:pt x="5144" y="7656"/>
                    <a:pt x="5180" y="7740"/>
                    <a:pt x="5275" y="7775"/>
                  </a:cubicBezTo>
                  <a:cubicBezTo>
                    <a:pt x="5287" y="7775"/>
                    <a:pt x="5322" y="7787"/>
                    <a:pt x="5334" y="7787"/>
                  </a:cubicBezTo>
                  <a:cubicBezTo>
                    <a:pt x="5406" y="7787"/>
                    <a:pt x="5465" y="7740"/>
                    <a:pt x="5501" y="7680"/>
                  </a:cubicBezTo>
                  <a:cubicBezTo>
                    <a:pt x="5537" y="7549"/>
                    <a:pt x="5572" y="7418"/>
                    <a:pt x="5572" y="7263"/>
                  </a:cubicBezTo>
                  <a:lnTo>
                    <a:pt x="5572" y="7192"/>
                  </a:lnTo>
                  <a:cubicBezTo>
                    <a:pt x="5930" y="7251"/>
                    <a:pt x="6299" y="7359"/>
                    <a:pt x="6644" y="7478"/>
                  </a:cubicBezTo>
                  <a:cubicBezTo>
                    <a:pt x="6644" y="7478"/>
                    <a:pt x="6656" y="7478"/>
                    <a:pt x="6656" y="7489"/>
                  </a:cubicBezTo>
                  <a:cubicBezTo>
                    <a:pt x="6561" y="8037"/>
                    <a:pt x="6299" y="8573"/>
                    <a:pt x="5882" y="8978"/>
                  </a:cubicBezTo>
                  <a:cubicBezTo>
                    <a:pt x="5453" y="9383"/>
                    <a:pt x="4906" y="9585"/>
                    <a:pt x="4310" y="9585"/>
                  </a:cubicBezTo>
                  <a:cubicBezTo>
                    <a:pt x="3727" y="9585"/>
                    <a:pt x="3155" y="9371"/>
                    <a:pt x="2727" y="8978"/>
                  </a:cubicBezTo>
                  <a:cubicBezTo>
                    <a:pt x="2298" y="8597"/>
                    <a:pt x="2048" y="8049"/>
                    <a:pt x="1989" y="7478"/>
                  </a:cubicBezTo>
                  <a:cubicBezTo>
                    <a:pt x="1989" y="7478"/>
                    <a:pt x="1989" y="7454"/>
                    <a:pt x="2001" y="7454"/>
                  </a:cubicBezTo>
                  <a:cubicBezTo>
                    <a:pt x="2346" y="7347"/>
                    <a:pt x="2715" y="7251"/>
                    <a:pt x="3072" y="7180"/>
                  </a:cubicBezTo>
                  <a:lnTo>
                    <a:pt x="3072" y="7251"/>
                  </a:lnTo>
                  <a:cubicBezTo>
                    <a:pt x="3072" y="7942"/>
                    <a:pt x="3620" y="8490"/>
                    <a:pt x="4310" y="8490"/>
                  </a:cubicBezTo>
                  <a:cubicBezTo>
                    <a:pt x="4525" y="8490"/>
                    <a:pt x="4739" y="8430"/>
                    <a:pt x="4929" y="8323"/>
                  </a:cubicBezTo>
                  <a:cubicBezTo>
                    <a:pt x="5001" y="8275"/>
                    <a:pt x="5037" y="8168"/>
                    <a:pt x="4989" y="8097"/>
                  </a:cubicBezTo>
                  <a:cubicBezTo>
                    <a:pt x="4956" y="8048"/>
                    <a:pt x="4901" y="8015"/>
                    <a:pt x="4843" y="8015"/>
                  </a:cubicBezTo>
                  <a:cubicBezTo>
                    <a:pt x="4816" y="8015"/>
                    <a:pt x="4789" y="8022"/>
                    <a:pt x="4763" y="8037"/>
                  </a:cubicBezTo>
                  <a:cubicBezTo>
                    <a:pt x="4632" y="8109"/>
                    <a:pt x="4465" y="8156"/>
                    <a:pt x="4322" y="8156"/>
                  </a:cubicBezTo>
                  <a:cubicBezTo>
                    <a:pt x="3834" y="8156"/>
                    <a:pt x="3417" y="7751"/>
                    <a:pt x="3417" y="7251"/>
                  </a:cubicBezTo>
                  <a:lnTo>
                    <a:pt x="3417" y="6894"/>
                  </a:lnTo>
                  <a:cubicBezTo>
                    <a:pt x="3691" y="7001"/>
                    <a:pt x="3989" y="7061"/>
                    <a:pt x="4322" y="7061"/>
                  </a:cubicBezTo>
                  <a:cubicBezTo>
                    <a:pt x="4644" y="7061"/>
                    <a:pt x="4941" y="7001"/>
                    <a:pt x="5227" y="6894"/>
                  </a:cubicBezTo>
                  <a:close/>
                  <a:moveTo>
                    <a:pt x="4203" y="0"/>
                  </a:moveTo>
                  <a:cubicBezTo>
                    <a:pt x="3834" y="0"/>
                    <a:pt x="3501" y="215"/>
                    <a:pt x="3334" y="524"/>
                  </a:cubicBezTo>
                  <a:cubicBezTo>
                    <a:pt x="2620" y="774"/>
                    <a:pt x="2060" y="1298"/>
                    <a:pt x="1727" y="1953"/>
                  </a:cubicBezTo>
                  <a:cubicBezTo>
                    <a:pt x="1687" y="1948"/>
                    <a:pt x="1646" y="1945"/>
                    <a:pt x="1602" y="1945"/>
                  </a:cubicBezTo>
                  <a:cubicBezTo>
                    <a:pt x="1541" y="1945"/>
                    <a:pt x="1475" y="1951"/>
                    <a:pt x="1405" y="1965"/>
                  </a:cubicBezTo>
                  <a:cubicBezTo>
                    <a:pt x="1096" y="2048"/>
                    <a:pt x="834" y="2286"/>
                    <a:pt x="762" y="2596"/>
                  </a:cubicBezTo>
                  <a:cubicBezTo>
                    <a:pt x="715" y="2763"/>
                    <a:pt x="715" y="2941"/>
                    <a:pt x="762" y="3084"/>
                  </a:cubicBezTo>
                  <a:cubicBezTo>
                    <a:pt x="774" y="3120"/>
                    <a:pt x="762" y="3144"/>
                    <a:pt x="738" y="3144"/>
                  </a:cubicBezTo>
                  <a:cubicBezTo>
                    <a:pt x="393" y="3322"/>
                    <a:pt x="179" y="3679"/>
                    <a:pt x="179" y="4072"/>
                  </a:cubicBezTo>
                  <a:cubicBezTo>
                    <a:pt x="179" y="4346"/>
                    <a:pt x="298" y="4620"/>
                    <a:pt x="512" y="4822"/>
                  </a:cubicBezTo>
                  <a:cubicBezTo>
                    <a:pt x="560" y="4870"/>
                    <a:pt x="560" y="4965"/>
                    <a:pt x="560" y="4989"/>
                  </a:cubicBezTo>
                  <a:cubicBezTo>
                    <a:pt x="536" y="5084"/>
                    <a:pt x="536" y="5168"/>
                    <a:pt x="560" y="5263"/>
                  </a:cubicBezTo>
                  <a:cubicBezTo>
                    <a:pt x="619" y="5858"/>
                    <a:pt x="1131" y="6346"/>
                    <a:pt x="1727" y="6370"/>
                  </a:cubicBezTo>
                  <a:lnTo>
                    <a:pt x="1774" y="6370"/>
                  </a:lnTo>
                  <a:cubicBezTo>
                    <a:pt x="1989" y="6370"/>
                    <a:pt x="2191" y="6311"/>
                    <a:pt x="2370" y="6227"/>
                  </a:cubicBezTo>
                  <a:cubicBezTo>
                    <a:pt x="2560" y="6454"/>
                    <a:pt x="2786" y="6632"/>
                    <a:pt x="3024" y="6775"/>
                  </a:cubicBezTo>
                  <a:lnTo>
                    <a:pt x="3024" y="6882"/>
                  </a:lnTo>
                  <a:cubicBezTo>
                    <a:pt x="2620" y="6954"/>
                    <a:pt x="2227" y="7049"/>
                    <a:pt x="1846" y="7180"/>
                  </a:cubicBezTo>
                  <a:cubicBezTo>
                    <a:pt x="1703" y="7228"/>
                    <a:pt x="1608" y="7359"/>
                    <a:pt x="1608" y="7501"/>
                  </a:cubicBezTo>
                  <a:lnTo>
                    <a:pt x="941" y="7740"/>
                  </a:lnTo>
                  <a:cubicBezTo>
                    <a:pt x="381" y="7942"/>
                    <a:pt x="0" y="8478"/>
                    <a:pt x="0" y="9085"/>
                  </a:cubicBezTo>
                  <a:lnTo>
                    <a:pt x="0" y="11240"/>
                  </a:lnTo>
                  <a:cubicBezTo>
                    <a:pt x="0" y="11335"/>
                    <a:pt x="84" y="11407"/>
                    <a:pt x="167" y="11407"/>
                  </a:cubicBezTo>
                  <a:cubicBezTo>
                    <a:pt x="262" y="11407"/>
                    <a:pt x="334" y="11335"/>
                    <a:pt x="334" y="11240"/>
                  </a:cubicBezTo>
                  <a:lnTo>
                    <a:pt x="334" y="9085"/>
                  </a:lnTo>
                  <a:cubicBezTo>
                    <a:pt x="334" y="8621"/>
                    <a:pt x="619" y="8216"/>
                    <a:pt x="1048" y="8073"/>
                  </a:cubicBezTo>
                  <a:lnTo>
                    <a:pt x="1655" y="7859"/>
                  </a:lnTo>
                  <a:cubicBezTo>
                    <a:pt x="1774" y="8394"/>
                    <a:pt x="2036" y="8894"/>
                    <a:pt x="2465" y="9275"/>
                  </a:cubicBezTo>
                  <a:cubicBezTo>
                    <a:pt x="2905" y="9692"/>
                    <a:pt x="3489" y="9930"/>
                    <a:pt x="4096" y="9978"/>
                  </a:cubicBezTo>
                  <a:lnTo>
                    <a:pt x="4096" y="11240"/>
                  </a:lnTo>
                  <a:cubicBezTo>
                    <a:pt x="4096" y="11335"/>
                    <a:pt x="4167" y="11407"/>
                    <a:pt x="4263" y="11407"/>
                  </a:cubicBezTo>
                  <a:cubicBezTo>
                    <a:pt x="4346" y="11407"/>
                    <a:pt x="4418" y="11335"/>
                    <a:pt x="4418" y="11240"/>
                  </a:cubicBezTo>
                  <a:lnTo>
                    <a:pt x="4418" y="9978"/>
                  </a:lnTo>
                  <a:cubicBezTo>
                    <a:pt x="5037" y="9930"/>
                    <a:pt x="5596" y="9692"/>
                    <a:pt x="6061" y="9275"/>
                  </a:cubicBezTo>
                  <a:cubicBezTo>
                    <a:pt x="6477" y="8906"/>
                    <a:pt x="6739" y="8418"/>
                    <a:pt x="6858" y="7859"/>
                  </a:cubicBezTo>
                  <a:lnTo>
                    <a:pt x="7477" y="8073"/>
                  </a:lnTo>
                  <a:cubicBezTo>
                    <a:pt x="7906" y="8216"/>
                    <a:pt x="8192" y="8632"/>
                    <a:pt x="8192" y="9085"/>
                  </a:cubicBezTo>
                  <a:lnTo>
                    <a:pt x="8192" y="11240"/>
                  </a:lnTo>
                  <a:cubicBezTo>
                    <a:pt x="8192" y="11335"/>
                    <a:pt x="8263" y="11407"/>
                    <a:pt x="8347" y="11407"/>
                  </a:cubicBezTo>
                  <a:cubicBezTo>
                    <a:pt x="8442" y="11407"/>
                    <a:pt x="8513" y="11335"/>
                    <a:pt x="8513" y="11240"/>
                  </a:cubicBezTo>
                  <a:lnTo>
                    <a:pt x="8513" y="9085"/>
                  </a:lnTo>
                  <a:cubicBezTo>
                    <a:pt x="8561" y="8442"/>
                    <a:pt x="8192" y="7906"/>
                    <a:pt x="7620" y="7716"/>
                  </a:cubicBezTo>
                  <a:lnTo>
                    <a:pt x="6954" y="7478"/>
                  </a:lnTo>
                  <a:cubicBezTo>
                    <a:pt x="6954" y="7323"/>
                    <a:pt x="6870" y="7192"/>
                    <a:pt x="6715" y="7144"/>
                  </a:cubicBezTo>
                  <a:cubicBezTo>
                    <a:pt x="6334" y="7013"/>
                    <a:pt x="5942" y="6906"/>
                    <a:pt x="5537" y="6847"/>
                  </a:cubicBezTo>
                  <a:lnTo>
                    <a:pt x="5537" y="6751"/>
                  </a:lnTo>
                  <a:cubicBezTo>
                    <a:pt x="5799" y="6597"/>
                    <a:pt x="6013" y="6418"/>
                    <a:pt x="6192" y="6192"/>
                  </a:cubicBezTo>
                  <a:cubicBezTo>
                    <a:pt x="6370" y="6299"/>
                    <a:pt x="6584" y="6346"/>
                    <a:pt x="6787" y="6346"/>
                  </a:cubicBezTo>
                  <a:lnTo>
                    <a:pt x="6834" y="6346"/>
                  </a:lnTo>
                  <a:cubicBezTo>
                    <a:pt x="7442" y="6311"/>
                    <a:pt x="7954" y="5835"/>
                    <a:pt x="8013" y="5227"/>
                  </a:cubicBezTo>
                  <a:cubicBezTo>
                    <a:pt x="8025" y="5132"/>
                    <a:pt x="8025" y="5049"/>
                    <a:pt x="8013" y="4965"/>
                  </a:cubicBezTo>
                  <a:cubicBezTo>
                    <a:pt x="8013" y="4930"/>
                    <a:pt x="8001" y="4846"/>
                    <a:pt x="8061" y="4799"/>
                  </a:cubicBezTo>
                  <a:cubicBezTo>
                    <a:pt x="8263" y="4608"/>
                    <a:pt x="8382" y="4322"/>
                    <a:pt x="8382" y="4037"/>
                  </a:cubicBezTo>
                  <a:cubicBezTo>
                    <a:pt x="8382" y="3644"/>
                    <a:pt x="8180" y="3287"/>
                    <a:pt x="7835" y="3108"/>
                  </a:cubicBezTo>
                  <a:cubicBezTo>
                    <a:pt x="7823" y="3096"/>
                    <a:pt x="7799" y="3072"/>
                    <a:pt x="7799" y="3048"/>
                  </a:cubicBezTo>
                  <a:cubicBezTo>
                    <a:pt x="7847" y="2894"/>
                    <a:pt x="7847" y="2727"/>
                    <a:pt x="7799" y="2560"/>
                  </a:cubicBezTo>
                  <a:cubicBezTo>
                    <a:pt x="7716" y="2251"/>
                    <a:pt x="7466" y="2013"/>
                    <a:pt x="7168" y="1941"/>
                  </a:cubicBezTo>
                  <a:cubicBezTo>
                    <a:pt x="7107" y="1924"/>
                    <a:pt x="7052" y="1913"/>
                    <a:pt x="6999" y="1913"/>
                  </a:cubicBezTo>
                  <a:cubicBezTo>
                    <a:pt x="6980" y="1913"/>
                    <a:pt x="6961" y="1914"/>
                    <a:pt x="6942" y="1917"/>
                  </a:cubicBezTo>
                  <a:cubicBezTo>
                    <a:pt x="6882" y="1608"/>
                    <a:pt x="6692" y="1322"/>
                    <a:pt x="6406" y="1179"/>
                  </a:cubicBezTo>
                  <a:cubicBezTo>
                    <a:pt x="6299" y="596"/>
                    <a:pt x="5799" y="167"/>
                    <a:pt x="5180" y="167"/>
                  </a:cubicBezTo>
                  <a:cubicBezTo>
                    <a:pt x="5060" y="167"/>
                    <a:pt x="4941" y="179"/>
                    <a:pt x="4822" y="227"/>
                  </a:cubicBezTo>
                  <a:cubicBezTo>
                    <a:pt x="4644" y="72"/>
                    <a:pt x="4441" y="0"/>
                    <a:pt x="4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4" name="Google Shape;11914;p61"/>
            <p:cNvSpPr/>
            <p:nvPr/>
          </p:nvSpPr>
          <p:spPr>
            <a:xfrm>
              <a:off x="5459373" y="2530701"/>
              <a:ext cx="66813" cy="72832"/>
            </a:xfrm>
            <a:custGeom>
              <a:avLst/>
              <a:gdLst/>
              <a:ahLst/>
              <a:cxnLst/>
              <a:rect l="l" t="t" r="r" b="b"/>
              <a:pathLst>
                <a:path w="2109" h="2299" extrusionOk="0">
                  <a:moveTo>
                    <a:pt x="1060" y="346"/>
                  </a:moveTo>
                  <a:cubicBezTo>
                    <a:pt x="1263" y="346"/>
                    <a:pt x="1429" y="512"/>
                    <a:pt x="1429" y="727"/>
                  </a:cubicBezTo>
                  <a:cubicBezTo>
                    <a:pt x="1429" y="929"/>
                    <a:pt x="1263" y="1096"/>
                    <a:pt x="1060" y="1096"/>
                  </a:cubicBezTo>
                  <a:cubicBezTo>
                    <a:pt x="846" y="1096"/>
                    <a:pt x="679" y="929"/>
                    <a:pt x="679" y="727"/>
                  </a:cubicBezTo>
                  <a:cubicBezTo>
                    <a:pt x="679" y="512"/>
                    <a:pt x="846" y="346"/>
                    <a:pt x="1060" y="346"/>
                  </a:cubicBezTo>
                  <a:close/>
                  <a:moveTo>
                    <a:pt x="1775" y="1417"/>
                  </a:moveTo>
                  <a:cubicBezTo>
                    <a:pt x="1679" y="1739"/>
                    <a:pt x="1394" y="1965"/>
                    <a:pt x="1060" y="1965"/>
                  </a:cubicBezTo>
                  <a:cubicBezTo>
                    <a:pt x="715" y="1965"/>
                    <a:pt x="429" y="1727"/>
                    <a:pt x="358" y="1417"/>
                  </a:cubicBezTo>
                  <a:close/>
                  <a:moveTo>
                    <a:pt x="1060" y="0"/>
                  </a:moveTo>
                  <a:cubicBezTo>
                    <a:pt x="667" y="0"/>
                    <a:pt x="358" y="322"/>
                    <a:pt x="358" y="703"/>
                  </a:cubicBezTo>
                  <a:cubicBezTo>
                    <a:pt x="358" y="834"/>
                    <a:pt x="406" y="977"/>
                    <a:pt x="465" y="1072"/>
                  </a:cubicBezTo>
                  <a:lnTo>
                    <a:pt x="167" y="1072"/>
                  </a:lnTo>
                  <a:cubicBezTo>
                    <a:pt x="72" y="1072"/>
                    <a:pt x="1" y="1155"/>
                    <a:pt x="1" y="1239"/>
                  </a:cubicBezTo>
                  <a:cubicBezTo>
                    <a:pt x="1" y="1822"/>
                    <a:pt x="477" y="2298"/>
                    <a:pt x="1060" y="2298"/>
                  </a:cubicBezTo>
                  <a:cubicBezTo>
                    <a:pt x="1632" y="2298"/>
                    <a:pt x="2108" y="1822"/>
                    <a:pt x="2108" y="1239"/>
                  </a:cubicBezTo>
                  <a:cubicBezTo>
                    <a:pt x="2108" y="1155"/>
                    <a:pt x="2037" y="1072"/>
                    <a:pt x="1953" y="1072"/>
                  </a:cubicBezTo>
                  <a:lnTo>
                    <a:pt x="1656" y="1072"/>
                  </a:lnTo>
                  <a:cubicBezTo>
                    <a:pt x="1715" y="977"/>
                    <a:pt x="1751" y="834"/>
                    <a:pt x="1751" y="703"/>
                  </a:cubicBezTo>
                  <a:cubicBezTo>
                    <a:pt x="1751" y="322"/>
                    <a:pt x="1441"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5" name="Google Shape;11915;p61"/>
            <p:cNvSpPr/>
            <p:nvPr/>
          </p:nvSpPr>
          <p:spPr>
            <a:xfrm>
              <a:off x="5446923" y="2502854"/>
              <a:ext cx="23792" cy="16188"/>
            </a:xfrm>
            <a:custGeom>
              <a:avLst/>
              <a:gdLst/>
              <a:ahLst/>
              <a:cxnLst/>
              <a:rect l="l" t="t" r="r" b="b"/>
              <a:pathLst>
                <a:path w="751" h="511" extrusionOk="0">
                  <a:moveTo>
                    <a:pt x="560" y="1"/>
                  </a:moveTo>
                  <a:cubicBezTo>
                    <a:pt x="534" y="1"/>
                    <a:pt x="506" y="7"/>
                    <a:pt x="477" y="22"/>
                  </a:cubicBezTo>
                  <a:lnTo>
                    <a:pt x="120" y="201"/>
                  </a:lnTo>
                  <a:cubicBezTo>
                    <a:pt x="37" y="248"/>
                    <a:pt x="1" y="355"/>
                    <a:pt x="48" y="427"/>
                  </a:cubicBezTo>
                  <a:cubicBezTo>
                    <a:pt x="84" y="486"/>
                    <a:pt x="132" y="510"/>
                    <a:pt x="203" y="510"/>
                  </a:cubicBezTo>
                  <a:cubicBezTo>
                    <a:pt x="227" y="510"/>
                    <a:pt x="239" y="510"/>
                    <a:pt x="275" y="498"/>
                  </a:cubicBezTo>
                  <a:lnTo>
                    <a:pt x="632" y="320"/>
                  </a:lnTo>
                  <a:cubicBezTo>
                    <a:pt x="715" y="272"/>
                    <a:pt x="751" y="165"/>
                    <a:pt x="703" y="93"/>
                  </a:cubicBezTo>
                  <a:cubicBezTo>
                    <a:pt x="670" y="36"/>
                    <a:pt x="620" y="1"/>
                    <a:pt x="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16" name="Google Shape;11916;p61"/>
          <p:cNvGrpSpPr/>
          <p:nvPr/>
        </p:nvGrpSpPr>
        <p:grpSpPr>
          <a:xfrm>
            <a:off x="6255238" y="2412249"/>
            <a:ext cx="271244" cy="360994"/>
            <a:chOff x="6255238" y="2412249"/>
            <a:chExt cx="271244" cy="360994"/>
          </a:xfrm>
        </p:grpSpPr>
        <p:sp>
          <p:nvSpPr>
            <p:cNvPr id="11917" name="Google Shape;11917;p61"/>
            <p:cNvSpPr/>
            <p:nvPr/>
          </p:nvSpPr>
          <p:spPr>
            <a:xfrm>
              <a:off x="6351799" y="2554080"/>
              <a:ext cx="10613" cy="15872"/>
            </a:xfrm>
            <a:custGeom>
              <a:avLst/>
              <a:gdLst/>
              <a:ahLst/>
              <a:cxnLst/>
              <a:rect l="l" t="t" r="r" b="b"/>
              <a:pathLst>
                <a:path w="335" h="501" extrusionOk="0">
                  <a:moveTo>
                    <a:pt x="168" y="0"/>
                  </a:moveTo>
                  <a:cubicBezTo>
                    <a:pt x="72" y="0"/>
                    <a:pt x="1" y="72"/>
                    <a:pt x="1" y="167"/>
                  </a:cubicBezTo>
                  <a:lnTo>
                    <a:pt x="1" y="346"/>
                  </a:lnTo>
                  <a:cubicBezTo>
                    <a:pt x="1" y="429"/>
                    <a:pt x="72" y="501"/>
                    <a:pt x="168" y="501"/>
                  </a:cubicBezTo>
                  <a:cubicBezTo>
                    <a:pt x="251" y="501"/>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8" name="Google Shape;11918;p61"/>
            <p:cNvSpPr/>
            <p:nvPr/>
          </p:nvSpPr>
          <p:spPr>
            <a:xfrm>
              <a:off x="6419720" y="2554080"/>
              <a:ext cx="10581" cy="15872"/>
            </a:xfrm>
            <a:custGeom>
              <a:avLst/>
              <a:gdLst/>
              <a:ahLst/>
              <a:cxnLst/>
              <a:rect l="l" t="t" r="r" b="b"/>
              <a:pathLst>
                <a:path w="334" h="501" extrusionOk="0">
                  <a:moveTo>
                    <a:pt x="167" y="0"/>
                  </a:moveTo>
                  <a:cubicBezTo>
                    <a:pt x="71" y="0"/>
                    <a:pt x="0" y="72"/>
                    <a:pt x="0" y="167"/>
                  </a:cubicBezTo>
                  <a:lnTo>
                    <a:pt x="0" y="346"/>
                  </a:lnTo>
                  <a:cubicBezTo>
                    <a:pt x="0" y="429"/>
                    <a:pt x="71" y="501"/>
                    <a:pt x="167" y="501"/>
                  </a:cubicBezTo>
                  <a:cubicBezTo>
                    <a:pt x="250" y="501"/>
                    <a:pt x="321" y="429"/>
                    <a:pt x="321" y="346"/>
                  </a:cubicBezTo>
                  <a:lnTo>
                    <a:pt x="321"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9" name="Google Shape;11919;p61"/>
            <p:cNvSpPr/>
            <p:nvPr/>
          </p:nvSpPr>
          <p:spPr>
            <a:xfrm>
              <a:off x="6368399" y="2593775"/>
              <a:ext cx="45302" cy="15777"/>
            </a:xfrm>
            <a:custGeom>
              <a:avLst/>
              <a:gdLst/>
              <a:ahLst/>
              <a:cxnLst/>
              <a:rect l="l" t="t" r="r" b="b"/>
              <a:pathLst>
                <a:path w="1430" h="498" extrusionOk="0">
                  <a:moveTo>
                    <a:pt x="179" y="1"/>
                  </a:moveTo>
                  <a:cubicBezTo>
                    <a:pt x="135" y="1"/>
                    <a:pt x="90" y="15"/>
                    <a:pt x="60" y="45"/>
                  </a:cubicBezTo>
                  <a:cubicBezTo>
                    <a:pt x="1" y="105"/>
                    <a:pt x="1" y="224"/>
                    <a:pt x="60" y="283"/>
                  </a:cubicBezTo>
                  <a:cubicBezTo>
                    <a:pt x="203" y="426"/>
                    <a:pt x="441" y="498"/>
                    <a:pt x="715" y="498"/>
                  </a:cubicBezTo>
                  <a:cubicBezTo>
                    <a:pt x="977" y="498"/>
                    <a:pt x="1215" y="414"/>
                    <a:pt x="1370" y="283"/>
                  </a:cubicBezTo>
                  <a:cubicBezTo>
                    <a:pt x="1430" y="200"/>
                    <a:pt x="1430" y="105"/>
                    <a:pt x="1370" y="45"/>
                  </a:cubicBezTo>
                  <a:cubicBezTo>
                    <a:pt x="1340" y="15"/>
                    <a:pt x="1299" y="1"/>
                    <a:pt x="1255" y="1"/>
                  </a:cubicBezTo>
                  <a:cubicBezTo>
                    <a:pt x="1212" y="1"/>
                    <a:pt x="1168" y="15"/>
                    <a:pt x="1132" y="45"/>
                  </a:cubicBezTo>
                  <a:cubicBezTo>
                    <a:pt x="1072" y="105"/>
                    <a:pt x="918" y="176"/>
                    <a:pt x="715" y="176"/>
                  </a:cubicBezTo>
                  <a:cubicBezTo>
                    <a:pt x="501" y="176"/>
                    <a:pt x="358" y="105"/>
                    <a:pt x="298" y="45"/>
                  </a:cubicBezTo>
                  <a:cubicBezTo>
                    <a:pt x="269" y="15"/>
                    <a:pt x="22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0" name="Google Shape;11920;p61"/>
            <p:cNvSpPr/>
            <p:nvPr/>
          </p:nvSpPr>
          <p:spPr>
            <a:xfrm>
              <a:off x="6255238" y="2412249"/>
              <a:ext cx="271244" cy="360994"/>
            </a:xfrm>
            <a:custGeom>
              <a:avLst/>
              <a:gdLst/>
              <a:ahLst/>
              <a:cxnLst/>
              <a:rect l="l" t="t" r="r" b="b"/>
              <a:pathLst>
                <a:path w="8562" h="11395" extrusionOk="0">
                  <a:moveTo>
                    <a:pt x="4287" y="334"/>
                  </a:moveTo>
                  <a:cubicBezTo>
                    <a:pt x="5621" y="334"/>
                    <a:pt x="6442" y="751"/>
                    <a:pt x="6442" y="1072"/>
                  </a:cubicBezTo>
                  <a:lnTo>
                    <a:pt x="6442" y="1489"/>
                  </a:lnTo>
                  <a:cubicBezTo>
                    <a:pt x="5823" y="1215"/>
                    <a:pt x="5073" y="1084"/>
                    <a:pt x="4287" y="1084"/>
                  </a:cubicBezTo>
                  <a:cubicBezTo>
                    <a:pt x="3501" y="1084"/>
                    <a:pt x="2763" y="1227"/>
                    <a:pt x="2132" y="1489"/>
                  </a:cubicBezTo>
                  <a:lnTo>
                    <a:pt x="2132" y="1072"/>
                  </a:lnTo>
                  <a:cubicBezTo>
                    <a:pt x="2132" y="775"/>
                    <a:pt x="2942" y="334"/>
                    <a:pt x="4287" y="334"/>
                  </a:cubicBezTo>
                  <a:close/>
                  <a:moveTo>
                    <a:pt x="4299" y="1394"/>
                  </a:moveTo>
                  <a:cubicBezTo>
                    <a:pt x="5263" y="1394"/>
                    <a:pt x="6168" y="1632"/>
                    <a:pt x="6859" y="2049"/>
                  </a:cubicBezTo>
                  <a:cubicBezTo>
                    <a:pt x="7514" y="2453"/>
                    <a:pt x="7871" y="2989"/>
                    <a:pt x="7871" y="3549"/>
                  </a:cubicBezTo>
                  <a:cubicBezTo>
                    <a:pt x="7871" y="3882"/>
                    <a:pt x="7740" y="4204"/>
                    <a:pt x="7478" y="4501"/>
                  </a:cubicBezTo>
                  <a:lnTo>
                    <a:pt x="7478" y="3549"/>
                  </a:lnTo>
                  <a:cubicBezTo>
                    <a:pt x="7478" y="3084"/>
                    <a:pt x="7180" y="2656"/>
                    <a:pt x="6633" y="2334"/>
                  </a:cubicBezTo>
                  <a:cubicBezTo>
                    <a:pt x="6608" y="2318"/>
                    <a:pt x="6579" y="2310"/>
                    <a:pt x="6550" y="2310"/>
                  </a:cubicBezTo>
                  <a:cubicBezTo>
                    <a:pt x="6495" y="2310"/>
                    <a:pt x="6438" y="2339"/>
                    <a:pt x="6406" y="2394"/>
                  </a:cubicBezTo>
                  <a:cubicBezTo>
                    <a:pt x="6371" y="2465"/>
                    <a:pt x="6395" y="2572"/>
                    <a:pt x="6466" y="2608"/>
                  </a:cubicBezTo>
                  <a:cubicBezTo>
                    <a:pt x="6918" y="2882"/>
                    <a:pt x="7157" y="3204"/>
                    <a:pt x="7157" y="3537"/>
                  </a:cubicBezTo>
                  <a:lnTo>
                    <a:pt x="7157" y="6394"/>
                  </a:lnTo>
                  <a:cubicBezTo>
                    <a:pt x="7157" y="6990"/>
                    <a:pt x="7299" y="7490"/>
                    <a:pt x="7418" y="7823"/>
                  </a:cubicBezTo>
                  <a:cubicBezTo>
                    <a:pt x="7454" y="7906"/>
                    <a:pt x="7418" y="8002"/>
                    <a:pt x="7359" y="8049"/>
                  </a:cubicBezTo>
                  <a:cubicBezTo>
                    <a:pt x="7157" y="8216"/>
                    <a:pt x="6847" y="8407"/>
                    <a:pt x="6395" y="8573"/>
                  </a:cubicBezTo>
                  <a:lnTo>
                    <a:pt x="5894" y="8383"/>
                  </a:lnTo>
                  <a:cubicBezTo>
                    <a:pt x="5668" y="8311"/>
                    <a:pt x="5537" y="8109"/>
                    <a:pt x="5537" y="7871"/>
                  </a:cubicBezTo>
                  <a:lnTo>
                    <a:pt x="5537" y="7144"/>
                  </a:lnTo>
                  <a:cubicBezTo>
                    <a:pt x="6275" y="6704"/>
                    <a:pt x="6787" y="5906"/>
                    <a:pt x="6787" y="4978"/>
                  </a:cubicBezTo>
                  <a:lnTo>
                    <a:pt x="6787" y="4263"/>
                  </a:lnTo>
                  <a:cubicBezTo>
                    <a:pt x="6787" y="3775"/>
                    <a:pt x="6383" y="3394"/>
                    <a:pt x="5906" y="3394"/>
                  </a:cubicBezTo>
                  <a:lnTo>
                    <a:pt x="5621" y="3394"/>
                  </a:lnTo>
                  <a:lnTo>
                    <a:pt x="4775" y="2537"/>
                  </a:lnTo>
                  <a:cubicBezTo>
                    <a:pt x="4744" y="2514"/>
                    <a:pt x="4703" y="2495"/>
                    <a:pt x="4662" y="2495"/>
                  </a:cubicBezTo>
                  <a:cubicBezTo>
                    <a:pt x="4640" y="2495"/>
                    <a:pt x="4617" y="2501"/>
                    <a:pt x="4597" y="2513"/>
                  </a:cubicBezTo>
                  <a:cubicBezTo>
                    <a:pt x="4537" y="2537"/>
                    <a:pt x="4490" y="2596"/>
                    <a:pt x="4490" y="2656"/>
                  </a:cubicBezTo>
                  <a:lnTo>
                    <a:pt x="4490" y="3382"/>
                  </a:lnTo>
                  <a:lnTo>
                    <a:pt x="3585" y="3382"/>
                  </a:lnTo>
                  <a:cubicBezTo>
                    <a:pt x="3489" y="3382"/>
                    <a:pt x="3418" y="3465"/>
                    <a:pt x="3418" y="3549"/>
                  </a:cubicBezTo>
                  <a:cubicBezTo>
                    <a:pt x="3418" y="3644"/>
                    <a:pt x="3489" y="3715"/>
                    <a:pt x="3585" y="3715"/>
                  </a:cubicBezTo>
                  <a:lnTo>
                    <a:pt x="4656" y="3715"/>
                  </a:lnTo>
                  <a:cubicBezTo>
                    <a:pt x="4740" y="3715"/>
                    <a:pt x="4823" y="3644"/>
                    <a:pt x="4823" y="3549"/>
                  </a:cubicBezTo>
                  <a:lnTo>
                    <a:pt x="4823" y="3061"/>
                  </a:lnTo>
                  <a:lnTo>
                    <a:pt x="5430" y="3668"/>
                  </a:lnTo>
                  <a:cubicBezTo>
                    <a:pt x="5454" y="3704"/>
                    <a:pt x="5502" y="3715"/>
                    <a:pt x="5549" y="3715"/>
                  </a:cubicBezTo>
                  <a:lnTo>
                    <a:pt x="5906" y="3715"/>
                  </a:lnTo>
                  <a:cubicBezTo>
                    <a:pt x="6204" y="3715"/>
                    <a:pt x="6454" y="3954"/>
                    <a:pt x="6454" y="4263"/>
                  </a:cubicBezTo>
                  <a:lnTo>
                    <a:pt x="6454" y="4978"/>
                  </a:lnTo>
                  <a:cubicBezTo>
                    <a:pt x="6454" y="6168"/>
                    <a:pt x="5490" y="7144"/>
                    <a:pt x="4299" y="7144"/>
                  </a:cubicBezTo>
                  <a:cubicBezTo>
                    <a:pt x="3108" y="7144"/>
                    <a:pt x="2144" y="6168"/>
                    <a:pt x="2144" y="4978"/>
                  </a:cubicBezTo>
                  <a:lnTo>
                    <a:pt x="2144" y="4263"/>
                  </a:lnTo>
                  <a:cubicBezTo>
                    <a:pt x="2144" y="3966"/>
                    <a:pt x="2382" y="3715"/>
                    <a:pt x="2692" y="3715"/>
                  </a:cubicBezTo>
                  <a:lnTo>
                    <a:pt x="2870" y="3715"/>
                  </a:lnTo>
                  <a:cubicBezTo>
                    <a:pt x="2954" y="3715"/>
                    <a:pt x="3037" y="3644"/>
                    <a:pt x="3037" y="3549"/>
                  </a:cubicBezTo>
                  <a:cubicBezTo>
                    <a:pt x="3037" y="3465"/>
                    <a:pt x="2954" y="3382"/>
                    <a:pt x="2870" y="3382"/>
                  </a:cubicBezTo>
                  <a:lnTo>
                    <a:pt x="2692" y="3382"/>
                  </a:lnTo>
                  <a:cubicBezTo>
                    <a:pt x="2204" y="3382"/>
                    <a:pt x="1811" y="3787"/>
                    <a:pt x="1811" y="4263"/>
                  </a:cubicBezTo>
                  <a:lnTo>
                    <a:pt x="1811" y="4978"/>
                  </a:lnTo>
                  <a:cubicBezTo>
                    <a:pt x="1811" y="5906"/>
                    <a:pt x="2323" y="6704"/>
                    <a:pt x="3061" y="7133"/>
                  </a:cubicBezTo>
                  <a:lnTo>
                    <a:pt x="3061" y="7871"/>
                  </a:lnTo>
                  <a:cubicBezTo>
                    <a:pt x="3061" y="8109"/>
                    <a:pt x="2918" y="8299"/>
                    <a:pt x="2704" y="8383"/>
                  </a:cubicBezTo>
                  <a:lnTo>
                    <a:pt x="2204" y="8561"/>
                  </a:lnTo>
                  <a:cubicBezTo>
                    <a:pt x="1751" y="8407"/>
                    <a:pt x="1430" y="8204"/>
                    <a:pt x="1251" y="8061"/>
                  </a:cubicBezTo>
                  <a:cubicBezTo>
                    <a:pt x="1168" y="8014"/>
                    <a:pt x="1144" y="7930"/>
                    <a:pt x="1192" y="7835"/>
                  </a:cubicBezTo>
                  <a:cubicBezTo>
                    <a:pt x="1311" y="7514"/>
                    <a:pt x="1453" y="7002"/>
                    <a:pt x="1453" y="6406"/>
                  </a:cubicBezTo>
                  <a:lnTo>
                    <a:pt x="1453" y="3549"/>
                  </a:lnTo>
                  <a:cubicBezTo>
                    <a:pt x="1453" y="2775"/>
                    <a:pt x="2763" y="2108"/>
                    <a:pt x="4311" y="2108"/>
                  </a:cubicBezTo>
                  <a:cubicBezTo>
                    <a:pt x="4859" y="2108"/>
                    <a:pt x="5394" y="2180"/>
                    <a:pt x="5859" y="2346"/>
                  </a:cubicBezTo>
                  <a:cubicBezTo>
                    <a:pt x="5878" y="2351"/>
                    <a:pt x="5896" y="2353"/>
                    <a:pt x="5914" y="2353"/>
                  </a:cubicBezTo>
                  <a:cubicBezTo>
                    <a:pt x="5985" y="2353"/>
                    <a:pt x="6044" y="2315"/>
                    <a:pt x="6073" y="2239"/>
                  </a:cubicBezTo>
                  <a:cubicBezTo>
                    <a:pt x="6097" y="2156"/>
                    <a:pt x="6049" y="2061"/>
                    <a:pt x="5966" y="2037"/>
                  </a:cubicBezTo>
                  <a:cubicBezTo>
                    <a:pt x="5478" y="1870"/>
                    <a:pt x="4894" y="1775"/>
                    <a:pt x="4311" y="1775"/>
                  </a:cubicBezTo>
                  <a:cubicBezTo>
                    <a:pt x="3478" y="1775"/>
                    <a:pt x="2692" y="1953"/>
                    <a:pt x="2096" y="2275"/>
                  </a:cubicBezTo>
                  <a:cubicBezTo>
                    <a:pt x="1465" y="2596"/>
                    <a:pt x="1108" y="3061"/>
                    <a:pt x="1108" y="3549"/>
                  </a:cubicBezTo>
                  <a:lnTo>
                    <a:pt x="1108" y="4501"/>
                  </a:lnTo>
                  <a:cubicBezTo>
                    <a:pt x="858" y="4204"/>
                    <a:pt x="727" y="3882"/>
                    <a:pt x="727" y="3549"/>
                  </a:cubicBezTo>
                  <a:cubicBezTo>
                    <a:pt x="727" y="2989"/>
                    <a:pt x="1084" y="2465"/>
                    <a:pt x="1739" y="2049"/>
                  </a:cubicBezTo>
                  <a:cubicBezTo>
                    <a:pt x="2418" y="1632"/>
                    <a:pt x="3335" y="1394"/>
                    <a:pt x="4299" y="1394"/>
                  </a:cubicBezTo>
                  <a:close/>
                  <a:moveTo>
                    <a:pt x="5192" y="7323"/>
                  </a:moveTo>
                  <a:lnTo>
                    <a:pt x="5192" y="7883"/>
                  </a:lnTo>
                  <a:cubicBezTo>
                    <a:pt x="5192" y="8252"/>
                    <a:pt x="5430" y="8585"/>
                    <a:pt x="5775" y="8716"/>
                  </a:cubicBezTo>
                  <a:lnTo>
                    <a:pt x="6430" y="8942"/>
                  </a:lnTo>
                  <a:cubicBezTo>
                    <a:pt x="6264" y="9323"/>
                    <a:pt x="5978" y="9669"/>
                    <a:pt x="5621" y="9919"/>
                  </a:cubicBezTo>
                  <a:cubicBezTo>
                    <a:pt x="5240" y="10204"/>
                    <a:pt x="4763" y="10359"/>
                    <a:pt x="4287" y="10359"/>
                  </a:cubicBezTo>
                  <a:cubicBezTo>
                    <a:pt x="3347" y="10359"/>
                    <a:pt x="2501" y="9788"/>
                    <a:pt x="2144" y="8942"/>
                  </a:cubicBezTo>
                  <a:lnTo>
                    <a:pt x="2799" y="8716"/>
                  </a:lnTo>
                  <a:cubicBezTo>
                    <a:pt x="3156" y="8597"/>
                    <a:pt x="3382" y="8252"/>
                    <a:pt x="3382" y="7883"/>
                  </a:cubicBezTo>
                  <a:lnTo>
                    <a:pt x="3382" y="7323"/>
                  </a:lnTo>
                  <a:cubicBezTo>
                    <a:pt x="3656" y="7418"/>
                    <a:pt x="3954" y="7478"/>
                    <a:pt x="4287" y="7478"/>
                  </a:cubicBezTo>
                  <a:cubicBezTo>
                    <a:pt x="4597" y="7478"/>
                    <a:pt x="4906" y="7418"/>
                    <a:pt x="5192" y="7323"/>
                  </a:cubicBezTo>
                  <a:close/>
                  <a:moveTo>
                    <a:pt x="4263" y="1"/>
                  </a:moveTo>
                  <a:cubicBezTo>
                    <a:pt x="3061" y="1"/>
                    <a:pt x="1787" y="370"/>
                    <a:pt x="1787" y="1048"/>
                  </a:cubicBezTo>
                  <a:lnTo>
                    <a:pt x="1787" y="1632"/>
                  </a:lnTo>
                  <a:cubicBezTo>
                    <a:pt x="1692" y="1680"/>
                    <a:pt x="1620" y="1727"/>
                    <a:pt x="1525" y="1787"/>
                  </a:cubicBezTo>
                  <a:cubicBezTo>
                    <a:pt x="775" y="2263"/>
                    <a:pt x="358" y="2882"/>
                    <a:pt x="358" y="3573"/>
                  </a:cubicBezTo>
                  <a:cubicBezTo>
                    <a:pt x="358" y="4085"/>
                    <a:pt x="608" y="4573"/>
                    <a:pt x="1072" y="5001"/>
                  </a:cubicBezTo>
                  <a:lnTo>
                    <a:pt x="1072" y="6406"/>
                  </a:lnTo>
                  <a:cubicBezTo>
                    <a:pt x="1072" y="6978"/>
                    <a:pt x="918" y="7478"/>
                    <a:pt x="811" y="7716"/>
                  </a:cubicBezTo>
                  <a:cubicBezTo>
                    <a:pt x="727" y="7942"/>
                    <a:pt x="799" y="8192"/>
                    <a:pt x="989" y="8335"/>
                  </a:cubicBezTo>
                  <a:cubicBezTo>
                    <a:pt x="1144" y="8430"/>
                    <a:pt x="1370" y="8585"/>
                    <a:pt x="1680" y="8728"/>
                  </a:cubicBezTo>
                  <a:lnTo>
                    <a:pt x="811" y="9049"/>
                  </a:lnTo>
                  <a:cubicBezTo>
                    <a:pt x="322" y="9228"/>
                    <a:pt x="1" y="9681"/>
                    <a:pt x="1" y="10204"/>
                  </a:cubicBezTo>
                  <a:lnTo>
                    <a:pt x="1" y="11228"/>
                  </a:lnTo>
                  <a:cubicBezTo>
                    <a:pt x="1" y="11324"/>
                    <a:pt x="72" y="11395"/>
                    <a:pt x="156" y="11395"/>
                  </a:cubicBezTo>
                  <a:cubicBezTo>
                    <a:pt x="251" y="11395"/>
                    <a:pt x="322" y="11324"/>
                    <a:pt x="322" y="11228"/>
                  </a:cubicBezTo>
                  <a:lnTo>
                    <a:pt x="322" y="10204"/>
                  </a:lnTo>
                  <a:cubicBezTo>
                    <a:pt x="322" y="9823"/>
                    <a:pt x="560" y="9478"/>
                    <a:pt x="918" y="9359"/>
                  </a:cubicBezTo>
                  <a:lnTo>
                    <a:pt x="1799" y="9038"/>
                  </a:lnTo>
                  <a:cubicBezTo>
                    <a:pt x="2215" y="10026"/>
                    <a:pt x="3180" y="10681"/>
                    <a:pt x="4251" y="10681"/>
                  </a:cubicBezTo>
                  <a:cubicBezTo>
                    <a:pt x="4799" y="10681"/>
                    <a:pt x="5335" y="10514"/>
                    <a:pt x="5787" y="10192"/>
                  </a:cubicBezTo>
                  <a:cubicBezTo>
                    <a:pt x="6204" y="9895"/>
                    <a:pt x="6514" y="9502"/>
                    <a:pt x="6704" y="9038"/>
                  </a:cubicBezTo>
                  <a:lnTo>
                    <a:pt x="7585" y="9359"/>
                  </a:lnTo>
                  <a:cubicBezTo>
                    <a:pt x="7942" y="9490"/>
                    <a:pt x="8180" y="9835"/>
                    <a:pt x="8180" y="10204"/>
                  </a:cubicBezTo>
                  <a:lnTo>
                    <a:pt x="8180" y="11228"/>
                  </a:lnTo>
                  <a:cubicBezTo>
                    <a:pt x="8180" y="11324"/>
                    <a:pt x="8252" y="11395"/>
                    <a:pt x="8347" y="11395"/>
                  </a:cubicBezTo>
                  <a:cubicBezTo>
                    <a:pt x="8431" y="11395"/>
                    <a:pt x="8514" y="11324"/>
                    <a:pt x="8514" y="11228"/>
                  </a:cubicBezTo>
                  <a:lnTo>
                    <a:pt x="8514" y="10204"/>
                  </a:lnTo>
                  <a:cubicBezTo>
                    <a:pt x="8561" y="9681"/>
                    <a:pt x="8216" y="9204"/>
                    <a:pt x="7728" y="9049"/>
                  </a:cubicBezTo>
                  <a:lnTo>
                    <a:pt x="6859" y="8728"/>
                  </a:lnTo>
                  <a:cubicBezTo>
                    <a:pt x="7157" y="8585"/>
                    <a:pt x="7395" y="8454"/>
                    <a:pt x="7549" y="8335"/>
                  </a:cubicBezTo>
                  <a:cubicBezTo>
                    <a:pt x="7740" y="8192"/>
                    <a:pt x="7811" y="7942"/>
                    <a:pt x="7728" y="7716"/>
                  </a:cubicBezTo>
                  <a:cubicBezTo>
                    <a:pt x="7633" y="7466"/>
                    <a:pt x="7466" y="6978"/>
                    <a:pt x="7466" y="6406"/>
                  </a:cubicBezTo>
                  <a:lnTo>
                    <a:pt x="7466" y="5001"/>
                  </a:lnTo>
                  <a:cubicBezTo>
                    <a:pt x="7930" y="4585"/>
                    <a:pt x="8180" y="4085"/>
                    <a:pt x="8180" y="3573"/>
                  </a:cubicBezTo>
                  <a:cubicBezTo>
                    <a:pt x="8180" y="2882"/>
                    <a:pt x="7764" y="2263"/>
                    <a:pt x="7002" y="1787"/>
                  </a:cubicBezTo>
                  <a:cubicBezTo>
                    <a:pt x="6930" y="1739"/>
                    <a:pt x="6847" y="1680"/>
                    <a:pt x="6752" y="1632"/>
                  </a:cubicBezTo>
                  <a:lnTo>
                    <a:pt x="6752" y="1048"/>
                  </a:lnTo>
                  <a:cubicBezTo>
                    <a:pt x="6752" y="370"/>
                    <a:pt x="5478" y="1"/>
                    <a:pt x="4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1" name="Google Shape;11921;p61"/>
            <p:cNvSpPr/>
            <p:nvPr/>
          </p:nvSpPr>
          <p:spPr>
            <a:xfrm>
              <a:off x="6345779" y="2535167"/>
              <a:ext cx="22651" cy="12545"/>
            </a:xfrm>
            <a:custGeom>
              <a:avLst/>
              <a:gdLst/>
              <a:ahLst/>
              <a:cxnLst/>
              <a:rect l="l" t="t" r="r" b="b"/>
              <a:pathLst>
                <a:path w="715" h="396" extrusionOk="0">
                  <a:moveTo>
                    <a:pt x="529" y="0"/>
                  </a:moveTo>
                  <a:cubicBezTo>
                    <a:pt x="520" y="0"/>
                    <a:pt x="510" y="1"/>
                    <a:pt x="500" y="2"/>
                  </a:cubicBezTo>
                  <a:lnTo>
                    <a:pt x="143" y="74"/>
                  </a:lnTo>
                  <a:cubicBezTo>
                    <a:pt x="60" y="86"/>
                    <a:pt x="0" y="181"/>
                    <a:pt x="12" y="264"/>
                  </a:cubicBezTo>
                  <a:cubicBezTo>
                    <a:pt x="24" y="336"/>
                    <a:pt x="96" y="395"/>
                    <a:pt x="179" y="395"/>
                  </a:cubicBezTo>
                  <a:lnTo>
                    <a:pt x="203" y="395"/>
                  </a:lnTo>
                  <a:lnTo>
                    <a:pt x="560" y="324"/>
                  </a:lnTo>
                  <a:cubicBezTo>
                    <a:pt x="667" y="312"/>
                    <a:pt x="715" y="228"/>
                    <a:pt x="703" y="133"/>
                  </a:cubicBezTo>
                  <a:cubicBezTo>
                    <a:pt x="681" y="48"/>
                    <a:pt x="612" y="0"/>
                    <a:pt x="5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2" name="Google Shape;11922;p61"/>
            <p:cNvSpPr/>
            <p:nvPr/>
          </p:nvSpPr>
          <p:spPr>
            <a:xfrm>
              <a:off x="6413670" y="2535167"/>
              <a:ext cx="22651" cy="12545"/>
            </a:xfrm>
            <a:custGeom>
              <a:avLst/>
              <a:gdLst/>
              <a:ahLst/>
              <a:cxnLst/>
              <a:rect l="l" t="t" r="r" b="b"/>
              <a:pathLst>
                <a:path w="715" h="396" extrusionOk="0">
                  <a:moveTo>
                    <a:pt x="177" y="0"/>
                  </a:moveTo>
                  <a:cubicBezTo>
                    <a:pt x="101" y="0"/>
                    <a:pt x="23" y="48"/>
                    <a:pt x="12" y="133"/>
                  </a:cubicBezTo>
                  <a:cubicBezTo>
                    <a:pt x="1" y="228"/>
                    <a:pt x="60" y="312"/>
                    <a:pt x="143" y="324"/>
                  </a:cubicBezTo>
                  <a:lnTo>
                    <a:pt x="501" y="395"/>
                  </a:lnTo>
                  <a:lnTo>
                    <a:pt x="536" y="395"/>
                  </a:lnTo>
                  <a:cubicBezTo>
                    <a:pt x="608" y="395"/>
                    <a:pt x="679" y="336"/>
                    <a:pt x="703" y="264"/>
                  </a:cubicBezTo>
                  <a:cubicBezTo>
                    <a:pt x="715" y="193"/>
                    <a:pt x="655" y="109"/>
                    <a:pt x="560" y="74"/>
                  </a:cubicBezTo>
                  <a:lnTo>
                    <a:pt x="203" y="2"/>
                  </a:lnTo>
                  <a:cubicBezTo>
                    <a:pt x="194" y="1"/>
                    <a:pt x="186"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23" name="Google Shape;11923;p61"/>
          <p:cNvGrpSpPr/>
          <p:nvPr/>
        </p:nvGrpSpPr>
        <p:grpSpPr>
          <a:xfrm>
            <a:off x="2185372" y="1957799"/>
            <a:ext cx="366664" cy="366981"/>
            <a:chOff x="2185372" y="1957799"/>
            <a:chExt cx="366664" cy="366981"/>
          </a:xfrm>
        </p:grpSpPr>
        <p:sp>
          <p:nvSpPr>
            <p:cNvPr id="11924" name="Google Shape;11924;p61"/>
            <p:cNvSpPr/>
            <p:nvPr/>
          </p:nvSpPr>
          <p:spPr>
            <a:xfrm>
              <a:off x="2228742" y="2000853"/>
              <a:ext cx="75082" cy="74226"/>
            </a:xfrm>
            <a:custGeom>
              <a:avLst/>
              <a:gdLst/>
              <a:ahLst/>
              <a:cxnLst/>
              <a:rect l="l" t="t" r="r" b="b"/>
              <a:pathLst>
                <a:path w="2370" h="2343" extrusionOk="0">
                  <a:moveTo>
                    <a:pt x="179" y="0"/>
                  </a:moveTo>
                  <a:cubicBezTo>
                    <a:pt x="135" y="0"/>
                    <a:pt x="90" y="15"/>
                    <a:pt x="60" y="45"/>
                  </a:cubicBezTo>
                  <a:cubicBezTo>
                    <a:pt x="1" y="104"/>
                    <a:pt x="1" y="223"/>
                    <a:pt x="60" y="283"/>
                  </a:cubicBezTo>
                  <a:lnTo>
                    <a:pt x="2072" y="2295"/>
                  </a:lnTo>
                  <a:cubicBezTo>
                    <a:pt x="2096" y="2331"/>
                    <a:pt x="2144" y="2343"/>
                    <a:pt x="2191" y="2343"/>
                  </a:cubicBezTo>
                  <a:cubicBezTo>
                    <a:pt x="2227" y="2343"/>
                    <a:pt x="2275" y="2331"/>
                    <a:pt x="2310" y="2295"/>
                  </a:cubicBezTo>
                  <a:cubicBezTo>
                    <a:pt x="2370" y="2235"/>
                    <a:pt x="2370" y="2116"/>
                    <a:pt x="2310" y="2057"/>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5" name="Google Shape;11925;p61"/>
            <p:cNvSpPr/>
            <p:nvPr/>
          </p:nvSpPr>
          <p:spPr>
            <a:xfrm>
              <a:off x="2188001" y="2067159"/>
              <a:ext cx="98873" cy="35070"/>
            </a:xfrm>
            <a:custGeom>
              <a:avLst/>
              <a:gdLst/>
              <a:ahLst/>
              <a:cxnLst/>
              <a:rect l="l" t="t" r="r" b="b"/>
              <a:pathLst>
                <a:path w="3121" h="1107" extrusionOk="0">
                  <a:moveTo>
                    <a:pt x="188" y="1"/>
                  </a:moveTo>
                  <a:cubicBezTo>
                    <a:pt x="120" y="1"/>
                    <a:pt x="56" y="54"/>
                    <a:pt x="37" y="131"/>
                  </a:cubicBezTo>
                  <a:cubicBezTo>
                    <a:pt x="1" y="214"/>
                    <a:pt x="60" y="309"/>
                    <a:pt x="156" y="333"/>
                  </a:cubicBezTo>
                  <a:lnTo>
                    <a:pt x="2882" y="1107"/>
                  </a:lnTo>
                  <a:lnTo>
                    <a:pt x="2918" y="1107"/>
                  </a:lnTo>
                  <a:cubicBezTo>
                    <a:pt x="3001" y="1107"/>
                    <a:pt x="3073" y="1071"/>
                    <a:pt x="3085" y="988"/>
                  </a:cubicBezTo>
                  <a:cubicBezTo>
                    <a:pt x="3120" y="904"/>
                    <a:pt x="3061" y="809"/>
                    <a:pt x="2965" y="785"/>
                  </a:cubicBezTo>
                  <a:lnTo>
                    <a:pt x="239" y="11"/>
                  </a:lnTo>
                  <a:cubicBezTo>
                    <a:pt x="222" y="4"/>
                    <a:pt x="205"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6" name="Google Shape;11926;p61"/>
            <p:cNvSpPr/>
            <p:nvPr/>
          </p:nvSpPr>
          <p:spPr>
            <a:xfrm>
              <a:off x="2185372" y="2119114"/>
              <a:ext cx="97733" cy="37066"/>
            </a:xfrm>
            <a:custGeom>
              <a:avLst/>
              <a:gdLst/>
              <a:ahLst/>
              <a:cxnLst/>
              <a:rect l="l" t="t" r="r" b="b"/>
              <a:pathLst>
                <a:path w="3085" h="1170" extrusionOk="0">
                  <a:moveTo>
                    <a:pt x="2872" y="1"/>
                  </a:moveTo>
                  <a:cubicBezTo>
                    <a:pt x="2863" y="1"/>
                    <a:pt x="2855" y="1"/>
                    <a:pt x="2846" y="3"/>
                  </a:cubicBezTo>
                  <a:lnTo>
                    <a:pt x="131" y="836"/>
                  </a:lnTo>
                  <a:cubicBezTo>
                    <a:pt x="48" y="872"/>
                    <a:pt x="0" y="955"/>
                    <a:pt x="12" y="1050"/>
                  </a:cubicBezTo>
                  <a:cubicBezTo>
                    <a:pt x="48" y="1122"/>
                    <a:pt x="108" y="1169"/>
                    <a:pt x="179" y="1169"/>
                  </a:cubicBezTo>
                  <a:cubicBezTo>
                    <a:pt x="191" y="1169"/>
                    <a:pt x="203" y="1169"/>
                    <a:pt x="227" y="1158"/>
                  </a:cubicBezTo>
                  <a:lnTo>
                    <a:pt x="2929" y="324"/>
                  </a:lnTo>
                  <a:cubicBezTo>
                    <a:pt x="3037" y="300"/>
                    <a:pt x="3084" y="217"/>
                    <a:pt x="3048" y="122"/>
                  </a:cubicBezTo>
                  <a:cubicBezTo>
                    <a:pt x="3027" y="47"/>
                    <a:pt x="2948" y="1"/>
                    <a:pt x="28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7" name="Google Shape;11927;p61"/>
            <p:cNvSpPr/>
            <p:nvPr/>
          </p:nvSpPr>
          <p:spPr>
            <a:xfrm>
              <a:off x="2294763" y="1960587"/>
              <a:ext cx="36242" cy="97131"/>
            </a:xfrm>
            <a:custGeom>
              <a:avLst/>
              <a:gdLst/>
              <a:ahLst/>
              <a:cxnLst/>
              <a:rect l="l" t="t" r="r" b="b"/>
              <a:pathLst>
                <a:path w="1144" h="3066" extrusionOk="0">
                  <a:moveTo>
                    <a:pt x="185" y="1"/>
                  </a:moveTo>
                  <a:cubicBezTo>
                    <a:pt x="172" y="1"/>
                    <a:pt x="158" y="2"/>
                    <a:pt x="143" y="6"/>
                  </a:cubicBezTo>
                  <a:cubicBezTo>
                    <a:pt x="60" y="42"/>
                    <a:pt x="0" y="125"/>
                    <a:pt x="24" y="220"/>
                  </a:cubicBezTo>
                  <a:lnTo>
                    <a:pt x="798" y="2947"/>
                  </a:lnTo>
                  <a:cubicBezTo>
                    <a:pt x="822" y="3018"/>
                    <a:pt x="893" y="3066"/>
                    <a:pt x="965" y="3066"/>
                  </a:cubicBezTo>
                  <a:lnTo>
                    <a:pt x="1012" y="3066"/>
                  </a:lnTo>
                  <a:cubicBezTo>
                    <a:pt x="1096" y="3030"/>
                    <a:pt x="1143" y="2947"/>
                    <a:pt x="1131" y="2852"/>
                  </a:cubicBezTo>
                  <a:lnTo>
                    <a:pt x="357" y="125"/>
                  </a:lnTo>
                  <a:cubicBezTo>
                    <a:pt x="327" y="54"/>
                    <a:pt x="262" y="1"/>
                    <a:pt x="1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8" name="Google Shape;11928;p61"/>
            <p:cNvSpPr/>
            <p:nvPr/>
          </p:nvSpPr>
          <p:spPr>
            <a:xfrm>
              <a:off x="2346433" y="1957799"/>
              <a:ext cx="38491" cy="96909"/>
            </a:xfrm>
            <a:custGeom>
              <a:avLst/>
              <a:gdLst/>
              <a:ahLst/>
              <a:cxnLst/>
              <a:rect l="l" t="t" r="r" b="b"/>
              <a:pathLst>
                <a:path w="1215" h="3059" extrusionOk="0">
                  <a:moveTo>
                    <a:pt x="1021" y="0"/>
                  </a:moveTo>
                  <a:cubicBezTo>
                    <a:pt x="953" y="0"/>
                    <a:pt x="889" y="54"/>
                    <a:pt x="870" y="130"/>
                  </a:cubicBezTo>
                  <a:lnTo>
                    <a:pt x="36" y="2832"/>
                  </a:lnTo>
                  <a:cubicBezTo>
                    <a:pt x="0" y="2928"/>
                    <a:pt x="60" y="3011"/>
                    <a:pt x="155" y="3047"/>
                  </a:cubicBezTo>
                  <a:cubicBezTo>
                    <a:pt x="167" y="3047"/>
                    <a:pt x="179" y="3059"/>
                    <a:pt x="203" y="3059"/>
                  </a:cubicBezTo>
                  <a:cubicBezTo>
                    <a:pt x="274" y="3059"/>
                    <a:pt x="334" y="3011"/>
                    <a:pt x="358" y="2940"/>
                  </a:cubicBezTo>
                  <a:lnTo>
                    <a:pt x="1191" y="237"/>
                  </a:lnTo>
                  <a:cubicBezTo>
                    <a:pt x="1215" y="130"/>
                    <a:pt x="1167" y="23"/>
                    <a:pt x="1072" y="11"/>
                  </a:cubicBezTo>
                  <a:cubicBezTo>
                    <a:pt x="1055" y="4"/>
                    <a:pt x="1038" y="0"/>
                    <a:pt x="10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9" name="Google Shape;11929;p61"/>
            <p:cNvSpPr/>
            <p:nvPr/>
          </p:nvSpPr>
          <p:spPr>
            <a:xfrm>
              <a:off x="2290993" y="2100391"/>
              <a:ext cx="37731" cy="121778"/>
            </a:xfrm>
            <a:custGeom>
              <a:avLst/>
              <a:gdLst/>
              <a:ahLst/>
              <a:cxnLst/>
              <a:rect l="l" t="t" r="r" b="b"/>
              <a:pathLst>
                <a:path w="1191" h="3844" extrusionOk="0">
                  <a:moveTo>
                    <a:pt x="721" y="1"/>
                  </a:moveTo>
                  <a:cubicBezTo>
                    <a:pt x="670" y="1"/>
                    <a:pt x="616" y="30"/>
                    <a:pt x="572" y="82"/>
                  </a:cubicBezTo>
                  <a:cubicBezTo>
                    <a:pt x="191" y="629"/>
                    <a:pt x="0" y="1296"/>
                    <a:pt x="60" y="1987"/>
                  </a:cubicBezTo>
                  <a:cubicBezTo>
                    <a:pt x="119" y="2665"/>
                    <a:pt x="417" y="3308"/>
                    <a:pt x="893" y="3796"/>
                  </a:cubicBezTo>
                  <a:cubicBezTo>
                    <a:pt x="917" y="3832"/>
                    <a:pt x="965" y="3844"/>
                    <a:pt x="1012" y="3844"/>
                  </a:cubicBezTo>
                  <a:cubicBezTo>
                    <a:pt x="1060" y="3844"/>
                    <a:pt x="1096" y="3832"/>
                    <a:pt x="1131" y="3796"/>
                  </a:cubicBezTo>
                  <a:cubicBezTo>
                    <a:pt x="1191" y="3725"/>
                    <a:pt x="1191" y="3618"/>
                    <a:pt x="1131" y="3546"/>
                  </a:cubicBezTo>
                  <a:cubicBezTo>
                    <a:pt x="250" y="2665"/>
                    <a:pt x="131" y="1284"/>
                    <a:pt x="857" y="272"/>
                  </a:cubicBezTo>
                  <a:cubicBezTo>
                    <a:pt x="917" y="201"/>
                    <a:pt x="893" y="94"/>
                    <a:pt x="810" y="34"/>
                  </a:cubicBezTo>
                  <a:cubicBezTo>
                    <a:pt x="783" y="12"/>
                    <a:pt x="752" y="1"/>
                    <a:pt x="7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0" name="Google Shape;11930;p61"/>
            <p:cNvSpPr/>
            <p:nvPr/>
          </p:nvSpPr>
          <p:spPr>
            <a:xfrm>
              <a:off x="2353592" y="2091362"/>
              <a:ext cx="68302" cy="20307"/>
            </a:xfrm>
            <a:custGeom>
              <a:avLst/>
              <a:gdLst/>
              <a:ahLst/>
              <a:cxnLst/>
              <a:rect l="l" t="t" r="r" b="b"/>
              <a:pathLst>
                <a:path w="2156" h="641" extrusionOk="0">
                  <a:moveTo>
                    <a:pt x="971" y="1"/>
                  </a:moveTo>
                  <a:cubicBezTo>
                    <a:pt x="708" y="1"/>
                    <a:pt x="417" y="59"/>
                    <a:pt x="120" y="224"/>
                  </a:cubicBezTo>
                  <a:cubicBezTo>
                    <a:pt x="24" y="271"/>
                    <a:pt x="1" y="379"/>
                    <a:pt x="60" y="462"/>
                  </a:cubicBezTo>
                  <a:cubicBezTo>
                    <a:pt x="90" y="522"/>
                    <a:pt x="144" y="554"/>
                    <a:pt x="201" y="554"/>
                  </a:cubicBezTo>
                  <a:cubicBezTo>
                    <a:pt x="234" y="554"/>
                    <a:pt x="268" y="543"/>
                    <a:pt x="298" y="521"/>
                  </a:cubicBezTo>
                  <a:cubicBezTo>
                    <a:pt x="537" y="391"/>
                    <a:pt x="771" y="345"/>
                    <a:pt x="982" y="345"/>
                  </a:cubicBezTo>
                  <a:cubicBezTo>
                    <a:pt x="1488" y="345"/>
                    <a:pt x="1869" y="608"/>
                    <a:pt x="1894" y="617"/>
                  </a:cubicBezTo>
                  <a:cubicBezTo>
                    <a:pt x="1918" y="629"/>
                    <a:pt x="1953" y="640"/>
                    <a:pt x="2001" y="640"/>
                  </a:cubicBezTo>
                  <a:cubicBezTo>
                    <a:pt x="2060" y="640"/>
                    <a:pt x="2096" y="617"/>
                    <a:pt x="2132" y="569"/>
                  </a:cubicBezTo>
                  <a:cubicBezTo>
                    <a:pt x="2156" y="498"/>
                    <a:pt x="2144" y="390"/>
                    <a:pt x="2072" y="331"/>
                  </a:cubicBezTo>
                  <a:cubicBezTo>
                    <a:pt x="2039" y="314"/>
                    <a:pt x="1581" y="1"/>
                    <a:pt x="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1" name="Google Shape;11931;p61"/>
            <p:cNvSpPr/>
            <p:nvPr/>
          </p:nvSpPr>
          <p:spPr>
            <a:xfrm>
              <a:off x="2321532" y="2064434"/>
              <a:ext cx="230504" cy="260346"/>
            </a:xfrm>
            <a:custGeom>
              <a:avLst/>
              <a:gdLst/>
              <a:ahLst/>
              <a:cxnLst/>
              <a:rect l="l" t="t" r="r" b="b"/>
              <a:pathLst>
                <a:path w="7276" h="8218" extrusionOk="0">
                  <a:moveTo>
                    <a:pt x="3322" y="3038"/>
                  </a:moveTo>
                  <a:cubicBezTo>
                    <a:pt x="3394" y="3038"/>
                    <a:pt x="3489" y="3074"/>
                    <a:pt x="3549" y="3134"/>
                  </a:cubicBezTo>
                  <a:cubicBezTo>
                    <a:pt x="3668" y="3241"/>
                    <a:pt x="3668" y="3431"/>
                    <a:pt x="3525" y="3562"/>
                  </a:cubicBezTo>
                  <a:cubicBezTo>
                    <a:pt x="3465" y="3622"/>
                    <a:pt x="3388" y="3651"/>
                    <a:pt x="3311" y="3651"/>
                  </a:cubicBezTo>
                  <a:cubicBezTo>
                    <a:pt x="3233" y="3651"/>
                    <a:pt x="3156" y="3622"/>
                    <a:pt x="3096" y="3562"/>
                  </a:cubicBezTo>
                  <a:cubicBezTo>
                    <a:pt x="2977" y="3443"/>
                    <a:pt x="2977" y="3253"/>
                    <a:pt x="3096" y="3134"/>
                  </a:cubicBezTo>
                  <a:cubicBezTo>
                    <a:pt x="3156" y="3074"/>
                    <a:pt x="3227" y="3038"/>
                    <a:pt x="3322" y="3038"/>
                  </a:cubicBezTo>
                  <a:close/>
                  <a:moveTo>
                    <a:pt x="2441" y="3919"/>
                  </a:moveTo>
                  <a:cubicBezTo>
                    <a:pt x="2537" y="3919"/>
                    <a:pt x="2608" y="3955"/>
                    <a:pt x="2668" y="4015"/>
                  </a:cubicBezTo>
                  <a:cubicBezTo>
                    <a:pt x="2727" y="4074"/>
                    <a:pt x="2751" y="4146"/>
                    <a:pt x="2751" y="4229"/>
                  </a:cubicBezTo>
                  <a:cubicBezTo>
                    <a:pt x="2739" y="4312"/>
                    <a:pt x="2715" y="4384"/>
                    <a:pt x="2656" y="4443"/>
                  </a:cubicBezTo>
                  <a:cubicBezTo>
                    <a:pt x="2596" y="4503"/>
                    <a:pt x="2516" y="4533"/>
                    <a:pt x="2435" y="4533"/>
                  </a:cubicBezTo>
                  <a:cubicBezTo>
                    <a:pt x="2355" y="4533"/>
                    <a:pt x="2275" y="4503"/>
                    <a:pt x="2215" y="4443"/>
                  </a:cubicBezTo>
                  <a:cubicBezTo>
                    <a:pt x="2096" y="4324"/>
                    <a:pt x="2096" y="4134"/>
                    <a:pt x="2215" y="4015"/>
                  </a:cubicBezTo>
                  <a:cubicBezTo>
                    <a:pt x="2275" y="3955"/>
                    <a:pt x="2358" y="3919"/>
                    <a:pt x="2441" y="3919"/>
                  </a:cubicBezTo>
                  <a:close/>
                  <a:moveTo>
                    <a:pt x="6109" y="5062"/>
                  </a:moveTo>
                  <a:lnTo>
                    <a:pt x="6620" y="5586"/>
                  </a:lnTo>
                  <a:lnTo>
                    <a:pt x="4775" y="7432"/>
                  </a:lnTo>
                  <a:lnTo>
                    <a:pt x="4656" y="7551"/>
                  </a:lnTo>
                  <a:lnTo>
                    <a:pt x="4144" y="7027"/>
                  </a:lnTo>
                  <a:lnTo>
                    <a:pt x="4215" y="6955"/>
                  </a:lnTo>
                  <a:lnTo>
                    <a:pt x="4680" y="6491"/>
                  </a:lnTo>
                  <a:lnTo>
                    <a:pt x="5573" y="5598"/>
                  </a:lnTo>
                  <a:lnTo>
                    <a:pt x="6025" y="5146"/>
                  </a:lnTo>
                  <a:lnTo>
                    <a:pt x="6109" y="5062"/>
                  </a:lnTo>
                  <a:close/>
                  <a:moveTo>
                    <a:pt x="6644" y="6062"/>
                  </a:moveTo>
                  <a:lnTo>
                    <a:pt x="6668" y="6098"/>
                  </a:lnTo>
                  <a:cubicBezTo>
                    <a:pt x="6859" y="6289"/>
                    <a:pt x="6978" y="6551"/>
                    <a:pt x="6978" y="6836"/>
                  </a:cubicBezTo>
                  <a:cubicBezTo>
                    <a:pt x="6978" y="7122"/>
                    <a:pt x="6859" y="7384"/>
                    <a:pt x="6668" y="7586"/>
                  </a:cubicBezTo>
                  <a:cubicBezTo>
                    <a:pt x="6478" y="7777"/>
                    <a:pt x="6204" y="7896"/>
                    <a:pt x="5930" y="7896"/>
                  </a:cubicBezTo>
                  <a:cubicBezTo>
                    <a:pt x="5644" y="7896"/>
                    <a:pt x="5370" y="7789"/>
                    <a:pt x="5180" y="7586"/>
                  </a:cubicBezTo>
                  <a:lnTo>
                    <a:pt x="5156" y="7551"/>
                  </a:lnTo>
                  <a:lnTo>
                    <a:pt x="6644" y="6062"/>
                  </a:lnTo>
                  <a:close/>
                  <a:moveTo>
                    <a:pt x="1942" y="1"/>
                  </a:moveTo>
                  <a:cubicBezTo>
                    <a:pt x="1249" y="1"/>
                    <a:pt x="584" y="249"/>
                    <a:pt x="72" y="693"/>
                  </a:cubicBezTo>
                  <a:cubicBezTo>
                    <a:pt x="1" y="752"/>
                    <a:pt x="1" y="859"/>
                    <a:pt x="60" y="931"/>
                  </a:cubicBezTo>
                  <a:cubicBezTo>
                    <a:pt x="91" y="968"/>
                    <a:pt x="135" y="986"/>
                    <a:pt x="181" y="986"/>
                  </a:cubicBezTo>
                  <a:cubicBezTo>
                    <a:pt x="222" y="986"/>
                    <a:pt x="264" y="971"/>
                    <a:pt x="298" y="943"/>
                  </a:cubicBezTo>
                  <a:cubicBezTo>
                    <a:pt x="775" y="540"/>
                    <a:pt x="1365" y="340"/>
                    <a:pt x="1953" y="340"/>
                  </a:cubicBezTo>
                  <a:cubicBezTo>
                    <a:pt x="2601" y="340"/>
                    <a:pt x="3247" y="582"/>
                    <a:pt x="3739" y="1062"/>
                  </a:cubicBezTo>
                  <a:cubicBezTo>
                    <a:pt x="4144" y="1467"/>
                    <a:pt x="4406" y="1967"/>
                    <a:pt x="4477" y="2538"/>
                  </a:cubicBezTo>
                  <a:cubicBezTo>
                    <a:pt x="4620" y="3491"/>
                    <a:pt x="5013" y="4336"/>
                    <a:pt x="5668" y="5003"/>
                  </a:cubicBezTo>
                  <a:lnTo>
                    <a:pt x="5454" y="5229"/>
                  </a:lnTo>
                  <a:lnTo>
                    <a:pt x="3882" y="3669"/>
                  </a:lnTo>
                  <a:cubicBezTo>
                    <a:pt x="4037" y="3419"/>
                    <a:pt x="3989" y="3098"/>
                    <a:pt x="3787" y="2884"/>
                  </a:cubicBezTo>
                  <a:cubicBezTo>
                    <a:pt x="3656" y="2753"/>
                    <a:pt x="3486" y="2687"/>
                    <a:pt x="3318" y="2687"/>
                  </a:cubicBezTo>
                  <a:cubicBezTo>
                    <a:pt x="3150" y="2687"/>
                    <a:pt x="2983" y="2753"/>
                    <a:pt x="2858" y="2884"/>
                  </a:cubicBezTo>
                  <a:cubicBezTo>
                    <a:pt x="2656" y="3086"/>
                    <a:pt x="2608" y="3419"/>
                    <a:pt x="2751" y="3669"/>
                  </a:cubicBezTo>
                  <a:cubicBezTo>
                    <a:pt x="2656" y="3610"/>
                    <a:pt x="2549" y="3574"/>
                    <a:pt x="2429" y="3574"/>
                  </a:cubicBezTo>
                  <a:cubicBezTo>
                    <a:pt x="2251" y="3574"/>
                    <a:pt x="2084" y="3657"/>
                    <a:pt x="1965" y="3776"/>
                  </a:cubicBezTo>
                  <a:cubicBezTo>
                    <a:pt x="1715" y="4027"/>
                    <a:pt x="1715" y="4443"/>
                    <a:pt x="1965" y="4693"/>
                  </a:cubicBezTo>
                  <a:cubicBezTo>
                    <a:pt x="2096" y="4824"/>
                    <a:pt x="2263" y="4884"/>
                    <a:pt x="2429" y="4884"/>
                  </a:cubicBezTo>
                  <a:cubicBezTo>
                    <a:pt x="2537" y="4884"/>
                    <a:pt x="2656" y="4860"/>
                    <a:pt x="2739" y="4800"/>
                  </a:cubicBezTo>
                  <a:cubicBezTo>
                    <a:pt x="2834" y="4884"/>
                    <a:pt x="2906" y="4967"/>
                    <a:pt x="2989" y="5039"/>
                  </a:cubicBezTo>
                  <a:cubicBezTo>
                    <a:pt x="3025" y="5062"/>
                    <a:pt x="3072" y="5086"/>
                    <a:pt x="3108" y="5086"/>
                  </a:cubicBezTo>
                  <a:cubicBezTo>
                    <a:pt x="3156" y="5086"/>
                    <a:pt x="3203" y="5062"/>
                    <a:pt x="3227" y="5027"/>
                  </a:cubicBezTo>
                  <a:cubicBezTo>
                    <a:pt x="3287" y="4943"/>
                    <a:pt x="3287" y="4848"/>
                    <a:pt x="3215" y="4789"/>
                  </a:cubicBezTo>
                  <a:cubicBezTo>
                    <a:pt x="3144" y="4705"/>
                    <a:pt x="3049" y="4634"/>
                    <a:pt x="2977" y="4562"/>
                  </a:cubicBezTo>
                  <a:cubicBezTo>
                    <a:pt x="3037" y="4455"/>
                    <a:pt x="3072" y="4348"/>
                    <a:pt x="3072" y="4229"/>
                  </a:cubicBezTo>
                  <a:cubicBezTo>
                    <a:pt x="3072" y="4110"/>
                    <a:pt x="3037" y="3991"/>
                    <a:pt x="2977" y="3907"/>
                  </a:cubicBezTo>
                  <a:lnTo>
                    <a:pt x="2977" y="3907"/>
                  </a:lnTo>
                  <a:cubicBezTo>
                    <a:pt x="3084" y="3967"/>
                    <a:pt x="3203" y="3991"/>
                    <a:pt x="3311" y="3991"/>
                  </a:cubicBezTo>
                  <a:cubicBezTo>
                    <a:pt x="3430" y="3991"/>
                    <a:pt x="3525" y="3967"/>
                    <a:pt x="3632" y="3907"/>
                  </a:cubicBezTo>
                  <a:lnTo>
                    <a:pt x="5192" y="5467"/>
                  </a:lnTo>
                  <a:lnTo>
                    <a:pt x="4537" y="6122"/>
                  </a:lnTo>
                  <a:lnTo>
                    <a:pt x="3751" y="5336"/>
                  </a:lnTo>
                  <a:cubicBezTo>
                    <a:pt x="3721" y="5300"/>
                    <a:pt x="3677" y="5283"/>
                    <a:pt x="3632" y="5283"/>
                  </a:cubicBezTo>
                  <a:cubicBezTo>
                    <a:pt x="3587" y="5283"/>
                    <a:pt x="3543" y="5300"/>
                    <a:pt x="3513" y="5336"/>
                  </a:cubicBezTo>
                  <a:cubicBezTo>
                    <a:pt x="3442" y="5396"/>
                    <a:pt x="3442" y="5515"/>
                    <a:pt x="3513" y="5574"/>
                  </a:cubicBezTo>
                  <a:lnTo>
                    <a:pt x="4299" y="6360"/>
                  </a:lnTo>
                  <a:lnTo>
                    <a:pt x="4084" y="6586"/>
                  </a:lnTo>
                  <a:cubicBezTo>
                    <a:pt x="3394" y="5932"/>
                    <a:pt x="2537" y="5515"/>
                    <a:pt x="1620" y="5396"/>
                  </a:cubicBezTo>
                  <a:cubicBezTo>
                    <a:pt x="1286" y="5348"/>
                    <a:pt x="941" y="5229"/>
                    <a:pt x="644" y="5050"/>
                  </a:cubicBezTo>
                  <a:cubicBezTo>
                    <a:pt x="621" y="5035"/>
                    <a:pt x="595" y="5029"/>
                    <a:pt x="568" y="5029"/>
                  </a:cubicBezTo>
                  <a:cubicBezTo>
                    <a:pt x="510" y="5029"/>
                    <a:pt x="446" y="5061"/>
                    <a:pt x="405" y="5110"/>
                  </a:cubicBezTo>
                  <a:cubicBezTo>
                    <a:pt x="358" y="5181"/>
                    <a:pt x="394" y="5289"/>
                    <a:pt x="465" y="5348"/>
                  </a:cubicBezTo>
                  <a:cubicBezTo>
                    <a:pt x="810" y="5562"/>
                    <a:pt x="1179" y="5681"/>
                    <a:pt x="1560" y="5741"/>
                  </a:cubicBezTo>
                  <a:cubicBezTo>
                    <a:pt x="2394" y="5836"/>
                    <a:pt x="3191" y="6229"/>
                    <a:pt x="3823" y="6824"/>
                  </a:cubicBezTo>
                  <a:lnTo>
                    <a:pt x="3751" y="6896"/>
                  </a:lnTo>
                  <a:cubicBezTo>
                    <a:pt x="3692" y="6955"/>
                    <a:pt x="3692" y="7075"/>
                    <a:pt x="3751" y="7134"/>
                  </a:cubicBezTo>
                  <a:lnTo>
                    <a:pt x="4525" y="7908"/>
                  </a:lnTo>
                  <a:cubicBezTo>
                    <a:pt x="4561" y="7944"/>
                    <a:pt x="4596" y="7956"/>
                    <a:pt x="4644" y="7956"/>
                  </a:cubicBezTo>
                  <a:cubicBezTo>
                    <a:pt x="4692" y="7956"/>
                    <a:pt x="4739" y="7944"/>
                    <a:pt x="4763" y="7908"/>
                  </a:cubicBezTo>
                  <a:lnTo>
                    <a:pt x="4882" y="7789"/>
                  </a:lnTo>
                  <a:lnTo>
                    <a:pt x="4918" y="7825"/>
                  </a:lnTo>
                  <a:cubicBezTo>
                    <a:pt x="5180" y="8087"/>
                    <a:pt x="5525" y="8217"/>
                    <a:pt x="5894" y="8217"/>
                  </a:cubicBezTo>
                  <a:cubicBezTo>
                    <a:pt x="6263" y="8217"/>
                    <a:pt x="6620" y="8075"/>
                    <a:pt x="6882" y="7825"/>
                  </a:cubicBezTo>
                  <a:cubicBezTo>
                    <a:pt x="7144" y="7551"/>
                    <a:pt x="7275" y="7205"/>
                    <a:pt x="7275" y="6836"/>
                  </a:cubicBezTo>
                  <a:cubicBezTo>
                    <a:pt x="7275" y="6467"/>
                    <a:pt x="7180" y="6122"/>
                    <a:pt x="6906" y="5860"/>
                  </a:cubicBezTo>
                  <a:lnTo>
                    <a:pt x="6882" y="5824"/>
                  </a:lnTo>
                  <a:lnTo>
                    <a:pt x="6990" y="5705"/>
                  </a:lnTo>
                  <a:cubicBezTo>
                    <a:pt x="7049" y="5646"/>
                    <a:pt x="7049" y="5527"/>
                    <a:pt x="6990" y="5467"/>
                  </a:cubicBezTo>
                  <a:lnTo>
                    <a:pt x="6216" y="4693"/>
                  </a:lnTo>
                  <a:cubicBezTo>
                    <a:pt x="6192" y="4669"/>
                    <a:pt x="6144" y="4646"/>
                    <a:pt x="6097" y="4646"/>
                  </a:cubicBezTo>
                  <a:cubicBezTo>
                    <a:pt x="6061" y="4646"/>
                    <a:pt x="6013" y="4669"/>
                    <a:pt x="5989" y="4693"/>
                  </a:cubicBezTo>
                  <a:lnTo>
                    <a:pt x="5906" y="4765"/>
                  </a:lnTo>
                  <a:cubicBezTo>
                    <a:pt x="5311" y="4157"/>
                    <a:pt x="4942" y="3372"/>
                    <a:pt x="4823" y="2491"/>
                  </a:cubicBezTo>
                  <a:cubicBezTo>
                    <a:pt x="4739" y="1848"/>
                    <a:pt x="4454" y="1276"/>
                    <a:pt x="3977" y="824"/>
                  </a:cubicBezTo>
                  <a:cubicBezTo>
                    <a:pt x="3453" y="324"/>
                    <a:pt x="2775" y="26"/>
                    <a:pt x="2037" y="2"/>
                  </a:cubicBezTo>
                  <a:cubicBezTo>
                    <a:pt x="2005" y="1"/>
                    <a:pt x="1973" y="1"/>
                    <a:pt x="19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2" name="Google Shape;11932;p61"/>
          <p:cNvGrpSpPr/>
          <p:nvPr/>
        </p:nvGrpSpPr>
        <p:grpSpPr>
          <a:xfrm>
            <a:off x="1737258" y="1988371"/>
            <a:ext cx="370814" cy="307359"/>
            <a:chOff x="1737258" y="1988371"/>
            <a:chExt cx="370814" cy="307359"/>
          </a:xfrm>
        </p:grpSpPr>
        <p:sp>
          <p:nvSpPr>
            <p:cNvPr id="11933" name="Google Shape;11933;p61"/>
            <p:cNvSpPr/>
            <p:nvPr/>
          </p:nvSpPr>
          <p:spPr>
            <a:xfrm>
              <a:off x="1963200" y="1996607"/>
              <a:ext cx="144873" cy="144492"/>
            </a:xfrm>
            <a:custGeom>
              <a:avLst/>
              <a:gdLst/>
              <a:ahLst/>
              <a:cxnLst/>
              <a:rect l="l" t="t" r="r" b="b"/>
              <a:pathLst>
                <a:path w="4573" h="4561" extrusionOk="0">
                  <a:moveTo>
                    <a:pt x="167" y="0"/>
                  </a:moveTo>
                  <a:cubicBezTo>
                    <a:pt x="72" y="0"/>
                    <a:pt x="1" y="83"/>
                    <a:pt x="1" y="167"/>
                  </a:cubicBezTo>
                  <a:lnTo>
                    <a:pt x="1" y="4393"/>
                  </a:lnTo>
                  <a:cubicBezTo>
                    <a:pt x="1" y="4489"/>
                    <a:pt x="72" y="4560"/>
                    <a:pt x="167" y="4560"/>
                  </a:cubicBezTo>
                  <a:lnTo>
                    <a:pt x="4394" y="4560"/>
                  </a:lnTo>
                  <a:cubicBezTo>
                    <a:pt x="4477" y="4560"/>
                    <a:pt x="4561" y="4489"/>
                    <a:pt x="4561" y="4393"/>
                  </a:cubicBezTo>
                  <a:cubicBezTo>
                    <a:pt x="4573" y="3596"/>
                    <a:pt x="4346" y="2798"/>
                    <a:pt x="3930" y="2119"/>
                  </a:cubicBezTo>
                  <a:cubicBezTo>
                    <a:pt x="3897" y="2070"/>
                    <a:pt x="3842" y="2038"/>
                    <a:pt x="3780" y="2038"/>
                  </a:cubicBezTo>
                  <a:cubicBezTo>
                    <a:pt x="3751" y="2038"/>
                    <a:pt x="3721" y="2045"/>
                    <a:pt x="3692" y="2060"/>
                  </a:cubicBezTo>
                  <a:cubicBezTo>
                    <a:pt x="3620" y="2107"/>
                    <a:pt x="3584" y="2203"/>
                    <a:pt x="3632" y="2298"/>
                  </a:cubicBezTo>
                  <a:cubicBezTo>
                    <a:pt x="3989" y="2881"/>
                    <a:pt x="4204" y="3548"/>
                    <a:pt x="4227" y="4227"/>
                  </a:cubicBezTo>
                  <a:lnTo>
                    <a:pt x="346" y="4227"/>
                  </a:lnTo>
                  <a:lnTo>
                    <a:pt x="346" y="345"/>
                  </a:lnTo>
                  <a:cubicBezTo>
                    <a:pt x="1465" y="393"/>
                    <a:pt x="2513" y="893"/>
                    <a:pt x="3251" y="1762"/>
                  </a:cubicBezTo>
                  <a:cubicBezTo>
                    <a:pt x="3276" y="1800"/>
                    <a:pt x="3317" y="1817"/>
                    <a:pt x="3363" y="1817"/>
                  </a:cubicBezTo>
                  <a:cubicBezTo>
                    <a:pt x="3404" y="1817"/>
                    <a:pt x="3449" y="1803"/>
                    <a:pt x="3489" y="1774"/>
                  </a:cubicBezTo>
                  <a:cubicBezTo>
                    <a:pt x="3561" y="1715"/>
                    <a:pt x="3561" y="1607"/>
                    <a:pt x="3501" y="1536"/>
                  </a:cubicBezTo>
                  <a:cubicBezTo>
                    <a:pt x="2668" y="560"/>
                    <a:pt x="144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4" name="Google Shape;11934;p61"/>
            <p:cNvSpPr/>
            <p:nvPr/>
          </p:nvSpPr>
          <p:spPr>
            <a:xfrm>
              <a:off x="1737258" y="1988371"/>
              <a:ext cx="350064" cy="307359"/>
            </a:xfrm>
            <a:custGeom>
              <a:avLst/>
              <a:gdLst/>
              <a:ahLst/>
              <a:cxnLst/>
              <a:rect l="l" t="t" r="r" b="b"/>
              <a:pathLst>
                <a:path w="11050" h="9702" extrusionOk="0">
                  <a:moveTo>
                    <a:pt x="10693" y="5463"/>
                  </a:moveTo>
                  <a:cubicBezTo>
                    <a:pt x="10621" y="7320"/>
                    <a:pt x="9323" y="8868"/>
                    <a:pt x="7502" y="9249"/>
                  </a:cubicBezTo>
                  <a:lnTo>
                    <a:pt x="6847" y="5463"/>
                  </a:lnTo>
                  <a:close/>
                  <a:moveTo>
                    <a:pt x="6537" y="5666"/>
                  </a:moveTo>
                  <a:lnTo>
                    <a:pt x="7168" y="9297"/>
                  </a:lnTo>
                  <a:cubicBezTo>
                    <a:pt x="7002" y="9345"/>
                    <a:pt x="6823" y="9345"/>
                    <a:pt x="6656" y="9345"/>
                  </a:cubicBezTo>
                  <a:cubicBezTo>
                    <a:pt x="5752" y="9345"/>
                    <a:pt x="4859" y="9035"/>
                    <a:pt x="4144" y="8463"/>
                  </a:cubicBezTo>
                  <a:lnTo>
                    <a:pt x="4561" y="7975"/>
                  </a:lnTo>
                  <a:lnTo>
                    <a:pt x="6537" y="5666"/>
                  </a:lnTo>
                  <a:close/>
                  <a:moveTo>
                    <a:pt x="2413" y="1"/>
                  </a:moveTo>
                  <a:cubicBezTo>
                    <a:pt x="1956" y="1"/>
                    <a:pt x="1511" y="130"/>
                    <a:pt x="1120" y="379"/>
                  </a:cubicBezTo>
                  <a:cubicBezTo>
                    <a:pt x="394" y="879"/>
                    <a:pt x="1" y="1725"/>
                    <a:pt x="96" y="2582"/>
                  </a:cubicBezTo>
                  <a:cubicBezTo>
                    <a:pt x="107" y="2670"/>
                    <a:pt x="169" y="2738"/>
                    <a:pt x="264" y="2738"/>
                  </a:cubicBezTo>
                  <a:cubicBezTo>
                    <a:pt x="271" y="2738"/>
                    <a:pt x="279" y="2737"/>
                    <a:pt x="287" y="2737"/>
                  </a:cubicBezTo>
                  <a:cubicBezTo>
                    <a:pt x="382" y="2725"/>
                    <a:pt x="453" y="2641"/>
                    <a:pt x="441" y="2546"/>
                  </a:cubicBezTo>
                  <a:cubicBezTo>
                    <a:pt x="346" y="1796"/>
                    <a:pt x="691" y="1070"/>
                    <a:pt x="1311" y="653"/>
                  </a:cubicBezTo>
                  <a:cubicBezTo>
                    <a:pt x="1648" y="431"/>
                    <a:pt x="2026" y="315"/>
                    <a:pt x="2408" y="315"/>
                  </a:cubicBezTo>
                  <a:cubicBezTo>
                    <a:pt x="2538" y="315"/>
                    <a:pt x="2669" y="328"/>
                    <a:pt x="2799" y="355"/>
                  </a:cubicBezTo>
                  <a:cubicBezTo>
                    <a:pt x="3323" y="462"/>
                    <a:pt x="3775" y="760"/>
                    <a:pt x="4073" y="1201"/>
                  </a:cubicBezTo>
                  <a:cubicBezTo>
                    <a:pt x="4168" y="1367"/>
                    <a:pt x="4263" y="1534"/>
                    <a:pt x="4311" y="1713"/>
                  </a:cubicBezTo>
                  <a:lnTo>
                    <a:pt x="4311" y="1725"/>
                  </a:lnTo>
                  <a:cubicBezTo>
                    <a:pt x="4501" y="2332"/>
                    <a:pt x="4382" y="3022"/>
                    <a:pt x="3966" y="3558"/>
                  </a:cubicBezTo>
                  <a:cubicBezTo>
                    <a:pt x="3930" y="3582"/>
                    <a:pt x="3918" y="3630"/>
                    <a:pt x="3930" y="3677"/>
                  </a:cubicBezTo>
                  <a:lnTo>
                    <a:pt x="3978" y="4665"/>
                  </a:lnTo>
                  <a:lnTo>
                    <a:pt x="3073" y="4249"/>
                  </a:lnTo>
                  <a:cubicBezTo>
                    <a:pt x="3037" y="4237"/>
                    <a:pt x="3001" y="4237"/>
                    <a:pt x="2954" y="4237"/>
                  </a:cubicBezTo>
                  <a:cubicBezTo>
                    <a:pt x="2799" y="4284"/>
                    <a:pt x="2644" y="4308"/>
                    <a:pt x="2489" y="4308"/>
                  </a:cubicBezTo>
                  <a:lnTo>
                    <a:pt x="2465" y="4308"/>
                  </a:lnTo>
                  <a:cubicBezTo>
                    <a:pt x="2442" y="4309"/>
                    <a:pt x="2418" y="4309"/>
                    <a:pt x="2395" y="4309"/>
                  </a:cubicBezTo>
                  <a:cubicBezTo>
                    <a:pt x="1742" y="4309"/>
                    <a:pt x="1119" y="3991"/>
                    <a:pt x="751" y="3439"/>
                  </a:cubicBezTo>
                  <a:cubicBezTo>
                    <a:pt x="691" y="3344"/>
                    <a:pt x="644" y="3272"/>
                    <a:pt x="596" y="3177"/>
                  </a:cubicBezTo>
                  <a:cubicBezTo>
                    <a:pt x="571" y="3119"/>
                    <a:pt x="512" y="3084"/>
                    <a:pt x="454" y="3084"/>
                  </a:cubicBezTo>
                  <a:cubicBezTo>
                    <a:pt x="429" y="3084"/>
                    <a:pt x="404" y="3091"/>
                    <a:pt x="382" y="3106"/>
                  </a:cubicBezTo>
                  <a:cubicBezTo>
                    <a:pt x="287" y="3153"/>
                    <a:pt x="263" y="3260"/>
                    <a:pt x="298" y="3332"/>
                  </a:cubicBezTo>
                  <a:cubicBezTo>
                    <a:pt x="346" y="3439"/>
                    <a:pt x="406" y="3534"/>
                    <a:pt x="477" y="3630"/>
                  </a:cubicBezTo>
                  <a:cubicBezTo>
                    <a:pt x="894" y="4249"/>
                    <a:pt x="1584" y="4630"/>
                    <a:pt x="2299" y="4653"/>
                  </a:cubicBezTo>
                  <a:cubicBezTo>
                    <a:pt x="2263" y="4868"/>
                    <a:pt x="2251" y="5082"/>
                    <a:pt x="2251" y="5308"/>
                  </a:cubicBezTo>
                  <a:cubicBezTo>
                    <a:pt x="2251" y="5916"/>
                    <a:pt x="2370" y="6499"/>
                    <a:pt x="2608" y="7047"/>
                  </a:cubicBezTo>
                  <a:cubicBezTo>
                    <a:pt x="2632" y="7106"/>
                    <a:pt x="2692" y="7154"/>
                    <a:pt x="2751" y="7154"/>
                  </a:cubicBezTo>
                  <a:cubicBezTo>
                    <a:pt x="2787" y="7154"/>
                    <a:pt x="2799" y="7154"/>
                    <a:pt x="2835" y="7142"/>
                  </a:cubicBezTo>
                  <a:cubicBezTo>
                    <a:pt x="2918" y="7094"/>
                    <a:pt x="2954" y="7011"/>
                    <a:pt x="2918" y="6916"/>
                  </a:cubicBezTo>
                  <a:cubicBezTo>
                    <a:pt x="2692" y="6416"/>
                    <a:pt x="2596" y="5868"/>
                    <a:pt x="2596" y="5308"/>
                  </a:cubicBezTo>
                  <a:cubicBezTo>
                    <a:pt x="2596" y="5082"/>
                    <a:pt x="2608" y="4856"/>
                    <a:pt x="2656" y="4653"/>
                  </a:cubicBezTo>
                  <a:cubicBezTo>
                    <a:pt x="2775" y="4642"/>
                    <a:pt x="2894" y="4630"/>
                    <a:pt x="3013" y="4594"/>
                  </a:cubicBezTo>
                  <a:lnTo>
                    <a:pt x="4108" y="5118"/>
                  </a:lnTo>
                  <a:cubicBezTo>
                    <a:pt x="4144" y="5130"/>
                    <a:pt x="4156" y="5130"/>
                    <a:pt x="4180" y="5130"/>
                  </a:cubicBezTo>
                  <a:cubicBezTo>
                    <a:pt x="4216" y="5130"/>
                    <a:pt x="4239" y="5118"/>
                    <a:pt x="4275" y="5106"/>
                  </a:cubicBezTo>
                  <a:cubicBezTo>
                    <a:pt x="4323" y="5070"/>
                    <a:pt x="4347" y="5011"/>
                    <a:pt x="4347" y="4951"/>
                  </a:cubicBezTo>
                  <a:lnTo>
                    <a:pt x="4287" y="3737"/>
                  </a:lnTo>
                  <a:cubicBezTo>
                    <a:pt x="4716" y="3153"/>
                    <a:pt x="4859" y="2439"/>
                    <a:pt x="4692" y="1772"/>
                  </a:cubicBezTo>
                  <a:cubicBezTo>
                    <a:pt x="5240" y="1475"/>
                    <a:pt x="5847" y="1296"/>
                    <a:pt x="6478" y="1260"/>
                  </a:cubicBezTo>
                  <a:lnTo>
                    <a:pt x="6478" y="5249"/>
                  </a:lnTo>
                  <a:lnTo>
                    <a:pt x="4787" y="7201"/>
                  </a:lnTo>
                  <a:lnTo>
                    <a:pt x="3870" y="8261"/>
                  </a:lnTo>
                  <a:cubicBezTo>
                    <a:pt x="3632" y="8035"/>
                    <a:pt x="3406" y="7785"/>
                    <a:pt x="3239" y="7499"/>
                  </a:cubicBezTo>
                  <a:cubicBezTo>
                    <a:pt x="3208" y="7453"/>
                    <a:pt x="3152" y="7421"/>
                    <a:pt x="3091" y="7421"/>
                  </a:cubicBezTo>
                  <a:cubicBezTo>
                    <a:pt x="3058" y="7421"/>
                    <a:pt x="3023" y="7431"/>
                    <a:pt x="2989" y="7451"/>
                  </a:cubicBezTo>
                  <a:cubicBezTo>
                    <a:pt x="2918" y="7499"/>
                    <a:pt x="2894" y="7606"/>
                    <a:pt x="2954" y="7690"/>
                  </a:cubicBezTo>
                  <a:cubicBezTo>
                    <a:pt x="3168" y="8047"/>
                    <a:pt x="3454" y="8356"/>
                    <a:pt x="3763" y="8642"/>
                  </a:cubicBezTo>
                  <a:cubicBezTo>
                    <a:pt x="4561" y="9333"/>
                    <a:pt x="5585" y="9702"/>
                    <a:pt x="6645" y="9702"/>
                  </a:cubicBezTo>
                  <a:cubicBezTo>
                    <a:pt x="6895" y="9702"/>
                    <a:pt x="7145" y="9690"/>
                    <a:pt x="7383" y="9642"/>
                  </a:cubicBezTo>
                  <a:cubicBezTo>
                    <a:pt x="8395" y="9464"/>
                    <a:pt x="9323" y="8940"/>
                    <a:pt x="9990" y="8154"/>
                  </a:cubicBezTo>
                  <a:cubicBezTo>
                    <a:pt x="10657" y="7368"/>
                    <a:pt x="11026" y="6356"/>
                    <a:pt x="11026" y="5308"/>
                  </a:cubicBezTo>
                  <a:cubicBezTo>
                    <a:pt x="11050" y="5201"/>
                    <a:pt x="10978" y="5130"/>
                    <a:pt x="10871" y="5130"/>
                  </a:cubicBezTo>
                  <a:lnTo>
                    <a:pt x="6823" y="5130"/>
                  </a:lnTo>
                  <a:lnTo>
                    <a:pt x="6823" y="1082"/>
                  </a:lnTo>
                  <a:cubicBezTo>
                    <a:pt x="6823" y="998"/>
                    <a:pt x="6752" y="915"/>
                    <a:pt x="6656" y="915"/>
                  </a:cubicBezTo>
                  <a:cubicBezTo>
                    <a:pt x="5930" y="915"/>
                    <a:pt x="5228" y="1094"/>
                    <a:pt x="4585" y="1439"/>
                  </a:cubicBezTo>
                  <a:cubicBezTo>
                    <a:pt x="4525" y="1308"/>
                    <a:pt x="4454" y="1177"/>
                    <a:pt x="4370" y="1034"/>
                  </a:cubicBezTo>
                  <a:cubicBezTo>
                    <a:pt x="4025" y="522"/>
                    <a:pt x="3489" y="177"/>
                    <a:pt x="2882" y="46"/>
                  </a:cubicBezTo>
                  <a:cubicBezTo>
                    <a:pt x="2725" y="16"/>
                    <a:pt x="2569" y="1"/>
                    <a:pt x="24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5" name="Google Shape;11935;p61"/>
            <p:cNvSpPr/>
            <p:nvPr/>
          </p:nvSpPr>
          <p:spPr>
            <a:xfrm>
              <a:off x="1799129" y="2040738"/>
              <a:ext cx="28322" cy="53571"/>
            </a:xfrm>
            <a:custGeom>
              <a:avLst/>
              <a:gdLst/>
              <a:ahLst/>
              <a:cxnLst/>
              <a:rect l="l" t="t" r="r" b="b"/>
              <a:pathLst>
                <a:path w="894" h="1691" extrusionOk="0">
                  <a:moveTo>
                    <a:pt x="179" y="0"/>
                  </a:moveTo>
                  <a:cubicBezTo>
                    <a:pt x="84" y="0"/>
                    <a:pt x="12" y="72"/>
                    <a:pt x="12" y="155"/>
                  </a:cubicBezTo>
                  <a:cubicBezTo>
                    <a:pt x="12" y="250"/>
                    <a:pt x="84" y="322"/>
                    <a:pt x="179" y="322"/>
                  </a:cubicBezTo>
                  <a:lnTo>
                    <a:pt x="262" y="322"/>
                  </a:lnTo>
                  <a:lnTo>
                    <a:pt x="262" y="1369"/>
                  </a:lnTo>
                  <a:lnTo>
                    <a:pt x="167" y="1369"/>
                  </a:lnTo>
                  <a:cubicBezTo>
                    <a:pt x="72" y="1369"/>
                    <a:pt x="0" y="1441"/>
                    <a:pt x="0" y="1524"/>
                  </a:cubicBezTo>
                  <a:cubicBezTo>
                    <a:pt x="0" y="1619"/>
                    <a:pt x="72" y="1691"/>
                    <a:pt x="167" y="1691"/>
                  </a:cubicBezTo>
                  <a:lnTo>
                    <a:pt x="727" y="1691"/>
                  </a:lnTo>
                  <a:cubicBezTo>
                    <a:pt x="822" y="1691"/>
                    <a:pt x="893" y="1619"/>
                    <a:pt x="893" y="1524"/>
                  </a:cubicBezTo>
                  <a:cubicBezTo>
                    <a:pt x="893" y="1441"/>
                    <a:pt x="834" y="1381"/>
                    <a:pt x="727" y="1381"/>
                  </a:cubicBezTo>
                  <a:lnTo>
                    <a:pt x="608" y="1381"/>
                  </a:lnTo>
                  <a:lnTo>
                    <a:pt x="608" y="155"/>
                  </a:lnTo>
                  <a:cubicBezTo>
                    <a:pt x="608" y="72"/>
                    <a:pt x="536"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6" name="Google Shape;11936;p61"/>
            <p:cNvSpPr/>
            <p:nvPr/>
          </p:nvSpPr>
          <p:spPr>
            <a:xfrm>
              <a:off x="1802899" y="2024137"/>
              <a:ext cx="16252" cy="15872"/>
            </a:xfrm>
            <a:custGeom>
              <a:avLst/>
              <a:gdLst/>
              <a:ahLst/>
              <a:cxnLst/>
              <a:rect l="l" t="t" r="r" b="b"/>
              <a:pathLst>
                <a:path w="513" h="501" extrusionOk="0">
                  <a:moveTo>
                    <a:pt x="251" y="0"/>
                  </a:moveTo>
                  <a:cubicBezTo>
                    <a:pt x="120" y="0"/>
                    <a:pt x="1" y="107"/>
                    <a:pt x="1" y="250"/>
                  </a:cubicBezTo>
                  <a:cubicBezTo>
                    <a:pt x="1" y="381"/>
                    <a:pt x="108" y="500"/>
                    <a:pt x="251" y="500"/>
                  </a:cubicBezTo>
                  <a:cubicBezTo>
                    <a:pt x="393" y="500"/>
                    <a:pt x="512" y="405"/>
                    <a:pt x="512" y="250"/>
                  </a:cubicBezTo>
                  <a:cubicBezTo>
                    <a:pt x="512" y="119"/>
                    <a:pt x="393"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37" name="Google Shape;11937;p61"/>
          <p:cNvGrpSpPr/>
          <p:nvPr/>
        </p:nvGrpSpPr>
        <p:grpSpPr>
          <a:xfrm>
            <a:off x="848983" y="1989511"/>
            <a:ext cx="369294" cy="304350"/>
            <a:chOff x="848983" y="1989511"/>
            <a:chExt cx="369294" cy="304350"/>
          </a:xfrm>
        </p:grpSpPr>
        <p:sp>
          <p:nvSpPr>
            <p:cNvPr id="11938" name="Google Shape;11938;p61"/>
            <p:cNvSpPr/>
            <p:nvPr/>
          </p:nvSpPr>
          <p:spPr>
            <a:xfrm>
              <a:off x="890483" y="1989511"/>
              <a:ext cx="286704" cy="304350"/>
            </a:xfrm>
            <a:custGeom>
              <a:avLst/>
              <a:gdLst/>
              <a:ahLst/>
              <a:cxnLst/>
              <a:rect l="l" t="t" r="r" b="b"/>
              <a:pathLst>
                <a:path w="9050" h="9607" extrusionOk="0">
                  <a:moveTo>
                    <a:pt x="3798" y="3677"/>
                  </a:moveTo>
                  <a:cubicBezTo>
                    <a:pt x="3831" y="3677"/>
                    <a:pt x="3864" y="3689"/>
                    <a:pt x="3882" y="3713"/>
                  </a:cubicBezTo>
                  <a:cubicBezTo>
                    <a:pt x="3917" y="3736"/>
                    <a:pt x="3929" y="3772"/>
                    <a:pt x="3929" y="3796"/>
                  </a:cubicBezTo>
                  <a:cubicBezTo>
                    <a:pt x="3929" y="3832"/>
                    <a:pt x="3917" y="3879"/>
                    <a:pt x="3882" y="3891"/>
                  </a:cubicBezTo>
                  <a:cubicBezTo>
                    <a:pt x="3864" y="3915"/>
                    <a:pt x="3831" y="3927"/>
                    <a:pt x="3798" y="3927"/>
                  </a:cubicBezTo>
                  <a:cubicBezTo>
                    <a:pt x="3766" y="3927"/>
                    <a:pt x="3733" y="3915"/>
                    <a:pt x="3715" y="3891"/>
                  </a:cubicBezTo>
                  <a:cubicBezTo>
                    <a:pt x="3656" y="3844"/>
                    <a:pt x="3656" y="3760"/>
                    <a:pt x="3715" y="3713"/>
                  </a:cubicBezTo>
                  <a:cubicBezTo>
                    <a:pt x="3733" y="3689"/>
                    <a:pt x="3766" y="3677"/>
                    <a:pt x="3798" y="3677"/>
                  </a:cubicBezTo>
                  <a:close/>
                  <a:moveTo>
                    <a:pt x="5239" y="3665"/>
                  </a:moveTo>
                  <a:cubicBezTo>
                    <a:pt x="5275" y="3665"/>
                    <a:pt x="5299" y="3677"/>
                    <a:pt x="5334" y="3713"/>
                  </a:cubicBezTo>
                  <a:cubicBezTo>
                    <a:pt x="5382" y="3760"/>
                    <a:pt x="5382" y="3844"/>
                    <a:pt x="5334" y="3891"/>
                  </a:cubicBezTo>
                  <a:cubicBezTo>
                    <a:pt x="5310" y="3915"/>
                    <a:pt x="5278" y="3927"/>
                    <a:pt x="5245" y="3927"/>
                  </a:cubicBezTo>
                  <a:cubicBezTo>
                    <a:pt x="5212" y="3927"/>
                    <a:pt x="5180" y="3915"/>
                    <a:pt x="5156" y="3891"/>
                  </a:cubicBezTo>
                  <a:cubicBezTo>
                    <a:pt x="5120" y="3855"/>
                    <a:pt x="5108" y="3832"/>
                    <a:pt x="5108" y="3796"/>
                  </a:cubicBezTo>
                  <a:cubicBezTo>
                    <a:pt x="5108" y="3772"/>
                    <a:pt x="5120" y="3725"/>
                    <a:pt x="5156" y="3713"/>
                  </a:cubicBezTo>
                  <a:cubicBezTo>
                    <a:pt x="5180" y="3677"/>
                    <a:pt x="5215" y="3665"/>
                    <a:pt x="5239" y="3665"/>
                  </a:cubicBezTo>
                  <a:close/>
                  <a:moveTo>
                    <a:pt x="8323" y="4665"/>
                  </a:moveTo>
                  <a:lnTo>
                    <a:pt x="8323" y="4844"/>
                  </a:lnTo>
                  <a:lnTo>
                    <a:pt x="8358" y="4844"/>
                  </a:lnTo>
                  <a:cubicBezTo>
                    <a:pt x="8335" y="5034"/>
                    <a:pt x="8013" y="5332"/>
                    <a:pt x="7108" y="5570"/>
                  </a:cubicBezTo>
                  <a:cubicBezTo>
                    <a:pt x="6394" y="5749"/>
                    <a:pt x="5465" y="5856"/>
                    <a:pt x="4513" y="5856"/>
                  </a:cubicBezTo>
                  <a:cubicBezTo>
                    <a:pt x="3560" y="5856"/>
                    <a:pt x="2643" y="5749"/>
                    <a:pt x="1929" y="5570"/>
                  </a:cubicBezTo>
                  <a:cubicBezTo>
                    <a:pt x="1000" y="5332"/>
                    <a:pt x="679" y="5034"/>
                    <a:pt x="679" y="4844"/>
                  </a:cubicBezTo>
                  <a:lnTo>
                    <a:pt x="679" y="4665"/>
                  </a:lnTo>
                  <a:cubicBezTo>
                    <a:pt x="893" y="4832"/>
                    <a:pt x="1203" y="4975"/>
                    <a:pt x="1631" y="5094"/>
                  </a:cubicBezTo>
                  <a:cubicBezTo>
                    <a:pt x="2393" y="5320"/>
                    <a:pt x="3417" y="5451"/>
                    <a:pt x="4501" y="5451"/>
                  </a:cubicBezTo>
                  <a:cubicBezTo>
                    <a:pt x="5584" y="5451"/>
                    <a:pt x="6608" y="5332"/>
                    <a:pt x="7370" y="5094"/>
                  </a:cubicBezTo>
                  <a:cubicBezTo>
                    <a:pt x="7787" y="4975"/>
                    <a:pt x="8097" y="4832"/>
                    <a:pt x="8323" y="4665"/>
                  </a:cubicBezTo>
                  <a:close/>
                  <a:moveTo>
                    <a:pt x="8358" y="5403"/>
                  </a:moveTo>
                  <a:lnTo>
                    <a:pt x="8358" y="8249"/>
                  </a:lnTo>
                  <a:cubicBezTo>
                    <a:pt x="8358" y="8439"/>
                    <a:pt x="8025" y="8713"/>
                    <a:pt x="7311" y="8916"/>
                  </a:cubicBezTo>
                  <a:lnTo>
                    <a:pt x="7311" y="5868"/>
                  </a:lnTo>
                  <a:cubicBezTo>
                    <a:pt x="7680" y="5760"/>
                    <a:pt x="8073" y="5618"/>
                    <a:pt x="8358" y="5403"/>
                  </a:cubicBezTo>
                  <a:close/>
                  <a:moveTo>
                    <a:pt x="715" y="5379"/>
                  </a:moveTo>
                  <a:cubicBezTo>
                    <a:pt x="953" y="5558"/>
                    <a:pt x="1298" y="5701"/>
                    <a:pt x="1751" y="5820"/>
                  </a:cubicBezTo>
                  <a:lnTo>
                    <a:pt x="1751" y="6951"/>
                  </a:lnTo>
                  <a:cubicBezTo>
                    <a:pt x="1751" y="7046"/>
                    <a:pt x="1822" y="7118"/>
                    <a:pt x="1905" y="7118"/>
                  </a:cubicBezTo>
                  <a:cubicBezTo>
                    <a:pt x="2001" y="7118"/>
                    <a:pt x="2072" y="7046"/>
                    <a:pt x="2072" y="6951"/>
                  </a:cubicBezTo>
                  <a:lnTo>
                    <a:pt x="2072" y="5915"/>
                  </a:lnTo>
                  <a:cubicBezTo>
                    <a:pt x="2727" y="6058"/>
                    <a:pt x="3536" y="6153"/>
                    <a:pt x="4370" y="6153"/>
                  </a:cubicBezTo>
                  <a:lnTo>
                    <a:pt x="4346" y="9249"/>
                  </a:lnTo>
                  <a:cubicBezTo>
                    <a:pt x="4203" y="9249"/>
                    <a:pt x="4048" y="9249"/>
                    <a:pt x="3906" y="9225"/>
                  </a:cubicBezTo>
                  <a:cubicBezTo>
                    <a:pt x="3334" y="9201"/>
                    <a:pt x="2822" y="9142"/>
                    <a:pt x="2358" y="9059"/>
                  </a:cubicBezTo>
                  <a:cubicBezTo>
                    <a:pt x="2262" y="9035"/>
                    <a:pt x="2167" y="9011"/>
                    <a:pt x="2072" y="8999"/>
                  </a:cubicBezTo>
                  <a:lnTo>
                    <a:pt x="2072" y="7689"/>
                  </a:lnTo>
                  <a:cubicBezTo>
                    <a:pt x="2072" y="7594"/>
                    <a:pt x="2001" y="7523"/>
                    <a:pt x="1905" y="7511"/>
                  </a:cubicBezTo>
                  <a:cubicBezTo>
                    <a:pt x="1822" y="7511"/>
                    <a:pt x="1751" y="7582"/>
                    <a:pt x="1751" y="7665"/>
                  </a:cubicBezTo>
                  <a:lnTo>
                    <a:pt x="1751" y="8892"/>
                  </a:lnTo>
                  <a:cubicBezTo>
                    <a:pt x="1655" y="8856"/>
                    <a:pt x="1548" y="8832"/>
                    <a:pt x="1477" y="8797"/>
                  </a:cubicBezTo>
                  <a:cubicBezTo>
                    <a:pt x="1000" y="8618"/>
                    <a:pt x="715" y="8416"/>
                    <a:pt x="715" y="8225"/>
                  </a:cubicBezTo>
                  <a:lnTo>
                    <a:pt x="715" y="5379"/>
                  </a:lnTo>
                  <a:close/>
                  <a:moveTo>
                    <a:pt x="8870" y="1"/>
                  </a:moveTo>
                  <a:cubicBezTo>
                    <a:pt x="8826" y="1"/>
                    <a:pt x="8781" y="16"/>
                    <a:pt x="8751" y="45"/>
                  </a:cubicBezTo>
                  <a:lnTo>
                    <a:pt x="5977" y="2832"/>
                  </a:lnTo>
                  <a:cubicBezTo>
                    <a:pt x="5680" y="2808"/>
                    <a:pt x="5358" y="2772"/>
                    <a:pt x="5049" y="2760"/>
                  </a:cubicBezTo>
                  <a:cubicBezTo>
                    <a:pt x="4965" y="2760"/>
                    <a:pt x="4870" y="2832"/>
                    <a:pt x="4870" y="2927"/>
                  </a:cubicBezTo>
                  <a:cubicBezTo>
                    <a:pt x="4870" y="3010"/>
                    <a:pt x="4941" y="3105"/>
                    <a:pt x="5037" y="3105"/>
                  </a:cubicBezTo>
                  <a:cubicBezTo>
                    <a:pt x="5263" y="3117"/>
                    <a:pt x="5465" y="3117"/>
                    <a:pt x="5656" y="3141"/>
                  </a:cubicBezTo>
                  <a:lnTo>
                    <a:pt x="5441" y="3367"/>
                  </a:lnTo>
                  <a:cubicBezTo>
                    <a:pt x="5379" y="3342"/>
                    <a:pt x="5311" y="3329"/>
                    <a:pt x="5245" y="3329"/>
                  </a:cubicBezTo>
                  <a:cubicBezTo>
                    <a:pt x="5122" y="3329"/>
                    <a:pt x="5002" y="3374"/>
                    <a:pt x="4918" y="3474"/>
                  </a:cubicBezTo>
                  <a:cubicBezTo>
                    <a:pt x="4822" y="3558"/>
                    <a:pt x="4787" y="3677"/>
                    <a:pt x="4787" y="3796"/>
                  </a:cubicBezTo>
                  <a:cubicBezTo>
                    <a:pt x="4787" y="3915"/>
                    <a:pt x="4822" y="4034"/>
                    <a:pt x="4918" y="4129"/>
                  </a:cubicBezTo>
                  <a:cubicBezTo>
                    <a:pt x="5001" y="4213"/>
                    <a:pt x="5120" y="4260"/>
                    <a:pt x="5239" y="4260"/>
                  </a:cubicBezTo>
                  <a:cubicBezTo>
                    <a:pt x="5358" y="4260"/>
                    <a:pt x="5477" y="4213"/>
                    <a:pt x="5572" y="4129"/>
                  </a:cubicBezTo>
                  <a:cubicBezTo>
                    <a:pt x="5703" y="3998"/>
                    <a:pt x="5751" y="3784"/>
                    <a:pt x="5668" y="3605"/>
                  </a:cubicBezTo>
                  <a:lnTo>
                    <a:pt x="6096" y="3189"/>
                  </a:lnTo>
                  <a:cubicBezTo>
                    <a:pt x="7561" y="3379"/>
                    <a:pt x="8347" y="3796"/>
                    <a:pt x="8347" y="4094"/>
                  </a:cubicBezTo>
                  <a:cubicBezTo>
                    <a:pt x="8347" y="4510"/>
                    <a:pt x="6894" y="5106"/>
                    <a:pt x="4525" y="5106"/>
                  </a:cubicBezTo>
                  <a:cubicBezTo>
                    <a:pt x="2167" y="5106"/>
                    <a:pt x="703" y="4534"/>
                    <a:pt x="703" y="4094"/>
                  </a:cubicBezTo>
                  <a:cubicBezTo>
                    <a:pt x="703" y="3784"/>
                    <a:pt x="1489" y="3367"/>
                    <a:pt x="2965" y="3189"/>
                  </a:cubicBezTo>
                  <a:lnTo>
                    <a:pt x="3394" y="3617"/>
                  </a:lnTo>
                  <a:cubicBezTo>
                    <a:pt x="3322" y="3796"/>
                    <a:pt x="3358" y="4010"/>
                    <a:pt x="3501" y="4141"/>
                  </a:cubicBezTo>
                  <a:cubicBezTo>
                    <a:pt x="3584" y="4236"/>
                    <a:pt x="3715" y="4272"/>
                    <a:pt x="3822" y="4272"/>
                  </a:cubicBezTo>
                  <a:cubicBezTo>
                    <a:pt x="3953" y="4272"/>
                    <a:pt x="4060" y="4225"/>
                    <a:pt x="4156" y="4141"/>
                  </a:cubicBezTo>
                  <a:cubicBezTo>
                    <a:pt x="4239" y="4046"/>
                    <a:pt x="4287" y="3939"/>
                    <a:pt x="4287" y="3820"/>
                  </a:cubicBezTo>
                  <a:cubicBezTo>
                    <a:pt x="4287" y="3701"/>
                    <a:pt x="4239" y="3570"/>
                    <a:pt x="4156" y="3486"/>
                  </a:cubicBezTo>
                  <a:cubicBezTo>
                    <a:pt x="4066" y="3397"/>
                    <a:pt x="3937" y="3346"/>
                    <a:pt x="3807" y="3346"/>
                  </a:cubicBezTo>
                  <a:cubicBezTo>
                    <a:pt x="3748" y="3346"/>
                    <a:pt x="3688" y="3357"/>
                    <a:pt x="3632" y="3379"/>
                  </a:cubicBezTo>
                  <a:lnTo>
                    <a:pt x="3405" y="3165"/>
                  </a:lnTo>
                  <a:cubicBezTo>
                    <a:pt x="3703" y="3129"/>
                    <a:pt x="4048" y="3117"/>
                    <a:pt x="4394" y="3117"/>
                  </a:cubicBezTo>
                  <a:cubicBezTo>
                    <a:pt x="4477" y="3117"/>
                    <a:pt x="4560" y="3046"/>
                    <a:pt x="4560" y="2939"/>
                  </a:cubicBezTo>
                  <a:cubicBezTo>
                    <a:pt x="4560" y="2843"/>
                    <a:pt x="4477" y="2772"/>
                    <a:pt x="4382" y="2772"/>
                  </a:cubicBezTo>
                  <a:cubicBezTo>
                    <a:pt x="3941" y="2772"/>
                    <a:pt x="3501" y="2808"/>
                    <a:pt x="3084" y="2843"/>
                  </a:cubicBezTo>
                  <a:lnTo>
                    <a:pt x="298" y="69"/>
                  </a:lnTo>
                  <a:cubicBezTo>
                    <a:pt x="268" y="40"/>
                    <a:pt x="224" y="25"/>
                    <a:pt x="179" y="25"/>
                  </a:cubicBezTo>
                  <a:cubicBezTo>
                    <a:pt x="134" y="25"/>
                    <a:pt x="90" y="40"/>
                    <a:pt x="60" y="69"/>
                  </a:cubicBezTo>
                  <a:cubicBezTo>
                    <a:pt x="0" y="129"/>
                    <a:pt x="0" y="248"/>
                    <a:pt x="60" y="307"/>
                  </a:cubicBezTo>
                  <a:lnTo>
                    <a:pt x="2667" y="2903"/>
                  </a:lnTo>
                  <a:cubicBezTo>
                    <a:pt x="1370" y="3105"/>
                    <a:pt x="357" y="3522"/>
                    <a:pt x="357" y="4117"/>
                  </a:cubicBezTo>
                  <a:lnTo>
                    <a:pt x="357" y="4415"/>
                  </a:lnTo>
                  <a:lnTo>
                    <a:pt x="357" y="4856"/>
                  </a:lnTo>
                  <a:lnTo>
                    <a:pt x="357" y="8261"/>
                  </a:lnTo>
                  <a:cubicBezTo>
                    <a:pt x="357" y="8499"/>
                    <a:pt x="524" y="8856"/>
                    <a:pt x="1346" y="9154"/>
                  </a:cubicBezTo>
                  <a:cubicBezTo>
                    <a:pt x="1608" y="9261"/>
                    <a:pt x="1941" y="9332"/>
                    <a:pt x="2298" y="9416"/>
                  </a:cubicBezTo>
                  <a:cubicBezTo>
                    <a:pt x="2786" y="9499"/>
                    <a:pt x="3322" y="9570"/>
                    <a:pt x="3906" y="9594"/>
                  </a:cubicBezTo>
                  <a:cubicBezTo>
                    <a:pt x="4108" y="9606"/>
                    <a:pt x="4334" y="9606"/>
                    <a:pt x="4548" y="9606"/>
                  </a:cubicBezTo>
                  <a:cubicBezTo>
                    <a:pt x="4965" y="9606"/>
                    <a:pt x="5382" y="9594"/>
                    <a:pt x="5775" y="9547"/>
                  </a:cubicBezTo>
                  <a:cubicBezTo>
                    <a:pt x="5870" y="9535"/>
                    <a:pt x="5942" y="9451"/>
                    <a:pt x="5930" y="9368"/>
                  </a:cubicBezTo>
                  <a:cubicBezTo>
                    <a:pt x="5919" y="9280"/>
                    <a:pt x="5846" y="9212"/>
                    <a:pt x="5769" y="9212"/>
                  </a:cubicBezTo>
                  <a:cubicBezTo>
                    <a:pt x="5763" y="9212"/>
                    <a:pt x="5757" y="9212"/>
                    <a:pt x="5751" y="9213"/>
                  </a:cubicBezTo>
                  <a:cubicBezTo>
                    <a:pt x="5406" y="9249"/>
                    <a:pt x="5060" y="9261"/>
                    <a:pt x="4703" y="9273"/>
                  </a:cubicBezTo>
                  <a:lnTo>
                    <a:pt x="4703" y="6213"/>
                  </a:lnTo>
                  <a:cubicBezTo>
                    <a:pt x="5537" y="6201"/>
                    <a:pt x="6334" y="6118"/>
                    <a:pt x="7001" y="5975"/>
                  </a:cubicBezTo>
                  <a:lnTo>
                    <a:pt x="7001" y="9035"/>
                  </a:lnTo>
                  <a:cubicBezTo>
                    <a:pt x="6823" y="9082"/>
                    <a:pt x="6632" y="9118"/>
                    <a:pt x="6406" y="9154"/>
                  </a:cubicBezTo>
                  <a:cubicBezTo>
                    <a:pt x="6311" y="9178"/>
                    <a:pt x="6251" y="9261"/>
                    <a:pt x="6251" y="9356"/>
                  </a:cubicBezTo>
                  <a:cubicBezTo>
                    <a:pt x="6275" y="9440"/>
                    <a:pt x="6346" y="9499"/>
                    <a:pt x="6418" y="9499"/>
                  </a:cubicBezTo>
                  <a:lnTo>
                    <a:pt x="6453" y="9499"/>
                  </a:lnTo>
                  <a:cubicBezTo>
                    <a:pt x="6644" y="9475"/>
                    <a:pt x="6906" y="9428"/>
                    <a:pt x="7180" y="9356"/>
                  </a:cubicBezTo>
                  <a:cubicBezTo>
                    <a:pt x="7192" y="9356"/>
                    <a:pt x="7192" y="9356"/>
                    <a:pt x="7204" y="9332"/>
                  </a:cubicBezTo>
                  <a:cubicBezTo>
                    <a:pt x="7906" y="9154"/>
                    <a:pt x="8692" y="8832"/>
                    <a:pt x="8692" y="8297"/>
                  </a:cubicBezTo>
                  <a:lnTo>
                    <a:pt x="8692" y="4903"/>
                  </a:lnTo>
                  <a:lnTo>
                    <a:pt x="8692" y="4891"/>
                  </a:lnTo>
                  <a:lnTo>
                    <a:pt x="8692" y="4141"/>
                  </a:lnTo>
                  <a:cubicBezTo>
                    <a:pt x="8692" y="3772"/>
                    <a:pt x="8311" y="3439"/>
                    <a:pt x="7585" y="3201"/>
                  </a:cubicBezTo>
                  <a:cubicBezTo>
                    <a:pt x="7239" y="3082"/>
                    <a:pt x="6834" y="2998"/>
                    <a:pt x="6406" y="2939"/>
                  </a:cubicBezTo>
                  <a:lnTo>
                    <a:pt x="9013" y="331"/>
                  </a:lnTo>
                  <a:cubicBezTo>
                    <a:pt x="9049" y="224"/>
                    <a:pt x="9049" y="105"/>
                    <a:pt x="8990" y="45"/>
                  </a:cubicBezTo>
                  <a:cubicBezTo>
                    <a:pt x="8960" y="16"/>
                    <a:pt x="8915" y="1"/>
                    <a:pt x="8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9" name="Google Shape;11939;p61"/>
            <p:cNvSpPr/>
            <p:nvPr/>
          </p:nvSpPr>
          <p:spPr>
            <a:xfrm>
              <a:off x="882943" y="2031107"/>
              <a:ext cx="42641" cy="56802"/>
            </a:xfrm>
            <a:custGeom>
              <a:avLst/>
              <a:gdLst/>
              <a:ahLst/>
              <a:cxnLst/>
              <a:rect l="l" t="t" r="r" b="b"/>
              <a:pathLst>
                <a:path w="1346" h="1793" extrusionOk="0">
                  <a:moveTo>
                    <a:pt x="195" y="0"/>
                  </a:moveTo>
                  <a:cubicBezTo>
                    <a:pt x="163" y="0"/>
                    <a:pt x="132" y="9"/>
                    <a:pt x="107" y="30"/>
                  </a:cubicBezTo>
                  <a:cubicBezTo>
                    <a:pt x="36" y="78"/>
                    <a:pt x="0" y="197"/>
                    <a:pt x="60" y="268"/>
                  </a:cubicBezTo>
                  <a:lnTo>
                    <a:pt x="1000" y="1709"/>
                  </a:lnTo>
                  <a:cubicBezTo>
                    <a:pt x="1036" y="1757"/>
                    <a:pt x="1096" y="1792"/>
                    <a:pt x="1155" y="1792"/>
                  </a:cubicBezTo>
                  <a:cubicBezTo>
                    <a:pt x="1179" y="1792"/>
                    <a:pt x="1215" y="1769"/>
                    <a:pt x="1238" y="1757"/>
                  </a:cubicBezTo>
                  <a:cubicBezTo>
                    <a:pt x="1310" y="1697"/>
                    <a:pt x="1346" y="1590"/>
                    <a:pt x="1286" y="1519"/>
                  </a:cubicBezTo>
                  <a:lnTo>
                    <a:pt x="345" y="78"/>
                  </a:lnTo>
                  <a:cubicBezTo>
                    <a:pt x="315" y="32"/>
                    <a:pt x="254"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0" name="Google Shape;11940;p61"/>
            <p:cNvSpPr/>
            <p:nvPr/>
          </p:nvSpPr>
          <p:spPr>
            <a:xfrm>
              <a:off x="848983" y="2072354"/>
              <a:ext cx="59622" cy="30635"/>
            </a:xfrm>
            <a:custGeom>
              <a:avLst/>
              <a:gdLst/>
              <a:ahLst/>
              <a:cxnLst/>
              <a:rect l="l" t="t" r="r" b="b"/>
              <a:pathLst>
                <a:path w="1882" h="967" extrusionOk="0">
                  <a:moveTo>
                    <a:pt x="187" y="0"/>
                  </a:moveTo>
                  <a:cubicBezTo>
                    <a:pt x="117" y="0"/>
                    <a:pt x="54" y="36"/>
                    <a:pt x="36" y="97"/>
                  </a:cubicBezTo>
                  <a:cubicBezTo>
                    <a:pt x="1" y="193"/>
                    <a:pt x="36" y="288"/>
                    <a:pt x="120" y="324"/>
                  </a:cubicBezTo>
                  <a:lnTo>
                    <a:pt x="1608" y="943"/>
                  </a:lnTo>
                  <a:cubicBezTo>
                    <a:pt x="1620" y="967"/>
                    <a:pt x="1656" y="967"/>
                    <a:pt x="1667" y="967"/>
                  </a:cubicBezTo>
                  <a:cubicBezTo>
                    <a:pt x="1727" y="967"/>
                    <a:pt x="1810" y="919"/>
                    <a:pt x="1834" y="859"/>
                  </a:cubicBezTo>
                  <a:cubicBezTo>
                    <a:pt x="1882" y="764"/>
                    <a:pt x="1834" y="669"/>
                    <a:pt x="1751" y="633"/>
                  </a:cubicBezTo>
                  <a:lnTo>
                    <a:pt x="263" y="14"/>
                  </a:lnTo>
                  <a:cubicBezTo>
                    <a:pt x="238" y="5"/>
                    <a:pt x="212"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1" name="Google Shape;11941;p61"/>
            <p:cNvSpPr/>
            <p:nvPr/>
          </p:nvSpPr>
          <p:spPr>
            <a:xfrm>
              <a:off x="1142054" y="2031265"/>
              <a:ext cx="41913" cy="56644"/>
            </a:xfrm>
            <a:custGeom>
              <a:avLst/>
              <a:gdLst/>
              <a:ahLst/>
              <a:cxnLst/>
              <a:rect l="l" t="t" r="r" b="b"/>
              <a:pathLst>
                <a:path w="1323" h="1788" extrusionOk="0">
                  <a:moveTo>
                    <a:pt x="1130" y="0"/>
                  </a:moveTo>
                  <a:cubicBezTo>
                    <a:pt x="1074" y="0"/>
                    <a:pt x="1016" y="27"/>
                    <a:pt x="977" y="73"/>
                  </a:cubicBezTo>
                  <a:lnTo>
                    <a:pt x="36" y="1514"/>
                  </a:lnTo>
                  <a:cubicBezTo>
                    <a:pt x="1" y="1585"/>
                    <a:pt x="13" y="1692"/>
                    <a:pt x="84" y="1752"/>
                  </a:cubicBezTo>
                  <a:cubicBezTo>
                    <a:pt x="120" y="1764"/>
                    <a:pt x="144" y="1787"/>
                    <a:pt x="179" y="1787"/>
                  </a:cubicBezTo>
                  <a:cubicBezTo>
                    <a:pt x="239" y="1787"/>
                    <a:pt x="275" y="1752"/>
                    <a:pt x="322" y="1704"/>
                  </a:cubicBezTo>
                  <a:lnTo>
                    <a:pt x="1263" y="263"/>
                  </a:lnTo>
                  <a:cubicBezTo>
                    <a:pt x="1322" y="180"/>
                    <a:pt x="1287" y="73"/>
                    <a:pt x="1215" y="25"/>
                  </a:cubicBezTo>
                  <a:cubicBezTo>
                    <a:pt x="1190" y="8"/>
                    <a:pt x="1160" y="0"/>
                    <a:pt x="11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2" name="Google Shape;11942;p61"/>
            <p:cNvSpPr/>
            <p:nvPr/>
          </p:nvSpPr>
          <p:spPr>
            <a:xfrm>
              <a:off x="1158274" y="2072196"/>
              <a:ext cx="60002" cy="30413"/>
            </a:xfrm>
            <a:custGeom>
              <a:avLst/>
              <a:gdLst/>
              <a:ahLst/>
              <a:cxnLst/>
              <a:rect l="l" t="t" r="r" b="b"/>
              <a:pathLst>
                <a:path w="1894" h="960" extrusionOk="0">
                  <a:moveTo>
                    <a:pt x="1703" y="0"/>
                  </a:moveTo>
                  <a:cubicBezTo>
                    <a:pt x="1679" y="0"/>
                    <a:pt x="1655" y="6"/>
                    <a:pt x="1632" y="19"/>
                  </a:cubicBezTo>
                  <a:lnTo>
                    <a:pt x="144" y="638"/>
                  </a:lnTo>
                  <a:cubicBezTo>
                    <a:pt x="48" y="662"/>
                    <a:pt x="1" y="769"/>
                    <a:pt x="48" y="864"/>
                  </a:cubicBezTo>
                  <a:cubicBezTo>
                    <a:pt x="84" y="924"/>
                    <a:pt x="144" y="960"/>
                    <a:pt x="215" y="960"/>
                  </a:cubicBezTo>
                  <a:cubicBezTo>
                    <a:pt x="227" y="960"/>
                    <a:pt x="263" y="960"/>
                    <a:pt x="275" y="948"/>
                  </a:cubicBezTo>
                  <a:lnTo>
                    <a:pt x="1763" y="329"/>
                  </a:lnTo>
                  <a:cubicBezTo>
                    <a:pt x="1846" y="293"/>
                    <a:pt x="1894" y="198"/>
                    <a:pt x="1846" y="102"/>
                  </a:cubicBezTo>
                  <a:cubicBezTo>
                    <a:pt x="1829" y="42"/>
                    <a:pt x="176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3" name="Google Shape;11943;p61"/>
          <p:cNvGrpSpPr/>
          <p:nvPr/>
        </p:nvGrpSpPr>
        <p:grpSpPr>
          <a:xfrm>
            <a:off x="3074027" y="1983777"/>
            <a:ext cx="380604" cy="313854"/>
            <a:chOff x="3074027" y="1983777"/>
            <a:chExt cx="380604" cy="313854"/>
          </a:xfrm>
        </p:grpSpPr>
        <p:sp>
          <p:nvSpPr>
            <p:cNvPr id="11944" name="Google Shape;11944;p61"/>
            <p:cNvSpPr/>
            <p:nvPr/>
          </p:nvSpPr>
          <p:spPr>
            <a:xfrm>
              <a:off x="3130608" y="1984886"/>
              <a:ext cx="324023" cy="312745"/>
            </a:xfrm>
            <a:custGeom>
              <a:avLst/>
              <a:gdLst/>
              <a:ahLst/>
              <a:cxnLst/>
              <a:rect l="l" t="t" r="r" b="b"/>
              <a:pathLst>
                <a:path w="10228" h="9872" extrusionOk="0">
                  <a:moveTo>
                    <a:pt x="3918" y="5704"/>
                  </a:moveTo>
                  <a:cubicBezTo>
                    <a:pt x="3941" y="5752"/>
                    <a:pt x="3989" y="5811"/>
                    <a:pt x="4049" y="5847"/>
                  </a:cubicBezTo>
                  <a:cubicBezTo>
                    <a:pt x="4096" y="5895"/>
                    <a:pt x="4156" y="5942"/>
                    <a:pt x="4203" y="5990"/>
                  </a:cubicBezTo>
                  <a:lnTo>
                    <a:pt x="3430" y="6764"/>
                  </a:lnTo>
                  <a:lnTo>
                    <a:pt x="3144" y="6478"/>
                  </a:lnTo>
                  <a:lnTo>
                    <a:pt x="3918" y="5704"/>
                  </a:lnTo>
                  <a:close/>
                  <a:moveTo>
                    <a:pt x="6466" y="1"/>
                  </a:moveTo>
                  <a:cubicBezTo>
                    <a:pt x="5537" y="1"/>
                    <a:pt x="4692" y="358"/>
                    <a:pt x="4037" y="1001"/>
                  </a:cubicBezTo>
                  <a:cubicBezTo>
                    <a:pt x="3394" y="1644"/>
                    <a:pt x="3037" y="2501"/>
                    <a:pt x="3037" y="3430"/>
                  </a:cubicBezTo>
                  <a:cubicBezTo>
                    <a:pt x="3037" y="4156"/>
                    <a:pt x="3263" y="4859"/>
                    <a:pt x="3691" y="5430"/>
                  </a:cubicBezTo>
                  <a:lnTo>
                    <a:pt x="2894" y="6240"/>
                  </a:lnTo>
                  <a:lnTo>
                    <a:pt x="2846" y="6192"/>
                  </a:lnTo>
                  <a:cubicBezTo>
                    <a:pt x="2816" y="6162"/>
                    <a:pt x="2772" y="6148"/>
                    <a:pt x="2727" y="6148"/>
                  </a:cubicBezTo>
                  <a:cubicBezTo>
                    <a:pt x="2682" y="6148"/>
                    <a:pt x="2638" y="6162"/>
                    <a:pt x="2608" y="6192"/>
                  </a:cubicBezTo>
                  <a:lnTo>
                    <a:pt x="1501" y="7288"/>
                  </a:lnTo>
                  <a:cubicBezTo>
                    <a:pt x="1441" y="7347"/>
                    <a:pt x="1441" y="7466"/>
                    <a:pt x="1501" y="7538"/>
                  </a:cubicBezTo>
                  <a:cubicBezTo>
                    <a:pt x="1530" y="7561"/>
                    <a:pt x="1575" y="7573"/>
                    <a:pt x="1620" y="7573"/>
                  </a:cubicBezTo>
                  <a:cubicBezTo>
                    <a:pt x="1664" y="7573"/>
                    <a:pt x="1709" y="7561"/>
                    <a:pt x="1739" y="7538"/>
                  </a:cubicBezTo>
                  <a:lnTo>
                    <a:pt x="2727" y="6549"/>
                  </a:lnTo>
                  <a:lnTo>
                    <a:pt x="2775" y="6597"/>
                  </a:lnTo>
                  <a:lnTo>
                    <a:pt x="3287" y="7121"/>
                  </a:lnTo>
                  <a:lnTo>
                    <a:pt x="3334" y="7157"/>
                  </a:lnTo>
                  <a:lnTo>
                    <a:pt x="1048" y="9455"/>
                  </a:lnTo>
                  <a:lnTo>
                    <a:pt x="417" y="8824"/>
                  </a:lnTo>
                  <a:lnTo>
                    <a:pt x="1251" y="7990"/>
                  </a:lnTo>
                  <a:cubicBezTo>
                    <a:pt x="1310" y="7931"/>
                    <a:pt x="1310" y="7811"/>
                    <a:pt x="1251" y="7752"/>
                  </a:cubicBezTo>
                  <a:cubicBezTo>
                    <a:pt x="1221" y="7722"/>
                    <a:pt x="1176" y="7707"/>
                    <a:pt x="1132" y="7707"/>
                  </a:cubicBezTo>
                  <a:cubicBezTo>
                    <a:pt x="1087" y="7707"/>
                    <a:pt x="1042" y="7722"/>
                    <a:pt x="1013" y="7752"/>
                  </a:cubicBezTo>
                  <a:lnTo>
                    <a:pt x="48" y="8716"/>
                  </a:lnTo>
                  <a:cubicBezTo>
                    <a:pt x="12" y="8752"/>
                    <a:pt x="1" y="8800"/>
                    <a:pt x="1" y="8835"/>
                  </a:cubicBezTo>
                  <a:cubicBezTo>
                    <a:pt x="1" y="8883"/>
                    <a:pt x="12" y="8931"/>
                    <a:pt x="48" y="8954"/>
                  </a:cubicBezTo>
                  <a:lnTo>
                    <a:pt x="905" y="9824"/>
                  </a:lnTo>
                  <a:cubicBezTo>
                    <a:pt x="941" y="9847"/>
                    <a:pt x="989" y="9871"/>
                    <a:pt x="1024" y="9871"/>
                  </a:cubicBezTo>
                  <a:cubicBezTo>
                    <a:pt x="1072" y="9871"/>
                    <a:pt x="1120" y="9847"/>
                    <a:pt x="1144" y="9824"/>
                  </a:cubicBezTo>
                  <a:lnTo>
                    <a:pt x="3691" y="7276"/>
                  </a:lnTo>
                  <a:cubicBezTo>
                    <a:pt x="3727" y="7252"/>
                    <a:pt x="3739" y="7204"/>
                    <a:pt x="3739" y="7157"/>
                  </a:cubicBezTo>
                  <a:cubicBezTo>
                    <a:pt x="3739" y="7109"/>
                    <a:pt x="3715" y="7073"/>
                    <a:pt x="3691" y="7038"/>
                  </a:cubicBezTo>
                  <a:lnTo>
                    <a:pt x="3644" y="6990"/>
                  </a:lnTo>
                  <a:lnTo>
                    <a:pt x="4453" y="6192"/>
                  </a:lnTo>
                  <a:cubicBezTo>
                    <a:pt x="4942" y="6549"/>
                    <a:pt x="5537" y="6776"/>
                    <a:pt x="6144" y="6835"/>
                  </a:cubicBezTo>
                  <a:lnTo>
                    <a:pt x="6168" y="6835"/>
                  </a:lnTo>
                  <a:cubicBezTo>
                    <a:pt x="6251" y="6835"/>
                    <a:pt x="6323" y="6776"/>
                    <a:pt x="6323" y="6680"/>
                  </a:cubicBezTo>
                  <a:cubicBezTo>
                    <a:pt x="6347" y="6597"/>
                    <a:pt x="6263" y="6502"/>
                    <a:pt x="6180" y="6502"/>
                  </a:cubicBezTo>
                  <a:cubicBezTo>
                    <a:pt x="5465" y="6442"/>
                    <a:pt x="4799" y="6121"/>
                    <a:pt x="4287" y="5609"/>
                  </a:cubicBezTo>
                  <a:cubicBezTo>
                    <a:pt x="4192" y="5525"/>
                    <a:pt x="4120" y="5430"/>
                    <a:pt x="4049" y="5347"/>
                  </a:cubicBezTo>
                  <a:cubicBezTo>
                    <a:pt x="3620" y="4787"/>
                    <a:pt x="3382" y="4132"/>
                    <a:pt x="3382" y="3418"/>
                  </a:cubicBezTo>
                  <a:cubicBezTo>
                    <a:pt x="3382" y="2608"/>
                    <a:pt x="3703" y="1835"/>
                    <a:pt x="4287" y="1239"/>
                  </a:cubicBezTo>
                  <a:cubicBezTo>
                    <a:pt x="4870" y="656"/>
                    <a:pt x="5644" y="322"/>
                    <a:pt x="6478" y="322"/>
                  </a:cubicBezTo>
                  <a:cubicBezTo>
                    <a:pt x="7299" y="322"/>
                    <a:pt x="8073" y="656"/>
                    <a:pt x="8668" y="1239"/>
                  </a:cubicBezTo>
                  <a:cubicBezTo>
                    <a:pt x="9871" y="2442"/>
                    <a:pt x="9871" y="4394"/>
                    <a:pt x="8668" y="5597"/>
                  </a:cubicBezTo>
                  <a:cubicBezTo>
                    <a:pt x="8156" y="6097"/>
                    <a:pt x="7537" y="6395"/>
                    <a:pt x="6835" y="6478"/>
                  </a:cubicBezTo>
                  <a:cubicBezTo>
                    <a:pt x="6739" y="6490"/>
                    <a:pt x="6668" y="6561"/>
                    <a:pt x="6680" y="6668"/>
                  </a:cubicBezTo>
                  <a:cubicBezTo>
                    <a:pt x="6702" y="6757"/>
                    <a:pt x="6765" y="6825"/>
                    <a:pt x="6859" y="6825"/>
                  </a:cubicBezTo>
                  <a:cubicBezTo>
                    <a:pt x="6867" y="6825"/>
                    <a:pt x="6874" y="6824"/>
                    <a:pt x="6882" y="6823"/>
                  </a:cubicBezTo>
                  <a:cubicBezTo>
                    <a:pt x="7656" y="6728"/>
                    <a:pt x="8371" y="6383"/>
                    <a:pt x="8918" y="5835"/>
                  </a:cubicBezTo>
                  <a:cubicBezTo>
                    <a:pt x="10228" y="4513"/>
                    <a:pt x="10228" y="2335"/>
                    <a:pt x="8883" y="1001"/>
                  </a:cubicBezTo>
                  <a:cubicBezTo>
                    <a:pt x="8252" y="358"/>
                    <a:pt x="7382" y="1"/>
                    <a:pt x="64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5" name="Google Shape;11945;p61"/>
            <p:cNvSpPr/>
            <p:nvPr/>
          </p:nvSpPr>
          <p:spPr>
            <a:xfrm>
              <a:off x="3243008" y="2008678"/>
              <a:ext cx="185613" cy="169741"/>
            </a:xfrm>
            <a:custGeom>
              <a:avLst/>
              <a:gdLst/>
              <a:ahLst/>
              <a:cxnLst/>
              <a:rect l="l" t="t" r="r" b="b"/>
              <a:pathLst>
                <a:path w="5859" h="5358" extrusionOk="0">
                  <a:moveTo>
                    <a:pt x="2918" y="333"/>
                  </a:moveTo>
                  <a:cubicBezTo>
                    <a:pt x="3513" y="333"/>
                    <a:pt x="4108" y="560"/>
                    <a:pt x="4561" y="1024"/>
                  </a:cubicBezTo>
                  <a:cubicBezTo>
                    <a:pt x="5489" y="1929"/>
                    <a:pt x="5489" y="3417"/>
                    <a:pt x="4561" y="4322"/>
                  </a:cubicBezTo>
                  <a:cubicBezTo>
                    <a:pt x="4108" y="4780"/>
                    <a:pt x="3510" y="5010"/>
                    <a:pt x="2912" y="5010"/>
                  </a:cubicBezTo>
                  <a:cubicBezTo>
                    <a:pt x="2313" y="5010"/>
                    <a:pt x="1715" y="4780"/>
                    <a:pt x="1263" y="4322"/>
                  </a:cubicBezTo>
                  <a:cubicBezTo>
                    <a:pt x="346" y="3417"/>
                    <a:pt x="346" y="1929"/>
                    <a:pt x="1263" y="1024"/>
                  </a:cubicBezTo>
                  <a:cubicBezTo>
                    <a:pt x="1727" y="560"/>
                    <a:pt x="2322" y="333"/>
                    <a:pt x="2918" y="333"/>
                  </a:cubicBezTo>
                  <a:close/>
                  <a:moveTo>
                    <a:pt x="2930" y="0"/>
                  </a:moveTo>
                  <a:cubicBezTo>
                    <a:pt x="2245" y="0"/>
                    <a:pt x="1560" y="262"/>
                    <a:pt x="1036" y="786"/>
                  </a:cubicBezTo>
                  <a:cubicBezTo>
                    <a:pt x="1" y="1822"/>
                    <a:pt x="1" y="3524"/>
                    <a:pt x="1036" y="4560"/>
                  </a:cubicBezTo>
                  <a:cubicBezTo>
                    <a:pt x="1560" y="5084"/>
                    <a:pt x="2239" y="5358"/>
                    <a:pt x="2930" y="5358"/>
                  </a:cubicBezTo>
                  <a:cubicBezTo>
                    <a:pt x="3608" y="5358"/>
                    <a:pt x="4299" y="5084"/>
                    <a:pt x="4823" y="4560"/>
                  </a:cubicBezTo>
                  <a:cubicBezTo>
                    <a:pt x="5858" y="3524"/>
                    <a:pt x="5858" y="1822"/>
                    <a:pt x="4823" y="786"/>
                  </a:cubicBezTo>
                  <a:cubicBezTo>
                    <a:pt x="4299" y="262"/>
                    <a:pt x="3614" y="0"/>
                    <a:pt x="29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6" name="Google Shape;11946;p61"/>
            <p:cNvSpPr/>
            <p:nvPr/>
          </p:nvSpPr>
          <p:spPr>
            <a:xfrm>
              <a:off x="3074027" y="1983777"/>
              <a:ext cx="155802" cy="163342"/>
            </a:xfrm>
            <a:custGeom>
              <a:avLst/>
              <a:gdLst/>
              <a:ahLst/>
              <a:cxnLst/>
              <a:rect l="l" t="t" r="r" b="b"/>
              <a:pathLst>
                <a:path w="4918" h="5156" extrusionOk="0">
                  <a:moveTo>
                    <a:pt x="2370" y="0"/>
                  </a:moveTo>
                  <a:cubicBezTo>
                    <a:pt x="1917" y="24"/>
                    <a:pt x="1489" y="155"/>
                    <a:pt x="1120" y="405"/>
                  </a:cubicBezTo>
                  <a:cubicBezTo>
                    <a:pt x="596" y="750"/>
                    <a:pt x="239" y="1286"/>
                    <a:pt x="120" y="1893"/>
                  </a:cubicBezTo>
                  <a:cubicBezTo>
                    <a:pt x="1" y="2501"/>
                    <a:pt x="120" y="3132"/>
                    <a:pt x="477" y="3655"/>
                  </a:cubicBezTo>
                  <a:cubicBezTo>
                    <a:pt x="913" y="4319"/>
                    <a:pt x="1643" y="4696"/>
                    <a:pt x="2409" y="4696"/>
                  </a:cubicBezTo>
                  <a:cubicBezTo>
                    <a:pt x="2605" y="4696"/>
                    <a:pt x="2804" y="4671"/>
                    <a:pt x="3001" y="4620"/>
                  </a:cubicBezTo>
                  <a:lnTo>
                    <a:pt x="4108" y="5144"/>
                  </a:lnTo>
                  <a:cubicBezTo>
                    <a:pt x="4132" y="5156"/>
                    <a:pt x="4156" y="5156"/>
                    <a:pt x="4180" y="5156"/>
                  </a:cubicBezTo>
                  <a:cubicBezTo>
                    <a:pt x="4215" y="5156"/>
                    <a:pt x="4239" y="5144"/>
                    <a:pt x="4275" y="5120"/>
                  </a:cubicBezTo>
                  <a:cubicBezTo>
                    <a:pt x="4311" y="5096"/>
                    <a:pt x="4346" y="5037"/>
                    <a:pt x="4346" y="4977"/>
                  </a:cubicBezTo>
                  <a:lnTo>
                    <a:pt x="4287" y="3751"/>
                  </a:lnTo>
                  <a:cubicBezTo>
                    <a:pt x="4882" y="2989"/>
                    <a:pt x="4918" y="1893"/>
                    <a:pt x="4358" y="1084"/>
                  </a:cubicBezTo>
                  <a:cubicBezTo>
                    <a:pt x="4061" y="631"/>
                    <a:pt x="3608" y="286"/>
                    <a:pt x="3084" y="143"/>
                  </a:cubicBezTo>
                  <a:cubicBezTo>
                    <a:pt x="3065" y="136"/>
                    <a:pt x="3047" y="133"/>
                    <a:pt x="3029" y="133"/>
                  </a:cubicBezTo>
                  <a:cubicBezTo>
                    <a:pt x="2958" y="133"/>
                    <a:pt x="2899" y="186"/>
                    <a:pt x="2870" y="262"/>
                  </a:cubicBezTo>
                  <a:cubicBezTo>
                    <a:pt x="2846" y="346"/>
                    <a:pt x="2906" y="441"/>
                    <a:pt x="2989" y="465"/>
                  </a:cubicBezTo>
                  <a:cubicBezTo>
                    <a:pt x="3441" y="607"/>
                    <a:pt x="3822" y="881"/>
                    <a:pt x="4096" y="1274"/>
                  </a:cubicBezTo>
                  <a:cubicBezTo>
                    <a:pt x="4584" y="2001"/>
                    <a:pt x="4537" y="2941"/>
                    <a:pt x="4001" y="3620"/>
                  </a:cubicBezTo>
                  <a:cubicBezTo>
                    <a:pt x="3977" y="3655"/>
                    <a:pt x="3965" y="3703"/>
                    <a:pt x="3977" y="3739"/>
                  </a:cubicBezTo>
                  <a:lnTo>
                    <a:pt x="4013" y="4739"/>
                  </a:lnTo>
                  <a:lnTo>
                    <a:pt x="3108" y="4310"/>
                  </a:lnTo>
                  <a:cubicBezTo>
                    <a:pt x="3084" y="4298"/>
                    <a:pt x="3037" y="4298"/>
                    <a:pt x="2989" y="4298"/>
                  </a:cubicBezTo>
                  <a:cubicBezTo>
                    <a:pt x="2810" y="4346"/>
                    <a:pt x="2620" y="4370"/>
                    <a:pt x="2441" y="4370"/>
                  </a:cubicBezTo>
                  <a:cubicBezTo>
                    <a:pt x="1787" y="4370"/>
                    <a:pt x="1155" y="4036"/>
                    <a:pt x="774" y="3477"/>
                  </a:cubicBezTo>
                  <a:cubicBezTo>
                    <a:pt x="477" y="3024"/>
                    <a:pt x="370" y="2489"/>
                    <a:pt x="477" y="1965"/>
                  </a:cubicBezTo>
                  <a:cubicBezTo>
                    <a:pt x="584" y="1453"/>
                    <a:pt x="882" y="988"/>
                    <a:pt x="1322" y="691"/>
                  </a:cubicBezTo>
                  <a:cubicBezTo>
                    <a:pt x="1632" y="477"/>
                    <a:pt x="2013" y="357"/>
                    <a:pt x="2382" y="346"/>
                  </a:cubicBezTo>
                  <a:cubicBezTo>
                    <a:pt x="2465" y="346"/>
                    <a:pt x="2549" y="274"/>
                    <a:pt x="2549" y="167"/>
                  </a:cubicBezTo>
                  <a:cubicBezTo>
                    <a:pt x="2549" y="84"/>
                    <a:pt x="2465" y="0"/>
                    <a:pt x="2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7" name="Google Shape;11947;p61"/>
            <p:cNvSpPr/>
            <p:nvPr/>
          </p:nvSpPr>
          <p:spPr>
            <a:xfrm>
              <a:off x="3135518" y="2038077"/>
              <a:ext cx="28322" cy="54363"/>
            </a:xfrm>
            <a:custGeom>
              <a:avLst/>
              <a:gdLst/>
              <a:ahLst/>
              <a:cxnLst/>
              <a:rect l="l" t="t" r="r" b="b"/>
              <a:pathLst>
                <a:path w="894" h="1716" extrusionOk="0">
                  <a:moveTo>
                    <a:pt x="179" y="1"/>
                  </a:moveTo>
                  <a:cubicBezTo>
                    <a:pt x="84" y="1"/>
                    <a:pt x="12" y="84"/>
                    <a:pt x="12" y="167"/>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10" y="1715"/>
                    <a:pt x="893" y="1644"/>
                    <a:pt x="893" y="1549"/>
                  </a:cubicBezTo>
                  <a:cubicBezTo>
                    <a:pt x="893" y="1465"/>
                    <a:pt x="834" y="1394"/>
                    <a:pt x="727" y="1394"/>
                  </a:cubicBezTo>
                  <a:lnTo>
                    <a:pt x="608" y="1394"/>
                  </a:lnTo>
                  <a:lnTo>
                    <a:pt x="608" y="167"/>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8" name="Google Shape;11948;p61"/>
            <p:cNvSpPr/>
            <p:nvPr/>
          </p:nvSpPr>
          <p:spPr>
            <a:xfrm>
              <a:off x="3138908" y="2021096"/>
              <a:ext cx="16252" cy="16252"/>
            </a:xfrm>
            <a:custGeom>
              <a:avLst/>
              <a:gdLst/>
              <a:ahLst/>
              <a:cxnLst/>
              <a:rect l="l" t="t" r="r" b="b"/>
              <a:pathLst>
                <a:path w="513" h="513" extrusionOk="0">
                  <a:moveTo>
                    <a:pt x="262" y="1"/>
                  </a:moveTo>
                  <a:cubicBezTo>
                    <a:pt x="131" y="1"/>
                    <a:pt x="0" y="120"/>
                    <a:pt x="0" y="263"/>
                  </a:cubicBezTo>
                  <a:cubicBezTo>
                    <a:pt x="0" y="394"/>
                    <a:pt x="120" y="513"/>
                    <a:pt x="262" y="513"/>
                  </a:cubicBezTo>
                  <a:cubicBezTo>
                    <a:pt x="393" y="513"/>
                    <a:pt x="512" y="394"/>
                    <a:pt x="512" y="263"/>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49" name="Google Shape;11949;p61"/>
          <p:cNvGrpSpPr/>
          <p:nvPr/>
        </p:nvGrpSpPr>
        <p:grpSpPr>
          <a:xfrm>
            <a:off x="3522521" y="1975857"/>
            <a:ext cx="367013" cy="331278"/>
            <a:chOff x="3522521" y="1975857"/>
            <a:chExt cx="367013" cy="331278"/>
          </a:xfrm>
        </p:grpSpPr>
        <p:sp>
          <p:nvSpPr>
            <p:cNvPr id="11950" name="Google Shape;11950;p61"/>
            <p:cNvSpPr/>
            <p:nvPr/>
          </p:nvSpPr>
          <p:spPr>
            <a:xfrm>
              <a:off x="3665841" y="1975857"/>
              <a:ext cx="91302" cy="91682"/>
            </a:xfrm>
            <a:custGeom>
              <a:avLst/>
              <a:gdLst/>
              <a:ahLst/>
              <a:cxnLst/>
              <a:rect l="l" t="t" r="r" b="b"/>
              <a:pathLst>
                <a:path w="2882" h="2894" extrusionOk="0">
                  <a:moveTo>
                    <a:pt x="1429" y="703"/>
                  </a:moveTo>
                  <a:cubicBezTo>
                    <a:pt x="1846" y="703"/>
                    <a:pt x="2167" y="1036"/>
                    <a:pt x="2167" y="1453"/>
                  </a:cubicBezTo>
                  <a:cubicBezTo>
                    <a:pt x="2167" y="1870"/>
                    <a:pt x="1834" y="2191"/>
                    <a:pt x="1429" y="2191"/>
                  </a:cubicBezTo>
                  <a:cubicBezTo>
                    <a:pt x="1024" y="2191"/>
                    <a:pt x="679" y="1870"/>
                    <a:pt x="679" y="1453"/>
                  </a:cubicBezTo>
                  <a:cubicBezTo>
                    <a:pt x="679" y="1048"/>
                    <a:pt x="1013" y="703"/>
                    <a:pt x="1429" y="703"/>
                  </a:cubicBezTo>
                  <a:close/>
                  <a:moveTo>
                    <a:pt x="1441" y="0"/>
                  </a:moveTo>
                  <a:cubicBezTo>
                    <a:pt x="1358" y="0"/>
                    <a:pt x="1274" y="84"/>
                    <a:pt x="1274" y="167"/>
                  </a:cubicBezTo>
                  <a:lnTo>
                    <a:pt x="1274" y="393"/>
                  </a:lnTo>
                  <a:cubicBezTo>
                    <a:pt x="1096" y="417"/>
                    <a:pt x="953" y="476"/>
                    <a:pt x="822" y="584"/>
                  </a:cubicBezTo>
                  <a:lnTo>
                    <a:pt x="655" y="417"/>
                  </a:lnTo>
                  <a:cubicBezTo>
                    <a:pt x="626" y="387"/>
                    <a:pt x="581" y="372"/>
                    <a:pt x="536" y="372"/>
                  </a:cubicBezTo>
                  <a:cubicBezTo>
                    <a:pt x="492" y="372"/>
                    <a:pt x="447" y="387"/>
                    <a:pt x="417" y="417"/>
                  </a:cubicBezTo>
                  <a:cubicBezTo>
                    <a:pt x="358" y="476"/>
                    <a:pt x="358" y="596"/>
                    <a:pt x="417" y="655"/>
                  </a:cubicBezTo>
                  <a:lnTo>
                    <a:pt x="584" y="822"/>
                  </a:lnTo>
                  <a:cubicBezTo>
                    <a:pt x="477" y="953"/>
                    <a:pt x="417" y="1119"/>
                    <a:pt x="381" y="1286"/>
                  </a:cubicBezTo>
                  <a:lnTo>
                    <a:pt x="167" y="1286"/>
                  </a:lnTo>
                  <a:cubicBezTo>
                    <a:pt x="72" y="1286"/>
                    <a:pt x="0" y="1358"/>
                    <a:pt x="0" y="1453"/>
                  </a:cubicBezTo>
                  <a:cubicBezTo>
                    <a:pt x="0" y="1536"/>
                    <a:pt x="72" y="1608"/>
                    <a:pt x="167" y="1608"/>
                  </a:cubicBezTo>
                  <a:lnTo>
                    <a:pt x="381" y="1608"/>
                  </a:lnTo>
                  <a:cubicBezTo>
                    <a:pt x="417" y="1786"/>
                    <a:pt x="477" y="1941"/>
                    <a:pt x="584" y="2072"/>
                  </a:cubicBezTo>
                  <a:lnTo>
                    <a:pt x="417" y="2239"/>
                  </a:lnTo>
                  <a:cubicBezTo>
                    <a:pt x="358" y="2298"/>
                    <a:pt x="358" y="2417"/>
                    <a:pt x="417" y="2477"/>
                  </a:cubicBezTo>
                  <a:cubicBezTo>
                    <a:pt x="441" y="2501"/>
                    <a:pt x="489" y="2524"/>
                    <a:pt x="536" y="2524"/>
                  </a:cubicBezTo>
                  <a:cubicBezTo>
                    <a:pt x="572" y="2524"/>
                    <a:pt x="620" y="2501"/>
                    <a:pt x="655" y="2477"/>
                  </a:cubicBezTo>
                  <a:lnTo>
                    <a:pt x="810" y="2310"/>
                  </a:lnTo>
                  <a:cubicBezTo>
                    <a:pt x="953" y="2417"/>
                    <a:pt x="1108" y="2477"/>
                    <a:pt x="1274" y="2501"/>
                  </a:cubicBezTo>
                  <a:lnTo>
                    <a:pt x="1274" y="2727"/>
                  </a:lnTo>
                  <a:cubicBezTo>
                    <a:pt x="1274" y="2822"/>
                    <a:pt x="1346" y="2893"/>
                    <a:pt x="1441" y="2893"/>
                  </a:cubicBezTo>
                  <a:cubicBezTo>
                    <a:pt x="1536" y="2893"/>
                    <a:pt x="1608" y="2822"/>
                    <a:pt x="1608" y="2727"/>
                  </a:cubicBezTo>
                  <a:lnTo>
                    <a:pt x="1608" y="2501"/>
                  </a:lnTo>
                  <a:cubicBezTo>
                    <a:pt x="1786" y="2477"/>
                    <a:pt x="1929" y="2417"/>
                    <a:pt x="2072" y="2310"/>
                  </a:cubicBezTo>
                  <a:lnTo>
                    <a:pt x="2227" y="2477"/>
                  </a:lnTo>
                  <a:cubicBezTo>
                    <a:pt x="2263" y="2501"/>
                    <a:pt x="2310" y="2524"/>
                    <a:pt x="2346" y="2524"/>
                  </a:cubicBezTo>
                  <a:cubicBezTo>
                    <a:pt x="2394" y="2524"/>
                    <a:pt x="2441" y="2501"/>
                    <a:pt x="2465" y="2477"/>
                  </a:cubicBezTo>
                  <a:cubicBezTo>
                    <a:pt x="2525" y="2417"/>
                    <a:pt x="2525" y="2298"/>
                    <a:pt x="2465" y="2239"/>
                  </a:cubicBezTo>
                  <a:lnTo>
                    <a:pt x="2298" y="2072"/>
                  </a:lnTo>
                  <a:cubicBezTo>
                    <a:pt x="2406" y="1941"/>
                    <a:pt x="2465" y="1774"/>
                    <a:pt x="2501" y="1608"/>
                  </a:cubicBezTo>
                  <a:lnTo>
                    <a:pt x="2715" y="1608"/>
                  </a:lnTo>
                  <a:cubicBezTo>
                    <a:pt x="2810" y="1608"/>
                    <a:pt x="2882" y="1536"/>
                    <a:pt x="2882" y="1453"/>
                  </a:cubicBezTo>
                  <a:cubicBezTo>
                    <a:pt x="2882" y="1358"/>
                    <a:pt x="2810" y="1286"/>
                    <a:pt x="2727" y="1286"/>
                  </a:cubicBezTo>
                  <a:lnTo>
                    <a:pt x="2501" y="1286"/>
                  </a:lnTo>
                  <a:cubicBezTo>
                    <a:pt x="2465" y="1108"/>
                    <a:pt x="2406" y="953"/>
                    <a:pt x="2310" y="822"/>
                  </a:cubicBezTo>
                  <a:lnTo>
                    <a:pt x="2465" y="655"/>
                  </a:lnTo>
                  <a:cubicBezTo>
                    <a:pt x="2525" y="596"/>
                    <a:pt x="2525" y="476"/>
                    <a:pt x="2465" y="417"/>
                  </a:cubicBezTo>
                  <a:cubicBezTo>
                    <a:pt x="2435" y="387"/>
                    <a:pt x="2391" y="372"/>
                    <a:pt x="2346" y="372"/>
                  </a:cubicBezTo>
                  <a:cubicBezTo>
                    <a:pt x="2301" y="372"/>
                    <a:pt x="2257" y="387"/>
                    <a:pt x="2227" y="417"/>
                  </a:cubicBezTo>
                  <a:lnTo>
                    <a:pt x="2072" y="584"/>
                  </a:lnTo>
                  <a:cubicBezTo>
                    <a:pt x="1929" y="476"/>
                    <a:pt x="1775" y="417"/>
                    <a:pt x="1608" y="393"/>
                  </a:cubicBezTo>
                  <a:lnTo>
                    <a:pt x="1608" y="167"/>
                  </a:lnTo>
                  <a:cubicBezTo>
                    <a:pt x="1608" y="84"/>
                    <a:pt x="1536" y="0"/>
                    <a:pt x="1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1" name="Google Shape;11951;p61"/>
            <p:cNvSpPr/>
            <p:nvPr/>
          </p:nvSpPr>
          <p:spPr>
            <a:xfrm>
              <a:off x="3693751" y="2004147"/>
              <a:ext cx="34721" cy="35101"/>
            </a:xfrm>
            <a:custGeom>
              <a:avLst/>
              <a:gdLst/>
              <a:ahLst/>
              <a:cxnLst/>
              <a:rect l="l" t="t" r="r" b="b"/>
              <a:pathLst>
                <a:path w="1096" h="1108" extrusionOk="0">
                  <a:moveTo>
                    <a:pt x="548" y="345"/>
                  </a:moveTo>
                  <a:cubicBezTo>
                    <a:pt x="667" y="345"/>
                    <a:pt x="751" y="441"/>
                    <a:pt x="751" y="560"/>
                  </a:cubicBezTo>
                  <a:cubicBezTo>
                    <a:pt x="751" y="679"/>
                    <a:pt x="667" y="762"/>
                    <a:pt x="548" y="762"/>
                  </a:cubicBezTo>
                  <a:cubicBezTo>
                    <a:pt x="429" y="762"/>
                    <a:pt x="334" y="679"/>
                    <a:pt x="334" y="560"/>
                  </a:cubicBezTo>
                  <a:cubicBezTo>
                    <a:pt x="334" y="441"/>
                    <a:pt x="429" y="345"/>
                    <a:pt x="548" y="345"/>
                  </a:cubicBezTo>
                  <a:close/>
                  <a:moveTo>
                    <a:pt x="548" y="0"/>
                  </a:moveTo>
                  <a:cubicBezTo>
                    <a:pt x="251" y="0"/>
                    <a:pt x="1" y="262"/>
                    <a:pt x="1" y="560"/>
                  </a:cubicBezTo>
                  <a:cubicBezTo>
                    <a:pt x="1" y="857"/>
                    <a:pt x="251" y="1107"/>
                    <a:pt x="548" y="1107"/>
                  </a:cubicBezTo>
                  <a:cubicBezTo>
                    <a:pt x="846" y="1107"/>
                    <a:pt x="1096" y="857"/>
                    <a:pt x="1096" y="560"/>
                  </a:cubicBezTo>
                  <a:cubicBezTo>
                    <a:pt x="1096" y="262"/>
                    <a:pt x="846" y="0"/>
                    <a:pt x="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2" name="Google Shape;11952;p61"/>
            <p:cNvSpPr/>
            <p:nvPr/>
          </p:nvSpPr>
          <p:spPr>
            <a:xfrm>
              <a:off x="3679052" y="2008297"/>
              <a:ext cx="210482" cy="228983"/>
            </a:xfrm>
            <a:custGeom>
              <a:avLst/>
              <a:gdLst/>
              <a:ahLst/>
              <a:cxnLst/>
              <a:rect l="l" t="t" r="r" b="b"/>
              <a:pathLst>
                <a:path w="6644" h="7228" extrusionOk="0">
                  <a:moveTo>
                    <a:pt x="4179" y="334"/>
                  </a:moveTo>
                  <a:lnTo>
                    <a:pt x="4179" y="762"/>
                  </a:lnTo>
                  <a:lnTo>
                    <a:pt x="4179" y="786"/>
                  </a:lnTo>
                  <a:cubicBezTo>
                    <a:pt x="4179" y="869"/>
                    <a:pt x="4239" y="941"/>
                    <a:pt x="4334" y="965"/>
                  </a:cubicBezTo>
                  <a:cubicBezTo>
                    <a:pt x="4596" y="988"/>
                    <a:pt x="4846" y="1107"/>
                    <a:pt x="5072" y="1274"/>
                  </a:cubicBezTo>
                  <a:cubicBezTo>
                    <a:pt x="5102" y="1299"/>
                    <a:pt x="5138" y="1311"/>
                    <a:pt x="5174" y="1311"/>
                  </a:cubicBezTo>
                  <a:cubicBezTo>
                    <a:pt x="5225" y="1311"/>
                    <a:pt x="5276" y="1287"/>
                    <a:pt x="5310" y="1238"/>
                  </a:cubicBezTo>
                  <a:lnTo>
                    <a:pt x="5322" y="1227"/>
                  </a:lnTo>
                  <a:lnTo>
                    <a:pt x="5620" y="929"/>
                  </a:lnTo>
                  <a:lnTo>
                    <a:pt x="5715" y="1024"/>
                  </a:lnTo>
                  <a:lnTo>
                    <a:pt x="5418" y="1322"/>
                  </a:lnTo>
                  <a:lnTo>
                    <a:pt x="5406" y="1334"/>
                  </a:lnTo>
                  <a:cubicBezTo>
                    <a:pt x="5322" y="1393"/>
                    <a:pt x="5322" y="1500"/>
                    <a:pt x="5370" y="1572"/>
                  </a:cubicBezTo>
                  <a:cubicBezTo>
                    <a:pt x="5537" y="1798"/>
                    <a:pt x="5632" y="2048"/>
                    <a:pt x="5679" y="2310"/>
                  </a:cubicBezTo>
                  <a:cubicBezTo>
                    <a:pt x="5703" y="2405"/>
                    <a:pt x="5775" y="2465"/>
                    <a:pt x="5858" y="2465"/>
                  </a:cubicBezTo>
                  <a:lnTo>
                    <a:pt x="6311" y="2465"/>
                  </a:lnTo>
                  <a:lnTo>
                    <a:pt x="6311" y="2572"/>
                  </a:lnTo>
                  <a:lnTo>
                    <a:pt x="5846" y="2572"/>
                  </a:lnTo>
                  <a:cubicBezTo>
                    <a:pt x="5763" y="2572"/>
                    <a:pt x="5679" y="2631"/>
                    <a:pt x="5668" y="2715"/>
                  </a:cubicBezTo>
                  <a:cubicBezTo>
                    <a:pt x="5632" y="2989"/>
                    <a:pt x="5525" y="3239"/>
                    <a:pt x="5358" y="3465"/>
                  </a:cubicBezTo>
                  <a:cubicBezTo>
                    <a:pt x="5298" y="3536"/>
                    <a:pt x="5310" y="3643"/>
                    <a:pt x="5382" y="3703"/>
                  </a:cubicBezTo>
                  <a:lnTo>
                    <a:pt x="5406" y="3715"/>
                  </a:lnTo>
                  <a:lnTo>
                    <a:pt x="5715" y="4024"/>
                  </a:lnTo>
                  <a:lnTo>
                    <a:pt x="5620" y="4120"/>
                  </a:lnTo>
                  <a:lnTo>
                    <a:pt x="5310" y="3798"/>
                  </a:lnTo>
                  <a:cubicBezTo>
                    <a:pt x="5310" y="3798"/>
                    <a:pt x="5310" y="3786"/>
                    <a:pt x="5298" y="3786"/>
                  </a:cubicBezTo>
                  <a:cubicBezTo>
                    <a:pt x="5266" y="3747"/>
                    <a:pt x="5218" y="3729"/>
                    <a:pt x="5171" y="3729"/>
                  </a:cubicBezTo>
                  <a:cubicBezTo>
                    <a:pt x="5132" y="3729"/>
                    <a:pt x="5092" y="3741"/>
                    <a:pt x="5060" y="3763"/>
                  </a:cubicBezTo>
                  <a:cubicBezTo>
                    <a:pt x="4846" y="3917"/>
                    <a:pt x="4584" y="4024"/>
                    <a:pt x="4310" y="4072"/>
                  </a:cubicBezTo>
                  <a:cubicBezTo>
                    <a:pt x="4227" y="4084"/>
                    <a:pt x="4167" y="4155"/>
                    <a:pt x="4167" y="4251"/>
                  </a:cubicBezTo>
                  <a:lnTo>
                    <a:pt x="4167" y="4263"/>
                  </a:lnTo>
                  <a:lnTo>
                    <a:pt x="4167" y="4715"/>
                  </a:lnTo>
                  <a:lnTo>
                    <a:pt x="4060" y="4715"/>
                  </a:lnTo>
                  <a:lnTo>
                    <a:pt x="4060" y="4275"/>
                  </a:lnTo>
                  <a:lnTo>
                    <a:pt x="4060" y="4263"/>
                  </a:lnTo>
                  <a:cubicBezTo>
                    <a:pt x="4060" y="4179"/>
                    <a:pt x="4001" y="4096"/>
                    <a:pt x="3917" y="4084"/>
                  </a:cubicBezTo>
                  <a:cubicBezTo>
                    <a:pt x="3644" y="4060"/>
                    <a:pt x="3393" y="3941"/>
                    <a:pt x="3167" y="3774"/>
                  </a:cubicBezTo>
                  <a:cubicBezTo>
                    <a:pt x="3136" y="3749"/>
                    <a:pt x="3099" y="3736"/>
                    <a:pt x="3061" y="3736"/>
                  </a:cubicBezTo>
                  <a:cubicBezTo>
                    <a:pt x="3012" y="3736"/>
                    <a:pt x="2963" y="3758"/>
                    <a:pt x="2929" y="3798"/>
                  </a:cubicBezTo>
                  <a:cubicBezTo>
                    <a:pt x="2929" y="3798"/>
                    <a:pt x="2929" y="3822"/>
                    <a:pt x="2917" y="3822"/>
                  </a:cubicBezTo>
                  <a:lnTo>
                    <a:pt x="2608" y="4132"/>
                  </a:lnTo>
                  <a:lnTo>
                    <a:pt x="2512" y="4036"/>
                  </a:lnTo>
                  <a:lnTo>
                    <a:pt x="2810" y="3739"/>
                  </a:lnTo>
                  <a:lnTo>
                    <a:pt x="2822" y="3727"/>
                  </a:lnTo>
                  <a:cubicBezTo>
                    <a:pt x="2822" y="3727"/>
                    <a:pt x="2846" y="3727"/>
                    <a:pt x="2846" y="3715"/>
                  </a:cubicBezTo>
                  <a:cubicBezTo>
                    <a:pt x="2917" y="3655"/>
                    <a:pt x="2917" y="3548"/>
                    <a:pt x="2870" y="3477"/>
                  </a:cubicBezTo>
                  <a:cubicBezTo>
                    <a:pt x="2703" y="3262"/>
                    <a:pt x="2608" y="3001"/>
                    <a:pt x="2560" y="2727"/>
                  </a:cubicBezTo>
                  <a:cubicBezTo>
                    <a:pt x="2548" y="2643"/>
                    <a:pt x="2465" y="2584"/>
                    <a:pt x="2381" y="2584"/>
                  </a:cubicBezTo>
                  <a:lnTo>
                    <a:pt x="1929" y="2584"/>
                  </a:lnTo>
                  <a:lnTo>
                    <a:pt x="1929" y="2465"/>
                  </a:lnTo>
                  <a:lnTo>
                    <a:pt x="2381" y="2465"/>
                  </a:lnTo>
                  <a:cubicBezTo>
                    <a:pt x="2465" y="2465"/>
                    <a:pt x="2548" y="2405"/>
                    <a:pt x="2560" y="2310"/>
                  </a:cubicBezTo>
                  <a:cubicBezTo>
                    <a:pt x="2584" y="2048"/>
                    <a:pt x="2703" y="1798"/>
                    <a:pt x="2870" y="1572"/>
                  </a:cubicBezTo>
                  <a:cubicBezTo>
                    <a:pt x="2929" y="1500"/>
                    <a:pt x="2917" y="1393"/>
                    <a:pt x="2846" y="1334"/>
                  </a:cubicBezTo>
                  <a:lnTo>
                    <a:pt x="2822" y="1322"/>
                  </a:lnTo>
                  <a:lnTo>
                    <a:pt x="2524" y="1024"/>
                  </a:lnTo>
                  <a:lnTo>
                    <a:pt x="2620" y="929"/>
                  </a:lnTo>
                  <a:lnTo>
                    <a:pt x="2917" y="1227"/>
                  </a:lnTo>
                  <a:lnTo>
                    <a:pt x="2929" y="1238"/>
                  </a:lnTo>
                  <a:cubicBezTo>
                    <a:pt x="2963" y="1286"/>
                    <a:pt x="3012" y="1306"/>
                    <a:pt x="3062" y="1306"/>
                  </a:cubicBezTo>
                  <a:cubicBezTo>
                    <a:pt x="3099" y="1306"/>
                    <a:pt x="3137" y="1295"/>
                    <a:pt x="3167" y="1274"/>
                  </a:cubicBezTo>
                  <a:cubicBezTo>
                    <a:pt x="3393" y="1107"/>
                    <a:pt x="3644" y="1000"/>
                    <a:pt x="3917" y="953"/>
                  </a:cubicBezTo>
                  <a:cubicBezTo>
                    <a:pt x="4001" y="941"/>
                    <a:pt x="4060" y="869"/>
                    <a:pt x="4060" y="774"/>
                  </a:cubicBezTo>
                  <a:lnTo>
                    <a:pt x="4060" y="762"/>
                  </a:lnTo>
                  <a:lnTo>
                    <a:pt x="4060" y="334"/>
                  </a:lnTo>
                  <a:close/>
                  <a:moveTo>
                    <a:pt x="3894" y="0"/>
                  </a:moveTo>
                  <a:cubicBezTo>
                    <a:pt x="3810" y="0"/>
                    <a:pt x="3739" y="84"/>
                    <a:pt x="3739" y="167"/>
                  </a:cubicBezTo>
                  <a:lnTo>
                    <a:pt x="3739" y="667"/>
                  </a:lnTo>
                  <a:cubicBezTo>
                    <a:pt x="3513" y="703"/>
                    <a:pt x="3298" y="798"/>
                    <a:pt x="3108" y="929"/>
                  </a:cubicBezTo>
                  <a:lnTo>
                    <a:pt x="2762" y="584"/>
                  </a:lnTo>
                  <a:cubicBezTo>
                    <a:pt x="2733" y="554"/>
                    <a:pt x="2688" y="539"/>
                    <a:pt x="2643" y="539"/>
                  </a:cubicBezTo>
                  <a:cubicBezTo>
                    <a:pt x="2599" y="539"/>
                    <a:pt x="2554" y="554"/>
                    <a:pt x="2524" y="584"/>
                  </a:cubicBezTo>
                  <a:lnTo>
                    <a:pt x="2203" y="917"/>
                  </a:lnTo>
                  <a:cubicBezTo>
                    <a:pt x="2167" y="941"/>
                    <a:pt x="2155" y="988"/>
                    <a:pt x="2155" y="1036"/>
                  </a:cubicBezTo>
                  <a:cubicBezTo>
                    <a:pt x="2155" y="1084"/>
                    <a:pt x="2167" y="1119"/>
                    <a:pt x="2203" y="1155"/>
                  </a:cubicBezTo>
                  <a:lnTo>
                    <a:pt x="2536" y="1500"/>
                  </a:lnTo>
                  <a:cubicBezTo>
                    <a:pt x="2417" y="1691"/>
                    <a:pt x="2334" y="1893"/>
                    <a:pt x="2274" y="2119"/>
                  </a:cubicBezTo>
                  <a:lnTo>
                    <a:pt x="1786" y="2119"/>
                  </a:lnTo>
                  <a:cubicBezTo>
                    <a:pt x="1691" y="2119"/>
                    <a:pt x="1619" y="2191"/>
                    <a:pt x="1619" y="2286"/>
                  </a:cubicBezTo>
                  <a:lnTo>
                    <a:pt x="1619" y="2751"/>
                  </a:lnTo>
                  <a:cubicBezTo>
                    <a:pt x="1619" y="2834"/>
                    <a:pt x="1691" y="2905"/>
                    <a:pt x="1786" y="2905"/>
                  </a:cubicBezTo>
                  <a:lnTo>
                    <a:pt x="2274" y="2905"/>
                  </a:lnTo>
                  <a:cubicBezTo>
                    <a:pt x="2322" y="3084"/>
                    <a:pt x="2381" y="3251"/>
                    <a:pt x="2465" y="3417"/>
                  </a:cubicBezTo>
                  <a:lnTo>
                    <a:pt x="1084" y="3417"/>
                  </a:lnTo>
                  <a:cubicBezTo>
                    <a:pt x="988" y="3417"/>
                    <a:pt x="917" y="3489"/>
                    <a:pt x="917" y="3584"/>
                  </a:cubicBezTo>
                  <a:cubicBezTo>
                    <a:pt x="917" y="3667"/>
                    <a:pt x="988" y="3739"/>
                    <a:pt x="1084" y="3739"/>
                  </a:cubicBezTo>
                  <a:lnTo>
                    <a:pt x="2334" y="3739"/>
                  </a:lnTo>
                  <a:lnTo>
                    <a:pt x="2203" y="3882"/>
                  </a:lnTo>
                  <a:cubicBezTo>
                    <a:pt x="2143" y="3941"/>
                    <a:pt x="2143" y="4060"/>
                    <a:pt x="2203" y="4120"/>
                  </a:cubicBezTo>
                  <a:lnTo>
                    <a:pt x="2524" y="4441"/>
                  </a:lnTo>
                  <a:cubicBezTo>
                    <a:pt x="2560" y="4477"/>
                    <a:pt x="2608" y="4489"/>
                    <a:pt x="2643" y="4489"/>
                  </a:cubicBezTo>
                  <a:cubicBezTo>
                    <a:pt x="2691" y="4489"/>
                    <a:pt x="2739" y="4477"/>
                    <a:pt x="2762" y="4441"/>
                  </a:cubicBezTo>
                  <a:lnTo>
                    <a:pt x="3108" y="4096"/>
                  </a:lnTo>
                  <a:cubicBezTo>
                    <a:pt x="3286" y="4215"/>
                    <a:pt x="3489" y="4310"/>
                    <a:pt x="3703" y="4358"/>
                  </a:cubicBezTo>
                  <a:lnTo>
                    <a:pt x="3703" y="4370"/>
                  </a:lnTo>
                  <a:lnTo>
                    <a:pt x="3703" y="5144"/>
                  </a:lnTo>
                  <a:lnTo>
                    <a:pt x="155" y="5144"/>
                  </a:lnTo>
                  <a:cubicBezTo>
                    <a:pt x="72" y="5144"/>
                    <a:pt x="0" y="5215"/>
                    <a:pt x="0" y="5310"/>
                  </a:cubicBezTo>
                  <a:cubicBezTo>
                    <a:pt x="0" y="5394"/>
                    <a:pt x="72" y="5465"/>
                    <a:pt x="155" y="5465"/>
                  </a:cubicBezTo>
                  <a:lnTo>
                    <a:pt x="4417" y="5465"/>
                  </a:lnTo>
                  <a:lnTo>
                    <a:pt x="4120" y="7037"/>
                  </a:lnTo>
                  <a:cubicBezTo>
                    <a:pt x="4108" y="7120"/>
                    <a:pt x="4167" y="7215"/>
                    <a:pt x="4251" y="7227"/>
                  </a:cubicBezTo>
                  <a:lnTo>
                    <a:pt x="4286" y="7227"/>
                  </a:lnTo>
                  <a:cubicBezTo>
                    <a:pt x="4358" y="7227"/>
                    <a:pt x="4429" y="7168"/>
                    <a:pt x="4441" y="7096"/>
                  </a:cubicBezTo>
                  <a:lnTo>
                    <a:pt x="4787" y="5322"/>
                  </a:lnTo>
                  <a:cubicBezTo>
                    <a:pt x="4798" y="5275"/>
                    <a:pt x="4787" y="5215"/>
                    <a:pt x="4763" y="5191"/>
                  </a:cubicBezTo>
                  <a:cubicBezTo>
                    <a:pt x="4727" y="5144"/>
                    <a:pt x="4679" y="5132"/>
                    <a:pt x="4620" y="5132"/>
                  </a:cubicBezTo>
                  <a:lnTo>
                    <a:pt x="4048" y="5132"/>
                  </a:lnTo>
                  <a:lnTo>
                    <a:pt x="4048" y="5013"/>
                  </a:lnTo>
                  <a:lnTo>
                    <a:pt x="4370" y="5013"/>
                  </a:lnTo>
                  <a:cubicBezTo>
                    <a:pt x="4465" y="5013"/>
                    <a:pt x="4536" y="4929"/>
                    <a:pt x="4536" y="4846"/>
                  </a:cubicBezTo>
                  <a:lnTo>
                    <a:pt x="4536" y="4358"/>
                  </a:lnTo>
                  <a:cubicBezTo>
                    <a:pt x="4763" y="4310"/>
                    <a:pt x="4965" y="4215"/>
                    <a:pt x="5168" y="4084"/>
                  </a:cubicBezTo>
                  <a:lnTo>
                    <a:pt x="5501" y="4429"/>
                  </a:lnTo>
                  <a:cubicBezTo>
                    <a:pt x="5537" y="4453"/>
                    <a:pt x="5584" y="4477"/>
                    <a:pt x="5620" y="4477"/>
                  </a:cubicBezTo>
                  <a:cubicBezTo>
                    <a:pt x="5668" y="4477"/>
                    <a:pt x="5715" y="4453"/>
                    <a:pt x="5739" y="4429"/>
                  </a:cubicBezTo>
                  <a:lnTo>
                    <a:pt x="6072" y="4096"/>
                  </a:lnTo>
                  <a:cubicBezTo>
                    <a:pt x="6096" y="4072"/>
                    <a:pt x="6108" y="4024"/>
                    <a:pt x="6108" y="3977"/>
                  </a:cubicBezTo>
                  <a:cubicBezTo>
                    <a:pt x="6108" y="3941"/>
                    <a:pt x="6096" y="3894"/>
                    <a:pt x="6072" y="3858"/>
                  </a:cubicBezTo>
                  <a:lnTo>
                    <a:pt x="5727" y="3524"/>
                  </a:lnTo>
                  <a:cubicBezTo>
                    <a:pt x="5846" y="3322"/>
                    <a:pt x="5930" y="3120"/>
                    <a:pt x="5989" y="2893"/>
                  </a:cubicBezTo>
                  <a:lnTo>
                    <a:pt x="6489" y="2893"/>
                  </a:lnTo>
                  <a:cubicBezTo>
                    <a:pt x="6572" y="2893"/>
                    <a:pt x="6644" y="2822"/>
                    <a:pt x="6644" y="2727"/>
                  </a:cubicBezTo>
                  <a:lnTo>
                    <a:pt x="6644" y="2274"/>
                  </a:lnTo>
                  <a:cubicBezTo>
                    <a:pt x="6632" y="2191"/>
                    <a:pt x="6561" y="2119"/>
                    <a:pt x="6477" y="2119"/>
                  </a:cubicBezTo>
                  <a:lnTo>
                    <a:pt x="5977" y="2119"/>
                  </a:lnTo>
                  <a:cubicBezTo>
                    <a:pt x="5941" y="1893"/>
                    <a:pt x="5846" y="1691"/>
                    <a:pt x="5715" y="1500"/>
                  </a:cubicBezTo>
                  <a:lnTo>
                    <a:pt x="6060" y="1155"/>
                  </a:lnTo>
                  <a:cubicBezTo>
                    <a:pt x="6084" y="1119"/>
                    <a:pt x="6096" y="1084"/>
                    <a:pt x="6096" y="1036"/>
                  </a:cubicBezTo>
                  <a:cubicBezTo>
                    <a:pt x="6096" y="988"/>
                    <a:pt x="6084" y="941"/>
                    <a:pt x="6060" y="917"/>
                  </a:cubicBezTo>
                  <a:lnTo>
                    <a:pt x="5727" y="584"/>
                  </a:lnTo>
                  <a:cubicBezTo>
                    <a:pt x="5697" y="554"/>
                    <a:pt x="5653" y="539"/>
                    <a:pt x="5608" y="539"/>
                  </a:cubicBezTo>
                  <a:cubicBezTo>
                    <a:pt x="5563" y="539"/>
                    <a:pt x="5519" y="554"/>
                    <a:pt x="5489" y="584"/>
                  </a:cubicBezTo>
                  <a:lnTo>
                    <a:pt x="5144" y="929"/>
                  </a:lnTo>
                  <a:cubicBezTo>
                    <a:pt x="4953" y="810"/>
                    <a:pt x="4751" y="726"/>
                    <a:pt x="4525" y="667"/>
                  </a:cubicBezTo>
                  <a:lnTo>
                    <a:pt x="4525" y="167"/>
                  </a:lnTo>
                  <a:cubicBezTo>
                    <a:pt x="4525" y="84"/>
                    <a:pt x="4453" y="0"/>
                    <a:pt x="4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3" name="Google Shape;11953;p61"/>
            <p:cNvSpPr/>
            <p:nvPr/>
          </p:nvSpPr>
          <p:spPr>
            <a:xfrm>
              <a:off x="3772951" y="2050907"/>
              <a:ext cx="73973" cy="73593"/>
            </a:xfrm>
            <a:custGeom>
              <a:avLst/>
              <a:gdLst/>
              <a:ahLst/>
              <a:cxnLst/>
              <a:rect l="l" t="t" r="r" b="b"/>
              <a:pathLst>
                <a:path w="2335" h="2323" extrusionOk="0">
                  <a:moveTo>
                    <a:pt x="1156" y="322"/>
                  </a:moveTo>
                  <a:cubicBezTo>
                    <a:pt x="1620" y="322"/>
                    <a:pt x="1989" y="703"/>
                    <a:pt x="1989" y="1167"/>
                  </a:cubicBezTo>
                  <a:cubicBezTo>
                    <a:pt x="1989" y="1620"/>
                    <a:pt x="1620" y="2001"/>
                    <a:pt x="1156" y="2001"/>
                  </a:cubicBezTo>
                  <a:cubicBezTo>
                    <a:pt x="691" y="2001"/>
                    <a:pt x="322" y="1620"/>
                    <a:pt x="322" y="1167"/>
                  </a:cubicBezTo>
                  <a:cubicBezTo>
                    <a:pt x="322" y="703"/>
                    <a:pt x="691" y="322"/>
                    <a:pt x="1156" y="322"/>
                  </a:cubicBezTo>
                  <a:close/>
                  <a:moveTo>
                    <a:pt x="1156" y="1"/>
                  </a:moveTo>
                  <a:cubicBezTo>
                    <a:pt x="513" y="1"/>
                    <a:pt x="1" y="524"/>
                    <a:pt x="1" y="1167"/>
                  </a:cubicBezTo>
                  <a:cubicBezTo>
                    <a:pt x="1" y="1798"/>
                    <a:pt x="513" y="2322"/>
                    <a:pt x="1156" y="2322"/>
                  </a:cubicBezTo>
                  <a:cubicBezTo>
                    <a:pt x="1799" y="2322"/>
                    <a:pt x="2323" y="1798"/>
                    <a:pt x="2323" y="1167"/>
                  </a:cubicBezTo>
                  <a:cubicBezTo>
                    <a:pt x="2334" y="524"/>
                    <a:pt x="1811" y="1"/>
                    <a:pt x="1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4" name="Google Shape;11954;p61"/>
            <p:cNvSpPr/>
            <p:nvPr/>
          </p:nvSpPr>
          <p:spPr>
            <a:xfrm>
              <a:off x="3790312" y="2069028"/>
              <a:ext cx="38491" cy="38491"/>
            </a:xfrm>
            <a:custGeom>
              <a:avLst/>
              <a:gdLst/>
              <a:ahLst/>
              <a:cxnLst/>
              <a:rect l="l" t="t" r="r" b="b"/>
              <a:pathLst>
                <a:path w="1215" h="1215" extrusionOk="0">
                  <a:moveTo>
                    <a:pt x="608" y="322"/>
                  </a:moveTo>
                  <a:cubicBezTo>
                    <a:pt x="763" y="322"/>
                    <a:pt x="882" y="441"/>
                    <a:pt x="882" y="595"/>
                  </a:cubicBezTo>
                  <a:cubicBezTo>
                    <a:pt x="882" y="738"/>
                    <a:pt x="763" y="857"/>
                    <a:pt x="608" y="857"/>
                  </a:cubicBezTo>
                  <a:cubicBezTo>
                    <a:pt x="465" y="857"/>
                    <a:pt x="346" y="738"/>
                    <a:pt x="346" y="595"/>
                  </a:cubicBezTo>
                  <a:cubicBezTo>
                    <a:pt x="346" y="441"/>
                    <a:pt x="465" y="322"/>
                    <a:pt x="608" y="322"/>
                  </a:cubicBezTo>
                  <a:close/>
                  <a:moveTo>
                    <a:pt x="608" y="0"/>
                  </a:moveTo>
                  <a:cubicBezTo>
                    <a:pt x="286" y="0"/>
                    <a:pt x="1" y="262"/>
                    <a:pt x="1" y="607"/>
                  </a:cubicBezTo>
                  <a:cubicBezTo>
                    <a:pt x="1" y="929"/>
                    <a:pt x="262" y="1215"/>
                    <a:pt x="608" y="1215"/>
                  </a:cubicBezTo>
                  <a:cubicBezTo>
                    <a:pt x="941" y="1215"/>
                    <a:pt x="1215" y="953"/>
                    <a:pt x="1215" y="607"/>
                  </a:cubicBezTo>
                  <a:cubicBezTo>
                    <a:pt x="1215" y="262"/>
                    <a:pt x="953"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5" name="Google Shape;11955;p61"/>
            <p:cNvSpPr/>
            <p:nvPr/>
          </p:nvSpPr>
          <p:spPr>
            <a:xfrm>
              <a:off x="3522521" y="2081447"/>
              <a:ext cx="294212" cy="225688"/>
            </a:xfrm>
            <a:custGeom>
              <a:avLst/>
              <a:gdLst/>
              <a:ahLst/>
              <a:cxnLst/>
              <a:rect l="l" t="t" r="r" b="b"/>
              <a:pathLst>
                <a:path w="9287" h="7124" extrusionOk="0">
                  <a:moveTo>
                    <a:pt x="155" y="1"/>
                  </a:moveTo>
                  <a:cubicBezTo>
                    <a:pt x="72" y="1"/>
                    <a:pt x="0" y="72"/>
                    <a:pt x="0" y="168"/>
                  </a:cubicBezTo>
                  <a:lnTo>
                    <a:pt x="0" y="6954"/>
                  </a:lnTo>
                  <a:cubicBezTo>
                    <a:pt x="0" y="7121"/>
                    <a:pt x="143" y="7121"/>
                    <a:pt x="262" y="7121"/>
                  </a:cubicBezTo>
                  <a:cubicBezTo>
                    <a:pt x="351" y="7121"/>
                    <a:pt x="2483" y="7124"/>
                    <a:pt x="4603" y="7124"/>
                  </a:cubicBezTo>
                  <a:cubicBezTo>
                    <a:pt x="6724" y="7124"/>
                    <a:pt x="8835" y="7121"/>
                    <a:pt x="8882" y="7109"/>
                  </a:cubicBezTo>
                  <a:cubicBezTo>
                    <a:pt x="8942" y="7085"/>
                    <a:pt x="8989" y="7026"/>
                    <a:pt x="9001" y="6966"/>
                  </a:cubicBezTo>
                  <a:lnTo>
                    <a:pt x="9287" y="5466"/>
                  </a:lnTo>
                  <a:cubicBezTo>
                    <a:pt x="9275" y="5395"/>
                    <a:pt x="9216" y="5299"/>
                    <a:pt x="9120" y="5287"/>
                  </a:cubicBezTo>
                  <a:cubicBezTo>
                    <a:pt x="9113" y="5286"/>
                    <a:pt x="9106" y="5286"/>
                    <a:pt x="9099" y="5286"/>
                  </a:cubicBezTo>
                  <a:cubicBezTo>
                    <a:pt x="9021" y="5286"/>
                    <a:pt x="8941" y="5342"/>
                    <a:pt x="8930" y="5418"/>
                  </a:cubicBezTo>
                  <a:lnTo>
                    <a:pt x="8680" y="6788"/>
                  </a:lnTo>
                  <a:lnTo>
                    <a:pt x="357" y="6788"/>
                  </a:lnTo>
                  <a:lnTo>
                    <a:pt x="1036" y="3192"/>
                  </a:lnTo>
                  <a:lnTo>
                    <a:pt x="4429" y="3192"/>
                  </a:lnTo>
                  <a:cubicBezTo>
                    <a:pt x="4524" y="3192"/>
                    <a:pt x="4596" y="3120"/>
                    <a:pt x="4596" y="3025"/>
                  </a:cubicBezTo>
                  <a:cubicBezTo>
                    <a:pt x="4596" y="2930"/>
                    <a:pt x="4524" y="2858"/>
                    <a:pt x="4429" y="2858"/>
                  </a:cubicBezTo>
                  <a:lnTo>
                    <a:pt x="905" y="2858"/>
                  </a:lnTo>
                  <a:cubicBezTo>
                    <a:pt x="834" y="2858"/>
                    <a:pt x="750" y="2918"/>
                    <a:pt x="738" y="2989"/>
                  </a:cubicBezTo>
                  <a:lnTo>
                    <a:pt x="322" y="5168"/>
                  </a:lnTo>
                  <a:lnTo>
                    <a:pt x="322" y="334"/>
                  </a:lnTo>
                  <a:lnTo>
                    <a:pt x="2453" y="334"/>
                  </a:lnTo>
                  <a:lnTo>
                    <a:pt x="3536" y="1418"/>
                  </a:lnTo>
                  <a:cubicBezTo>
                    <a:pt x="3572" y="1442"/>
                    <a:pt x="3608" y="1465"/>
                    <a:pt x="3655" y="1465"/>
                  </a:cubicBezTo>
                  <a:lnTo>
                    <a:pt x="5358" y="1465"/>
                  </a:lnTo>
                  <a:cubicBezTo>
                    <a:pt x="5441" y="1465"/>
                    <a:pt x="5513" y="1394"/>
                    <a:pt x="5513" y="1299"/>
                  </a:cubicBezTo>
                  <a:cubicBezTo>
                    <a:pt x="5513" y="1204"/>
                    <a:pt x="5441" y="1132"/>
                    <a:pt x="5358" y="1132"/>
                  </a:cubicBezTo>
                  <a:lnTo>
                    <a:pt x="3727" y="1132"/>
                  </a:lnTo>
                  <a:lnTo>
                    <a:pt x="2643" y="49"/>
                  </a:lnTo>
                  <a:cubicBezTo>
                    <a:pt x="2619" y="13"/>
                    <a:pt x="2572" y="1"/>
                    <a:pt x="2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6" name="Google Shape;11956;p61"/>
            <p:cNvSpPr/>
            <p:nvPr/>
          </p:nvSpPr>
          <p:spPr>
            <a:xfrm>
              <a:off x="3810682" y="2248812"/>
              <a:ext cx="1774" cy="253"/>
            </a:xfrm>
            <a:custGeom>
              <a:avLst/>
              <a:gdLst/>
              <a:ahLst/>
              <a:cxnLst/>
              <a:rect l="l" t="t" r="r" b="b"/>
              <a:pathLst>
                <a:path w="56" h="8" extrusionOk="0">
                  <a:moveTo>
                    <a:pt x="1" y="1"/>
                  </a:moveTo>
                  <a:cubicBezTo>
                    <a:pt x="1" y="1"/>
                    <a:pt x="7" y="2"/>
                    <a:pt x="24" y="4"/>
                  </a:cubicBezTo>
                  <a:cubicBezTo>
                    <a:pt x="44" y="7"/>
                    <a:pt x="52" y="8"/>
                    <a:pt x="53" y="8"/>
                  </a:cubicBezTo>
                  <a:cubicBezTo>
                    <a:pt x="55" y="8"/>
                    <a:pt x="3" y="1"/>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57" name="Google Shape;11957;p61"/>
          <p:cNvGrpSpPr/>
          <p:nvPr/>
        </p:nvGrpSpPr>
        <p:grpSpPr>
          <a:xfrm>
            <a:off x="2630824" y="1976966"/>
            <a:ext cx="368185" cy="330454"/>
            <a:chOff x="2630824" y="1976966"/>
            <a:chExt cx="368185" cy="330454"/>
          </a:xfrm>
        </p:grpSpPr>
        <p:sp>
          <p:nvSpPr>
            <p:cNvPr id="11958" name="Google Shape;11958;p61"/>
            <p:cNvSpPr/>
            <p:nvPr/>
          </p:nvSpPr>
          <p:spPr>
            <a:xfrm>
              <a:off x="2630824" y="2059967"/>
              <a:ext cx="229743" cy="247072"/>
            </a:xfrm>
            <a:custGeom>
              <a:avLst/>
              <a:gdLst/>
              <a:ahLst/>
              <a:cxnLst/>
              <a:rect l="l" t="t" r="r" b="b"/>
              <a:pathLst>
                <a:path w="7252" h="7799" extrusionOk="0">
                  <a:moveTo>
                    <a:pt x="167" y="0"/>
                  </a:moveTo>
                  <a:cubicBezTo>
                    <a:pt x="72" y="0"/>
                    <a:pt x="1" y="72"/>
                    <a:pt x="1" y="167"/>
                  </a:cubicBezTo>
                  <a:lnTo>
                    <a:pt x="1" y="7632"/>
                  </a:lnTo>
                  <a:cubicBezTo>
                    <a:pt x="1" y="7727"/>
                    <a:pt x="72" y="7799"/>
                    <a:pt x="167" y="7799"/>
                  </a:cubicBezTo>
                  <a:lnTo>
                    <a:pt x="7085" y="7799"/>
                  </a:lnTo>
                  <a:cubicBezTo>
                    <a:pt x="7180" y="7799"/>
                    <a:pt x="7252" y="7727"/>
                    <a:pt x="7252" y="7632"/>
                  </a:cubicBezTo>
                  <a:cubicBezTo>
                    <a:pt x="7252" y="7549"/>
                    <a:pt x="7180" y="7454"/>
                    <a:pt x="7085" y="7454"/>
                  </a:cubicBezTo>
                  <a:lnTo>
                    <a:pt x="346" y="7454"/>
                  </a:lnTo>
                  <a:lnTo>
                    <a:pt x="346" y="322"/>
                  </a:lnTo>
                  <a:lnTo>
                    <a:pt x="2715" y="322"/>
                  </a:lnTo>
                  <a:lnTo>
                    <a:pt x="3906" y="1512"/>
                  </a:lnTo>
                  <a:cubicBezTo>
                    <a:pt x="3930" y="1548"/>
                    <a:pt x="3977" y="1560"/>
                    <a:pt x="4025" y="1560"/>
                  </a:cubicBezTo>
                  <a:lnTo>
                    <a:pt x="4597" y="1560"/>
                  </a:lnTo>
                  <a:cubicBezTo>
                    <a:pt x="4692" y="1560"/>
                    <a:pt x="4763" y="1489"/>
                    <a:pt x="4763" y="1393"/>
                  </a:cubicBezTo>
                  <a:cubicBezTo>
                    <a:pt x="4763" y="1310"/>
                    <a:pt x="4692" y="1239"/>
                    <a:pt x="4597" y="1239"/>
                  </a:cubicBezTo>
                  <a:lnTo>
                    <a:pt x="4073" y="1239"/>
                  </a:lnTo>
                  <a:lnTo>
                    <a:pt x="2882" y="48"/>
                  </a:lnTo>
                  <a:cubicBezTo>
                    <a:pt x="2858" y="12"/>
                    <a:pt x="2811" y="0"/>
                    <a:pt x="2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9" name="Google Shape;11959;p61"/>
            <p:cNvSpPr/>
            <p:nvPr/>
          </p:nvSpPr>
          <p:spPr>
            <a:xfrm>
              <a:off x="2792646" y="1976966"/>
              <a:ext cx="206364" cy="330454"/>
            </a:xfrm>
            <a:custGeom>
              <a:avLst/>
              <a:gdLst/>
              <a:ahLst/>
              <a:cxnLst/>
              <a:rect l="l" t="t" r="r" b="b"/>
              <a:pathLst>
                <a:path w="6514" h="10431" extrusionOk="0">
                  <a:moveTo>
                    <a:pt x="3894" y="1"/>
                  </a:moveTo>
                  <a:cubicBezTo>
                    <a:pt x="2453" y="1"/>
                    <a:pt x="1286" y="1180"/>
                    <a:pt x="1286" y="2608"/>
                  </a:cubicBezTo>
                  <a:cubicBezTo>
                    <a:pt x="1286" y="3061"/>
                    <a:pt x="1405" y="3513"/>
                    <a:pt x="1632" y="3882"/>
                  </a:cubicBezTo>
                  <a:lnTo>
                    <a:pt x="155" y="3882"/>
                  </a:lnTo>
                  <a:cubicBezTo>
                    <a:pt x="72" y="3882"/>
                    <a:pt x="1" y="3954"/>
                    <a:pt x="1" y="4049"/>
                  </a:cubicBezTo>
                  <a:cubicBezTo>
                    <a:pt x="1" y="4132"/>
                    <a:pt x="72" y="4216"/>
                    <a:pt x="155" y="4216"/>
                  </a:cubicBezTo>
                  <a:lnTo>
                    <a:pt x="1858" y="4216"/>
                  </a:lnTo>
                  <a:cubicBezTo>
                    <a:pt x="2334" y="4811"/>
                    <a:pt x="3072" y="5192"/>
                    <a:pt x="3894" y="5192"/>
                  </a:cubicBezTo>
                  <a:cubicBezTo>
                    <a:pt x="4061" y="5192"/>
                    <a:pt x="4227" y="5180"/>
                    <a:pt x="4382" y="5144"/>
                  </a:cubicBezTo>
                  <a:lnTo>
                    <a:pt x="4382" y="10109"/>
                  </a:lnTo>
                  <a:lnTo>
                    <a:pt x="2632" y="10109"/>
                  </a:lnTo>
                  <a:cubicBezTo>
                    <a:pt x="2537" y="10109"/>
                    <a:pt x="2465" y="10181"/>
                    <a:pt x="2465" y="10264"/>
                  </a:cubicBezTo>
                  <a:cubicBezTo>
                    <a:pt x="2465" y="10359"/>
                    <a:pt x="2537" y="10431"/>
                    <a:pt x="2632" y="10431"/>
                  </a:cubicBezTo>
                  <a:lnTo>
                    <a:pt x="4549" y="10431"/>
                  </a:lnTo>
                  <a:cubicBezTo>
                    <a:pt x="4644" y="10431"/>
                    <a:pt x="4715" y="10359"/>
                    <a:pt x="4715" y="10264"/>
                  </a:cubicBezTo>
                  <a:lnTo>
                    <a:pt x="4715" y="5061"/>
                  </a:lnTo>
                  <a:cubicBezTo>
                    <a:pt x="5061" y="4942"/>
                    <a:pt x="5382" y="4752"/>
                    <a:pt x="5656" y="4490"/>
                  </a:cubicBezTo>
                  <a:cubicBezTo>
                    <a:pt x="6132" y="4049"/>
                    <a:pt x="6430" y="3442"/>
                    <a:pt x="6466" y="2787"/>
                  </a:cubicBezTo>
                  <a:cubicBezTo>
                    <a:pt x="6513" y="2680"/>
                    <a:pt x="6442" y="2585"/>
                    <a:pt x="6358" y="2585"/>
                  </a:cubicBezTo>
                  <a:cubicBezTo>
                    <a:pt x="6263" y="2585"/>
                    <a:pt x="6168" y="2644"/>
                    <a:pt x="6168" y="2751"/>
                  </a:cubicBezTo>
                  <a:cubicBezTo>
                    <a:pt x="6085" y="3930"/>
                    <a:pt x="5096" y="4847"/>
                    <a:pt x="3906" y="4847"/>
                  </a:cubicBezTo>
                  <a:cubicBezTo>
                    <a:pt x="2656" y="4847"/>
                    <a:pt x="1644" y="3835"/>
                    <a:pt x="1644" y="2585"/>
                  </a:cubicBezTo>
                  <a:cubicBezTo>
                    <a:pt x="1644" y="1334"/>
                    <a:pt x="2656" y="322"/>
                    <a:pt x="3906" y="322"/>
                  </a:cubicBezTo>
                  <a:cubicBezTo>
                    <a:pt x="4977" y="322"/>
                    <a:pt x="5918" y="1084"/>
                    <a:pt x="6132" y="2144"/>
                  </a:cubicBezTo>
                  <a:cubicBezTo>
                    <a:pt x="6143" y="2220"/>
                    <a:pt x="6214" y="2277"/>
                    <a:pt x="6299" y="2277"/>
                  </a:cubicBezTo>
                  <a:cubicBezTo>
                    <a:pt x="6306" y="2277"/>
                    <a:pt x="6315" y="2276"/>
                    <a:pt x="6323" y="2275"/>
                  </a:cubicBezTo>
                  <a:cubicBezTo>
                    <a:pt x="6406" y="2263"/>
                    <a:pt x="6466" y="2168"/>
                    <a:pt x="6454" y="2085"/>
                  </a:cubicBezTo>
                  <a:cubicBezTo>
                    <a:pt x="6204" y="882"/>
                    <a:pt x="5132" y="1"/>
                    <a:pt x="3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0" name="Google Shape;11960;p61"/>
            <p:cNvSpPr/>
            <p:nvPr/>
          </p:nvSpPr>
          <p:spPr>
            <a:xfrm>
              <a:off x="2876376" y="2005256"/>
              <a:ext cx="78123" cy="91333"/>
            </a:xfrm>
            <a:custGeom>
              <a:avLst/>
              <a:gdLst/>
              <a:ahLst/>
              <a:cxnLst/>
              <a:rect l="l" t="t" r="r" b="b"/>
              <a:pathLst>
                <a:path w="2466" h="2883" extrusionOk="0">
                  <a:moveTo>
                    <a:pt x="1239" y="346"/>
                  </a:moveTo>
                  <a:cubicBezTo>
                    <a:pt x="1406" y="346"/>
                    <a:pt x="1537" y="477"/>
                    <a:pt x="1537" y="644"/>
                  </a:cubicBezTo>
                  <a:lnTo>
                    <a:pt x="1537" y="1061"/>
                  </a:lnTo>
                  <a:lnTo>
                    <a:pt x="941" y="1061"/>
                  </a:lnTo>
                  <a:lnTo>
                    <a:pt x="941" y="644"/>
                  </a:lnTo>
                  <a:cubicBezTo>
                    <a:pt x="941" y="477"/>
                    <a:pt x="1072" y="346"/>
                    <a:pt x="1239" y="346"/>
                  </a:cubicBezTo>
                  <a:close/>
                  <a:moveTo>
                    <a:pt x="2120" y="1394"/>
                  </a:moveTo>
                  <a:lnTo>
                    <a:pt x="2120" y="2561"/>
                  </a:lnTo>
                  <a:lnTo>
                    <a:pt x="358" y="2561"/>
                  </a:lnTo>
                  <a:lnTo>
                    <a:pt x="358" y="1394"/>
                  </a:lnTo>
                  <a:close/>
                  <a:moveTo>
                    <a:pt x="1227" y="1"/>
                  </a:moveTo>
                  <a:cubicBezTo>
                    <a:pt x="870" y="1"/>
                    <a:pt x="584" y="275"/>
                    <a:pt x="584" y="644"/>
                  </a:cubicBezTo>
                  <a:lnTo>
                    <a:pt x="584" y="1061"/>
                  </a:lnTo>
                  <a:lnTo>
                    <a:pt x="167" y="1061"/>
                  </a:lnTo>
                  <a:cubicBezTo>
                    <a:pt x="84" y="1061"/>
                    <a:pt x="1" y="1132"/>
                    <a:pt x="1" y="1215"/>
                  </a:cubicBezTo>
                  <a:lnTo>
                    <a:pt x="1" y="2727"/>
                  </a:lnTo>
                  <a:cubicBezTo>
                    <a:pt x="1" y="2811"/>
                    <a:pt x="84" y="2882"/>
                    <a:pt x="167" y="2882"/>
                  </a:cubicBezTo>
                  <a:lnTo>
                    <a:pt x="2263" y="2882"/>
                  </a:lnTo>
                  <a:cubicBezTo>
                    <a:pt x="2358" y="2882"/>
                    <a:pt x="2430" y="2811"/>
                    <a:pt x="2430" y="2727"/>
                  </a:cubicBezTo>
                  <a:lnTo>
                    <a:pt x="2430" y="1215"/>
                  </a:lnTo>
                  <a:cubicBezTo>
                    <a:pt x="2465" y="1132"/>
                    <a:pt x="2382" y="1061"/>
                    <a:pt x="2275" y="1061"/>
                  </a:cubicBezTo>
                  <a:lnTo>
                    <a:pt x="1870" y="1061"/>
                  </a:lnTo>
                  <a:lnTo>
                    <a:pt x="1870" y="644"/>
                  </a:lnTo>
                  <a:cubicBezTo>
                    <a:pt x="1870" y="287"/>
                    <a:pt x="1584"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1" name="Google Shape;11961;p61"/>
            <p:cNvSpPr/>
            <p:nvPr/>
          </p:nvSpPr>
          <p:spPr>
            <a:xfrm>
              <a:off x="2715695" y="2177659"/>
              <a:ext cx="43782" cy="43402"/>
            </a:xfrm>
            <a:custGeom>
              <a:avLst/>
              <a:gdLst/>
              <a:ahLst/>
              <a:cxnLst/>
              <a:rect l="l" t="t" r="r" b="b"/>
              <a:pathLst>
                <a:path w="1382" h="1370" extrusionOk="0">
                  <a:moveTo>
                    <a:pt x="1048" y="345"/>
                  </a:moveTo>
                  <a:lnTo>
                    <a:pt x="1048" y="1048"/>
                  </a:lnTo>
                  <a:lnTo>
                    <a:pt x="346" y="1048"/>
                  </a:lnTo>
                  <a:lnTo>
                    <a:pt x="346" y="345"/>
                  </a:lnTo>
                  <a:close/>
                  <a:moveTo>
                    <a:pt x="167" y="0"/>
                  </a:moveTo>
                  <a:cubicBezTo>
                    <a:pt x="72" y="0"/>
                    <a:pt x="1" y="83"/>
                    <a:pt x="1" y="167"/>
                  </a:cubicBezTo>
                  <a:lnTo>
                    <a:pt x="1" y="1215"/>
                  </a:lnTo>
                  <a:cubicBezTo>
                    <a:pt x="1" y="1298"/>
                    <a:pt x="72" y="1369"/>
                    <a:pt x="167" y="1369"/>
                  </a:cubicBezTo>
                  <a:lnTo>
                    <a:pt x="1203" y="1369"/>
                  </a:lnTo>
                  <a:cubicBezTo>
                    <a:pt x="1298" y="1369"/>
                    <a:pt x="1370" y="1298"/>
                    <a:pt x="1370" y="1215"/>
                  </a:cubicBezTo>
                  <a:lnTo>
                    <a:pt x="1370" y="167"/>
                  </a:lnTo>
                  <a:cubicBezTo>
                    <a:pt x="1382" y="83"/>
                    <a:pt x="1310" y="0"/>
                    <a:pt x="1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61"/>
            <p:cNvSpPr/>
            <p:nvPr/>
          </p:nvSpPr>
          <p:spPr>
            <a:xfrm>
              <a:off x="2770026" y="2177659"/>
              <a:ext cx="88292" cy="10581"/>
            </a:xfrm>
            <a:custGeom>
              <a:avLst/>
              <a:gdLst/>
              <a:ahLst/>
              <a:cxnLst/>
              <a:rect l="l" t="t" r="r" b="b"/>
              <a:pathLst>
                <a:path w="2787" h="334" extrusionOk="0">
                  <a:moveTo>
                    <a:pt x="167" y="0"/>
                  </a:moveTo>
                  <a:cubicBezTo>
                    <a:pt x="72" y="0"/>
                    <a:pt x="0" y="83"/>
                    <a:pt x="0" y="167"/>
                  </a:cubicBezTo>
                  <a:cubicBezTo>
                    <a:pt x="0" y="262"/>
                    <a:pt x="72" y="333"/>
                    <a:pt x="167" y="333"/>
                  </a:cubicBezTo>
                  <a:lnTo>
                    <a:pt x="2620" y="333"/>
                  </a:lnTo>
                  <a:cubicBezTo>
                    <a:pt x="2703" y="333"/>
                    <a:pt x="2786" y="262"/>
                    <a:pt x="2786" y="167"/>
                  </a:cubicBezTo>
                  <a:cubicBezTo>
                    <a:pt x="2786" y="83"/>
                    <a:pt x="2703" y="0"/>
                    <a:pt x="2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3" name="Google Shape;11963;p61"/>
            <p:cNvSpPr/>
            <p:nvPr/>
          </p:nvSpPr>
          <p:spPr>
            <a:xfrm>
              <a:off x="2770026" y="2194227"/>
              <a:ext cx="88292" cy="10613"/>
            </a:xfrm>
            <a:custGeom>
              <a:avLst/>
              <a:gdLst/>
              <a:ahLst/>
              <a:cxnLst/>
              <a:rect l="l" t="t" r="r" b="b"/>
              <a:pathLst>
                <a:path w="2787" h="335" extrusionOk="0">
                  <a:moveTo>
                    <a:pt x="167" y="1"/>
                  </a:moveTo>
                  <a:cubicBezTo>
                    <a:pt x="72" y="1"/>
                    <a:pt x="0" y="72"/>
                    <a:pt x="0" y="168"/>
                  </a:cubicBezTo>
                  <a:cubicBezTo>
                    <a:pt x="0" y="251"/>
                    <a:pt x="72" y="334"/>
                    <a:pt x="167" y="334"/>
                  </a:cubicBezTo>
                  <a:lnTo>
                    <a:pt x="2620" y="334"/>
                  </a:lnTo>
                  <a:cubicBezTo>
                    <a:pt x="2703" y="334"/>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61"/>
            <p:cNvSpPr/>
            <p:nvPr/>
          </p:nvSpPr>
          <p:spPr>
            <a:xfrm>
              <a:off x="2770026" y="2210828"/>
              <a:ext cx="88292" cy="10233"/>
            </a:xfrm>
            <a:custGeom>
              <a:avLst/>
              <a:gdLst/>
              <a:ahLst/>
              <a:cxnLst/>
              <a:rect l="l" t="t" r="r" b="b"/>
              <a:pathLst>
                <a:path w="2787" h="323" extrusionOk="0">
                  <a:moveTo>
                    <a:pt x="167" y="1"/>
                  </a:moveTo>
                  <a:cubicBezTo>
                    <a:pt x="72" y="1"/>
                    <a:pt x="0" y="72"/>
                    <a:pt x="0" y="168"/>
                  </a:cubicBezTo>
                  <a:cubicBezTo>
                    <a:pt x="0" y="251"/>
                    <a:pt x="72" y="322"/>
                    <a:pt x="167" y="322"/>
                  </a:cubicBezTo>
                  <a:lnTo>
                    <a:pt x="2620" y="322"/>
                  </a:lnTo>
                  <a:cubicBezTo>
                    <a:pt x="2703" y="322"/>
                    <a:pt x="2786" y="251"/>
                    <a:pt x="2786" y="168"/>
                  </a:cubicBezTo>
                  <a:cubicBezTo>
                    <a:pt x="2786" y="72"/>
                    <a:pt x="270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5" name="Google Shape;11965;p61"/>
            <p:cNvSpPr/>
            <p:nvPr/>
          </p:nvSpPr>
          <p:spPr>
            <a:xfrm>
              <a:off x="2908436" y="2058447"/>
              <a:ext cx="16252" cy="18913"/>
            </a:xfrm>
            <a:custGeom>
              <a:avLst/>
              <a:gdLst/>
              <a:ahLst/>
              <a:cxnLst/>
              <a:rect l="l" t="t" r="r" b="b"/>
              <a:pathLst>
                <a:path w="513" h="597" extrusionOk="0">
                  <a:moveTo>
                    <a:pt x="167" y="1"/>
                  </a:moveTo>
                  <a:cubicBezTo>
                    <a:pt x="72" y="1"/>
                    <a:pt x="1" y="72"/>
                    <a:pt x="1" y="167"/>
                  </a:cubicBezTo>
                  <a:cubicBezTo>
                    <a:pt x="1" y="227"/>
                    <a:pt x="36" y="286"/>
                    <a:pt x="96" y="310"/>
                  </a:cubicBezTo>
                  <a:lnTo>
                    <a:pt x="96" y="429"/>
                  </a:lnTo>
                  <a:cubicBezTo>
                    <a:pt x="96" y="525"/>
                    <a:pt x="167" y="596"/>
                    <a:pt x="263" y="596"/>
                  </a:cubicBezTo>
                  <a:cubicBezTo>
                    <a:pt x="346" y="596"/>
                    <a:pt x="417" y="525"/>
                    <a:pt x="417" y="429"/>
                  </a:cubicBezTo>
                  <a:lnTo>
                    <a:pt x="417" y="310"/>
                  </a:lnTo>
                  <a:cubicBezTo>
                    <a:pt x="465" y="286"/>
                    <a:pt x="513" y="227"/>
                    <a:pt x="513" y="167"/>
                  </a:cubicBezTo>
                  <a:cubicBezTo>
                    <a:pt x="513" y="72"/>
                    <a:pt x="441"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66" name="Google Shape;11966;p61"/>
          <p:cNvGrpSpPr/>
          <p:nvPr/>
        </p:nvGrpSpPr>
        <p:grpSpPr>
          <a:xfrm>
            <a:off x="1293706" y="1966416"/>
            <a:ext cx="369294" cy="350444"/>
            <a:chOff x="1293706" y="1966416"/>
            <a:chExt cx="369294" cy="350444"/>
          </a:xfrm>
        </p:grpSpPr>
        <p:sp>
          <p:nvSpPr>
            <p:cNvPr id="11967" name="Google Shape;11967;p61"/>
            <p:cNvSpPr/>
            <p:nvPr/>
          </p:nvSpPr>
          <p:spPr>
            <a:xfrm>
              <a:off x="1509067" y="1966416"/>
              <a:ext cx="153933" cy="162994"/>
            </a:xfrm>
            <a:custGeom>
              <a:avLst/>
              <a:gdLst/>
              <a:ahLst/>
              <a:cxnLst/>
              <a:rect l="l" t="t" r="r" b="b"/>
              <a:pathLst>
                <a:path w="4859" h="5145" extrusionOk="0">
                  <a:moveTo>
                    <a:pt x="2514" y="0"/>
                  </a:moveTo>
                  <a:cubicBezTo>
                    <a:pt x="1759" y="0"/>
                    <a:pt x="1016" y="363"/>
                    <a:pt x="560" y="1036"/>
                  </a:cubicBezTo>
                  <a:cubicBezTo>
                    <a:pt x="1" y="1870"/>
                    <a:pt x="36" y="2953"/>
                    <a:pt x="632" y="3739"/>
                  </a:cubicBezTo>
                  <a:lnTo>
                    <a:pt x="572" y="4965"/>
                  </a:lnTo>
                  <a:cubicBezTo>
                    <a:pt x="572" y="5025"/>
                    <a:pt x="596" y="5085"/>
                    <a:pt x="643" y="5108"/>
                  </a:cubicBezTo>
                  <a:cubicBezTo>
                    <a:pt x="679" y="5120"/>
                    <a:pt x="703" y="5144"/>
                    <a:pt x="739" y="5144"/>
                  </a:cubicBezTo>
                  <a:cubicBezTo>
                    <a:pt x="763" y="5144"/>
                    <a:pt x="774" y="5144"/>
                    <a:pt x="810" y="5120"/>
                  </a:cubicBezTo>
                  <a:lnTo>
                    <a:pt x="1929" y="4608"/>
                  </a:lnTo>
                  <a:cubicBezTo>
                    <a:pt x="2120" y="4644"/>
                    <a:pt x="2310" y="4680"/>
                    <a:pt x="2501" y="4680"/>
                  </a:cubicBezTo>
                  <a:cubicBezTo>
                    <a:pt x="3275" y="4680"/>
                    <a:pt x="4013" y="4311"/>
                    <a:pt x="4453" y="3632"/>
                  </a:cubicBezTo>
                  <a:cubicBezTo>
                    <a:pt x="4692" y="3275"/>
                    <a:pt x="4823" y="2858"/>
                    <a:pt x="4846" y="2441"/>
                  </a:cubicBezTo>
                  <a:cubicBezTo>
                    <a:pt x="4858" y="2370"/>
                    <a:pt x="4787" y="2287"/>
                    <a:pt x="4692" y="2287"/>
                  </a:cubicBezTo>
                  <a:cubicBezTo>
                    <a:pt x="4608" y="2287"/>
                    <a:pt x="4513" y="2358"/>
                    <a:pt x="4513" y="2441"/>
                  </a:cubicBezTo>
                  <a:cubicBezTo>
                    <a:pt x="4501" y="2799"/>
                    <a:pt x="4382" y="3156"/>
                    <a:pt x="4168" y="3453"/>
                  </a:cubicBezTo>
                  <a:cubicBezTo>
                    <a:pt x="3786" y="4030"/>
                    <a:pt x="3158" y="4352"/>
                    <a:pt x="2504" y="4352"/>
                  </a:cubicBezTo>
                  <a:cubicBezTo>
                    <a:pt x="2321" y="4352"/>
                    <a:pt x="2136" y="4327"/>
                    <a:pt x="1953" y="4275"/>
                  </a:cubicBezTo>
                  <a:cubicBezTo>
                    <a:pt x="1933" y="4270"/>
                    <a:pt x="1918" y="4267"/>
                    <a:pt x="1903" y="4267"/>
                  </a:cubicBezTo>
                  <a:cubicBezTo>
                    <a:pt x="1882" y="4267"/>
                    <a:pt x="1862" y="4273"/>
                    <a:pt x="1834" y="4287"/>
                  </a:cubicBezTo>
                  <a:lnTo>
                    <a:pt x="929" y="4727"/>
                  </a:lnTo>
                  <a:lnTo>
                    <a:pt x="977" y="3715"/>
                  </a:lnTo>
                  <a:cubicBezTo>
                    <a:pt x="977" y="3668"/>
                    <a:pt x="953" y="3632"/>
                    <a:pt x="941" y="3596"/>
                  </a:cubicBezTo>
                  <a:cubicBezTo>
                    <a:pt x="393" y="2906"/>
                    <a:pt x="358" y="1953"/>
                    <a:pt x="858" y="1227"/>
                  </a:cubicBezTo>
                  <a:cubicBezTo>
                    <a:pt x="1237" y="646"/>
                    <a:pt x="1868" y="336"/>
                    <a:pt x="2512" y="336"/>
                  </a:cubicBezTo>
                  <a:cubicBezTo>
                    <a:pt x="2898" y="336"/>
                    <a:pt x="3288" y="447"/>
                    <a:pt x="3632" y="679"/>
                  </a:cubicBezTo>
                  <a:cubicBezTo>
                    <a:pt x="4037" y="941"/>
                    <a:pt x="4334" y="1358"/>
                    <a:pt x="4453" y="1822"/>
                  </a:cubicBezTo>
                  <a:cubicBezTo>
                    <a:pt x="4484" y="1893"/>
                    <a:pt x="4548" y="1947"/>
                    <a:pt x="4618" y="1947"/>
                  </a:cubicBezTo>
                  <a:cubicBezTo>
                    <a:pt x="4631" y="1947"/>
                    <a:pt x="4643" y="1945"/>
                    <a:pt x="4656" y="1941"/>
                  </a:cubicBezTo>
                  <a:cubicBezTo>
                    <a:pt x="4751" y="1906"/>
                    <a:pt x="4811" y="1822"/>
                    <a:pt x="4787" y="1727"/>
                  </a:cubicBezTo>
                  <a:cubicBezTo>
                    <a:pt x="4632" y="1179"/>
                    <a:pt x="4287" y="703"/>
                    <a:pt x="3811" y="393"/>
                  </a:cubicBezTo>
                  <a:cubicBezTo>
                    <a:pt x="3412" y="128"/>
                    <a:pt x="2961" y="0"/>
                    <a:pt x="25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61"/>
            <p:cNvSpPr/>
            <p:nvPr/>
          </p:nvSpPr>
          <p:spPr>
            <a:xfrm>
              <a:off x="1574328" y="2021096"/>
              <a:ext cx="28702" cy="54363"/>
            </a:xfrm>
            <a:custGeom>
              <a:avLst/>
              <a:gdLst/>
              <a:ahLst/>
              <a:cxnLst/>
              <a:rect l="l" t="t" r="r" b="b"/>
              <a:pathLst>
                <a:path w="906" h="1716" extrusionOk="0">
                  <a:moveTo>
                    <a:pt x="179" y="1"/>
                  </a:moveTo>
                  <a:cubicBezTo>
                    <a:pt x="84" y="1"/>
                    <a:pt x="12" y="84"/>
                    <a:pt x="12" y="168"/>
                  </a:cubicBezTo>
                  <a:cubicBezTo>
                    <a:pt x="12" y="263"/>
                    <a:pt x="84" y="334"/>
                    <a:pt x="179" y="334"/>
                  </a:cubicBezTo>
                  <a:lnTo>
                    <a:pt x="262" y="334"/>
                  </a:lnTo>
                  <a:lnTo>
                    <a:pt x="262" y="1394"/>
                  </a:lnTo>
                  <a:lnTo>
                    <a:pt x="155" y="1394"/>
                  </a:lnTo>
                  <a:cubicBezTo>
                    <a:pt x="72" y="1394"/>
                    <a:pt x="0" y="1465"/>
                    <a:pt x="0" y="1549"/>
                  </a:cubicBezTo>
                  <a:cubicBezTo>
                    <a:pt x="0" y="1644"/>
                    <a:pt x="72" y="1715"/>
                    <a:pt x="155" y="1715"/>
                  </a:cubicBezTo>
                  <a:lnTo>
                    <a:pt x="727" y="1715"/>
                  </a:lnTo>
                  <a:cubicBezTo>
                    <a:pt x="822" y="1715"/>
                    <a:pt x="893" y="1644"/>
                    <a:pt x="893" y="1549"/>
                  </a:cubicBezTo>
                  <a:cubicBezTo>
                    <a:pt x="905" y="1465"/>
                    <a:pt x="834" y="1394"/>
                    <a:pt x="727" y="1394"/>
                  </a:cubicBezTo>
                  <a:lnTo>
                    <a:pt x="608" y="1394"/>
                  </a:lnTo>
                  <a:lnTo>
                    <a:pt x="608" y="168"/>
                  </a:lnTo>
                  <a:cubicBezTo>
                    <a:pt x="608" y="84"/>
                    <a:pt x="536" y="1"/>
                    <a:pt x="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9" name="Google Shape;11969;p61"/>
            <p:cNvSpPr/>
            <p:nvPr/>
          </p:nvSpPr>
          <p:spPr>
            <a:xfrm>
              <a:off x="1578098" y="2004147"/>
              <a:ext cx="15872" cy="16252"/>
            </a:xfrm>
            <a:custGeom>
              <a:avLst/>
              <a:gdLst/>
              <a:ahLst/>
              <a:cxnLst/>
              <a:rect l="l" t="t" r="r" b="b"/>
              <a:pathLst>
                <a:path w="501" h="513" extrusionOk="0">
                  <a:moveTo>
                    <a:pt x="250" y="0"/>
                  </a:moveTo>
                  <a:cubicBezTo>
                    <a:pt x="119" y="0"/>
                    <a:pt x="0" y="119"/>
                    <a:pt x="0" y="262"/>
                  </a:cubicBezTo>
                  <a:cubicBezTo>
                    <a:pt x="0" y="393"/>
                    <a:pt x="119" y="512"/>
                    <a:pt x="250" y="512"/>
                  </a:cubicBezTo>
                  <a:cubicBezTo>
                    <a:pt x="381" y="512"/>
                    <a:pt x="500" y="393"/>
                    <a:pt x="500" y="262"/>
                  </a:cubicBezTo>
                  <a:cubicBezTo>
                    <a:pt x="489" y="107"/>
                    <a:pt x="381"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61"/>
            <p:cNvSpPr/>
            <p:nvPr/>
          </p:nvSpPr>
          <p:spPr>
            <a:xfrm>
              <a:off x="1293706" y="1999997"/>
              <a:ext cx="274982" cy="316863"/>
            </a:xfrm>
            <a:custGeom>
              <a:avLst/>
              <a:gdLst/>
              <a:ahLst/>
              <a:cxnLst/>
              <a:rect l="l" t="t" r="r" b="b"/>
              <a:pathLst>
                <a:path w="8680" h="10002" extrusionOk="0">
                  <a:moveTo>
                    <a:pt x="2096" y="2655"/>
                  </a:moveTo>
                  <a:lnTo>
                    <a:pt x="2096" y="3727"/>
                  </a:lnTo>
                  <a:cubicBezTo>
                    <a:pt x="1905" y="3644"/>
                    <a:pt x="1762" y="3465"/>
                    <a:pt x="1762" y="3251"/>
                  </a:cubicBezTo>
                  <a:lnTo>
                    <a:pt x="1762" y="3132"/>
                  </a:lnTo>
                  <a:cubicBezTo>
                    <a:pt x="1762" y="2905"/>
                    <a:pt x="1893" y="2727"/>
                    <a:pt x="2096" y="2655"/>
                  </a:cubicBezTo>
                  <a:close/>
                  <a:moveTo>
                    <a:pt x="6620" y="2655"/>
                  </a:moveTo>
                  <a:cubicBezTo>
                    <a:pt x="6822" y="2727"/>
                    <a:pt x="6965" y="2905"/>
                    <a:pt x="6965" y="3132"/>
                  </a:cubicBezTo>
                  <a:lnTo>
                    <a:pt x="6965" y="3251"/>
                  </a:lnTo>
                  <a:cubicBezTo>
                    <a:pt x="6965" y="3465"/>
                    <a:pt x="6834" y="3644"/>
                    <a:pt x="6620" y="3727"/>
                  </a:cubicBezTo>
                  <a:lnTo>
                    <a:pt x="6620" y="2655"/>
                  </a:lnTo>
                  <a:close/>
                  <a:moveTo>
                    <a:pt x="6703" y="4060"/>
                  </a:moveTo>
                  <a:lnTo>
                    <a:pt x="6858" y="5394"/>
                  </a:lnTo>
                  <a:lnTo>
                    <a:pt x="6346" y="5394"/>
                  </a:lnTo>
                  <a:cubicBezTo>
                    <a:pt x="6525" y="5108"/>
                    <a:pt x="6620" y="4763"/>
                    <a:pt x="6620" y="4406"/>
                  </a:cubicBezTo>
                  <a:lnTo>
                    <a:pt x="6620" y="4084"/>
                  </a:lnTo>
                  <a:cubicBezTo>
                    <a:pt x="6656" y="4084"/>
                    <a:pt x="6668" y="4060"/>
                    <a:pt x="6703" y="4060"/>
                  </a:cubicBezTo>
                  <a:close/>
                  <a:moveTo>
                    <a:pt x="3739" y="1405"/>
                  </a:moveTo>
                  <a:cubicBezTo>
                    <a:pt x="3810" y="1643"/>
                    <a:pt x="3941" y="1953"/>
                    <a:pt x="4132" y="2251"/>
                  </a:cubicBezTo>
                  <a:cubicBezTo>
                    <a:pt x="4572" y="2870"/>
                    <a:pt x="5179" y="3227"/>
                    <a:pt x="5917" y="3274"/>
                  </a:cubicBezTo>
                  <a:lnTo>
                    <a:pt x="5917" y="3572"/>
                  </a:lnTo>
                  <a:cubicBezTo>
                    <a:pt x="5906" y="4215"/>
                    <a:pt x="5572" y="4822"/>
                    <a:pt x="5001" y="5168"/>
                  </a:cubicBezTo>
                  <a:lnTo>
                    <a:pt x="4751" y="5310"/>
                  </a:lnTo>
                  <a:cubicBezTo>
                    <a:pt x="4632" y="5382"/>
                    <a:pt x="4498" y="5418"/>
                    <a:pt x="4364" y="5418"/>
                  </a:cubicBezTo>
                  <a:cubicBezTo>
                    <a:pt x="4230" y="5418"/>
                    <a:pt x="4096" y="5382"/>
                    <a:pt x="3977" y="5310"/>
                  </a:cubicBezTo>
                  <a:lnTo>
                    <a:pt x="3727" y="5168"/>
                  </a:lnTo>
                  <a:cubicBezTo>
                    <a:pt x="3155" y="4834"/>
                    <a:pt x="2810" y="4227"/>
                    <a:pt x="2810" y="3572"/>
                  </a:cubicBezTo>
                  <a:lnTo>
                    <a:pt x="2810" y="2322"/>
                  </a:lnTo>
                  <a:cubicBezTo>
                    <a:pt x="3024" y="2239"/>
                    <a:pt x="3429" y="1977"/>
                    <a:pt x="3739" y="1405"/>
                  </a:cubicBezTo>
                  <a:close/>
                  <a:moveTo>
                    <a:pt x="5477" y="5715"/>
                  </a:moveTo>
                  <a:cubicBezTo>
                    <a:pt x="5429" y="5727"/>
                    <a:pt x="5394" y="5763"/>
                    <a:pt x="5346" y="5775"/>
                  </a:cubicBezTo>
                  <a:lnTo>
                    <a:pt x="5346" y="5715"/>
                  </a:lnTo>
                  <a:close/>
                  <a:moveTo>
                    <a:pt x="5001" y="5549"/>
                  </a:moveTo>
                  <a:lnTo>
                    <a:pt x="5001" y="5870"/>
                  </a:lnTo>
                  <a:cubicBezTo>
                    <a:pt x="4953" y="5882"/>
                    <a:pt x="4894" y="5882"/>
                    <a:pt x="4846" y="5882"/>
                  </a:cubicBezTo>
                  <a:cubicBezTo>
                    <a:pt x="4822" y="5810"/>
                    <a:pt x="4798" y="5751"/>
                    <a:pt x="4727" y="5691"/>
                  </a:cubicBezTo>
                  <a:cubicBezTo>
                    <a:pt x="4786" y="5656"/>
                    <a:pt x="4846" y="5644"/>
                    <a:pt x="4905" y="5596"/>
                  </a:cubicBezTo>
                  <a:lnTo>
                    <a:pt x="5001" y="5549"/>
                  </a:lnTo>
                  <a:close/>
                  <a:moveTo>
                    <a:pt x="4378" y="5881"/>
                  </a:moveTo>
                  <a:cubicBezTo>
                    <a:pt x="4474" y="5881"/>
                    <a:pt x="4536" y="5960"/>
                    <a:pt x="4536" y="6061"/>
                  </a:cubicBezTo>
                  <a:cubicBezTo>
                    <a:pt x="4536" y="6168"/>
                    <a:pt x="4465" y="6239"/>
                    <a:pt x="4358" y="6239"/>
                  </a:cubicBezTo>
                  <a:cubicBezTo>
                    <a:pt x="4263" y="6239"/>
                    <a:pt x="4179" y="6168"/>
                    <a:pt x="4179" y="6061"/>
                  </a:cubicBezTo>
                  <a:cubicBezTo>
                    <a:pt x="4179" y="5953"/>
                    <a:pt x="4263" y="5882"/>
                    <a:pt x="4358" y="5882"/>
                  </a:cubicBezTo>
                  <a:cubicBezTo>
                    <a:pt x="4365" y="5881"/>
                    <a:pt x="4371" y="5881"/>
                    <a:pt x="4378" y="5881"/>
                  </a:cubicBezTo>
                  <a:close/>
                  <a:moveTo>
                    <a:pt x="3703" y="5537"/>
                  </a:moveTo>
                  <a:lnTo>
                    <a:pt x="3798" y="5584"/>
                  </a:lnTo>
                  <a:lnTo>
                    <a:pt x="3977" y="5668"/>
                  </a:lnTo>
                  <a:cubicBezTo>
                    <a:pt x="3882" y="5763"/>
                    <a:pt x="3822" y="5894"/>
                    <a:pt x="3822" y="6025"/>
                  </a:cubicBezTo>
                  <a:cubicBezTo>
                    <a:pt x="3846" y="6144"/>
                    <a:pt x="3870" y="6251"/>
                    <a:pt x="3917" y="6322"/>
                  </a:cubicBezTo>
                  <a:lnTo>
                    <a:pt x="3703" y="6180"/>
                  </a:lnTo>
                  <a:lnTo>
                    <a:pt x="3703" y="5537"/>
                  </a:lnTo>
                  <a:close/>
                  <a:moveTo>
                    <a:pt x="4870" y="6203"/>
                  </a:moveTo>
                  <a:cubicBezTo>
                    <a:pt x="4882" y="6215"/>
                    <a:pt x="4897" y="6221"/>
                    <a:pt x="4914" y="6221"/>
                  </a:cubicBezTo>
                  <a:cubicBezTo>
                    <a:pt x="4932" y="6221"/>
                    <a:pt x="4953" y="6215"/>
                    <a:pt x="4977" y="6203"/>
                  </a:cubicBezTo>
                  <a:lnTo>
                    <a:pt x="4977" y="6203"/>
                  </a:lnTo>
                  <a:lnTo>
                    <a:pt x="4810" y="6322"/>
                  </a:lnTo>
                  <a:cubicBezTo>
                    <a:pt x="4834" y="6299"/>
                    <a:pt x="4846" y="6251"/>
                    <a:pt x="4870" y="6203"/>
                  </a:cubicBezTo>
                  <a:close/>
                  <a:moveTo>
                    <a:pt x="4465" y="6561"/>
                  </a:moveTo>
                  <a:lnTo>
                    <a:pt x="4358" y="6644"/>
                  </a:lnTo>
                  <a:lnTo>
                    <a:pt x="4239" y="6561"/>
                  </a:lnTo>
                  <a:lnTo>
                    <a:pt x="4239" y="6561"/>
                  </a:lnTo>
                  <a:cubicBezTo>
                    <a:pt x="4274" y="6584"/>
                    <a:pt x="4322" y="6584"/>
                    <a:pt x="4346" y="6584"/>
                  </a:cubicBezTo>
                  <a:cubicBezTo>
                    <a:pt x="4393" y="6584"/>
                    <a:pt x="4417" y="6584"/>
                    <a:pt x="4465" y="6561"/>
                  </a:cubicBezTo>
                  <a:close/>
                  <a:moveTo>
                    <a:pt x="5013" y="6596"/>
                  </a:moveTo>
                  <a:lnTo>
                    <a:pt x="5013" y="7334"/>
                  </a:lnTo>
                  <a:lnTo>
                    <a:pt x="4620" y="6882"/>
                  </a:lnTo>
                  <a:lnTo>
                    <a:pt x="5013" y="6596"/>
                  </a:lnTo>
                  <a:close/>
                  <a:moveTo>
                    <a:pt x="3727" y="6608"/>
                  </a:moveTo>
                  <a:lnTo>
                    <a:pt x="4120" y="6894"/>
                  </a:lnTo>
                  <a:lnTo>
                    <a:pt x="3727" y="7358"/>
                  </a:lnTo>
                  <a:lnTo>
                    <a:pt x="3727" y="6608"/>
                  </a:lnTo>
                  <a:close/>
                  <a:moveTo>
                    <a:pt x="4334" y="0"/>
                  </a:moveTo>
                  <a:cubicBezTo>
                    <a:pt x="3715" y="0"/>
                    <a:pt x="3143" y="226"/>
                    <a:pt x="2691" y="631"/>
                  </a:cubicBezTo>
                  <a:cubicBezTo>
                    <a:pt x="2250" y="1024"/>
                    <a:pt x="1953" y="1584"/>
                    <a:pt x="1869" y="2179"/>
                  </a:cubicBezTo>
                  <a:lnTo>
                    <a:pt x="1846" y="2370"/>
                  </a:lnTo>
                  <a:cubicBezTo>
                    <a:pt x="1560" y="2501"/>
                    <a:pt x="1369" y="2798"/>
                    <a:pt x="1369" y="3132"/>
                  </a:cubicBezTo>
                  <a:lnTo>
                    <a:pt x="1369" y="3251"/>
                  </a:lnTo>
                  <a:cubicBezTo>
                    <a:pt x="1369" y="3501"/>
                    <a:pt x="1488" y="3727"/>
                    <a:pt x="1655" y="3882"/>
                  </a:cubicBezTo>
                  <a:lnTo>
                    <a:pt x="1453" y="5537"/>
                  </a:lnTo>
                  <a:cubicBezTo>
                    <a:pt x="1453" y="5584"/>
                    <a:pt x="1476" y="5644"/>
                    <a:pt x="1500" y="5668"/>
                  </a:cubicBezTo>
                  <a:cubicBezTo>
                    <a:pt x="1536" y="5703"/>
                    <a:pt x="1572" y="5727"/>
                    <a:pt x="1631" y="5727"/>
                  </a:cubicBezTo>
                  <a:lnTo>
                    <a:pt x="3334" y="5727"/>
                  </a:lnTo>
                  <a:lnTo>
                    <a:pt x="3334" y="6168"/>
                  </a:lnTo>
                  <a:lnTo>
                    <a:pt x="1607" y="6715"/>
                  </a:lnTo>
                  <a:cubicBezTo>
                    <a:pt x="655" y="7025"/>
                    <a:pt x="0" y="7906"/>
                    <a:pt x="0" y="8918"/>
                  </a:cubicBezTo>
                  <a:lnTo>
                    <a:pt x="0" y="9835"/>
                  </a:lnTo>
                  <a:cubicBezTo>
                    <a:pt x="0" y="9930"/>
                    <a:pt x="72" y="10001"/>
                    <a:pt x="167" y="10001"/>
                  </a:cubicBezTo>
                  <a:lnTo>
                    <a:pt x="2262" y="10001"/>
                  </a:lnTo>
                  <a:cubicBezTo>
                    <a:pt x="2346" y="10001"/>
                    <a:pt x="2429" y="9930"/>
                    <a:pt x="2429" y="9835"/>
                  </a:cubicBezTo>
                  <a:cubicBezTo>
                    <a:pt x="2429" y="9751"/>
                    <a:pt x="2346" y="9680"/>
                    <a:pt x="2262" y="9680"/>
                  </a:cubicBezTo>
                  <a:lnTo>
                    <a:pt x="322" y="9680"/>
                  </a:lnTo>
                  <a:lnTo>
                    <a:pt x="322" y="8930"/>
                  </a:lnTo>
                  <a:cubicBezTo>
                    <a:pt x="322" y="8073"/>
                    <a:pt x="881" y="7323"/>
                    <a:pt x="1691" y="7061"/>
                  </a:cubicBezTo>
                  <a:lnTo>
                    <a:pt x="3322" y="6537"/>
                  </a:lnTo>
                  <a:lnTo>
                    <a:pt x="3322" y="7835"/>
                  </a:lnTo>
                  <a:cubicBezTo>
                    <a:pt x="3322" y="7906"/>
                    <a:pt x="3358" y="7966"/>
                    <a:pt x="3417" y="7989"/>
                  </a:cubicBezTo>
                  <a:cubicBezTo>
                    <a:pt x="3441" y="7989"/>
                    <a:pt x="3465" y="8013"/>
                    <a:pt x="3477" y="8013"/>
                  </a:cubicBezTo>
                  <a:cubicBezTo>
                    <a:pt x="3524" y="8013"/>
                    <a:pt x="3584" y="7989"/>
                    <a:pt x="3620" y="7954"/>
                  </a:cubicBezTo>
                  <a:lnTo>
                    <a:pt x="4298" y="7144"/>
                  </a:lnTo>
                  <a:lnTo>
                    <a:pt x="4989" y="7954"/>
                  </a:lnTo>
                  <a:cubicBezTo>
                    <a:pt x="5013" y="7989"/>
                    <a:pt x="5060" y="8013"/>
                    <a:pt x="5120" y="8013"/>
                  </a:cubicBezTo>
                  <a:cubicBezTo>
                    <a:pt x="5132" y="8013"/>
                    <a:pt x="5167" y="8013"/>
                    <a:pt x="5179" y="7989"/>
                  </a:cubicBezTo>
                  <a:cubicBezTo>
                    <a:pt x="5251" y="7966"/>
                    <a:pt x="5286" y="7906"/>
                    <a:pt x="5286" y="7835"/>
                  </a:cubicBezTo>
                  <a:lnTo>
                    <a:pt x="5286" y="6537"/>
                  </a:lnTo>
                  <a:lnTo>
                    <a:pt x="6906" y="7061"/>
                  </a:lnTo>
                  <a:cubicBezTo>
                    <a:pt x="7727" y="7323"/>
                    <a:pt x="8275" y="8073"/>
                    <a:pt x="8275" y="8930"/>
                  </a:cubicBezTo>
                  <a:lnTo>
                    <a:pt x="8275" y="9680"/>
                  </a:lnTo>
                  <a:lnTo>
                    <a:pt x="2917" y="9680"/>
                  </a:lnTo>
                  <a:cubicBezTo>
                    <a:pt x="2822" y="9680"/>
                    <a:pt x="2750" y="9751"/>
                    <a:pt x="2750" y="9835"/>
                  </a:cubicBezTo>
                  <a:cubicBezTo>
                    <a:pt x="2750" y="9930"/>
                    <a:pt x="2822" y="10001"/>
                    <a:pt x="2917" y="10001"/>
                  </a:cubicBezTo>
                  <a:lnTo>
                    <a:pt x="8513" y="10001"/>
                  </a:lnTo>
                  <a:cubicBezTo>
                    <a:pt x="8608" y="10001"/>
                    <a:pt x="8680" y="9930"/>
                    <a:pt x="8680" y="9835"/>
                  </a:cubicBezTo>
                  <a:lnTo>
                    <a:pt x="8680" y="8918"/>
                  </a:lnTo>
                  <a:cubicBezTo>
                    <a:pt x="8680" y="7906"/>
                    <a:pt x="8037" y="7013"/>
                    <a:pt x="7072" y="6715"/>
                  </a:cubicBezTo>
                  <a:lnTo>
                    <a:pt x="5346" y="6168"/>
                  </a:lnTo>
                  <a:lnTo>
                    <a:pt x="5346" y="6144"/>
                  </a:lnTo>
                  <a:cubicBezTo>
                    <a:pt x="5608" y="6061"/>
                    <a:pt x="5846" y="5930"/>
                    <a:pt x="6060" y="5727"/>
                  </a:cubicBezTo>
                  <a:lnTo>
                    <a:pt x="7037" y="5727"/>
                  </a:lnTo>
                  <a:cubicBezTo>
                    <a:pt x="7084" y="5727"/>
                    <a:pt x="7132" y="5715"/>
                    <a:pt x="7180" y="5668"/>
                  </a:cubicBezTo>
                  <a:cubicBezTo>
                    <a:pt x="7203" y="5644"/>
                    <a:pt x="7215" y="5584"/>
                    <a:pt x="7215" y="5537"/>
                  </a:cubicBezTo>
                  <a:lnTo>
                    <a:pt x="7025" y="3882"/>
                  </a:lnTo>
                  <a:cubicBezTo>
                    <a:pt x="7203" y="3739"/>
                    <a:pt x="7311" y="3501"/>
                    <a:pt x="7311" y="3251"/>
                  </a:cubicBezTo>
                  <a:lnTo>
                    <a:pt x="7311" y="3132"/>
                  </a:lnTo>
                  <a:cubicBezTo>
                    <a:pt x="7311" y="2798"/>
                    <a:pt x="7108" y="2501"/>
                    <a:pt x="6834" y="2370"/>
                  </a:cubicBezTo>
                  <a:lnTo>
                    <a:pt x="6799" y="2179"/>
                  </a:lnTo>
                  <a:cubicBezTo>
                    <a:pt x="6727" y="1548"/>
                    <a:pt x="6418" y="988"/>
                    <a:pt x="5941" y="584"/>
                  </a:cubicBezTo>
                  <a:cubicBezTo>
                    <a:pt x="5909" y="557"/>
                    <a:pt x="5870" y="545"/>
                    <a:pt x="5831" y="545"/>
                  </a:cubicBezTo>
                  <a:cubicBezTo>
                    <a:pt x="5783" y="545"/>
                    <a:pt x="5736" y="563"/>
                    <a:pt x="5703" y="596"/>
                  </a:cubicBezTo>
                  <a:cubicBezTo>
                    <a:pt x="5644" y="667"/>
                    <a:pt x="5656" y="774"/>
                    <a:pt x="5715" y="834"/>
                  </a:cubicBezTo>
                  <a:cubicBezTo>
                    <a:pt x="6132" y="1179"/>
                    <a:pt x="6382" y="1667"/>
                    <a:pt x="6465" y="2203"/>
                  </a:cubicBezTo>
                  <a:lnTo>
                    <a:pt x="6465" y="2262"/>
                  </a:lnTo>
                  <a:lnTo>
                    <a:pt x="6429" y="2262"/>
                  </a:lnTo>
                  <a:cubicBezTo>
                    <a:pt x="6334" y="2262"/>
                    <a:pt x="6263" y="2334"/>
                    <a:pt x="6263" y="2429"/>
                  </a:cubicBezTo>
                  <a:lnTo>
                    <a:pt x="6263" y="3905"/>
                  </a:lnTo>
                  <a:lnTo>
                    <a:pt x="6263" y="3917"/>
                  </a:lnTo>
                  <a:lnTo>
                    <a:pt x="6263" y="3929"/>
                  </a:lnTo>
                  <a:lnTo>
                    <a:pt x="6263" y="4382"/>
                  </a:lnTo>
                  <a:cubicBezTo>
                    <a:pt x="6263" y="4751"/>
                    <a:pt x="6132" y="5096"/>
                    <a:pt x="5894" y="5358"/>
                  </a:cubicBezTo>
                  <a:lnTo>
                    <a:pt x="5322" y="5358"/>
                  </a:lnTo>
                  <a:lnTo>
                    <a:pt x="5322" y="5310"/>
                  </a:lnTo>
                  <a:cubicBezTo>
                    <a:pt x="5894" y="4894"/>
                    <a:pt x="6239" y="4239"/>
                    <a:pt x="6239" y="3524"/>
                  </a:cubicBezTo>
                  <a:lnTo>
                    <a:pt x="6239" y="3072"/>
                  </a:lnTo>
                  <a:cubicBezTo>
                    <a:pt x="6239" y="2977"/>
                    <a:pt x="6168" y="2905"/>
                    <a:pt x="6072" y="2905"/>
                  </a:cubicBezTo>
                  <a:cubicBezTo>
                    <a:pt x="4596" y="2905"/>
                    <a:pt x="4096" y="1619"/>
                    <a:pt x="3929" y="869"/>
                  </a:cubicBezTo>
                  <a:cubicBezTo>
                    <a:pt x="3929" y="846"/>
                    <a:pt x="3917" y="834"/>
                    <a:pt x="3917" y="822"/>
                  </a:cubicBezTo>
                  <a:cubicBezTo>
                    <a:pt x="3889" y="720"/>
                    <a:pt x="3811" y="683"/>
                    <a:pt x="3755" y="683"/>
                  </a:cubicBezTo>
                  <a:cubicBezTo>
                    <a:pt x="3739" y="683"/>
                    <a:pt x="3725" y="686"/>
                    <a:pt x="3715" y="691"/>
                  </a:cubicBezTo>
                  <a:cubicBezTo>
                    <a:pt x="3655" y="703"/>
                    <a:pt x="3596" y="750"/>
                    <a:pt x="3584" y="810"/>
                  </a:cubicBezTo>
                  <a:cubicBezTo>
                    <a:pt x="3310" y="1679"/>
                    <a:pt x="2750" y="1953"/>
                    <a:pt x="2608" y="2012"/>
                  </a:cubicBezTo>
                  <a:cubicBezTo>
                    <a:pt x="2512" y="2012"/>
                    <a:pt x="2441" y="2084"/>
                    <a:pt x="2441" y="2179"/>
                  </a:cubicBezTo>
                  <a:lnTo>
                    <a:pt x="2441" y="3548"/>
                  </a:lnTo>
                  <a:cubicBezTo>
                    <a:pt x="2441" y="4239"/>
                    <a:pt x="2786" y="4918"/>
                    <a:pt x="3346" y="5334"/>
                  </a:cubicBezTo>
                  <a:lnTo>
                    <a:pt x="3346" y="5370"/>
                  </a:lnTo>
                  <a:lnTo>
                    <a:pt x="1846" y="5370"/>
                  </a:lnTo>
                  <a:lnTo>
                    <a:pt x="2012" y="4048"/>
                  </a:lnTo>
                  <a:cubicBezTo>
                    <a:pt x="2084" y="4060"/>
                    <a:pt x="2155" y="4084"/>
                    <a:pt x="2250" y="4084"/>
                  </a:cubicBezTo>
                  <a:cubicBezTo>
                    <a:pt x="2334" y="4084"/>
                    <a:pt x="2417" y="4001"/>
                    <a:pt x="2417" y="3917"/>
                  </a:cubicBezTo>
                  <a:lnTo>
                    <a:pt x="2417" y="2441"/>
                  </a:lnTo>
                  <a:cubicBezTo>
                    <a:pt x="2417" y="2358"/>
                    <a:pt x="2334" y="2274"/>
                    <a:pt x="2250" y="2274"/>
                  </a:cubicBezTo>
                  <a:lnTo>
                    <a:pt x="2215" y="2274"/>
                  </a:lnTo>
                  <a:lnTo>
                    <a:pt x="2215" y="2215"/>
                  </a:lnTo>
                  <a:cubicBezTo>
                    <a:pt x="2274" y="1703"/>
                    <a:pt x="2536" y="1227"/>
                    <a:pt x="2917" y="881"/>
                  </a:cubicBezTo>
                  <a:cubicBezTo>
                    <a:pt x="3310" y="536"/>
                    <a:pt x="3810" y="346"/>
                    <a:pt x="4334" y="346"/>
                  </a:cubicBezTo>
                  <a:cubicBezTo>
                    <a:pt x="4608" y="346"/>
                    <a:pt x="4894" y="405"/>
                    <a:pt x="5167" y="512"/>
                  </a:cubicBezTo>
                  <a:cubicBezTo>
                    <a:pt x="5187" y="518"/>
                    <a:pt x="5208" y="521"/>
                    <a:pt x="5229" y="521"/>
                  </a:cubicBezTo>
                  <a:cubicBezTo>
                    <a:pt x="5297" y="521"/>
                    <a:pt x="5366" y="490"/>
                    <a:pt x="5394" y="417"/>
                  </a:cubicBezTo>
                  <a:cubicBezTo>
                    <a:pt x="5417" y="334"/>
                    <a:pt x="5394" y="226"/>
                    <a:pt x="5298" y="191"/>
                  </a:cubicBezTo>
                  <a:cubicBezTo>
                    <a:pt x="4989" y="60"/>
                    <a:pt x="4679" y="0"/>
                    <a:pt x="4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1" name="Google Shape;11971;p61"/>
            <p:cNvSpPr/>
            <p:nvPr/>
          </p:nvSpPr>
          <p:spPr>
            <a:xfrm>
              <a:off x="1426826" y="2243648"/>
              <a:ext cx="10233" cy="11341"/>
            </a:xfrm>
            <a:custGeom>
              <a:avLst/>
              <a:gdLst/>
              <a:ahLst/>
              <a:cxnLst/>
              <a:rect l="l" t="t" r="r" b="b"/>
              <a:pathLst>
                <a:path w="323" h="358" extrusionOk="0">
                  <a:moveTo>
                    <a:pt x="156" y="1"/>
                  </a:moveTo>
                  <a:cubicBezTo>
                    <a:pt x="72" y="1"/>
                    <a:pt x="1" y="84"/>
                    <a:pt x="1" y="167"/>
                  </a:cubicBezTo>
                  <a:lnTo>
                    <a:pt x="1" y="203"/>
                  </a:lnTo>
                  <a:cubicBezTo>
                    <a:pt x="1" y="286"/>
                    <a:pt x="72" y="358"/>
                    <a:pt x="156" y="358"/>
                  </a:cubicBezTo>
                  <a:cubicBezTo>
                    <a:pt x="251" y="358"/>
                    <a:pt x="322" y="286"/>
                    <a:pt x="322" y="203"/>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61"/>
            <p:cNvSpPr/>
            <p:nvPr/>
          </p:nvSpPr>
          <p:spPr>
            <a:xfrm>
              <a:off x="1426826" y="2262149"/>
              <a:ext cx="10233" cy="11341"/>
            </a:xfrm>
            <a:custGeom>
              <a:avLst/>
              <a:gdLst/>
              <a:ahLst/>
              <a:cxnLst/>
              <a:rect l="l" t="t" r="r" b="b"/>
              <a:pathLst>
                <a:path w="323" h="358" extrusionOk="0">
                  <a:moveTo>
                    <a:pt x="156" y="0"/>
                  </a:moveTo>
                  <a:cubicBezTo>
                    <a:pt x="72" y="0"/>
                    <a:pt x="1" y="72"/>
                    <a:pt x="1" y="167"/>
                  </a:cubicBezTo>
                  <a:lnTo>
                    <a:pt x="1" y="191"/>
                  </a:lnTo>
                  <a:cubicBezTo>
                    <a:pt x="1" y="286"/>
                    <a:pt x="72" y="357"/>
                    <a:pt x="156" y="357"/>
                  </a:cubicBezTo>
                  <a:cubicBezTo>
                    <a:pt x="251" y="357"/>
                    <a:pt x="322" y="286"/>
                    <a:pt x="322" y="191"/>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3" name="Google Shape;11973;p61"/>
            <p:cNvSpPr/>
            <p:nvPr/>
          </p:nvSpPr>
          <p:spPr>
            <a:xfrm>
              <a:off x="1471336" y="2261389"/>
              <a:ext cx="63804" cy="30571"/>
            </a:xfrm>
            <a:custGeom>
              <a:avLst/>
              <a:gdLst/>
              <a:ahLst/>
              <a:cxnLst/>
              <a:rect l="l" t="t" r="r" b="b"/>
              <a:pathLst>
                <a:path w="2014" h="965" extrusionOk="0">
                  <a:moveTo>
                    <a:pt x="1596" y="322"/>
                  </a:moveTo>
                  <a:cubicBezTo>
                    <a:pt x="1644" y="322"/>
                    <a:pt x="1668" y="346"/>
                    <a:pt x="1668" y="393"/>
                  </a:cubicBezTo>
                  <a:lnTo>
                    <a:pt x="1668" y="560"/>
                  </a:lnTo>
                  <a:cubicBezTo>
                    <a:pt x="1668" y="607"/>
                    <a:pt x="1644" y="631"/>
                    <a:pt x="1596" y="631"/>
                  </a:cubicBezTo>
                  <a:lnTo>
                    <a:pt x="394" y="631"/>
                  </a:lnTo>
                  <a:cubicBezTo>
                    <a:pt x="346" y="631"/>
                    <a:pt x="310" y="607"/>
                    <a:pt x="310" y="560"/>
                  </a:cubicBezTo>
                  <a:lnTo>
                    <a:pt x="310" y="393"/>
                  </a:lnTo>
                  <a:cubicBezTo>
                    <a:pt x="310" y="346"/>
                    <a:pt x="346" y="322"/>
                    <a:pt x="394" y="322"/>
                  </a:cubicBezTo>
                  <a:close/>
                  <a:moveTo>
                    <a:pt x="406" y="0"/>
                  </a:moveTo>
                  <a:cubicBezTo>
                    <a:pt x="180" y="0"/>
                    <a:pt x="1" y="179"/>
                    <a:pt x="1" y="393"/>
                  </a:cubicBezTo>
                  <a:lnTo>
                    <a:pt x="1" y="560"/>
                  </a:lnTo>
                  <a:cubicBezTo>
                    <a:pt x="1" y="786"/>
                    <a:pt x="180" y="965"/>
                    <a:pt x="406" y="965"/>
                  </a:cubicBezTo>
                  <a:lnTo>
                    <a:pt x="1608" y="965"/>
                  </a:lnTo>
                  <a:cubicBezTo>
                    <a:pt x="1834" y="965"/>
                    <a:pt x="2013" y="786"/>
                    <a:pt x="2013" y="560"/>
                  </a:cubicBezTo>
                  <a:lnTo>
                    <a:pt x="2013" y="393"/>
                  </a:lnTo>
                  <a:cubicBezTo>
                    <a:pt x="2013" y="179"/>
                    <a:pt x="1834"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4" name="Google Shape;11974;p61"/>
            <p:cNvSpPr/>
            <p:nvPr/>
          </p:nvSpPr>
          <p:spPr>
            <a:xfrm>
              <a:off x="1420807" y="2092788"/>
              <a:ext cx="22271" cy="36971"/>
            </a:xfrm>
            <a:custGeom>
              <a:avLst/>
              <a:gdLst/>
              <a:ahLst/>
              <a:cxnLst/>
              <a:rect l="l" t="t" r="r" b="b"/>
              <a:pathLst>
                <a:path w="703" h="1167" extrusionOk="0">
                  <a:moveTo>
                    <a:pt x="167" y="0"/>
                  </a:moveTo>
                  <a:cubicBezTo>
                    <a:pt x="84" y="0"/>
                    <a:pt x="0" y="84"/>
                    <a:pt x="0" y="167"/>
                  </a:cubicBezTo>
                  <a:lnTo>
                    <a:pt x="0" y="1000"/>
                  </a:lnTo>
                  <a:cubicBezTo>
                    <a:pt x="0" y="1096"/>
                    <a:pt x="84" y="1167"/>
                    <a:pt x="167" y="1167"/>
                  </a:cubicBezTo>
                  <a:lnTo>
                    <a:pt x="536" y="1167"/>
                  </a:lnTo>
                  <a:cubicBezTo>
                    <a:pt x="632" y="1167"/>
                    <a:pt x="703" y="1096"/>
                    <a:pt x="703" y="1000"/>
                  </a:cubicBezTo>
                  <a:cubicBezTo>
                    <a:pt x="703" y="893"/>
                    <a:pt x="620" y="822"/>
                    <a:pt x="524" y="822"/>
                  </a:cubicBezTo>
                  <a:lnTo>
                    <a:pt x="334" y="822"/>
                  </a:lnTo>
                  <a:lnTo>
                    <a:pt x="334" y="167"/>
                  </a:lnTo>
                  <a:cubicBezTo>
                    <a:pt x="334" y="84"/>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5" name="Google Shape;11975;p61"/>
          <p:cNvGrpSpPr/>
          <p:nvPr/>
        </p:nvGrpSpPr>
        <p:grpSpPr>
          <a:xfrm>
            <a:off x="3967213" y="1975477"/>
            <a:ext cx="368185" cy="331816"/>
            <a:chOff x="3967213" y="1975477"/>
            <a:chExt cx="368185" cy="331816"/>
          </a:xfrm>
        </p:grpSpPr>
        <p:sp>
          <p:nvSpPr>
            <p:cNvPr id="11976" name="Google Shape;11976;p61"/>
            <p:cNvSpPr/>
            <p:nvPr/>
          </p:nvSpPr>
          <p:spPr>
            <a:xfrm>
              <a:off x="3967213" y="1975477"/>
              <a:ext cx="368185" cy="331816"/>
            </a:xfrm>
            <a:custGeom>
              <a:avLst/>
              <a:gdLst/>
              <a:ahLst/>
              <a:cxnLst/>
              <a:rect l="l" t="t" r="r" b="b"/>
              <a:pathLst>
                <a:path w="11622" h="10474" extrusionOk="0">
                  <a:moveTo>
                    <a:pt x="9026" y="0"/>
                  </a:moveTo>
                  <a:cubicBezTo>
                    <a:pt x="7585" y="0"/>
                    <a:pt x="6430" y="1179"/>
                    <a:pt x="6430" y="2608"/>
                  </a:cubicBezTo>
                  <a:cubicBezTo>
                    <a:pt x="6430" y="3072"/>
                    <a:pt x="6549" y="3513"/>
                    <a:pt x="6763" y="3882"/>
                  </a:cubicBezTo>
                  <a:lnTo>
                    <a:pt x="5680" y="3882"/>
                  </a:lnTo>
                  <a:cubicBezTo>
                    <a:pt x="5597" y="3882"/>
                    <a:pt x="5513" y="3965"/>
                    <a:pt x="5513" y="4048"/>
                  </a:cubicBezTo>
                  <a:cubicBezTo>
                    <a:pt x="5513" y="4144"/>
                    <a:pt x="5597" y="4215"/>
                    <a:pt x="5680" y="4215"/>
                  </a:cubicBezTo>
                  <a:lnTo>
                    <a:pt x="6978" y="4215"/>
                  </a:lnTo>
                  <a:cubicBezTo>
                    <a:pt x="7454" y="4810"/>
                    <a:pt x="8192" y="5191"/>
                    <a:pt x="9014" y="5191"/>
                  </a:cubicBezTo>
                  <a:cubicBezTo>
                    <a:pt x="9180" y="5191"/>
                    <a:pt x="9359" y="5180"/>
                    <a:pt x="9502" y="5156"/>
                  </a:cubicBezTo>
                  <a:lnTo>
                    <a:pt x="9502" y="5775"/>
                  </a:lnTo>
                  <a:lnTo>
                    <a:pt x="977" y="5775"/>
                  </a:lnTo>
                  <a:cubicBezTo>
                    <a:pt x="905" y="5775"/>
                    <a:pt x="834" y="5834"/>
                    <a:pt x="810" y="5906"/>
                  </a:cubicBezTo>
                  <a:lnTo>
                    <a:pt x="322" y="8466"/>
                  </a:lnTo>
                  <a:lnTo>
                    <a:pt x="322" y="2965"/>
                  </a:lnTo>
                  <a:lnTo>
                    <a:pt x="2691" y="2965"/>
                  </a:lnTo>
                  <a:lnTo>
                    <a:pt x="3882" y="4156"/>
                  </a:lnTo>
                  <a:cubicBezTo>
                    <a:pt x="3906" y="4179"/>
                    <a:pt x="3953" y="4203"/>
                    <a:pt x="4001" y="4203"/>
                  </a:cubicBezTo>
                  <a:lnTo>
                    <a:pt x="5001" y="4203"/>
                  </a:lnTo>
                  <a:cubicBezTo>
                    <a:pt x="5085" y="4203"/>
                    <a:pt x="5156" y="4120"/>
                    <a:pt x="5156" y="4037"/>
                  </a:cubicBezTo>
                  <a:cubicBezTo>
                    <a:pt x="5156" y="3941"/>
                    <a:pt x="5085" y="3870"/>
                    <a:pt x="5001" y="3870"/>
                  </a:cubicBezTo>
                  <a:lnTo>
                    <a:pt x="4073" y="3870"/>
                  </a:lnTo>
                  <a:lnTo>
                    <a:pt x="2882" y="2679"/>
                  </a:lnTo>
                  <a:cubicBezTo>
                    <a:pt x="2858" y="2655"/>
                    <a:pt x="2810" y="2632"/>
                    <a:pt x="2763" y="2632"/>
                  </a:cubicBezTo>
                  <a:lnTo>
                    <a:pt x="155" y="2632"/>
                  </a:lnTo>
                  <a:cubicBezTo>
                    <a:pt x="72" y="2632"/>
                    <a:pt x="1" y="2715"/>
                    <a:pt x="1" y="2798"/>
                  </a:cubicBezTo>
                  <a:lnTo>
                    <a:pt x="1" y="10299"/>
                  </a:lnTo>
                  <a:cubicBezTo>
                    <a:pt x="1" y="10457"/>
                    <a:pt x="121" y="10466"/>
                    <a:pt x="248" y="10466"/>
                  </a:cubicBezTo>
                  <a:cubicBezTo>
                    <a:pt x="264" y="10466"/>
                    <a:pt x="281" y="10466"/>
                    <a:pt x="298" y="10466"/>
                  </a:cubicBezTo>
                  <a:cubicBezTo>
                    <a:pt x="414" y="10466"/>
                    <a:pt x="3457" y="10474"/>
                    <a:pt x="6062" y="10474"/>
                  </a:cubicBezTo>
                  <a:cubicBezTo>
                    <a:pt x="8016" y="10474"/>
                    <a:pt x="9723" y="10469"/>
                    <a:pt x="9764" y="10454"/>
                  </a:cubicBezTo>
                  <a:cubicBezTo>
                    <a:pt x="9799" y="10418"/>
                    <a:pt x="9847" y="10371"/>
                    <a:pt x="9859" y="10335"/>
                  </a:cubicBezTo>
                  <a:lnTo>
                    <a:pt x="10192" y="8609"/>
                  </a:lnTo>
                  <a:cubicBezTo>
                    <a:pt x="10204" y="8513"/>
                    <a:pt x="10145" y="8430"/>
                    <a:pt x="10061" y="8406"/>
                  </a:cubicBezTo>
                  <a:cubicBezTo>
                    <a:pt x="10053" y="8405"/>
                    <a:pt x="10045" y="8405"/>
                    <a:pt x="10037" y="8405"/>
                  </a:cubicBezTo>
                  <a:cubicBezTo>
                    <a:pt x="9952" y="8405"/>
                    <a:pt x="9881" y="8461"/>
                    <a:pt x="9859" y="8537"/>
                  </a:cubicBezTo>
                  <a:lnTo>
                    <a:pt x="9561" y="10121"/>
                  </a:lnTo>
                  <a:lnTo>
                    <a:pt x="393" y="10121"/>
                  </a:lnTo>
                  <a:lnTo>
                    <a:pt x="1155" y="6132"/>
                  </a:lnTo>
                  <a:lnTo>
                    <a:pt x="10335" y="6132"/>
                  </a:lnTo>
                  <a:lnTo>
                    <a:pt x="10014" y="7870"/>
                  </a:lnTo>
                  <a:cubicBezTo>
                    <a:pt x="10002" y="7966"/>
                    <a:pt x="10061" y="8049"/>
                    <a:pt x="10145" y="8061"/>
                  </a:cubicBezTo>
                  <a:cubicBezTo>
                    <a:pt x="10159" y="8064"/>
                    <a:pt x="10173" y="8066"/>
                    <a:pt x="10186" y="8066"/>
                  </a:cubicBezTo>
                  <a:cubicBezTo>
                    <a:pt x="10263" y="8066"/>
                    <a:pt x="10325" y="8011"/>
                    <a:pt x="10335" y="7930"/>
                  </a:cubicBezTo>
                  <a:lnTo>
                    <a:pt x="10716" y="6001"/>
                  </a:lnTo>
                  <a:cubicBezTo>
                    <a:pt x="10728" y="5953"/>
                    <a:pt x="10716" y="5894"/>
                    <a:pt x="10680" y="5870"/>
                  </a:cubicBezTo>
                  <a:cubicBezTo>
                    <a:pt x="10657" y="5822"/>
                    <a:pt x="10609" y="5811"/>
                    <a:pt x="10550" y="5811"/>
                  </a:cubicBezTo>
                  <a:lnTo>
                    <a:pt x="9847" y="5811"/>
                  </a:lnTo>
                  <a:lnTo>
                    <a:pt x="9847" y="5096"/>
                  </a:lnTo>
                  <a:cubicBezTo>
                    <a:pt x="10776" y="4775"/>
                    <a:pt x="11466" y="3965"/>
                    <a:pt x="11585" y="2965"/>
                  </a:cubicBezTo>
                  <a:cubicBezTo>
                    <a:pt x="11609" y="2858"/>
                    <a:pt x="11550" y="2774"/>
                    <a:pt x="11454" y="2751"/>
                  </a:cubicBezTo>
                  <a:cubicBezTo>
                    <a:pt x="11448" y="2750"/>
                    <a:pt x="11442" y="2749"/>
                    <a:pt x="11436" y="2749"/>
                  </a:cubicBezTo>
                  <a:cubicBezTo>
                    <a:pt x="11358" y="2749"/>
                    <a:pt x="11275" y="2817"/>
                    <a:pt x="11264" y="2905"/>
                  </a:cubicBezTo>
                  <a:cubicBezTo>
                    <a:pt x="11109" y="4025"/>
                    <a:pt x="10145" y="4870"/>
                    <a:pt x="9014" y="4870"/>
                  </a:cubicBezTo>
                  <a:cubicBezTo>
                    <a:pt x="7763" y="4870"/>
                    <a:pt x="6751" y="3858"/>
                    <a:pt x="6751" y="2608"/>
                  </a:cubicBezTo>
                  <a:cubicBezTo>
                    <a:pt x="6751" y="1358"/>
                    <a:pt x="7763" y="346"/>
                    <a:pt x="9014" y="346"/>
                  </a:cubicBezTo>
                  <a:cubicBezTo>
                    <a:pt x="10133" y="346"/>
                    <a:pt x="11097" y="1179"/>
                    <a:pt x="11264" y="2274"/>
                  </a:cubicBezTo>
                  <a:cubicBezTo>
                    <a:pt x="11275" y="2363"/>
                    <a:pt x="11358" y="2431"/>
                    <a:pt x="11436" y="2431"/>
                  </a:cubicBezTo>
                  <a:cubicBezTo>
                    <a:pt x="11442" y="2431"/>
                    <a:pt x="11448" y="2430"/>
                    <a:pt x="11454" y="2429"/>
                  </a:cubicBezTo>
                  <a:cubicBezTo>
                    <a:pt x="11550" y="2417"/>
                    <a:pt x="11621" y="2322"/>
                    <a:pt x="11609" y="2239"/>
                  </a:cubicBezTo>
                  <a:cubicBezTo>
                    <a:pt x="11514" y="1620"/>
                    <a:pt x="11204" y="1060"/>
                    <a:pt x="10740" y="643"/>
                  </a:cubicBezTo>
                  <a:cubicBezTo>
                    <a:pt x="10264" y="227"/>
                    <a:pt x="9657" y="0"/>
                    <a:pt x="90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7" name="Google Shape;11977;p61"/>
            <p:cNvSpPr/>
            <p:nvPr/>
          </p:nvSpPr>
          <p:spPr>
            <a:xfrm>
              <a:off x="4237665" y="2034307"/>
              <a:ext cx="32092" cy="63772"/>
            </a:xfrm>
            <a:custGeom>
              <a:avLst/>
              <a:gdLst/>
              <a:ahLst/>
              <a:cxnLst/>
              <a:rect l="l" t="t" r="r" b="b"/>
              <a:pathLst>
                <a:path w="1013" h="2013" extrusionOk="0">
                  <a:moveTo>
                    <a:pt x="179" y="1"/>
                  </a:moveTo>
                  <a:cubicBezTo>
                    <a:pt x="84" y="1"/>
                    <a:pt x="12" y="72"/>
                    <a:pt x="12" y="167"/>
                  </a:cubicBezTo>
                  <a:cubicBezTo>
                    <a:pt x="12" y="263"/>
                    <a:pt x="84" y="334"/>
                    <a:pt x="179" y="334"/>
                  </a:cubicBezTo>
                  <a:lnTo>
                    <a:pt x="322" y="334"/>
                  </a:lnTo>
                  <a:lnTo>
                    <a:pt x="322" y="1691"/>
                  </a:lnTo>
                  <a:lnTo>
                    <a:pt x="167" y="1691"/>
                  </a:lnTo>
                  <a:cubicBezTo>
                    <a:pt x="72" y="1691"/>
                    <a:pt x="0" y="1763"/>
                    <a:pt x="0" y="1846"/>
                  </a:cubicBezTo>
                  <a:cubicBezTo>
                    <a:pt x="0" y="1941"/>
                    <a:pt x="72" y="2013"/>
                    <a:pt x="167" y="2013"/>
                  </a:cubicBezTo>
                  <a:lnTo>
                    <a:pt x="846" y="2013"/>
                  </a:lnTo>
                  <a:cubicBezTo>
                    <a:pt x="941" y="2013"/>
                    <a:pt x="1012" y="1941"/>
                    <a:pt x="1012" y="1846"/>
                  </a:cubicBezTo>
                  <a:cubicBezTo>
                    <a:pt x="1012" y="1775"/>
                    <a:pt x="941" y="1703"/>
                    <a:pt x="846" y="1703"/>
                  </a:cubicBezTo>
                  <a:lnTo>
                    <a:pt x="667" y="1703"/>
                  </a:lnTo>
                  <a:lnTo>
                    <a:pt x="667" y="167"/>
                  </a:ln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8" name="Google Shape;11978;p61"/>
            <p:cNvSpPr/>
            <p:nvPr/>
          </p:nvSpPr>
          <p:spPr>
            <a:xfrm>
              <a:off x="4241815" y="2014317"/>
              <a:ext cx="17012" cy="17012"/>
            </a:xfrm>
            <a:custGeom>
              <a:avLst/>
              <a:gdLst/>
              <a:ahLst/>
              <a:cxnLst/>
              <a:rect l="l" t="t" r="r" b="b"/>
              <a:pathLst>
                <a:path w="537" h="537" extrusionOk="0">
                  <a:moveTo>
                    <a:pt x="274" y="1"/>
                  </a:moveTo>
                  <a:cubicBezTo>
                    <a:pt x="119" y="1"/>
                    <a:pt x="0" y="120"/>
                    <a:pt x="0" y="263"/>
                  </a:cubicBezTo>
                  <a:cubicBezTo>
                    <a:pt x="0" y="417"/>
                    <a:pt x="119" y="536"/>
                    <a:pt x="274" y="536"/>
                  </a:cubicBezTo>
                  <a:cubicBezTo>
                    <a:pt x="417" y="536"/>
                    <a:pt x="536" y="417"/>
                    <a:pt x="536" y="263"/>
                  </a:cubicBezTo>
                  <a:cubicBezTo>
                    <a:pt x="536" y="120"/>
                    <a:pt x="417" y="1"/>
                    <a:pt x="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79" name="Google Shape;11979;p61"/>
          <p:cNvGrpSpPr/>
          <p:nvPr/>
        </p:nvGrpSpPr>
        <p:grpSpPr>
          <a:xfrm>
            <a:off x="8047661" y="1969046"/>
            <a:ext cx="279132" cy="356875"/>
            <a:chOff x="8047661" y="1969046"/>
            <a:chExt cx="279132" cy="356875"/>
          </a:xfrm>
        </p:grpSpPr>
        <p:sp>
          <p:nvSpPr>
            <p:cNvPr id="11980" name="Google Shape;11980;p61"/>
            <p:cNvSpPr/>
            <p:nvPr/>
          </p:nvSpPr>
          <p:spPr>
            <a:xfrm>
              <a:off x="8169502" y="2126115"/>
              <a:ext cx="33961" cy="15713"/>
            </a:xfrm>
            <a:custGeom>
              <a:avLst/>
              <a:gdLst/>
              <a:ahLst/>
              <a:cxnLst/>
              <a:rect l="l" t="t" r="r" b="b"/>
              <a:pathLst>
                <a:path w="1072" h="496" extrusionOk="0">
                  <a:moveTo>
                    <a:pt x="175" y="0"/>
                  </a:moveTo>
                  <a:cubicBezTo>
                    <a:pt x="145" y="0"/>
                    <a:pt x="113" y="7"/>
                    <a:pt x="83" y="20"/>
                  </a:cubicBezTo>
                  <a:cubicBezTo>
                    <a:pt x="12" y="67"/>
                    <a:pt x="0" y="175"/>
                    <a:pt x="48" y="246"/>
                  </a:cubicBezTo>
                  <a:cubicBezTo>
                    <a:pt x="143" y="413"/>
                    <a:pt x="322" y="496"/>
                    <a:pt x="536" y="496"/>
                  </a:cubicBezTo>
                  <a:cubicBezTo>
                    <a:pt x="738" y="496"/>
                    <a:pt x="917" y="413"/>
                    <a:pt x="1024" y="246"/>
                  </a:cubicBezTo>
                  <a:cubicBezTo>
                    <a:pt x="1072" y="175"/>
                    <a:pt x="1060" y="67"/>
                    <a:pt x="976" y="20"/>
                  </a:cubicBezTo>
                  <a:cubicBezTo>
                    <a:pt x="951" y="7"/>
                    <a:pt x="921" y="0"/>
                    <a:pt x="891" y="0"/>
                  </a:cubicBezTo>
                  <a:cubicBezTo>
                    <a:pt x="837" y="0"/>
                    <a:pt x="785" y="22"/>
                    <a:pt x="762" y="67"/>
                  </a:cubicBezTo>
                  <a:cubicBezTo>
                    <a:pt x="714" y="127"/>
                    <a:pt x="643" y="175"/>
                    <a:pt x="536" y="175"/>
                  </a:cubicBezTo>
                  <a:cubicBezTo>
                    <a:pt x="429" y="175"/>
                    <a:pt x="357" y="127"/>
                    <a:pt x="310" y="67"/>
                  </a:cubicBezTo>
                  <a:cubicBezTo>
                    <a:pt x="279" y="22"/>
                    <a:pt x="229"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1" name="Google Shape;11981;p61"/>
            <p:cNvSpPr/>
            <p:nvPr/>
          </p:nvSpPr>
          <p:spPr>
            <a:xfrm>
              <a:off x="8141592" y="2047517"/>
              <a:ext cx="27562" cy="10581"/>
            </a:xfrm>
            <a:custGeom>
              <a:avLst/>
              <a:gdLst/>
              <a:ahLst/>
              <a:cxnLst/>
              <a:rect l="l" t="t" r="r" b="b"/>
              <a:pathLst>
                <a:path w="870" h="334" extrusionOk="0">
                  <a:moveTo>
                    <a:pt x="167" y="0"/>
                  </a:moveTo>
                  <a:cubicBezTo>
                    <a:pt x="71" y="0"/>
                    <a:pt x="0" y="84"/>
                    <a:pt x="0" y="167"/>
                  </a:cubicBezTo>
                  <a:cubicBezTo>
                    <a:pt x="0" y="262"/>
                    <a:pt x="71" y="334"/>
                    <a:pt x="167" y="334"/>
                  </a:cubicBezTo>
                  <a:lnTo>
                    <a:pt x="703" y="334"/>
                  </a:lnTo>
                  <a:cubicBezTo>
                    <a:pt x="786" y="334"/>
                    <a:pt x="869" y="262"/>
                    <a:pt x="869" y="167"/>
                  </a:cubicBezTo>
                  <a:cubicBezTo>
                    <a:pt x="869"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2" name="Google Shape;11982;p61"/>
            <p:cNvSpPr/>
            <p:nvPr/>
          </p:nvSpPr>
          <p:spPr>
            <a:xfrm>
              <a:off x="8203431" y="2047517"/>
              <a:ext cx="27181" cy="10581"/>
            </a:xfrm>
            <a:custGeom>
              <a:avLst/>
              <a:gdLst/>
              <a:ahLst/>
              <a:cxnLst/>
              <a:rect l="l" t="t" r="r" b="b"/>
              <a:pathLst>
                <a:path w="858" h="334" extrusionOk="0">
                  <a:moveTo>
                    <a:pt x="167" y="0"/>
                  </a:moveTo>
                  <a:cubicBezTo>
                    <a:pt x="72" y="0"/>
                    <a:pt x="1" y="84"/>
                    <a:pt x="1" y="167"/>
                  </a:cubicBezTo>
                  <a:cubicBezTo>
                    <a:pt x="1" y="262"/>
                    <a:pt x="72" y="334"/>
                    <a:pt x="167" y="334"/>
                  </a:cubicBezTo>
                  <a:lnTo>
                    <a:pt x="703" y="334"/>
                  </a:lnTo>
                  <a:cubicBezTo>
                    <a:pt x="786" y="334"/>
                    <a:pt x="858" y="262"/>
                    <a:pt x="858" y="167"/>
                  </a:cubicBezTo>
                  <a:cubicBezTo>
                    <a:pt x="858" y="84"/>
                    <a:pt x="786" y="0"/>
                    <a:pt x="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3" name="Google Shape;11983;p61"/>
            <p:cNvSpPr/>
            <p:nvPr/>
          </p:nvSpPr>
          <p:spPr>
            <a:xfrm>
              <a:off x="8047661" y="1969046"/>
              <a:ext cx="279132" cy="356875"/>
            </a:xfrm>
            <a:custGeom>
              <a:avLst/>
              <a:gdLst/>
              <a:ahLst/>
              <a:cxnLst/>
              <a:rect l="l" t="t" r="r" b="b"/>
              <a:pathLst>
                <a:path w="8811" h="11265" extrusionOk="0">
                  <a:moveTo>
                    <a:pt x="4382" y="334"/>
                  </a:moveTo>
                  <a:cubicBezTo>
                    <a:pt x="5751" y="334"/>
                    <a:pt x="6870" y="1453"/>
                    <a:pt x="6870" y="2823"/>
                  </a:cubicBezTo>
                  <a:lnTo>
                    <a:pt x="6870" y="3192"/>
                  </a:lnTo>
                  <a:lnTo>
                    <a:pt x="6132" y="3192"/>
                  </a:lnTo>
                  <a:lnTo>
                    <a:pt x="6132" y="3180"/>
                  </a:lnTo>
                  <a:cubicBezTo>
                    <a:pt x="6132" y="3085"/>
                    <a:pt x="6061" y="3013"/>
                    <a:pt x="5977" y="3013"/>
                  </a:cubicBezTo>
                  <a:lnTo>
                    <a:pt x="4739" y="3013"/>
                  </a:lnTo>
                  <a:cubicBezTo>
                    <a:pt x="4644" y="3013"/>
                    <a:pt x="4572" y="3085"/>
                    <a:pt x="4572" y="3180"/>
                  </a:cubicBezTo>
                  <a:lnTo>
                    <a:pt x="4572" y="3228"/>
                  </a:lnTo>
                  <a:cubicBezTo>
                    <a:pt x="4513" y="3192"/>
                    <a:pt x="4453" y="3192"/>
                    <a:pt x="4382" y="3192"/>
                  </a:cubicBezTo>
                  <a:cubicBezTo>
                    <a:pt x="4310" y="3192"/>
                    <a:pt x="4251" y="3216"/>
                    <a:pt x="4191" y="3228"/>
                  </a:cubicBezTo>
                  <a:lnTo>
                    <a:pt x="4191" y="3180"/>
                  </a:lnTo>
                  <a:cubicBezTo>
                    <a:pt x="4191" y="3085"/>
                    <a:pt x="4108" y="3013"/>
                    <a:pt x="4025" y="3013"/>
                  </a:cubicBezTo>
                  <a:lnTo>
                    <a:pt x="2786" y="3013"/>
                  </a:lnTo>
                  <a:cubicBezTo>
                    <a:pt x="2703" y="3013"/>
                    <a:pt x="2620" y="3085"/>
                    <a:pt x="2620" y="3180"/>
                  </a:cubicBezTo>
                  <a:lnTo>
                    <a:pt x="2620" y="3192"/>
                  </a:lnTo>
                  <a:lnTo>
                    <a:pt x="1893" y="3192"/>
                  </a:lnTo>
                  <a:lnTo>
                    <a:pt x="1893" y="2823"/>
                  </a:lnTo>
                  <a:cubicBezTo>
                    <a:pt x="1893" y="1453"/>
                    <a:pt x="3013" y="334"/>
                    <a:pt x="4382" y="334"/>
                  </a:cubicBezTo>
                  <a:close/>
                  <a:moveTo>
                    <a:pt x="3846" y="3323"/>
                  </a:moveTo>
                  <a:lnTo>
                    <a:pt x="3846" y="3704"/>
                  </a:lnTo>
                  <a:cubicBezTo>
                    <a:pt x="3846" y="3799"/>
                    <a:pt x="3751" y="3894"/>
                    <a:pt x="3656" y="3894"/>
                  </a:cubicBezTo>
                  <a:lnTo>
                    <a:pt x="3120" y="3894"/>
                  </a:lnTo>
                  <a:cubicBezTo>
                    <a:pt x="3013" y="3894"/>
                    <a:pt x="2917" y="3799"/>
                    <a:pt x="2917" y="3704"/>
                  </a:cubicBezTo>
                  <a:lnTo>
                    <a:pt x="2917" y="3323"/>
                  </a:lnTo>
                  <a:lnTo>
                    <a:pt x="3203" y="3323"/>
                  </a:lnTo>
                  <a:lnTo>
                    <a:pt x="3203" y="3525"/>
                  </a:lnTo>
                  <a:cubicBezTo>
                    <a:pt x="3239" y="3609"/>
                    <a:pt x="3310" y="3692"/>
                    <a:pt x="3394" y="3692"/>
                  </a:cubicBezTo>
                  <a:cubicBezTo>
                    <a:pt x="3489" y="3692"/>
                    <a:pt x="3560" y="3609"/>
                    <a:pt x="3560" y="3525"/>
                  </a:cubicBezTo>
                  <a:lnTo>
                    <a:pt x="3560" y="3323"/>
                  </a:lnTo>
                  <a:close/>
                  <a:moveTo>
                    <a:pt x="5799" y="3323"/>
                  </a:moveTo>
                  <a:lnTo>
                    <a:pt x="5799" y="3704"/>
                  </a:lnTo>
                  <a:cubicBezTo>
                    <a:pt x="5799" y="3799"/>
                    <a:pt x="5703" y="3894"/>
                    <a:pt x="5596" y="3894"/>
                  </a:cubicBezTo>
                  <a:lnTo>
                    <a:pt x="5061" y="3894"/>
                  </a:lnTo>
                  <a:cubicBezTo>
                    <a:pt x="4965" y="3894"/>
                    <a:pt x="4870" y="3799"/>
                    <a:pt x="4870" y="3704"/>
                  </a:cubicBezTo>
                  <a:lnTo>
                    <a:pt x="4870" y="3323"/>
                  </a:lnTo>
                  <a:lnTo>
                    <a:pt x="5156" y="3323"/>
                  </a:lnTo>
                  <a:lnTo>
                    <a:pt x="5156" y="3525"/>
                  </a:lnTo>
                  <a:cubicBezTo>
                    <a:pt x="5180" y="3609"/>
                    <a:pt x="5263" y="3692"/>
                    <a:pt x="5346" y="3692"/>
                  </a:cubicBezTo>
                  <a:cubicBezTo>
                    <a:pt x="5442" y="3692"/>
                    <a:pt x="5513" y="3609"/>
                    <a:pt x="5513" y="3525"/>
                  </a:cubicBezTo>
                  <a:lnTo>
                    <a:pt x="5513" y="3323"/>
                  </a:lnTo>
                  <a:close/>
                  <a:moveTo>
                    <a:pt x="6954" y="3525"/>
                  </a:moveTo>
                  <a:cubicBezTo>
                    <a:pt x="7025" y="3525"/>
                    <a:pt x="7097" y="3549"/>
                    <a:pt x="7168" y="3609"/>
                  </a:cubicBezTo>
                  <a:cubicBezTo>
                    <a:pt x="7227" y="3668"/>
                    <a:pt x="7239" y="3751"/>
                    <a:pt x="7239" y="3823"/>
                  </a:cubicBezTo>
                  <a:cubicBezTo>
                    <a:pt x="7227" y="3954"/>
                    <a:pt x="7085" y="4073"/>
                    <a:pt x="6942" y="4073"/>
                  </a:cubicBezTo>
                  <a:lnTo>
                    <a:pt x="6870" y="4073"/>
                  </a:lnTo>
                  <a:lnTo>
                    <a:pt x="6870" y="4061"/>
                  </a:lnTo>
                  <a:cubicBezTo>
                    <a:pt x="6870" y="3966"/>
                    <a:pt x="6787" y="3894"/>
                    <a:pt x="6704" y="3894"/>
                  </a:cubicBezTo>
                  <a:cubicBezTo>
                    <a:pt x="6608" y="3894"/>
                    <a:pt x="6537" y="3966"/>
                    <a:pt x="6537" y="4061"/>
                  </a:cubicBezTo>
                  <a:cubicBezTo>
                    <a:pt x="6537" y="4775"/>
                    <a:pt x="6180" y="5442"/>
                    <a:pt x="5584" y="5835"/>
                  </a:cubicBezTo>
                  <a:lnTo>
                    <a:pt x="5584" y="5799"/>
                  </a:lnTo>
                  <a:lnTo>
                    <a:pt x="5501" y="5037"/>
                  </a:lnTo>
                  <a:cubicBezTo>
                    <a:pt x="5453" y="4680"/>
                    <a:pt x="5156" y="4418"/>
                    <a:pt x="4811" y="4418"/>
                  </a:cubicBezTo>
                  <a:lnTo>
                    <a:pt x="3989" y="4418"/>
                  </a:lnTo>
                  <a:cubicBezTo>
                    <a:pt x="3632" y="4418"/>
                    <a:pt x="3334" y="4680"/>
                    <a:pt x="3310" y="5037"/>
                  </a:cubicBezTo>
                  <a:lnTo>
                    <a:pt x="3215" y="5799"/>
                  </a:lnTo>
                  <a:lnTo>
                    <a:pt x="3215" y="5835"/>
                  </a:lnTo>
                  <a:cubicBezTo>
                    <a:pt x="2953" y="5668"/>
                    <a:pt x="2739" y="5454"/>
                    <a:pt x="2584" y="5204"/>
                  </a:cubicBezTo>
                  <a:cubicBezTo>
                    <a:pt x="2358" y="4859"/>
                    <a:pt x="2239" y="4466"/>
                    <a:pt x="2239" y="4061"/>
                  </a:cubicBezTo>
                  <a:cubicBezTo>
                    <a:pt x="2239" y="3966"/>
                    <a:pt x="2167" y="3894"/>
                    <a:pt x="2072" y="3894"/>
                  </a:cubicBezTo>
                  <a:cubicBezTo>
                    <a:pt x="1989" y="3894"/>
                    <a:pt x="1905" y="3966"/>
                    <a:pt x="1905" y="4061"/>
                  </a:cubicBezTo>
                  <a:lnTo>
                    <a:pt x="1905" y="4073"/>
                  </a:lnTo>
                  <a:lnTo>
                    <a:pt x="1810" y="4073"/>
                  </a:lnTo>
                  <a:cubicBezTo>
                    <a:pt x="1727" y="4073"/>
                    <a:pt x="1655" y="4049"/>
                    <a:pt x="1596" y="3990"/>
                  </a:cubicBezTo>
                  <a:cubicBezTo>
                    <a:pt x="1536" y="3930"/>
                    <a:pt x="1524" y="3847"/>
                    <a:pt x="1524" y="3775"/>
                  </a:cubicBezTo>
                  <a:cubicBezTo>
                    <a:pt x="1536" y="3644"/>
                    <a:pt x="1667" y="3525"/>
                    <a:pt x="1822" y="3525"/>
                  </a:cubicBezTo>
                  <a:lnTo>
                    <a:pt x="2608" y="3525"/>
                  </a:lnTo>
                  <a:lnTo>
                    <a:pt x="2608" y="3716"/>
                  </a:lnTo>
                  <a:cubicBezTo>
                    <a:pt x="2608" y="4001"/>
                    <a:pt x="2846" y="4240"/>
                    <a:pt x="3132" y="4240"/>
                  </a:cubicBezTo>
                  <a:lnTo>
                    <a:pt x="3668" y="4240"/>
                  </a:lnTo>
                  <a:cubicBezTo>
                    <a:pt x="3953" y="4240"/>
                    <a:pt x="4191" y="4001"/>
                    <a:pt x="4191" y="3716"/>
                  </a:cubicBezTo>
                  <a:cubicBezTo>
                    <a:pt x="4191" y="3609"/>
                    <a:pt x="4275" y="3525"/>
                    <a:pt x="4382" y="3525"/>
                  </a:cubicBezTo>
                  <a:cubicBezTo>
                    <a:pt x="4489" y="3525"/>
                    <a:pt x="4572" y="3609"/>
                    <a:pt x="4572" y="3716"/>
                  </a:cubicBezTo>
                  <a:cubicBezTo>
                    <a:pt x="4572" y="4001"/>
                    <a:pt x="4811" y="4240"/>
                    <a:pt x="5096" y="4240"/>
                  </a:cubicBezTo>
                  <a:lnTo>
                    <a:pt x="5632" y="4240"/>
                  </a:lnTo>
                  <a:cubicBezTo>
                    <a:pt x="5906" y="4240"/>
                    <a:pt x="6144" y="4001"/>
                    <a:pt x="6144" y="3716"/>
                  </a:cubicBezTo>
                  <a:lnTo>
                    <a:pt x="6144" y="3525"/>
                  </a:lnTo>
                  <a:close/>
                  <a:moveTo>
                    <a:pt x="4799" y="4740"/>
                  </a:moveTo>
                  <a:cubicBezTo>
                    <a:pt x="4989" y="4740"/>
                    <a:pt x="5144" y="4882"/>
                    <a:pt x="5156" y="5073"/>
                  </a:cubicBezTo>
                  <a:lnTo>
                    <a:pt x="5239" y="5835"/>
                  </a:lnTo>
                  <a:cubicBezTo>
                    <a:pt x="5239" y="5978"/>
                    <a:pt x="5168" y="6133"/>
                    <a:pt x="5037" y="6204"/>
                  </a:cubicBezTo>
                  <a:lnTo>
                    <a:pt x="4549" y="6454"/>
                  </a:lnTo>
                  <a:cubicBezTo>
                    <a:pt x="4495" y="6478"/>
                    <a:pt x="4438" y="6490"/>
                    <a:pt x="4382" y="6490"/>
                  </a:cubicBezTo>
                  <a:cubicBezTo>
                    <a:pt x="4325" y="6490"/>
                    <a:pt x="4269" y="6478"/>
                    <a:pt x="4215" y="6454"/>
                  </a:cubicBezTo>
                  <a:lnTo>
                    <a:pt x="3727" y="6204"/>
                  </a:lnTo>
                  <a:cubicBezTo>
                    <a:pt x="3596" y="6133"/>
                    <a:pt x="3501" y="5990"/>
                    <a:pt x="3537" y="5835"/>
                  </a:cubicBezTo>
                  <a:lnTo>
                    <a:pt x="3620" y="5073"/>
                  </a:lnTo>
                  <a:cubicBezTo>
                    <a:pt x="3632" y="4894"/>
                    <a:pt x="3798" y="4740"/>
                    <a:pt x="3977" y="4740"/>
                  </a:cubicBezTo>
                  <a:close/>
                  <a:moveTo>
                    <a:pt x="2965" y="6633"/>
                  </a:moveTo>
                  <a:lnTo>
                    <a:pt x="2965" y="6966"/>
                  </a:lnTo>
                  <a:cubicBezTo>
                    <a:pt x="2965" y="7109"/>
                    <a:pt x="2882" y="7240"/>
                    <a:pt x="2727" y="7299"/>
                  </a:cubicBezTo>
                  <a:lnTo>
                    <a:pt x="2346" y="7049"/>
                  </a:lnTo>
                  <a:cubicBezTo>
                    <a:pt x="2239" y="6978"/>
                    <a:pt x="2227" y="6871"/>
                    <a:pt x="2251" y="6799"/>
                  </a:cubicBezTo>
                  <a:cubicBezTo>
                    <a:pt x="2286" y="6728"/>
                    <a:pt x="2346" y="6633"/>
                    <a:pt x="2465" y="6633"/>
                  </a:cubicBezTo>
                  <a:close/>
                  <a:moveTo>
                    <a:pt x="6275" y="6633"/>
                  </a:moveTo>
                  <a:cubicBezTo>
                    <a:pt x="6382" y="6633"/>
                    <a:pt x="6465" y="6728"/>
                    <a:pt x="6477" y="6799"/>
                  </a:cubicBezTo>
                  <a:cubicBezTo>
                    <a:pt x="6513" y="6871"/>
                    <a:pt x="6489" y="6978"/>
                    <a:pt x="6394" y="7049"/>
                  </a:cubicBezTo>
                  <a:lnTo>
                    <a:pt x="6001" y="7299"/>
                  </a:lnTo>
                  <a:cubicBezTo>
                    <a:pt x="5870" y="7240"/>
                    <a:pt x="5763" y="7109"/>
                    <a:pt x="5763" y="6966"/>
                  </a:cubicBezTo>
                  <a:lnTo>
                    <a:pt x="5763" y="6633"/>
                  </a:lnTo>
                  <a:close/>
                  <a:moveTo>
                    <a:pt x="2953" y="6109"/>
                  </a:moveTo>
                  <a:lnTo>
                    <a:pt x="2953" y="6311"/>
                  </a:lnTo>
                  <a:lnTo>
                    <a:pt x="2465" y="6311"/>
                  </a:lnTo>
                  <a:cubicBezTo>
                    <a:pt x="2203" y="6311"/>
                    <a:pt x="2001" y="6454"/>
                    <a:pt x="1929" y="6692"/>
                  </a:cubicBezTo>
                  <a:cubicBezTo>
                    <a:pt x="1846" y="6930"/>
                    <a:pt x="1941" y="7168"/>
                    <a:pt x="2144" y="7323"/>
                  </a:cubicBezTo>
                  <a:lnTo>
                    <a:pt x="4191" y="8669"/>
                  </a:lnTo>
                  <a:lnTo>
                    <a:pt x="4191" y="8954"/>
                  </a:lnTo>
                  <a:lnTo>
                    <a:pt x="3489" y="8954"/>
                  </a:lnTo>
                  <a:cubicBezTo>
                    <a:pt x="3370" y="8954"/>
                    <a:pt x="3239" y="8943"/>
                    <a:pt x="3120" y="8931"/>
                  </a:cubicBezTo>
                  <a:lnTo>
                    <a:pt x="3120" y="8776"/>
                  </a:lnTo>
                  <a:cubicBezTo>
                    <a:pt x="3120" y="8692"/>
                    <a:pt x="3036" y="8609"/>
                    <a:pt x="2953" y="8609"/>
                  </a:cubicBezTo>
                  <a:cubicBezTo>
                    <a:pt x="2858" y="8609"/>
                    <a:pt x="2786" y="8692"/>
                    <a:pt x="2786" y="8776"/>
                  </a:cubicBezTo>
                  <a:lnTo>
                    <a:pt x="2786" y="8835"/>
                  </a:lnTo>
                  <a:cubicBezTo>
                    <a:pt x="2060" y="8550"/>
                    <a:pt x="1524" y="7835"/>
                    <a:pt x="1524" y="7002"/>
                  </a:cubicBezTo>
                  <a:cubicBezTo>
                    <a:pt x="1524" y="6514"/>
                    <a:pt x="1929" y="6109"/>
                    <a:pt x="2417" y="6109"/>
                  </a:cubicBezTo>
                  <a:close/>
                  <a:moveTo>
                    <a:pt x="6323" y="6133"/>
                  </a:moveTo>
                  <a:cubicBezTo>
                    <a:pt x="6823" y="6133"/>
                    <a:pt x="7216" y="6526"/>
                    <a:pt x="7216" y="7026"/>
                  </a:cubicBezTo>
                  <a:cubicBezTo>
                    <a:pt x="7227" y="7835"/>
                    <a:pt x="6692" y="8550"/>
                    <a:pt x="5954" y="8835"/>
                  </a:cubicBezTo>
                  <a:lnTo>
                    <a:pt x="5954" y="8776"/>
                  </a:lnTo>
                  <a:cubicBezTo>
                    <a:pt x="5954" y="8692"/>
                    <a:pt x="5882" y="8609"/>
                    <a:pt x="5799" y="8609"/>
                  </a:cubicBezTo>
                  <a:cubicBezTo>
                    <a:pt x="5703" y="8609"/>
                    <a:pt x="5632" y="8692"/>
                    <a:pt x="5632" y="8776"/>
                  </a:cubicBezTo>
                  <a:lnTo>
                    <a:pt x="5632" y="8931"/>
                  </a:lnTo>
                  <a:cubicBezTo>
                    <a:pt x="5513" y="8954"/>
                    <a:pt x="5394" y="8954"/>
                    <a:pt x="5263" y="8954"/>
                  </a:cubicBezTo>
                  <a:lnTo>
                    <a:pt x="4549" y="8954"/>
                  </a:lnTo>
                  <a:lnTo>
                    <a:pt x="4549" y="8669"/>
                  </a:lnTo>
                  <a:lnTo>
                    <a:pt x="5180" y="8252"/>
                  </a:lnTo>
                  <a:cubicBezTo>
                    <a:pt x="5263" y="8216"/>
                    <a:pt x="5275" y="8109"/>
                    <a:pt x="5227" y="8038"/>
                  </a:cubicBezTo>
                  <a:cubicBezTo>
                    <a:pt x="5198" y="7986"/>
                    <a:pt x="5151" y="7962"/>
                    <a:pt x="5099" y="7962"/>
                  </a:cubicBezTo>
                  <a:cubicBezTo>
                    <a:pt x="5067" y="7962"/>
                    <a:pt x="5033" y="7972"/>
                    <a:pt x="5001" y="7990"/>
                  </a:cubicBezTo>
                  <a:lnTo>
                    <a:pt x="4394" y="8407"/>
                  </a:lnTo>
                  <a:lnTo>
                    <a:pt x="3060" y="7514"/>
                  </a:lnTo>
                  <a:cubicBezTo>
                    <a:pt x="3215" y="7383"/>
                    <a:pt x="3322" y="7180"/>
                    <a:pt x="3322" y="6966"/>
                  </a:cubicBezTo>
                  <a:lnTo>
                    <a:pt x="3322" y="6276"/>
                  </a:lnTo>
                  <a:cubicBezTo>
                    <a:pt x="3322" y="6276"/>
                    <a:pt x="3334" y="6276"/>
                    <a:pt x="3358" y="6287"/>
                  </a:cubicBezTo>
                  <a:cubicBezTo>
                    <a:pt x="3417" y="6383"/>
                    <a:pt x="3501" y="6442"/>
                    <a:pt x="3596" y="6502"/>
                  </a:cubicBezTo>
                  <a:lnTo>
                    <a:pt x="4084" y="6752"/>
                  </a:lnTo>
                  <a:cubicBezTo>
                    <a:pt x="4191" y="6799"/>
                    <a:pt x="4287" y="6823"/>
                    <a:pt x="4394" y="6823"/>
                  </a:cubicBezTo>
                  <a:cubicBezTo>
                    <a:pt x="4501" y="6823"/>
                    <a:pt x="4608" y="6799"/>
                    <a:pt x="4703" y="6752"/>
                  </a:cubicBezTo>
                  <a:lnTo>
                    <a:pt x="5192" y="6502"/>
                  </a:lnTo>
                  <a:cubicBezTo>
                    <a:pt x="5299" y="6454"/>
                    <a:pt x="5382" y="6383"/>
                    <a:pt x="5430" y="6287"/>
                  </a:cubicBezTo>
                  <a:cubicBezTo>
                    <a:pt x="5453" y="6287"/>
                    <a:pt x="5453" y="6287"/>
                    <a:pt x="5465" y="6276"/>
                  </a:cubicBezTo>
                  <a:lnTo>
                    <a:pt x="5465" y="6966"/>
                  </a:lnTo>
                  <a:cubicBezTo>
                    <a:pt x="5465" y="7168"/>
                    <a:pt x="5573" y="7383"/>
                    <a:pt x="5727" y="7514"/>
                  </a:cubicBezTo>
                  <a:lnTo>
                    <a:pt x="5632" y="7585"/>
                  </a:lnTo>
                  <a:cubicBezTo>
                    <a:pt x="5549" y="7633"/>
                    <a:pt x="5537" y="7740"/>
                    <a:pt x="5584" y="7811"/>
                  </a:cubicBezTo>
                  <a:cubicBezTo>
                    <a:pt x="5608" y="7859"/>
                    <a:pt x="5668" y="7883"/>
                    <a:pt x="5715" y="7883"/>
                  </a:cubicBezTo>
                  <a:cubicBezTo>
                    <a:pt x="5751" y="7883"/>
                    <a:pt x="5775" y="7871"/>
                    <a:pt x="5811" y="7859"/>
                  </a:cubicBezTo>
                  <a:lnTo>
                    <a:pt x="6596" y="7335"/>
                  </a:lnTo>
                  <a:cubicBezTo>
                    <a:pt x="6799" y="7204"/>
                    <a:pt x="6894" y="6942"/>
                    <a:pt x="6823" y="6704"/>
                  </a:cubicBezTo>
                  <a:cubicBezTo>
                    <a:pt x="6739" y="6466"/>
                    <a:pt x="6537" y="6323"/>
                    <a:pt x="6287" y="6323"/>
                  </a:cubicBezTo>
                  <a:lnTo>
                    <a:pt x="5787" y="6323"/>
                  </a:lnTo>
                  <a:lnTo>
                    <a:pt x="5787" y="6133"/>
                  </a:lnTo>
                  <a:close/>
                  <a:moveTo>
                    <a:pt x="4406" y="1"/>
                  </a:moveTo>
                  <a:cubicBezTo>
                    <a:pt x="2858" y="1"/>
                    <a:pt x="1596" y="1263"/>
                    <a:pt x="1596" y="2811"/>
                  </a:cubicBezTo>
                  <a:lnTo>
                    <a:pt x="1596" y="3239"/>
                  </a:lnTo>
                  <a:cubicBezTo>
                    <a:pt x="1405" y="3335"/>
                    <a:pt x="1262" y="3513"/>
                    <a:pt x="1239" y="3716"/>
                  </a:cubicBezTo>
                  <a:cubicBezTo>
                    <a:pt x="1227" y="3894"/>
                    <a:pt x="1286" y="4061"/>
                    <a:pt x="1382" y="4192"/>
                  </a:cubicBezTo>
                  <a:cubicBezTo>
                    <a:pt x="1501" y="4323"/>
                    <a:pt x="1667" y="4382"/>
                    <a:pt x="1834" y="4382"/>
                  </a:cubicBezTo>
                  <a:lnTo>
                    <a:pt x="1953" y="4382"/>
                  </a:lnTo>
                  <a:cubicBezTo>
                    <a:pt x="2001" y="4740"/>
                    <a:pt x="2132" y="5073"/>
                    <a:pt x="2322" y="5371"/>
                  </a:cubicBezTo>
                  <a:cubicBezTo>
                    <a:pt x="2417" y="5502"/>
                    <a:pt x="2513" y="5633"/>
                    <a:pt x="2632" y="5752"/>
                  </a:cubicBezTo>
                  <a:lnTo>
                    <a:pt x="2453" y="5752"/>
                  </a:lnTo>
                  <a:cubicBezTo>
                    <a:pt x="1786" y="5752"/>
                    <a:pt x="1239" y="6311"/>
                    <a:pt x="1239" y="6978"/>
                  </a:cubicBezTo>
                  <a:cubicBezTo>
                    <a:pt x="1239" y="7228"/>
                    <a:pt x="1286" y="7466"/>
                    <a:pt x="1358" y="7692"/>
                  </a:cubicBezTo>
                  <a:lnTo>
                    <a:pt x="881" y="7823"/>
                  </a:lnTo>
                  <a:cubicBezTo>
                    <a:pt x="358" y="7978"/>
                    <a:pt x="0" y="8466"/>
                    <a:pt x="0" y="9002"/>
                  </a:cubicBezTo>
                  <a:lnTo>
                    <a:pt x="0" y="11098"/>
                  </a:lnTo>
                  <a:cubicBezTo>
                    <a:pt x="0" y="11193"/>
                    <a:pt x="72" y="11264"/>
                    <a:pt x="167" y="11264"/>
                  </a:cubicBezTo>
                  <a:cubicBezTo>
                    <a:pt x="250" y="11264"/>
                    <a:pt x="334" y="11193"/>
                    <a:pt x="334" y="11098"/>
                  </a:cubicBezTo>
                  <a:lnTo>
                    <a:pt x="334" y="9002"/>
                  </a:lnTo>
                  <a:cubicBezTo>
                    <a:pt x="334" y="8597"/>
                    <a:pt x="596" y="8252"/>
                    <a:pt x="965" y="8133"/>
                  </a:cubicBezTo>
                  <a:lnTo>
                    <a:pt x="1477" y="7990"/>
                  </a:lnTo>
                  <a:cubicBezTo>
                    <a:pt x="1739" y="8538"/>
                    <a:pt x="2239" y="8954"/>
                    <a:pt x="2834" y="9145"/>
                  </a:cubicBezTo>
                  <a:lnTo>
                    <a:pt x="2834" y="11098"/>
                  </a:lnTo>
                  <a:cubicBezTo>
                    <a:pt x="2834" y="11193"/>
                    <a:pt x="2906" y="11264"/>
                    <a:pt x="2989" y="11264"/>
                  </a:cubicBezTo>
                  <a:cubicBezTo>
                    <a:pt x="3084" y="11264"/>
                    <a:pt x="3156" y="11193"/>
                    <a:pt x="3156" y="11098"/>
                  </a:cubicBezTo>
                  <a:lnTo>
                    <a:pt x="3156" y="9228"/>
                  </a:lnTo>
                  <a:cubicBezTo>
                    <a:pt x="3275" y="9240"/>
                    <a:pt x="3394" y="9252"/>
                    <a:pt x="3525" y="9252"/>
                  </a:cubicBezTo>
                  <a:lnTo>
                    <a:pt x="4239" y="9252"/>
                  </a:lnTo>
                  <a:lnTo>
                    <a:pt x="4239" y="11098"/>
                  </a:lnTo>
                  <a:cubicBezTo>
                    <a:pt x="4239" y="11193"/>
                    <a:pt x="4322" y="11264"/>
                    <a:pt x="4406" y="11264"/>
                  </a:cubicBezTo>
                  <a:cubicBezTo>
                    <a:pt x="4501" y="11264"/>
                    <a:pt x="4572" y="11193"/>
                    <a:pt x="4572" y="11098"/>
                  </a:cubicBezTo>
                  <a:lnTo>
                    <a:pt x="4572" y="9252"/>
                  </a:lnTo>
                  <a:lnTo>
                    <a:pt x="5287" y="9252"/>
                  </a:lnTo>
                  <a:cubicBezTo>
                    <a:pt x="5406" y="9252"/>
                    <a:pt x="5537" y="9240"/>
                    <a:pt x="5656" y="9228"/>
                  </a:cubicBezTo>
                  <a:lnTo>
                    <a:pt x="5656" y="11098"/>
                  </a:lnTo>
                  <a:cubicBezTo>
                    <a:pt x="5656" y="11193"/>
                    <a:pt x="5727" y="11264"/>
                    <a:pt x="5823" y="11264"/>
                  </a:cubicBezTo>
                  <a:cubicBezTo>
                    <a:pt x="5906" y="11264"/>
                    <a:pt x="5989" y="11193"/>
                    <a:pt x="5989" y="11098"/>
                  </a:cubicBezTo>
                  <a:lnTo>
                    <a:pt x="5989" y="9145"/>
                  </a:lnTo>
                  <a:cubicBezTo>
                    <a:pt x="6585" y="8954"/>
                    <a:pt x="7061" y="8538"/>
                    <a:pt x="7335" y="7990"/>
                  </a:cubicBezTo>
                  <a:lnTo>
                    <a:pt x="7847" y="8133"/>
                  </a:lnTo>
                  <a:cubicBezTo>
                    <a:pt x="8216" y="8240"/>
                    <a:pt x="8490" y="8597"/>
                    <a:pt x="8490" y="9002"/>
                  </a:cubicBezTo>
                  <a:lnTo>
                    <a:pt x="8490" y="11098"/>
                  </a:lnTo>
                  <a:cubicBezTo>
                    <a:pt x="8490" y="11193"/>
                    <a:pt x="8561" y="11264"/>
                    <a:pt x="8644" y="11264"/>
                  </a:cubicBezTo>
                  <a:cubicBezTo>
                    <a:pt x="8740" y="11264"/>
                    <a:pt x="8811" y="11193"/>
                    <a:pt x="8811" y="11098"/>
                  </a:cubicBezTo>
                  <a:lnTo>
                    <a:pt x="8811" y="9002"/>
                  </a:lnTo>
                  <a:cubicBezTo>
                    <a:pt x="8787" y="8490"/>
                    <a:pt x="8430" y="8014"/>
                    <a:pt x="7906" y="7859"/>
                  </a:cubicBezTo>
                  <a:lnTo>
                    <a:pt x="7430" y="7716"/>
                  </a:lnTo>
                  <a:cubicBezTo>
                    <a:pt x="7501" y="7502"/>
                    <a:pt x="7549" y="7264"/>
                    <a:pt x="7549" y="7002"/>
                  </a:cubicBezTo>
                  <a:cubicBezTo>
                    <a:pt x="7549" y="6335"/>
                    <a:pt x="7001" y="5787"/>
                    <a:pt x="6335" y="5787"/>
                  </a:cubicBezTo>
                  <a:lnTo>
                    <a:pt x="6156" y="5787"/>
                  </a:lnTo>
                  <a:cubicBezTo>
                    <a:pt x="6513" y="5418"/>
                    <a:pt x="6763" y="4942"/>
                    <a:pt x="6835" y="4406"/>
                  </a:cubicBezTo>
                  <a:lnTo>
                    <a:pt x="6942" y="4406"/>
                  </a:lnTo>
                  <a:cubicBezTo>
                    <a:pt x="7263" y="4406"/>
                    <a:pt x="7537" y="4168"/>
                    <a:pt x="7561" y="3847"/>
                  </a:cubicBezTo>
                  <a:cubicBezTo>
                    <a:pt x="7573" y="3668"/>
                    <a:pt x="7525" y="3513"/>
                    <a:pt x="7418" y="3370"/>
                  </a:cubicBezTo>
                  <a:cubicBezTo>
                    <a:pt x="7358" y="3311"/>
                    <a:pt x="7299" y="3275"/>
                    <a:pt x="7227" y="3228"/>
                  </a:cubicBezTo>
                  <a:lnTo>
                    <a:pt x="7227" y="2811"/>
                  </a:lnTo>
                  <a:cubicBezTo>
                    <a:pt x="7227" y="1263"/>
                    <a:pt x="595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84" name="Google Shape;11984;p61"/>
          <p:cNvGrpSpPr/>
          <p:nvPr/>
        </p:nvGrpSpPr>
        <p:grpSpPr>
          <a:xfrm>
            <a:off x="7596157" y="1968159"/>
            <a:ext cx="279544" cy="358142"/>
            <a:chOff x="7596157" y="1968159"/>
            <a:chExt cx="279544" cy="358142"/>
          </a:xfrm>
        </p:grpSpPr>
        <p:sp>
          <p:nvSpPr>
            <p:cNvPr id="11985" name="Google Shape;11985;p61"/>
            <p:cNvSpPr/>
            <p:nvPr/>
          </p:nvSpPr>
          <p:spPr>
            <a:xfrm>
              <a:off x="7696868" y="2092408"/>
              <a:ext cx="10581" cy="16252"/>
            </a:xfrm>
            <a:custGeom>
              <a:avLst/>
              <a:gdLst/>
              <a:ahLst/>
              <a:cxnLst/>
              <a:rect l="l" t="t" r="r" b="b"/>
              <a:pathLst>
                <a:path w="334" h="513" extrusionOk="0">
                  <a:moveTo>
                    <a:pt x="167" y="0"/>
                  </a:moveTo>
                  <a:cubicBezTo>
                    <a:pt x="84" y="0"/>
                    <a:pt x="1" y="72"/>
                    <a:pt x="1" y="167"/>
                  </a:cubicBezTo>
                  <a:lnTo>
                    <a:pt x="1" y="346"/>
                  </a:lnTo>
                  <a:cubicBezTo>
                    <a:pt x="1" y="429"/>
                    <a:pt x="84" y="512"/>
                    <a:pt x="167" y="512"/>
                  </a:cubicBezTo>
                  <a:cubicBezTo>
                    <a:pt x="263"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6" name="Google Shape;11986;p61"/>
            <p:cNvSpPr/>
            <p:nvPr/>
          </p:nvSpPr>
          <p:spPr>
            <a:xfrm>
              <a:off x="7764378" y="2092408"/>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7" name="Google Shape;11987;p61"/>
            <p:cNvSpPr/>
            <p:nvPr/>
          </p:nvSpPr>
          <p:spPr>
            <a:xfrm>
              <a:off x="7713088" y="2143032"/>
              <a:ext cx="45302" cy="15777"/>
            </a:xfrm>
            <a:custGeom>
              <a:avLst/>
              <a:gdLst/>
              <a:ahLst/>
              <a:cxnLst/>
              <a:rect l="l" t="t" r="r" b="b"/>
              <a:pathLst>
                <a:path w="1430" h="498" extrusionOk="0">
                  <a:moveTo>
                    <a:pt x="184" y="1"/>
                  </a:moveTo>
                  <a:cubicBezTo>
                    <a:pt x="140" y="1"/>
                    <a:pt x="96" y="16"/>
                    <a:pt x="60" y="45"/>
                  </a:cubicBezTo>
                  <a:cubicBezTo>
                    <a:pt x="1" y="105"/>
                    <a:pt x="1" y="200"/>
                    <a:pt x="60" y="283"/>
                  </a:cubicBezTo>
                  <a:cubicBezTo>
                    <a:pt x="203" y="414"/>
                    <a:pt x="441" y="498"/>
                    <a:pt x="703" y="498"/>
                  </a:cubicBezTo>
                  <a:cubicBezTo>
                    <a:pt x="953"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8" name="Google Shape;11988;p61"/>
            <p:cNvSpPr/>
            <p:nvPr/>
          </p:nvSpPr>
          <p:spPr>
            <a:xfrm>
              <a:off x="7691197" y="2075427"/>
              <a:ext cx="21923" cy="10581"/>
            </a:xfrm>
            <a:custGeom>
              <a:avLst/>
              <a:gdLst/>
              <a:ahLst/>
              <a:cxnLst/>
              <a:rect l="l" t="t" r="r" b="b"/>
              <a:pathLst>
                <a:path w="692" h="334" extrusionOk="0">
                  <a:moveTo>
                    <a:pt x="168" y="0"/>
                  </a:moveTo>
                  <a:cubicBezTo>
                    <a:pt x="84" y="0"/>
                    <a:pt x="1" y="72"/>
                    <a:pt x="1" y="167"/>
                  </a:cubicBezTo>
                  <a:cubicBezTo>
                    <a:pt x="1" y="251"/>
                    <a:pt x="84" y="334"/>
                    <a:pt x="168" y="334"/>
                  </a:cubicBezTo>
                  <a:lnTo>
                    <a:pt x="525" y="334"/>
                  </a:lnTo>
                  <a:cubicBezTo>
                    <a:pt x="620" y="334"/>
                    <a:pt x="692" y="251"/>
                    <a:pt x="692" y="167"/>
                  </a:cubicBezTo>
                  <a:cubicBezTo>
                    <a:pt x="692" y="72"/>
                    <a:pt x="620"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9" name="Google Shape;11989;p61"/>
            <p:cNvSpPr/>
            <p:nvPr/>
          </p:nvSpPr>
          <p:spPr>
            <a:xfrm>
              <a:off x="7758739" y="2075427"/>
              <a:ext cx="21891" cy="10581"/>
            </a:xfrm>
            <a:custGeom>
              <a:avLst/>
              <a:gdLst/>
              <a:ahLst/>
              <a:cxnLst/>
              <a:rect l="l" t="t" r="r" b="b"/>
              <a:pathLst>
                <a:path w="691" h="334" extrusionOk="0">
                  <a:moveTo>
                    <a:pt x="167" y="0"/>
                  </a:moveTo>
                  <a:cubicBezTo>
                    <a:pt x="72" y="0"/>
                    <a:pt x="0" y="72"/>
                    <a:pt x="0" y="167"/>
                  </a:cubicBezTo>
                  <a:cubicBezTo>
                    <a:pt x="0" y="251"/>
                    <a:pt x="72" y="334"/>
                    <a:pt x="167" y="334"/>
                  </a:cubicBezTo>
                  <a:lnTo>
                    <a:pt x="524" y="334"/>
                  </a:lnTo>
                  <a:cubicBezTo>
                    <a:pt x="607" y="334"/>
                    <a:pt x="691" y="251"/>
                    <a:pt x="691" y="167"/>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0" name="Google Shape;11990;p61"/>
            <p:cNvSpPr/>
            <p:nvPr/>
          </p:nvSpPr>
          <p:spPr>
            <a:xfrm>
              <a:off x="7596157" y="1968159"/>
              <a:ext cx="279544" cy="358142"/>
            </a:xfrm>
            <a:custGeom>
              <a:avLst/>
              <a:gdLst/>
              <a:ahLst/>
              <a:cxnLst/>
              <a:rect l="l" t="t" r="r" b="b"/>
              <a:pathLst>
                <a:path w="8824" h="11305" extrusionOk="0">
                  <a:moveTo>
                    <a:pt x="2287" y="481"/>
                  </a:moveTo>
                  <a:cubicBezTo>
                    <a:pt x="2394" y="565"/>
                    <a:pt x="2525" y="600"/>
                    <a:pt x="2691" y="636"/>
                  </a:cubicBezTo>
                  <a:cubicBezTo>
                    <a:pt x="3001" y="708"/>
                    <a:pt x="3322" y="708"/>
                    <a:pt x="3537" y="708"/>
                  </a:cubicBezTo>
                  <a:lnTo>
                    <a:pt x="5299" y="708"/>
                  </a:lnTo>
                  <a:cubicBezTo>
                    <a:pt x="5739" y="708"/>
                    <a:pt x="6192" y="898"/>
                    <a:pt x="6490" y="1243"/>
                  </a:cubicBezTo>
                  <a:cubicBezTo>
                    <a:pt x="6787" y="1589"/>
                    <a:pt x="6930" y="2029"/>
                    <a:pt x="6894" y="2482"/>
                  </a:cubicBezTo>
                  <a:lnTo>
                    <a:pt x="6751" y="3744"/>
                  </a:lnTo>
                  <a:lnTo>
                    <a:pt x="6728" y="3744"/>
                  </a:lnTo>
                  <a:cubicBezTo>
                    <a:pt x="6620" y="3744"/>
                    <a:pt x="6537" y="3660"/>
                    <a:pt x="6537" y="3553"/>
                  </a:cubicBezTo>
                  <a:lnTo>
                    <a:pt x="6537" y="2839"/>
                  </a:lnTo>
                  <a:cubicBezTo>
                    <a:pt x="6537" y="2446"/>
                    <a:pt x="6216" y="2136"/>
                    <a:pt x="5835" y="2136"/>
                  </a:cubicBezTo>
                  <a:lnTo>
                    <a:pt x="4954" y="2136"/>
                  </a:lnTo>
                  <a:cubicBezTo>
                    <a:pt x="3846" y="2136"/>
                    <a:pt x="3072" y="1886"/>
                    <a:pt x="2644" y="1374"/>
                  </a:cubicBezTo>
                  <a:cubicBezTo>
                    <a:pt x="2382" y="1065"/>
                    <a:pt x="2299" y="719"/>
                    <a:pt x="2287" y="481"/>
                  </a:cubicBezTo>
                  <a:close/>
                  <a:moveTo>
                    <a:pt x="2215" y="1398"/>
                  </a:moveTo>
                  <a:cubicBezTo>
                    <a:pt x="2263" y="1458"/>
                    <a:pt x="2310" y="1529"/>
                    <a:pt x="2370" y="1589"/>
                  </a:cubicBezTo>
                  <a:cubicBezTo>
                    <a:pt x="2858" y="2172"/>
                    <a:pt x="3715" y="2470"/>
                    <a:pt x="4942" y="2470"/>
                  </a:cubicBezTo>
                  <a:lnTo>
                    <a:pt x="5823" y="2470"/>
                  </a:lnTo>
                  <a:cubicBezTo>
                    <a:pt x="6025" y="2470"/>
                    <a:pt x="6192" y="2624"/>
                    <a:pt x="6192" y="2839"/>
                  </a:cubicBezTo>
                  <a:lnTo>
                    <a:pt x="6192" y="3553"/>
                  </a:lnTo>
                  <a:cubicBezTo>
                    <a:pt x="6192" y="3839"/>
                    <a:pt x="6430" y="4077"/>
                    <a:pt x="6716" y="4077"/>
                  </a:cubicBezTo>
                  <a:lnTo>
                    <a:pt x="6978" y="4077"/>
                  </a:lnTo>
                  <a:cubicBezTo>
                    <a:pt x="7049" y="4077"/>
                    <a:pt x="7132" y="4101"/>
                    <a:pt x="7192" y="4160"/>
                  </a:cubicBezTo>
                  <a:cubicBezTo>
                    <a:pt x="7252" y="4220"/>
                    <a:pt x="7263" y="4291"/>
                    <a:pt x="7263" y="4375"/>
                  </a:cubicBezTo>
                  <a:cubicBezTo>
                    <a:pt x="7252" y="4506"/>
                    <a:pt x="7109" y="4625"/>
                    <a:pt x="6966" y="4625"/>
                  </a:cubicBezTo>
                  <a:lnTo>
                    <a:pt x="6894" y="4625"/>
                  </a:lnTo>
                  <a:lnTo>
                    <a:pt x="6894" y="4613"/>
                  </a:lnTo>
                  <a:cubicBezTo>
                    <a:pt x="6894" y="4518"/>
                    <a:pt x="6811" y="4446"/>
                    <a:pt x="6728" y="4446"/>
                  </a:cubicBezTo>
                  <a:cubicBezTo>
                    <a:pt x="6632" y="4446"/>
                    <a:pt x="6561" y="4518"/>
                    <a:pt x="6561" y="4613"/>
                  </a:cubicBezTo>
                  <a:cubicBezTo>
                    <a:pt x="6561" y="4815"/>
                    <a:pt x="6537" y="5006"/>
                    <a:pt x="6478" y="5208"/>
                  </a:cubicBezTo>
                  <a:cubicBezTo>
                    <a:pt x="6359" y="4982"/>
                    <a:pt x="6120" y="4803"/>
                    <a:pt x="5835" y="4803"/>
                  </a:cubicBezTo>
                  <a:lnTo>
                    <a:pt x="3001" y="4803"/>
                  </a:lnTo>
                  <a:cubicBezTo>
                    <a:pt x="2727" y="4803"/>
                    <a:pt x="2489" y="4970"/>
                    <a:pt x="2370" y="5208"/>
                  </a:cubicBezTo>
                  <a:cubicBezTo>
                    <a:pt x="2310" y="5006"/>
                    <a:pt x="2275" y="4815"/>
                    <a:pt x="2275" y="4613"/>
                  </a:cubicBezTo>
                  <a:cubicBezTo>
                    <a:pt x="2275" y="4518"/>
                    <a:pt x="2203" y="4446"/>
                    <a:pt x="2108" y="4446"/>
                  </a:cubicBezTo>
                  <a:cubicBezTo>
                    <a:pt x="2025" y="4446"/>
                    <a:pt x="1953" y="4518"/>
                    <a:pt x="1953" y="4613"/>
                  </a:cubicBezTo>
                  <a:lnTo>
                    <a:pt x="1953" y="4625"/>
                  </a:lnTo>
                  <a:lnTo>
                    <a:pt x="1846" y="4625"/>
                  </a:lnTo>
                  <a:cubicBezTo>
                    <a:pt x="1775" y="4625"/>
                    <a:pt x="1691" y="4589"/>
                    <a:pt x="1632" y="4529"/>
                  </a:cubicBezTo>
                  <a:cubicBezTo>
                    <a:pt x="1572" y="4470"/>
                    <a:pt x="1560" y="4399"/>
                    <a:pt x="1560" y="4327"/>
                  </a:cubicBezTo>
                  <a:cubicBezTo>
                    <a:pt x="1572" y="4196"/>
                    <a:pt x="1715" y="4077"/>
                    <a:pt x="1858" y="4077"/>
                  </a:cubicBezTo>
                  <a:lnTo>
                    <a:pt x="2096" y="4077"/>
                  </a:lnTo>
                  <a:cubicBezTo>
                    <a:pt x="2382" y="4077"/>
                    <a:pt x="2620" y="3839"/>
                    <a:pt x="2620" y="3553"/>
                  </a:cubicBezTo>
                  <a:lnTo>
                    <a:pt x="2620" y="2672"/>
                  </a:lnTo>
                  <a:cubicBezTo>
                    <a:pt x="2620" y="2601"/>
                    <a:pt x="2644" y="2541"/>
                    <a:pt x="2703" y="2505"/>
                  </a:cubicBezTo>
                  <a:cubicBezTo>
                    <a:pt x="2787" y="2470"/>
                    <a:pt x="2810" y="2363"/>
                    <a:pt x="2763" y="2291"/>
                  </a:cubicBezTo>
                  <a:cubicBezTo>
                    <a:pt x="2739" y="2236"/>
                    <a:pt x="2685" y="2207"/>
                    <a:pt x="2630" y="2207"/>
                  </a:cubicBezTo>
                  <a:cubicBezTo>
                    <a:pt x="2602" y="2207"/>
                    <a:pt x="2573" y="2215"/>
                    <a:pt x="2549" y="2232"/>
                  </a:cubicBezTo>
                  <a:cubicBezTo>
                    <a:pt x="2382" y="2315"/>
                    <a:pt x="2287" y="2494"/>
                    <a:pt x="2287" y="2672"/>
                  </a:cubicBezTo>
                  <a:lnTo>
                    <a:pt x="2287" y="3553"/>
                  </a:lnTo>
                  <a:cubicBezTo>
                    <a:pt x="2287" y="3660"/>
                    <a:pt x="2203" y="3744"/>
                    <a:pt x="2096" y="3744"/>
                  </a:cubicBezTo>
                  <a:lnTo>
                    <a:pt x="2072" y="3744"/>
                  </a:lnTo>
                  <a:lnTo>
                    <a:pt x="1929" y="2482"/>
                  </a:lnTo>
                  <a:cubicBezTo>
                    <a:pt x="1894" y="2089"/>
                    <a:pt x="1989" y="1708"/>
                    <a:pt x="2215" y="1398"/>
                  </a:cubicBezTo>
                  <a:close/>
                  <a:moveTo>
                    <a:pt x="5823" y="5125"/>
                  </a:moveTo>
                  <a:cubicBezTo>
                    <a:pt x="6025" y="5125"/>
                    <a:pt x="6192" y="5291"/>
                    <a:pt x="6192" y="5506"/>
                  </a:cubicBezTo>
                  <a:lnTo>
                    <a:pt x="6192" y="5684"/>
                  </a:lnTo>
                  <a:cubicBezTo>
                    <a:pt x="6192" y="6661"/>
                    <a:pt x="5382" y="7470"/>
                    <a:pt x="4406" y="7470"/>
                  </a:cubicBezTo>
                  <a:cubicBezTo>
                    <a:pt x="3418" y="7470"/>
                    <a:pt x="2620" y="6661"/>
                    <a:pt x="2620" y="5684"/>
                  </a:cubicBezTo>
                  <a:lnTo>
                    <a:pt x="2620" y="5506"/>
                  </a:lnTo>
                  <a:cubicBezTo>
                    <a:pt x="2620" y="5291"/>
                    <a:pt x="2775" y="5125"/>
                    <a:pt x="2989" y="5125"/>
                  </a:cubicBezTo>
                  <a:close/>
                  <a:moveTo>
                    <a:pt x="2114" y="1"/>
                  </a:moveTo>
                  <a:cubicBezTo>
                    <a:pt x="2100" y="1"/>
                    <a:pt x="2086" y="2"/>
                    <a:pt x="2072" y="5"/>
                  </a:cubicBezTo>
                  <a:cubicBezTo>
                    <a:pt x="2013" y="29"/>
                    <a:pt x="1965" y="77"/>
                    <a:pt x="1953" y="136"/>
                  </a:cubicBezTo>
                  <a:cubicBezTo>
                    <a:pt x="1953" y="172"/>
                    <a:pt x="1870" y="577"/>
                    <a:pt x="2072" y="1053"/>
                  </a:cubicBezTo>
                  <a:cubicBezTo>
                    <a:pt x="1727" y="1446"/>
                    <a:pt x="1572" y="1970"/>
                    <a:pt x="1620" y="2494"/>
                  </a:cubicBezTo>
                  <a:lnTo>
                    <a:pt x="1751" y="3732"/>
                  </a:lnTo>
                  <a:cubicBezTo>
                    <a:pt x="1489" y="3779"/>
                    <a:pt x="1275" y="3994"/>
                    <a:pt x="1251" y="4268"/>
                  </a:cubicBezTo>
                  <a:cubicBezTo>
                    <a:pt x="1239" y="4446"/>
                    <a:pt x="1298" y="4613"/>
                    <a:pt x="1394" y="4744"/>
                  </a:cubicBezTo>
                  <a:cubicBezTo>
                    <a:pt x="1513" y="4875"/>
                    <a:pt x="1679" y="4934"/>
                    <a:pt x="1846" y="4934"/>
                  </a:cubicBezTo>
                  <a:lnTo>
                    <a:pt x="1965" y="4934"/>
                  </a:lnTo>
                  <a:cubicBezTo>
                    <a:pt x="2013" y="5280"/>
                    <a:pt x="2132" y="5589"/>
                    <a:pt x="2310" y="5887"/>
                  </a:cubicBezTo>
                  <a:cubicBezTo>
                    <a:pt x="2334" y="6196"/>
                    <a:pt x="2441" y="6482"/>
                    <a:pt x="2584" y="6732"/>
                  </a:cubicBezTo>
                  <a:cubicBezTo>
                    <a:pt x="2429" y="6768"/>
                    <a:pt x="2287" y="6899"/>
                    <a:pt x="2287" y="7077"/>
                  </a:cubicBezTo>
                  <a:lnTo>
                    <a:pt x="2287" y="7923"/>
                  </a:lnTo>
                  <a:cubicBezTo>
                    <a:pt x="2287" y="8089"/>
                    <a:pt x="2191" y="8220"/>
                    <a:pt x="2037" y="8268"/>
                  </a:cubicBezTo>
                  <a:lnTo>
                    <a:pt x="858" y="8625"/>
                  </a:lnTo>
                  <a:cubicBezTo>
                    <a:pt x="346" y="8792"/>
                    <a:pt x="1" y="9244"/>
                    <a:pt x="1" y="9804"/>
                  </a:cubicBezTo>
                  <a:lnTo>
                    <a:pt x="1" y="11137"/>
                  </a:lnTo>
                  <a:cubicBezTo>
                    <a:pt x="1" y="11233"/>
                    <a:pt x="72" y="11304"/>
                    <a:pt x="167" y="11304"/>
                  </a:cubicBezTo>
                  <a:cubicBezTo>
                    <a:pt x="251" y="11304"/>
                    <a:pt x="322" y="11233"/>
                    <a:pt x="322" y="11137"/>
                  </a:cubicBezTo>
                  <a:lnTo>
                    <a:pt x="322" y="9804"/>
                  </a:lnTo>
                  <a:cubicBezTo>
                    <a:pt x="322" y="9399"/>
                    <a:pt x="584" y="9054"/>
                    <a:pt x="953" y="8935"/>
                  </a:cubicBezTo>
                  <a:lnTo>
                    <a:pt x="2025" y="8613"/>
                  </a:lnTo>
                  <a:cubicBezTo>
                    <a:pt x="2322" y="9352"/>
                    <a:pt x="3287" y="9887"/>
                    <a:pt x="4394" y="9887"/>
                  </a:cubicBezTo>
                  <a:cubicBezTo>
                    <a:pt x="4775" y="9887"/>
                    <a:pt x="5168" y="9828"/>
                    <a:pt x="5501" y="9697"/>
                  </a:cubicBezTo>
                  <a:cubicBezTo>
                    <a:pt x="5597" y="9661"/>
                    <a:pt x="5644" y="9578"/>
                    <a:pt x="5608" y="9482"/>
                  </a:cubicBezTo>
                  <a:cubicBezTo>
                    <a:pt x="5590" y="9418"/>
                    <a:pt x="5529" y="9375"/>
                    <a:pt x="5464" y="9375"/>
                  </a:cubicBezTo>
                  <a:cubicBezTo>
                    <a:pt x="5445" y="9375"/>
                    <a:pt x="5425" y="9379"/>
                    <a:pt x="5406" y="9387"/>
                  </a:cubicBezTo>
                  <a:cubicBezTo>
                    <a:pt x="5085" y="9482"/>
                    <a:pt x="4751" y="9554"/>
                    <a:pt x="4394" y="9554"/>
                  </a:cubicBezTo>
                  <a:cubicBezTo>
                    <a:pt x="3870" y="9554"/>
                    <a:pt x="3382" y="9435"/>
                    <a:pt x="2989" y="9197"/>
                  </a:cubicBezTo>
                  <a:cubicBezTo>
                    <a:pt x="2668" y="8994"/>
                    <a:pt x="2429" y="8744"/>
                    <a:pt x="2322" y="8459"/>
                  </a:cubicBezTo>
                  <a:cubicBezTo>
                    <a:pt x="2501" y="8328"/>
                    <a:pt x="2608" y="8125"/>
                    <a:pt x="2608" y="7899"/>
                  </a:cubicBezTo>
                  <a:lnTo>
                    <a:pt x="2608" y="7054"/>
                  </a:lnTo>
                  <a:cubicBezTo>
                    <a:pt x="2608" y="7054"/>
                    <a:pt x="2608" y="7030"/>
                    <a:pt x="2620" y="7030"/>
                  </a:cubicBezTo>
                  <a:lnTo>
                    <a:pt x="2810" y="7030"/>
                  </a:lnTo>
                  <a:cubicBezTo>
                    <a:pt x="3191" y="7470"/>
                    <a:pt x="3763" y="7744"/>
                    <a:pt x="4382" y="7744"/>
                  </a:cubicBezTo>
                  <a:cubicBezTo>
                    <a:pt x="5013" y="7744"/>
                    <a:pt x="5573" y="7482"/>
                    <a:pt x="5966" y="7030"/>
                  </a:cubicBezTo>
                  <a:lnTo>
                    <a:pt x="6156" y="7030"/>
                  </a:lnTo>
                  <a:cubicBezTo>
                    <a:pt x="6156" y="7030"/>
                    <a:pt x="6168" y="7030"/>
                    <a:pt x="6168" y="7054"/>
                  </a:cubicBezTo>
                  <a:lnTo>
                    <a:pt x="6168" y="7899"/>
                  </a:lnTo>
                  <a:cubicBezTo>
                    <a:pt x="6168" y="8125"/>
                    <a:pt x="6275" y="8328"/>
                    <a:pt x="6454" y="8459"/>
                  </a:cubicBezTo>
                  <a:cubicBezTo>
                    <a:pt x="6382" y="8673"/>
                    <a:pt x="6216" y="8875"/>
                    <a:pt x="5989" y="9042"/>
                  </a:cubicBezTo>
                  <a:cubicBezTo>
                    <a:pt x="5918" y="9101"/>
                    <a:pt x="5906" y="9209"/>
                    <a:pt x="5966" y="9280"/>
                  </a:cubicBezTo>
                  <a:cubicBezTo>
                    <a:pt x="5989" y="9328"/>
                    <a:pt x="6037" y="9340"/>
                    <a:pt x="6097" y="9340"/>
                  </a:cubicBezTo>
                  <a:cubicBezTo>
                    <a:pt x="6132" y="9340"/>
                    <a:pt x="6168" y="9328"/>
                    <a:pt x="6204" y="9316"/>
                  </a:cubicBezTo>
                  <a:cubicBezTo>
                    <a:pt x="6466" y="9101"/>
                    <a:pt x="6644" y="8863"/>
                    <a:pt x="6751" y="8601"/>
                  </a:cubicBezTo>
                  <a:lnTo>
                    <a:pt x="7823" y="8923"/>
                  </a:lnTo>
                  <a:cubicBezTo>
                    <a:pt x="8204" y="9042"/>
                    <a:pt x="8454" y="9387"/>
                    <a:pt x="8454" y="9792"/>
                  </a:cubicBezTo>
                  <a:lnTo>
                    <a:pt x="8454" y="11126"/>
                  </a:lnTo>
                  <a:cubicBezTo>
                    <a:pt x="8454" y="11221"/>
                    <a:pt x="8525" y="11292"/>
                    <a:pt x="8621" y="11292"/>
                  </a:cubicBezTo>
                  <a:cubicBezTo>
                    <a:pt x="8704" y="11292"/>
                    <a:pt x="8776" y="11221"/>
                    <a:pt x="8776" y="11126"/>
                  </a:cubicBezTo>
                  <a:lnTo>
                    <a:pt x="8776" y="9792"/>
                  </a:lnTo>
                  <a:cubicBezTo>
                    <a:pt x="8823" y="9280"/>
                    <a:pt x="8478" y="8804"/>
                    <a:pt x="7966" y="8661"/>
                  </a:cubicBezTo>
                  <a:lnTo>
                    <a:pt x="6787" y="8304"/>
                  </a:lnTo>
                  <a:cubicBezTo>
                    <a:pt x="6632" y="8256"/>
                    <a:pt x="6537" y="8101"/>
                    <a:pt x="6537" y="7958"/>
                  </a:cubicBezTo>
                  <a:lnTo>
                    <a:pt x="6537" y="7113"/>
                  </a:lnTo>
                  <a:cubicBezTo>
                    <a:pt x="6537" y="6935"/>
                    <a:pt x="6394" y="6792"/>
                    <a:pt x="6239" y="6768"/>
                  </a:cubicBezTo>
                  <a:cubicBezTo>
                    <a:pt x="6382" y="6518"/>
                    <a:pt x="6490" y="6232"/>
                    <a:pt x="6513" y="5923"/>
                  </a:cubicBezTo>
                  <a:cubicBezTo>
                    <a:pt x="6692" y="5625"/>
                    <a:pt x="6811" y="5303"/>
                    <a:pt x="6859" y="4970"/>
                  </a:cubicBezTo>
                  <a:lnTo>
                    <a:pt x="6966" y="4970"/>
                  </a:lnTo>
                  <a:cubicBezTo>
                    <a:pt x="7287" y="4970"/>
                    <a:pt x="7561" y="4732"/>
                    <a:pt x="7585" y="4410"/>
                  </a:cubicBezTo>
                  <a:cubicBezTo>
                    <a:pt x="7609" y="4232"/>
                    <a:pt x="7549" y="4077"/>
                    <a:pt x="7442" y="3934"/>
                  </a:cubicBezTo>
                  <a:cubicBezTo>
                    <a:pt x="7347" y="3839"/>
                    <a:pt x="7216" y="3779"/>
                    <a:pt x="7085" y="3744"/>
                  </a:cubicBezTo>
                  <a:lnTo>
                    <a:pt x="7216" y="2505"/>
                  </a:lnTo>
                  <a:cubicBezTo>
                    <a:pt x="7275" y="1958"/>
                    <a:pt x="7097" y="1422"/>
                    <a:pt x="6728" y="1005"/>
                  </a:cubicBezTo>
                  <a:cubicBezTo>
                    <a:pt x="6359" y="600"/>
                    <a:pt x="5835" y="362"/>
                    <a:pt x="5287" y="362"/>
                  </a:cubicBezTo>
                  <a:lnTo>
                    <a:pt x="3525" y="362"/>
                  </a:lnTo>
                  <a:cubicBezTo>
                    <a:pt x="2918" y="362"/>
                    <a:pt x="2406" y="243"/>
                    <a:pt x="2227" y="53"/>
                  </a:cubicBezTo>
                  <a:cubicBezTo>
                    <a:pt x="2200" y="16"/>
                    <a:pt x="2159" y="1"/>
                    <a:pt x="21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1" name="Google Shape;11991;p61"/>
          <p:cNvGrpSpPr/>
          <p:nvPr/>
        </p:nvGrpSpPr>
        <p:grpSpPr>
          <a:xfrm>
            <a:off x="7147315" y="1969046"/>
            <a:ext cx="279513" cy="357636"/>
            <a:chOff x="7147315" y="1969046"/>
            <a:chExt cx="279513" cy="357636"/>
          </a:xfrm>
        </p:grpSpPr>
        <p:sp>
          <p:nvSpPr>
            <p:cNvPr id="11992" name="Google Shape;11992;p61"/>
            <p:cNvSpPr/>
            <p:nvPr/>
          </p:nvSpPr>
          <p:spPr>
            <a:xfrm>
              <a:off x="7248026" y="2081098"/>
              <a:ext cx="10581" cy="16252"/>
            </a:xfrm>
            <a:custGeom>
              <a:avLst/>
              <a:gdLst/>
              <a:ahLst/>
              <a:cxnLst/>
              <a:rect l="l" t="t" r="r" b="b"/>
              <a:pathLst>
                <a:path w="334" h="513" extrusionOk="0">
                  <a:moveTo>
                    <a:pt x="167" y="0"/>
                  </a:moveTo>
                  <a:cubicBezTo>
                    <a:pt x="83" y="0"/>
                    <a:pt x="0" y="72"/>
                    <a:pt x="0" y="167"/>
                  </a:cubicBezTo>
                  <a:lnTo>
                    <a:pt x="0" y="345"/>
                  </a:lnTo>
                  <a:cubicBezTo>
                    <a:pt x="0" y="429"/>
                    <a:pt x="83" y="512"/>
                    <a:pt x="167" y="512"/>
                  </a:cubicBezTo>
                  <a:cubicBezTo>
                    <a:pt x="262" y="512"/>
                    <a:pt x="334" y="429"/>
                    <a:pt x="334" y="345"/>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3" name="Google Shape;11993;p61"/>
            <p:cNvSpPr/>
            <p:nvPr/>
          </p:nvSpPr>
          <p:spPr>
            <a:xfrm>
              <a:off x="7315536" y="2081098"/>
              <a:ext cx="10581" cy="16252"/>
            </a:xfrm>
            <a:custGeom>
              <a:avLst/>
              <a:gdLst/>
              <a:ahLst/>
              <a:cxnLst/>
              <a:rect l="l" t="t" r="r" b="b"/>
              <a:pathLst>
                <a:path w="334" h="513" extrusionOk="0">
                  <a:moveTo>
                    <a:pt x="167" y="0"/>
                  </a:moveTo>
                  <a:cubicBezTo>
                    <a:pt x="72" y="0"/>
                    <a:pt x="0" y="72"/>
                    <a:pt x="0" y="167"/>
                  </a:cubicBezTo>
                  <a:lnTo>
                    <a:pt x="0" y="345"/>
                  </a:lnTo>
                  <a:cubicBezTo>
                    <a:pt x="0" y="429"/>
                    <a:pt x="72" y="512"/>
                    <a:pt x="167" y="512"/>
                  </a:cubicBezTo>
                  <a:cubicBezTo>
                    <a:pt x="250" y="512"/>
                    <a:pt x="322" y="429"/>
                    <a:pt x="322" y="345"/>
                  </a:cubicBezTo>
                  <a:lnTo>
                    <a:pt x="322"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4" name="Google Shape;11994;p61"/>
            <p:cNvSpPr/>
            <p:nvPr/>
          </p:nvSpPr>
          <p:spPr>
            <a:xfrm>
              <a:off x="7241595" y="2064308"/>
              <a:ext cx="28702" cy="16442"/>
            </a:xfrm>
            <a:custGeom>
              <a:avLst/>
              <a:gdLst/>
              <a:ahLst/>
              <a:cxnLst/>
              <a:rect l="l" t="t" r="r" b="b"/>
              <a:pathLst>
                <a:path w="906" h="519" extrusionOk="0">
                  <a:moveTo>
                    <a:pt x="190" y="0"/>
                  </a:moveTo>
                  <a:cubicBezTo>
                    <a:pt x="116" y="0"/>
                    <a:pt x="54" y="45"/>
                    <a:pt x="25" y="113"/>
                  </a:cubicBezTo>
                  <a:cubicBezTo>
                    <a:pt x="1" y="209"/>
                    <a:pt x="48" y="292"/>
                    <a:pt x="132" y="316"/>
                  </a:cubicBezTo>
                  <a:lnTo>
                    <a:pt x="667" y="494"/>
                  </a:lnTo>
                  <a:cubicBezTo>
                    <a:pt x="679" y="494"/>
                    <a:pt x="703" y="518"/>
                    <a:pt x="727" y="518"/>
                  </a:cubicBezTo>
                  <a:cubicBezTo>
                    <a:pt x="798" y="518"/>
                    <a:pt x="858" y="471"/>
                    <a:pt x="894" y="399"/>
                  </a:cubicBezTo>
                  <a:cubicBezTo>
                    <a:pt x="906" y="304"/>
                    <a:pt x="858" y="221"/>
                    <a:pt x="775" y="185"/>
                  </a:cubicBezTo>
                  <a:lnTo>
                    <a:pt x="239" y="6"/>
                  </a:lnTo>
                  <a:cubicBezTo>
                    <a:pt x="222" y="2"/>
                    <a:pt x="206"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5" name="Google Shape;11995;p61"/>
            <p:cNvSpPr/>
            <p:nvPr/>
          </p:nvSpPr>
          <p:spPr>
            <a:xfrm>
              <a:off x="7303466" y="2064276"/>
              <a:ext cx="28702" cy="16474"/>
            </a:xfrm>
            <a:custGeom>
              <a:avLst/>
              <a:gdLst/>
              <a:ahLst/>
              <a:cxnLst/>
              <a:rect l="l" t="t" r="r" b="b"/>
              <a:pathLst>
                <a:path w="906" h="520" extrusionOk="0">
                  <a:moveTo>
                    <a:pt x="718" y="0"/>
                  </a:moveTo>
                  <a:cubicBezTo>
                    <a:pt x="701" y="0"/>
                    <a:pt x="684" y="2"/>
                    <a:pt x="667" y="7"/>
                  </a:cubicBezTo>
                  <a:lnTo>
                    <a:pt x="131" y="186"/>
                  </a:lnTo>
                  <a:cubicBezTo>
                    <a:pt x="36" y="222"/>
                    <a:pt x="0" y="305"/>
                    <a:pt x="24" y="400"/>
                  </a:cubicBezTo>
                  <a:cubicBezTo>
                    <a:pt x="60" y="472"/>
                    <a:pt x="108" y="519"/>
                    <a:pt x="191" y="519"/>
                  </a:cubicBezTo>
                  <a:cubicBezTo>
                    <a:pt x="203" y="519"/>
                    <a:pt x="215" y="519"/>
                    <a:pt x="250" y="495"/>
                  </a:cubicBezTo>
                  <a:lnTo>
                    <a:pt x="786" y="317"/>
                  </a:lnTo>
                  <a:cubicBezTo>
                    <a:pt x="858" y="293"/>
                    <a:pt x="905" y="210"/>
                    <a:pt x="870" y="114"/>
                  </a:cubicBezTo>
                  <a:cubicBezTo>
                    <a:pt x="850" y="38"/>
                    <a:pt x="786" y="0"/>
                    <a:pt x="7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6" name="Google Shape;11996;p61"/>
            <p:cNvSpPr/>
            <p:nvPr/>
          </p:nvSpPr>
          <p:spPr>
            <a:xfrm>
              <a:off x="7281575" y="2277229"/>
              <a:ext cx="10993" cy="49452"/>
            </a:xfrm>
            <a:custGeom>
              <a:avLst/>
              <a:gdLst/>
              <a:ahLst/>
              <a:cxnLst/>
              <a:rect l="l" t="t" r="r" b="b"/>
              <a:pathLst>
                <a:path w="347" h="1561" extrusionOk="0">
                  <a:moveTo>
                    <a:pt x="167" y="0"/>
                  </a:moveTo>
                  <a:cubicBezTo>
                    <a:pt x="72" y="0"/>
                    <a:pt x="1" y="72"/>
                    <a:pt x="1" y="167"/>
                  </a:cubicBezTo>
                  <a:lnTo>
                    <a:pt x="1" y="1405"/>
                  </a:lnTo>
                  <a:cubicBezTo>
                    <a:pt x="1" y="1489"/>
                    <a:pt x="72" y="1560"/>
                    <a:pt x="167" y="1560"/>
                  </a:cubicBezTo>
                  <a:cubicBezTo>
                    <a:pt x="251" y="1560"/>
                    <a:pt x="334" y="1489"/>
                    <a:pt x="334" y="1405"/>
                  </a:cubicBezTo>
                  <a:lnTo>
                    <a:pt x="334" y="167"/>
                  </a:lnTo>
                  <a:cubicBezTo>
                    <a:pt x="346" y="72"/>
                    <a:pt x="275"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7" name="Google Shape;11997;p61"/>
            <p:cNvSpPr/>
            <p:nvPr/>
          </p:nvSpPr>
          <p:spPr>
            <a:xfrm>
              <a:off x="7147315" y="1969046"/>
              <a:ext cx="279513" cy="357255"/>
            </a:xfrm>
            <a:custGeom>
              <a:avLst/>
              <a:gdLst/>
              <a:ahLst/>
              <a:cxnLst/>
              <a:rect l="l" t="t" r="r" b="b"/>
              <a:pathLst>
                <a:path w="8823" h="11277" extrusionOk="0">
                  <a:moveTo>
                    <a:pt x="4906" y="370"/>
                  </a:moveTo>
                  <a:cubicBezTo>
                    <a:pt x="5977" y="370"/>
                    <a:pt x="6858" y="1239"/>
                    <a:pt x="6858" y="2323"/>
                  </a:cubicBezTo>
                  <a:lnTo>
                    <a:pt x="6858" y="3394"/>
                  </a:lnTo>
                  <a:lnTo>
                    <a:pt x="6632" y="3394"/>
                  </a:lnTo>
                  <a:cubicBezTo>
                    <a:pt x="6632" y="3394"/>
                    <a:pt x="6620" y="3394"/>
                    <a:pt x="6620" y="3370"/>
                  </a:cubicBezTo>
                  <a:cubicBezTo>
                    <a:pt x="6549" y="3001"/>
                    <a:pt x="6275" y="2037"/>
                    <a:pt x="5537" y="1311"/>
                  </a:cubicBezTo>
                  <a:cubicBezTo>
                    <a:pt x="5507" y="1281"/>
                    <a:pt x="5465" y="1266"/>
                    <a:pt x="5422" y="1266"/>
                  </a:cubicBezTo>
                  <a:cubicBezTo>
                    <a:pt x="5379" y="1266"/>
                    <a:pt x="5334" y="1281"/>
                    <a:pt x="5298" y="1311"/>
                  </a:cubicBezTo>
                  <a:cubicBezTo>
                    <a:pt x="5298" y="1311"/>
                    <a:pt x="4822" y="1787"/>
                    <a:pt x="4358" y="1965"/>
                  </a:cubicBezTo>
                  <a:cubicBezTo>
                    <a:pt x="3882" y="1787"/>
                    <a:pt x="3417" y="1323"/>
                    <a:pt x="3417" y="1311"/>
                  </a:cubicBezTo>
                  <a:cubicBezTo>
                    <a:pt x="3387" y="1281"/>
                    <a:pt x="3349" y="1266"/>
                    <a:pt x="3307" y="1266"/>
                  </a:cubicBezTo>
                  <a:cubicBezTo>
                    <a:pt x="3265" y="1266"/>
                    <a:pt x="3221" y="1281"/>
                    <a:pt x="3179" y="1311"/>
                  </a:cubicBezTo>
                  <a:cubicBezTo>
                    <a:pt x="3120" y="1370"/>
                    <a:pt x="3060" y="1442"/>
                    <a:pt x="3001" y="1513"/>
                  </a:cubicBezTo>
                  <a:cubicBezTo>
                    <a:pt x="2941" y="1584"/>
                    <a:pt x="2965" y="1692"/>
                    <a:pt x="3024" y="1751"/>
                  </a:cubicBezTo>
                  <a:cubicBezTo>
                    <a:pt x="3057" y="1778"/>
                    <a:pt x="3096" y="1790"/>
                    <a:pt x="3134" y="1790"/>
                  </a:cubicBezTo>
                  <a:cubicBezTo>
                    <a:pt x="3180" y="1790"/>
                    <a:pt x="3224" y="1772"/>
                    <a:pt x="3251" y="1739"/>
                  </a:cubicBezTo>
                  <a:cubicBezTo>
                    <a:pt x="3274" y="1704"/>
                    <a:pt x="3298" y="1692"/>
                    <a:pt x="3322" y="1680"/>
                  </a:cubicBezTo>
                  <a:cubicBezTo>
                    <a:pt x="3513" y="1858"/>
                    <a:pt x="3917" y="2168"/>
                    <a:pt x="4310" y="2299"/>
                  </a:cubicBezTo>
                  <a:cubicBezTo>
                    <a:pt x="4328" y="2311"/>
                    <a:pt x="4349" y="2317"/>
                    <a:pt x="4368" y="2317"/>
                  </a:cubicBezTo>
                  <a:cubicBezTo>
                    <a:pt x="4388" y="2317"/>
                    <a:pt x="4405" y="2311"/>
                    <a:pt x="4417" y="2299"/>
                  </a:cubicBezTo>
                  <a:cubicBezTo>
                    <a:pt x="4822" y="2168"/>
                    <a:pt x="5227" y="1834"/>
                    <a:pt x="5418" y="1680"/>
                  </a:cubicBezTo>
                  <a:cubicBezTo>
                    <a:pt x="6001" y="2335"/>
                    <a:pt x="6215" y="3132"/>
                    <a:pt x="6299" y="3466"/>
                  </a:cubicBezTo>
                  <a:cubicBezTo>
                    <a:pt x="6322" y="3632"/>
                    <a:pt x="6477" y="3728"/>
                    <a:pt x="6620" y="3728"/>
                  </a:cubicBezTo>
                  <a:lnTo>
                    <a:pt x="6918" y="3728"/>
                  </a:lnTo>
                  <a:cubicBezTo>
                    <a:pt x="6989" y="3728"/>
                    <a:pt x="7072" y="3763"/>
                    <a:pt x="7132" y="3823"/>
                  </a:cubicBezTo>
                  <a:cubicBezTo>
                    <a:pt x="7192" y="3882"/>
                    <a:pt x="7203" y="3954"/>
                    <a:pt x="7203" y="4025"/>
                  </a:cubicBezTo>
                  <a:cubicBezTo>
                    <a:pt x="7192" y="4168"/>
                    <a:pt x="7049" y="4287"/>
                    <a:pt x="6906" y="4287"/>
                  </a:cubicBezTo>
                  <a:lnTo>
                    <a:pt x="6834" y="4287"/>
                  </a:lnTo>
                  <a:lnTo>
                    <a:pt x="6834" y="4263"/>
                  </a:lnTo>
                  <a:cubicBezTo>
                    <a:pt x="6834" y="4180"/>
                    <a:pt x="6751" y="4097"/>
                    <a:pt x="6668" y="4097"/>
                  </a:cubicBezTo>
                  <a:cubicBezTo>
                    <a:pt x="6572" y="4097"/>
                    <a:pt x="6501" y="4180"/>
                    <a:pt x="6501" y="4263"/>
                  </a:cubicBezTo>
                  <a:cubicBezTo>
                    <a:pt x="6501" y="5442"/>
                    <a:pt x="5548" y="6395"/>
                    <a:pt x="4370" y="6395"/>
                  </a:cubicBezTo>
                  <a:cubicBezTo>
                    <a:pt x="3203" y="6395"/>
                    <a:pt x="2250" y="5442"/>
                    <a:pt x="2250" y="4263"/>
                  </a:cubicBezTo>
                  <a:cubicBezTo>
                    <a:pt x="2250" y="4180"/>
                    <a:pt x="2167" y="4097"/>
                    <a:pt x="2084" y="4097"/>
                  </a:cubicBezTo>
                  <a:cubicBezTo>
                    <a:pt x="1989" y="4097"/>
                    <a:pt x="1953" y="4144"/>
                    <a:pt x="1953" y="4240"/>
                  </a:cubicBezTo>
                  <a:lnTo>
                    <a:pt x="1846" y="4251"/>
                  </a:lnTo>
                  <a:cubicBezTo>
                    <a:pt x="1774" y="4251"/>
                    <a:pt x="1691" y="4228"/>
                    <a:pt x="1631" y="4168"/>
                  </a:cubicBezTo>
                  <a:cubicBezTo>
                    <a:pt x="1572" y="4109"/>
                    <a:pt x="1560" y="4025"/>
                    <a:pt x="1560" y="3954"/>
                  </a:cubicBezTo>
                  <a:cubicBezTo>
                    <a:pt x="1572" y="3823"/>
                    <a:pt x="1715" y="3704"/>
                    <a:pt x="1858" y="3704"/>
                  </a:cubicBezTo>
                  <a:lnTo>
                    <a:pt x="2131" y="3704"/>
                  </a:lnTo>
                  <a:cubicBezTo>
                    <a:pt x="2286" y="3704"/>
                    <a:pt x="2429" y="3597"/>
                    <a:pt x="2453" y="3430"/>
                  </a:cubicBezTo>
                  <a:cubicBezTo>
                    <a:pt x="2500" y="3216"/>
                    <a:pt x="2631" y="2751"/>
                    <a:pt x="2905" y="2275"/>
                  </a:cubicBezTo>
                  <a:cubicBezTo>
                    <a:pt x="2941" y="2204"/>
                    <a:pt x="2917" y="2096"/>
                    <a:pt x="2846" y="2049"/>
                  </a:cubicBezTo>
                  <a:cubicBezTo>
                    <a:pt x="2820" y="2034"/>
                    <a:pt x="2791" y="2027"/>
                    <a:pt x="2763" y="2027"/>
                  </a:cubicBezTo>
                  <a:cubicBezTo>
                    <a:pt x="2702" y="2027"/>
                    <a:pt x="2644" y="2059"/>
                    <a:pt x="2620" y="2108"/>
                  </a:cubicBezTo>
                  <a:cubicBezTo>
                    <a:pt x="2322" y="2632"/>
                    <a:pt x="2203" y="3120"/>
                    <a:pt x="2143" y="3370"/>
                  </a:cubicBezTo>
                  <a:cubicBezTo>
                    <a:pt x="2143" y="3370"/>
                    <a:pt x="2143" y="3394"/>
                    <a:pt x="2131" y="3394"/>
                  </a:cubicBezTo>
                  <a:lnTo>
                    <a:pt x="1905" y="3394"/>
                  </a:lnTo>
                  <a:lnTo>
                    <a:pt x="1905" y="2323"/>
                  </a:lnTo>
                  <a:cubicBezTo>
                    <a:pt x="1905" y="1251"/>
                    <a:pt x="2786" y="370"/>
                    <a:pt x="3846" y="370"/>
                  </a:cubicBezTo>
                  <a:close/>
                  <a:moveTo>
                    <a:pt x="2096" y="5121"/>
                  </a:moveTo>
                  <a:cubicBezTo>
                    <a:pt x="2274" y="5573"/>
                    <a:pt x="2584" y="5978"/>
                    <a:pt x="2989" y="6264"/>
                  </a:cubicBezTo>
                  <a:lnTo>
                    <a:pt x="2989" y="7214"/>
                  </a:lnTo>
                  <a:lnTo>
                    <a:pt x="1357" y="5240"/>
                  </a:lnTo>
                  <a:lnTo>
                    <a:pt x="2096" y="5121"/>
                  </a:lnTo>
                  <a:close/>
                  <a:moveTo>
                    <a:pt x="6715" y="5121"/>
                  </a:moveTo>
                  <a:lnTo>
                    <a:pt x="7453" y="5240"/>
                  </a:lnTo>
                  <a:lnTo>
                    <a:pt x="5822" y="7228"/>
                  </a:lnTo>
                  <a:lnTo>
                    <a:pt x="5822" y="6264"/>
                  </a:lnTo>
                  <a:cubicBezTo>
                    <a:pt x="6215" y="5978"/>
                    <a:pt x="6537" y="5573"/>
                    <a:pt x="6715" y="5121"/>
                  </a:cubicBezTo>
                  <a:close/>
                  <a:moveTo>
                    <a:pt x="5489" y="6454"/>
                  </a:moveTo>
                  <a:lnTo>
                    <a:pt x="5489" y="7633"/>
                  </a:lnTo>
                  <a:lnTo>
                    <a:pt x="4417" y="8931"/>
                  </a:lnTo>
                  <a:lnTo>
                    <a:pt x="3346" y="7633"/>
                  </a:lnTo>
                  <a:lnTo>
                    <a:pt x="3346" y="6454"/>
                  </a:lnTo>
                  <a:cubicBezTo>
                    <a:pt x="3679" y="6621"/>
                    <a:pt x="4036" y="6704"/>
                    <a:pt x="4417" y="6704"/>
                  </a:cubicBezTo>
                  <a:cubicBezTo>
                    <a:pt x="4810" y="6704"/>
                    <a:pt x="5167" y="6621"/>
                    <a:pt x="5489" y="6454"/>
                  </a:cubicBezTo>
                  <a:close/>
                  <a:moveTo>
                    <a:pt x="3894" y="1"/>
                  </a:moveTo>
                  <a:cubicBezTo>
                    <a:pt x="2631" y="1"/>
                    <a:pt x="1608" y="1025"/>
                    <a:pt x="1608" y="2287"/>
                  </a:cubicBezTo>
                  <a:lnTo>
                    <a:pt x="1608" y="3418"/>
                  </a:lnTo>
                  <a:cubicBezTo>
                    <a:pt x="1417" y="3513"/>
                    <a:pt x="1274" y="3692"/>
                    <a:pt x="1250" y="3894"/>
                  </a:cubicBezTo>
                  <a:cubicBezTo>
                    <a:pt x="1238" y="4073"/>
                    <a:pt x="1286" y="4240"/>
                    <a:pt x="1393" y="4371"/>
                  </a:cubicBezTo>
                  <a:cubicBezTo>
                    <a:pt x="1512" y="4501"/>
                    <a:pt x="1679" y="4561"/>
                    <a:pt x="1846" y="4561"/>
                  </a:cubicBezTo>
                  <a:lnTo>
                    <a:pt x="1965" y="4561"/>
                  </a:lnTo>
                  <a:cubicBezTo>
                    <a:pt x="1977" y="4644"/>
                    <a:pt x="1989" y="4716"/>
                    <a:pt x="2000" y="4775"/>
                  </a:cubicBezTo>
                  <a:lnTo>
                    <a:pt x="1262" y="4894"/>
                  </a:lnTo>
                  <a:cubicBezTo>
                    <a:pt x="1155" y="4906"/>
                    <a:pt x="1048" y="4978"/>
                    <a:pt x="1012" y="5073"/>
                  </a:cubicBezTo>
                  <a:cubicBezTo>
                    <a:pt x="965" y="5180"/>
                    <a:pt x="965" y="5275"/>
                    <a:pt x="1012" y="5383"/>
                  </a:cubicBezTo>
                  <a:lnTo>
                    <a:pt x="2108" y="7502"/>
                  </a:lnTo>
                  <a:lnTo>
                    <a:pt x="857" y="7883"/>
                  </a:lnTo>
                  <a:cubicBezTo>
                    <a:pt x="334" y="8050"/>
                    <a:pt x="0" y="8514"/>
                    <a:pt x="0" y="9062"/>
                  </a:cubicBezTo>
                  <a:lnTo>
                    <a:pt x="0" y="11109"/>
                  </a:lnTo>
                  <a:cubicBezTo>
                    <a:pt x="0" y="11205"/>
                    <a:pt x="72" y="11276"/>
                    <a:pt x="155" y="11276"/>
                  </a:cubicBezTo>
                  <a:cubicBezTo>
                    <a:pt x="250" y="11276"/>
                    <a:pt x="322" y="11205"/>
                    <a:pt x="322" y="11109"/>
                  </a:cubicBezTo>
                  <a:lnTo>
                    <a:pt x="322" y="9062"/>
                  </a:lnTo>
                  <a:cubicBezTo>
                    <a:pt x="322" y="8943"/>
                    <a:pt x="357" y="8823"/>
                    <a:pt x="381" y="8716"/>
                  </a:cubicBezTo>
                  <a:lnTo>
                    <a:pt x="1215" y="9431"/>
                  </a:lnTo>
                  <a:cubicBezTo>
                    <a:pt x="1334" y="9538"/>
                    <a:pt x="1405" y="9681"/>
                    <a:pt x="1405" y="9847"/>
                  </a:cubicBezTo>
                  <a:lnTo>
                    <a:pt x="1405" y="11109"/>
                  </a:lnTo>
                  <a:cubicBezTo>
                    <a:pt x="1405" y="11205"/>
                    <a:pt x="1488" y="11276"/>
                    <a:pt x="1572" y="11276"/>
                  </a:cubicBezTo>
                  <a:cubicBezTo>
                    <a:pt x="1667" y="11276"/>
                    <a:pt x="1738" y="11205"/>
                    <a:pt x="1738" y="11109"/>
                  </a:cubicBezTo>
                  <a:lnTo>
                    <a:pt x="1738" y="9847"/>
                  </a:lnTo>
                  <a:cubicBezTo>
                    <a:pt x="1738" y="9597"/>
                    <a:pt x="1631" y="9359"/>
                    <a:pt x="1441" y="9181"/>
                  </a:cubicBezTo>
                  <a:lnTo>
                    <a:pt x="572" y="8431"/>
                  </a:lnTo>
                  <a:cubicBezTo>
                    <a:pt x="679" y="8335"/>
                    <a:pt x="810" y="8240"/>
                    <a:pt x="965" y="8192"/>
                  </a:cubicBezTo>
                  <a:lnTo>
                    <a:pt x="2274" y="7776"/>
                  </a:lnTo>
                  <a:lnTo>
                    <a:pt x="2989" y="9145"/>
                  </a:lnTo>
                  <a:lnTo>
                    <a:pt x="2762" y="9597"/>
                  </a:lnTo>
                  <a:cubicBezTo>
                    <a:pt x="2679" y="9776"/>
                    <a:pt x="2691" y="9966"/>
                    <a:pt x="2810" y="10133"/>
                  </a:cubicBezTo>
                  <a:lnTo>
                    <a:pt x="3572" y="11205"/>
                  </a:lnTo>
                  <a:cubicBezTo>
                    <a:pt x="3596" y="11252"/>
                    <a:pt x="3655" y="11276"/>
                    <a:pt x="3703" y="11276"/>
                  </a:cubicBezTo>
                  <a:cubicBezTo>
                    <a:pt x="3727" y="11276"/>
                    <a:pt x="3763" y="11264"/>
                    <a:pt x="3786" y="11252"/>
                  </a:cubicBezTo>
                  <a:cubicBezTo>
                    <a:pt x="3870" y="11193"/>
                    <a:pt x="3882" y="11086"/>
                    <a:pt x="3834" y="11014"/>
                  </a:cubicBezTo>
                  <a:lnTo>
                    <a:pt x="3072" y="9943"/>
                  </a:lnTo>
                  <a:cubicBezTo>
                    <a:pt x="3036" y="9883"/>
                    <a:pt x="3036" y="9800"/>
                    <a:pt x="3060" y="9740"/>
                  </a:cubicBezTo>
                  <a:lnTo>
                    <a:pt x="3310" y="9228"/>
                  </a:lnTo>
                  <a:cubicBezTo>
                    <a:pt x="3346" y="9181"/>
                    <a:pt x="3346" y="9121"/>
                    <a:pt x="3310" y="9073"/>
                  </a:cubicBezTo>
                  <a:lnTo>
                    <a:pt x="1917" y="6395"/>
                  </a:lnTo>
                  <a:lnTo>
                    <a:pt x="4263" y="9252"/>
                  </a:lnTo>
                  <a:cubicBezTo>
                    <a:pt x="4298" y="9300"/>
                    <a:pt x="4346" y="9312"/>
                    <a:pt x="4405" y="9312"/>
                  </a:cubicBezTo>
                  <a:cubicBezTo>
                    <a:pt x="4441" y="9312"/>
                    <a:pt x="4489" y="9300"/>
                    <a:pt x="4536" y="9252"/>
                  </a:cubicBezTo>
                  <a:lnTo>
                    <a:pt x="6882" y="6395"/>
                  </a:lnTo>
                  <a:lnTo>
                    <a:pt x="5489" y="9073"/>
                  </a:lnTo>
                  <a:cubicBezTo>
                    <a:pt x="5453" y="9121"/>
                    <a:pt x="5453" y="9181"/>
                    <a:pt x="5489" y="9228"/>
                  </a:cubicBezTo>
                  <a:lnTo>
                    <a:pt x="5739" y="9740"/>
                  </a:lnTo>
                  <a:cubicBezTo>
                    <a:pt x="5775" y="9800"/>
                    <a:pt x="5775" y="9871"/>
                    <a:pt x="5727" y="9943"/>
                  </a:cubicBezTo>
                  <a:lnTo>
                    <a:pt x="4965" y="11014"/>
                  </a:lnTo>
                  <a:cubicBezTo>
                    <a:pt x="4906" y="11086"/>
                    <a:pt x="4941" y="11193"/>
                    <a:pt x="5013" y="11252"/>
                  </a:cubicBezTo>
                  <a:cubicBezTo>
                    <a:pt x="5037" y="11264"/>
                    <a:pt x="5072" y="11276"/>
                    <a:pt x="5096" y="11276"/>
                  </a:cubicBezTo>
                  <a:cubicBezTo>
                    <a:pt x="5144" y="11276"/>
                    <a:pt x="5203" y="11252"/>
                    <a:pt x="5239" y="11205"/>
                  </a:cubicBezTo>
                  <a:lnTo>
                    <a:pt x="5989" y="10133"/>
                  </a:lnTo>
                  <a:cubicBezTo>
                    <a:pt x="6108" y="9966"/>
                    <a:pt x="6132" y="9776"/>
                    <a:pt x="6037" y="9597"/>
                  </a:cubicBezTo>
                  <a:lnTo>
                    <a:pt x="5810" y="9145"/>
                  </a:lnTo>
                  <a:lnTo>
                    <a:pt x="6525" y="7776"/>
                  </a:lnTo>
                  <a:lnTo>
                    <a:pt x="7834" y="8192"/>
                  </a:lnTo>
                  <a:cubicBezTo>
                    <a:pt x="7989" y="8240"/>
                    <a:pt x="8120" y="8335"/>
                    <a:pt x="8227" y="8431"/>
                  </a:cubicBezTo>
                  <a:lnTo>
                    <a:pt x="7358" y="9181"/>
                  </a:lnTo>
                  <a:cubicBezTo>
                    <a:pt x="7168" y="9347"/>
                    <a:pt x="7061" y="9585"/>
                    <a:pt x="7061" y="9847"/>
                  </a:cubicBezTo>
                  <a:lnTo>
                    <a:pt x="7061" y="11109"/>
                  </a:lnTo>
                  <a:cubicBezTo>
                    <a:pt x="7061" y="11205"/>
                    <a:pt x="7144" y="11276"/>
                    <a:pt x="7227" y="11276"/>
                  </a:cubicBezTo>
                  <a:cubicBezTo>
                    <a:pt x="7323" y="11276"/>
                    <a:pt x="7394" y="11205"/>
                    <a:pt x="7394" y="11109"/>
                  </a:cubicBezTo>
                  <a:lnTo>
                    <a:pt x="7394" y="9847"/>
                  </a:lnTo>
                  <a:cubicBezTo>
                    <a:pt x="7394" y="9681"/>
                    <a:pt x="7465" y="9538"/>
                    <a:pt x="7584" y="9431"/>
                  </a:cubicBezTo>
                  <a:lnTo>
                    <a:pt x="8418" y="8716"/>
                  </a:lnTo>
                  <a:cubicBezTo>
                    <a:pt x="8466" y="8823"/>
                    <a:pt x="8477" y="8943"/>
                    <a:pt x="8477" y="9062"/>
                  </a:cubicBezTo>
                  <a:lnTo>
                    <a:pt x="8477" y="11109"/>
                  </a:lnTo>
                  <a:cubicBezTo>
                    <a:pt x="8477" y="11205"/>
                    <a:pt x="8549" y="11276"/>
                    <a:pt x="8644" y="11276"/>
                  </a:cubicBezTo>
                  <a:cubicBezTo>
                    <a:pt x="8727" y="11276"/>
                    <a:pt x="8811" y="11205"/>
                    <a:pt x="8811" y="11109"/>
                  </a:cubicBezTo>
                  <a:lnTo>
                    <a:pt x="8811" y="9062"/>
                  </a:lnTo>
                  <a:cubicBezTo>
                    <a:pt x="8823" y="8538"/>
                    <a:pt x="8477" y="8073"/>
                    <a:pt x="7965" y="7919"/>
                  </a:cubicBezTo>
                  <a:lnTo>
                    <a:pt x="6715" y="7526"/>
                  </a:lnTo>
                  <a:lnTo>
                    <a:pt x="7811" y="5418"/>
                  </a:lnTo>
                  <a:cubicBezTo>
                    <a:pt x="7858" y="5311"/>
                    <a:pt x="7858" y="5204"/>
                    <a:pt x="7811" y="5097"/>
                  </a:cubicBezTo>
                  <a:cubicBezTo>
                    <a:pt x="7763" y="5002"/>
                    <a:pt x="7668" y="4942"/>
                    <a:pt x="7561" y="4918"/>
                  </a:cubicBezTo>
                  <a:lnTo>
                    <a:pt x="6811" y="4799"/>
                  </a:lnTo>
                  <a:cubicBezTo>
                    <a:pt x="6822" y="4728"/>
                    <a:pt x="6846" y="4656"/>
                    <a:pt x="6858" y="4597"/>
                  </a:cubicBezTo>
                  <a:lnTo>
                    <a:pt x="6965" y="4597"/>
                  </a:lnTo>
                  <a:cubicBezTo>
                    <a:pt x="7287" y="4597"/>
                    <a:pt x="7561" y="4359"/>
                    <a:pt x="7584" y="4049"/>
                  </a:cubicBezTo>
                  <a:cubicBezTo>
                    <a:pt x="7608" y="3870"/>
                    <a:pt x="7549" y="3704"/>
                    <a:pt x="7442" y="3573"/>
                  </a:cubicBezTo>
                  <a:cubicBezTo>
                    <a:pt x="7382" y="3513"/>
                    <a:pt x="7323" y="3466"/>
                    <a:pt x="7251" y="3418"/>
                  </a:cubicBezTo>
                  <a:lnTo>
                    <a:pt x="7251" y="2287"/>
                  </a:lnTo>
                  <a:cubicBezTo>
                    <a:pt x="7251" y="1025"/>
                    <a:pt x="6215" y="1"/>
                    <a:pt x="4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8" name="Google Shape;11998;p61"/>
            <p:cNvSpPr/>
            <p:nvPr/>
          </p:nvSpPr>
          <p:spPr>
            <a:xfrm>
              <a:off x="7248026" y="2111067"/>
              <a:ext cx="78471" cy="36052"/>
            </a:xfrm>
            <a:custGeom>
              <a:avLst/>
              <a:gdLst/>
              <a:ahLst/>
              <a:cxnLst/>
              <a:rect l="l" t="t" r="r" b="b"/>
              <a:pathLst>
                <a:path w="2477" h="1138" extrusionOk="0">
                  <a:moveTo>
                    <a:pt x="619" y="411"/>
                  </a:moveTo>
                  <a:cubicBezTo>
                    <a:pt x="679" y="411"/>
                    <a:pt x="738" y="423"/>
                    <a:pt x="798" y="423"/>
                  </a:cubicBezTo>
                  <a:lnTo>
                    <a:pt x="703" y="602"/>
                  </a:lnTo>
                  <a:lnTo>
                    <a:pt x="619" y="411"/>
                  </a:lnTo>
                  <a:close/>
                  <a:moveTo>
                    <a:pt x="1846" y="411"/>
                  </a:moveTo>
                  <a:lnTo>
                    <a:pt x="1762" y="602"/>
                  </a:lnTo>
                  <a:lnTo>
                    <a:pt x="1667" y="423"/>
                  </a:lnTo>
                  <a:cubicBezTo>
                    <a:pt x="1727" y="423"/>
                    <a:pt x="1786" y="411"/>
                    <a:pt x="1846" y="411"/>
                  </a:cubicBezTo>
                  <a:close/>
                  <a:moveTo>
                    <a:pt x="2310" y="1"/>
                  </a:moveTo>
                  <a:cubicBezTo>
                    <a:pt x="2295" y="1"/>
                    <a:pt x="2279" y="2"/>
                    <a:pt x="2262" y="7"/>
                  </a:cubicBezTo>
                  <a:cubicBezTo>
                    <a:pt x="1965" y="78"/>
                    <a:pt x="1607" y="114"/>
                    <a:pt x="1238" y="114"/>
                  </a:cubicBezTo>
                  <a:cubicBezTo>
                    <a:pt x="869" y="114"/>
                    <a:pt x="524" y="66"/>
                    <a:pt x="214" y="7"/>
                  </a:cubicBezTo>
                  <a:cubicBezTo>
                    <a:pt x="203" y="5"/>
                    <a:pt x="191" y="4"/>
                    <a:pt x="180" y="4"/>
                  </a:cubicBezTo>
                  <a:cubicBezTo>
                    <a:pt x="100" y="4"/>
                    <a:pt x="34" y="42"/>
                    <a:pt x="24" y="126"/>
                  </a:cubicBezTo>
                  <a:cubicBezTo>
                    <a:pt x="0" y="221"/>
                    <a:pt x="48" y="304"/>
                    <a:pt x="143" y="316"/>
                  </a:cubicBezTo>
                  <a:cubicBezTo>
                    <a:pt x="167" y="316"/>
                    <a:pt x="203" y="340"/>
                    <a:pt x="226" y="340"/>
                  </a:cubicBezTo>
                  <a:lnTo>
                    <a:pt x="560" y="1054"/>
                  </a:lnTo>
                  <a:cubicBezTo>
                    <a:pt x="584" y="1114"/>
                    <a:pt x="643" y="1138"/>
                    <a:pt x="703" y="1138"/>
                  </a:cubicBezTo>
                  <a:cubicBezTo>
                    <a:pt x="762" y="1138"/>
                    <a:pt x="822" y="1114"/>
                    <a:pt x="857" y="1054"/>
                  </a:cubicBezTo>
                  <a:lnTo>
                    <a:pt x="1167" y="435"/>
                  </a:lnTo>
                  <a:lnTo>
                    <a:pt x="1310" y="435"/>
                  </a:lnTo>
                  <a:lnTo>
                    <a:pt x="1619" y="1054"/>
                  </a:lnTo>
                  <a:cubicBezTo>
                    <a:pt x="1655" y="1114"/>
                    <a:pt x="1715" y="1138"/>
                    <a:pt x="1774" y="1138"/>
                  </a:cubicBezTo>
                  <a:cubicBezTo>
                    <a:pt x="1834" y="1138"/>
                    <a:pt x="1893" y="1090"/>
                    <a:pt x="1917" y="1054"/>
                  </a:cubicBezTo>
                  <a:lnTo>
                    <a:pt x="2250" y="340"/>
                  </a:lnTo>
                  <a:cubicBezTo>
                    <a:pt x="2274" y="340"/>
                    <a:pt x="2310" y="316"/>
                    <a:pt x="2334" y="316"/>
                  </a:cubicBezTo>
                  <a:cubicBezTo>
                    <a:pt x="2417" y="304"/>
                    <a:pt x="2477" y="221"/>
                    <a:pt x="2465" y="126"/>
                  </a:cubicBezTo>
                  <a:cubicBezTo>
                    <a:pt x="2445" y="47"/>
                    <a:pt x="2384" y="1"/>
                    <a:pt x="2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999" name="Google Shape;11999;p61"/>
          <p:cNvGrpSpPr/>
          <p:nvPr/>
        </p:nvGrpSpPr>
        <p:grpSpPr>
          <a:xfrm>
            <a:off x="6697681" y="1968317"/>
            <a:ext cx="280305" cy="359093"/>
            <a:chOff x="6697681" y="1968317"/>
            <a:chExt cx="280305" cy="359093"/>
          </a:xfrm>
        </p:grpSpPr>
        <p:sp>
          <p:nvSpPr>
            <p:cNvPr id="12000" name="Google Shape;12000;p61"/>
            <p:cNvSpPr/>
            <p:nvPr/>
          </p:nvSpPr>
          <p:spPr>
            <a:xfrm>
              <a:off x="6799152" y="2092408"/>
              <a:ext cx="10613" cy="16252"/>
            </a:xfrm>
            <a:custGeom>
              <a:avLst/>
              <a:gdLst/>
              <a:ahLst/>
              <a:cxnLst/>
              <a:rect l="l" t="t" r="r" b="b"/>
              <a:pathLst>
                <a:path w="335" h="513" extrusionOk="0">
                  <a:moveTo>
                    <a:pt x="167" y="0"/>
                  </a:moveTo>
                  <a:cubicBezTo>
                    <a:pt x="84" y="0"/>
                    <a:pt x="1" y="72"/>
                    <a:pt x="1" y="167"/>
                  </a:cubicBezTo>
                  <a:lnTo>
                    <a:pt x="1" y="346"/>
                  </a:lnTo>
                  <a:cubicBezTo>
                    <a:pt x="1" y="429"/>
                    <a:pt x="84" y="512"/>
                    <a:pt x="167" y="512"/>
                  </a:cubicBezTo>
                  <a:cubicBezTo>
                    <a:pt x="251" y="512"/>
                    <a:pt x="334" y="429"/>
                    <a:pt x="334" y="346"/>
                  </a:cubicBezTo>
                  <a:lnTo>
                    <a:pt x="334" y="167"/>
                  </a:lnTo>
                  <a:cubicBezTo>
                    <a:pt x="334" y="72"/>
                    <a:pt x="263"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1" name="Google Shape;12001;p61"/>
            <p:cNvSpPr/>
            <p:nvPr/>
          </p:nvSpPr>
          <p:spPr>
            <a:xfrm>
              <a:off x="6866662" y="2092408"/>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2" name="Google Shape;12002;p61"/>
            <p:cNvSpPr/>
            <p:nvPr/>
          </p:nvSpPr>
          <p:spPr>
            <a:xfrm>
              <a:off x="6815372" y="2143032"/>
              <a:ext cx="45302" cy="15777"/>
            </a:xfrm>
            <a:custGeom>
              <a:avLst/>
              <a:gdLst/>
              <a:ahLst/>
              <a:cxnLst/>
              <a:rect l="l" t="t" r="r" b="b"/>
              <a:pathLst>
                <a:path w="1430" h="498" extrusionOk="0">
                  <a:moveTo>
                    <a:pt x="184" y="1"/>
                  </a:moveTo>
                  <a:cubicBezTo>
                    <a:pt x="141" y="1"/>
                    <a:pt x="96" y="16"/>
                    <a:pt x="60" y="45"/>
                  </a:cubicBezTo>
                  <a:cubicBezTo>
                    <a:pt x="1" y="105"/>
                    <a:pt x="1" y="200"/>
                    <a:pt x="60" y="283"/>
                  </a:cubicBezTo>
                  <a:cubicBezTo>
                    <a:pt x="203" y="414"/>
                    <a:pt x="441" y="498"/>
                    <a:pt x="703" y="498"/>
                  </a:cubicBezTo>
                  <a:cubicBezTo>
                    <a:pt x="965" y="498"/>
                    <a:pt x="1203" y="414"/>
                    <a:pt x="1334" y="283"/>
                  </a:cubicBezTo>
                  <a:cubicBezTo>
                    <a:pt x="1429" y="200"/>
                    <a:pt x="1429" y="105"/>
                    <a:pt x="1370" y="45"/>
                  </a:cubicBezTo>
                  <a:cubicBezTo>
                    <a:pt x="1340" y="16"/>
                    <a:pt x="1298" y="1"/>
                    <a:pt x="1255" y="1"/>
                  </a:cubicBezTo>
                  <a:cubicBezTo>
                    <a:pt x="1212" y="1"/>
                    <a:pt x="1167" y="16"/>
                    <a:pt x="1132" y="45"/>
                  </a:cubicBezTo>
                  <a:cubicBezTo>
                    <a:pt x="1072" y="105"/>
                    <a:pt x="917" y="176"/>
                    <a:pt x="715" y="176"/>
                  </a:cubicBezTo>
                  <a:cubicBezTo>
                    <a:pt x="501" y="176"/>
                    <a:pt x="358" y="105"/>
                    <a:pt x="298" y="45"/>
                  </a:cubicBezTo>
                  <a:cubicBezTo>
                    <a:pt x="269"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3" name="Google Shape;12003;p61"/>
            <p:cNvSpPr/>
            <p:nvPr/>
          </p:nvSpPr>
          <p:spPr>
            <a:xfrm>
              <a:off x="6697681" y="1968317"/>
              <a:ext cx="280305" cy="358713"/>
            </a:xfrm>
            <a:custGeom>
              <a:avLst/>
              <a:gdLst/>
              <a:ahLst/>
              <a:cxnLst/>
              <a:rect l="l" t="t" r="r" b="b"/>
              <a:pathLst>
                <a:path w="8848" h="11323" extrusionOk="0">
                  <a:moveTo>
                    <a:pt x="4430" y="345"/>
                  </a:moveTo>
                  <a:cubicBezTo>
                    <a:pt x="4978" y="345"/>
                    <a:pt x="5502" y="512"/>
                    <a:pt x="5918" y="822"/>
                  </a:cubicBezTo>
                  <a:cubicBezTo>
                    <a:pt x="6252" y="1072"/>
                    <a:pt x="6526" y="1417"/>
                    <a:pt x="6668" y="1786"/>
                  </a:cubicBezTo>
                  <a:lnTo>
                    <a:pt x="6371" y="1786"/>
                  </a:lnTo>
                  <a:cubicBezTo>
                    <a:pt x="6287" y="1786"/>
                    <a:pt x="6216" y="1857"/>
                    <a:pt x="6216" y="1953"/>
                  </a:cubicBezTo>
                  <a:cubicBezTo>
                    <a:pt x="6216" y="2048"/>
                    <a:pt x="6287" y="2119"/>
                    <a:pt x="6371" y="2119"/>
                  </a:cubicBezTo>
                  <a:lnTo>
                    <a:pt x="7085" y="2119"/>
                  </a:lnTo>
                  <a:cubicBezTo>
                    <a:pt x="7085" y="2119"/>
                    <a:pt x="7109" y="2119"/>
                    <a:pt x="7109" y="2131"/>
                  </a:cubicBezTo>
                  <a:lnTo>
                    <a:pt x="7109" y="2846"/>
                  </a:lnTo>
                  <a:cubicBezTo>
                    <a:pt x="7109" y="2846"/>
                    <a:pt x="7109" y="2858"/>
                    <a:pt x="7085" y="2858"/>
                  </a:cubicBezTo>
                  <a:lnTo>
                    <a:pt x="1787" y="2858"/>
                  </a:lnTo>
                  <a:cubicBezTo>
                    <a:pt x="1787" y="2858"/>
                    <a:pt x="1775" y="2858"/>
                    <a:pt x="1775" y="2846"/>
                  </a:cubicBezTo>
                  <a:lnTo>
                    <a:pt x="1775" y="2131"/>
                  </a:lnTo>
                  <a:lnTo>
                    <a:pt x="1763" y="2131"/>
                  </a:lnTo>
                  <a:lnTo>
                    <a:pt x="5668" y="2119"/>
                  </a:lnTo>
                  <a:cubicBezTo>
                    <a:pt x="5752" y="2119"/>
                    <a:pt x="5823" y="2048"/>
                    <a:pt x="5823" y="1953"/>
                  </a:cubicBezTo>
                  <a:cubicBezTo>
                    <a:pt x="5823" y="1857"/>
                    <a:pt x="5752" y="1786"/>
                    <a:pt x="5668" y="1786"/>
                  </a:cubicBezTo>
                  <a:lnTo>
                    <a:pt x="2180" y="1786"/>
                  </a:lnTo>
                  <a:cubicBezTo>
                    <a:pt x="2335" y="1417"/>
                    <a:pt x="2585" y="1072"/>
                    <a:pt x="2942" y="822"/>
                  </a:cubicBezTo>
                  <a:cubicBezTo>
                    <a:pt x="3370" y="512"/>
                    <a:pt x="3870" y="345"/>
                    <a:pt x="4430" y="345"/>
                  </a:cubicBezTo>
                  <a:close/>
                  <a:moveTo>
                    <a:pt x="6918" y="3179"/>
                  </a:moveTo>
                  <a:lnTo>
                    <a:pt x="6918" y="3191"/>
                  </a:lnTo>
                  <a:lnTo>
                    <a:pt x="6918" y="3739"/>
                  </a:lnTo>
                  <a:lnTo>
                    <a:pt x="6716" y="3739"/>
                  </a:lnTo>
                  <a:cubicBezTo>
                    <a:pt x="6621" y="3739"/>
                    <a:pt x="6526" y="3643"/>
                    <a:pt x="6526" y="3548"/>
                  </a:cubicBezTo>
                  <a:lnTo>
                    <a:pt x="6526" y="3179"/>
                  </a:lnTo>
                  <a:close/>
                  <a:moveTo>
                    <a:pt x="2335" y="3203"/>
                  </a:moveTo>
                  <a:lnTo>
                    <a:pt x="2335" y="3560"/>
                  </a:lnTo>
                  <a:cubicBezTo>
                    <a:pt x="2335" y="3667"/>
                    <a:pt x="2239" y="3751"/>
                    <a:pt x="2132" y="3751"/>
                  </a:cubicBezTo>
                  <a:lnTo>
                    <a:pt x="1942" y="3751"/>
                  </a:lnTo>
                  <a:lnTo>
                    <a:pt x="1942" y="3203"/>
                  </a:lnTo>
                  <a:close/>
                  <a:moveTo>
                    <a:pt x="6180" y="3179"/>
                  </a:moveTo>
                  <a:lnTo>
                    <a:pt x="6180" y="3548"/>
                  </a:lnTo>
                  <a:cubicBezTo>
                    <a:pt x="6180" y="3834"/>
                    <a:pt x="6418" y="4072"/>
                    <a:pt x="6704" y="4072"/>
                  </a:cubicBezTo>
                  <a:lnTo>
                    <a:pt x="6978" y="4072"/>
                  </a:lnTo>
                  <a:cubicBezTo>
                    <a:pt x="7049" y="4072"/>
                    <a:pt x="7121" y="4096"/>
                    <a:pt x="7180" y="4155"/>
                  </a:cubicBezTo>
                  <a:cubicBezTo>
                    <a:pt x="7240" y="4215"/>
                    <a:pt x="7252" y="4286"/>
                    <a:pt x="7252" y="4370"/>
                  </a:cubicBezTo>
                  <a:cubicBezTo>
                    <a:pt x="7240" y="4501"/>
                    <a:pt x="7109" y="4620"/>
                    <a:pt x="6954" y="4620"/>
                  </a:cubicBezTo>
                  <a:lnTo>
                    <a:pt x="6883" y="4620"/>
                  </a:lnTo>
                  <a:lnTo>
                    <a:pt x="6883" y="4608"/>
                  </a:lnTo>
                  <a:cubicBezTo>
                    <a:pt x="6883" y="4513"/>
                    <a:pt x="6811" y="4441"/>
                    <a:pt x="6716" y="4441"/>
                  </a:cubicBezTo>
                  <a:cubicBezTo>
                    <a:pt x="6633" y="4441"/>
                    <a:pt x="6561" y="4513"/>
                    <a:pt x="6561" y="4608"/>
                  </a:cubicBezTo>
                  <a:cubicBezTo>
                    <a:pt x="6561" y="4810"/>
                    <a:pt x="6526" y="5001"/>
                    <a:pt x="6466" y="5203"/>
                  </a:cubicBezTo>
                  <a:cubicBezTo>
                    <a:pt x="6383" y="4977"/>
                    <a:pt x="6121" y="4798"/>
                    <a:pt x="5847" y="4798"/>
                  </a:cubicBezTo>
                  <a:lnTo>
                    <a:pt x="3013" y="4798"/>
                  </a:lnTo>
                  <a:cubicBezTo>
                    <a:pt x="2727" y="4798"/>
                    <a:pt x="2489" y="4965"/>
                    <a:pt x="2370" y="5203"/>
                  </a:cubicBezTo>
                  <a:cubicBezTo>
                    <a:pt x="2311" y="5001"/>
                    <a:pt x="2287" y="4810"/>
                    <a:pt x="2287" y="4608"/>
                  </a:cubicBezTo>
                  <a:cubicBezTo>
                    <a:pt x="2287" y="4513"/>
                    <a:pt x="2215" y="4441"/>
                    <a:pt x="2120" y="4441"/>
                  </a:cubicBezTo>
                  <a:cubicBezTo>
                    <a:pt x="2037" y="4441"/>
                    <a:pt x="1954" y="4513"/>
                    <a:pt x="1954" y="4608"/>
                  </a:cubicBezTo>
                  <a:lnTo>
                    <a:pt x="1954" y="4620"/>
                  </a:lnTo>
                  <a:lnTo>
                    <a:pt x="1858" y="4620"/>
                  </a:lnTo>
                  <a:cubicBezTo>
                    <a:pt x="1775" y="4620"/>
                    <a:pt x="1704" y="4584"/>
                    <a:pt x="1644" y="4524"/>
                  </a:cubicBezTo>
                  <a:cubicBezTo>
                    <a:pt x="1584" y="4465"/>
                    <a:pt x="1573" y="4394"/>
                    <a:pt x="1573" y="4322"/>
                  </a:cubicBezTo>
                  <a:cubicBezTo>
                    <a:pt x="1584" y="4191"/>
                    <a:pt x="1715" y="4072"/>
                    <a:pt x="1870" y="4072"/>
                  </a:cubicBezTo>
                  <a:lnTo>
                    <a:pt x="2108" y="4072"/>
                  </a:lnTo>
                  <a:cubicBezTo>
                    <a:pt x="2394" y="4072"/>
                    <a:pt x="2632" y="3834"/>
                    <a:pt x="2632" y="3548"/>
                  </a:cubicBezTo>
                  <a:lnTo>
                    <a:pt x="2632" y="3179"/>
                  </a:lnTo>
                  <a:close/>
                  <a:moveTo>
                    <a:pt x="2013" y="5108"/>
                  </a:moveTo>
                  <a:cubicBezTo>
                    <a:pt x="2073" y="5394"/>
                    <a:pt x="2180" y="5656"/>
                    <a:pt x="2335" y="5894"/>
                  </a:cubicBezTo>
                  <a:lnTo>
                    <a:pt x="2335" y="7108"/>
                  </a:lnTo>
                  <a:cubicBezTo>
                    <a:pt x="2335" y="7251"/>
                    <a:pt x="2346" y="7382"/>
                    <a:pt x="2370" y="7537"/>
                  </a:cubicBezTo>
                  <a:lnTo>
                    <a:pt x="1215" y="7846"/>
                  </a:lnTo>
                  <a:cubicBezTo>
                    <a:pt x="1168" y="7727"/>
                    <a:pt x="1120" y="7477"/>
                    <a:pt x="1346" y="7180"/>
                  </a:cubicBezTo>
                  <a:cubicBezTo>
                    <a:pt x="1596" y="6822"/>
                    <a:pt x="1620" y="6584"/>
                    <a:pt x="1620" y="6239"/>
                  </a:cubicBezTo>
                  <a:lnTo>
                    <a:pt x="1620" y="6156"/>
                  </a:lnTo>
                  <a:cubicBezTo>
                    <a:pt x="1632" y="5763"/>
                    <a:pt x="1715" y="5608"/>
                    <a:pt x="1834" y="5429"/>
                  </a:cubicBezTo>
                  <a:cubicBezTo>
                    <a:pt x="1894" y="5346"/>
                    <a:pt x="1954" y="5239"/>
                    <a:pt x="2013" y="5108"/>
                  </a:cubicBezTo>
                  <a:close/>
                  <a:moveTo>
                    <a:pt x="6871" y="5084"/>
                  </a:moveTo>
                  <a:cubicBezTo>
                    <a:pt x="6918" y="5215"/>
                    <a:pt x="6990" y="5322"/>
                    <a:pt x="7049" y="5406"/>
                  </a:cubicBezTo>
                  <a:cubicBezTo>
                    <a:pt x="7168" y="5584"/>
                    <a:pt x="7252" y="5751"/>
                    <a:pt x="7276" y="6120"/>
                  </a:cubicBezTo>
                  <a:lnTo>
                    <a:pt x="7276" y="6215"/>
                  </a:lnTo>
                  <a:cubicBezTo>
                    <a:pt x="7276" y="6549"/>
                    <a:pt x="7288" y="6787"/>
                    <a:pt x="7538" y="7144"/>
                  </a:cubicBezTo>
                  <a:cubicBezTo>
                    <a:pt x="7728" y="7477"/>
                    <a:pt x="7704" y="7727"/>
                    <a:pt x="7657" y="7846"/>
                  </a:cubicBezTo>
                  <a:lnTo>
                    <a:pt x="6514" y="7501"/>
                  </a:lnTo>
                  <a:cubicBezTo>
                    <a:pt x="6537" y="7370"/>
                    <a:pt x="6561" y="7227"/>
                    <a:pt x="6561" y="7072"/>
                  </a:cubicBezTo>
                  <a:lnTo>
                    <a:pt x="6561" y="5870"/>
                  </a:lnTo>
                  <a:cubicBezTo>
                    <a:pt x="6704" y="5632"/>
                    <a:pt x="6811" y="5358"/>
                    <a:pt x="6871" y="5084"/>
                  </a:cubicBezTo>
                  <a:close/>
                  <a:moveTo>
                    <a:pt x="5847" y="5120"/>
                  </a:moveTo>
                  <a:cubicBezTo>
                    <a:pt x="6049" y="5120"/>
                    <a:pt x="6216" y="5286"/>
                    <a:pt x="6216" y="5501"/>
                  </a:cubicBezTo>
                  <a:lnTo>
                    <a:pt x="6216" y="7084"/>
                  </a:lnTo>
                  <a:cubicBezTo>
                    <a:pt x="6216" y="8073"/>
                    <a:pt x="5406" y="8870"/>
                    <a:pt x="4430" y="8870"/>
                  </a:cubicBezTo>
                  <a:cubicBezTo>
                    <a:pt x="3442" y="8870"/>
                    <a:pt x="2644" y="8073"/>
                    <a:pt x="2644" y="7084"/>
                  </a:cubicBezTo>
                  <a:lnTo>
                    <a:pt x="2644" y="5501"/>
                  </a:lnTo>
                  <a:cubicBezTo>
                    <a:pt x="2644" y="5286"/>
                    <a:pt x="2811" y="5120"/>
                    <a:pt x="3013" y="5120"/>
                  </a:cubicBezTo>
                  <a:close/>
                  <a:moveTo>
                    <a:pt x="4442" y="0"/>
                  </a:moveTo>
                  <a:cubicBezTo>
                    <a:pt x="3823" y="0"/>
                    <a:pt x="3239" y="179"/>
                    <a:pt x="2763" y="536"/>
                  </a:cubicBezTo>
                  <a:cubicBezTo>
                    <a:pt x="2335" y="857"/>
                    <a:pt x="2001" y="1286"/>
                    <a:pt x="1858" y="1774"/>
                  </a:cubicBezTo>
                  <a:lnTo>
                    <a:pt x="1799" y="1774"/>
                  </a:lnTo>
                  <a:cubicBezTo>
                    <a:pt x="1596" y="1774"/>
                    <a:pt x="1453" y="1929"/>
                    <a:pt x="1453" y="2119"/>
                  </a:cubicBezTo>
                  <a:lnTo>
                    <a:pt x="1453" y="2834"/>
                  </a:lnTo>
                  <a:cubicBezTo>
                    <a:pt x="1453" y="2965"/>
                    <a:pt x="1525" y="3072"/>
                    <a:pt x="1632" y="3131"/>
                  </a:cubicBezTo>
                  <a:lnTo>
                    <a:pt x="1632" y="3786"/>
                  </a:lnTo>
                  <a:cubicBezTo>
                    <a:pt x="1442" y="3870"/>
                    <a:pt x="1299" y="4048"/>
                    <a:pt x="1275" y="4263"/>
                  </a:cubicBezTo>
                  <a:cubicBezTo>
                    <a:pt x="1263" y="4441"/>
                    <a:pt x="1323" y="4608"/>
                    <a:pt x="1418" y="4739"/>
                  </a:cubicBezTo>
                  <a:cubicBezTo>
                    <a:pt x="1501" y="4822"/>
                    <a:pt x="1620" y="4882"/>
                    <a:pt x="1715" y="4917"/>
                  </a:cubicBezTo>
                  <a:cubicBezTo>
                    <a:pt x="1680" y="5036"/>
                    <a:pt x="1632" y="5120"/>
                    <a:pt x="1561" y="5227"/>
                  </a:cubicBezTo>
                  <a:cubicBezTo>
                    <a:pt x="1442" y="5417"/>
                    <a:pt x="1287" y="5644"/>
                    <a:pt x="1275" y="6120"/>
                  </a:cubicBezTo>
                  <a:lnTo>
                    <a:pt x="1275" y="6227"/>
                  </a:lnTo>
                  <a:cubicBezTo>
                    <a:pt x="1275" y="6549"/>
                    <a:pt x="1263" y="6715"/>
                    <a:pt x="1061" y="6989"/>
                  </a:cubicBezTo>
                  <a:cubicBezTo>
                    <a:pt x="763" y="7382"/>
                    <a:pt x="811" y="7739"/>
                    <a:pt x="882" y="7942"/>
                  </a:cubicBezTo>
                  <a:cubicBezTo>
                    <a:pt x="370" y="8084"/>
                    <a:pt x="1" y="8573"/>
                    <a:pt x="1" y="9108"/>
                  </a:cubicBezTo>
                  <a:lnTo>
                    <a:pt x="1" y="11144"/>
                  </a:lnTo>
                  <a:cubicBezTo>
                    <a:pt x="1" y="11240"/>
                    <a:pt x="84" y="11311"/>
                    <a:pt x="168" y="11311"/>
                  </a:cubicBezTo>
                  <a:cubicBezTo>
                    <a:pt x="263" y="11311"/>
                    <a:pt x="334" y="11240"/>
                    <a:pt x="334" y="11144"/>
                  </a:cubicBezTo>
                  <a:lnTo>
                    <a:pt x="334" y="9108"/>
                  </a:lnTo>
                  <a:cubicBezTo>
                    <a:pt x="334" y="8704"/>
                    <a:pt x="596" y="8370"/>
                    <a:pt x="977" y="8251"/>
                  </a:cubicBezTo>
                  <a:lnTo>
                    <a:pt x="1596" y="8073"/>
                  </a:lnTo>
                  <a:lnTo>
                    <a:pt x="1596" y="11144"/>
                  </a:lnTo>
                  <a:cubicBezTo>
                    <a:pt x="1596" y="11240"/>
                    <a:pt x="1668" y="11311"/>
                    <a:pt x="1763" y="11311"/>
                  </a:cubicBezTo>
                  <a:cubicBezTo>
                    <a:pt x="1846" y="11311"/>
                    <a:pt x="1930" y="11240"/>
                    <a:pt x="1930" y="11144"/>
                  </a:cubicBezTo>
                  <a:lnTo>
                    <a:pt x="1930" y="7977"/>
                  </a:lnTo>
                  <a:lnTo>
                    <a:pt x="2430" y="7834"/>
                  </a:lnTo>
                  <a:cubicBezTo>
                    <a:pt x="2442" y="7858"/>
                    <a:pt x="2466" y="7906"/>
                    <a:pt x="2477" y="7930"/>
                  </a:cubicBezTo>
                  <a:lnTo>
                    <a:pt x="2477" y="11168"/>
                  </a:lnTo>
                  <a:cubicBezTo>
                    <a:pt x="2477" y="11251"/>
                    <a:pt x="2549" y="11323"/>
                    <a:pt x="2644" y="11323"/>
                  </a:cubicBezTo>
                  <a:cubicBezTo>
                    <a:pt x="2727" y="11323"/>
                    <a:pt x="2799" y="11251"/>
                    <a:pt x="2799" y="11168"/>
                  </a:cubicBezTo>
                  <a:lnTo>
                    <a:pt x="2799" y="8465"/>
                  </a:lnTo>
                  <a:cubicBezTo>
                    <a:pt x="3192" y="8918"/>
                    <a:pt x="3775" y="9216"/>
                    <a:pt x="4406" y="9216"/>
                  </a:cubicBezTo>
                  <a:cubicBezTo>
                    <a:pt x="5323" y="9216"/>
                    <a:pt x="6097" y="8644"/>
                    <a:pt x="6395" y="7846"/>
                  </a:cubicBezTo>
                  <a:lnTo>
                    <a:pt x="6895" y="7989"/>
                  </a:lnTo>
                  <a:lnTo>
                    <a:pt x="6895" y="11168"/>
                  </a:lnTo>
                  <a:cubicBezTo>
                    <a:pt x="6895" y="11251"/>
                    <a:pt x="6966" y="11323"/>
                    <a:pt x="7061" y="11323"/>
                  </a:cubicBezTo>
                  <a:cubicBezTo>
                    <a:pt x="7145" y="11323"/>
                    <a:pt x="7228" y="11251"/>
                    <a:pt x="7228" y="11168"/>
                  </a:cubicBezTo>
                  <a:lnTo>
                    <a:pt x="7228" y="8084"/>
                  </a:lnTo>
                  <a:lnTo>
                    <a:pt x="7847" y="8263"/>
                  </a:lnTo>
                  <a:cubicBezTo>
                    <a:pt x="8216" y="8370"/>
                    <a:pt x="8490" y="8727"/>
                    <a:pt x="8490" y="9120"/>
                  </a:cubicBezTo>
                  <a:lnTo>
                    <a:pt x="8490" y="11168"/>
                  </a:lnTo>
                  <a:cubicBezTo>
                    <a:pt x="8490" y="11251"/>
                    <a:pt x="8562" y="11323"/>
                    <a:pt x="8657" y="11323"/>
                  </a:cubicBezTo>
                  <a:cubicBezTo>
                    <a:pt x="8740" y="11323"/>
                    <a:pt x="8812" y="11251"/>
                    <a:pt x="8812" y="11168"/>
                  </a:cubicBezTo>
                  <a:lnTo>
                    <a:pt x="8812" y="9120"/>
                  </a:lnTo>
                  <a:cubicBezTo>
                    <a:pt x="8847" y="8573"/>
                    <a:pt x="8490" y="8096"/>
                    <a:pt x="7966" y="7953"/>
                  </a:cubicBezTo>
                  <a:cubicBezTo>
                    <a:pt x="8026" y="7763"/>
                    <a:pt x="8085" y="7406"/>
                    <a:pt x="7788" y="7001"/>
                  </a:cubicBezTo>
                  <a:cubicBezTo>
                    <a:pt x="7597" y="6727"/>
                    <a:pt x="7597" y="6572"/>
                    <a:pt x="7585" y="6239"/>
                  </a:cubicBezTo>
                  <a:lnTo>
                    <a:pt x="7585" y="6132"/>
                  </a:lnTo>
                  <a:cubicBezTo>
                    <a:pt x="7573" y="5656"/>
                    <a:pt x="7430" y="5441"/>
                    <a:pt x="7299" y="5239"/>
                  </a:cubicBezTo>
                  <a:cubicBezTo>
                    <a:pt x="7240" y="5144"/>
                    <a:pt x="7180" y="5048"/>
                    <a:pt x="7133" y="4929"/>
                  </a:cubicBezTo>
                  <a:cubicBezTo>
                    <a:pt x="7371" y="4870"/>
                    <a:pt x="7573" y="4667"/>
                    <a:pt x="7597" y="4405"/>
                  </a:cubicBezTo>
                  <a:cubicBezTo>
                    <a:pt x="7609" y="4227"/>
                    <a:pt x="7549" y="4072"/>
                    <a:pt x="7442" y="3929"/>
                  </a:cubicBezTo>
                  <a:cubicBezTo>
                    <a:pt x="7383" y="3870"/>
                    <a:pt x="7323" y="3834"/>
                    <a:pt x="7252" y="3786"/>
                  </a:cubicBezTo>
                  <a:lnTo>
                    <a:pt x="7252" y="3131"/>
                  </a:lnTo>
                  <a:cubicBezTo>
                    <a:pt x="7359" y="3072"/>
                    <a:pt x="7430" y="2965"/>
                    <a:pt x="7430" y="2834"/>
                  </a:cubicBezTo>
                  <a:lnTo>
                    <a:pt x="7430" y="2119"/>
                  </a:lnTo>
                  <a:cubicBezTo>
                    <a:pt x="7430" y="1929"/>
                    <a:pt x="7288" y="1774"/>
                    <a:pt x="7097" y="1774"/>
                  </a:cubicBezTo>
                  <a:lnTo>
                    <a:pt x="7026" y="1774"/>
                  </a:lnTo>
                  <a:cubicBezTo>
                    <a:pt x="6871" y="1298"/>
                    <a:pt x="6549" y="857"/>
                    <a:pt x="6121" y="536"/>
                  </a:cubicBezTo>
                  <a:cubicBezTo>
                    <a:pt x="5644" y="179"/>
                    <a:pt x="5049" y="0"/>
                    <a:pt x="4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4" name="Google Shape;12004;p61"/>
            <p:cNvSpPr/>
            <p:nvPr/>
          </p:nvSpPr>
          <p:spPr>
            <a:xfrm>
              <a:off x="6888933" y="2249319"/>
              <a:ext cx="10201" cy="78091"/>
            </a:xfrm>
            <a:custGeom>
              <a:avLst/>
              <a:gdLst/>
              <a:ahLst/>
              <a:cxnLst/>
              <a:rect l="l" t="t" r="r" b="b"/>
              <a:pathLst>
                <a:path w="322" h="2465" extrusionOk="0">
                  <a:moveTo>
                    <a:pt x="167" y="0"/>
                  </a:moveTo>
                  <a:cubicBezTo>
                    <a:pt x="72" y="0"/>
                    <a:pt x="0" y="84"/>
                    <a:pt x="0" y="167"/>
                  </a:cubicBezTo>
                  <a:lnTo>
                    <a:pt x="0" y="2298"/>
                  </a:lnTo>
                  <a:cubicBezTo>
                    <a:pt x="0" y="2381"/>
                    <a:pt x="72" y="2465"/>
                    <a:pt x="167" y="2465"/>
                  </a:cubicBezTo>
                  <a:cubicBezTo>
                    <a:pt x="250" y="2465"/>
                    <a:pt x="322" y="2381"/>
                    <a:pt x="322" y="2298"/>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5" name="Google Shape;12005;p61"/>
            <p:cNvSpPr/>
            <p:nvPr/>
          </p:nvSpPr>
          <p:spPr>
            <a:xfrm>
              <a:off x="6793133" y="2075364"/>
              <a:ext cx="22651" cy="13306"/>
            </a:xfrm>
            <a:custGeom>
              <a:avLst/>
              <a:gdLst/>
              <a:ahLst/>
              <a:cxnLst/>
              <a:rect l="l" t="t" r="r" b="b"/>
              <a:pathLst>
                <a:path w="715" h="420" extrusionOk="0">
                  <a:moveTo>
                    <a:pt x="517" y="1"/>
                  </a:moveTo>
                  <a:cubicBezTo>
                    <a:pt x="508" y="1"/>
                    <a:pt x="498" y="1"/>
                    <a:pt x="488" y="2"/>
                  </a:cubicBezTo>
                  <a:lnTo>
                    <a:pt x="131" y="98"/>
                  </a:lnTo>
                  <a:cubicBezTo>
                    <a:pt x="48" y="122"/>
                    <a:pt x="0" y="217"/>
                    <a:pt x="12" y="300"/>
                  </a:cubicBezTo>
                  <a:cubicBezTo>
                    <a:pt x="36" y="372"/>
                    <a:pt x="107" y="419"/>
                    <a:pt x="179" y="419"/>
                  </a:cubicBezTo>
                  <a:lnTo>
                    <a:pt x="226" y="419"/>
                  </a:lnTo>
                  <a:lnTo>
                    <a:pt x="584" y="336"/>
                  </a:lnTo>
                  <a:cubicBezTo>
                    <a:pt x="667" y="300"/>
                    <a:pt x="715" y="217"/>
                    <a:pt x="703" y="122"/>
                  </a:cubicBezTo>
                  <a:cubicBezTo>
                    <a:pt x="671" y="47"/>
                    <a:pt x="600" y="1"/>
                    <a:pt x="5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6" name="Google Shape;12006;p61"/>
            <p:cNvSpPr/>
            <p:nvPr/>
          </p:nvSpPr>
          <p:spPr>
            <a:xfrm>
              <a:off x="6859502" y="2075649"/>
              <a:ext cx="23792" cy="13401"/>
            </a:xfrm>
            <a:custGeom>
              <a:avLst/>
              <a:gdLst/>
              <a:ahLst/>
              <a:cxnLst/>
              <a:rect l="l" t="t" r="r" b="b"/>
              <a:pathLst>
                <a:path w="751" h="423" extrusionOk="0">
                  <a:moveTo>
                    <a:pt x="201" y="0"/>
                  </a:moveTo>
                  <a:cubicBezTo>
                    <a:pt x="128" y="0"/>
                    <a:pt x="57" y="54"/>
                    <a:pt x="36" y="124"/>
                  </a:cubicBezTo>
                  <a:cubicBezTo>
                    <a:pt x="1" y="220"/>
                    <a:pt x="60" y="303"/>
                    <a:pt x="155" y="339"/>
                  </a:cubicBezTo>
                  <a:lnTo>
                    <a:pt x="513" y="422"/>
                  </a:lnTo>
                  <a:lnTo>
                    <a:pt x="548" y="422"/>
                  </a:lnTo>
                  <a:cubicBezTo>
                    <a:pt x="632" y="422"/>
                    <a:pt x="691" y="386"/>
                    <a:pt x="715" y="303"/>
                  </a:cubicBezTo>
                  <a:cubicBezTo>
                    <a:pt x="751" y="220"/>
                    <a:pt x="691" y="124"/>
                    <a:pt x="596" y="101"/>
                  </a:cubicBezTo>
                  <a:lnTo>
                    <a:pt x="239" y="5"/>
                  </a:lnTo>
                  <a:cubicBezTo>
                    <a:pt x="226" y="2"/>
                    <a:pt x="213" y="0"/>
                    <a:pt x="2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07" name="Google Shape;12007;p61"/>
          <p:cNvGrpSpPr/>
          <p:nvPr/>
        </p:nvGrpSpPr>
        <p:grpSpPr>
          <a:xfrm>
            <a:off x="6248839" y="1967937"/>
            <a:ext cx="280273" cy="358744"/>
            <a:chOff x="6248839" y="1967937"/>
            <a:chExt cx="280273" cy="358744"/>
          </a:xfrm>
        </p:grpSpPr>
        <p:sp>
          <p:nvSpPr>
            <p:cNvPr id="12008" name="Google Shape;12008;p61"/>
            <p:cNvSpPr/>
            <p:nvPr/>
          </p:nvSpPr>
          <p:spPr>
            <a:xfrm>
              <a:off x="6383859" y="2316449"/>
              <a:ext cx="10613" cy="10233"/>
            </a:xfrm>
            <a:custGeom>
              <a:avLst/>
              <a:gdLst/>
              <a:ahLst/>
              <a:cxnLst/>
              <a:rect l="l" t="t" r="r" b="b"/>
              <a:pathLst>
                <a:path w="335" h="323" extrusionOk="0">
                  <a:moveTo>
                    <a:pt x="168" y="1"/>
                  </a:moveTo>
                  <a:cubicBezTo>
                    <a:pt x="72" y="1"/>
                    <a:pt x="1" y="72"/>
                    <a:pt x="1" y="167"/>
                  </a:cubicBezTo>
                  <a:cubicBezTo>
                    <a:pt x="1" y="251"/>
                    <a:pt x="72" y="322"/>
                    <a:pt x="168" y="322"/>
                  </a:cubicBezTo>
                  <a:cubicBezTo>
                    <a:pt x="251" y="322"/>
                    <a:pt x="334" y="251"/>
                    <a:pt x="334" y="167"/>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9" name="Google Shape;12009;p61"/>
            <p:cNvSpPr/>
            <p:nvPr/>
          </p:nvSpPr>
          <p:spPr>
            <a:xfrm>
              <a:off x="6248839" y="1967937"/>
              <a:ext cx="280273" cy="358364"/>
            </a:xfrm>
            <a:custGeom>
              <a:avLst/>
              <a:gdLst/>
              <a:ahLst/>
              <a:cxnLst/>
              <a:rect l="l" t="t" r="r" b="b"/>
              <a:pathLst>
                <a:path w="8847" h="11312" extrusionOk="0">
                  <a:moveTo>
                    <a:pt x="4001" y="357"/>
                  </a:moveTo>
                  <a:cubicBezTo>
                    <a:pt x="4156" y="357"/>
                    <a:pt x="4311" y="476"/>
                    <a:pt x="4358" y="643"/>
                  </a:cubicBezTo>
                  <a:lnTo>
                    <a:pt x="4430" y="953"/>
                  </a:lnTo>
                  <a:cubicBezTo>
                    <a:pt x="4442" y="1024"/>
                    <a:pt x="4513" y="1072"/>
                    <a:pt x="4596" y="1072"/>
                  </a:cubicBezTo>
                  <a:lnTo>
                    <a:pt x="4632" y="1072"/>
                  </a:lnTo>
                  <a:cubicBezTo>
                    <a:pt x="4727" y="1060"/>
                    <a:pt x="4787" y="953"/>
                    <a:pt x="4751" y="881"/>
                  </a:cubicBezTo>
                  <a:lnTo>
                    <a:pt x="4680" y="560"/>
                  </a:lnTo>
                  <a:cubicBezTo>
                    <a:pt x="4668" y="488"/>
                    <a:pt x="4632" y="429"/>
                    <a:pt x="4596" y="369"/>
                  </a:cubicBezTo>
                  <a:lnTo>
                    <a:pt x="5549" y="369"/>
                  </a:lnTo>
                  <a:cubicBezTo>
                    <a:pt x="5942" y="369"/>
                    <a:pt x="6299" y="643"/>
                    <a:pt x="6406" y="1036"/>
                  </a:cubicBezTo>
                  <a:lnTo>
                    <a:pt x="6656" y="1989"/>
                  </a:lnTo>
                  <a:lnTo>
                    <a:pt x="6001" y="1989"/>
                  </a:lnTo>
                  <a:cubicBezTo>
                    <a:pt x="5918" y="1989"/>
                    <a:pt x="5846" y="2072"/>
                    <a:pt x="5846" y="2155"/>
                  </a:cubicBezTo>
                  <a:cubicBezTo>
                    <a:pt x="5846" y="2250"/>
                    <a:pt x="5918" y="2322"/>
                    <a:pt x="6001" y="2322"/>
                  </a:cubicBezTo>
                  <a:lnTo>
                    <a:pt x="6751" y="2322"/>
                  </a:lnTo>
                  <a:lnTo>
                    <a:pt x="6858" y="2691"/>
                  </a:lnTo>
                  <a:lnTo>
                    <a:pt x="1977" y="2691"/>
                  </a:lnTo>
                  <a:lnTo>
                    <a:pt x="2096" y="2310"/>
                  </a:lnTo>
                  <a:lnTo>
                    <a:pt x="5311" y="2310"/>
                  </a:lnTo>
                  <a:cubicBezTo>
                    <a:pt x="5394" y="2310"/>
                    <a:pt x="5465" y="2239"/>
                    <a:pt x="5465" y="2143"/>
                  </a:cubicBezTo>
                  <a:cubicBezTo>
                    <a:pt x="5465" y="2048"/>
                    <a:pt x="5394" y="1977"/>
                    <a:pt x="5311" y="1977"/>
                  </a:cubicBezTo>
                  <a:lnTo>
                    <a:pt x="2167" y="1977"/>
                  </a:lnTo>
                  <a:lnTo>
                    <a:pt x="2417" y="1024"/>
                  </a:lnTo>
                  <a:cubicBezTo>
                    <a:pt x="2525" y="643"/>
                    <a:pt x="2882" y="357"/>
                    <a:pt x="3287" y="357"/>
                  </a:cubicBezTo>
                  <a:close/>
                  <a:moveTo>
                    <a:pt x="2310" y="3024"/>
                  </a:moveTo>
                  <a:lnTo>
                    <a:pt x="2310" y="3572"/>
                  </a:lnTo>
                  <a:lnTo>
                    <a:pt x="1941" y="3572"/>
                  </a:lnTo>
                  <a:lnTo>
                    <a:pt x="1941" y="3024"/>
                  </a:lnTo>
                  <a:close/>
                  <a:moveTo>
                    <a:pt x="6918" y="3024"/>
                  </a:moveTo>
                  <a:lnTo>
                    <a:pt x="6918" y="3572"/>
                  </a:lnTo>
                  <a:lnTo>
                    <a:pt x="6537" y="3572"/>
                  </a:lnTo>
                  <a:lnTo>
                    <a:pt x="6537" y="3024"/>
                  </a:lnTo>
                  <a:close/>
                  <a:moveTo>
                    <a:pt x="6204" y="3024"/>
                  </a:moveTo>
                  <a:lnTo>
                    <a:pt x="6204" y="3572"/>
                  </a:lnTo>
                  <a:lnTo>
                    <a:pt x="6168" y="3572"/>
                  </a:lnTo>
                  <a:lnTo>
                    <a:pt x="6168" y="3560"/>
                  </a:lnTo>
                  <a:cubicBezTo>
                    <a:pt x="6180" y="3465"/>
                    <a:pt x="6108" y="3393"/>
                    <a:pt x="6025" y="3393"/>
                  </a:cubicBezTo>
                  <a:lnTo>
                    <a:pt x="4787" y="3393"/>
                  </a:lnTo>
                  <a:cubicBezTo>
                    <a:pt x="4692" y="3393"/>
                    <a:pt x="4620" y="3465"/>
                    <a:pt x="4620" y="3560"/>
                  </a:cubicBezTo>
                  <a:lnTo>
                    <a:pt x="4620" y="3608"/>
                  </a:lnTo>
                  <a:cubicBezTo>
                    <a:pt x="4561" y="3572"/>
                    <a:pt x="4501" y="3572"/>
                    <a:pt x="4430" y="3572"/>
                  </a:cubicBezTo>
                  <a:cubicBezTo>
                    <a:pt x="4358" y="3572"/>
                    <a:pt x="4299" y="3584"/>
                    <a:pt x="4239" y="3608"/>
                  </a:cubicBezTo>
                  <a:lnTo>
                    <a:pt x="4239" y="3560"/>
                  </a:lnTo>
                  <a:cubicBezTo>
                    <a:pt x="4239" y="3465"/>
                    <a:pt x="4156" y="3393"/>
                    <a:pt x="4072" y="3393"/>
                  </a:cubicBezTo>
                  <a:lnTo>
                    <a:pt x="2834" y="3393"/>
                  </a:lnTo>
                  <a:cubicBezTo>
                    <a:pt x="2751" y="3393"/>
                    <a:pt x="2667" y="3465"/>
                    <a:pt x="2667" y="3560"/>
                  </a:cubicBezTo>
                  <a:lnTo>
                    <a:pt x="2667" y="3572"/>
                  </a:lnTo>
                  <a:lnTo>
                    <a:pt x="2644" y="3572"/>
                  </a:lnTo>
                  <a:lnTo>
                    <a:pt x="2644" y="3024"/>
                  </a:lnTo>
                  <a:close/>
                  <a:moveTo>
                    <a:pt x="3894" y="3727"/>
                  </a:moveTo>
                  <a:lnTo>
                    <a:pt x="3894" y="4096"/>
                  </a:lnTo>
                  <a:cubicBezTo>
                    <a:pt x="3894" y="4203"/>
                    <a:pt x="3799" y="4286"/>
                    <a:pt x="3703" y="4286"/>
                  </a:cubicBezTo>
                  <a:lnTo>
                    <a:pt x="3168" y="4286"/>
                  </a:lnTo>
                  <a:cubicBezTo>
                    <a:pt x="3060" y="4286"/>
                    <a:pt x="2965" y="4203"/>
                    <a:pt x="2965" y="4096"/>
                  </a:cubicBezTo>
                  <a:lnTo>
                    <a:pt x="2965" y="3727"/>
                  </a:lnTo>
                  <a:lnTo>
                    <a:pt x="3287" y="3727"/>
                  </a:lnTo>
                  <a:lnTo>
                    <a:pt x="3287" y="3739"/>
                  </a:lnTo>
                  <a:lnTo>
                    <a:pt x="3287" y="3917"/>
                  </a:lnTo>
                  <a:cubicBezTo>
                    <a:pt x="3287" y="4001"/>
                    <a:pt x="3358" y="4084"/>
                    <a:pt x="3441" y="4084"/>
                  </a:cubicBezTo>
                  <a:cubicBezTo>
                    <a:pt x="3537" y="4084"/>
                    <a:pt x="3608" y="4001"/>
                    <a:pt x="3608" y="3917"/>
                  </a:cubicBezTo>
                  <a:lnTo>
                    <a:pt x="3608" y="3739"/>
                  </a:lnTo>
                  <a:lnTo>
                    <a:pt x="3608" y="3727"/>
                  </a:lnTo>
                  <a:close/>
                  <a:moveTo>
                    <a:pt x="5858" y="3727"/>
                  </a:moveTo>
                  <a:lnTo>
                    <a:pt x="5858" y="4096"/>
                  </a:lnTo>
                  <a:cubicBezTo>
                    <a:pt x="5858" y="4203"/>
                    <a:pt x="5763" y="4286"/>
                    <a:pt x="5668" y="4286"/>
                  </a:cubicBezTo>
                  <a:lnTo>
                    <a:pt x="5132" y="4286"/>
                  </a:lnTo>
                  <a:cubicBezTo>
                    <a:pt x="5025" y="4286"/>
                    <a:pt x="4930" y="4203"/>
                    <a:pt x="4930" y="4096"/>
                  </a:cubicBezTo>
                  <a:lnTo>
                    <a:pt x="4930" y="3727"/>
                  </a:lnTo>
                  <a:lnTo>
                    <a:pt x="5215" y="3727"/>
                  </a:lnTo>
                  <a:lnTo>
                    <a:pt x="5215" y="3739"/>
                  </a:lnTo>
                  <a:lnTo>
                    <a:pt x="5215" y="3917"/>
                  </a:lnTo>
                  <a:cubicBezTo>
                    <a:pt x="5227" y="4001"/>
                    <a:pt x="5311" y="4084"/>
                    <a:pt x="5406" y="4084"/>
                  </a:cubicBezTo>
                  <a:cubicBezTo>
                    <a:pt x="5501" y="4084"/>
                    <a:pt x="5573" y="4001"/>
                    <a:pt x="5573" y="3917"/>
                  </a:cubicBezTo>
                  <a:lnTo>
                    <a:pt x="5573" y="3739"/>
                  </a:lnTo>
                  <a:lnTo>
                    <a:pt x="5573" y="3727"/>
                  </a:lnTo>
                  <a:close/>
                  <a:moveTo>
                    <a:pt x="7013" y="3917"/>
                  </a:moveTo>
                  <a:cubicBezTo>
                    <a:pt x="7085" y="3917"/>
                    <a:pt x="7168" y="3941"/>
                    <a:pt x="7228" y="4001"/>
                  </a:cubicBezTo>
                  <a:cubicBezTo>
                    <a:pt x="7287" y="4060"/>
                    <a:pt x="7299" y="4144"/>
                    <a:pt x="7299" y="4215"/>
                  </a:cubicBezTo>
                  <a:cubicBezTo>
                    <a:pt x="7287" y="4346"/>
                    <a:pt x="7144" y="4465"/>
                    <a:pt x="7001" y="4465"/>
                  </a:cubicBezTo>
                  <a:lnTo>
                    <a:pt x="6930" y="4465"/>
                  </a:lnTo>
                  <a:lnTo>
                    <a:pt x="6930" y="4453"/>
                  </a:lnTo>
                  <a:cubicBezTo>
                    <a:pt x="6930" y="4358"/>
                    <a:pt x="6847" y="4286"/>
                    <a:pt x="6763" y="4286"/>
                  </a:cubicBezTo>
                  <a:cubicBezTo>
                    <a:pt x="6680" y="4286"/>
                    <a:pt x="6597" y="4358"/>
                    <a:pt x="6597" y="4453"/>
                  </a:cubicBezTo>
                  <a:lnTo>
                    <a:pt x="6597" y="4536"/>
                  </a:lnTo>
                  <a:cubicBezTo>
                    <a:pt x="6156" y="4858"/>
                    <a:pt x="5608" y="4941"/>
                    <a:pt x="5418" y="4953"/>
                  </a:cubicBezTo>
                  <a:cubicBezTo>
                    <a:pt x="5311" y="4870"/>
                    <a:pt x="5156" y="4810"/>
                    <a:pt x="4989" y="4810"/>
                  </a:cubicBezTo>
                  <a:lnTo>
                    <a:pt x="3930" y="4810"/>
                  </a:lnTo>
                  <a:cubicBezTo>
                    <a:pt x="3775" y="4810"/>
                    <a:pt x="3620" y="4870"/>
                    <a:pt x="3501" y="4953"/>
                  </a:cubicBezTo>
                  <a:cubicBezTo>
                    <a:pt x="3334" y="4941"/>
                    <a:pt x="2775" y="4858"/>
                    <a:pt x="2322" y="4536"/>
                  </a:cubicBezTo>
                  <a:lnTo>
                    <a:pt x="2322" y="4453"/>
                  </a:lnTo>
                  <a:cubicBezTo>
                    <a:pt x="2298" y="4358"/>
                    <a:pt x="2227" y="4286"/>
                    <a:pt x="2132" y="4286"/>
                  </a:cubicBezTo>
                  <a:cubicBezTo>
                    <a:pt x="2048" y="4286"/>
                    <a:pt x="1977" y="4358"/>
                    <a:pt x="1977" y="4453"/>
                  </a:cubicBezTo>
                  <a:lnTo>
                    <a:pt x="1977" y="4465"/>
                  </a:lnTo>
                  <a:lnTo>
                    <a:pt x="1870" y="4465"/>
                  </a:lnTo>
                  <a:cubicBezTo>
                    <a:pt x="1798" y="4465"/>
                    <a:pt x="1715" y="4441"/>
                    <a:pt x="1655" y="4382"/>
                  </a:cubicBezTo>
                  <a:cubicBezTo>
                    <a:pt x="1596" y="4322"/>
                    <a:pt x="1584" y="4239"/>
                    <a:pt x="1584" y="4167"/>
                  </a:cubicBezTo>
                  <a:cubicBezTo>
                    <a:pt x="1596" y="4036"/>
                    <a:pt x="1739" y="3917"/>
                    <a:pt x="1882" y="3917"/>
                  </a:cubicBezTo>
                  <a:lnTo>
                    <a:pt x="2667" y="3917"/>
                  </a:lnTo>
                  <a:lnTo>
                    <a:pt x="2667" y="4108"/>
                  </a:lnTo>
                  <a:cubicBezTo>
                    <a:pt x="2667" y="4394"/>
                    <a:pt x="2906" y="4632"/>
                    <a:pt x="3191" y="4632"/>
                  </a:cubicBezTo>
                  <a:lnTo>
                    <a:pt x="3727" y="4632"/>
                  </a:lnTo>
                  <a:cubicBezTo>
                    <a:pt x="4013" y="4632"/>
                    <a:pt x="4251" y="4394"/>
                    <a:pt x="4251" y="4108"/>
                  </a:cubicBezTo>
                  <a:cubicBezTo>
                    <a:pt x="4251" y="4001"/>
                    <a:pt x="4334" y="3917"/>
                    <a:pt x="4442" y="3917"/>
                  </a:cubicBezTo>
                  <a:cubicBezTo>
                    <a:pt x="4549" y="3917"/>
                    <a:pt x="4632" y="4001"/>
                    <a:pt x="4632" y="4108"/>
                  </a:cubicBezTo>
                  <a:cubicBezTo>
                    <a:pt x="4632" y="4394"/>
                    <a:pt x="4870" y="4632"/>
                    <a:pt x="5156" y="4632"/>
                  </a:cubicBezTo>
                  <a:lnTo>
                    <a:pt x="5692" y="4632"/>
                  </a:lnTo>
                  <a:cubicBezTo>
                    <a:pt x="5977" y="4632"/>
                    <a:pt x="6216" y="4394"/>
                    <a:pt x="6216" y="4108"/>
                  </a:cubicBezTo>
                  <a:lnTo>
                    <a:pt x="6216" y="3917"/>
                  </a:lnTo>
                  <a:close/>
                  <a:moveTo>
                    <a:pt x="4215" y="5132"/>
                  </a:moveTo>
                  <a:cubicBezTo>
                    <a:pt x="4156" y="5251"/>
                    <a:pt x="4037" y="5334"/>
                    <a:pt x="3894" y="5334"/>
                  </a:cubicBezTo>
                  <a:lnTo>
                    <a:pt x="3560" y="5334"/>
                  </a:lnTo>
                  <a:cubicBezTo>
                    <a:pt x="3620" y="5215"/>
                    <a:pt x="3739" y="5132"/>
                    <a:pt x="3894" y="5132"/>
                  </a:cubicBezTo>
                  <a:close/>
                  <a:moveTo>
                    <a:pt x="5006" y="5152"/>
                  </a:moveTo>
                  <a:cubicBezTo>
                    <a:pt x="5123" y="5152"/>
                    <a:pt x="5234" y="5239"/>
                    <a:pt x="5287" y="5346"/>
                  </a:cubicBezTo>
                  <a:lnTo>
                    <a:pt x="4965" y="5346"/>
                  </a:lnTo>
                  <a:cubicBezTo>
                    <a:pt x="4811" y="5346"/>
                    <a:pt x="4692" y="5275"/>
                    <a:pt x="4632" y="5156"/>
                  </a:cubicBezTo>
                  <a:lnTo>
                    <a:pt x="4965" y="5156"/>
                  </a:lnTo>
                  <a:cubicBezTo>
                    <a:pt x="4979" y="5153"/>
                    <a:pt x="4993" y="5152"/>
                    <a:pt x="5006" y="5152"/>
                  </a:cubicBezTo>
                  <a:close/>
                  <a:moveTo>
                    <a:pt x="6549" y="4941"/>
                  </a:moveTo>
                  <a:lnTo>
                    <a:pt x="6549" y="4941"/>
                  </a:lnTo>
                  <a:cubicBezTo>
                    <a:pt x="6406" y="5965"/>
                    <a:pt x="5513" y="6763"/>
                    <a:pt x="4442" y="6763"/>
                  </a:cubicBezTo>
                  <a:cubicBezTo>
                    <a:pt x="3370" y="6763"/>
                    <a:pt x="2477" y="5965"/>
                    <a:pt x="2334" y="4941"/>
                  </a:cubicBezTo>
                  <a:lnTo>
                    <a:pt x="2334" y="4941"/>
                  </a:lnTo>
                  <a:cubicBezTo>
                    <a:pt x="2667" y="5132"/>
                    <a:pt x="3025" y="5227"/>
                    <a:pt x="3251" y="5251"/>
                  </a:cubicBezTo>
                  <a:cubicBezTo>
                    <a:pt x="3227" y="5334"/>
                    <a:pt x="3203" y="5418"/>
                    <a:pt x="3203" y="5489"/>
                  </a:cubicBezTo>
                  <a:cubicBezTo>
                    <a:pt x="3203" y="5584"/>
                    <a:pt x="3287" y="5656"/>
                    <a:pt x="3370" y="5656"/>
                  </a:cubicBezTo>
                  <a:lnTo>
                    <a:pt x="3906" y="5656"/>
                  </a:lnTo>
                  <a:cubicBezTo>
                    <a:pt x="4120" y="5656"/>
                    <a:pt x="4311" y="5572"/>
                    <a:pt x="4442" y="5406"/>
                  </a:cubicBezTo>
                  <a:cubicBezTo>
                    <a:pt x="4572" y="5549"/>
                    <a:pt x="4751" y="5656"/>
                    <a:pt x="4977" y="5656"/>
                  </a:cubicBezTo>
                  <a:lnTo>
                    <a:pt x="5513" y="5656"/>
                  </a:lnTo>
                  <a:cubicBezTo>
                    <a:pt x="5596" y="5656"/>
                    <a:pt x="5680" y="5584"/>
                    <a:pt x="5680" y="5489"/>
                  </a:cubicBezTo>
                  <a:cubicBezTo>
                    <a:pt x="5680" y="5406"/>
                    <a:pt x="5656" y="5334"/>
                    <a:pt x="5632" y="5251"/>
                  </a:cubicBezTo>
                  <a:cubicBezTo>
                    <a:pt x="5858" y="5215"/>
                    <a:pt x="6216" y="5120"/>
                    <a:pt x="6549" y="4941"/>
                  </a:cubicBezTo>
                  <a:close/>
                  <a:moveTo>
                    <a:pt x="5501" y="6846"/>
                  </a:moveTo>
                  <a:lnTo>
                    <a:pt x="5501" y="7203"/>
                  </a:lnTo>
                  <a:lnTo>
                    <a:pt x="4430" y="7799"/>
                  </a:lnTo>
                  <a:lnTo>
                    <a:pt x="3358" y="7203"/>
                  </a:lnTo>
                  <a:lnTo>
                    <a:pt x="3358" y="6846"/>
                  </a:lnTo>
                  <a:cubicBezTo>
                    <a:pt x="3680" y="7013"/>
                    <a:pt x="4037" y="7096"/>
                    <a:pt x="4430" y="7096"/>
                  </a:cubicBezTo>
                  <a:cubicBezTo>
                    <a:pt x="4811" y="7096"/>
                    <a:pt x="5168" y="7013"/>
                    <a:pt x="5501" y="6846"/>
                  </a:cubicBezTo>
                  <a:close/>
                  <a:moveTo>
                    <a:pt x="5954" y="7323"/>
                  </a:moveTo>
                  <a:lnTo>
                    <a:pt x="6168" y="7751"/>
                  </a:lnTo>
                  <a:lnTo>
                    <a:pt x="5311" y="8501"/>
                  </a:lnTo>
                  <a:cubicBezTo>
                    <a:pt x="5263" y="8525"/>
                    <a:pt x="5215" y="8549"/>
                    <a:pt x="5168" y="8549"/>
                  </a:cubicBezTo>
                  <a:cubicBezTo>
                    <a:pt x="5132" y="8549"/>
                    <a:pt x="5073" y="8513"/>
                    <a:pt x="5037" y="8466"/>
                  </a:cubicBezTo>
                  <a:lnTo>
                    <a:pt x="4680" y="8025"/>
                  </a:lnTo>
                  <a:lnTo>
                    <a:pt x="5942" y="7323"/>
                  </a:lnTo>
                  <a:close/>
                  <a:moveTo>
                    <a:pt x="2906" y="7334"/>
                  </a:moveTo>
                  <a:lnTo>
                    <a:pt x="4180" y="8037"/>
                  </a:lnTo>
                  <a:lnTo>
                    <a:pt x="3822" y="8489"/>
                  </a:lnTo>
                  <a:cubicBezTo>
                    <a:pt x="3787" y="8525"/>
                    <a:pt x="3739" y="8549"/>
                    <a:pt x="3680" y="8561"/>
                  </a:cubicBezTo>
                  <a:cubicBezTo>
                    <a:pt x="3644" y="8561"/>
                    <a:pt x="3584" y="8549"/>
                    <a:pt x="3549" y="8513"/>
                  </a:cubicBezTo>
                  <a:lnTo>
                    <a:pt x="2691" y="7775"/>
                  </a:lnTo>
                  <a:lnTo>
                    <a:pt x="2894" y="7334"/>
                  </a:lnTo>
                  <a:close/>
                  <a:moveTo>
                    <a:pt x="3299" y="0"/>
                  </a:moveTo>
                  <a:cubicBezTo>
                    <a:pt x="2739" y="0"/>
                    <a:pt x="2251" y="369"/>
                    <a:pt x="2108" y="905"/>
                  </a:cubicBezTo>
                  <a:lnTo>
                    <a:pt x="1644" y="2655"/>
                  </a:lnTo>
                  <a:lnTo>
                    <a:pt x="1060" y="2655"/>
                  </a:lnTo>
                  <a:cubicBezTo>
                    <a:pt x="977" y="2655"/>
                    <a:pt x="893" y="2727"/>
                    <a:pt x="893" y="2810"/>
                  </a:cubicBezTo>
                  <a:cubicBezTo>
                    <a:pt x="893" y="2905"/>
                    <a:pt x="977" y="2977"/>
                    <a:pt x="1060" y="2977"/>
                  </a:cubicBezTo>
                  <a:lnTo>
                    <a:pt x="1596" y="2977"/>
                  </a:lnTo>
                  <a:lnTo>
                    <a:pt x="1596" y="3584"/>
                  </a:lnTo>
                  <a:cubicBezTo>
                    <a:pt x="1405" y="3679"/>
                    <a:pt x="1274" y="3858"/>
                    <a:pt x="1239" y="4060"/>
                  </a:cubicBezTo>
                  <a:cubicBezTo>
                    <a:pt x="1227" y="4239"/>
                    <a:pt x="1286" y="4406"/>
                    <a:pt x="1394" y="4536"/>
                  </a:cubicBezTo>
                  <a:cubicBezTo>
                    <a:pt x="1513" y="4679"/>
                    <a:pt x="1667" y="4739"/>
                    <a:pt x="1834" y="4739"/>
                  </a:cubicBezTo>
                  <a:lnTo>
                    <a:pt x="1941" y="4739"/>
                  </a:lnTo>
                  <a:cubicBezTo>
                    <a:pt x="1989" y="5513"/>
                    <a:pt x="2406" y="6180"/>
                    <a:pt x="3001" y="6596"/>
                  </a:cubicBezTo>
                  <a:lnTo>
                    <a:pt x="3001" y="6965"/>
                  </a:lnTo>
                  <a:cubicBezTo>
                    <a:pt x="2959" y="6953"/>
                    <a:pt x="2920" y="6947"/>
                    <a:pt x="2885" y="6947"/>
                  </a:cubicBezTo>
                  <a:cubicBezTo>
                    <a:pt x="2849" y="6947"/>
                    <a:pt x="2816" y="6953"/>
                    <a:pt x="2787" y="6965"/>
                  </a:cubicBezTo>
                  <a:cubicBezTo>
                    <a:pt x="2703" y="7001"/>
                    <a:pt x="2620" y="7061"/>
                    <a:pt x="2584" y="7144"/>
                  </a:cubicBezTo>
                  <a:lnTo>
                    <a:pt x="2322" y="7668"/>
                  </a:lnTo>
                  <a:lnTo>
                    <a:pt x="882" y="8096"/>
                  </a:lnTo>
                  <a:cubicBezTo>
                    <a:pt x="358" y="8251"/>
                    <a:pt x="0" y="8739"/>
                    <a:pt x="0" y="9275"/>
                  </a:cubicBezTo>
                  <a:lnTo>
                    <a:pt x="0" y="11133"/>
                  </a:lnTo>
                  <a:cubicBezTo>
                    <a:pt x="0" y="11228"/>
                    <a:pt x="84" y="11299"/>
                    <a:pt x="167" y="11299"/>
                  </a:cubicBezTo>
                  <a:cubicBezTo>
                    <a:pt x="262" y="11299"/>
                    <a:pt x="334" y="11228"/>
                    <a:pt x="334" y="11133"/>
                  </a:cubicBezTo>
                  <a:lnTo>
                    <a:pt x="334" y="9275"/>
                  </a:lnTo>
                  <a:cubicBezTo>
                    <a:pt x="334" y="8870"/>
                    <a:pt x="596" y="8525"/>
                    <a:pt x="977" y="8406"/>
                  </a:cubicBezTo>
                  <a:lnTo>
                    <a:pt x="1596" y="8227"/>
                  </a:lnTo>
                  <a:lnTo>
                    <a:pt x="1596" y="11133"/>
                  </a:lnTo>
                  <a:cubicBezTo>
                    <a:pt x="1596" y="11228"/>
                    <a:pt x="1667" y="11299"/>
                    <a:pt x="1763" y="11299"/>
                  </a:cubicBezTo>
                  <a:cubicBezTo>
                    <a:pt x="1846" y="11299"/>
                    <a:pt x="1929" y="11228"/>
                    <a:pt x="1929" y="11133"/>
                  </a:cubicBezTo>
                  <a:lnTo>
                    <a:pt x="1929" y="8144"/>
                  </a:lnTo>
                  <a:lnTo>
                    <a:pt x="2298" y="8037"/>
                  </a:lnTo>
                  <a:lnTo>
                    <a:pt x="2298" y="11144"/>
                  </a:lnTo>
                  <a:cubicBezTo>
                    <a:pt x="2298" y="11240"/>
                    <a:pt x="2370" y="11311"/>
                    <a:pt x="2465" y="11311"/>
                  </a:cubicBezTo>
                  <a:cubicBezTo>
                    <a:pt x="2548" y="11311"/>
                    <a:pt x="2620" y="11240"/>
                    <a:pt x="2620" y="11144"/>
                  </a:cubicBezTo>
                  <a:lnTo>
                    <a:pt x="2620" y="8144"/>
                  </a:lnTo>
                  <a:lnTo>
                    <a:pt x="3310" y="8739"/>
                  </a:lnTo>
                  <a:cubicBezTo>
                    <a:pt x="3394" y="8811"/>
                    <a:pt x="3513" y="8858"/>
                    <a:pt x="3656" y="8858"/>
                  </a:cubicBezTo>
                  <a:lnTo>
                    <a:pt x="3691" y="8858"/>
                  </a:lnTo>
                  <a:cubicBezTo>
                    <a:pt x="3846" y="8847"/>
                    <a:pt x="3965" y="8787"/>
                    <a:pt x="4049" y="8668"/>
                  </a:cubicBezTo>
                  <a:lnTo>
                    <a:pt x="4394" y="8227"/>
                  </a:lnTo>
                  <a:lnTo>
                    <a:pt x="4739" y="8668"/>
                  </a:lnTo>
                  <a:cubicBezTo>
                    <a:pt x="4823" y="8763"/>
                    <a:pt x="4942" y="8847"/>
                    <a:pt x="5096" y="8858"/>
                  </a:cubicBezTo>
                  <a:lnTo>
                    <a:pt x="5144" y="8858"/>
                  </a:lnTo>
                  <a:cubicBezTo>
                    <a:pt x="5263" y="8858"/>
                    <a:pt x="5382" y="8811"/>
                    <a:pt x="5477" y="8739"/>
                  </a:cubicBezTo>
                  <a:lnTo>
                    <a:pt x="6347" y="7989"/>
                  </a:lnTo>
                  <a:lnTo>
                    <a:pt x="6882" y="8144"/>
                  </a:lnTo>
                  <a:lnTo>
                    <a:pt x="6882" y="11133"/>
                  </a:lnTo>
                  <a:cubicBezTo>
                    <a:pt x="6882" y="11228"/>
                    <a:pt x="6954" y="11299"/>
                    <a:pt x="7049" y="11299"/>
                  </a:cubicBezTo>
                  <a:cubicBezTo>
                    <a:pt x="7132" y="11299"/>
                    <a:pt x="7204" y="11228"/>
                    <a:pt x="7204" y="11133"/>
                  </a:cubicBezTo>
                  <a:lnTo>
                    <a:pt x="7204" y="8227"/>
                  </a:lnTo>
                  <a:lnTo>
                    <a:pt x="7835" y="8406"/>
                  </a:lnTo>
                  <a:cubicBezTo>
                    <a:pt x="8204" y="8513"/>
                    <a:pt x="8478" y="8870"/>
                    <a:pt x="8478" y="9275"/>
                  </a:cubicBezTo>
                  <a:lnTo>
                    <a:pt x="8478" y="11133"/>
                  </a:lnTo>
                  <a:cubicBezTo>
                    <a:pt x="8478" y="11228"/>
                    <a:pt x="8549" y="11299"/>
                    <a:pt x="8633" y="11299"/>
                  </a:cubicBezTo>
                  <a:cubicBezTo>
                    <a:pt x="8728" y="11299"/>
                    <a:pt x="8799" y="11228"/>
                    <a:pt x="8799" y="11133"/>
                  </a:cubicBezTo>
                  <a:lnTo>
                    <a:pt x="8799" y="9275"/>
                  </a:lnTo>
                  <a:cubicBezTo>
                    <a:pt x="8847" y="8763"/>
                    <a:pt x="8478" y="8287"/>
                    <a:pt x="7954" y="8132"/>
                  </a:cubicBezTo>
                  <a:lnTo>
                    <a:pt x="6513" y="7692"/>
                  </a:lnTo>
                  <a:lnTo>
                    <a:pt x="6263" y="7180"/>
                  </a:lnTo>
                  <a:cubicBezTo>
                    <a:pt x="6216" y="7084"/>
                    <a:pt x="6144" y="7025"/>
                    <a:pt x="6049" y="7001"/>
                  </a:cubicBezTo>
                  <a:cubicBezTo>
                    <a:pt x="6013" y="6989"/>
                    <a:pt x="5977" y="6983"/>
                    <a:pt x="5942" y="6983"/>
                  </a:cubicBezTo>
                  <a:cubicBezTo>
                    <a:pt x="5906" y="6983"/>
                    <a:pt x="5870" y="6989"/>
                    <a:pt x="5835" y="7001"/>
                  </a:cubicBezTo>
                  <a:lnTo>
                    <a:pt x="5835" y="6620"/>
                  </a:lnTo>
                  <a:cubicBezTo>
                    <a:pt x="6430" y="6203"/>
                    <a:pt x="6835" y="5537"/>
                    <a:pt x="6894" y="4763"/>
                  </a:cubicBezTo>
                  <a:lnTo>
                    <a:pt x="6966" y="4763"/>
                  </a:lnTo>
                  <a:cubicBezTo>
                    <a:pt x="7299" y="4763"/>
                    <a:pt x="7561" y="4525"/>
                    <a:pt x="7597" y="4215"/>
                  </a:cubicBezTo>
                  <a:cubicBezTo>
                    <a:pt x="7609" y="4036"/>
                    <a:pt x="7549" y="3870"/>
                    <a:pt x="7442" y="3739"/>
                  </a:cubicBezTo>
                  <a:cubicBezTo>
                    <a:pt x="7382" y="3679"/>
                    <a:pt x="7323" y="3632"/>
                    <a:pt x="7251" y="3584"/>
                  </a:cubicBezTo>
                  <a:lnTo>
                    <a:pt x="7251" y="2977"/>
                  </a:lnTo>
                  <a:lnTo>
                    <a:pt x="7787" y="2977"/>
                  </a:lnTo>
                  <a:cubicBezTo>
                    <a:pt x="7882" y="2977"/>
                    <a:pt x="7954" y="2905"/>
                    <a:pt x="7954" y="2810"/>
                  </a:cubicBezTo>
                  <a:cubicBezTo>
                    <a:pt x="7954" y="2727"/>
                    <a:pt x="7882" y="2655"/>
                    <a:pt x="7787" y="2655"/>
                  </a:cubicBezTo>
                  <a:lnTo>
                    <a:pt x="7204" y="2655"/>
                  </a:lnTo>
                  <a:lnTo>
                    <a:pt x="6751" y="905"/>
                  </a:lnTo>
                  <a:cubicBezTo>
                    <a:pt x="6597" y="369"/>
                    <a:pt x="6120" y="0"/>
                    <a:pt x="5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0" name="Google Shape;12010;p61"/>
            <p:cNvSpPr/>
            <p:nvPr/>
          </p:nvSpPr>
          <p:spPr>
            <a:xfrm>
              <a:off x="6445730" y="2238009"/>
              <a:ext cx="10201" cy="88672"/>
            </a:xfrm>
            <a:custGeom>
              <a:avLst/>
              <a:gdLst/>
              <a:ahLst/>
              <a:cxnLst/>
              <a:rect l="l" t="t" r="r" b="b"/>
              <a:pathLst>
                <a:path w="322" h="2799" extrusionOk="0">
                  <a:moveTo>
                    <a:pt x="167" y="0"/>
                  </a:moveTo>
                  <a:cubicBezTo>
                    <a:pt x="72" y="0"/>
                    <a:pt x="1" y="83"/>
                    <a:pt x="1" y="167"/>
                  </a:cubicBezTo>
                  <a:lnTo>
                    <a:pt x="1" y="2643"/>
                  </a:lnTo>
                  <a:cubicBezTo>
                    <a:pt x="1" y="2727"/>
                    <a:pt x="72" y="2798"/>
                    <a:pt x="167" y="2798"/>
                  </a:cubicBezTo>
                  <a:cubicBezTo>
                    <a:pt x="251" y="2798"/>
                    <a:pt x="322" y="2727"/>
                    <a:pt x="322" y="2643"/>
                  </a:cubicBezTo>
                  <a:lnTo>
                    <a:pt x="322" y="167"/>
                  </a:lnTo>
                  <a:cubicBezTo>
                    <a:pt x="322" y="83"/>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1" name="Google Shape;12011;p61"/>
            <p:cNvSpPr/>
            <p:nvPr/>
          </p:nvSpPr>
          <p:spPr>
            <a:xfrm>
              <a:off x="6383859" y="2249319"/>
              <a:ext cx="10613" cy="10581"/>
            </a:xfrm>
            <a:custGeom>
              <a:avLst/>
              <a:gdLst/>
              <a:ahLst/>
              <a:cxnLst/>
              <a:rect l="l" t="t" r="r" b="b"/>
              <a:pathLst>
                <a:path w="335" h="334" extrusionOk="0">
                  <a:moveTo>
                    <a:pt x="168" y="0"/>
                  </a:moveTo>
                  <a:cubicBezTo>
                    <a:pt x="72" y="0"/>
                    <a:pt x="1" y="84"/>
                    <a:pt x="1" y="167"/>
                  </a:cubicBezTo>
                  <a:cubicBezTo>
                    <a:pt x="1" y="262"/>
                    <a:pt x="72" y="334"/>
                    <a:pt x="168" y="334"/>
                  </a:cubicBezTo>
                  <a:cubicBezTo>
                    <a:pt x="251" y="334"/>
                    <a:pt x="334" y="262"/>
                    <a:pt x="334" y="167"/>
                  </a:cubicBezTo>
                  <a:cubicBezTo>
                    <a:pt x="334" y="84"/>
                    <a:pt x="275"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2" name="Google Shape;12012;p61"/>
            <p:cNvSpPr/>
            <p:nvPr/>
          </p:nvSpPr>
          <p:spPr>
            <a:xfrm>
              <a:off x="6383859" y="2282868"/>
              <a:ext cx="10613" cy="10613"/>
            </a:xfrm>
            <a:custGeom>
              <a:avLst/>
              <a:gdLst/>
              <a:ahLst/>
              <a:cxnLst/>
              <a:rect l="l" t="t" r="r" b="b"/>
              <a:pathLst>
                <a:path w="335" h="335" extrusionOk="0">
                  <a:moveTo>
                    <a:pt x="168" y="1"/>
                  </a:moveTo>
                  <a:cubicBezTo>
                    <a:pt x="72" y="1"/>
                    <a:pt x="1" y="72"/>
                    <a:pt x="1" y="168"/>
                  </a:cubicBezTo>
                  <a:cubicBezTo>
                    <a:pt x="1" y="251"/>
                    <a:pt x="72" y="334"/>
                    <a:pt x="168" y="334"/>
                  </a:cubicBezTo>
                  <a:cubicBezTo>
                    <a:pt x="251" y="334"/>
                    <a:pt x="334" y="251"/>
                    <a:pt x="334" y="168"/>
                  </a:cubicBezTo>
                  <a:cubicBezTo>
                    <a:pt x="334"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3" name="Google Shape;12013;p61"/>
            <p:cNvSpPr/>
            <p:nvPr/>
          </p:nvSpPr>
          <p:spPr>
            <a:xfrm>
              <a:off x="6378220" y="2154247"/>
              <a:ext cx="21891" cy="10233"/>
            </a:xfrm>
            <a:custGeom>
              <a:avLst/>
              <a:gdLst/>
              <a:ahLst/>
              <a:cxnLst/>
              <a:rect l="l" t="t" r="r" b="b"/>
              <a:pathLst>
                <a:path w="691" h="323" extrusionOk="0">
                  <a:moveTo>
                    <a:pt x="167" y="1"/>
                  </a:moveTo>
                  <a:cubicBezTo>
                    <a:pt x="72" y="1"/>
                    <a:pt x="0" y="72"/>
                    <a:pt x="0" y="168"/>
                  </a:cubicBezTo>
                  <a:cubicBezTo>
                    <a:pt x="0" y="251"/>
                    <a:pt x="72" y="322"/>
                    <a:pt x="167" y="322"/>
                  </a:cubicBezTo>
                  <a:lnTo>
                    <a:pt x="524" y="322"/>
                  </a:lnTo>
                  <a:cubicBezTo>
                    <a:pt x="608" y="322"/>
                    <a:pt x="691" y="251"/>
                    <a:pt x="691" y="168"/>
                  </a:cubicBezTo>
                  <a:cubicBezTo>
                    <a:pt x="691" y="60"/>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14" name="Google Shape;12014;p61"/>
          <p:cNvGrpSpPr/>
          <p:nvPr/>
        </p:nvGrpSpPr>
        <p:grpSpPr>
          <a:xfrm>
            <a:off x="5801485" y="1969046"/>
            <a:ext cx="279164" cy="357794"/>
            <a:chOff x="5801485" y="1969046"/>
            <a:chExt cx="279164" cy="357794"/>
          </a:xfrm>
        </p:grpSpPr>
        <p:sp>
          <p:nvSpPr>
            <p:cNvPr id="12015" name="Google Shape;12015;p61"/>
            <p:cNvSpPr/>
            <p:nvPr/>
          </p:nvSpPr>
          <p:spPr>
            <a:xfrm>
              <a:off x="5901436" y="2092408"/>
              <a:ext cx="10613" cy="16252"/>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6" name="Google Shape;12016;p61"/>
            <p:cNvSpPr/>
            <p:nvPr/>
          </p:nvSpPr>
          <p:spPr>
            <a:xfrm>
              <a:off x="5968597" y="2092408"/>
              <a:ext cx="10581" cy="16252"/>
            </a:xfrm>
            <a:custGeom>
              <a:avLst/>
              <a:gdLst/>
              <a:ahLst/>
              <a:cxnLst/>
              <a:rect l="l" t="t" r="r" b="b"/>
              <a:pathLst>
                <a:path w="334"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7" name="Google Shape;12017;p61"/>
            <p:cNvSpPr/>
            <p:nvPr/>
          </p:nvSpPr>
          <p:spPr>
            <a:xfrm>
              <a:off x="5801485" y="1969046"/>
              <a:ext cx="279164" cy="357636"/>
            </a:xfrm>
            <a:custGeom>
              <a:avLst/>
              <a:gdLst/>
              <a:ahLst/>
              <a:cxnLst/>
              <a:rect l="l" t="t" r="r" b="b"/>
              <a:pathLst>
                <a:path w="8812" h="11289" extrusionOk="0">
                  <a:moveTo>
                    <a:pt x="1739" y="1025"/>
                  </a:moveTo>
                  <a:cubicBezTo>
                    <a:pt x="1834" y="1037"/>
                    <a:pt x="1929" y="1132"/>
                    <a:pt x="1929" y="1227"/>
                  </a:cubicBezTo>
                  <a:lnTo>
                    <a:pt x="1929" y="1275"/>
                  </a:lnTo>
                  <a:cubicBezTo>
                    <a:pt x="1858" y="1323"/>
                    <a:pt x="1822" y="1370"/>
                    <a:pt x="1775" y="1406"/>
                  </a:cubicBezTo>
                  <a:lnTo>
                    <a:pt x="1739" y="1406"/>
                  </a:lnTo>
                  <a:cubicBezTo>
                    <a:pt x="1644" y="1406"/>
                    <a:pt x="1548" y="1323"/>
                    <a:pt x="1548" y="1215"/>
                  </a:cubicBezTo>
                  <a:cubicBezTo>
                    <a:pt x="1548" y="1108"/>
                    <a:pt x="1644" y="1025"/>
                    <a:pt x="1739" y="1025"/>
                  </a:cubicBezTo>
                  <a:close/>
                  <a:moveTo>
                    <a:pt x="7064" y="1048"/>
                  </a:moveTo>
                  <a:cubicBezTo>
                    <a:pt x="7143" y="1048"/>
                    <a:pt x="7228" y="1137"/>
                    <a:pt x="7228" y="1227"/>
                  </a:cubicBezTo>
                  <a:cubicBezTo>
                    <a:pt x="7228" y="1334"/>
                    <a:pt x="7133" y="1430"/>
                    <a:pt x="7025" y="1430"/>
                  </a:cubicBezTo>
                  <a:lnTo>
                    <a:pt x="7002" y="1430"/>
                  </a:lnTo>
                  <a:cubicBezTo>
                    <a:pt x="6954" y="1382"/>
                    <a:pt x="6894" y="1334"/>
                    <a:pt x="6847" y="1287"/>
                  </a:cubicBezTo>
                  <a:lnTo>
                    <a:pt x="6847" y="1251"/>
                  </a:lnTo>
                  <a:cubicBezTo>
                    <a:pt x="6847" y="1144"/>
                    <a:pt x="6942" y="1049"/>
                    <a:pt x="7049" y="1049"/>
                  </a:cubicBezTo>
                  <a:cubicBezTo>
                    <a:pt x="7054" y="1048"/>
                    <a:pt x="7059" y="1048"/>
                    <a:pt x="7064" y="1048"/>
                  </a:cubicBezTo>
                  <a:close/>
                  <a:moveTo>
                    <a:pt x="7025" y="334"/>
                  </a:moveTo>
                  <a:cubicBezTo>
                    <a:pt x="7514" y="334"/>
                    <a:pt x="7918" y="739"/>
                    <a:pt x="7918" y="1227"/>
                  </a:cubicBezTo>
                  <a:cubicBezTo>
                    <a:pt x="7918" y="1549"/>
                    <a:pt x="7764" y="1846"/>
                    <a:pt x="7490" y="1989"/>
                  </a:cubicBezTo>
                  <a:cubicBezTo>
                    <a:pt x="7418" y="1882"/>
                    <a:pt x="7335" y="1787"/>
                    <a:pt x="7252" y="1692"/>
                  </a:cubicBezTo>
                  <a:cubicBezTo>
                    <a:pt x="7418" y="1608"/>
                    <a:pt x="7537" y="1430"/>
                    <a:pt x="7537" y="1227"/>
                  </a:cubicBezTo>
                  <a:cubicBezTo>
                    <a:pt x="7537" y="953"/>
                    <a:pt x="7299" y="715"/>
                    <a:pt x="7013" y="715"/>
                  </a:cubicBezTo>
                  <a:cubicBezTo>
                    <a:pt x="6787" y="715"/>
                    <a:pt x="6609" y="846"/>
                    <a:pt x="6537" y="1037"/>
                  </a:cubicBezTo>
                  <a:cubicBezTo>
                    <a:pt x="6430" y="965"/>
                    <a:pt x="6323" y="906"/>
                    <a:pt x="6204" y="834"/>
                  </a:cubicBezTo>
                  <a:cubicBezTo>
                    <a:pt x="6371" y="537"/>
                    <a:pt x="6692" y="334"/>
                    <a:pt x="7025" y="334"/>
                  </a:cubicBezTo>
                  <a:close/>
                  <a:moveTo>
                    <a:pt x="1727" y="334"/>
                  </a:moveTo>
                  <a:cubicBezTo>
                    <a:pt x="2072" y="334"/>
                    <a:pt x="2382" y="537"/>
                    <a:pt x="2537" y="846"/>
                  </a:cubicBezTo>
                  <a:cubicBezTo>
                    <a:pt x="2430" y="906"/>
                    <a:pt x="2310" y="977"/>
                    <a:pt x="2203" y="1049"/>
                  </a:cubicBezTo>
                  <a:cubicBezTo>
                    <a:pt x="2132" y="858"/>
                    <a:pt x="1941" y="727"/>
                    <a:pt x="1727" y="727"/>
                  </a:cubicBezTo>
                  <a:cubicBezTo>
                    <a:pt x="1441" y="727"/>
                    <a:pt x="1215" y="965"/>
                    <a:pt x="1215" y="1239"/>
                  </a:cubicBezTo>
                  <a:cubicBezTo>
                    <a:pt x="1215" y="1453"/>
                    <a:pt x="1334" y="1620"/>
                    <a:pt x="1489" y="1704"/>
                  </a:cubicBezTo>
                  <a:cubicBezTo>
                    <a:pt x="1406" y="1799"/>
                    <a:pt x="1334" y="1906"/>
                    <a:pt x="1251" y="2001"/>
                  </a:cubicBezTo>
                  <a:cubicBezTo>
                    <a:pt x="1001" y="1823"/>
                    <a:pt x="834" y="1549"/>
                    <a:pt x="834" y="1227"/>
                  </a:cubicBezTo>
                  <a:cubicBezTo>
                    <a:pt x="834" y="739"/>
                    <a:pt x="1239" y="334"/>
                    <a:pt x="1727" y="334"/>
                  </a:cubicBezTo>
                  <a:close/>
                  <a:moveTo>
                    <a:pt x="4382" y="691"/>
                  </a:moveTo>
                  <a:cubicBezTo>
                    <a:pt x="6287" y="691"/>
                    <a:pt x="7835" y="2239"/>
                    <a:pt x="7835" y="4144"/>
                  </a:cubicBezTo>
                  <a:cubicBezTo>
                    <a:pt x="7847" y="6049"/>
                    <a:pt x="6287" y="7597"/>
                    <a:pt x="4382" y="7597"/>
                  </a:cubicBezTo>
                  <a:cubicBezTo>
                    <a:pt x="2477" y="7597"/>
                    <a:pt x="929" y="6049"/>
                    <a:pt x="929" y="4144"/>
                  </a:cubicBezTo>
                  <a:cubicBezTo>
                    <a:pt x="929" y="2239"/>
                    <a:pt x="2477" y="691"/>
                    <a:pt x="4382" y="691"/>
                  </a:cubicBezTo>
                  <a:close/>
                  <a:moveTo>
                    <a:pt x="1739" y="1"/>
                  </a:moveTo>
                  <a:cubicBezTo>
                    <a:pt x="1072" y="1"/>
                    <a:pt x="525" y="549"/>
                    <a:pt x="525" y="1215"/>
                  </a:cubicBezTo>
                  <a:cubicBezTo>
                    <a:pt x="525" y="1644"/>
                    <a:pt x="751" y="2037"/>
                    <a:pt x="1108" y="2263"/>
                  </a:cubicBezTo>
                  <a:cubicBezTo>
                    <a:pt x="786" y="2811"/>
                    <a:pt x="608" y="3454"/>
                    <a:pt x="608" y="4132"/>
                  </a:cubicBezTo>
                  <a:cubicBezTo>
                    <a:pt x="608" y="5621"/>
                    <a:pt x="1477" y="6918"/>
                    <a:pt x="2739" y="7538"/>
                  </a:cubicBezTo>
                  <a:lnTo>
                    <a:pt x="882" y="8097"/>
                  </a:lnTo>
                  <a:cubicBezTo>
                    <a:pt x="358" y="8240"/>
                    <a:pt x="1" y="8728"/>
                    <a:pt x="1" y="9264"/>
                  </a:cubicBezTo>
                  <a:lnTo>
                    <a:pt x="1" y="11133"/>
                  </a:lnTo>
                  <a:cubicBezTo>
                    <a:pt x="1" y="11217"/>
                    <a:pt x="72" y="11288"/>
                    <a:pt x="167" y="11288"/>
                  </a:cubicBezTo>
                  <a:cubicBezTo>
                    <a:pt x="251" y="11288"/>
                    <a:pt x="334" y="11217"/>
                    <a:pt x="334" y="11133"/>
                  </a:cubicBezTo>
                  <a:lnTo>
                    <a:pt x="334" y="9264"/>
                  </a:lnTo>
                  <a:cubicBezTo>
                    <a:pt x="334" y="8871"/>
                    <a:pt x="596" y="8526"/>
                    <a:pt x="965" y="8407"/>
                  </a:cubicBezTo>
                  <a:lnTo>
                    <a:pt x="2834" y="7859"/>
                  </a:lnTo>
                  <a:cubicBezTo>
                    <a:pt x="2930" y="7823"/>
                    <a:pt x="3025" y="7764"/>
                    <a:pt x="3108" y="7692"/>
                  </a:cubicBezTo>
                  <a:cubicBezTo>
                    <a:pt x="3513" y="7835"/>
                    <a:pt x="3965" y="7919"/>
                    <a:pt x="4406" y="7919"/>
                  </a:cubicBezTo>
                  <a:cubicBezTo>
                    <a:pt x="4858" y="7919"/>
                    <a:pt x="5299" y="7835"/>
                    <a:pt x="5704" y="7692"/>
                  </a:cubicBezTo>
                  <a:cubicBezTo>
                    <a:pt x="5775" y="7764"/>
                    <a:pt x="5882" y="7811"/>
                    <a:pt x="5990" y="7859"/>
                  </a:cubicBezTo>
                  <a:lnTo>
                    <a:pt x="7847" y="8407"/>
                  </a:lnTo>
                  <a:cubicBezTo>
                    <a:pt x="8216" y="8514"/>
                    <a:pt x="8490" y="8871"/>
                    <a:pt x="8490" y="9264"/>
                  </a:cubicBezTo>
                  <a:lnTo>
                    <a:pt x="8490" y="11133"/>
                  </a:lnTo>
                  <a:cubicBezTo>
                    <a:pt x="8490" y="11217"/>
                    <a:pt x="8561" y="11288"/>
                    <a:pt x="8645" y="11288"/>
                  </a:cubicBezTo>
                  <a:cubicBezTo>
                    <a:pt x="8740" y="11288"/>
                    <a:pt x="8811" y="11217"/>
                    <a:pt x="8811" y="11133"/>
                  </a:cubicBezTo>
                  <a:lnTo>
                    <a:pt x="8811" y="9264"/>
                  </a:lnTo>
                  <a:cubicBezTo>
                    <a:pt x="8787" y="8728"/>
                    <a:pt x="8430" y="8252"/>
                    <a:pt x="7906" y="8097"/>
                  </a:cubicBezTo>
                  <a:lnTo>
                    <a:pt x="6049" y="7538"/>
                  </a:lnTo>
                  <a:cubicBezTo>
                    <a:pt x="7299" y="6918"/>
                    <a:pt x="8180" y="5633"/>
                    <a:pt x="8180" y="4132"/>
                  </a:cubicBezTo>
                  <a:cubicBezTo>
                    <a:pt x="8180" y="3454"/>
                    <a:pt x="7990" y="2811"/>
                    <a:pt x="7680" y="2263"/>
                  </a:cubicBezTo>
                  <a:cubicBezTo>
                    <a:pt x="8037" y="2037"/>
                    <a:pt x="8264" y="1644"/>
                    <a:pt x="8264" y="1215"/>
                  </a:cubicBezTo>
                  <a:cubicBezTo>
                    <a:pt x="8264" y="549"/>
                    <a:pt x="7716" y="1"/>
                    <a:pt x="7049" y="1"/>
                  </a:cubicBezTo>
                  <a:cubicBezTo>
                    <a:pt x="6573" y="1"/>
                    <a:pt x="6156" y="263"/>
                    <a:pt x="5942" y="680"/>
                  </a:cubicBezTo>
                  <a:cubicBezTo>
                    <a:pt x="5466" y="477"/>
                    <a:pt x="4942" y="358"/>
                    <a:pt x="4394" y="358"/>
                  </a:cubicBezTo>
                  <a:cubicBezTo>
                    <a:pt x="3846" y="358"/>
                    <a:pt x="3323" y="477"/>
                    <a:pt x="2846" y="680"/>
                  </a:cubicBezTo>
                  <a:cubicBezTo>
                    <a:pt x="2632" y="263"/>
                    <a:pt x="2215" y="1"/>
                    <a:pt x="1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8" name="Google Shape;12018;p61"/>
            <p:cNvSpPr/>
            <p:nvPr/>
          </p:nvSpPr>
          <p:spPr>
            <a:xfrm>
              <a:off x="5895797" y="2075427"/>
              <a:ext cx="21891" cy="10581"/>
            </a:xfrm>
            <a:custGeom>
              <a:avLst/>
              <a:gdLst/>
              <a:ahLst/>
              <a:cxnLst/>
              <a:rect l="l" t="t" r="r" b="b"/>
              <a:pathLst>
                <a:path w="691" h="334" extrusionOk="0">
                  <a:moveTo>
                    <a:pt x="167" y="0"/>
                  </a:moveTo>
                  <a:cubicBezTo>
                    <a:pt x="84" y="0"/>
                    <a:pt x="0" y="72"/>
                    <a:pt x="0" y="167"/>
                  </a:cubicBezTo>
                  <a:cubicBezTo>
                    <a:pt x="0" y="251"/>
                    <a:pt x="84" y="334"/>
                    <a:pt x="167" y="334"/>
                  </a:cubicBezTo>
                  <a:lnTo>
                    <a:pt x="524" y="334"/>
                  </a:lnTo>
                  <a:cubicBezTo>
                    <a:pt x="619" y="334"/>
                    <a:pt x="691" y="251"/>
                    <a:pt x="691" y="167"/>
                  </a:cubicBezTo>
                  <a:cubicBezTo>
                    <a:pt x="691" y="72"/>
                    <a:pt x="619"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9" name="Google Shape;12019;p61"/>
            <p:cNvSpPr/>
            <p:nvPr/>
          </p:nvSpPr>
          <p:spPr>
            <a:xfrm>
              <a:off x="5962927" y="2075427"/>
              <a:ext cx="21542" cy="10581"/>
            </a:xfrm>
            <a:custGeom>
              <a:avLst/>
              <a:gdLst/>
              <a:ahLst/>
              <a:cxnLst/>
              <a:rect l="l" t="t" r="r" b="b"/>
              <a:pathLst>
                <a:path w="680" h="334" extrusionOk="0">
                  <a:moveTo>
                    <a:pt x="155" y="0"/>
                  </a:moveTo>
                  <a:cubicBezTo>
                    <a:pt x="72" y="0"/>
                    <a:pt x="1" y="72"/>
                    <a:pt x="1" y="167"/>
                  </a:cubicBezTo>
                  <a:cubicBezTo>
                    <a:pt x="1" y="251"/>
                    <a:pt x="72" y="334"/>
                    <a:pt x="155" y="334"/>
                  </a:cubicBezTo>
                  <a:lnTo>
                    <a:pt x="513" y="334"/>
                  </a:lnTo>
                  <a:cubicBezTo>
                    <a:pt x="608" y="334"/>
                    <a:pt x="679" y="251"/>
                    <a:pt x="679" y="167"/>
                  </a:cubicBezTo>
                  <a:cubicBezTo>
                    <a:pt x="679"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0" name="Google Shape;12020;p61"/>
            <p:cNvSpPr/>
            <p:nvPr/>
          </p:nvSpPr>
          <p:spPr>
            <a:xfrm>
              <a:off x="5845615" y="2282868"/>
              <a:ext cx="10233" cy="43813"/>
            </a:xfrm>
            <a:custGeom>
              <a:avLst/>
              <a:gdLst/>
              <a:ahLst/>
              <a:cxnLst/>
              <a:rect l="l" t="t" r="r" b="b"/>
              <a:pathLst>
                <a:path w="323" h="1383" extrusionOk="0">
                  <a:moveTo>
                    <a:pt x="155" y="1"/>
                  </a:moveTo>
                  <a:cubicBezTo>
                    <a:pt x="72" y="1"/>
                    <a:pt x="1" y="72"/>
                    <a:pt x="1" y="168"/>
                  </a:cubicBezTo>
                  <a:lnTo>
                    <a:pt x="1" y="1227"/>
                  </a:lnTo>
                  <a:cubicBezTo>
                    <a:pt x="1" y="1311"/>
                    <a:pt x="72" y="1382"/>
                    <a:pt x="155" y="1382"/>
                  </a:cubicBezTo>
                  <a:cubicBezTo>
                    <a:pt x="251" y="1382"/>
                    <a:pt x="322" y="1311"/>
                    <a:pt x="322" y="1227"/>
                  </a:cubicBezTo>
                  <a:lnTo>
                    <a:pt x="322" y="168"/>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1" name="Google Shape;12021;p61"/>
            <p:cNvSpPr/>
            <p:nvPr/>
          </p:nvSpPr>
          <p:spPr>
            <a:xfrm>
              <a:off x="6024798" y="2282868"/>
              <a:ext cx="10201" cy="43813"/>
            </a:xfrm>
            <a:custGeom>
              <a:avLst/>
              <a:gdLst/>
              <a:ahLst/>
              <a:cxnLst/>
              <a:rect l="l" t="t" r="r" b="b"/>
              <a:pathLst>
                <a:path w="322" h="1383" extrusionOk="0">
                  <a:moveTo>
                    <a:pt x="155" y="1"/>
                  </a:moveTo>
                  <a:cubicBezTo>
                    <a:pt x="72" y="1"/>
                    <a:pt x="0" y="72"/>
                    <a:pt x="0" y="168"/>
                  </a:cubicBezTo>
                  <a:lnTo>
                    <a:pt x="0" y="1227"/>
                  </a:lnTo>
                  <a:cubicBezTo>
                    <a:pt x="0" y="1311"/>
                    <a:pt x="72" y="1382"/>
                    <a:pt x="155" y="1382"/>
                  </a:cubicBezTo>
                  <a:cubicBezTo>
                    <a:pt x="250" y="1382"/>
                    <a:pt x="322" y="1311"/>
                    <a:pt x="322" y="1227"/>
                  </a:cubicBezTo>
                  <a:lnTo>
                    <a:pt x="322" y="168"/>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2" name="Google Shape;12022;p61"/>
            <p:cNvSpPr/>
            <p:nvPr/>
          </p:nvSpPr>
          <p:spPr>
            <a:xfrm>
              <a:off x="5868267" y="2260248"/>
              <a:ext cx="144112" cy="66591"/>
            </a:xfrm>
            <a:custGeom>
              <a:avLst/>
              <a:gdLst/>
              <a:ahLst/>
              <a:cxnLst/>
              <a:rect l="l" t="t" r="r" b="b"/>
              <a:pathLst>
                <a:path w="4549" h="2102" extrusionOk="0">
                  <a:moveTo>
                    <a:pt x="2274" y="1"/>
                  </a:moveTo>
                  <a:cubicBezTo>
                    <a:pt x="1715" y="1"/>
                    <a:pt x="1203" y="191"/>
                    <a:pt x="786" y="548"/>
                  </a:cubicBezTo>
                  <a:cubicBezTo>
                    <a:pt x="381" y="894"/>
                    <a:pt x="95" y="1382"/>
                    <a:pt x="12" y="1906"/>
                  </a:cubicBezTo>
                  <a:cubicBezTo>
                    <a:pt x="0" y="2001"/>
                    <a:pt x="48" y="2084"/>
                    <a:pt x="143" y="2096"/>
                  </a:cubicBezTo>
                  <a:cubicBezTo>
                    <a:pt x="155" y="2100"/>
                    <a:pt x="168" y="2101"/>
                    <a:pt x="181" y="2101"/>
                  </a:cubicBezTo>
                  <a:cubicBezTo>
                    <a:pt x="253" y="2101"/>
                    <a:pt x="323" y="2046"/>
                    <a:pt x="333" y="1965"/>
                  </a:cubicBezTo>
                  <a:cubicBezTo>
                    <a:pt x="500" y="1024"/>
                    <a:pt x="1310" y="334"/>
                    <a:pt x="2262" y="334"/>
                  </a:cubicBezTo>
                  <a:cubicBezTo>
                    <a:pt x="3215" y="334"/>
                    <a:pt x="4024" y="1013"/>
                    <a:pt x="4179" y="1965"/>
                  </a:cubicBezTo>
                  <a:cubicBezTo>
                    <a:pt x="4191" y="2036"/>
                    <a:pt x="4263" y="2096"/>
                    <a:pt x="4346" y="2096"/>
                  </a:cubicBezTo>
                  <a:lnTo>
                    <a:pt x="4370" y="2096"/>
                  </a:lnTo>
                  <a:cubicBezTo>
                    <a:pt x="4489" y="2084"/>
                    <a:pt x="4548" y="2001"/>
                    <a:pt x="4536" y="1906"/>
                  </a:cubicBezTo>
                  <a:cubicBezTo>
                    <a:pt x="4441" y="1382"/>
                    <a:pt x="4179" y="894"/>
                    <a:pt x="3762" y="548"/>
                  </a:cubicBezTo>
                  <a:cubicBezTo>
                    <a:pt x="3346" y="191"/>
                    <a:pt x="2822" y="1"/>
                    <a:pt x="2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3" name="Google Shape;12023;p61"/>
            <p:cNvSpPr/>
            <p:nvPr/>
          </p:nvSpPr>
          <p:spPr>
            <a:xfrm>
              <a:off x="5890126" y="2013556"/>
              <a:ext cx="10581" cy="10613"/>
            </a:xfrm>
            <a:custGeom>
              <a:avLst/>
              <a:gdLst/>
              <a:ahLst/>
              <a:cxnLst/>
              <a:rect l="l" t="t" r="r" b="b"/>
              <a:pathLst>
                <a:path w="334" h="335" extrusionOk="0">
                  <a:moveTo>
                    <a:pt x="167" y="1"/>
                  </a:moveTo>
                  <a:cubicBezTo>
                    <a:pt x="84" y="1"/>
                    <a:pt x="1" y="84"/>
                    <a:pt x="1" y="168"/>
                  </a:cubicBezTo>
                  <a:cubicBezTo>
                    <a:pt x="1" y="263"/>
                    <a:pt x="84" y="334"/>
                    <a:pt x="167" y="334"/>
                  </a:cubicBezTo>
                  <a:cubicBezTo>
                    <a:pt x="251" y="334"/>
                    <a:pt x="334" y="263"/>
                    <a:pt x="334" y="168"/>
                  </a:cubicBezTo>
                  <a:cubicBezTo>
                    <a:pt x="334" y="84"/>
                    <a:pt x="26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4" name="Google Shape;12024;p61"/>
            <p:cNvSpPr/>
            <p:nvPr/>
          </p:nvSpPr>
          <p:spPr>
            <a:xfrm>
              <a:off x="5979907" y="2013556"/>
              <a:ext cx="10201" cy="10613"/>
            </a:xfrm>
            <a:custGeom>
              <a:avLst/>
              <a:gdLst/>
              <a:ahLst/>
              <a:cxnLst/>
              <a:rect l="l" t="t" r="r" b="b"/>
              <a:pathLst>
                <a:path w="322" h="335" extrusionOk="0">
                  <a:moveTo>
                    <a:pt x="167" y="1"/>
                  </a:moveTo>
                  <a:cubicBezTo>
                    <a:pt x="72" y="1"/>
                    <a:pt x="0" y="84"/>
                    <a:pt x="0" y="168"/>
                  </a:cubicBezTo>
                  <a:cubicBezTo>
                    <a:pt x="0" y="263"/>
                    <a:pt x="72" y="334"/>
                    <a:pt x="167" y="334"/>
                  </a:cubicBezTo>
                  <a:cubicBezTo>
                    <a:pt x="250" y="334"/>
                    <a:pt x="322" y="263"/>
                    <a:pt x="322" y="168"/>
                  </a:cubicBez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5" name="Google Shape;12025;p61"/>
            <p:cNvSpPr/>
            <p:nvPr/>
          </p:nvSpPr>
          <p:spPr>
            <a:xfrm>
              <a:off x="5861455" y="2002247"/>
              <a:ext cx="127892" cy="155454"/>
            </a:xfrm>
            <a:custGeom>
              <a:avLst/>
              <a:gdLst/>
              <a:ahLst/>
              <a:cxnLst/>
              <a:rect l="l" t="t" r="r" b="b"/>
              <a:pathLst>
                <a:path w="4037" h="4907" extrusionOk="0">
                  <a:moveTo>
                    <a:pt x="2489" y="346"/>
                  </a:moveTo>
                  <a:cubicBezTo>
                    <a:pt x="2596" y="346"/>
                    <a:pt x="2680" y="441"/>
                    <a:pt x="2680" y="536"/>
                  </a:cubicBezTo>
                  <a:cubicBezTo>
                    <a:pt x="2680" y="644"/>
                    <a:pt x="2596" y="739"/>
                    <a:pt x="2489" y="739"/>
                  </a:cubicBezTo>
                  <a:cubicBezTo>
                    <a:pt x="2382" y="739"/>
                    <a:pt x="2299" y="644"/>
                    <a:pt x="2299" y="536"/>
                  </a:cubicBezTo>
                  <a:cubicBezTo>
                    <a:pt x="2311" y="441"/>
                    <a:pt x="2382" y="346"/>
                    <a:pt x="2489" y="346"/>
                  </a:cubicBezTo>
                  <a:close/>
                  <a:moveTo>
                    <a:pt x="2954" y="715"/>
                  </a:moveTo>
                  <a:cubicBezTo>
                    <a:pt x="3084" y="775"/>
                    <a:pt x="3192" y="894"/>
                    <a:pt x="3192" y="1060"/>
                  </a:cubicBezTo>
                  <a:cubicBezTo>
                    <a:pt x="3204" y="1275"/>
                    <a:pt x="3037" y="1429"/>
                    <a:pt x="2846" y="1429"/>
                  </a:cubicBezTo>
                  <a:lnTo>
                    <a:pt x="2132" y="1429"/>
                  </a:lnTo>
                  <a:cubicBezTo>
                    <a:pt x="1918" y="1429"/>
                    <a:pt x="1763" y="1275"/>
                    <a:pt x="1763" y="1060"/>
                  </a:cubicBezTo>
                  <a:cubicBezTo>
                    <a:pt x="1763" y="917"/>
                    <a:pt x="1858" y="775"/>
                    <a:pt x="2001" y="715"/>
                  </a:cubicBezTo>
                  <a:cubicBezTo>
                    <a:pt x="2072" y="917"/>
                    <a:pt x="2263" y="1048"/>
                    <a:pt x="2477" y="1048"/>
                  </a:cubicBezTo>
                  <a:cubicBezTo>
                    <a:pt x="2692" y="1048"/>
                    <a:pt x="2870" y="917"/>
                    <a:pt x="2954" y="715"/>
                  </a:cubicBezTo>
                  <a:close/>
                  <a:moveTo>
                    <a:pt x="2501" y="1"/>
                  </a:moveTo>
                  <a:cubicBezTo>
                    <a:pt x="2263" y="1"/>
                    <a:pt x="2072" y="155"/>
                    <a:pt x="2013" y="370"/>
                  </a:cubicBezTo>
                  <a:cubicBezTo>
                    <a:pt x="1703" y="429"/>
                    <a:pt x="1453" y="715"/>
                    <a:pt x="1453" y="1060"/>
                  </a:cubicBezTo>
                  <a:lnTo>
                    <a:pt x="1453" y="1132"/>
                  </a:lnTo>
                  <a:cubicBezTo>
                    <a:pt x="1203" y="1251"/>
                    <a:pt x="965" y="1418"/>
                    <a:pt x="763" y="1632"/>
                  </a:cubicBezTo>
                  <a:cubicBezTo>
                    <a:pt x="346" y="2049"/>
                    <a:pt x="84" y="2596"/>
                    <a:pt x="48" y="3192"/>
                  </a:cubicBezTo>
                  <a:cubicBezTo>
                    <a:pt x="1" y="3763"/>
                    <a:pt x="167" y="4346"/>
                    <a:pt x="501" y="4823"/>
                  </a:cubicBezTo>
                  <a:cubicBezTo>
                    <a:pt x="537" y="4870"/>
                    <a:pt x="596" y="4906"/>
                    <a:pt x="644" y="4906"/>
                  </a:cubicBezTo>
                  <a:cubicBezTo>
                    <a:pt x="668" y="4906"/>
                    <a:pt x="715" y="4882"/>
                    <a:pt x="739" y="4870"/>
                  </a:cubicBezTo>
                  <a:cubicBezTo>
                    <a:pt x="822" y="4811"/>
                    <a:pt x="834" y="4704"/>
                    <a:pt x="775" y="4632"/>
                  </a:cubicBezTo>
                  <a:cubicBezTo>
                    <a:pt x="477" y="4227"/>
                    <a:pt x="334" y="3727"/>
                    <a:pt x="370" y="3215"/>
                  </a:cubicBezTo>
                  <a:cubicBezTo>
                    <a:pt x="406" y="2715"/>
                    <a:pt x="632" y="2227"/>
                    <a:pt x="1001" y="1858"/>
                  </a:cubicBezTo>
                  <a:cubicBezTo>
                    <a:pt x="1156" y="1703"/>
                    <a:pt x="1358" y="1548"/>
                    <a:pt x="1584" y="1465"/>
                  </a:cubicBezTo>
                  <a:cubicBezTo>
                    <a:pt x="1703" y="1656"/>
                    <a:pt x="1918" y="1775"/>
                    <a:pt x="2156" y="1775"/>
                  </a:cubicBezTo>
                  <a:lnTo>
                    <a:pt x="2870" y="1775"/>
                  </a:lnTo>
                  <a:cubicBezTo>
                    <a:pt x="3108" y="1775"/>
                    <a:pt x="3335" y="1656"/>
                    <a:pt x="3454" y="1465"/>
                  </a:cubicBezTo>
                  <a:cubicBezTo>
                    <a:pt x="3573" y="1525"/>
                    <a:pt x="3680" y="1584"/>
                    <a:pt x="3787" y="1656"/>
                  </a:cubicBezTo>
                  <a:cubicBezTo>
                    <a:pt x="3811" y="1668"/>
                    <a:pt x="3846" y="1679"/>
                    <a:pt x="3882" y="1679"/>
                  </a:cubicBezTo>
                  <a:cubicBezTo>
                    <a:pt x="3930" y="1679"/>
                    <a:pt x="3989" y="1656"/>
                    <a:pt x="4025" y="1608"/>
                  </a:cubicBezTo>
                  <a:cubicBezTo>
                    <a:pt x="4037" y="1537"/>
                    <a:pt x="4013" y="1429"/>
                    <a:pt x="3942" y="1370"/>
                  </a:cubicBezTo>
                  <a:cubicBezTo>
                    <a:pt x="3811" y="1287"/>
                    <a:pt x="3680" y="1191"/>
                    <a:pt x="3537" y="1132"/>
                  </a:cubicBezTo>
                  <a:lnTo>
                    <a:pt x="3537" y="1060"/>
                  </a:lnTo>
                  <a:cubicBezTo>
                    <a:pt x="3537" y="739"/>
                    <a:pt x="3311" y="453"/>
                    <a:pt x="2989" y="370"/>
                  </a:cubicBezTo>
                  <a:cubicBezTo>
                    <a:pt x="2930" y="167"/>
                    <a:pt x="2727" y="1"/>
                    <a:pt x="2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6" name="Google Shape;12026;p61"/>
            <p:cNvSpPr/>
            <p:nvPr/>
          </p:nvSpPr>
          <p:spPr>
            <a:xfrm>
              <a:off x="5890886" y="2060633"/>
              <a:ext cx="128652" cy="127227"/>
            </a:xfrm>
            <a:custGeom>
              <a:avLst/>
              <a:gdLst/>
              <a:ahLst/>
              <a:cxnLst/>
              <a:rect l="l" t="t" r="r" b="b"/>
              <a:pathLst>
                <a:path w="4061" h="4016" extrusionOk="0">
                  <a:moveTo>
                    <a:pt x="3421" y="1"/>
                  </a:moveTo>
                  <a:cubicBezTo>
                    <a:pt x="3385" y="1"/>
                    <a:pt x="3346" y="13"/>
                    <a:pt x="3310" y="39"/>
                  </a:cubicBezTo>
                  <a:cubicBezTo>
                    <a:pt x="3239" y="98"/>
                    <a:pt x="3227" y="206"/>
                    <a:pt x="3287" y="277"/>
                  </a:cubicBezTo>
                  <a:cubicBezTo>
                    <a:pt x="3584" y="682"/>
                    <a:pt x="3727" y="1182"/>
                    <a:pt x="3691" y="1694"/>
                  </a:cubicBezTo>
                  <a:cubicBezTo>
                    <a:pt x="3656" y="2194"/>
                    <a:pt x="3429" y="2682"/>
                    <a:pt x="3060" y="3039"/>
                  </a:cubicBezTo>
                  <a:cubicBezTo>
                    <a:pt x="2703" y="3396"/>
                    <a:pt x="2215" y="3623"/>
                    <a:pt x="1703" y="3670"/>
                  </a:cubicBezTo>
                  <a:cubicBezTo>
                    <a:pt x="1665" y="3672"/>
                    <a:pt x="1626" y="3673"/>
                    <a:pt x="1588" y="3673"/>
                  </a:cubicBezTo>
                  <a:cubicBezTo>
                    <a:pt x="1125" y="3673"/>
                    <a:pt x="661" y="3540"/>
                    <a:pt x="298" y="3265"/>
                  </a:cubicBezTo>
                  <a:cubicBezTo>
                    <a:pt x="263" y="3241"/>
                    <a:pt x="227" y="3228"/>
                    <a:pt x="191" y="3228"/>
                  </a:cubicBezTo>
                  <a:cubicBezTo>
                    <a:pt x="142" y="3228"/>
                    <a:pt x="95" y="3253"/>
                    <a:pt x="60" y="3301"/>
                  </a:cubicBezTo>
                  <a:cubicBezTo>
                    <a:pt x="0" y="3373"/>
                    <a:pt x="12" y="3480"/>
                    <a:pt x="84" y="3539"/>
                  </a:cubicBezTo>
                  <a:cubicBezTo>
                    <a:pt x="501" y="3849"/>
                    <a:pt x="1024" y="4016"/>
                    <a:pt x="1548" y="4016"/>
                  </a:cubicBezTo>
                  <a:lnTo>
                    <a:pt x="1727" y="4016"/>
                  </a:lnTo>
                  <a:cubicBezTo>
                    <a:pt x="2322" y="3968"/>
                    <a:pt x="2870" y="3718"/>
                    <a:pt x="3287" y="3301"/>
                  </a:cubicBezTo>
                  <a:cubicBezTo>
                    <a:pt x="3703" y="2884"/>
                    <a:pt x="3953" y="2325"/>
                    <a:pt x="4001" y="1730"/>
                  </a:cubicBezTo>
                  <a:cubicBezTo>
                    <a:pt x="4060" y="1122"/>
                    <a:pt x="3894" y="539"/>
                    <a:pt x="3549" y="63"/>
                  </a:cubicBezTo>
                  <a:cubicBezTo>
                    <a:pt x="3515" y="22"/>
                    <a:pt x="3469" y="1"/>
                    <a:pt x="34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7" name="Google Shape;12027;p61"/>
            <p:cNvSpPr/>
            <p:nvPr/>
          </p:nvSpPr>
          <p:spPr>
            <a:xfrm>
              <a:off x="5910116" y="2122947"/>
              <a:ext cx="61142" cy="33232"/>
            </a:xfrm>
            <a:custGeom>
              <a:avLst/>
              <a:gdLst/>
              <a:ahLst/>
              <a:cxnLst/>
              <a:rect l="l" t="t" r="r" b="b"/>
              <a:pathLst>
                <a:path w="1930" h="1049" extrusionOk="0">
                  <a:moveTo>
                    <a:pt x="1560" y="346"/>
                  </a:moveTo>
                  <a:cubicBezTo>
                    <a:pt x="1477" y="560"/>
                    <a:pt x="1239" y="715"/>
                    <a:pt x="953" y="715"/>
                  </a:cubicBezTo>
                  <a:cubicBezTo>
                    <a:pt x="667" y="715"/>
                    <a:pt x="429" y="548"/>
                    <a:pt x="358" y="346"/>
                  </a:cubicBezTo>
                  <a:close/>
                  <a:moveTo>
                    <a:pt x="167" y="1"/>
                  </a:moveTo>
                  <a:cubicBezTo>
                    <a:pt x="72" y="1"/>
                    <a:pt x="1" y="84"/>
                    <a:pt x="1" y="167"/>
                  </a:cubicBezTo>
                  <a:cubicBezTo>
                    <a:pt x="1" y="644"/>
                    <a:pt x="429" y="1048"/>
                    <a:pt x="965" y="1048"/>
                  </a:cubicBezTo>
                  <a:cubicBezTo>
                    <a:pt x="1501" y="1048"/>
                    <a:pt x="1929" y="656"/>
                    <a:pt x="1929" y="167"/>
                  </a:cubicBezTo>
                  <a:cubicBezTo>
                    <a:pt x="1918" y="84"/>
                    <a:pt x="1846" y="1"/>
                    <a:pt x="17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28" name="Google Shape;12028;p61"/>
          <p:cNvGrpSpPr/>
          <p:nvPr/>
        </p:nvGrpSpPr>
        <p:grpSpPr>
          <a:xfrm>
            <a:off x="5352643" y="1969046"/>
            <a:ext cx="278404" cy="358364"/>
            <a:chOff x="5352643" y="1969046"/>
            <a:chExt cx="278404" cy="358364"/>
          </a:xfrm>
        </p:grpSpPr>
        <p:sp>
          <p:nvSpPr>
            <p:cNvPr id="12029" name="Google Shape;12029;p61"/>
            <p:cNvSpPr/>
            <p:nvPr/>
          </p:nvSpPr>
          <p:spPr>
            <a:xfrm>
              <a:off x="5352643" y="1969046"/>
              <a:ext cx="278404" cy="358364"/>
            </a:xfrm>
            <a:custGeom>
              <a:avLst/>
              <a:gdLst/>
              <a:ahLst/>
              <a:cxnLst/>
              <a:rect l="l" t="t" r="r" b="b"/>
              <a:pathLst>
                <a:path w="8788" h="11312" extrusionOk="0">
                  <a:moveTo>
                    <a:pt x="4882" y="453"/>
                  </a:moveTo>
                  <a:cubicBezTo>
                    <a:pt x="5418" y="739"/>
                    <a:pt x="5834" y="1430"/>
                    <a:pt x="5953" y="2299"/>
                  </a:cubicBezTo>
                  <a:lnTo>
                    <a:pt x="5239" y="2299"/>
                  </a:lnTo>
                  <a:cubicBezTo>
                    <a:pt x="5215" y="1632"/>
                    <a:pt x="5096" y="918"/>
                    <a:pt x="4882" y="453"/>
                  </a:cubicBezTo>
                  <a:close/>
                  <a:moveTo>
                    <a:pt x="5667" y="687"/>
                  </a:moveTo>
                  <a:lnTo>
                    <a:pt x="5667" y="687"/>
                  </a:lnTo>
                  <a:cubicBezTo>
                    <a:pt x="6245" y="1045"/>
                    <a:pt x="6669" y="1625"/>
                    <a:pt x="6811" y="2299"/>
                  </a:cubicBezTo>
                  <a:lnTo>
                    <a:pt x="6299" y="2299"/>
                  </a:lnTo>
                  <a:cubicBezTo>
                    <a:pt x="6227" y="1692"/>
                    <a:pt x="6013" y="1144"/>
                    <a:pt x="5691" y="727"/>
                  </a:cubicBezTo>
                  <a:cubicBezTo>
                    <a:pt x="5682" y="708"/>
                    <a:pt x="5680" y="697"/>
                    <a:pt x="5667" y="687"/>
                  </a:cubicBezTo>
                  <a:close/>
                  <a:moveTo>
                    <a:pt x="3894" y="477"/>
                  </a:moveTo>
                  <a:lnTo>
                    <a:pt x="3894" y="477"/>
                  </a:lnTo>
                  <a:cubicBezTo>
                    <a:pt x="3679" y="918"/>
                    <a:pt x="3572" y="1632"/>
                    <a:pt x="3524" y="2311"/>
                  </a:cubicBezTo>
                  <a:lnTo>
                    <a:pt x="2810" y="2311"/>
                  </a:lnTo>
                  <a:cubicBezTo>
                    <a:pt x="2810" y="2263"/>
                    <a:pt x="2834" y="2215"/>
                    <a:pt x="2846" y="2156"/>
                  </a:cubicBezTo>
                  <a:cubicBezTo>
                    <a:pt x="2858" y="2061"/>
                    <a:pt x="2798" y="1977"/>
                    <a:pt x="2715" y="1954"/>
                  </a:cubicBezTo>
                  <a:cubicBezTo>
                    <a:pt x="2707" y="1953"/>
                    <a:pt x="2699" y="1952"/>
                    <a:pt x="2691" y="1952"/>
                  </a:cubicBezTo>
                  <a:cubicBezTo>
                    <a:pt x="2606" y="1952"/>
                    <a:pt x="2534" y="2009"/>
                    <a:pt x="2512" y="2096"/>
                  </a:cubicBezTo>
                  <a:cubicBezTo>
                    <a:pt x="2501" y="2168"/>
                    <a:pt x="2489" y="2239"/>
                    <a:pt x="2489" y="2311"/>
                  </a:cubicBezTo>
                  <a:lnTo>
                    <a:pt x="1977" y="2311"/>
                  </a:lnTo>
                  <a:cubicBezTo>
                    <a:pt x="2108" y="1620"/>
                    <a:pt x="2512" y="1037"/>
                    <a:pt x="3096" y="691"/>
                  </a:cubicBezTo>
                  <a:lnTo>
                    <a:pt x="3096" y="691"/>
                  </a:lnTo>
                  <a:cubicBezTo>
                    <a:pt x="2953" y="870"/>
                    <a:pt x="2834" y="1096"/>
                    <a:pt x="2727" y="1346"/>
                  </a:cubicBezTo>
                  <a:cubicBezTo>
                    <a:pt x="2703" y="1442"/>
                    <a:pt x="2727" y="1525"/>
                    <a:pt x="2810" y="1573"/>
                  </a:cubicBezTo>
                  <a:cubicBezTo>
                    <a:pt x="2835" y="1582"/>
                    <a:pt x="2860" y="1586"/>
                    <a:pt x="2884" y="1586"/>
                  </a:cubicBezTo>
                  <a:cubicBezTo>
                    <a:pt x="2951" y="1586"/>
                    <a:pt x="3010" y="1551"/>
                    <a:pt x="3036" y="1489"/>
                  </a:cubicBezTo>
                  <a:cubicBezTo>
                    <a:pt x="3251" y="1013"/>
                    <a:pt x="3548" y="644"/>
                    <a:pt x="3894" y="477"/>
                  </a:cubicBezTo>
                  <a:close/>
                  <a:moveTo>
                    <a:pt x="4382" y="334"/>
                  </a:moveTo>
                  <a:cubicBezTo>
                    <a:pt x="4417" y="334"/>
                    <a:pt x="4560" y="441"/>
                    <a:pt x="4691" y="894"/>
                  </a:cubicBezTo>
                  <a:cubicBezTo>
                    <a:pt x="4810" y="1263"/>
                    <a:pt x="4882" y="1763"/>
                    <a:pt x="4918" y="2323"/>
                  </a:cubicBezTo>
                  <a:lnTo>
                    <a:pt x="3846" y="2323"/>
                  </a:lnTo>
                  <a:cubicBezTo>
                    <a:pt x="3870" y="1763"/>
                    <a:pt x="3941" y="1263"/>
                    <a:pt x="4060" y="894"/>
                  </a:cubicBezTo>
                  <a:cubicBezTo>
                    <a:pt x="4203" y="430"/>
                    <a:pt x="4334" y="334"/>
                    <a:pt x="4382" y="334"/>
                  </a:cubicBezTo>
                  <a:close/>
                  <a:moveTo>
                    <a:pt x="7025" y="2632"/>
                  </a:moveTo>
                  <a:cubicBezTo>
                    <a:pt x="7025" y="2632"/>
                    <a:pt x="7037" y="2632"/>
                    <a:pt x="7037" y="2644"/>
                  </a:cubicBezTo>
                  <a:lnTo>
                    <a:pt x="7037" y="3180"/>
                  </a:lnTo>
                  <a:lnTo>
                    <a:pt x="1715" y="3180"/>
                  </a:lnTo>
                  <a:lnTo>
                    <a:pt x="1715" y="2644"/>
                  </a:lnTo>
                  <a:cubicBezTo>
                    <a:pt x="1715" y="2644"/>
                    <a:pt x="1715" y="2632"/>
                    <a:pt x="1727" y="2632"/>
                  </a:cubicBezTo>
                  <a:close/>
                  <a:moveTo>
                    <a:pt x="1905" y="3525"/>
                  </a:moveTo>
                  <a:lnTo>
                    <a:pt x="1905" y="3716"/>
                  </a:lnTo>
                  <a:lnTo>
                    <a:pt x="1834" y="3716"/>
                  </a:lnTo>
                  <a:cubicBezTo>
                    <a:pt x="1810" y="3716"/>
                    <a:pt x="1762" y="3716"/>
                    <a:pt x="1715" y="3728"/>
                  </a:cubicBezTo>
                  <a:lnTo>
                    <a:pt x="1715" y="3525"/>
                  </a:lnTo>
                  <a:close/>
                  <a:moveTo>
                    <a:pt x="7049" y="3525"/>
                  </a:moveTo>
                  <a:lnTo>
                    <a:pt x="7049" y="3728"/>
                  </a:lnTo>
                  <a:cubicBezTo>
                    <a:pt x="7013" y="3728"/>
                    <a:pt x="6977" y="3716"/>
                    <a:pt x="6942" y="3716"/>
                  </a:cubicBezTo>
                  <a:lnTo>
                    <a:pt x="6846" y="3716"/>
                  </a:lnTo>
                  <a:lnTo>
                    <a:pt x="6846" y="3525"/>
                  </a:lnTo>
                  <a:close/>
                  <a:moveTo>
                    <a:pt x="1905" y="4049"/>
                  </a:moveTo>
                  <a:lnTo>
                    <a:pt x="1905" y="4585"/>
                  </a:lnTo>
                  <a:lnTo>
                    <a:pt x="1905" y="4597"/>
                  </a:lnTo>
                  <a:lnTo>
                    <a:pt x="1822" y="4597"/>
                  </a:lnTo>
                  <a:cubicBezTo>
                    <a:pt x="1750" y="4597"/>
                    <a:pt x="1667" y="4561"/>
                    <a:pt x="1608" y="4501"/>
                  </a:cubicBezTo>
                  <a:cubicBezTo>
                    <a:pt x="1548" y="4442"/>
                    <a:pt x="1536" y="4371"/>
                    <a:pt x="1536" y="4299"/>
                  </a:cubicBezTo>
                  <a:cubicBezTo>
                    <a:pt x="1548" y="4168"/>
                    <a:pt x="1691" y="4049"/>
                    <a:pt x="1834" y="4049"/>
                  </a:cubicBezTo>
                  <a:close/>
                  <a:moveTo>
                    <a:pt x="6953" y="4049"/>
                  </a:moveTo>
                  <a:cubicBezTo>
                    <a:pt x="7025" y="4049"/>
                    <a:pt x="7108" y="4073"/>
                    <a:pt x="7168" y="4132"/>
                  </a:cubicBezTo>
                  <a:cubicBezTo>
                    <a:pt x="7204" y="4192"/>
                    <a:pt x="7227" y="4263"/>
                    <a:pt x="7227" y="4359"/>
                  </a:cubicBezTo>
                  <a:cubicBezTo>
                    <a:pt x="7204" y="4490"/>
                    <a:pt x="7073" y="4609"/>
                    <a:pt x="6930" y="4609"/>
                  </a:cubicBezTo>
                  <a:lnTo>
                    <a:pt x="6846" y="4609"/>
                  </a:lnTo>
                  <a:lnTo>
                    <a:pt x="6846" y="4597"/>
                  </a:lnTo>
                  <a:lnTo>
                    <a:pt x="6846" y="4049"/>
                  </a:lnTo>
                  <a:close/>
                  <a:moveTo>
                    <a:pt x="6525" y="3525"/>
                  </a:moveTo>
                  <a:lnTo>
                    <a:pt x="6513" y="4049"/>
                  </a:lnTo>
                  <a:lnTo>
                    <a:pt x="5644" y="4644"/>
                  </a:lnTo>
                  <a:cubicBezTo>
                    <a:pt x="5559" y="4703"/>
                    <a:pt x="5463" y="4727"/>
                    <a:pt x="5363" y="4727"/>
                  </a:cubicBezTo>
                  <a:cubicBezTo>
                    <a:pt x="5322" y="4727"/>
                    <a:pt x="5281" y="4723"/>
                    <a:pt x="5239" y="4716"/>
                  </a:cubicBezTo>
                  <a:cubicBezTo>
                    <a:pt x="5108" y="4668"/>
                    <a:pt x="4989" y="4561"/>
                    <a:pt x="4929" y="4442"/>
                  </a:cubicBezTo>
                  <a:cubicBezTo>
                    <a:pt x="4846" y="4228"/>
                    <a:pt x="4620" y="4085"/>
                    <a:pt x="4382" y="4085"/>
                  </a:cubicBezTo>
                  <a:cubicBezTo>
                    <a:pt x="4144" y="4085"/>
                    <a:pt x="3917" y="4228"/>
                    <a:pt x="3834" y="4442"/>
                  </a:cubicBezTo>
                  <a:cubicBezTo>
                    <a:pt x="3775" y="4585"/>
                    <a:pt x="3655" y="4680"/>
                    <a:pt x="3513" y="4716"/>
                  </a:cubicBezTo>
                  <a:cubicBezTo>
                    <a:pt x="3473" y="4730"/>
                    <a:pt x="3431" y="4737"/>
                    <a:pt x="3390" y="4737"/>
                  </a:cubicBezTo>
                  <a:cubicBezTo>
                    <a:pt x="3296" y="4737"/>
                    <a:pt x="3202" y="4702"/>
                    <a:pt x="3120" y="4644"/>
                  </a:cubicBezTo>
                  <a:lnTo>
                    <a:pt x="2251" y="4049"/>
                  </a:lnTo>
                  <a:lnTo>
                    <a:pt x="2251" y="3525"/>
                  </a:lnTo>
                  <a:close/>
                  <a:moveTo>
                    <a:pt x="4382" y="4406"/>
                  </a:moveTo>
                  <a:cubicBezTo>
                    <a:pt x="4501" y="4406"/>
                    <a:pt x="4584" y="4466"/>
                    <a:pt x="4632" y="4561"/>
                  </a:cubicBezTo>
                  <a:cubicBezTo>
                    <a:pt x="4715" y="4787"/>
                    <a:pt x="4918" y="4954"/>
                    <a:pt x="5156" y="5025"/>
                  </a:cubicBezTo>
                  <a:cubicBezTo>
                    <a:pt x="5227" y="5037"/>
                    <a:pt x="5299" y="5061"/>
                    <a:pt x="5382" y="5061"/>
                  </a:cubicBezTo>
                  <a:cubicBezTo>
                    <a:pt x="5537" y="5061"/>
                    <a:pt x="5703" y="5013"/>
                    <a:pt x="5834" y="4906"/>
                  </a:cubicBezTo>
                  <a:lnTo>
                    <a:pt x="6501" y="4442"/>
                  </a:lnTo>
                  <a:lnTo>
                    <a:pt x="6501" y="4597"/>
                  </a:lnTo>
                  <a:cubicBezTo>
                    <a:pt x="6501" y="5775"/>
                    <a:pt x="5549" y="6728"/>
                    <a:pt x="4382" y="6728"/>
                  </a:cubicBezTo>
                  <a:cubicBezTo>
                    <a:pt x="3203" y="6728"/>
                    <a:pt x="2251" y="5775"/>
                    <a:pt x="2251" y="4597"/>
                  </a:cubicBezTo>
                  <a:lnTo>
                    <a:pt x="2251" y="4442"/>
                  </a:lnTo>
                  <a:lnTo>
                    <a:pt x="2917" y="4906"/>
                  </a:lnTo>
                  <a:cubicBezTo>
                    <a:pt x="3070" y="5000"/>
                    <a:pt x="3235" y="5051"/>
                    <a:pt x="3403" y="5051"/>
                  </a:cubicBezTo>
                  <a:cubicBezTo>
                    <a:pt x="3471" y="5051"/>
                    <a:pt x="3539" y="5042"/>
                    <a:pt x="3608" y="5025"/>
                  </a:cubicBezTo>
                  <a:cubicBezTo>
                    <a:pt x="3846" y="4954"/>
                    <a:pt x="4036" y="4787"/>
                    <a:pt x="4120" y="4561"/>
                  </a:cubicBezTo>
                  <a:cubicBezTo>
                    <a:pt x="4167" y="4478"/>
                    <a:pt x="4263" y="4406"/>
                    <a:pt x="4382" y="4406"/>
                  </a:cubicBezTo>
                  <a:close/>
                  <a:moveTo>
                    <a:pt x="2977" y="7228"/>
                  </a:moveTo>
                  <a:lnTo>
                    <a:pt x="2977" y="7561"/>
                  </a:lnTo>
                  <a:cubicBezTo>
                    <a:pt x="2977" y="7704"/>
                    <a:pt x="2893" y="7835"/>
                    <a:pt x="2739" y="7895"/>
                  </a:cubicBezTo>
                  <a:lnTo>
                    <a:pt x="2358" y="7645"/>
                  </a:lnTo>
                  <a:cubicBezTo>
                    <a:pt x="2251" y="7573"/>
                    <a:pt x="2239" y="7466"/>
                    <a:pt x="2262" y="7395"/>
                  </a:cubicBezTo>
                  <a:cubicBezTo>
                    <a:pt x="2298" y="7323"/>
                    <a:pt x="2358" y="7228"/>
                    <a:pt x="2477" y="7228"/>
                  </a:cubicBezTo>
                  <a:close/>
                  <a:moveTo>
                    <a:pt x="6275" y="7228"/>
                  </a:moveTo>
                  <a:cubicBezTo>
                    <a:pt x="6382" y="7228"/>
                    <a:pt x="6465" y="7323"/>
                    <a:pt x="6477" y="7395"/>
                  </a:cubicBezTo>
                  <a:cubicBezTo>
                    <a:pt x="6513" y="7466"/>
                    <a:pt x="6489" y="7573"/>
                    <a:pt x="6394" y="7645"/>
                  </a:cubicBezTo>
                  <a:lnTo>
                    <a:pt x="6001" y="7895"/>
                  </a:lnTo>
                  <a:cubicBezTo>
                    <a:pt x="5882" y="7835"/>
                    <a:pt x="5775" y="7704"/>
                    <a:pt x="5775" y="7561"/>
                  </a:cubicBezTo>
                  <a:lnTo>
                    <a:pt x="5775" y="7228"/>
                  </a:lnTo>
                  <a:close/>
                  <a:moveTo>
                    <a:pt x="2977" y="6704"/>
                  </a:moveTo>
                  <a:lnTo>
                    <a:pt x="2977" y="6907"/>
                  </a:lnTo>
                  <a:lnTo>
                    <a:pt x="2489" y="6907"/>
                  </a:lnTo>
                  <a:cubicBezTo>
                    <a:pt x="2239" y="6907"/>
                    <a:pt x="2024" y="7049"/>
                    <a:pt x="1953" y="7288"/>
                  </a:cubicBezTo>
                  <a:cubicBezTo>
                    <a:pt x="1881" y="7526"/>
                    <a:pt x="1965" y="7764"/>
                    <a:pt x="2179" y="7919"/>
                  </a:cubicBezTo>
                  <a:lnTo>
                    <a:pt x="4167" y="9240"/>
                  </a:lnTo>
                  <a:cubicBezTo>
                    <a:pt x="4036" y="9300"/>
                    <a:pt x="3929" y="9419"/>
                    <a:pt x="3894" y="9550"/>
                  </a:cubicBezTo>
                  <a:lnTo>
                    <a:pt x="3501" y="9550"/>
                  </a:lnTo>
                  <a:cubicBezTo>
                    <a:pt x="2429" y="9550"/>
                    <a:pt x="1548" y="8669"/>
                    <a:pt x="1548" y="7597"/>
                  </a:cubicBezTo>
                  <a:cubicBezTo>
                    <a:pt x="1548" y="7109"/>
                    <a:pt x="1953" y="6704"/>
                    <a:pt x="2441" y="6704"/>
                  </a:cubicBezTo>
                  <a:close/>
                  <a:moveTo>
                    <a:pt x="6311" y="6728"/>
                  </a:moveTo>
                  <a:cubicBezTo>
                    <a:pt x="6811" y="6728"/>
                    <a:pt x="7204" y="7121"/>
                    <a:pt x="7204" y="7621"/>
                  </a:cubicBezTo>
                  <a:cubicBezTo>
                    <a:pt x="7227" y="8669"/>
                    <a:pt x="6346" y="9550"/>
                    <a:pt x="5263" y="9550"/>
                  </a:cubicBezTo>
                  <a:lnTo>
                    <a:pt x="4870" y="9550"/>
                  </a:lnTo>
                  <a:cubicBezTo>
                    <a:pt x="4822" y="9419"/>
                    <a:pt x="4727" y="9300"/>
                    <a:pt x="4584" y="9240"/>
                  </a:cubicBezTo>
                  <a:lnTo>
                    <a:pt x="5168" y="8847"/>
                  </a:lnTo>
                  <a:cubicBezTo>
                    <a:pt x="5239" y="8812"/>
                    <a:pt x="5263" y="8704"/>
                    <a:pt x="5215" y="8633"/>
                  </a:cubicBezTo>
                  <a:cubicBezTo>
                    <a:pt x="5186" y="8582"/>
                    <a:pt x="5134" y="8557"/>
                    <a:pt x="5082" y="8557"/>
                  </a:cubicBezTo>
                  <a:cubicBezTo>
                    <a:pt x="5049" y="8557"/>
                    <a:pt x="5016" y="8567"/>
                    <a:pt x="4989" y="8585"/>
                  </a:cubicBezTo>
                  <a:lnTo>
                    <a:pt x="4382" y="9002"/>
                  </a:lnTo>
                  <a:lnTo>
                    <a:pt x="3036" y="8109"/>
                  </a:lnTo>
                  <a:cubicBezTo>
                    <a:pt x="3203" y="7978"/>
                    <a:pt x="3310" y="7776"/>
                    <a:pt x="3310" y="7561"/>
                  </a:cubicBezTo>
                  <a:lnTo>
                    <a:pt x="3310" y="6811"/>
                  </a:lnTo>
                  <a:cubicBezTo>
                    <a:pt x="3632" y="6978"/>
                    <a:pt x="3989" y="7061"/>
                    <a:pt x="4382" y="7061"/>
                  </a:cubicBezTo>
                  <a:cubicBezTo>
                    <a:pt x="4763" y="7061"/>
                    <a:pt x="5120" y="6978"/>
                    <a:pt x="5453" y="6811"/>
                  </a:cubicBezTo>
                  <a:lnTo>
                    <a:pt x="5453" y="7561"/>
                  </a:lnTo>
                  <a:cubicBezTo>
                    <a:pt x="5453" y="7764"/>
                    <a:pt x="5560" y="7978"/>
                    <a:pt x="5715" y="8109"/>
                  </a:cubicBezTo>
                  <a:lnTo>
                    <a:pt x="5620" y="8181"/>
                  </a:lnTo>
                  <a:cubicBezTo>
                    <a:pt x="5537" y="8228"/>
                    <a:pt x="5525" y="8335"/>
                    <a:pt x="5572" y="8407"/>
                  </a:cubicBezTo>
                  <a:cubicBezTo>
                    <a:pt x="5596" y="8454"/>
                    <a:pt x="5656" y="8478"/>
                    <a:pt x="5703" y="8478"/>
                  </a:cubicBezTo>
                  <a:cubicBezTo>
                    <a:pt x="5739" y="8478"/>
                    <a:pt x="5763" y="8466"/>
                    <a:pt x="5799" y="8454"/>
                  </a:cubicBezTo>
                  <a:lnTo>
                    <a:pt x="6584" y="7930"/>
                  </a:lnTo>
                  <a:cubicBezTo>
                    <a:pt x="6787" y="7800"/>
                    <a:pt x="6882" y="7538"/>
                    <a:pt x="6811" y="7299"/>
                  </a:cubicBezTo>
                  <a:cubicBezTo>
                    <a:pt x="6727" y="7061"/>
                    <a:pt x="6525" y="6918"/>
                    <a:pt x="6275" y="6918"/>
                  </a:cubicBezTo>
                  <a:lnTo>
                    <a:pt x="5775" y="6918"/>
                  </a:lnTo>
                  <a:lnTo>
                    <a:pt x="5775" y="6728"/>
                  </a:lnTo>
                  <a:close/>
                  <a:moveTo>
                    <a:pt x="4382" y="9526"/>
                  </a:moveTo>
                  <a:cubicBezTo>
                    <a:pt x="4489" y="9538"/>
                    <a:pt x="4572" y="9609"/>
                    <a:pt x="4572" y="9716"/>
                  </a:cubicBezTo>
                  <a:cubicBezTo>
                    <a:pt x="4572" y="9824"/>
                    <a:pt x="4489" y="9907"/>
                    <a:pt x="4382" y="9907"/>
                  </a:cubicBezTo>
                  <a:cubicBezTo>
                    <a:pt x="4275" y="9907"/>
                    <a:pt x="4191" y="9824"/>
                    <a:pt x="4191" y="9716"/>
                  </a:cubicBezTo>
                  <a:cubicBezTo>
                    <a:pt x="4191" y="9609"/>
                    <a:pt x="4275" y="9526"/>
                    <a:pt x="4382" y="9526"/>
                  </a:cubicBezTo>
                  <a:close/>
                  <a:moveTo>
                    <a:pt x="4406" y="1"/>
                  </a:moveTo>
                  <a:cubicBezTo>
                    <a:pt x="3727" y="1"/>
                    <a:pt x="3060" y="251"/>
                    <a:pt x="2548" y="691"/>
                  </a:cubicBezTo>
                  <a:cubicBezTo>
                    <a:pt x="2072" y="1108"/>
                    <a:pt x="1750" y="1692"/>
                    <a:pt x="1643" y="2323"/>
                  </a:cubicBezTo>
                  <a:cubicBezTo>
                    <a:pt x="1512" y="2358"/>
                    <a:pt x="1417" y="2501"/>
                    <a:pt x="1417" y="2644"/>
                  </a:cubicBezTo>
                  <a:lnTo>
                    <a:pt x="1417" y="3906"/>
                  </a:lnTo>
                  <a:cubicBezTo>
                    <a:pt x="1334" y="4001"/>
                    <a:pt x="1250" y="4132"/>
                    <a:pt x="1238" y="4263"/>
                  </a:cubicBezTo>
                  <a:cubicBezTo>
                    <a:pt x="1227" y="4442"/>
                    <a:pt x="1286" y="4609"/>
                    <a:pt x="1393" y="4740"/>
                  </a:cubicBezTo>
                  <a:cubicBezTo>
                    <a:pt x="1512" y="4882"/>
                    <a:pt x="1667" y="4942"/>
                    <a:pt x="1834" y="4942"/>
                  </a:cubicBezTo>
                  <a:lnTo>
                    <a:pt x="1953" y="4942"/>
                  </a:lnTo>
                  <a:cubicBezTo>
                    <a:pt x="2024" y="5502"/>
                    <a:pt x="2298" y="5990"/>
                    <a:pt x="2703" y="6383"/>
                  </a:cubicBezTo>
                  <a:lnTo>
                    <a:pt x="2465" y="6383"/>
                  </a:lnTo>
                  <a:cubicBezTo>
                    <a:pt x="1786" y="6383"/>
                    <a:pt x="1238" y="6930"/>
                    <a:pt x="1238" y="7597"/>
                  </a:cubicBezTo>
                  <a:cubicBezTo>
                    <a:pt x="1238" y="7859"/>
                    <a:pt x="1286" y="8097"/>
                    <a:pt x="1358" y="8311"/>
                  </a:cubicBezTo>
                  <a:lnTo>
                    <a:pt x="881" y="8454"/>
                  </a:lnTo>
                  <a:cubicBezTo>
                    <a:pt x="357" y="8597"/>
                    <a:pt x="0" y="9085"/>
                    <a:pt x="0" y="9621"/>
                  </a:cubicBezTo>
                  <a:lnTo>
                    <a:pt x="0" y="11133"/>
                  </a:lnTo>
                  <a:cubicBezTo>
                    <a:pt x="0" y="11217"/>
                    <a:pt x="84" y="11288"/>
                    <a:pt x="167" y="11288"/>
                  </a:cubicBezTo>
                  <a:cubicBezTo>
                    <a:pt x="250" y="11288"/>
                    <a:pt x="334" y="11217"/>
                    <a:pt x="334" y="11133"/>
                  </a:cubicBezTo>
                  <a:lnTo>
                    <a:pt x="334" y="9621"/>
                  </a:lnTo>
                  <a:cubicBezTo>
                    <a:pt x="334" y="9490"/>
                    <a:pt x="357" y="9359"/>
                    <a:pt x="417" y="9252"/>
                  </a:cubicBezTo>
                  <a:lnTo>
                    <a:pt x="1227" y="9955"/>
                  </a:lnTo>
                  <a:cubicBezTo>
                    <a:pt x="1346" y="10050"/>
                    <a:pt x="1417" y="10205"/>
                    <a:pt x="1417" y="10371"/>
                  </a:cubicBezTo>
                  <a:lnTo>
                    <a:pt x="1417" y="11145"/>
                  </a:lnTo>
                  <a:cubicBezTo>
                    <a:pt x="1417" y="11228"/>
                    <a:pt x="1489" y="11312"/>
                    <a:pt x="1584" y="11312"/>
                  </a:cubicBezTo>
                  <a:cubicBezTo>
                    <a:pt x="1667" y="11312"/>
                    <a:pt x="1739" y="11228"/>
                    <a:pt x="1739" y="11145"/>
                  </a:cubicBezTo>
                  <a:lnTo>
                    <a:pt x="1739" y="10359"/>
                  </a:lnTo>
                  <a:cubicBezTo>
                    <a:pt x="1739" y="10097"/>
                    <a:pt x="1643" y="9859"/>
                    <a:pt x="1441" y="9681"/>
                  </a:cubicBezTo>
                  <a:lnTo>
                    <a:pt x="607" y="8966"/>
                  </a:lnTo>
                  <a:cubicBezTo>
                    <a:pt x="715" y="8883"/>
                    <a:pt x="834" y="8812"/>
                    <a:pt x="965" y="8764"/>
                  </a:cubicBezTo>
                  <a:lnTo>
                    <a:pt x="1477" y="8609"/>
                  </a:lnTo>
                  <a:cubicBezTo>
                    <a:pt x="1846" y="9359"/>
                    <a:pt x="2620" y="9883"/>
                    <a:pt x="3513" y="9883"/>
                  </a:cubicBezTo>
                  <a:lnTo>
                    <a:pt x="3905" y="9883"/>
                  </a:lnTo>
                  <a:cubicBezTo>
                    <a:pt x="3941" y="10026"/>
                    <a:pt x="4084" y="10145"/>
                    <a:pt x="4227" y="10205"/>
                  </a:cubicBezTo>
                  <a:lnTo>
                    <a:pt x="4227" y="11133"/>
                  </a:lnTo>
                  <a:cubicBezTo>
                    <a:pt x="4227" y="11217"/>
                    <a:pt x="4298" y="11288"/>
                    <a:pt x="4394" y="11288"/>
                  </a:cubicBezTo>
                  <a:cubicBezTo>
                    <a:pt x="4477" y="11288"/>
                    <a:pt x="4560" y="11217"/>
                    <a:pt x="4560" y="11133"/>
                  </a:cubicBezTo>
                  <a:lnTo>
                    <a:pt x="4560" y="10205"/>
                  </a:lnTo>
                  <a:cubicBezTo>
                    <a:pt x="4703" y="10157"/>
                    <a:pt x="4822" y="10026"/>
                    <a:pt x="4882" y="9883"/>
                  </a:cubicBezTo>
                  <a:lnTo>
                    <a:pt x="5275" y="9883"/>
                  </a:lnTo>
                  <a:cubicBezTo>
                    <a:pt x="6168" y="9883"/>
                    <a:pt x="6942" y="9359"/>
                    <a:pt x="7311" y="8609"/>
                  </a:cubicBezTo>
                  <a:lnTo>
                    <a:pt x="7811" y="8764"/>
                  </a:lnTo>
                  <a:cubicBezTo>
                    <a:pt x="7954" y="8812"/>
                    <a:pt x="8085" y="8883"/>
                    <a:pt x="8168" y="8966"/>
                  </a:cubicBezTo>
                  <a:lnTo>
                    <a:pt x="7346" y="9681"/>
                  </a:lnTo>
                  <a:cubicBezTo>
                    <a:pt x="7144" y="9847"/>
                    <a:pt x="7049" y="10086"/>
                    <a:pt x="7049" y="10359"/>
                  </a:cubicBezTo>
                  <a:lnTo>
                    <a:pt x="7049" y="11133"/>
                  </a:lnTo>
                  <a:cubicBezTo>
                    <a:pt x="7049" y="11217"/>
                    <a:pt x="7120" y="11288"/>
                    <a:pt x="7204" y="11288"/>
                  </a:cubicBezTo>
                  <a:cubicBezTo>
                    <a:pt x="7299" y="11288"/>
                    <a:pt x="7370" y="11217"/>
                    <a:pt x="7370" y="11133"/>
                  </a:cubicBezTo>
                  <a:lnTo>
                    <a:pt x="7370" y="10359"/>
                  </a:lnTo>
                  <a:cubicBezTo>
                    <a:pt x="7370" y="10193"/>
                    <a:pt x="7442" y="10038"/>
                    <a:pt x="7561" y="9943"/>
                  </a:cubicBezTo>
                  <a:lnTo>
                    <a:pt x="8370" y="9240"/>
                  </a:lnTo>
                  <a:cubicBezTo>
                    <a:pt x="8430" y="9359"/>
                    <a:pt x="8454" y="9478"/>
                    <a:pt x="8454" y="9609"/>
                  </a:cubicBezTo>
                  <a:lnTo>
                    <a:pt x="8454" y="11109"/>
                  </a:lnTo>
                  <a:cubicBezTo>
                    <a:pt x="8454" y="11205"/>
                    <a:pt x="8525" y="11276"/>
                    <a:pt x="8620" y="11276"/>
                  </a:cubicBezTo>
                  <a:cubicBezTo>
                    <a:pt x="8704" y="11276"/>
                    <a:pt x="8787" y="11205"/>
                    <a:pt x="8787" y="11109"/>
                  </a:cubicBezTo>
                  <a:lnTo>
                    <a:pt x="8787" y="9609"/>
                  </a:lnTo>
                  <a:cubicBezTo>
                    <a:pt x="8787" y="9085"/>
                    <a:pt x="8430" y="8597"/>
                    <a:pt x="7906" y="8454"/>
                  </a:cubicBezTo>
                  <a:lnTo>
                    <a:pt x="7430" y="8311"/>
                  </a:lnTo>
                  <a:cubicBezTo>
                    <a:pt x="7501" y="8097"/>
                    <a:pt x="7549" y="7859"/>
                    <a:pt x="7549" y="7597"/>
                  </a:cubicBezTo>
                  <a:cubicBezTo>
                    <a:pt x="7549" y="6930"/>
                    <a:pt x="7001" y="6383"/>
                    <a:pt x="6322" y="6383"/>
                  </a:cubicBezTo>
                  <a:lnTo>
                    <a:pt x="6084" y="6383"/>
                  </a:lnTo>
                  <a:cubicBezTo>
                    <a:pt x="6477" y="6014"/>
                    <a:pt x="6751" y="5502"/>
                    <a:pt x="6834" y="4942"/>
                  </a:cubicBezTo>
                  <a:lnTo>
                    <a:pt x="6942" y="4942"/>
                  </a:lnTo>
                  <a:cubicBezTo>
                    <a:pt x="7263" y="4942"/>
                    <a:pt x="7537" y="4704"/>
                    <a:pt x="7561" y="4382"/>
                  </a:cubicBezTo>
                  <a:cubicBezTo>
                    <a:pt x="7573" y="4204"/>
                    <a:pt x="7525" y="4049"/>
                    <a:pt x="7418" y="3906"/>
                  </a:cubicBezTo>
                  <a:lnTo>
                    <a:pt x="7406" y="3894"/>
                  </a:lnTo>
                  <a:lnTo>
                    <a:pt x="7406" y="2644"/>
                  </a:lnTo>
                  <a:cubicBezTo>
                    <a:pt x="7406" y="2501"/>
                    <a:pt x="7311" y="2382"/>
                    <a:pt x="7180" y="2323"/>
                  </a:cubicBezTo>
                  <a:cubicBezTo>
                    <a:pt x="7073" y="1692"/>
                    <a:pt x="6751" y="1132"/>
                    <a:pt x="6275" y="691"/>
                  </a:cubicBezTo>
                  <a:cubicBezTo>
                    <a:pt x="5751" y="239"/>
                    <a:pt x="5096"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0" name="Google Shape;12030;p61"/>
            <p:cNvSpPr/>
            <p:nvPr/>
          </p:nvSpPr>
          <p:spPr>
            <a:xfrm>
              <a:off x="5452593" y="2092408"/>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50" y="512"/>
                    <a:pt x="334" y="429"/>
                    <a:pt x="334" y="346"/>
                  </a:cubicBezTo>
                  <a:lnTo>
                    <a:pt x="334" y="167"/>
                  </a:ln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1" name="Google Shape;12031;p61"/>
            <p:cNvSpPr/>
            <p:nvPr/>
          </p:nvSpPr>
          <p:spPr>
            <a:xfrm>
              <a:off x="5519723" y="2092408"/>
              <a:ext cx="10233" cy="16252"/>
            </a:xfrm>
            <a:custGeom>
              <a:avLst/>
              <a:gdLst/>
              <a:ahLst/>
              <a:cxnLst/>
              <a:rect l="l" t="t" r="r" b="b"/>
              <a:pathLst>
                <a:path w="323" h="513" extrusionOk="0">
                  <a:moveTo>
                    <a:pt x="167" y="0"/>
                  </a:moveTo>
                  <a:cubicBezTo>
                    <a:pt x="72" y="0"/>
                    <a:pt x="1" y="72"/>
                    <a:pt x="1" y="167"/>
                  </a:cubicBezTo>
                  <a:lnTo>
                    <a:pt x="1" y="346"/>
                  </a:lnTo>
                  <a:cubicBezTo>
                    <a:pt x="1" y="429"/>
                    <a:pt x="72" y="512"/>
                    <a:pt x="167" y="512"/>
                  </a:cubicBezTo>
                  <a:cubicBezTo>
                    <a:pt x="251" y="512"/>
                    <a:pt x="322" y="429"/>
                    <a:pt x="322" y="346"/>
                  </a:cubicBezTo>
                  <a:lnTo>
                    <a:pt x="322" y="167"/>
                  </a:lnTo>
                  <a:cubicBezTo>
                    <a:pt x="322"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2" name="Google Shape;12032;p61"/>
            <p:cNvSpPr/>
            <p:nvPr/>
          </p:nvSpPr>
          <p:spPr>
            <a:xfrm>
              <a:off x="5474833" y="2137298"/>
              <a:ext cx="32852" cy="10201"/>
            </a:xfrm>
            <a:custGeom>
              <a:avLst/>
              <a:gdLst/>
              <a:ahLst/>
              <a:cxnLst/>
              <a:rect l="l" t="t" r="r" b="b"/>
              <a:pathLst>
                <a:path w="1037" h="322" extrusionOk="0">
                  <a:moveTo>
                    <a:pt x="168" y="0"/>
                  </a:moveTo>
                  <a:cubicBezTo>
                    <a:pt x="72" y="0"/>
                    <a:pt x="1" y="72"/>
                    <a:pt x="1" y="167"/>
                  </a:cubicBezTo>
                  <a:cubicBezTo>
                    <a:pt x="1" y="250"/>
                    <a:pt x="72" y="322"/>
                    <a:pt x="168" y="322"/>
                  </a:cubicBezTo>
                  <a:lnTo>
                    <a:pt x="882" y="322"/>
                  </a:lnTo>
                  <a:cubicBezTo>
                    <a:pt x="965" y="322"/>
                    <a:pt x="1037" y="250"/>
                    <a:pt x="1037" y="167"/>
                  </a:cubicBezTo>
                  <a:cubicBezTo>
                    <a:pt x="1037" y="72"/>
                    <a:pt x="965" y="0"/>
                    <a:pt x="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33" name="Google Shape;12033;p61"/>
          <p:cNvGrpSpPr/>
          <p:nvPr/>
        </p:nvGrpSpPr>
        <p:grpSpPr>
          <a:xfrm>
            <a:off x="4897750" y="1968317"/>
            <a:ext cx="279132" cy="358364"/>
            <a:chOff x="4897750" y="1968317"/>
            <a:chExt cx="279132" cy="358364"/>
          </a:xfrm>
        </p:grpSpPr>
        <p:sp>
          <p:nvSpPr>
            <p:cNvPr id="12034" name="Google Shape;12034;p61"/>
            <p:cNvSpPr/>
            <p:nvPr/>
          </p:nvSpPr>
          <p:spPr>
            <a:xfrm>
              <a:off x="4997700" y="2075427"/>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5" name="Google Shape;12035;p61"/>
            <p:cNvSpPr/>
            <p:nvPr/>
          </p:nvSpPr>
          <p:spPr>
            <a:xfrm>
              <a:off x="5064830" y="2075427"/>
              <a:ext cx="10233" cy="16252"/>
            </a:xfrm>
            <a:custGeom>
              <a:avLst/>
              <a:gdLst/>
              <a:ahLst/>
              <a:cxnLst/>
              <a:rect l="l" t="t" r="r" b="b"/>
              <a:pathLst>
                <a:path w="323" h="513" extrusionOk="0">
                  <a:moveTo>
                    <a:pt x="156" y="0"/>
                  </a:moveTo>
                  <a:cubicBezTo>
                    <a:pt x="72" y="0"/>
                    <a:pt x="1" y="72"/>
                    <a:pt x="1" y="167"/>
                  </a:cubicBezTo>
                  <a:lnTo>
                    <a:pt x="1" y="346"/>
                  </a:lnTo>
                  <a:cubicBezTo>
                    <a:pt x="1" y="429"/>
                    <a:pt x="72" y="512"/>
                    <a:pt x="156" y="512"/>
                  </a:cubicBezTo>
                  <a:cubicBezTo>
                    <a:pt x="251" y="512"/>
                    <a:pt x="322" y="429"/>
                    <a:pt x="322" y="346"/>
                  </a:cubicBezTo>
                  <a:lnTo>
                    <a:pt x="322" y="167"/>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6" name="Google Shape;12036;p61"/>
            <p:cNvSpPr/>
            <p:nvPr/>
          </p:nvSpPr>
          <p:spPr>
            <a:xfrm>
              <a:off x="5013920" y="2115122"/>
              <a:ext cx="45302" cy="16157"/>
            </a:xfrm>
            <a:custGeom>
              <a:avLst/>
              <a:gdLst/>
              <a:ahLst/>
              <a:cxnLst/>
              <a:rect l="l" t="t" r="r" b="b"/>
              <a:pathLst>
                <a:path w="1430" h="510" extrusionOk="0">
                  <a:moveTo>
                    <a:pt x="183" y="1"/>
                  </a:moveTo>
                  <a:cubicBezTo>
                    <a:pt x="140" y="1"/>
                    <a:pt x="96" y="15"/>
                    <a:pt x="60" y="45"/>
                  </a:cubicBezTo>
                  <a:cubicBezTo>
                    <a:pt x="0" y="105"/>
                    <a:pt x="0" y="212"/>
                    <a:pt x="60" y="283"/>
                  </a:cubicBezTo>
                  <a:cubicBezTo>
                    <a:pt x="203" y="414"/>
                    <a:pt x="441" y="510"/>
                    <a:pt x="691" y="510"/>
                  </a:cubicBezTo>
                  <a:cubicBezTo>
                    <a:pt x="953" y="510"/>
                    <a:pt x="1203" y="414"/>
                    <a:pt x="1334" y="283"/>
                  </a:cubicBezTo>
                  <a:cubicBezTo>
                    <a:pt x="1429" y="212"/>
                    <a:pt x="1429" y="105"/>
                    <a:pt x="1370" y="45"/>
                  </a:cubicBezTo>
                  <a:cubicBezTo>
                    <a:pt x="1334" y="15"/>
                    <a:pt x="1292" y="1"/>
                    <a:pt x="1251" y="1"/>
                  </a:cubicBezTo>
                  <a:cubicBezTo>
                    <a:pt x="1209" y="1"/>
                    <a:pt x="1167" y="15"/>
                    <a:pt x="1132" y="45"/>
                  </a:cubicBezTo>
                  <a:cubicBezTo>
                    <a:pt x="1072" y="105"/>
                    <a:pt x="917" y="176"/>
                    <a:pt x="715" y="176"/>
                  </a:cubicBezTo>
                  <a:cubicBezTo>
                    <a:pt x="500" y="176"/>
                    <a:pt x="358" y="105"/>
                    <a:pt x="298" y="45"/>
                  </a:cubicBezTo>
                  <a:cubicBezTo>
                    <a:pt x="268" y="15"/>
                    <a:pt x="227" y="1"/>
                    <a:pt x="1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7" name="Google Shape;12037;p61"/>
            <p:cNvSpPr/>
            <p:nvPr/>
          </p:nvSpPr>
          <p:spPr>
            <a:xfrm>
              <a:off x="4897750" y="1968317"/>
              <a:ext cx="279132" cy="358364"/>
            </a:xfrm>
            <a:custGeom>
              <a:avLst/>
              <a:gdLst/>
              <a:ahLst/>
              <a:cxnLst/>
              <a:rect l="l" t="t" r="r" b="b"/>
              <a:pathLst>
                <a:path w="8811" h="11312" extrusionOk="0">
                  <a:moveTo>
                    <a:pt x="6108" y="357"/>
                  </a:moveTo>
                  <a:cubicBezTo>
                    <a:pt x="6263" y="357"/>
                    <a:pt x="6418" y="476"/>
                    <a:pt x="6465" y="643"/>
                  </a:cubicBezTo>
                  <a:lnTo>
                    <a:pt x="6668" y="1441"/>
                  </a:lnTo>
                  <a:lnTo>
                    <a:pt x="6180" y="1441"/>
                  </a:lnTo>
                  <a:cubicBezTo>
                    <a:pt x="6084" y="1441"/>
                    <a:pt x="6013" y="1524"/>
                    <a:pt x="6013" y="1607"/>
                  </a:cubicBezTo>
                  <a:cubicBezTo>
                    <a:pt x="6013" y="1703"/>
                    <a:pt x="6084" y="1774"/>
                    <a:pt x="6180" y="1774"/>
                  </a:cubicBezTo>
                  <a:lnTo>
                    <a:pt x="6763" y="1774"/>
                  </a:lnTo>
                  <a:lnTo>
                    <a:pt x="6846" y="2143"/>
                  </a:lnTo>
                  <a:lnTo>
                    <a:pt x="1965" y="2143"/>
                  </a:lnTo>
                  <a:lnTo>
                    <a:pt x="2024" y="1774"/>
                  </a:lnTo>
                  <a:lnTo>
                    <a:pt x="5430" y="1774"/>
                  </a:lnTo>
                  <a:cubicBezTo>
                    <a:pt x="5525" y="1774"/>
                    <a:pt x="5596" y="1703"/>
                    <a:pt x="5596" y="1607"/>
                  </a:cubicBezTo>
                  <a:cubicBezTo>
                    <a:pt x="5596" y="1524"/>
                    <a:pt x="5525" y="1441"/>
                    <a:pt x="5430" y="1441"/>
                  </a:cubicBezTo>
                  <a:lnTo>
                    <a:pt x="2120" y="1441"/>
                  </a:lnTo>
                  <a:lnTo>
                    <a:pt x="2322" y="643"/>
                  </a:lnTo>
                  <a:cubicBezTo>
                    <a:pt x="2370" y="476"/>
                    <a:pt x="2513" y="357"/>
                    <a:pt x="2679" y="357"/>
                  </a:cubicBezTo>
                  <a:close/>
                  <a:moveTo>
                    <a:pt x="2262" y="2477"/>
                  </a:moveTo>
                  <a:lnTo>
                    <a:pt x="2262" y="3012"/>
                  </a:lnTo>
                  <a:cubicBezTo>
                    <a:pt x="2262" y="3120"/>
                    <a:pt x="2179" y="3203"/>
                    <a:pt x="2072" y="3203"/>
                  </a:cubicBezTo>
                  <a:lnTo>
                    <a:pt x="1881" y="3203"/>
                  </a:lnTo>
                  <a:lnTo>
                    <a:pt x="1881" y="2477"/>
                  </a:lnTo>
                  <a:close/>
                  <a:moveTo>
                    <a:pt x="6858" y="2477"/>
                  </a:moveTo>
                  <a:lnTo>
                    <a:pt x="6858" y="3203"/>
                  </a:lnTo>
                  <a:lnTo>
                    <a:pt x="6668" y="3203"/>
                  </a:lnTo>
                  <a:cubicBezTo>
                    <a:pt x="6561" y="3203"/>
                    <a:pt x="6477" y="3108"/>
                    <a:pt x="6477" y="3012"/>
                  </a:cubicBezTo>
                  <a:lnTo>
                    <a:pt x="6477" y="2477"/>
                  </a:lnTo>
                  <a:close/>
                  <a:moveTo>
                    <a:pt x="6144" y="2489"/>
                  </a:moveTo>
                  <a:lnTo>
                    <a:pt x="6144" y="3024"/>
                  </a:lnTo>
                  <a:cubicBezTo>
                    <a:pt x="6144" y="3310"/>
                    <a:pt x="6382" y="3548"/>
                    <a:pt x="6668" y="3548"/>
                  </a:cubicBezTo>
                  <a:lnTo>
                    <a:pt x="6942" y="3548"/>
                  </a:lnTo>
                  <a:cubicBezTo>
                    <a:pt x="7013" y="3548"/>
                    <a:pt x="7085" y="3572"/>
                    <a:pt x="7144" y="3632"/>
                  </a:cubicBezTo>
                  <a:cubicBezTo>
                    <a:pt x="7204" y="3691"/>
                    <a:pt x="7215" y="3774"/>
                    <a:pt x="7215" y="3846"/>
                  </a:cubicBezTo>
                  <a:cubicBezTo>
                    <a:pt x="7204" y="3977"/>
                    <a:pt x="7073" y="4096"/>
                    <a:pt x="6918" y="4096"/>
                  </a:cubicBezTo>
                  <a:lnTo>
                    <a:pt x="6846" y="4096"/>
                  </a:lnTo>
                  <a:lnTo>
                    <a:pt x="6846" y="4084"/>
                  </a:lnTo>
                  <a:cubicBezTo>
                    <a:pt x="6846" y="3989"/>
                    <a:pt x="6775" y="3917"/>
                    <a:pt x="6680" y="3917"/>
                  </a:cubicBezTo>
                  <a:cubicBezTo>
                    <a:pt x="6596" y="3917"/>
                    <a:pt x="6525" y="3989"/>
                    <a:pt x="6525" y="4084"/>
                  </a:cubicBezTo>
                  <a:cubicBezTo>
                    <a:pt x="6525" y="5263"/>
                    <a:pt x="5572" y="6215"/>
                    <a:pt x="4394" y="6215"/>
                  </a:cubicBezTo>
                  <a:cubicBezTo>
                    <a:pt x="3203" y="6215"/>
                    <a:pt x="2251" y="5263"/>
                    <a:pt x="2251" y="4084"/>
                  </a:cubicBezTo>
                  <a:cubicBezTo>
                    <a:pt x="2251" y="3989"/>
                    <a:pt x="2179" y="3917"/>
                    <a:pt x="2084" y="3917"/>
                  </a:cubicBezTo>
                  <a:cubicBezTo>
                    <a:pt x="2001" y="3917"/>
                    <a:pt x="1917" y="3989"/>
                    <a:pt x="1917" y="4084"/>
                  </a:cubicBezTo>
                  <a:lnTo>
                    <a:pt x="1917" y="4096"/>
                  </a:lnTo>
                  <a:lnTo>
                    <a:pt x="1822" y="4096"/>
                  </a:lnTo>
                  <a:cubicBezTo>
                    <a:pt x="1739" y="4096"/>
                    <a:pt x="1667" y="4072"/>
                    <a:pt x="1608" y="4013"/>
                  </a:cubicBezTo>
                  <a:cubicBezTo>
                    <a:pt x="1548" y="3953"/>
                    <a:pt x="1536" y="3870"/>
                    <a:pt x="1536" y="3798"/>
                  </a:cubicBezTo>
                  <a:cubicBezTo>
                    <a:pt x="1548" y="3667"/>
                    <a:pt x="1679" y="3548"/>
                    <a:pt x="1834" y="3548"/>
                  </a:cubicBezTo>
                  <a:lnTo>
                    <a:pt x="2072" y="3548"/>
                  </a:lnTo>
                  <a:cubicBezTo>
                    <a:pt x="2358" y="3548"/>
                    <a:pt x="2584" y="3310"/>
                    <a:pt x="2584" y="3024"/>
                  </a:cubicBezTo>
                  <a:lnTo>
                    <a:pt x="2584" y="2489"/>
                  </a:lnTo>
                  <a:close/>
                  <a:moveTo>
                    <a:pt x="2989" y="6894"/>
                  </a:moveTo>
                  <a:cubicBezTo>
                    <a:pt x="3013" y="6894"/>
                    <a:pt x="3024" y="6894"/>
                    <a:pt x="3036" y="6906"/>
                  </a:cubicBezTo>
                  <a:cubicBezTo>
                    <a:pt x="3227" y="7120"/>
                    <a:pt x="3513" y="7263"/>
                    <a:pt x="3858" y="7358"/>
                  </a:cubicBezTo>
                  <a:lnTo>
                    <a:pt x="3858" y="7370"/>
                  </a:lnTo>
                  <a:lnTo>
                    <a:pt x="3858" y="8120"/>
                  </a:lnTo>
                  <a:cubicBezTo>
                    <a:pt x="3334" y="8025"/>
                    <a:pt x="2858" y="7799"/>
                    <a:pt x="2536" y="7465"/>
                  </a:cubicBezTo>
                  <a:lnTo>
                    <a:pt x="2929" y="6918"/>
                  </a:lnTo>
                  <a:cubicBezTo>
                    <a:pt x="2953" y="6906"/>
                    <a:pt x="2965" y="6894"/>
                    <a:pt x="2989" y="6894"/>
                  </a:cubicBezTo>
                  <a:close/>
                  <a:moveTo>
                    <a:pt x="5763" y="6894"/>
                  </a:moveTo>
                  <a:cubicBezTo>
                    <a:pt x="5775" y="6894"/>
                    <a:pt x="5799" y="6906"/>
                    <a:pt x="5822" y="6918"/>
                  </a:cubicBezTo>
                  <a:lnTo>
                    <a:pt x="6227" y="7465"/>
                  </a:lnTo>
                  <a:cubicBezTo>
                    <a:pt x="5894" y="7799"/>
                    <a:pt x="5418" y="8025"/>
                    <a:pt x="4894" y="8120"/>
                  </a:cubicBezTo>
                  <a:lnTo>
                    <a:pt x="4894" y="7370"/>
                  </a:lnTo>
                  <a:lnTo>
                    <a:pt x="4894" y="7358"/>
                  </a:lnTo>
                  <a:cubicBezTo>
                    <a:pt x="5239" y="7263"/>
                    <a:pt x="5525" y="7120"/>
                    <a:pt x="5715" y="6906"/>
                  </a:cubicBezTo>
                  <a:cubicBezTo>
                    <a:pt x="5727" y="6894"/>
                    <a:pt x="5751" y="6894"/>
                    <a:pt x="5763" y="6894"/>
                  </a:cubicBezTo>
                  <a:close/>
                  <a:moveTo>
                    <a:pt x="5465" y="6299"/>
                  </a:moveTo>
                  <a:lnTo>
                    <a:pt x="5465" y="6727"/>
                  </a:lnTo>
                  <a:cubicBezTo>
                    <a:pt x="5310" y="6882"/>
                    <a:pt x="5096" y="6989"/>
                    <a:pt x="4834" y="7049"/>
                  </a:cubicBezTo>
                  <a:cubicBezTo>
                    <a:pt x="4668" y="7084"/>
                    <a:pt x="4572" y="7227"/>
                    <a:pt x="4572" y="7370"/>
                  </a:cubicBezTo>
                  <a:lnTo>
                    <a:pt x="4572" y="8144"/>
                  </a:lnTo>
                  <a:cubicBezTo>
                    <a:pt x="4513" y="8150"/>
                    <a:pt x="4450" y="8153"/>
                    <a:pt x="4388" y="8153"/>
                  </a:cubicBezTo>
                  <a:cubicBezTo>
                    <a:pt x="4325" y="8153"/>
                    <a:pt x="4263" y="8150"/>
                    <a:pt x="4203" y="8144"/>
                  </a:cubicBezTo>
                  <a:lnTo>
                    <a:pt x="4203" y="7370"/>
                  </a:lnTo>
                  <a:cubicBezTo>
                    <a:pt x="4203" y="7203"/>
                    <a:pt x="4096" y="7072"/>
                    <a:pt x="3941" y="7049"/>
                  </a:cubicBezTo>
                  <a:cubicBezTo>
                    <a:pt x="3691" y="6989"/>
                    <a:pt x="3465" y="6870"/>
                    <a:pt x="3322" y="6727"/>
                  </a:cubicBezTo>
                  <a:lnTo>
                    <a:pt x="3322" y="6299"/>
                  </a:lnTo>
                  <a:cubicBezTo>
                    <a:pt x="3644" y="6465"/>
                    <a:pt x="4001" y="6549"/>
                    <a:pt x="4394" y="6549"/>
                  </a:cubicBezTo>
                  <a:cubicBezTo>
                    <a:pt x="4775" y="6549"/>
                    <a:pt x="5132" y="6465"/>
                    <a:pt x="5465" y="6299"/>
                  </a:cubicBezTo>
                  <a:close/>
                  <a:moveTo>
                    <a:pt x="2691" y="0"/>
                  </a:moveTo>
                  <a:cubicBezTo>
                    <a:pt x="2382" y="0"/>
                    <a:pt x="2096" y="226"/>
                    <a:pt x="2024" y="524"/>
                  </a:cubicBezTo>
                  <a:lnTo>
                    <a:pt x="1596" y="2250"/>
                  </a:lnTo>
                  <a:lnTo>
                    <a:pt x="1596" y="2298"/>
                  </a:lnTo>
                  <a:lnTo>
                    <a:pt x="1596" y="3251"/>
                  </a:lnTo>
                  <a:cubicBezTo>
                    <a:pt x="1393" y="3334"/>
                    <a:pt x="1262" y="3512"/>
                    <a:pt x="1239" y="3727"/>
                  </a:cubicBezTo>
                  <a:cubicBezTo>
                    <a:pt x="1215" y="3905"/>
                    <a:pt x="1274" y="4072"/>
                    <a:pt x="1381" y="4203"/>
                  </a:cubicBezTo>
                  <a:cubicBezTo>
                    <a:pt x="1500" y="4334"/>
                    <a:pt x="1667" y="4394"/>
                    <a:pt x="1834" y="4394"/>
                  </a:cubicBezTo>
                  <a:lnTo>
                    <a:pt x="1953" y="4394"/>
                  </a:lnTo>
                  <a:cubicBezTo>
                    <a:pt x="2048" y="5096"/>
                    <a:pt x="2441" y="5691"/>
                    <a:pt x="2989" y="6072"/>
                  </a:cubicBezTo>
                  <a:lnTo>
                    <a:pt x="2989" y="6537"/>
                  </a:lnTo>
                  <a:cubicBezTo>
                    <a:pt x="2870" y="6537"/>
                    <a:pt x="2763" y="6596"/>
                    <a:pt x="2691" y="6703"/>
                  </a:cubicBezTo>
                  <a:lnTo>
                    <a:pt x="2215" y="7346"/>
                  </a:lnTo>
                  <a:lnTo>
                    <a:pt x="881" y="7739"/>
                  </a:lnTo>
                  <a:cubicBezTo>
                    <a:pt x="357" y="7894"/>
                    <a:pt x="0" y="8382"/>
                    <a:pt x="0" y="8918"/>
                  </a:cubicBezTo>
                  <a:lnTo>
                    <a:pt x="0" y="11132"/>
                  </a:lnTo>
                  <a:cubicBezTo>
                    <a:pt x="0" y="11228"/>
                    <a:pt x="72" y="11299"/>
                    <a:pt x="167" y="11299"/>
                  </a:cubicBezTo>
                  <a:cubicBezTo>
                    <a:pt x="250" y="11299"/>
                    <a:pt x="322" y="11228"/>
                    <a:pt x="322" y="11132"/>
                  </a:cubicBezTo>
                  <a:lnTo>
                    <a:pt x="322" y="8918"/>
                  </a:lnTo>
                  <a:cubicBezTo>
                    <a:pt x="322" y="8513"/>
                    <a:pt x="596" y="8180"/>
                    <a:pt x="965" y="8061"/>
                  </a:cubicBezTo>
                  <a:lnTo>
                    <a:pt x="2322" y="7656"/>
                  </a:lnTo>
                  <a:cubicBezTo>
                    <a:pt x="2501" y="7846"/>
                    <a:pt x="2727" y="8001"/>
                    <a:pt x="2977" y="8132"/>
                  </a:cubicBezTo>
                  <a:lnTo>
                    <a:pt x="2286" y="8132"/>
                  </a:lnTo>
                  <a:cubicBezTo>
                    <a:pt x="1810" y="8132"/>
                    <a:pt x="1417" y="8513"/>
                    <a:pt x="1417" y="9001"/>
                  </a:cubicBezTo>
                  <a:cubicBezTo>
                    <a:pt x="1417" y="9096"/>
                    <a:pt x="1489" y="9168"/>
                    <a:pt x="1572" y="9168"/>
                  </a:cubicBezTo>
                  <a:cubicBezTo>
                    <a:pt x="1667" y="9168"/>
                    <a:pt x="1739" y="9096"/>
                    <a:pt x="1739" y="9001"/>
                  </a:cubicBezTo>
                  <a:cubicBezTo>
                    <a:pt x="1739" y="8704"/>
                    <a:pt x="1977" y="8465"/>
                    <a:pt x="2274" y="8465"/>
                  </a:cubicBezTo>
                  <a:lnTo>
                    <a:pt x="4406" y="8465"/>
                  </a:lnTo>
                  <a:cubicBezTo>
                    <a:pt x="5239" y="8465"/>
                    <a:pt x="6001" y="8168"/>
                    <a:pt x="6489" y="7668"/>
                  </a:cubicBezTo>
                  <a:lnTo>
                    <a:pt x="7847" y="8073"/>
                  </a:lnTo>
                  <a:cubicBezTo>
                    <a:pt x="8216" y="8168"/>
                    <a:pt x="8478" y="8537"/>
                    <a:pt x="8478" y="8930"/>
                  </a:cubicBezTo>
                  <a:lnTo>
                    <a:pt x="8478" y="11144"/>
                  </a:lnTo>
                  <a:cubicBezTo>
                    <a:pt x="8478" y="11240"/>
                    <a:pt x="8561" y="11311"/>
                    <a:pt x="8644" y="11311"/>
                  </a:cubicBezTo>
                  <a:cubicBezTo>
                    <a:pt x="8739" y="11311"/>
                    <a:pt x="8811" y="11240"/>
                    <a:pt x="8811" y="11144"/>
                  </a:cubicBezTo>
                  <a:lnTo>
                    <a:pt x="8811" y="8930"/>
                  </a:lnTo>
                  <a:cubicBezTo>
                    <a:pt x="8787" y="8394"/>
                    <a:pt x="8430" y="7918"/>
                    <a:pt x="7906" y="7775"/>
                  </a:cubicBezTo>
                  <a:lnTo>
                    <a:pt x="6561" y="7370"/>
                  </a:lnTo>
                  <a:lnTo>
                    <a:pt x="6084" y="6727"/>
                  </a:lnTo>
                  <a:cubicBezTo>
                    <a:pt x="6013" y="6644"/>
                    <a:pt x="5906" y="6584"/>
                    <a:pt x="5787" y="6572"/>
                  </a:cubicBezTo>
                  <a:lnTo>
                    <a:pt x="5787" y="6108"/>
                  </a:lnTo>
                  <a:cubicBezTo>
                    <a:pt x="6346" y="5715"/>
                    <a:pt x="6727" y="5120"/>
                    <a:pt x="6834" y="4417"/>
                  </a:cubicBezTo>
                  <a:lnTo>
                    <a:pt x="6942" y="4417"/>
                  </a:lnTo>
                  <a:cubicBezTo>
                    <a:pt x="7263" y="4417"/>
                    <a:pt x="7537" y="4179"/>
                    <a:pt x="7561" y="3870"/>
                  </a:cubicBezTo>
                  <a:cubicBezTo>
                    <a:pt x="7573" y="3691"/>
                    <a:pt x="7513" y="3524"/>
                    <a:pt x="7418" y="3393"/>
                  </a:cubicBezTo>
                  <a:cubicBezTo>
                    <a:pt x="7346" y="3334"/>
                    <a:pt x="7299" y="3298"/>
                    <a:pt x="7215" y="3251"/>
                  </a:cubicBezTo>
                  <a:lnTo>
                    <a:pt x="7215" y="2298"/>
                  </a:lnTo>
                  <a:lnTo>
                    <a:pt x="7215" y="2250"/>
                  </a:lnTo>
                  <a:lnTo>
                    <a:pt x="6787" y="524"/>
                  </a:lnTo>
                  <a:cubicBezTo>
                    <a:pt x="6715" y="214"/>
                    <a:pt x="6430" y="0"/>
                    <a:pt x="6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8" name="Google Shape;12038;p61"/>
            <p:cNvSpPr/>
            <p:nvPr/>
          </p:nvSpPr>
          <p:spPr>
            <a:xfrm>
              <a:off x="4992030" y="2058827"/>
              <a:ext cx="21923" cy="10581"/>
            </a:xfrm>
            <a:custGeom>
              <a:avLst/>
              <a:gdLst/>
              <a:ahLst/>
              <a:cxnLst/>
              <a:rect l="l" t="t" r="r" b="b"/>
              <a:pathLst>
                <a:path w="692" h="334" extrusionOk="0">
                  <a:moveTo>
                    <a:pt x="168" y="1"/>
                  </a:moveTo>
                  <a:cubicBezTo>
                    <a:pt x="72" y="1"/>
                    <a:pt x="1" y="84"/>
                    <a:pt x="1" y="167"/>
                  </a:cubicBezTo>
                  <a:cubicBezTo>
                    <a:pt x="1" y="263"/>
                    <a:pt x="72" y="334"/>
                    <a:pt x="168" y="334"/>
                  </a:cubicBezTo>
                  <a:lnTo>
                    <a:pt x="525" y="334"/>
                  </a:lnTo>
                  <a:cubicBezTo>
                    <a:pt x="608" y="334"/>
                    <a:pt x="691" y="263"/>
                    <a:pt x="691" y="167"/>
                  </a:cubicBezTo>
                  <a:cubicBezTo>
                    <a:pt x="691" y="60"/>
                    <a:pt x="608"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9" name="Google Shape;12039;p61"/>
            <p:cNvSpPr/>
            <p:nvPr/>
          </p:nvSpPr>
          <p:spPr>
            <a:xfrm>
              <a:off x="5059191" y="2058827"/>
              <a:ext cx="21511" cy="10581"/>
            </a:xfrm>
            <a:custGeom>
              <a:avLst/>
              <a:gdLst/>
              <a:ahLst/>
              <a:cxnLst/>
              <a:rect l="l" t="t" r="r" b="b"/>
              <a:pathLst>
                <a:path w="679" h="334" extrusionOk="0">
                  <a:moveTo>
                    <a:pt x="155" y="1"/>
                  </a:moveTo>
                  <a:cubicBezTo>
                    <a:pt x="72" y="1"/>
                    <a:pt x="0" y="84"/>
                    <a:pt x="0" y="167"/>
                  </a:cubicBezTo>
                  <a:cubicBezTo>
                    <a:pt x="0" y="263"/>
                    <a:pt x="72" y="334"/>
                    <a:pt x="155" y="334"/>
                  </a:cubicBezTo>
                  <a:lnTo>
                    <a:pt x="512" y="334"/>
                  </a:lnTo>
                  <a:cubicBezTo>
                    <a:pt x="607" y="334"/>
                    <a:pt x="679" y="263"/>
                    <a:pt x="679" y="167"/>
                  </a:cubicBezTo>
                  <a:cubicBezTo>
                    <a:pt x="679" y="60"/>
                    <a:pt x="607"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0" name="Google Shape;12040;p61"/>
            <p:cNvSpPr/>
            <p:nvPr/>
          </p:nvSpPr>
          <p:spPr>
            <a:xfrm>
              <a:off x="4941500" y="2271558"/>
              <a:ext cx="10581" cy="55123"/>
            </a:xfrm>
            <a:custGeom>
              <a:avLst/>
              <a:gdLst/>
              <a:ahLst/>
              <a:cxnLst/>
              <a:rect l="l" t="t" r="r" b="b"/>
              <a:pathLst>
                <a:path w="334" h="1740" extrusionOk="0">
                  <a:moveTo>
                    <a:pt x="167" y="1"/>
                  </a:moveTo>
                  <a:cubicBezTo>
                    <a:pt x="84" y="1"/>
                    <a:pt x="0" y="72"/>
                    <a:pt x="0" y="167"/>
                  </a:cubicBezTo>
                  <a:lnTo>
                    <a:pt x="0" y="1584"/>
                  </a:lnTo>
                  <a:cubicBezTo>
                    <a:pt x="0" y="1668"/>
                    <a:pt x="84" y="1739"/>
                    <a:pt x="167" y="1739"/>
                  </a:cubicBezTo>
                  <a:cubicBezTo>
                    <a:pt x="250" y="1739"/>
                    <a:pt x="334" y="1668"/>
                    <a:pt x="334" y="1584"/>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1" name="Google Shape;12041;p61"/>
            <p:cNvSpPr/>
            <p:nvPr/>
          </p:nvSpPr>
          <p:spPr>
            <a:xfrm>
              <a:off x="4963739" y="225457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2" name="Google Shape;12042;p61"/>
            <p:cNvSpPr/>
            <p:nvPr/>
          </p:nvSpPr>
          <p:spPr>
            <a:xfrm>
              <a:off x="5098791" y="225457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3" name="Google Shape;12043;p61"/>
            <p:cNvSpPr/>
            <p:nvPr/>
          </p:nvSpPr>
          <p:spPr>
            <a:xfrm>
              <a:off x="5098791" y="2282868"/>
              <a:ext cx="10201" cy="10613"/>
            </a:xfrm>
            <a:custGeom>
              <a:avLst/>
              <a:gdLst/>
              <a:ahLst/>
              <a:cxnLst/>
              <a:rect l="l" t="t" r="r" b="b"/>
              <a:pathLst>
                <a:path w="322" h="335" extrusionOk="0">
                  <a:moveTo>
                    <a:pt x="155" y="1"/>
                  </a:moveTo>
                  <a:cubicBezTo>
                    <a:pt x="72" y="1"/>
                    <a:pt x="0" y="72"/>
                    <a:pt x="0" y="168"/>
                  </a:cubicBezTo>
                  <a:cubicBezTo>
                    <a:pt x="0" y="251"/>
                    <a:pt x="72" y="334"/>
                    <a:pt x="155" y="334"/>
                  </a:cubicBezTo>
                  <a:cubicBezTo>
                    <a:pt x="250" y="334"/>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4" name="Google Shape;12044;p61"/>
            <p:cNvSpPr/>
            <p:nvPr/>
          </p:nvSpPr>
          <p:spPr>
            <a:xfrm>
              <a:off x="4963739" y="2282868"/>
              <a:ext cx="10993" cy="10613"/>
            </a:xfrm>
            <a:custGeom>
              <a:avLst/>
              <a:gdLst/>
              <a:ahLst/>
              <a:cxnLst/>
              <a:rect l="l" t="t" r="r" b="b"/>
              <a:pathLst>
                <a:path w="347" h="335" extrusionOk="0">
                  <a:moveTo>
                    <a:pt x="168" y="1"/>
                  </a:moveTo>
                  <a:cubicBezTo>
                    <a:pt x="72" y="1"/>
                    <a:pt x="1" y="72"/>
                    <a:pt x="1" y="168"/>
                  </a:cubicBezTo>
                  <a:cubicBezTo>
                    <a:pt x="1" y="251"/>
                    <a:pt x="72" y="334"/>
                    <a:pt x="168" y="334"/>
                  </a:cubicBezTo>
                  <a:cubicBezTo>
                    <a:pt x="251" y="334"/>
                    <a:pt x="322" y="251"/>
                    <a:pt x="322" y="168"/>
                  </a:cubicBez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5" name="Google Shape;12045;p61"/>
            <p:cNvSpPr/>
            <p:nvPr/>
          </p:nvSpPr>
          <p:spPr>
            <a:xfrm>
              <a:off x="5098791" y="2310778"/>
              <a:ext cx="10201" cy="10233"/>
            </a:xfrm>
            <a:custGeom>
              <a:avLst/>
              <a:gdLst/>
              <a:ahLst/>
              <a:cxnLst/>
              <a:rect l="l" t="t" r="r" b="b"/>
              <a:pathLst>
                <a:path w="322" h="323" extrusionOk="0">
                  <a:moveTo>
                    <a:pt x="155" y="1"/>
                  </a:moveTo>
                  <a:cubicBezTo>
                    <a:pt x="72" y="1"/>
                    <a:pt x="0" y="72"/>
                    <a:pt x="0" y="168"/>
                  </a:cubicBezTo>
                  <a:cubicBezTo>
                    <a:pt x="0" y="251"/>
                    <a:pt x="72" y="322"/>
                    <a:pt x="155" y="322"/>
                  </a:cubicBezTo>
                  <a:cubicBezTo>
                    <a:pt x="250" y="322"/>
                    <a:pt x="322" y="251"/>
                    <a:pt x="322" y="168"/>
                  </a:cubicBez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6" name="Google Shape;12046;p61"/>
            <p:cNvSpPr/>
            <p:nvPr/>
          </p:nvSpPr>
          <p:spPr>
            <a:xfrm>
              <a:off x="4963739" y="2310778"/>
              <a:ext cx="10233" cy="10233"/>
            </a:xfrm>
            <a:custGeom>
              <a:avLst/>
              <a:gdLst/>
              <a:ahLst/>
              <a:cxnLst/>
              <a:rect l="l" t="t" r="r" b="b"/>
              <a:pathLst>
                <a:path w="323" h="323" extrusionOk="0">
                  <a:moveTo>
                    <a:pt x="168" y="1"/>
                  </a:moveTo>
                  <a:cubicBezTo>
                    <a:pt x="72" y="1"/>
                    <a:pt x="1" y="72"/>
                    <a:pt x="1" y="168"/>
                  </a:cubicBezTo>
                  <a:cubicBezTo>
                    <a:pt x="1" y="251"/>
                    <a:pt x="72" y="322"/>
                    <a:pt x="168" y="322"/>
                  </a:cubicBezTo>
                  <a:cubicBezTo>
                    <a:pt x="251" y="322"/>
                    <a:pt x="322" y="251"/>
                    <a:pt x="322" y="168"/>
                  </a:cubicBezTo>
                  <a:cubicBezTo>
                    <a:pt x="322"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047" name="Google Shape;12047;p61"/>
          <p:cNvSpPr/>
          <p:nvPr/>
        </p:nvSpPr>
        <p:spPr>
          <a:xfrm>
            <a:off x="872362" y="1513044"/>
            <a:ext cx="325164" cy="347783"/>
          </a:xfrm>
          <a:custGeom>
            <a:avLst/>
            <a:gdLst/>
            <a:ahLst/>
            <a:cxnLst/>
            <a:rect l="l" t="t" r="r" b="b"/>
            <a:pathLst>
              <a:path w="10264" h="10978" extrusionOk="0">
                <a:moveTo>
                  <a:pt x="3096" y="310"/>
                </a:moveTo>
                <a:lnTo>
                  <a:pt x="3096" y="381"/>
                </a:lnTo>
                <a:lnTo>
                  <a:pt x="3096" y="3870"/>
                </a:lnTo>
                <a:cubicBezTo>
                  <a:pt x="3096" y="4787"/>
                  <a:pt x="3811" y="5549"/>
                  <a:pt x="4704" y="5644"/>
                </a:cubicBezTo>
                <a:lnTo>
                  <a:pt x="4704" y="6965"/>
                </a:lnTo>
                <a:lnTo>
                  <a:pt x="2656" y="6965"/>
                </a:lnTo>
                <a:lnTo>
                  <a:pt x="2656" y="310"/>
                </a:lnTo>
                <a:close/>
                <a:moveTo>
                  <a:pt x="7585" y="310"/>
                </a:moveTo>
                <a:lnTo>
                  <a:pt x="7585" y="6965"/>
                </a:lnTo>
                <a:lnTo>
                  <a:pt x="5549" y="6965"/>
                </a:lnTo>
                <a:lnTo>
                  <a:pt x="5549" y="5644"/>
                </a:lnTo>
                <a:cubicBezTo>
                  <a:pt x="6454" y="5549"/>
                  <a:pt x="7168" y="4787"/>
                  <a:pt x="7168" y="3870"/>
                </a:cubicBezTo>
                <a:lnTo>
                  <a:pt x="7168" y="381"/>
                </a:lnTo>
                <a:lnTo>
                  <a:pt x="7168" y="310"/>
                </a:lnTo>
                <a:close/>
                <a:moveTo>
                  <a:pt x="2370" y="310"/>
                </a:moveTo>
                <a:lnTo>
                  <a:pt x="2370" y="7132"/>
                </a:lnTo>
                <a:cubicBezTo>
                  <a:pt x="2370" y="7215"/>
                  <a:pt x="2453" y="7287"/>
                  <a:pt x="2537" y="7287"/>
                </a:cubicBezTo>
                <a:lnTo>
                  <a:pt x="4728" y="7287"/>
                </a:lnTo>
                <a:lnTo>
                  <a:pt x="4728" y="7823"/>
                </a:lnTo>
                <a:lnTo>
                  <a:pt x="334" y="7823"/>
                </a:lnTo>
                <a:lnTo>
                  <a:pt x="334" y="7287"/>
                </a:lnTo>
                <a:lnTo>
                  <a:pt x="1668" y="7287"/>
                </a:lnTo>
                <a:cubicBezTo>
                  <a:pt x="1751" y="7287"/>
                  <a:pt x="1822" y="7215"/>
                  <a:pt x="1822" y="7132"/>
                </a:cubicBezTo>
                <a:lnTo>
                  <a:pt x="1822" y="6692"/>
                </a:lnTo>
                <a:cubicBezTo>
                  <a:pt x="1822" y="6608"/>
                  <a:pt x="1751" y="6537"/>
                  <a:pt x="1668" y="6537"/>
                </a:cubicBezTo>
                <a:cubicBezTo>
                  <a:pt x="1572" y="6537"/>
                  <a:pt x="1501" y="6608"/>
                  <a:pt x="1501" y="6692"/>
                </a:cubicBezTo>
                <a:lnTo>
                  <a:pt x="1501" y="6965"/>
                </a:lnTo>
                <a:lnTo>
                  <a:pt x="322" y="6965"/>
                </a:lnTo>
                <a:lnTo>
                  <a:pt x="322" y="5501"/>
                </a:lnTo>
                <a:cubicBezTo>
                  <a:pt x="596" y="5477"/>
                  <a:pt x="846" y="5346"/>
                  <a:pt x="1049" y="5144"/>
                </a:cubicBezTo>
                <a:cubicBezTo>
                  <a:pt x="1287" y="4906"/>
                  <a:pt x="1430" y="4596"/>
                  <a:pt x="1430" y="4275"/>
                </a:cubicBezTo>
                <a:lnTo>
                  <a:pt x="1430" y="310"/>
                </a:lnTo>
                <a:lnTo>
                  <a:pt x="1513" y="310"/>
                </a:lnTo>
                <a:lnTo>
                  <a:pt x="1513" y="6061"/>
                </a:lnTo>
                <a:cubicBezTo>
                  <a:pt x="1513" y="6144"/>
                  <a:pt x="1584" y="6215"/>
                  <a:pt x="1680" y="6215"/>
                </a:cubicBezTo>
                <a:cubicBezTo>
                  <a:pt x="1763" y="6215"/>
                  <a:pt x="1846" y="6144"/>
                  <a:pt x="1846" y="6061"/>
                </a:cubicBezTo>
                <a:lnTo>
                  <a:pt x="1846" y="310"/>
                </a:lnTo>
                <a:close/>
                <a:moveTo>
                  <a:pt x="8430" y="310"/>
                </a:moveTo>
                <a:lnTo>
                  <a:pt x="8430" y="7132"/>
                </a:lnTo>
                <a:cubicBezTo>
                  <a:pt x="8430" y="7215"/>
                  <a:pt x="8502" y="7287"/>
                  <a:pt x="8597" y="7287"/>
                </a:cubicBezTo>
                <a:lnTo>
                  <a:pt x="9943" y="7287"/>
                </a:lnTo>
                <a:lnTo>
                  <a:pt x="9943" y="7823"/>
                </a:lnTo>
                <a:lnTo>
                  <a:pt x="5549" y="7823"/>
                </a:lnTo>
                <a:lnTo>
                  <a:pt x="5549" y="7287"/>
                </a:lnTo>
                <a:lnTo>
                  <a:pt x="7728" y="7287"/>
                </a:lnTo>
                <a:cubicBezTo>
                  <a:pt x="7823" y="7287"/>
                  <a:pt x="7895" y="7215"/>
                  <a:pt x="7895" y="7132"/>
                </a:cubicBezTo>
                <a:lnTo>
                  <a:pt x="7895" y="310"/>
                </a:lnTo>
                <a:close/>
                <a:moveTo>
                  <a:pt x="4716" y="8144"/>
                </a:moveTo>
                <a:lnTo>
                  <a:pt x="4716" y="8751"/>
                </a:lnTo>
                <a:lnTo>
                  <a:pt x="322" y="8751"/>
                </a:lnTo>
                <a:lnTo>
                  <a:pt x="322" y="8144"/>
                </a:lnTo>
                <a:close/>
                <a:moveTo>
                  <a:pt x="9943" y="8144"/>
                </a:moveTo>
                <a:lnTo>
                  <a:pt x="9943" y="8751"/>
                </a:lnTo>
                <a:lnTo>
                  <a:pt x="5549" y="8751"/>
                </a:lnTo>
                <a:lnTo>
                  <a:pt x="5549" y="8144"/>
                </a:lnTo>
                <a:close/>
                <a:moveTo>
                  <a:pt x="4716" y="9073"/>
                </a:moveTo>
                <a:lnTo>
                  <a:pt x="4716" y="9609"/>
                </a:lnTo>
                <a:lnTo>
                  <a:pt x="322" y="9609"/>
                </a:lnTo>
                <a:lnTo>
                  <a:pt x="322" y="9073"/>
                </a:lnTo>
                <a:close/>
                <a:moveTo>
                  <a:pt x="9943" y="9073"/>
                </a:moveTo>
                <a:lnTo>
                  <a:pt x="9943" y="9609"/>
                </a:lnTo>
                <a:lnTo>
                  <a:pt x="5549" y="9609"/>
                </a:lnTo>
                <a:lnTo>
                  <a:pt x="5549" y="9073"/>
                </a:lnTo>
                <a:close/>
                <a:moveTo>
                  <a:pt x="6823" y="619"/>
                </a:moveTo>
                <a:lnTo>
                  <a:pt x="6823" y="3834"/>
                </a:lnTo>
                <a:cubicBezTo>
                  <a:pt x="6847" y="4668"/>
                  <a:pt x="6192" y="5322"/>
                  <a:pt x="5394" y="5322"/>
                </a:cubicBezTo>
                <a:cubicBezTo>
                  <a:pt x="5311" y="5322"/>
                  <a:pt x="5240" y="5406"/>
                  <a:pt x="5240" y="5489"/>
                </a:cubicBezTo>
                <a:lnTo>
                  <a:pt x="5240" y="7132"/>
                </a:lnTo>
                <a:lnTo>
                  <a:pt x="5240" y="7977"/>
                </a:lnTo>
                <a:lnTo>
                  <a:pt x="5240" y="8918"/>
                </a:lnTo>
                <a:lnTo>
                  <a:pt x="5240" y="9763"/>
                </a:lnTo>
                <a:lnTo>
                  <a:pt x="5240" y="10644"/>
                </a:lnTo>
                <a:lnTo>
                  <a:pt x="5025" y="10644"/>
                </a:lnTo>
                <a:lnTo>
                  <a:pt x="5025" y="9752"/>
                </a:lnTo>
                <a:lnTo>
                  <a:pt x="5025" y="8894"/>
                </a:lnTo>
                <a:lnTo>
                  <a:pt x="5025" y="7966"/>
                </a:lnTo>
                <a:lnTo>
                  <a:pt x="5025" y="7108"/>
                </a:lnTo>
                <a:lnTo>
                  <a:pt x="5025" y="5465"/>
                </a:lnTo>
                <a:cubicBezTo>
                  <a:pt x="5025" y="5370"/>
                  <a:pt x="4954" y="5299"/>
                  <a:pt x="4859" y="5299"/>
                </a:cubicBezTo>
                <a:cubicBezTo>
                  <a:pt x="4061" y="5299"/>
                  <a:pt x="3406" y="4644"/>
                  <a:pt x="3406" y="3834"/>
                </a:cubicBezTo>
                <a:lnTo>
                  <a:pt x="3406" y="619"/>
                </a:lnTo>
                <a:cubicBezTo>
                  <a:pt x="3942" y="869"/>
                  <a:pt x="4525" y="1012"/>
                  <a:pt x="5120" y="1012"/>
                </a:cubicBezTo>
                <a:cubicBezTo>
                  <a:pt x="5716" y="1012"/>
                  <a:pt x="6287" y="881"/>
                  <a:pt x="6823" y="619"/>
                </a:cubicBezTo>
                <a:close/>
                <a:moveTo>
                  <a:pt x="4716" y="9930"/>
                </a:moveTo>
                <a:lnTo>
                  <a:pt x="4716" y="10656"/>
                </a:lnTo>
                <a:lnTo>
                  <a:pt x="322" y="10656"/>
                </a:lnTo>
                <a:lnTo>
                  <a:pt x="322" y="9930"/>
                </a:lnTo>
                <a:close/>
                <a:moveTo>
                  <a:pt x="1251" y="0"/>
                </a:moveTo>
                <a:cubicBezTo>
                  <a:pt x="1156" y="0"/>
                  <a:pt x="1084" y="72"/>
                  <a:pt x="1084" y="155"/>
                </a:cubicBezTo>
                <a:lnTo>
                  <a:pt x="1084" y="4287"/>
                </a:lnTo>
                <a:cubicBezTo>
                  <a:pt x="1084" y="4537"/>
                  <a:pt x="989" y="4763"/>
                  <a:pt x="810" y="4941"/>
                </a:cubicBezTo>
                <a:cubicBezTo>
                  <a:pt x="632" y="5120"/>
                  <a:pt x="418" y="5203"/>
                  <a:pt x="156" y="5203"/>
                </a:cubicBezTo>
                <a:cubicBezTo>
                  <a:pt x="72" y="5203"/>
                  <a:pt x="1" y="5275"/>
                  <a:pt x="1" y="5370"/>
                </a:cubicBezTo>
                <a:lnTo>
                  <a:pt x="1" y="7144"/>
                </a:lnTo>
                <a:lnTo>
                  <a:pt x="1" y="7989"/>
                </a:lnTo>
                <a:lnTo>
                  <a:pt x="1" y="8930"/>
                </a:lnTo>
                <a:lnTo>
                  <a:pt x="1" y="9775"/>
                </a:lnTo>
                <a:lnTo>
                  <a:pt x="1" y="10811"/>
                </a:lnTo>
                <a:cubicBezTo>
                  <a:pt x="1" y="10906"/>
                  <a:pt x="72" y="10978"/>
                  <a:pt x="156" y="10978"/>
                </a:cubicBezTo>
                <a:lnTo>
                  <a:pt x="8180" y="10978"/>
                </a:lnTo>
                <a:cubicBezTo>
                  <a:pt x="8276" y="10978"/>
                  <a:pt x="8347" y="10906"/>
                  <a:pt x="8347" y="10811"/>
                </a:cubicBezTo>
                <a:cubicBezTo>
                  <a:pt x="8347" y="10728"/>
                  <a:pt x="8276" y="10656"/>
                  <a:pt x="8180" y="10656"/>
                </a:cubicBezTo>
                <a:lnTo>
                  <a:pt x="5549" y="10656"/>
                </a:lnTo>
                <a:lnTo>
                  <a:pt x="5549" y="9918"/>
                </a:lnTo>
                <a:lnTo>
                  <a:pt x="9943" y="9918"/>
                </a:lnTo>
                <a:lnTo>
                  <a:pt x="9943" y="10656"/>
                </a:lnTo>
                <a:lnTo>
                  <a:pt x="8811" y="10656"/>
                </a:lnTo>
                <a:cubicBezTo>
                  <a:pt x="8716" y="10656"/>
                  <a:pt x="8645" y="10728"/>
                  <a:pt x="8645" y="10811"/>
                </a:cubicBezTo>
                <a:cubicBezTo>
                  <a:pt x="8645" y="10906"/>
                  <a:pt x="8716" y="10978"/>
                  <a:pt x="8811" y="10978"/>
                </a:cubicBezTo>
                <a:lnTo>
                  <a:pt x="10085" y="10978"/>
                </a:lnTo>
                <a:cubicBezTo>
                  <a:pt x="10181" y="10978"/>
                  <a:pt x="10252" y="10906"/>
                  <a:pt x="10252" y="10811"/>
                </a:cubicBezTo>
                <a:lnTo>
                  <a:pt x="10252" y="6644"/>
                </a:lnTo>
                <a:cubicBezTo>
                  <a:pt x="10252" y="6561"/>
                  <a:pt x="10181" y="6489"/>
                  <a:pt x="10085" y="6489"/>
                </a:cubicBezTo>
                <a:cubicBezTo>
                  <a:pt x="10002" y="6489"/>
                  <a:pt x="9919" y="6561"/>
                  <a:pt x="9919" y="6644"/>
                </a:cubicBezTo>
                <a:lnTo>
                  <a:pt x="9919" y="6977"/>
                </a:lnTo>
                <a:lnTo>
                  <a:pt x="8752" y="6977"/>
                </a:lnTo>
                <a:lnTo>
                  <a:pt x="8752" y="322"/>
                </a:lnTo>
                <a:lnTo>
                  <a:pt x="8835" y="322"/>
                </a:lnTo>
                <a:lnTo>
                  <a:pt x="8835" y="4287"/>
                </a:lnTo>
                <a:cubicBezTo>
                  <a:pt x="8835" y="4608"/>
                  <a:pt x="8966" y="4941"/>
                  <a:pt x="9204" y="5156"/>
                </a:cubicBezTo>
                <a:cubicBezTo>
                  <a:pt x="9407" y="5358"/>
                  <a:pt x="9657" y="5489"/>
                  <a:pt x="9943" y="5513"/>
                </a:cubicBezTo>
                <a:lnTo>
                  <a:pt x="9943" y="6013"/>
                </a:lnTo>
                <a:cubicBezTo>
                  <a:pt x="9943" y="6096"/>
                  <a:pt x="10014" y="6180"/>
                  <a:pt x="10097" y="6180"/>
                </a:cubicBezTo>
                <a:cubicBezTo>
                  <a:pt x="10193" y="6180"/>
                  <a:pt x="10264" y="6096"/>
                  <a:pt x="10264" y="6013"/>
                </a:cubicBezTo>
                <a:lnTo>
                  <a:pt x="10264" y="5370"/>
                </a:lnTo>
                <a:cubicBezTo>
                  <a:pt x="10264" y="5275"/>
                  <a:pt x="10193" y="5203"/>
                  <a:pt x="10097" y="5203"/>
                </a:cubicBezTo>
                <a:cubicBezTo>
                  <a:pt x="9847" y="5203"/>
                  <a:pt x="9621" y="5120"/>
                  <a:pt x="9442" y="4941"/>
                </a:cubicBezTo>
                <a:cubicBezTo>
                  <a:pt x="9264" y="4763"/>
                  <a:pt x="9181" y="4537"/>
                  <a:pt x="9181" y="4287"/>
                </a:cubicBezTo>
                <a:lnTo>
                  <a:pt x="9181" y="155"/>
                </a:lnTo>
                <a:cubicBezTo>
                  <a:pt x="9181" y="72"/>
                  <a:pt x="9109" y="0"/>
                  <a:pt x="9014" y="0"/>
                </a:cubicBezTo>
                <a:lnTo>
                  <a:pt x="7002" y="0"/>
                </a:lnTo>
                <a:cubicBezTo>
                  <a:pt x="6918" y="0"/>
                  <a:pt x="6847" y="72"/>
                  <a:pt x="6847" y="155"/>
                </a:cubicBezTo>
                <a:lnTo>
                  <a:pt x="6847" y="310"/>
                </a:lnTo>
                <a:cubicBezTo>
                  <a:pt x="6323" y="596"/>
                  <a:pt x="5728" y="738"/>
                  <a:pt x="5132" y="738"/>
                </a:cubicBezTo>
                <a:cubicBezTo>
                  <a:pt x="4537" y="738"/>
                  <a:pt x="3942" y="596"/>
                  <a:pt x="3418" y="310"/>
                </a:cubicBezTo>
                <a:lnTo>
                  <a:pt x="3418" y="155"/>
                </a:lnTo>
                <a:cubicBezTo>
                  <a:pt x="3418"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048" name="Google Shape;12048;p61"/>
          <p:cNvGrpSpPr/>
          <p:nvPr/>
        </p:nvGrpSpPr>
        <p:grpSpPr>
          <a:xfrm>
            <a:off x="1767449" y="1513044"/>
            <a:ext cx="324403" cy="347783"/>
            <a:chOff x="1767449" y="1513044"/>
            <a:chExt cx="324403" cy="347783"/>
          </a:xfrm>
        </p:grpSpPr>
        <p:sp>
          <p:nvSpPr>
            <p:cNvPr id="12049" name="Google Shape;12049;p61"/>
            <p:cNvSpPr/>
            <p:nvPr/>
          </p:nvSpPr>
          <p:spPr>
            <a:xfrm>
              <a:off x="1850039" y="1513044"/>
              <a:ext cx="159604" cy="347783"/>
            </a:xfrm>
            <a:custGeom>
              <a:avLst/>
              <a:gdLst/>
              <a:ahLst/>
              <a:cxnLst/>
              <a:rect l="l" t="t" r="r" b="b"/>
              <a:pathLst>
                <a:path w="5038" h="10978" extrusionOk="0">
                  <a:moveTo>
                    <a:pt x="1918" y="1893"/>
                  </a:moveTo>
                  <a:cubicBezTo>
                    <a:pt x="2156" y="1893"/>
                    <a:pt x="2358" y="2084"/>
                    <a:pt x="2358" y="2322"/>
                  </a:cubicBezTo>
                  <a:lnTo>
                    <a:pt x="2358" y="3465"/>
                  </a:lnTo>
                  <a:lnTo>
                    <a:pt x="1501" y="3465"/>
                  </a:lnTo>
                  <a:lnTo>
                    <a:pt x="1501" y="2703"/>
                  </a:lnTo>
                  <a:lnTo>
                    <a:pt x="1501" y="2310"/>
                  </a:lnTo>
                  <a:cubicBezTo>
                    <a:pt x="1501" y="2191"/>
                    <a:pt x="1549" y="2084"/>
                    <a:pt x="1620" y="2012"/>
                  </a:cubicBezTo>
                  <a:cubicBezTo>
                    <a:pt x="1703" y="1929"/>
                    <a:pt x="1822" y="1893"/>
                    <a:pt x="1918" y="1893"/>
                  </a:cubicBezTo>
                  <a:close/>
                  <a:moveTo>
                    <a:pt x="751" y="322"/>
                  </a:moveTo>
                  <a:cubicBezTo>
                    <a:pt x="989" y="322"/>
                    <a:pt x="1180" y="524"/>
                    <a:pt x="1180" y="750"/>
                  </a:cubicBezTo>
                  <a:lnTo>
                    <a:pt x="1180" y="2322"/>
                  </a:lnTo>
                  <a:lnTo>
                    <a:pt x="1180" y="2715"/>
                  </a:lnTo>
                  <a:lnTo>
                    <a:pt x="1180" y="3465"/>
                  </a:lnTo>
                  <a:lnTo>
                    <a:pt x="715" y="3465"/>
                  </a:lnTo>
                  <a:cubicBezTo>
                    <a:pt x="572" y="3465"/>
                    <a:pt x="429" y="3513"/>
                    <a:pt x="310" y="3584"/>
                  </a:cubicBezTo>
                  <a:lnTo>
                    <a:pt x="310" y="738"/>
                  </a:lnTo>
                  <a:lnTo>
                    <a:pt x="334" y="738"/>
                  </a:lnTo>
                  <a:cubicBezTo>
                    <a:pt x="334" y="619"/>
                    <a:pt x="370" y="524"/>
                    <a:pt x="453" y="441"/>
                  </a:cubicBezTo>
                  <a:cubicBezTo>
                    <a:pt x="525" y="369"/>
                    <a:pt x="644" y="322"/>
                    <a:pt x="751" y="322"/>
                  </a:cubicBezTo>
                  <a:close/>
                  <a:moveTo>
                    <a:pt x="4335" y="1870"/>
                  </a:moveTo>
                  <a:cubicBezTo>
                    <a:pt x="4537" y="1870"/>
                    <a:pt x="4716" y="2036"/>
                    <a:pt x="4716" y="2262"/>
                  </a:cubicBezTo>
                  <a:lnTo>
                    <a:pt x="4716" y="3275"/>
                  </a:lnTo>
                  <a:cubicBezTo>
                    <a:pt x="4704" y="3477"/>
                    <a:pt x="4537" y="3656"/>
                    <a:pt x="4335" y="3656"/>
                  </a:cubicBezTo>
                  <a:lnTo>
                    <a:pt x="4239" y="3656"/>
                  </a:lnTo>
                  <a:cubicBezTo>
                    <a:pt x="4037" y="3656"/>
                    <a:pt x="3858" y="3501"/>
                    <a:pt x="3858" y="3275"/>
                  </a:cubicBezTo>
                  <a:lnTo>
                    <a:pt x="3858" y="2286"/>
                  </a:lnTo>
                  <a:lnTo>
                    <a:pt x="3858" y="2262"/>
                  </a:lnTo>
                  <a:cubicBezTo>
                    <a:pt x="3858" y="2048"/>
                    <a:pt x="4013" y="1870"/>
                    <a:pt x="4239" y="1870"/>
                  </a:cubicBezTo>
                  <a:close/>
                  <a:moveTo>
                    <a:pt x="3108" y="1870"/>
                  </a:moveTo>
                  <a:cubicBezTo>
                    <a:pt x="3335" y="1870"/>
                    <a:pt x="3525" y="2048"/>
                    <a:pt x="3525" y="2286"/>
                  </a:cubicBezTo>
                  <a:lnTo>
                    <a:pt x="3525" y="3275"/>
                  </a:lnTo>
                  <a:lnTo>
                    <a:pt x="3525" y="3501"/>
                  </a:lnTo>
                  <a:cubicBezTo>
                    <a:pt x="3525" y="3715"/>
                    <a:pt x="3346" y="3917"/>
                    <a:pt x="3108" y="3917"/>
                  </a:cubicBezTo>
                  <a:lnTo>
                    <a:pt x="3037" y="3917"/>
                  </a:lnTo>
                  <a:lnTo>
                    <a:pt x="3037" y="3620"/>
                  </a:lnTo>
                  <a:cubicBezTo>
                    <a:pt x="3037" y="3525"/>
                    <a:pt x="2965" y="3453"/>
                    <a:pt x="2870" y="3453"/>
                  </a:cubicBezTo>
                  <a:lnTo>
                    <a:pt x="2668" y="3453"/>
                  </a:lnTo>
                  <a:lnTo>
                    <a:pt x="2668" y="2310"/>
                  </a:lnTo>
                  <a:lnTo>
                    <a:pt x="2668" y="2286"/>
                  </a:lnTo>
                  <a:cubicBezTo>
                    <a:pt x="2668" y="2072"/>
                    <a:pt x="2846" y="1870"/>
                    <a:pt x="3085" y="1870"/>
                  </a:cubicBezTo>
                  <a:close/>
                  <a:moveTo>
                    <a:pt x="2727" y="3763"/>
                  </a:moveTo>
                  <a:lnTo>
                    <a:pt x="2727" y="4632"/>
                  </a:lnTo>
                  <a:cubicBezTo>
                    <a:pt x="2727" y="4846"/>
                    <a:pt x="2549" y="5025"/>
                    <a:pt x="2323" y="5025"/>
                  </a:cubicBezTo>
                  <a:lnTo>
                    <a:pt x="727" y="5025"/>
                  </a:lnTo>
                  <a:cubicBezTo>
                    <a:pt x="513" y="5025"/>
                    <a:pt x="334" y="4846"/>
                    <a:pt x="334" y="4632"/>
                  </a:cubicBezTo>
                  <a:lnTo>
                    <a:pt x="334" y="4167"/>
                  </a:lnTo>
                  <a:cubicBezTo>
                    <a:pt x="334" y="3941"/>
                    <a:pt x="513" y="3763"/>
                    <a:pt x="727" y="3763"/>
                  </a:cubicBezTo>
                  <a:close/>
                  <a:moveTo>
                    <a:pt x="763" y="0"/>
                  </a:moveTo>
                  <a:cubicBezTo>
                    <a:pt x="572" y="0"/>
                    <a:pt x="370" y="72"/>
                    <a:pt x="227" y="227"/>
                  </a:cubicBezTo>
                  <a:cubicBezTo>
                    <a:pt x="72" y="369"/>
                    <a:pt x="1" y="548"/>
                    <a:pt x="1" y="762"/>
                  </a:cubicBezTo>
                  <a:lnTo>
                    <a:pt x="1" y="6751"/>
                  </a:lnTo>
                  <a:cubicBezTo>
                    <a:pt x="1" y="6846"/>
                    <a:pt x="72" y="6918"/>
                    <a:pt x="167" y="6918"/>
                  </a:cubicBezTo>
                  <a:cubicBezTo>
                    <a:pt x="251" y="6918"/>
                    <a:pt x="334" y="6846"/>
                    <a:pt x="334" y="6751"/>
                  </a:cubicBezTo>
                  <a:lnTo>
                    <a:pt x="334" y="5239"/>
                  </a:lnTo>
                  <a:cubicBezTo>
                    <a:pt x="453" y="5310"/>
                    <a:pt x="584" y="5358"/>
                    <a:pt x="727" y="5358"/>
                  </a:cubicBezTo>
                  <a:lnTo>
                    <a:pt x="2323" y="5358"/>
                  </a:lnTo>
                  <a:cubicBezTo>
                    <a:pt x="2727" y="5358"/>
                    <a:pt x="3037" y="5025"/>
                    <a:pt x="3037" y="4644"/>
                  </a:cubicBezTo>
                  <a:lnTo>
                    <a:pt x="3037" y="4239"/>
                  </a:lnTo>
                  <a:lnTo>
                    <a:pt x="3108" y="4239"/>
                  </a:lnTo>
                  <a:cubicBezTo>
                    <a:pt x="3394" y="4239"/>
                    <a:pt x="3644" y="4072"/>
                    <a:pt x="3763" y="3822"/>
                  </a:cubicBezTo>
                  <a:cubicBezTo>
                    <a:pt x="3882" y="3929"/>
                    <a:pt x="4049" y="3989"/>
                    <a:pt x="4216" y="3989"/>
                  </a:cubicBezTo>
                  <a:lnTo>
                    <a:pt x="4299" y="3989"/>
                  </a:lnTo>
                  <a:cubicBezTo>
                    <a:pt x="4442" y="3989"/>
                    <a:pt x="4573" y="3941"/>
                    <a:pt x="4692" y="3870"/>
                  </a:cubicBezTo>
                  <a:lnTo>
                    <a:pt x="4692" y="8335"/>
                  </a:lnTo>
                  <a:lnTo>
                    <a:pt x="2989" y="8335"/>
                  </a:lnTo>
                  <a:cubicBezTo>
                    <a:pt x="2906" y="8335"/>
                    <a:pt x="2834" y="8406"/>
                    <a:pt x="2834" y="8501"/>
                  </a:cubicBezTo>
                  <a:cubicBezTo>
                    <a:pt x="2834" y="8585"/>
                    <a:pt x="2906" y="8656"/>
                    <a:pt x="2989" y="8656"/>
                  </a:cubicBezTo>
                  <a:lnTo>
                    <a:pt x="4692" y="8656"/>
                  </a:lnTo>
                  <a:lnTo>
                    <a:pt x="4692" y="9299"/>
                  </a:lnTo>
                  <a:lnTo>
                    <a:pt x="334" y="9299"/>
                  </a:lnTo>
                  <a:lnTo>
                    <a:pt x="334" y="8656"/>
                  </a:lnTo>
                  <a:lnTo>
                    <a:pt x="2311" y="8656"/>
                  </a:lnTo>
                  <a:cubicBezTo>
                    <a:pt x="2394" y="8656"/>
                    <a:pt x="2477" y="8585"/>
                    <a:pt x="2477" y="8501"/>
                  </a:cubicBezTo>
                  <a:cubicBezTo>
                    <a:pt x="2477" y="8406"/>
                    <a:pt x="2394" y="8335"/>
                    <a:pt x="2311" y="8335"/>
                  </a:cubicBezTo>
                  <a:lnTo>
                    <a:pt x="346" y="8335"/>
                  </a:lnTo>
                  <a:lnTo>
                    <a:pt x="346" y="7382"/>
                  </a:lnTo>
                  <a:cubicBezTo>
                    <a:pt x="346" y="7287"/>
                    <a:pt x="275" y="7215"/>
                    <a:pt x="179" y="7215"/>
                  </a:cubicBezTo>
                  <a:cubicBezTo>
                    <a:pt x="96" y="7215"/>
                    <a:pt x="13" y="7287"/>
                    <a:pt x="13" y="7382"/>
                  </a:cubicBezTo>
                  <a:lnTo>
                    <a:pt x="13" y="9454"/>
                  </a:lnTo>
                  <a:cubicBezTo>
                    <a:pt x="13" y="9537"/>
                    <a:pt x="96" y="9609"/>
                    <a:pt x="179" y="9609"/>
                  </a:cubicBezTo>
                  <a:lnTo>
                    <a:pt x="1299" y="9609"/>
                  </a:lnTo>
                  <a:lnTo>
                    <a:pt x="1299" y="10823"/>
                  </a:lnTo>
                  <a:cubicBezTo>
                    <a:pt x="1299" y="10906"/>
                    <a:pt x="1370" y="10978"/>
                    <a:pt x="1465" y="10978"/>
                  </a:cubicBezTo>
                  <a:lnTo>
                    <a:pt x="2203" y="10978"/>
                  </a:lnTo>
                  <a:cubicBezTo>
                    <a:pt x="2299" y="10978"/>
                    <a:pt x="2370" y="10906"/>
                    <a:pt x="2370" y="10823"/>
                  </a:cubicBezTo>
                  <a:cubicBezTo>
                    <a:pt x="2370" y="10728"/>
                    <a:pt x="2299" y="10656"/>
                    <a:pt x="2203" y="10656"/>
                  </a:cubicBezTo>
                  <a:lnTo>
                    <a:pt x="1608" y="10656"/>
                  </a:lnTo>
                  <a:lnTo>
                    <a:pt x="1608" y="9597"/>
                  </a:lnTo>
                  <a:lnTo>
                    <a:pt x="3442" y="9597"/>
                  </a:lnTo>
                  <a:lnTo>
                    <a:pt x="3442" y="10656"/>
                  </a:lnTo>
                  <a:lnTo>
                    <a:pt x="2834" y="10656"/>
                  </a:lnTo>
                  <a:cubicBezTo>
                    <a:pt x="2739" y="10656"/>
                    <a:pt x="2668" y="10728"/>
                    <a:pt x="2668" y="10823"/>
                  </a:cubicBezTo>
                  <a:cubicBezTo>
                    <a:pt x="2668" y="10906"/>
                    <a:pt x="2739" y="10978"/>
                    <a:pt x="2834" y="10978"/>
                  </a:cubicBezTo>
                  <a:lnTo>
                    <a:pt x="3585" y="10978"/>
                  </a:lnTo>
                  <a:cubicBezTo>
                    <a:pt x="3680" y="10978"/>
                    <a:pt x="3751" y="10906"/>
                    <a:pt x="3751" y="10823"/>
                  </a:cubicBezTo>
                  <a:lnTo>
                    <a:pt x="3751" y="9609"/>
                  </a:lnTo>
                  <a:lnTo>
                    <a:pt x="4870" y="9609"/>
                  </a:lnTo>
                  <a:cubicBezTo>
                    <a:pt x="4954" y="9609"/>
                    <a:pt x="5037" y="9537"/>
                    <a:pt x="5037" y="9454"/>
                  </a:cubicBezTo>
                  <a:lnTo>
                    <a:pt x="5037" y="2703"/>
                  </a:lnTo>
                  <a:lnTo>
                    <a:pt x="5037" y="2262"/>
                  </a:lnTo>
                  <a:cubicBezTo>
                    <a:pt x="5037" y="1870"/>
                    <a:pt x="4716" y="1560"/>
                    <a:pt x="4335" y="1560"/>
                  </a:cubicBezTo>
                  <a:lnTo>
                    <a:pt x="4239" y="1560"/>
                  </a:lnTo>
                  <a:cubicBezTo>
                    <a:pt x="4025" y="1560"/>
                    <a:pt x="3823" y="1667"/>
                    <a:pt x="3692" y="1834"/>
                  </a:cubicBezTo>
                  <a:cubicBezTo>
                    <a:pt x="3561" y="1667"/>
                    <a:pt x="3346" y="1560"/>
                    <a:pt x="3132" y="1560"/>
                  </a:cubicBezTo>
                  <a:lnTo>
                    <a:pt x="3096" y="1560"/>
                  </a:lnTo>
                  <a:cubicBezTo>
                    <a:pt x="2858" y="1560"/>
                    <a:pt x="2656" y="1667"/>
                    <a:pt x="2513" y="1846"/>
                  </a:cubicBezTo>
                  <a:cubicBezTo>
                    <a:pt x="2382" y="1679"/>
                    <a:pt x="2180" y="1560"/>
                    <a:pt x="1942" y="1560"/>
                  </a:cubicBezTo>
                  <a:cubicBezTo>
                    <a:pt x="1787" y="1560"/>
                    <a:pt x="1644" y="1608"/>
                    <a:pt x="1501" y="1691"/>
                  </a:cubicBezTo>
                  <a:lnTo>
                    <a:pt x="1501" y="738"/>
                  </a:lnTo>
                  <a:cubicBezTo>
                    <a:pt x="1501" y="322"/>
                    <a:pt x="1168"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0" name="Google Shape;12050;p61"/>
            <p:cNvSpPr/>
            <p:nvPr/>
          </p:nvSpPr>
          <p:spPr>
            <a:xfrm>
              <a:off x="1887009" y="1702332"/>
              <a:ext cx="53222" cy="48375"/>
            </a:xfrm>
            <a:custGeom>
              <a:avLst/>
              <a:gdLst/>
              <a:ahLst/>
              <a:cxnLst/>
              <a:rect l="l" t="t" r="r" b="b"/>
              <a:pathLst>
                <a:path w="1680" h="1527" extrusionOk="0">
                  <a:moveTo>
                    <a:pt x="1084" y="562"/>
                  </a:moveTo>
                  <a:lnTo>
                    <a:pt x="1013" y="979"/>
                  </a:lnTo>
                  <a:lnTo>
                    <a:pt x="608" y="979"/>
                  </a:lnTo>
                  <a:lnTo>
                    <a:pt x="679" y="562"/>
                  </a:lnTo>
                  <a:close/>
                  <a:moveTo>
                    <a:pt x="572" y="1"/>
                  </a:moveTo>
                  <a:cubicBezTo>
                    <a:pt x="487" y="1"/>
                    <a:pt x="415" y="57"/>
                    <a:pt x="394" y="133"/>
                  </a:cubicBezTo>
                  <a:lnTo>
                    <a:pt x="382" y="228"/>
                  </a:lnTo>
                  <a:lnTo>
                    <a:pt x="310" y="228"/>
                  </a:lnTo>
                  <a:cubicBezTo>
                    <a:pt x="215" y="228"/>
                    <a:pt x="143" y="300"/>
                    <a:pt x="143" y="395"/>
                  </a:cubicBezTo>
                  <a:cubicBezTo>
                    <a:pt x="143" y="478"/>
                    <a:pt x="215" y="562"/>
                    <a:pt x="310" y="562"/>
                  </a:cubicBezTo>
                  <a:lnTo>
                    <a:pt x="322" y="562"/>
                  </a:lnTo>
                  <a:lnTo>
                    <a:pt x="251" y="979"/>
                  </a:lnTo>
                  <a:lnTo>
                    <a:pt x="155" y="979"/>
                  </a:lnTo>
                  <a:cubicBezTo>
                    <a:pt x="72" y="979"/>
                    <a:pt x="1" y="1050"/>
                    <a:pt x="1" y="1133"/>
                  </a:cubicBezTo>
                  <a:cubicBezTo>
                    <a:pt x="1" y="1229"/>
                    <a:pt x="72" y="1300"/>
                    <a:pt x="155" y="1300"/>
                  </a:cubicBezTo>
                  <a:lnTo>
                    <a:pt x="191" y="1300"/>
                  </a:lnTo>
                  <a:lnTo>
                    <a:pt x="191" y="1336"/>
                  </a:lnTo>
                  <a:cubicBezTo>
                    <a:pt x="167" y="1419"/>
                    <a:pt x="239" y="1514"/>
                    <a:pt x="322" y="1526"/>
                  </a:cubicBezTo>
                  <a:lnTo>
                    <a:pt x="346" y="1526"/>
                  </a:lnTo>
                  <a:cubicBezTo>
                    <a:pt x="429" y="1526"/>
                    <a:pt x="501" y="1467"/>
                    <a:pt x="513" y="1395"/>
                  </a:cubicBezTo>
                  <a:lnTo>
                    <a:pt x="536" y="1300"/>
                  </a:lnTo>
                  <a:lnTo>
                    <a:pt x="929" y="1300"/>
                  </a:lnTo>
                  <a:lnTo>
                    <a:pt x="929" y="1336"/>
                  </a:lnTo>
                  <a:cubicBezTo>
                    <a:pt x="917" y="1419"/>
                    <a:pt x="977" y="1514"/>
                    <a:pt x="1060" y="1526"/>
                  </a:cubicBezTo>
                  <a:lnTo>
                    <a:pt x="1096" y="1526"/>
                  </a:lnTo>
                  <a:cubicBezTo>
                    <a:pt x="1167" y="1526"/>
                    <a:pt x="1239" y="1467"/>
                    <a:pt x="1263" y="1395"/>
                  </a:cubicBezTo>
                  <a:lnTo>
                    <a:pt x="1275" y="1300"/>
                  </a:lnTo>
                  <a:lnTo>
                    <a:pt x="1370" y="1300"/>
                  </a:lnTo>
                  <a:cubicBezTo>
                    <a:pt x="1453" y="1300"/>
                    <a:pt x="1525" y="1229"/>
                    <a:pt x="1525" y="1133"/>
                  </a:cubicBezTo>
                  <a:cubicBezTo>
                    <a:pt x="1525" y="1050"/>
                    <a:pt x="1453" y="979"/>
                    <a:pt x="1370" y="979"/>
                  </a:cubicBezTo>
                  <a:lnTo>
                    <a:pt x="1334" y="979"/>
                  </a:lnTo>
                  <a:lnTo>
                    <a:pt x="1406" y="562"/>
                  </a:lnTo>
                  <a:lnTo>
                    <a:pt x="1513" y="562"/>
                  </a:lnTo>
                  <a:cubicBezTo>
                    <a:pt x="1608" y="562"/>
                    <a:pt x="1679" y="478"/>
                    <a:pt x="1679" y="395"/>
                  </a:cubicBezTo>
                  <a:cubicBezTo>
                    <a:pt x="1679" y="300"/>
                    <a:pt x="1608" y="228"/>
                    <a:pt x="1513" y="228"/>
                  </a:cubicBezTo>
                  <a:lnTo>
                    <a:pt x="1465" y="228"/>
                  </a:lnTo>
                  <a:lnTo>
                    <a:pt x="1465" y="205"/>
                  </a:lnTo>
                  <a:cubicBezTo>
                    <a:pt x="1489" y="109"/>
                    <a:pt x="1429" y="26"/>
                    <a:pt x="1334" y="2"/>
                  </a:cubicBezTo>
                  <a:cubicBezTo>
                    <a:pt x="1327" y="1"/>
                    <a:pt x="1320" y="1"/>
                    <a:pt x="1312" y="1"/>
                  </a:cubicBezTo>
                  <a:cubicBezTo>
                    <a:pt x="1235" y="1"/>
                    <a:pt x="1154" y="57"/>
                    <a:pt x="1144" y="133"/>
                  </a:cubicBezTo>
                  <a:lnTo>
                    <a:pt x="1132" y="228"/>
                  </a:lnTo>
                  <a:lnTo>
                    <a:pt x="727" y="228"/>
                  </a:lnTo>
                  <a:lnTo>
                    <a:pt x="727" y="205"/>
                  </a:lnTo>
                  <a:cubicBezTo>
                    <a:pt x="739" y="109"/>
                    <a:pt x="679" y="26"/>
                    <a:pt x="596" y="2"/>
                  </a:cubicBezTo>
                  <a:cubicBezTo>
                    <a:pt x="588" y="1"/>
                    <a:pt x="580" y="1"/>
                    <a:pt x="5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1" name="Google Shape;12051;p61"/>
            <p:cNvSpPr/>
            <p:nvPr/>
          </p:nvSpPr>
          <p:spPr>
            <a:xfrm>
              <a:off x="1943970" y="1686745"/>
              <a:ext cx="28702" cy="63962"/>
            </a:xfrm>
            <a:custGeom>
              <a:avLst/>
              <a:gdLst/>
              <a:ahLst/>
              <a:cxnLst/>
              <a:rect l="l" t="t" r="r" b="b"/>
              <a:pathLst>
                <a:path w="906" h="2019" extrusionOk="0">
                  <a:moveTo>
                    <a:pt x="457" y="0"/>
                  </a:moveTo>
                  <a:cubicBezTo>
                    <a:pt x="429" y="0"/>
                    <a:pt x="399" y="6"/>
                    <a:pt x="370" y="18"/>
                  </a:cubicBezTo>
                  <a:lnTo>
                    <a:pt x="108" y="173"/>
                  </a:lnTo>
                  <a:cubicBezTo>
                    <a:pt x="24" y="220"/>
                    <a:pt x="0" y="304"/>
                    <a:pt x="48" y="399"/>
                  </a:cubicBezTo>
                  <a:cubicBezTo>
                    <a:pt x="73" y="448"/>
                    <a:pt x="126" y="475"/>
                    <a:pt x="184" y="475"/>
                  </a:cubicBezTo>
                  <a:cubicBezTo>
                    <a:pt x="210" y="475"/>
                    <a:pt x="237" y="470"/>
                    <a:pt x="262" y="459"/>
                  </a:cubicBezTo>
                  <a:lnTo>
                    <a:pt x="298" y="435"/>
                  </a:lnTo>
                  <a:lnTo>
                    <a:pt x="298" y="1685"/>
                  </a:lnTo>
                  <a:lnTo>
                    <a:pt x="191" y="1685"/>
                  </a:lnTo>
                  <a:cubicBezTo>
                    <a:pt x="108" y="1685"/>
                    <a:pt x="24" y="1768"/>
                    <a:pt x="24" y="1852"/>
                  </a:cubicBezTo>
                  <a:cubicBezTo>
                    <a:pt x="24" y="1947"/>
                    <a:pt x="108" y="2018"/>
                    <a:pt x="191" y="2018"/>
                  </a:cubicBezTo>
                  <a:lnTo>
                    <a:pt x="739" y="2018"/>
                  </a:lnTo>
                  <a:cubicBezTo>
                    <a:pt x="834" y="2018"/>
                    <a:pt x="905" y="1947"/>
                    <a:pt x="905" y="1852"/>
                  </a:cubicBezTo>
                  <a:cubicBezTo>
                    <a:pt x="905" y="1768"/>
                    <a:pt x="822" y="1673"/>
                    <a:pt x="727" y="1673"/>
                  </a:cubicBezTo>
                  <a:lnTo>
                    <a:pt x="608" y="1673"/>
                  </a:lnTo>
                  <a:lnTo>
                    <a:pt x="608" y="161"/>
                  </a:lnTo>
                  <a:cubicBezTo>
                    <a:pt x="608" y="101"/>
                    <a:pt x="584" y="54"/>
                    <a:pt x="536" y="18"/>
                  </a:cubicBezTo>
                  <a:cubicBezTo>
                    <a:pt x="512" y="6"/>
                    <a:pt x="486" y="0"/>
                    <a:pt x="4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2" name="Google Shape;12052;p61"/>
            <p:cNvSpPr/>
            <p:nvPr/>
          </p:nvSpPr>
          <p:spPr>
            <a:xfrm>
              <a:off x="2029221" y="1707306"/>
              <a:ext cx="62631" cy="10201"/>
            </a:xfrm>
            <a:custGeom>
              <a:avLst/>
              <a:gdLst/>
              <a:ahLst/>
              <a:cxnLst/>
              <a:rect l="l" t="t" r="r" b="b"/>
              <a:pathLst>
                <a:path w="1977" h="322" extrusionOk="0">
                  <a:moveTo>
                    <a:pt x="167" y="0"/>
                  </a:moveTo>
                  <a:cubicBezTo>
                    <a:pt x="72" y="0"/>
                    <a:pt x="0" y="71"/>
                    <a:pt x="0" y="167"/>
                  </a:cubicBezTo>
                  <a:cubicBezTo>
                    <a:pt x="0" y="250"/>
                    <a:pt x="72" y="321"/>
                    <a:pt x="167" y="321"/>
                  </a:cubicBezTo>
                  <a:lnTo>
                    <a:pt x="1822" y="321"/>
                  </a:lnTo>
                  <a:cubicBezTo>
                    <a:pt x="1905" y="321"/>
                    <a:pt x="1977" y="250"/>
                    <a:pt x="1977" y="167"/>
                  </a:cubicBezTo>
                  <a:cubicBezTo>
                    <a:pt x="1977" y="60"/>
                    <a:pt x="1905"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3" name="Google Shape;12053;p61"/>
            <p:cNvSpPr/>
            <p:nvPr/>
          </p:nvSpPr>
          <p:spPr>
            <a:xfrm>
              <a:off x="2029221" y="1758311"/>
              <a:ext cx="47552" cy="46696"/>
            </a:xfrm>
            <a:custGeom>
              <a:avLst/>
              <a:gdLst/>
              <a:ahLst/>
              <a:cxnLst/>
              <a:rect l="l" t="t" r="r" b="b"/>
              <a:pathLst>
                <a:path w="1501" h="1474" extrusionOk="0">
                  <a:moveTo>
                    <a:pt x="173" y="0"/>
                  </a:moveTo>
                  <a:cubicBezTo>
                    <a:pt x="131" y="0"/>
                    <a:pt x="90" y="15"/>
                    <a:pt x="60" y="45"/>
                  </a:cubicBezTo>
                  <a:cubicBezTo>
                    <a:pt x="0" y="105"/>
                    <a:pt x="0" y="200"/>
                    <a:pt x="60" y="259"/>
                  </a:cubicBezTo>
                  <a:lnTo>
                    <a:pt x="1227" y="1426"/>
                  </a:lnTo>
                  <a:cubicBezTo>
                    <a:pt x="1250" y="1450"/>
                    <a:pt x="1298" y="1474"/>
                    <a:pt x="1346" y="1474"/>
                  </a:cubicBezTo>
                  <a:cubicBezTo>
                    <a:pt x="1381" y="1474"/>
                    <a:pt x="1429" y="1450"/>
                    <a:pt x="1465" y="1426"/>
                  </a:cubicBezTo>
                  <a:cubicBezTo>
                    <a:pt x="1500" y="1378"/>
                    <a:pt x="1500" y="1271"/>
                    <a:pt x="1441" y="1200"/>
                  </a:cubicBezTo>
                  <a:lnTo>
                    <a:pt x="286" y="45"/>
                  </a:lnTo>
                  <a:cubicBezTo>
                    <a:pt x="256"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4" name="Google Shape;12054;p61"/>
            <p:cNvSpPr/>
            <p:nvPr/>
          </p:nvSpPr>
          <p:spPr>
            <a:xfrm>
              <a:off x="2029221" y="1615339"/>
              <a:ext cx="47552" cy="46728"/>
            </a:xfrm>
            <a:custGeom>
              <a:avLst/>
              <a:gdLst/>
              <a:ahLst/>
              <a:cxnLst/>
              <a:rect l="l" t="t" r="r" b="b"/>
              <a:pathLst>
                <a:path w="1501" h="1475" extrusionOk="0">
                  <a:moveTo>
                    <a:pt x="1334" y="1"/>
                  </a:moveTo>
                  <a:cubicBezTo>
                    <a:pt x="1295" y="1"/>
                    <a:pt x="1256" y="16"/>
                    <a:pt x="1227" y="46"/>
                  </a:cubicBezTo>
                  <a:lnTo>
                    <a:pt x="60" y="1200"/>
                  </a:lnTo>
                  <a:cubicBezTo>
                    <a:pt x="0" y="1260"/>
                    <a:pt x="0" y="1367"/>
                    <a:pt x="60" y="1427"/>
                  </a:cubicBezTo>
                  <a:cubicBezTo>
                    <a:pt x="96" y="1462"/>
                    <a:pt x="131" y="1474"/>
                    <a:pt x="179" y="1474"/>
                  </a:cubicBezTo>
                  <a:cubicBezTo>
                    <a:pt x="226" y="1474"/>
                    <a:pt x="274" y="1462"/>
                    <a:pt x="298" y="1427"/>
                  </a:cubicBezTo>
                  <a:lnTo>
                    <a:pt x="1465" y="272"/>
                  </a:lnTo>
                  <a:cubicBezTo>
                    <a:pt x="1500" y="212"/>
                    <a:pt x="1500" y="105"/>
                    <a:pt x="1441" y="46"/>
                  </a:cubicBezTo>
                  <a:cubicBezTo>
                    <a:pt x="1411" y="16"/>
                    <a:pt x="1372"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5" name="Google Shape;12055;p61"/>
            <p:cNvSpPr/>
            <p:nvPr/>
          </p:nvSpPr>
          <p:spPr>
            <a:xfrm>
              <a:off x="1767449" y="1703504"/>
              <a:ext cx="63012" cy="10233"/>
            </a:xfrm>
            <a:custGeom>
              <a:avLst/>
              <a:gdLst/>
              <a:ahLst/>
              <a:cxnLst/>
              <a:rect l="l" t="t" r="r" b="b"/>
              <a:pathLst>
                <a:path w="1989" h="323" extrusionOk="0">
                  <a:moveTo>
                    <a:pt x="167" y="1"/>
                  </a:moveTo>
                  <a:cubicBezTo>
                    <a:pt x="72" y="1"/>
                    <a:pt x="0" y="72"/>
                    <a:pt x="0" y="168"/>
                  </a:cubicBezTo>
                  <a:cubicBezTo>
                    <a:pt x="0" y="251"/>
                    <a:pt x="72" y="322"/>
                    <a:pt x="167" y="322"/>
                  </a:cubicBezTo>
                  <a:lnTo>
                    <a:pt x="1822" y="322"/>
                  </a:lnTo>
                  <a:cubicBezTo>
                    <a:pt x="1905" y="322"/>
                    <a:pt x="1989" y="251"/>
                    <a:pt x="1989" y="168"/>
                  </a:cubicBezTo>
                  <a:cubicBezTo>
                    <a:pt x="1989" y="72"/>
                    <a:pt x="1905" y="1"/>
                    <a:pt x="1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6" name="Google Shape;12056;p61"/>
            <p:cNvSpPr/>
            <p:nvPr/>
          </p:nvSpPr>
          <p:spPr>
            <a:xfrm>
              <a:off x="1783289" y="1615719"/>
              <a:ext cx="47552" cy="46728"/>
            </a:xfrm>
            <a:custGeom>
              <a:avLst/>
              <a:gdLst/>
              <a:ahLst/>
              <a:cxnLst/>
              <a:rect l="l" t="t" r="r" b="b"/>
              <a:pathLst>
                <a:path w="1501" h="1475" extrusionOk="0">
                  <a:moveTo>
                    <a:pt x="167" y="1"/>
                  </a:moveTo>
                  <a:cubicBezTo>
                    <a:pt x="128" y="1"/>
                    <a:pt x="90" y="16"/>
                    <a:pt x="60" y="45"/>
                  </a:cubicBezTo>
                  <a:cubicBezTo>
                    <a:pt x="0" y="105"/>
                    <a:pt x="0" y="212"/>
                    <a:pt x="60" y="272"/>
                  </a:cubicBezTo>
                  <a:lnTo>
                    <a:pt x="1215" y="1427"/>
                  </a:lnTo>
                  <a:cubicBezTo>
                    <a:pt x="1251" y="1462"/>
                    <a:pt x="1286" y="1474"/>
                    <a:pt x="1334" y="1474"/>
                  </a:cubicBezTo>
                  <a:cubicBezTo>
                    <a:pt x="1382" y="1474"/>
                    <a:pt x="1429" y="1462"/>
                    <a:pt x="1453" y="1427"/>
                  </a:cubicBezTo>
                  <a:cubicBezTo>
                    <a:pt x="1501" y="1367"/>
                    <a:pt x="1501" y="1272"/>
                    <a:pt x="1441" y="1212"/>
                  </a:cubicBezTo>
                  <a:lnTo>
                    <a:pt x="274" y="45"/>
                  </a:lnTo>
                  <a:cubicBezTo>
                    <a:pt x="244" y="16"/>
                    <a:pt x="206"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7" name="Google Shape;12057;p61"/>
            <p:cNvSpPr/>
            <p:nvPr/>
          </p:nvSpPr>
          <p:spPr>
            <a:xfrm>
              <a:off x="1783289" y="1758311"/>
              <a:ext cx="47552" cy="46696"/>
            </a:xfrm>
            <a:custGeom>
              <a:avLst/>
              <a:gdLst/>
              <a:ahLst/>
              <a:cxnLst/>
              <a:rect l="l" t="t" r="r" b="b"/>
              <a:pathLst>
                <a:path w="1501" h="1474" extrusionOk="0">
                  <a:moveTo>
                    <a:pt x="1328" y="0"/>
                  </a:moveTo>
                  <a:cubicBezTo>
                    <a:pt x="1286" y="0"/>
                    <a:pt x="1245" y="15"/>
                    <a:pt x="1215" y="45"/>
                  </a:cubicBezTo>
                  <a:lnTo>
                    <a:pt x="60" y="1200"/>
                  </a:lnTo>
                  <a:cubicBezTo>
                    <a:pt x="0" y="1259"/>
                    <a:pt x="0" y="1367"/>
                    <a:pt x="60" y="1426"/>
                  </a:cubicBezTo>
                  <a:cubicBezTo>
                    <a:pt x="84" y="1450"/>
                    <a:pt x="131" y="1474"/>
                    <a:pt x="179" y="1474"/>
                  </a:cubicBezTo>
                  <a:cubicBezTo>
                    <a:pt x="215" y="1474"/>
                    <a:pt x="262" y="1450"/>
                    <a:pt x="298" y="1426"/>
                  </a:cubicBezTo>
                  <a:lnTo>
                    <a:pt x="1453" y="259"/>
                  </a:lnTo>
                  <a:cubicBezTo>
                    <a:pt x="1501" y="200"/>
                    <a:pt x="1501" y="105"/>
                    <a:pt x="1441" y="45"/>
                  </a:cubicBezTo>
                  <a:cubicBezTo>
                    <a:pt x="1411" y="15"/>
                    <a:pt x="1370" y="0"/>
                    <a:pt x="13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58" name="Google Shape;12058;p61"/>
          <p:cNvGrpSpPr/>
          <p:nvPr/>
        </p:nvGrpSpPr>
        <p:grpSpPr>
          <a:xfrm>
            <a:off x="4007193" y="1512727"/>
            <a:ext cx="320633" cy="348100"/>
            <a:chOff x="4007193" y="1512727"/>
            <a:chExt cx="320633" cy="348100"/>
          </a:xfrm>
        </p:grpSpPr>
        <p:sp>
          <p:nvSpPr>
            <p:cNvPr id="12059" name="Google Shape;12059;p61"/>
            <p:cNvSpPr/>
            <p:nvPr/>
          </p:nvSpPr>
          <p:spPr>
            <a:xfrm>
              <a:off x="4177695" y="1512727"/>
              <a:ext cx="143732" cy="153109"/>
            </a:xfrm>
            <a:custGeom>
              <a:avLst/>
              <a:gdLst/>
              <a:ahLst/>
              <a:cxnLst/>
              <a:rect l="l" t="t" r="r" b="b"/>
              <a:pathLst>
                <a:path w="4537" h="4833" extrusionOk="0">
                  <a:moveTo>
                    <a:pt x="2359" y="1"/>
                  </a:moveTo>
                  <a:cubicBezTo>
                    <a:pt x="2213" y="1"/>
                    <a:pt x="2065" y="16"/>
                    <a:pt x="1917" y="46"/>
                  </a:cubicBezTo>
                  <a:cubicBezTo>
                    <a:pt x="1346" y="165"/>
                    <a:pt x="846" y="498"/>
                    <a:pt x="524" y="987"/>
                  </a:cubicBezTo>
                  <a:cubicBezTo>
                    <a:pt x="0" y="1761"/>
                    <a:pt x="36" y="2773"/>
                    <a:pt x="584" y="3523"/>
                  </a:cubicBezTo>
                  <a:lnTo>
                    <a:pt x="536" y="4666"/>
                  </a:lnTo>
                  <a:cubicBezTo>
                    <a:pt x="536" y="4725"/>
                    <a:pt x="572" y="4773"/>
                    <a:pt x="607" y="4797"/>
                  </a:cubicBezTo>
                  <a:cubicBezTo>
                    <a:pt x="643" y="4809"/>
                    <a:pt x="667" y="4832"/>
                    <a:pt x="703" y="4832"/>
                  </a:cubicBezTo>
                  <a:cubicBezTo>
                    <a:pt x="727" y="4832"/>
                    <a:pt x="750" y="4832"/>
                    <a:pt x="774" y="4809"/>
                  </a:cubicBezTo>
                  <a:lnTo>
                    <a:pt x="1822" y="4332"/>
                  </a:lnTo>
                  <a:cubicBezTo>
                    <a:pt x="2006" y="4381"/>
                    <a:pt x="2191" y="4404"/>
                    <a:pt x="2373" y="4404"/>
                  </a:cubicBezTo>
                  <a:cubicBezTo>
                    <a:pt x="3091" y="4404"/>
                    <a:pt x="3771" y="4044"/>
                    <a:pt x="4179" y="3427"/>
                  </a:cubicBezTo>
                  <a:cubicBezTo>
                    <a:pt x="4382" y="3142"/>
                    <a:pt x="4501" y="2832"/>
                    <a:pt x="4537" y="2487"/>
                  </a:cubicBezTo>
                  <a:cubicBezTo>
                    <a:pt x="4525" y="2392"/>
                    <a:pt x="4453" y="2320"/>
                    <a:pt x="4382" y="2296"/>
                  </a:cubicBezTo>
                  <a:cubicBezTo>
                    <a:pt x="4374" y="2295"/>
                    <a:pt x="4366" y="2295"/>
                    <a:pt x="4358" y="2295"/>
                  </a:cubicBezTo>
                  <a:cubicBezTo>
                    <a:pt x="4275" y="2295"/>
                    <a:pt x="4214" y="2352"/>
                    <a:pt x="4203" y="2439"/>
                  </a:cubicBezTo>
                  <a:cubicBezTo>
                    <a:pt x="4156" y="2713"/>
                    <a:pt x="4072" y="2987"/>
                    <a:pt x="3906" y="3237"/>
                  </a:cubicBezTo>
                  <a:cubicBezTo>
                    <a:pt x="3554" y="3774"/>
                    <a:pt x="2971" y="4074"/>
                    <a:pt x="2360" y="4074"/>
                  </a:cubicBezTo>
                  <a:cubicBezTo>
                    <a:pt x="2185" y="4074"/>
                    <a:pt x="2008" y="4049"/>
                    <a:pt x="1834" y="3999"/>
                  </a:cubicBezTo>
                  <a:cubicBezTo>
                    <a:pt x="1814" y="3994"/>
                    <a:pt x="1798" y="3991"/>
                    <a:pt x="1784" y="3991"/>
                  </a:cubicBezTo>
                  <a:cubicBezTo>
                    <a:pt x="1762" y="3991"/>
                    <a:pt x="1743" y="3997"/>
                    <a:pt x="1715" y="4011"/>
                  </a:cubicBezTo>
                  <a:lnTo>
                    <a:pt x="869" y="4416"/>
                  </a:lnTo>
                  <a:lnTo>
                    <a:pt x="905" y="3475"/>
                  </a:lnTo>
                  <a:cubicBezTo>
                    <a:pt x="905" y="3427"/>
                    <a:pt x="893" y="3404"/>
                    <a:pt x="881" y="3368"/>
                  </a:cubicBezTo>
                  <a:cubicBezTo>
                    <a:pt x="369" y="2737"/>
                    <a:pt x="346" y="1856"/>
                    <a:pt x="786" y="1165"/>
                  </a:cubicBezTo>
                  <a:cubicBezTo>
                    <a:pt x="1072" y="748"/>
                    <a:pt x="1489" y="475"/>
                    <a:pt x="1977" y="379"/>
                  </a:cubicBezTo>
                  <a:cubicBezTo>
                    <a:pt x="2104" y="352"/>
                    <a:pt x="2231" y="339"/>
                    <a:pt x="2357" y="339"/>
                  </a:cubicBezTo>
                  <a:cubicBezTo>
                    <a:pt x="2721" y="339"/>
                    <a:pt x="3071" y="452"/>
                    <a:pt x="3382" y="665"/>
                  </a:cubicBezTo>
                  <a:cubicBezTo>
                    <a:pt x="3798" y="939"/>
                    <a:pt x="4084" y="1380"/>
                    <a:pt x="4179" y="1868"/>
                  </a:cubicBezTo>
                  <a:cubicBezTo>
                    <a:pt x="4200" y="1949"/>
                    <a:pt x="4263" y="2004"/>
                    <a:pt x="4340" y="2004"/>
                  </a:cubicBezTo>
                  <a:cubicBezTo>
                    <a:pt x="4354" y="2004"/>
                    <a:pt x="4368" y="2002"/>
                    <a:pt x="4382" y="1999"/>
                  </a:cubicBezTo>
                  <a:cubicBezTo>
                    <a:pt x="4465" y="1987"/>
                    <a:pt x="4525" y="1903"/>
                    <a:pt x="4513" y="1808"/>
                  </a:cubicBezTo>
                  <a:cubicBezTo>
                    <a:pt x="4406" y="1225"/>
                    <a:pt x="4060" y="725"/>
                    <a:pt x="3572" y="379"/>
                  </a:cubicBezTo>
                  <a:cubicBezTo>
                    <a:pt x="3208" y="130"/>
                    <a:pt x="2790" y="1"/>
                    <a:pt x="23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0" name="Google Shape;12060;p61"/>
            <p:cNvSpPr/>
            <p:nvPr/>
          </p:nvSpPr>
          <p:spPr>
            <a:xfrm>
              <a:off x="4214666" y="1543583"/>
              <a:ext cx="77711" cy="77363"/>
            </a:xfrm>
            <a:custGeom>
              <a:avLst/>
              <a:gdLst/>
              <a:ahLst/>
              <a:cxnLst/>
              <a:rect l="l" t="t" r="r" b="b"/>
              <a:pathLst>
                <a:path w="2453" h="2442" extrusionOk="0">
                  <a:moveTo>
                    <a:pt x="1072" y="346"/>
                  </a:moveTo>
                  <a:lnTo>
                    <a:pt x="1072" y="1239"/>
                  </a:lnTo>
                  <a:cubicBezTo>
                    <a:pt x="1072" y="1322"/>
                    <a:pt x="1143" y="1406"/>
                    <a:pt x="1238" y="1406"/>
                  </a:cubicBezTo>
                  <a:lnTo>
                    <a:pt x="2131" y="1406"/>
                  </a:lnTo>
                  <a:cubicBezTo>
                    <a:pt x="2048" y="1822"/>
                    <a:pt x="1679" y="2144"/>
                    <a:pt x="1238" y="2144"/>
                  </a:cubicBezTo>
                  <a:cubicBezTo>
                    <a:pt x="726" y="2144"/>
                    <a:pt x="322" y="1739"/>
                    <a:pt x="322" y="1239"/>
                  </a:cubicBezTo>
                  <a:cubicBezTo>
                    <a:pt x="322" y="787"/>
                    <a:pt x="655" y="417"/>
                    <a:pt x="1072" y="346"/>
                  </a:cubicBezTo>
                  <a:close/>
                  <a:moveTo>
                    <a:pt x="1215" y="1"/>
                  </a:moveTo>
                  <a:cubicBezTo>
                    <a:pt x="548" y="1"/>
                    <a:pt x="0" y="548"/>
                    <a:pt x="0" y="1215"/>
                  </a:cubicBezTo>
                  <a:cubicBezTo>
                    <a:pt x="0" y="1894"/>
                    <a:pt x="548" y="2441"/>
                    <a:pt x="1215" y="2441"/>
                  </a:cubicBezTo>
                  <a:cubicBezTo>
                    <a:pt x="1893" y="2441"/>
                    <a:pt x="2441" y="1894"/>
                    <a:pt x="2441" y="1215"/>
                  </a:cubicBezTo>
                  <a:cubicBezTo>
                    <a:pt x="2453" y="1144"/>
                    <a:pt x="2381" y="1072"/>
                    <a:pt x="2286" y="1072"/>
                  </a:cubicBezTo>
                  <a:lnTo>
                    <a:pt x="1381" y="1072"/>
                  </a:lnTo>
                  <a:lnTo>
                    <a:pt x="1381" y="167"/>
                  </a:lnTo>
                  <a:cubicBezTo>
                    <a:pt x="1381" y="72"/>
                    <a:pt x="1310"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1" name="Google Shape;12061;p61"/>
            <p:cNvSpPr/>
            <p:nvPr/>
          </p:nvSpPr>
          <p:spPr>
            <a:xfrm>
              <a:off x="4007193" y="1541334"/>
              <a:ext cx="320633" cy="319493"/>
            </a:xfrm>
            <a:custGeom>
              <a:avLst/>
              <a:gdLst/>
              <a:ahLst/>
              <a:cxnLst/>
              <a:rect l="l" t="t" r="r" b="b"/>
              <a:pathLst>
                <a:path w="10121" h="10085" extrusionOk="0">
                  <a:moveTo>
                    <a:pt x="3823" y="1239"/>
                  </a:moveTo>
                  <a:lnTo>
                    <a:pt x="4823" y="2227"/>
                  </a:lnTo>
                  <a:cubicBezTo>
                    <a:pt x="5418" y="2822"/>
                    <a:pt x="5525" y="3739"/>
                    <a:pt x="5085" y="4453"/>
                  </a:cubicBezTo>
                  <a:cubicBezTo>
                    <a:pt x="5049" y="4501"/>
                    <a:pt x="5061" y="4596"/>
                    <a:pt x="5120" y="4644"/>
                  </a:cubicBezTo>
                  <a:lnTo>
                    <a:pt x="5442" y="4965"/>
                  </a:lnTo>
                  <a:cubicBezTo>
                    <a:pt x="5478" y="5002"/>
                    <a:pt x="5524" y="5016"/>
                    <a:pt x="5567" y="5016"/>
                  </a:cubicBezTo>
                  <a:cubicBezTo>
                    <a:pt x="5594" y="5016"/>
                    <a:pt x="5621" y="5010"/>
                    <a:pt x="5644" y="5001"/>
                  </a:cubicBezTo>
                  <a:cubicBezTo>
                    <a:pt x="5939" y="4824"/>
                    <a:pt x="6267" y="4736"/>
                    <a:pt x="6591" y="4736"/>
                  </a:cubicBezTo>
                  <a:cubicBezTo>
                    <a:pt x="7053" y="4736"/>
                    <a:pt x="7509" y="4913"/>
                    <a:pt x="7859" y="5263"/>
                  </a:cubicBezTo>
                  <a:lnTo>
                    <a:pt x="8859" y="6263"/>
                  </a:lnTo>
                  <a:lnTo>
                    <a:pt x="6299" y="8823"/>
                  </a:lnTo>
                  <a:lnTo>
                    <a:pt x="5299" y="7823"/>
                  </a:lnTo>
                  <a:cubicBezTo>
                    <a:pt x="5073" y="7608"/>
                    <a:pt x="4906" y="7335"/>
                    <a:pt x="4835" y="7037"/>
                  </a:cubicBezTo>
                  <a:cubicBezTo>
                    <a:pt x="4704" y="6561"/>
                    <a:pt x="4775" y="6037"/>
                    <a:pt x="5025" y="5608"/>
                  </a:cubicBezTo>
                  <a:cubicBezTo>
                    <a:pt x="5073" y="5549"/>
                    <a:pt x="5061" y="5465"/>
                    <a:pt x="5001" y="5418"/>
                  </a:cubicBezTo>
                  <a:lnTo>
                    <a:pt x="4668" y="5084"/>
                  </a:lnTo>
                  <a:cubicBezTo>
                    <a:pt x="4634" y="5051"/>
                    <a:pt x="4597" y="5036"/>
                    <a:pt x="4560" y="5036"/>
                  </a:cubicBezTo>
                  <a:cubicBezTo>
                    <a:pt x="4532" y="5036"/>
                    <a:pt x="4503" y="5045"/>
                    <a:pt x="4477" y="5060"/>
                  </a:cubicBezTo>
                  <a:cubicBezTo>
                    <a:pt x="4186" y="5235"/>
                    <a:pt x="3864" y="5321"/>
                    <a:pt x="3543" y="5321"/>
                  </a:cubicBezTo>
                  <a:cubicBezTo>
                    <a:pt x="3077" y="5321"/>
                    <a:pt x="2616" y="5139"/>
                    <a:pt x="2263" y="4787"/>
                  </a:cubicBezTo>
                  <a:lnTo>
                    <a:pt x="1263" y="3798"/>
                  </a:lnTo>
                  <a:lnTo>
                    <a:pt x="3823" y="1239"/>
                  </a:lnTo>
                  <a:close/>
                  <a:moveTo>
                    <a:pt x="9371" y="6192"/>
                  </a:moveTo>
                  <a:lnTo>
                    <a:pt x="9716" y="6537"/>
                  </a:lnTo>
                  <a:lnTo>
                    <a:pt x="6561" y="9692"/>
                  </a:lnTo>
                  <a:lnTo>
                    <a:pt x="6216" y="9347"/>
                  </a:lnTo>
                  <a:lnTo>
                    <a:pt x="9192" y="6370"/>
                  </a:lnTo>
                  <a:lnTo>
                    <a:pt x="9371" y="6192"/>
                  </a:lnTo>
                  <a:close/>
                  <a:moveTo>
                    <a:pt x="3561" y="0"/>
                  </a:moveTo>
                  <a:cubicBezTo>
                    <a:pt x="3513" y="0"/>
                    <a:pt x="3465" y="12"/>
                    <a:pt x="3442" y="36"/>
                  </a:cubicBezTo>
                  <a:lnTo>
                    <a:pt x="2191" y="1286"/>
                  </a:lnTo>
                  <a:cubicBezTo>
                    <a:pt x="2132" y="1346"/>
                    <a:pt x="2132" y="1453"/>
                    <a:pt x="2191" y="1512"/>
                  </a:cubicBezTo>
                  <a:cubicBezTo>
                    <a:pt x="2221" y="1542"/>
                    <a:pt x="2260" y="1557"/>
                    <a:pt x="2299" y="1557"/>
                  </a:cubicBezTo>
                  <a:cubicBezTo>
                    <a:pt x="2337" y="1557"/>
                    <a:pt x="2376" y="1542"/>
                    <a:pt x="2406" y="1512"/>
                  </a:cubicBezTo>
                  <a:lnTo>
                    <a:pt x="3561" y="369"/>
                  </a:lnTo>
                  <a:lnTo>
                    <a:pt x="3894" y="715"/>
                  </a:lnTo>
                  <a:lnTo>
                    <a:pt x="3715" y="893"/>
                  </a:lnTo>
                  <a:lnTo>
                    <a:pt x="917" y="3691"/>
                  </a:lnTo>
                  <a:lnTo>
                    <a:pt x="739" y="3870"/>
                  </a:lnTo>
                  <a:lnTo>
                    <a:pt x="405" y="3525"/>
                  </a:lnTo>
                  <a:lnTo>
                    <a:pt x="1965" y="1965"/>
                  </a:lnTo>
                  <a:cubicBezTo>
                    <a:pt x="2025" y="1905"/>
                    <a:pt x="2025" y="1798"/>
                    <a:pt x="1965" y="1739"/>
                  </a:cubicBezTo>
                  <a:cubicBezTo>
                    <a:pt x="1935" y="1709"/>
                    <a:pt x="1894" y="1694"/>
                    <a:pt x="1852" y="1694"/>
                  </a:cubicBezTo>
                  <a:cubicBezTo>
                    <a:pt x="1810" y="1694"/>
                    <a:pt x="1769" y="1709"/>
                    <a:pt x="1739" y="1739"/>
                  </a:cubicBezTo>
                  <a:lnTo>
                    <a:pt x="60" y="3417"/>
                  </a:lnTo>
                  <a:cubicBezTo>
                    <a:pt x="1" y="3477"/>
                    <a:pt x="1" y="3584"/>
                    <a:pt x="60" y="3644"/>
                  </a:cubicBezTo>
                  <a:lnTo>
                    <a:pt x="620" y="4203"/>
                  </a:lnTo>
                  <a:cubicBezTo>
                    <a:pt x="655" y="4239"/>
                    <a:pt x="703" y="4251"/>
                    <a:pt x="739" y="4251"/>
                  </a:cubicBezTo>
                  <a:cubicBezTo>
                    <a:pt x="786" y="4251"/>
                    <a:pt x="834" y="4239"/>
                    <a:pt x="858" y="4203"/>
                  </a:cubicBezTo>
                  <a:lnTo>
                    <a:pt x="1036" y="4025"/>
                  </a:lnTo>
                  <a:lnTo>
                    <a:pt x="2037" y="5025"/>
                  </a:lnTo>
                  <a:cubicBezTo>
                    <a:pt x="2453" y="5441"/>
                    <a:pt x="3003" y="5657"/>
                    <a:pt x="3558" y="5657"/>
                  </a:cubicBezTo>
                  <a:cubicBezTo>
                    <a:pt x="3892" y="5657"/>
                    <a:pt x="4228" y="5579"/>
                    <a:pt x="4537" y="5418"/>
                  </a:cubicBezTo>
                  <a:lnTo>
                    <a:pt x="4692" y="5560"/>
                  </a:lnTo>
                  <a:cubicBezTo>
                    <a:pt x="4430" y="6037"/>
                    <a:pt x="4370" y="6608"/>
                    <a:pt x="4525" y="7144"/>
                  </a:cubicBezTo>
                  <a:cubicBezTo>
                    <a:pt x="4632" y="7501"/>
                    <a:pt x="4811" y="7811"/>
                    <a:pt x="5073" y="8085"/>
                  </a:cubicBezTo>
                  <a:lnTo>
                    <a:pt x="6073" y="9073"/>
                  </a:lnTo>
                  <a:lnTo>
                    <a:pt x="5894" y="9251"/>
                  </a:lnTo>
                  <a:cubicBezTo>
                    <a:pt x="5835" y="9311"/>
                    <a:pt x="5835" y="9418"/>
                    <a:pt x="5894" y="9478"/>
                  </a:cubicBezTo>
                  <a:lnTo>
                    <a:pt x="6454" y="10049"/>
                  </a:lnTo>
                  <a:cubicBezTo>
                    <a:pt x="6490" y="10073"/>
                    <a:pt x="6537" y="10085"/>
                    <a:pt x="6573" y="10085"/>
                  </a:cubicBezTo>
                  <a:cubicBezTo>
                    <a:pt x="6621" y="10085"/>
                    <a:pt x="6668" y="10073"/>
                    <a:pt x="6692" y="10049"/>
                  </a:cubicBezTo>
                  <a:lnTo>
                    <a:pt x="10073" y="6668"/>
                  </a:lnTo>
                  <a:cubicBezTo>
                    <a:pt x="10121" y="6596"/>
                    <a:pt x="10121" y="6489"/>
                    <a:pt x="10061" y="6430"/>
                  </a:cubicBezTo>
                  <a:lnTo>
                    <a:pt x="9490" y="5858"/>
                  </a:lnTo>
                  <a:cubicBezTo>
                    <a:pt x="9460" y="5828"/>
                    <a:pt x="9421" y="5813"/>
                    <a:pt x="9383" y="5813"/>
                  </a:cubicBezTo>
                  <a:cubicBezTo>
                    <a:pt x="9344" y="5813"/>
                    <a:pt x="9305" y="5828"/>
                    <a:pt x="9276" y="5858"/>
                  </a:cubicBezTo>
                  <a:lnTo>
                    <a:pt x="9097" y="6037"/>
                  </a:lnTo>
                  <a:lnTo>
                    <a:pt x="8097" y="5049"/>
                  </a:lnTo>
                  <a:cubicBezTo>
                    <a:pt x="7683" y="4627"/>
                    <a:pt x="7137" y="4413"/>
                    <a:pt x="6585" y="4413"/>
                  </a:cubicBezTo>
                  <a:cubicBezTo>
                    <a:pt x="6248" y="4413"/>
                    <a:pt x="5908" y="4493"/>
                    <a:pt x="5597" y="4656"/>
                  </a:cubicBezTo>
                  <a:lnTo>
                    <a:pt x="5442" y="4501"/>
                  </a:lnTo>
                  <a:cubicBezTo>
                    <a:pt x="5882" y="3691"/>
                    <a:pt x="5728" y="2679"/>
                    <a:pt x="5061" y="2001"/>
                  </a:cubicBezTo>
                  <a:lnTo>
                    <a:pt x="4061" y="1012"/>
                  </a:lnTo>
                  <a:lnTo>
                    <a:pt x="4239" y="834"/>
                  </a:lnTo>
                  <a:cubicBezTo>
                    <a:pt x="4299" y="774"/>
                    <a:pt x="4299" y="667"/>
                    <a:pt x="4239" y="607"/>
                  </a:cubicBezTo>
                  <a:lnTo>
                    <a:pt x="3680" y="36"/>
                  </a:lnTo>
                  <a:cubicBezTo>
                    <a:pt x="3644" y="12"/>
                    <a:pt x="3596" y="0"/>
                    <a:pt x="3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2" name="Google Shape;12062;p61"/>
            <p:cNvSpPr/>
            <p:nvPr/>
          </p:nvSpPr>
          <p:spPr>
            <a:xfrm>
              <a:off x="4064914" y="1665805"/>
              <a:ext cx="101123" cy="40012"/>
            </a:xfrm>
            <a:custGeom>
              <a:avLst/>
              <a:gdLst/>
              <a:ahLst/>
              <a:cxnLst/>
              <a:rect l="l" t="t" r="r" b="b"/>
              <a:pathLst>
                <a:path w="3192" h="1263" extrusionOk="0">
                  <a:moveTo>
                    <a:pt x="2703" y="310"/>
                  </a:moveTo>
                  <a:lnTo>
                    <a:pt x="2608" y="417"/>
                  </a:lnTo>
                  <a:cubicBezTo>
                    <a:pt x="2346" y="739"/>
                    <a:pt x="2001" y="941"/>
                    <a:pt x="1631" y="941"/>
                  </a:cubicBezTo>
                  <a:cubicBezTo>
                    <a:pt x="1274" y="941"/>
                    <a:pt x="929" y="774"/>
                    <a:pt x="679" y="477"/>
                  </a:cubicBezTo>
                  <a:cubicBezTo>
                    <a:pt x="679" y="477"/>
                    <a:pt x="619" y="393"/>
                    <a:pt x="548" y="310"/>
                  </a:cubicBezTo>
                  <a:close/>
                  <a:moveTo>
                    <a:pt x="191" y="0"/>
                  </a:moveTo>
                  <a:cubicBezTo>
                    <a:pt x="131" y="0"/>
                    <a:pt x="72" y="24"/>
                    <a:pt x="36" y="84"/>
                  </a:cubicBezTo>
                  <a:cubicBezTo>
                    <a:pt x="0" y="143"/>
                    <a:pt x="24" y="203"/>
                    <a:pt x="48" y="250"/>
                  </a:cubicBezTo>
                  <a:cubicBezTo>
                    <a:pt x="155" y="369"/>
                    <a:pt x="393" y="667"/>
                    <a:pt x="393" y="679"/>
                  </a:cubicBezTo>
                  <a:cubicBezTo>
                    <a:pt x="703" y="1060"/>
                    <a:pt x="1143" y="1262"/>
                    <a:pt x="1584" y="1262"/>
                  </a:cubicBezTo>
                  <a:lnTo>
                    <a:pt x="1620" y="1262"/>
                  </a:lnTo>
                  <a:cubicBezTo>
                    <a:pt x="2072" y="1250"/>
                    <a:pt x="2524" y="1024"/>
                    <a:pt x="2846" y="619"/>
                  </a:cubicBezTo>
                  <a:lnTo>
                    <a:pt x="3132" y="262"/>
                  </a:lnTo>
                  <a:cubicBezTo>
                    <a:pt x="3191" y="203"/>
                    <a:pt x="3191" y="143"/>
                    <a:pt x="3167" y="84"/>
                  </a:cubicBezTo>
                  <a:cubicBezTo>
                    <a:pt x="3132" y="24"/>
                    <a:pt x="3072"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3" name="Google Shape;12063;p61"/>
            <p:cNvSpPr/>
            <p:nvPr/>
          </p:nvSpPr>
          <p:spPr>
            <a:xfrm>
              <a:off x="4162235" y="1749155"/>
              <a:ext cx="101851" cy="60382"/>
            </a:xfrm>
            <a:custGeom>
              <a:avLst/>
              <a:gdLst/>
              <a:ahLst/>
              <a:cxnLst/>
              <a:rect l="l" t="t" r="r" b="b"/>
              <a:pathLst>
                <a:path w="3215" h="1906" extrusionOk="0">
                  <a:moveTo>
                    <a:pt x="167" y="1"/>
                  </a:moveTo>
                  <a:cubicBezTo>
                    <a:pt x="72" y="1"/>
                    <a:pt x="0" y="72"/>
                    <a:pt x="0" y="167"/>
                  </a:cubicBezTo>
                  <a:cubicBezTo>
                    <a:pt x="0" y="536"/>
                    <a:pt x="238" y="786"/>
                    <a:pt x="286" y="834"/>
                  </a:cubicBezTo>
                  <a:lnTo>
                    <a:pt x="1310" y="1858"/>
                  </a:lnTo>
                  <a:cubicBezTo>
                    <a:pt x="1346" y="1894"/>
                    <a:pt x="1381" y="1906"/>
                    <a:pt x="1429" y="1906"/>
                  </a:cubicBezTo>
                  <a:cubicBezTo>
                    <a:pt x="1476" y="1906"/>
                    <a:pt x="1512" y="1894"/>
                    <a:pt x="1548" y="1858"/>
                  </a:cubicBezTo>
                  <a:lnTo>
                    <a:pt x="3143" y="274"/>
                  </a:lnTo>
                  <a:cubicBezTo>
                    <a:pt x="3203" y="239"/>
                    <a:pt x="3215" y="167"/>
                    <a:pt x="3191" y="108"/>
                  </a:cubicBezTo>
                  <a:cubicBezTo>
                    <a:pt x="3155" y="48"/>
                    <a:pt x="3096" y="1"/>
                    <a:pt x="3036" y="1"/>
                  </a:cubicBezTo>
                  <a:lnTo>
                    <a:pt x="1607" y="1"/>
                  </a:lnTo>
                  <a:cubicBezTo>
                    <a:pt x="1524" y="1"/>
                    <a:pt x="1441" y="72"/>
                    <a:pt x="1441" y="167"/>
                  </a:cubicBezTo>
                  <a:cubicBezTo>
                    <a:pt x="1441" y="251"/>
                    <a:pt x="1524" y="334"/>
                    <a:pt x="1607" y="334"/>
                  </a:cubicBezTo>
                  <a:lnTo>
                    <a:pt x="2631" y="334"/>
                  </a:lnTo>
                  <a:lnTo>
                    <a:pt x="1429" y="1537"/>
                  </a:lnTo>
                  <a:lnTo>
                    <a:pt x="500" y="608"/>
                  </a:lnTo>
                  <a:cubicBezTo>
                    <a:pt x="488" y="596"/>
                    <a:pt x="393" y="489"/>
                    <a:pt x="345" y="334"/>
                  </a:cubicBezTo>
                  <a:lnTo>
                    <a:pt x="965" y="334"/>
                  </a:lnTo>
                  <a:cubicBezTo>
                    <a:pt x="1060" y="334"/>
                    <a:pt x="1131" y="251"/>
                    <a:pt x="1131" y="167"/>
                  </a:cubicBezTo>
                  <a:cubicBezTo>
                    <a:pt x="1131" y="72"/>
                    <a:pt x="1060"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4" name="Google Shape;12064;p61"/>
          <p:cNvGrpSpPr/>
          <p:nvPr/>
        </p:nvGrpSpPr>
        <p:grpSpPr>
          <a:xfrm>
            <a:off x="3530425" y="1508747"/>
            <a:ext cx="368175" cy="344594"/>
            <a:chOff x="3530425" y="1508747"/>
            <a:chExt cx="368175" cy="344594"/>
          </a:xfrm>
        </p:grpSpPr>
        <p:sp>
          <p:nvSpPr>
            <p:cNvPr id="12065" name="Google Shape;12065;p61"/>
            <p:cNvSpPr/>
            <p:nvPr/>
          </p:nvSpPr>
          <p:spPr>
            <a:xfrm>
              <a:off x="3530425" y="1508747"/>
              <a:ext cx="316765" cy="344594"/>
            </a:xfrm>
            <a:custGeom>
              <a:avLst/>
              <a:gdLst/>
              <a:ahLst/>
              <a:cxnLst/>
              <a:rect l="l" t="t" r="r" b="b"/>
              <a:pathLst>
                <a:path w="7848" h="8538" extrusionOk="0">
                  <a:moveTo>
                    <a:pt x="6835" y="3406"/>
                  </a:moveTo>
                  <a:cubicBezTo>
                    <a:pt x="7252" y="3466"/>
                    <a:pt x="7561" y="3823"/>
                    <a:pt x="7561" y="4251"/>
                  </a:cubicBezTo>
                  <a:cubicBezTo>
                    <a:pt x="7573" y="4704"/>
                    <a:pt x="7264" y="5061"/>
                    <a:pt x="6835" y="5121"/>
                  </a:cubicBezTo>
                  <a:lnTo>
                    <a:pt x="6835" y="3406"/>
                  </a:lnTo>
                  <a:close/>
                  <a:moveTo>
                    <a:pt x="2144" y="3263"/>
                  </a:moveTo>
                  <a:lnTo>
                    <a:pt x="2144" y="5263"/>
                  </a:lnTo>
                  <a:lnTo>
                    <a:pt x="1263" y="5263"/>
                  </a:lnTo>
                  <a:lnTo>
                    <a:pt x="1263" y="3263"/>
                  </a:lnTo>
                  <a:close/>
                  <a:moveTo>
                    <a:pt x="1013" y="3275"/>
                  </a:moveTo>
                  <a:lnTo>
                    <a:pt x="1013" y="5287"/>
                  </a:lnTo>
                  <a:lnTo>
                    <a:pt x="715" y="5287"/>
                  </a:lnTo>
                  <a:cubicBezTo>
                    <a:pt x="477" y="5287"/>
                    <a:pt x="287" y="5085"/>
                    <a:pt x="287" y="4847"/>
                  </a:cubicBezTo>
                  <a:lnTo>
                    <a:pt x="287" y="3704"/>
                  </a:lnTo>
                  <a:cubicBezTo>
                    <a:pt x="287" y="3466"/>
                    <a:pt x="477" y="3275"/>
                    <a:pt x="715" y="3275"/>
                  </a:cubicBezTo>
                  <a:close/>
                  <a:moveTo>
                    <a:pt x="2287" y="6252"/>
                  </a:moveTo>
                  <a:lnTo>
                    <a:pt x="2287" y="6847"/>
                  </a:lnTo>
                  <a:lnTo>
                    <a:pt x="2037" y="6847"/>
                  </a:lnTo>
                  <a:lnTo>
                    <a:pt x="2204" y="6252"/>
                  </a:lnTo>
                  <a:close/>
                  <a:moveTo>
                    <a:pt x="2108" y="5549"/>
                  </a:moveTo>
                  <a:lnTo>
                    <a:pt x="1608" y="7407"/>
                  </a:lnTo>
                  <a:lnTo>
                    <a:pt x="1275" y="7407"/>
                  </a:lnTo>
                  <a:lnTo>
                    <a:pt x="1275" y="5549"/>
                  </a:lnTo>
                  <a:close/>
                  <a:moveTo>
                    <a:pt x="6561" y="263"/>
                  </a:moveTo>
                  <a:lnTo>
                    <a:pt x="6561" y="8276"/>
                  </a:lnTo>
                  <a:lnTo>
                    <a:pt x="5966" y="8276"/>
                  </a:lnTo>
                  <a:lnTo>
                    <a:pt x="5966" y="2632"/>
                  </a:lnTo>
                  <a:cubicBezTo>
                    <a:pt x="5966" y="2561"/>
                    <a:pt x="5906" y="2501"/>
                    <a:pt x="5835" y="2501"/>
                  </a:cubicBezTo>
                  <a:cubicBezTo>
                    <a:pt x="5764" y="2501"/>
                    <a:pt x="5704" y="2561"/>
                    <a:pt x="5704" y="2632"/>
                  </a:cubicBezTo>
                  <a:lnTo>
                    <a:pt x="5704" y="7395"/>
                  </a:lnTo>
                  <a:cubicBezTo>
                    <a:pt x="5537" y="7157"/>
                    <a:pt x="5264" y="6847"/>
                    <a:pt x="4942" y="6537"/>
                  </a:cubicBezTo>
                  <a:cubicBezTo>
                    <a:pt x="4573" y="6180"/>
                    <a:pt x="4180" y="5883"/>
                    <a:pt x="3775" y="5668"/>
                  </a:cubicBezTo>
                  <a:cubicBezTo>
                    <a:pt x="3323" y="5430"/>
                    <a:pt x="2858" y="5299"/>
                    <a:pt x="2394" y="5287"/>
                  </a:cubicBezTo>
                  <a:lnTo>
                    <a:pt x="2394" y="3263"/>
                  </a:lnTo>
                  <a:cubicBezTo>
                    <a:pt x="2858" y="3239"/>
                    <a:pt x="3335" y="3108"/>
                    <a:pt x="3775" y="2870"/>
                  </a:cubicBezTo>
                  <a:cubicBezTo>
                    <a:pt x="4180" y="2668"/>
                    <a:pt x="4573" y="2382"/>
                    <a:pt x="4942" y="2001"/>
                  </a:cubicBezTo>
                  <a:cubicBezTo>
                    <a:pt x="5264" y="1692"/>
                    <a:pt x="5525" y="1370"/>
                    <a:pt x="5704" y="1144"/>
                  </a:cubicBezTo>
                  <a:lnTo>
                    <a:pt x="5704" y="1989"/>
                  </a:lnTo>
                  <a:cubicBezTo>
                    <a:pt x="5704" y="2061"/>
                    <a:pt x="5764" y="2120"/>
                    <a:pt x="5835" y="2120"/>
                  </a:cubicBezTo>
                  <a:cubicBezTo>
                    <a:pt x="5906" y="2120"/>
                    <a:pt x="5966" y="2061"/>
                    <a:pt x="5966" y="1989"/>
                  </a:cubicBezTo>
                  <a:lnTo>
                    <a:pt x="5966" y="263"/>
                  </a:lnTo>
                  <a:close/>
                  <a:moveTo>
                    <a:pt x="5847" y="1"/>
                  </a:moveTo>
                  <a:cubicBezTo>
                    <a:pt x="5776" y="1"/>
                    <a:pt x="5716" y="60"/>
                    <a:pt x="5716" y="132"/>
                  </a:cubicBezTo>
                  <a:lnTo>
                    <a:pt x="5716" y="668"/>
                  </a:lnTo>
                  <a:cubicBezTo>
                    <a:pt x="5645" y="799"/>
                    <a:pt x="5299" y="1311"/>
                    <a:pt x="4763" y="1834"/>
                  </a:cubicBezTo>
                  <a:cubicBezTo>
                    <a:pt x="4216" y="2370"/>
                    <a:pt x="3335" y="3001"/>
                    <a:pt x="2275" y="3001"/>
                  </a:cubicBezTo>
                  <a:lnTo>
                    <a:pt x="703" y="3001"/>
                  </a:lnTo>
                  <a:cubicBezTo>
                    <a:pt x="311" y="3001"/>
                    <a:pt x="1" y="3323"/>
                    <a:pt x="1" y="3704"/>
                  </a:cubicBezTo>
                  <a:lnTo>
                    <a:pt x="1" y="4847"/>
                  </a:lnTo>
                  <a:cubicBezTo>
                    <a:pt x="1" y="5240"/>
                    <a:pt x="311" y="5549"/>
                    <a:pt x="703" y="5549"/>
                  </a:cubicBezTo>
                  <a:lnTo>
                    <a:pt x="1001" y="5549"/>
                  </a:lnTo>
                  <a:lnTo>
                    <a:pt x="1001" y="7561"/>
                  </a:lnTo>
                  <a:cubicBezTo>
                    <a:pt x="1001" y="7633"/>
                    <a:pt x="1061" y="7692"/>
                    <a:pt x="1132" y="7692"/>
                  </a:cubicBezTo>
                  <a:lnTo>
                    <a:pt x="1692" y="7692"/>
                  </a:lnTo>
                  <a:cubicBezTo>
                    <a:pt x="1751" y="7692"/>
                    <a:pt x="1811" y="7645"/>
                    <a:pt x="1823" y="7585"/>
                  </a:cubicBezTo>
                  <a:lnTo>
                    <a:pt x="1942" y="7109"/>
                  </a:lnTo>
                  <a:lnTo>
                    <a:pt x="2406" y="7109"/>
                  </a:lnTo>
                  <a:cubicBezTo>
                    <a:pt x="2477" y="7109"/>
                    <a:pt x="2537" y="7049"/>
                    <a:pt x="2537" y="6978"/>
                  </a:cubicBezTo>
                  <a:lnTo>
                    <a:pt x="2537" y="6121"/>
                  </a:lnTo>
                  <a:cubicBezTo>
                    <a:pt x="2537" y="6037"/>
                    <a:pt x="2477" y="5978"/>
                    <a:pt x="2406" y="5978"/>
                  </a:cubicBezTo>
                  <a:lnTo>
                    <a:pt x="2239" y="5978"/>
                  </a:lnTo>
                  <a:lnTo>
                    <a:pt x="2358" y="5537"/>
                  </a:lnTo>
                  <a:cubicBezTo>
                    <a:pt x="3370" y="5585"/>
                    <a:pt x="4228" y="6192"/>
                    <a:pt x="4740" y="6716"/>
                  </a:cubicBezTo>
                  <a:cubicBezTo>
                    <a:pt x="5264" y="7216"/>
                    <a:pt x="5609" y="7740"/>
                    <a:pt x="5692" y="7871"/>
                  </a:cubicBezTo>
                  <a:lnTo>
                    <a:pt x="5692" y="8407"/>
                  </a:lnTo>
                  <a:cubicBezTo>
                    <a:pt x="5692" y="8478"/>
                    <a:pt x="5752" y="8538"/>
                    <a:pt x="5835" y="8538"/>
                  </a:cubicBezTo>
                  <a:lnTo>
                    <a:pt x="6692" y="8538"/>
                  </a:lnTo>
                  <a:cubicBezTo>
                    <a:pt x="6764" y="8538"/>
                    <a:pt x="6823" y="8478"/>
                    <a:pt x="6823" y="8407"/>
                  </a:cubicBezTo>
                  <a:lnTo>
                    <a:pt x="6823" y="5406"/>
                  </a:lnTo>
                  <a:cubicBezTo>
                    <a:pt x="7395" y="5323"/>
                    <a:pt x="7823" y="4847"/>
                    <a:pt x="7823" y="4275"/>
                  </a:cubicBezTo>
                  <a:cubicBezTo>
                    <a:pt x="7847" y="3692"/>
                    <a:pt x="7407" y="3216"/>
                    <a:pt x="6835" y="3144"/>
                  </a:cubicBezTo>
                  <a:lnTo>
                    <a:pt x="6835" y="132"/>
                  </a:lnTo>
                  <a:cubicBezTo>
                    <a:pt x="6835" y="60"/>
                    <a:pt x="6776" y="1"/>
                    <a:pt x="6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6" name="Google Shape;12066;p61"/>
            <p:cNvSpPr/>
            <p:nvPr/>
          </p:nvSpPr>
          <p:spPr>
            <a:xfrm>
              <a:off x="3870185" y="1675515"/>
              <a:ext cx="28415" cy="11099"/>
            </a:xfrm>
            <a:custGeom>
              <a:avLst/>
              <a:gdLst/>
              <a:ahLst/>
              <a:cxnLst/>
              <a:rect l="l" t="t" r="r" b="b"/>
              <a:pathLst>
                <a:path w="704" h="275" extrusionOk="0">
                  <a:moveTo>
                    <a:pt x="144" y="0"/>
                  </a:moveTo>
                  <a:cubicBezTo>
                    <a:pt x="60" y="0"/>
                    <a:pt x="1" y="60"/>
                    <a:pt x="1" y="143"/>
                  </a:cubicBezTo>
                  <a:cubicBezTo>
                    <a:pt x="1" y="215"/>
                    <a:pt x="60" y="274"/>
                    <a:pt x="144" y="274"/>
                  </a:cubicBezTo>
                  <a:lnTo>
                    <a:pt x="572" y="274"/>
                  </a:lnTo>
                  <a:cubicBezTo>
                    <a:pt x="644" y="274"/>
                    <a:pt x="703" y="215"/>
                    <a:pt x="703" y="143"/>
                  </a:cubicBezTo>
                  <a:cubicBezTo>
                    <a:pt x="703" y="60"/>
                    <a:pt x="644"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7" name="Google Shape;12067;p61"/>
            <p:cNvSpPr/>
            <p:nvPr/>
          </p:nvSpPr>
          <p:spPr>
            <a:xfrm>
              <a:off x="3846170" y="1610293"/>
              <a:ext cx="25993" cy="22965"/>
            </a:xfrm>
            <a:custGeom>
              <a:avLst/>
              <a:gdLst/>
              <a:ahLst/>
              <a:cxnLst/>
              <a:rect l="l" t="t" r="r" b="b"/>
              <a:pathLst>
                <a:path w="644" h="569" extrusionOk="0">
                  <a:moveTo>
                    <a:pt x="489" y="0"/>
                  </a:moveTo>
                  <a:cubicBezTo>
                    <a:pt x="456" y="0"/>
                    <a:pt x="423" y="15"/>
                    <a:pt x="393" y="45"/>
                  </a:cubicBezTo>
                  <a:lnTo>
                    <a:pt x="96" y="342"/>
                  </a:lnTo>
                  <a:cubicBezTo>
                    <a:pt x="0" y="426"/>
                    <a:pt x="60" y="569"/>
                    <a:pt x="179" y="569"/>
                  </a:cubicBezTo>
                  <a:cubicBezTo>
                    <a:pt x="215" y="569"/>
                    <a:pt x="262" y="545"/>
                    <a:pt x="274" y="521"/>
                  </a:cubicBezTo>
                  <a:lnTo>
                    <a:pt x="572" y="223"/>
                  </a:lnTo>
                  <a:cubicBezTo>
                    <a:pt x="643" y="176"/>
                    <a:pt x="643" y="104"/>
                    <a:pt x="584" y="45"/>
                  </a:cubicBezTo>
                  <a:cubicBezTo>
                    <a:pt x="554" y="15"/>
                    <a:pt x="52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8" name="Google Shape;12068;p61"/>
            <p:cNvSpPr/>
            <p:nvPr/>
          </p:nvSpPr>
          <p:spPr>
            <a:xfrm>
              <a:off x="3847623" y="1728508"/>
              <a:ext cx="24540" cy="23086"/>
            </a:xfrm>
            <a:custGeom>
              <a:avLst/>
              <a:gdLst/>
              <a:ahLst/>
              <a:cxnLst/>
              <a:rect l="l" t="t" r="r" b="b"/>
              <a:pathLst>
                <a:path w="608" h="572" extrusionOk="0">
                  <a:moveTo>
                    <a:pt x="155" y="0"/>
                  </a:moveTo>
                  <a:cubicBezTo>
                    <a:pt x="122" y="0"/>
                    <a:pt x="89" y="15"/>
                    <a:pt x="60" y="45"/>
                  </a:cubicBezTo>
                  <a:cubicBezTo>
                    <a:pt x="0" y="104"/>
                    <a:pt x="0" y="176"/>
                    <a:pt x="60" y="235"/>
                  </a:cubicBezTo>
                  <a:lnTo>
                    <a:pt x="357" y="533"/>
                  </a:lnTo>
                  <a:cubicBezTo>
                    <a:pt x="384" y="560"/>
                    <a:pt x="416" y="572"/>
                    <a:pt x="447" y="572"/>
                  </a:cubicBezTo>
                  <a:cubicBezTo>
                    <a:pt x="485" y="572"/>
                    <a:pt x="522" y="554"/>
                    <a:pt x="548" y="521"/>
                  </a:cubicBezTo>
                  <a:cubicBezTo>
                    <a:pt x="607" y="473"/>
                    <a:pt x="607" y="390"/>
                    <a:pt x="548" y="342"/>
                  </a:cubicBezTo>
                  <a:lnTo>
                    <a:pt x="250" y="45"/>
                  </a:lnTo>
                  <a:cubicBezTo>
                    <a:pt x="220" y="15"/>
                    <a:pt x="188"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69" name="Google Shape;12069;p61"/>
          <p:cNvGrpSpPr/>
          <p:nvPr/>
        </p:nvGrpSpPr>
        <p:grpSpPr>
          <a:xfrm>
            <a:off x="3127598" y="1513234"/>
            <a:ext cx="289714" cy="347593"/>
            <a:chOff x="3127598" y="1513234"/>
            <a:chExt cx="289714" cy="347593"/>
          </a:xfrm>
        </p:grpSpPr>
        <p:sp>
          <p:nvSpPr>
            <p:cNvPr id="12070" name="Google Shape;12070;p61"/>
            <p:cNvSpPr/>
            <p:nvPr/>
          </p:nvSpPr>
          <p:spPr>
            <a:xfrm>
              <a:off x="3127598" y="1513234"/>
              <a:ext cx="289714" cy="347593"/>
            </a:xfrm>
            <a:custGeom>
              <a:avLst/>
              <a:gdLst/>
              <a:ahLst/>
              <a:cxnLst/>
              <a:rect l="l" t="t" r="r" b="b"/>
              <a:pathLst>
                <a:path w="9145" h="10972" extrusionOk="0">
                  <a:moveTo>
                    <a:pt x="1917" y="8995"/>
                  </a:moveTo>
                  <a:lnTo>
                    <a:pt x="1917" y="10412"/>
                  </a:lnTo>
                  <a:lnTo>
                    <a:pt x="1358" y="9841"/>
                  </a:lnTo>
                  <a:lnTo>
                    <a:pt x="548" y="8995"/>
                  </a:lnTo>
                  <a:close/>
                  <a:moveTo>
                    <a:pt x="6192" y="0"/>
                  </a:moveTo>
                  <a:cubicBezTo>
                    <a:pt x="5828" y="0"/>
                    <a:pt x="5465" y="137"/>
                    <a:pt x="5191" y="411"/>
                  </a:cubicBezTo>
                  <a:lnTo>
                    <a:pt x="5156" y="435"/>
                  </a:lnTo>
                  <a:cubicBezTo>
                    <a:pt x="5096" y="494"/>
                    <a:pt x="5096" y="602"/>
                    <a:pt x="5168" y="661"/>
                  </a:cubicBezTo>
                  <a:cubicBezTo>
                    <a:pt x="5196" y="689"/>
                    <a:pt x="5235" y="704"/>
                    <a:pt x="5275" y="704"/>
                  </a:cubicBezTo>
                  <a:cubicBezTo>
                    <a:pt x="5319" y="704"/>
                    <a:pt x="5363" y="686"/>
                    <a:pt x="5394" y="649"/>
                  </a:cubicBezTo>
                  <a:lnTo>
                    <a:pt x="5430" y="613"/>
                  </a:lnTo>
                  <a:cubicBezTo>
                    <a:pt x="5644" y="399"/>
                    <a:pt x="5927" y="292"/>
                    <a:pt x="6209" y="292"/>
                  </a:cubicBezTo>
                  <a:cubicBezTo>
                    <a:pt x="6492" y="292"/>
                    <a:pt x="6775" y="399"/>
                    <a:pt x="6989" y="613"/>
                  </a:cubicBezTo>
                  <a:cubicBezTo>
                    <a:pt x="7418" y="1042"/>
                    <a:pt x="7418" y="1745"/>
                    <a:pt x="6989" y="2185"/>
                  </a:cubicBezTo>
                  <a:cubicBezTo>
                    <a:pt x="6775" y="2399"/>
                    <a:pt x="6492" y="2507"/>
                    <a:pt x="6209" y="2507"/>
                  </a:cubicBezTo>
                  <a:cubicBezTo>
                    <a:pt x="5927" y="2507"/>
                    <a:pt x="5644" y="2399"/>
                    <a:pt x="5430" y="2185"/>
                  </a:cubicBezTo>
                  <a:cubicBezTo>
                    <a:pt x="5168" y="1923"/>
                    <a:pt x="5049" y="1554"/>
                    <a:pt x="5132" y="1209"/>
                  </a:cubicBezTo>
                  <a:cubicBezTo>
                    <a:pt x="5144" y="1125"/>
                    <a:pt x="5084" y="1030"/>
                    <a:pt x="4989" y="1018"/>
                  </a:cubicBezTo>
                  <a:cubicBezTo>
                    <a:pt x="4982" y="1017"/>
                    <a:pt x="4975" y="1017"/>
                    <a:pt x="4967" y="1017"/>
                  </a:cubicBezTo>
                  <a:cubicBezTo>
                    <a:pt x="4890" y="1017"/>
                    <a:pt x="4809" y="1073"/>
                    <a:pt x="4798" y="1149"/>
                  </a:cubicBezTo>
                  <a:cubicBezTo>
                    <a:pt x="4751" y="1387"/>
                    <a:pt x="4775" y="1614"/>
                    <a:pt x="4846" y="1840"/>
                  </a:cubicBezTo>
                  <a:lnTo>
                    <a:pt x="3132" y="1840"/>
                  </a:lnTo>
                  <a:cubicBezTo>
                    <a:pt x="3048" y="1840"/>
                    <a:pt x="2965" y="1911"/>
                    <a:pt x="2965" y="2006"/>
                  </a:cubicBezTo>
                  <a:cubicBezTo>
                    <a:pt x="2965" y="2090"/>
                    <a:pt x="3048" y="2161"/>
                    <a:pt x="3132" y="2161"/>
                  </a:cubicBezTo>
                  <a:lnTo>
                    <a:pt x="4989" y="2161"/>
                  </a:lnTo>
                  <a:lnTo>
                    <a:pt x="5084" y="2304"/>
                  </a:lnTo>
                  <a:lnTo>
                    <a:pt x="4310" y="3078"/>
                  </a:lnTo>
                  <a:cubicBezTo>
                    <a:pt x="4251" y="3126"/>
                    <a:pt x="4251" y="3233"/>
                    <a:pt x="4310" y="3292"/>
                  </a:cubicBezTo>
                  <a:cubicBezTo>
                    <a:pt x="4334" y="3328"/>
                    <a:pt x="4382" y="3340"/>
                    <a:pt x="4429" y="3340"/>
                  </a:cubicBezTo>
                  <a:cubicBezTo>
                    <a:pt x="4477" y="3340"/>
                    <a:pt x="4513" y="3328"/>
                    <a:pt x="4548" y="3292"/>
                  </a:cubicBezTo>
                  <a:lnTo>
                    <a:pt x="5322" y="2518"/>
                  </a:lnTo>
                  <a:cubicBezTo>
                    <a:pt x="5572" y="2733"/>
                    <a:pt x="5882" y="2840"/>
                    <a:pt x="6203" y="2840"/>
                  </a:cubicBezTo>
                  <a:cubicBezTo>
                    <a:pt x="6561" y="2840"/>
                    <a:pt x="6930" y="2697"/>
                    <a:pt x="7215" y="2423"/>
                  </a:cubicBezTo>
                  <a:cubicBezTo>
                    <a:pt x="7287" y="2340"/>
                    <a:pt x="7358" y="2256"/>
                    <a:pt x="7418" y="2161"/>
                  </a:cubicBezTo>
                  <a:lnTo>
                    <a:pt x="8835" y="2161"/>
                  </a:lnTo>
                  <a:lnTo>
                    <a:pt x="8835" y="10662"/>
                  </a:lnTo>
                  <a:lnTo>
                    <a:pt x="2239" y="10662"/>
                  </a:lnTo>
                  <a:lnTo>
                    <a:pt x="2239" y="8864"/>
                  </a:lnTo>
                  <a:cubicBezTo>
                    <a:pt x="2239" y="8769"/>
                    <a:pt x="2167" y="8698"/>
                    <a:pt x="2072" y="8698"/>
                  </a:cubicBezTo>
                  <a:lnTo>
                    <a:pt x="334" y="8698"/>
                  </a:lnTo>
                  <a:lnTo>
                    <a:pt x="334" y="2161"/>
                  </a:lnTo>
                  <a:lnTo>
                    <a:pt x="2489" y="2161"/>
                  </a:lnTo>
                  <a:cubicBezTo>
                    <a:pt x="2584" y="2161"/>
                    <a:pt x="2655" y="2090"/>
                    <a:pt x="2655" y="2006"/>
                  </a:cubicBezTo>
                  <a:cubicBezTo>
                    <a:pt x="2655" y="1911"/>
                    <a:pt x="2584" y="1840"/>
                    <a:pt x="2489" y="1840"/>
                  </a:cubicBezTo>
                  <a:lnTo>
                    <a:pt x="167" y="1840"/>
                  </a:lnTo>
                  <a:cubicBezTo>
                    <a:pt x="84" y="1840"/>
                    <a:pt x="0" y="1911"/>
                    <a:pt x="0" y="2006"/>
                  </a:cubicBezTo>
                  <a:lnTo>
                    <a:pt x="0" y="8853"/>
                  </a:lnTo>
                  <a:cubicBezTo>
                    <a:pt x="0" y="8888"/>
                    <a:pt x="24" y="8936"/>
                    <a:pt x="48" y="8972"/>
                  </a:cubicBezTo>
                  <a:lnTo>
                    <a:pt x="1060" y="10007"/>
                  </a:lnTo>
                  <a:lnTo>
                    <a:pt x="1953" y="10936"/>
                  </a:lnTo>
                  <a:cubicBezTo>
                    <a:pt x="1989" y="10960"/>
                    <a:pt x="2024" y="10972"/>
                    <a:pt x="2072" y="10972"/>
                  </a:cubicBezTo>
                  <a:lnTo>
                    <a:pt x="8978" y="10972"/>
                  </a:lnTo>
                  <a:cubicBezTo>
                    <a:pt x="9073" y="10972"/>
                    <a:pt x="9144" y="10900"/>
                    <a:pt x="9144" y="10817"/>
                  </a:cubicBezTo>
                  <a:lnTo>
                    <a:pt x="9144" y="2006"/>
                  </a:lnTo>
                  <a:cubicBezTo>
                    <a:pt x="9132" y="1911"/>
                    <a:pt x="9073" y="1840"/>
                    <a:pt x="8978" y="1840"/>
                  </a:cubicBezTo>
                  <a:lnTo>
                    <a:pt x="7549" y="1840"/>
                  </a:lnTo>
                  <a:cubicBezTo>
                    <a:pt x="7704" y="1352"/>
                    <a:pt x="7585" y="792"/>
                    <a:pt x="7192" y="411"/>
                  </a:cubicBezTo>
                  <a:cubicBezTo>
                    <a:pt x="6918" y="137"/>
                    <a:pt x="6555" y="0"/>
                    <a:pt x="61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1" name="Google Shape;12071;p61"/>
            <p:cNvSpPr/>
            <p:nvPr/>
          </p:nvSpPr>
          <p:spPr>
            <a:xfrm>
              <a:off x="3254698" y="1788375"/>
              <a:ext cx="121493" cy="10233"/>
            </a:xfrm>
            <a:custGeom>
              <a:avLst/>
              <a:gdLst/>
              <a:ahLst/>
              <a:cxnLst/>
              <a:rect l="l" t="t" r="r" b="b"/>
              <a:pathLst>
                <a:path w="3835" h="323" extrusionOk="0">
                  <a:moveTo>
                    <a:pt x="167" y="1"/>
                  </a:moveTo>
                  <a:cubicBezTo>
                    <a:pt x="72" y="1"/>
                    <a:pt x="1" y="72"/>
                    <a:pt x="1" y="168"/>
                  </a:cubicBezTo>
                  <a:cubicBezTo>
                    <a:pt x="1" y="251"/>
                    <a:pt x="72" y="322"/>
                    <a:pt x="167" y="322"/>
                  </a:cubicBezTo>
                  <a:lnTo>
                    <a:pt x="3680" y="322"/>
                  </a:lnTo>
                  <a:cubicBezTo>
                    <a:pt x="3763" y="322"/>
                    <a:pt x="3834" y="251"/>
                    <a:pt x="3834" y="168"/>
                  </a:cubicBezTo>
                  <a:cubicBezTo>
                    <a:pt x="3834" y="72"/>
                    <a:pt x="3763" y="1"/>
                    <a:pt x="3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2" name="Google Shape;12072;p61"/>
            <p:cNvSpPr/>
            <p:nvPr/>
          </p:nvSpPr>
          <p:spPr>
            <a:xfrm>
              <a:off x="3185668" y="1638275"/>
              <a:ext cx="172783" cy="29051"/>
            </a:xfrm>
            <a:custGeom>
              <a:avLst/>
              <a:gdLst/>
              <a:ahLst/>
              <a:cxnLst/>
              <a:rect l="l" t="t" r="r" b="b"/>
              <a:pathLst>
                <a:path w="5454" h="917" extrusionOk="0">
                  <a:moveTo>
                    <a:pt x="168" y="0"/>
                  </a:moveTo>
                  <a:cubicBezTo>
                    <a:pt x="72" y="0"/>
                    <a:pt x="1" y="84"/>
                    <a:pt x="1" y="167"/>
                  </a:cubicBezTo>
                  <a:lnTo>
                    <a:pt x="1" y="750"/>
                  </a:lnTo>
                  <a:cubicBezTo>
                    <a:pt x="1" y="834"/>
                    <a:pt x="72" y="917"/>
                    <a:pt x="168" y="917"/>
                  </a:cubicBezTo>
                  <a:lnTo>
                    <a:pt x="5275" y="917"/>
                  </a:lnTo>
                  <a:cubicBezTo>
                    <a:pt x="5359" y="917"/>
                    <a:pt x="5430" y="834"/>
                    <a:pt x="5430" y="750"/>
                  </a:cubicBezTo>
                  <a:lnTo>
                    <a:pt x="5430" y="167"/>
                  </a:lnTo>
                  <a:cubicBezTo>
                    <a:pt x="5454" y="84"/>
                    <a:pt x="5382" y="0"/>
                    <a:pt x="5287" y="0"/>
                  </a:cubicBezTo>
                  <a:lnTo>
                    <a:pt x="4228" y="0"/>
                  </a:lnTo>
                  <a:cubicBezTo>
                    <a:pt x="4144" y="0"/>
                    <a:pt x="4073" y="84"/>
                    <a:pt x="4073" y="167"/>
                  </a:cubicBezTo>
                  <a:cubicBezTo>
                    <a:pt x="4073" y="262"/>
                    <a:pt x="4144" y="334"/>
                    <a:pt x="4228" y="334"/>
                  </a:cubicBezTo>
                  <a:lnTo>
                    <a:pt x="5121" y="334"/>
                  </a:lnTo>
                  <a:lnTo>
                    <a:pt x="5121" y="584"/>
                  </a:lnTo>
                  <a:lnTo>
                    <a:pt x="334" y="584"/>
                  </a:lnTo>
                  <a:lnTo>
                    <a:pt x="334" y="334"/>
                  </a:lnTo>
                  <a:lnTo>
                    <a:pt x="3597" y="334"/>
                  </a:lnTo>
                  <a:cubicBezTo>
                    <a:pt x="3680" y="334"/>
                    <a:pt x="3751" y="262"/>
                    <a:pt x="3751" y="167"/>
                  </a:cubicBezTo>
                  <a:cubicBezTo>
                    <a:pt x="3751" y="84"/>
                    <a:pt x="3680" y="0"/>
                    <a:pt x="3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3" name="Google Shape;12073;p61"/>
            <p:cNvSpPr/>
            <p:nvPr/>
          </p:nvSpPr>
          <p:spPr>
            <a:xfrm>
              <a:off x="3186428" y="1681645"/>
              <a:ext cx="172022" cy="10581"/>
            </a:xfrm>
            <a:custGeom>
              <a:avLst/>
              <a:gdLst/>
              <a:ahLst/>
              <a:cxnLst/>
              <a:rect l="l" t="t" r="r" b="b"/>
              <a:pathLst>
                <a:path w="5430" h="334" extrusionOk="0">
                  <a:moveTo>
                    <a:pt x="155" y="0"/>
                  </a:moveTo>
                  <a:cubicBezTo>
                    <a:pt x="72" y="0"/>
                    <a:pt x="1" y="84"/>
                    <a:pt x="1" y="167"/>
                  </a:cubicBezTo>
                  <a:cubicBezTo>
                    <a:pt x="1" y="262"/>
                    <a:pt x="72" y="334"/>
                    <a:pt x="155" y="334"/>
                  </a:cubicBezTo>
                  <a:lnTo>
                    <a:pt x="5263" y="334"/>
                  </a:lnTo>
                  <a:cubicBezTo>
                    <a:pt x="5358" y="334"/>
                    <a:pt x="5430" y="262"/>
                    <a:pt x="5430" y="167"/>
                  </a:cubicBezTo>
                  <a:cubicBezTo>
                    <a:pt x="5430" y="84"/>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4" name="Google Shape;12074;p61"/>
            <p:cNvSpPr/>
            <p:nvPr/>
          </p:nvSpPr>
          <p:spPr>
            <a:xfrm>
              <a:off x="3186428" y="1707306"/>
              <a:ext cx="172022" cy="10201"/>
            </a:xfrm>
            <a:custGeom>
              <a:avLst/>
              <a:gdLst/>
              <a:ahLst/>
              <a:cxnLst/>
              <a:rect l="l" t="t" r="r" b="b"/>
              <a:pathLst>
                <a:path w="5430" h="322" extrusionOk="0">
                  <a:moveTo>
                    <a:pt x="155" y="0"/>
                  </a:moveTo>
                  <a:cubicBezTo>
                    <a:pt x="72" y="0"/>
                    <a:pt x="1" y="71"/>
                    <a:pt x="1" y="167"/>
                  </a:cubicBezTo>
                  <a:cubicBezTo>
                    <a:pt x="1" y="250"/>
                    <a:pt x="72" y="321"/>
                    <a:pt x="155" y="321"/>
                  </a:cubicBezTo>
                  <a:lnTo>
                    <a:pt x="5263" y="321"/>
                  </a:lnTo>
                  <a:cubicBezTo>
                    <a:pt x="5358" y="321"/>
                    <a:pt x="5430" y="250"/>
                    <a:pt x="5430" y="167"/>
                  </a:cubicBezTo>
                  <a:cubicBezTo>
                    <a:pt x="5430" y="71"/>
                    <a:pt x="5358" y="0"/>
                    <a:pt x="5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75" name="Google Shape;12075;p61"/>
          <p:cNvGrpSpPr/>
          <p:nvPr/>
        </p:nvGrpSpPr>
        <p:grpSpPr>
          <a:xfrm>
            <a:off x="2662884" y="1513044"/>
            <a:ext cx="322914" cy="348543"/>
            <a:chOff x="2662884" y="1513044"/>
            <a:chExt cx="322914" cy="348543"/>
          </a:xfrm>
        </p:grpSpPr>
        <p:sp>
          <p:nvSpPr>
            <p:cNvPr id="12076" name="Google Shape;12076;p61"/>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7" name="Google Shape;12077;p61"/>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8" name="Google Shape;12078;p61"/>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9" name="Google Shape;12079;p61"/>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0" name="Google Shape;12080;p61"/>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1" name="Google Shape;12081;p61"/>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2" name="Google Shape;12082;p61"/>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3" name="Google Shape;12083;p61"/>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4" name="Google Shape;12084;p61"/>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5" name="Google Shape;12085;p61"/>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86" name="Google Shape;12086;p61"/>
          <p:cNvGrpSpPr/>
          <p:nvPr/>
        </p:nvGrpSpPr>
        <p:grpSpPr>
          <a:xfrm>
            <a:off x="2232511" y="1512759"/>
            <a:ext cx="299534" cy="348068"/>
            <a:chOff x="2232511" y="1512759"/>
            <a:chExt cx="299534" cy="348068"/>
          </a:xfrm>
        </p:grpSpPr>
        <p:sp>
          <p:nvSpPr>
            <p:cNvPr id="12087" name="Google Shape;12087;p61"/>
            <p:cNvSpPr/>
            <p:nvPr/>
          </p:nvSpPr>
          <p:spPr>
            <a:xfrm>
              <a:off x="2278162" y="1715226"/>
              <a:ext cx="95452" cy="10581"/>
            </a:xfrm>
            <a:custGeom>
              <a:avLst/>
              <a:gdLst/>
              <a:ahLst/>
              <a:cxnLst/>
              <a:rect l="l" t="t" r="r" b="b"/>
              <a:pathLst>
                <a:path w="3013" h="334" extrusionOk="0">
                  <a:moveTo>
                    <a:pt x="167" y="0"/>
                  </a:moveTo>
                  <a:cubicBezTo>
                    <a:pt x="72" y="0"/>
                    <a:pt x="0" y="71"/>
                    <a:pt x="0" y="167"/>
                  </a:cubicBezTo>
                  <a:cubicBezTo>
                    <a:pt x="0" y="250"/>
                    <a:pt x="72" y="333"/>
                    <a:pt x="167" y="333"/>
                  </a:cubicBezTo>
                  <a:lnTo>
                    <a:pt x="2846" y="333"/>
                  </a:lnTo>
                  <a:cubicBezTo>
                    <a:pt x="2929" y="333"/>
                    <a:pt x="3013" y="250"/>
                    <a:pt x="3013" y="167"/>
                  </a:cubicBezTo>
                  <a:cubicBezTo>
                    <a:pt x="3013" y="71"/>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8" name="Google Shape;12088;p61"/>
            <p:cNvSpPr/>
            <p:nvPr/>
          </p:nvSpPr>
          <p:spPr>
            <a:xfrm>
              <a:off x="2278162" y="1734455"/>
              <a:ext cx="95452" cy="10581"/>
            </a:xfrm>
            <a:custGeom>
              <a:avLst/>
              <a:gdLst/>
              <a:ahLst/>
              <a:cxnLst/>
              <a:rect l="l" t="t" r="r" b="b"/>
              <a:pathLst>
                <a:path w="3013" h="334" extrusionOk="0">
                  <a:moveTo>
                    <a:pt x="167" y="0"/>
                  </a:moveTo>
                  <a:cubicBezTo>
                    <a:pt x="72" y="0"/>
                    <a:pt x="0" y="84"/>
                    <a:pt x="0" y="167"/>
                  </a:cubicBezTo>
                  <a:cubicBezTo>
                    <a:pt x="0" y="262"/>
                    <a:pt x="72" y="334"/>
                    <a:pt x="167" y="334"/>
                  </a:cubicBezTo>
                  <a:lnTo>
                    <a:pt x="2846" y="334"/>
                  </a:lnTo>
                  <a:cubicBezTo>
                    <a:pt x="2929" y="334"/>
                    <a:pt x="3013" y="262"/>
                    <a:pt x="3013" y="167"/>
                  </a:cubicBezTo>
                  <a:cubicBezTo>
                    <a:pt x="3013" y="84"/>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9" name="Google Shape;12089;p61"/>
            <p:cNvSpPr/>
            <p:nvPr/>
          </p:nvSpPr>
          <p:spPr>
            <a:xfrm>
              <a:off x="2278162" y="1754446"/>
              <a:ext cx="95452" cy="10201"/>
            </a:xfrm>
            <a:custGeom>
              <a:avLst/>
              <a:gdLst/>
              <a:ahLst/>
              <a:cxnLst/>
              <a:rect l="l" t="t" r="r" b="b"/>
              <a:pathLst>
                <a:path w="3013" h="322" extrusionOk="0">
                  <a:moveTo>
                    <a:pt x="167" y="0"/>
                  </a:moveTo>
                  <a:cubicBezTo>
                    <a:pt x="72" y="0"/>
                    <a:pt x="0" y="72"/>
                    <a:pt x="0" y="167"/>
                  </a:cubicBezTo>
                  <a:cubicBezTo>
                    <a:pt x="0" y="250"/>
                    <a:pt x="72" y="322"/>
                    <a:pt x="167" y="322"/>
                  </a:cubicBezTo>
                  <a:lnTo>
                    <a:pt x="2846" y="322"/>
                  </a:lnTo>
                  <a:cubicBezTo>
                    <a:pt x="2929" y="322"/>
                    <a:pt x="3013" y="250"/>
                    <a:pt x="3013" y="167"/>
                  </a:cubicBezTo>
                  <a:cubicBezTo>
                    <a:pt x="3013" y="72"/>
                    <a:pt x="2929"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0" name="Google Shape;12090;p61"/>
            <p:cNvSpPr/>
            <p:nvPr/>
          </p:nvSpPr>
          <p:spPr>
            <a:xfrm>
              <a:off x="2278162" y="1773675"/>
              <a:ext cx="95452" cy="10581"/>
            </a:xfrm>
            <a:custGeom>
              <a:avLst/>
              <a:gdLst/>
              <a:ahLst/>
              <a:cxnLst/>
              <a:rect l="l" t="t" r="r" b="b"/>
              <a:pathLst>
                <a:path w="3013" h="334" extrusionOk="0">
                  <a:moveTo>
                    <a:pt x="167" y="1"/>
                  </a:moveTo>
                  <a:cubicBezTo>
                    <a:pt x="72" y="1"/>
                    <a:pt x="0" y="72"/>
                    <a:pt x="0" y="167"/>
                  </a:cubicBezTo>
                  <a:cubicBezTo>
                    <a:pt x="0" y="251"/>
                    <a:pt x="72" y="334"/>
                    <a:pt x="167" y="334"/>
                  </a:cubicBezTo>
                  <a:lnTo>
                    <a:pt x="2846" y="334"/>
                  </a:lnTo>
                  <a:cubicBezTo>
                    <a:pt x="2929" y="334"/>
                    <a:pt x="3013" y="251"/>
                    <a:pt x="3013" y="167"/>
                  </a:cubicBezTo>
                  <a:cubicBezTo>
                    <a:pt x="3013" y="72"/>
                    <a:pt x="2929" y="1"/>
                    <a:pt x="2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1" name="Google Shape;12091;p61"/>
            <p:cNvSpPr/>
            <p:nvPr/>
          </p:nvSpPr>
          <p:spPr>
            <a:xfrm>
              <a:off x="2232511" y="1512759"/>
              <a:ext cx="299534" cy="348068"/>
            </a:xfrm>
            <a:custGeom>
              <a:avLst/>
              <a:gdLst/>
              <a:ahLst/>
              <a:cxnLst/>
              <a:rect l="l" t="t" r="r" b="b"/>
              <a:pathLst>
                <a:path w="9455" h="10987" extrusionOk="0">
                  <a:moveTo>
                    <a:pt x="2965" y="1700"/>
                  </a:moveTo>
                  <a:cubicBezTo>
                    <a:pt x="3275" y="1700"/>
                    <a:pt x="3537" y="1950"/>
                    <a:pt x="3561" y="2271"/>
                  </a:cubicBezTo>
                  <a:cubicBezTo>
                    <a:pt x="3561" y="2355"/>
                    <a:pt x="3632" y="2414"/>
                    <a:pt x="3715" y="2414"/>
                  </a:cubicBezTo>
                  <a:lnTo>
                    <a:pt x="4275" y="2414"/>
                  </a:lnTo>
                  <a:lnTo>
                    <a:pt x="4275" y="3367"/>
                  </a:lnTo>
                  <a:lnTo>
                    <a:pt x="3977" y="3367"/>
                  </a:lnTo>
                  <a:cubicBezTo>
                    <a:pt x="3882" y="3367"/>
                    <a:pt x="3811" y="3438"/>
                    <a:pt x="3811" y="3534"/>
                  </a:cubicBezTo>
                  <a:cubicBezTo>
                    <a:pt x="3811" y="3629"/>
                    <a:pt x="3882" y="3700"/>
                    <a:pt x="3977" y="3700"/>
                  </a:cubicBezTo>
                  <a:lnTo>
                    <a:pt x="4418" y="3700"/>
                  </a:lnTo>
                  <a:cubicBezTo>
                    <a:pt x="4513" y="3700"/>
                    <a:pt x="4585" y="3629"/>
                    <a:pt x="4585" y="3534"/>
                  </a:cubicBezTo>
                  <a:lnTo>
                    <a:pt x="4585" y="3403"/>
                  </a:lnTo>
                  <a:lnTo>
                    <a:pt x="5073" y="3403"/>
                  </a:lnTo>
                  <a:lnTo>
                    <a:pt x="5073" y="9891"/>
                  </a:lnTo>
                  <a:lnTo>
                    <a:pt x="834" y="9891"/>
                  </a:lnTo>
                  <a:lnTo>
                    <a:pt x="834" y="3403"/>
                  </a:lnTo>
                  <a:lnTo>
                    <a:pt x="1322" y="3403"/>
                  </a:lnTo>
                  <a:lnTo>
                    <a:pt x="1322" y="3534"/>
                  </a:lnTo>
                  <a:cubicBezTo>
                    <a:pt x="1322" y="3629"/>
                    <a:pt x="1394" y="3700"/>
                    <a:pt x="1489" y="3700"/>
                  </a:cubicBezTo>
                  <a:lnTo>
                    <a:pt x="3346" y="3700"/>
                  </a:lnTo>
                  <a:cubicBezTo>
                    <a:pt x="3442" y="3700"/>
                    <a:pt x="3513" y="3629"/>
                    <a:pt x="3513" y="3534"/>
                  </a:cubicBezTo>
                  <a:cubicBezTo>
                    <a:pt x="3513" y="3438"/>
                    <a:pt x="3442" y="3367"/>
                    <a:pt x="3346" y="3367"/>
                  </a:cubicBezTo>
                  <a:lnTo>
                    <a:pt x="1656" y="3367"/>
                  </a:lnTo>
                  <a:lnTo>
                    <a:pt x="1656" y="2414"/>
                  </a:lnTo>
                  <a:lnTo>
                    <a:pt x="2203" y="2414"/>
                  </a:lnTo>
                  <a:cubicBezTo>
                    <a:pt x="2287" y="2414"/>
                    <a:pt x="2346" y="2355"/>
                    <a:pt x="2370" y="2271"/>
                  </a:cubicBezTo>
                  <a:cubicBezTo>
                    <a:pt x="2382" y="1950"/>
                    <a:pt x="2644" y="1700"/>
                    <a:pt x="2965" y="1700"/>
                  </a:cubicBezTo>
                  <a:close/>
                  <a:moveTo>
                    <a:pt x="7091" y="1"/>
                  </a:moveTo>
                  <a:cubicBezTo>
                    <a:pt x="6970" y="1"/>
                    <a:pt x="6849" y="12"/>
                    <a:pt x="6728" y="33"/>
                  </a:cubicBezTo>
                  <a:cubicBezTo>
                    <a:pt x="6192" y="140"/>
                    <a:pt x="5728" y="450"/>
                    <a:pt x="5418" y="914"/>
                  </a:cubicBezTo>
                  <a:cubicBezTo>
                    <a:pt x="5085" y="1402"/>
                    <a:pt x="5001" y="1986"/>
                    <a:pt x="5120" y="2522"/>
                  </a:cubicBezTo>
                  <a:lnTo>
                    <a:pt x="4585" y="2522"/>
                  </a:lnTo>
                  <a:lnTo>
                    <a:pt x="4585" y="2248"/>
                  </a:lnTo>
                  <a:cubicBezTo>
                    <a:pt x="4585" y="2164"/>
                    <a:pt x="4501" y="2093"/>
                    <a:pt x="4418" y="2093"/>
                  </a:cubicBezTo>
                  <a:lnTo>
                    <a:pt x="3846" y="2093"/>
                  </a:lnTo>
                  <a:cubicBezTo>
                    <a:pt x="3763" y="1676"/>
                    <a:pt x="3394" y="1379"/>
                    <a:pt x="2953" y="1379"/>
                  </a:cubicBezTo>
                  <a:cubicBezTo>
                    <a:pt x="2525" y="1379"/>
                    <a:pt x="2156" y="1676"/>
                    <a:pt x="2061" y="2093"/>
                  </a:cubicBezTo>
                  <a:lnTo>
                    <a:pt x="1501" y="2093"/>
                  </a:lnTo>
                  <a:cubicBezTo>
                    <a:pt x="1406" y="2093"/>
                    <a:pt x="1334" y="2164"/>
                    <a:pt x="1334" y="2248"/>
                  </a:cubicBezTo>
                  <a:lnTo>
                    <a:pt x="1334" y="2522"/>
                  </a:lnTo>
                  <a:lnTo>
                    <a:pt x="156" y="2522"/>
                  </a:lnTo>
                  <a:cubicBezTo>
                    <a:pt x="72" y="2522"/>
                    <a:pt x="1" y="2593"/>
                    <a:pt x="1" y="2688"/>
                  </a:cubicBezTo>
                  <a:lnTo>
                    <a:pt x="1" y="10832"/>
                  </a:lnTo>
                  <a:cubicBezTo>
                    <a:pt x="1" y="10915"/>
                    <a:pt x="72" y="10987"/>
                    <a:pt x="156" y="10987"/>
                  </a:cubicBezTo>
                  <a:lnTo>
                    <a:pt x="3370" y="10987"/>
                  </a:lnTo>
                  <a:cubicBezTo>
                    <a:pt x="3465" y="10987"/>
                    <a:pt x="3537" y="10915"/>
                    <a:pt x="3537" y="10832"/>
                  </a:cubicBezTo>
                  <a:cubicBezTo>
                    <a:pt x="3537" y="10737"/>
                    <a:pt x="3465" y="10665"/>
                    <a:pt x="3370" y="10665"/>
                  </a:cubicBezTo>
                  <a:lnTo>
                    <a:pt x="322" y="10665"/>
                  </a:lnTo>
                  <a:lnTo>
                    <a:pt x="322" y="2843"/>
                  </a:lnTo>
                  <a:lnTo>
                    <a:pt x="1334" y="2843"/>
                  </a:lnTo>
                  <a:lnTo>
                    <a:pt x="1334" y="3069"/>
                  </a:lnTo>
                  <a:lnTo>
                    <a:pt x="679" y="3069"/>
                  </a:lnTo>
                  <a:cubicBezTo>
                    <a:pt x="596" y="3069"/>
                    <a:pt x="513" y="3141"/>
                    <a:pt x="513" y="3236"/>
                  </a:cubicBezTo>
                  <a:lnTo>
                    <a:pt x="513" y="10058"/>
                  </a:lnTo>
                  <a:cubicBezTo>
                    <a:pt x="513" y="10142"/>
                    <a:pt x="596" y="10213"/>
                    <a:pt x="679" y="10213"/>
                  </a:cubicBezTo>
                  <a:lnTo>
                    <a:pt x="5228" y="10213"/>
                  </a:lnTo>
                  <a:cubicBezTo>
                    <a:pt x="5311" y="10213"/>
                    <a:pt x="5382" y="10142"/>
                    <a:pt x="5382" y="10058"/>
                  </a:cubicBezTo>
                  <a:lnTo>
                    <a:pt x="5382" y="3236"/>
                  </a:lnTo>
                  <a:cubicBezTo>
                    <a:pt x="5382" y="3141"/>
                    <a:pt x="5311" y="3069"/>
                    <a:pt x="5228" y="3069"/>
                  </a:cubicBezTo>
                  <a:lnTo>
                    <a:pt x="4585" y="3069"/>
                  </a:lnTo>
                  <a:lnTo>
                    <a:pt x="4585" y="2843"/>
                  </a:lnTo>
                  <a:lnTo>
                    <a:pt x="5228" y="2843"/>
                  </a:lnTo>
                  <a:cubicBezTo>
                    <a:pt x="5287" y="2998"/>
                    <a:pt x="5370" y="3141"/>
                    <a:pt x="5478" y="3284"/>
                  </a:cubicBezTo>
                  <a:lnTo>
                    <a:pt x="5430" y="4331"/>
                  </a:lnTo>
                  <a:cubicBezTo>
                    <a:pt x="5430" y="4391"/>
                    <a:pt x="5466" y="4438"/>
                    <a:pt x="5501" y="4474"/>
                  </a:cubicBezTo>
                  <a:cubicBezTo>
                    <a:pt x="5537" y="4486"/>
                    <a:pt x="5561" y="4498"/>
                    <a:pt x="5597" y="4498"/>
                  </a:cubicBezTo>
                  <a:lnTo>
                    <a:pt x="5609" y="4498"/>
                  </a:lnTo>
                  <a:lnTo>
                    <a:pt x="5609" y="10665"/>
                  </a:lnTo>
                  <a:lnTo>
                    <a:pt x="3989" y="10665"/>
                  </a:lnTo>
                  <a:cubicBezTo>
                    <a:pt x="3894" y="10665"/>
                    <a:pt x="3823" y="10737"/>
                    <a:pt x="3823" y="10820"/>
                  </a:cubicBezTo>
                  <a:cubicBezTo>
                    <a:pt x="3823" y="10915"/>
                    <a:pt x="3894" y="10987"/>
                    <a:pt x="3989" y="10987"/>
                  </a:cubicBezTo>
                  <a:lnTo>
                    <a:pt x="5775" y="10987"/>
                  </a:lnTo>
                  <a:cubicBezTo>
                    <a:pt x="5859" y="10987"/>
                    <a:pt x="5942" y="10915"/>
                    <a:pt x="5942" y="10820"/>
                  </a:cubicBezTo>
                  <a:lnTo>
                    <a:pt x="5942" y="4367"/>
                  </a:lnTo>
                  <a:lnTo>
                    <a:pt x="6621" y="4046"/>
                  </a:lnTo>
                  <a:cubicBezTo>
                    <a:pt x="6796" y="4092"/>
                    <a:pt x="6971" y="4109"/>
                    <a:pt x="7152" y="4109"/>
                  </a:cubicBezTo>
                  <a:cubicBezTo>
                    <a:pt x="7205" y="4109"/>
                    <a:pt x="7258" y="4108"/>
                    <a:pt x="7311" y="4105"/>
                  </a:cubicBezTo>
                  <a:cubicBezTo>
                    <a:pt x="7395" y="4081"/>
                    <a:pt x="7454" y="4010"/>
                    <a:pt x="7454" y="3926"/>
                  </a:cubicBezTo>
                  <a:cubicBezTo>
                    <a:pt x="7454" y="3831"/>
                    <a:pt x="7371" y="3772"/>
                    <a:pt x="7275" y="3772"/>
                  </a:cubicBezTo>
                  <a:cubicBezTo>
                    <a:pt x="7230" y="3774"/>
                    <a:pt x="7184" y="3776"/>
                    <a:pt x="7137" y="3776"/>
                  </a:cubicBezTo>
                  <a:cubicBezTo>
                    <a:pt x="6977" y="3776"/>
                    <a:pt x="6813" y="3758"/>
                    <a:pt x="6656" y="3712"/>
                  </a:cubicBezTo>
                  <a:cubicBezTo>
                    <a:pt x="6637" y="3707"/>
                    <a:pt x="6619" y="3704"/>
                    <a:pt x="6602" y="3704"/>
                  </a:cubicBezTo>
                  <a:cubicBezTo>
                    <a:pt x="6579" y="3704"/>
                    <a:pt x="6558" y="3710"/>
                    <a:pt x="6537" y="3724"/>
                  </a:cubicBezTo>
                  <a:lnTo>
                    <a:pt x="5763" y="4081"/>
                  </a:lnTo>
                  <a:lnTo>
                    <a:pt x="5799" y="3236"/>
                  </a:lnTo>
                  <a:cubicBezTo>
                    <a:pt x="5799" y="3188"/>
                    <a:pt x="5787" y="3164"/>
                    <a:pt x="5775" y="3129"/>
                  </a:cubicBezTo>
                  <a:cubicBezTo>
                    <a:pt x="5656" y="2986"/>
                    <a:pt x="5561" y="2819"/>
                    <a:pt x="5501" y="2652"/>
                  </a:cubicBezTo>
                  <a:cubicBezTo>
                    <a:pt x="5501" y="2641"/>
                    <a:pt x="5501" y="2641"/>
                    <a:pt x="5490" y="2629"/>
                  </a:cubicBezTo>
                  <a:cubicBezTo>
                    <a:pt x="5311" y="2117"/>
                    <a:pt x="5382" y="1557"/>
                    <a:pt x="5680" y="1093"/>
                  </a:cubicBezTo>
                  <a:cubicBezTo>
                    <a:pt x="5942" y="712"/>
                    <a:pt x="6323" y="450"/>
                    <a:pt x="6787" y="366"/>
                  </a:cubicBezTo>
                  <a:cubicBezTo>
                    <a:pt x="6900" y="342"/>
                    <a:pt x="7015" y="330"/>
                    <a:pt x="7129" y="330"/>
                  </a:cubicBezTo>
                  <a:cubicBezTo>
                    <a:pt x="7461" y="330"/>
                    <a:pt x="7793" y="431"/>
                    <a:pt x="8085" y="617"/>
                  </a:cubicBezTo>
                  <a:cubicBezTo>
                    <a:pt x="8871" y="1152"/>
                    <a:pt x="9097" y="2224"/>
                    <a:pt x="8561" y="3010"/>
                  </a:cubicBezTo>
                  <a:cubicBezTo>
                    <a:pt x="8383" y="3284"/>
                    <a:pt x="8145" y="3486"/>
                    <a:pt x="7847" y="3629"/>
                  </a:cubicBezTo>
                  <a:cubicBezTo>
                    <a:pt x="7764" y="3665"/>
                    <a:pt x="7728" y="3760"/>
                    <a:pt x="7764" y="3831"/>
                  </a:cubicBezTo>
                  <a:cubicBezTo>
                    <a:pt x="7798" y="3883"/>
                    <a:pt x="7857" y="3922"/>
                    <a:pt x="7914" y="3922"/>
                  </a:cubicBezTo>
                  <a:cubicBezTo>
                    <a:pt x="7936" y="3922"/>
                    <a:pt x="7958" y="3916"/>
                    <a:pt x="7978" y="3903"/>
                  </a:cubicBezTo>
                  <a:cubicBezTo>
                    <a:pt x="8323" y="3748"/>
                    <a:pt x="8597" y="3510"/>
                    <a:pt x="8811" y="3188"/>
                  </a:cubicBezTo>
                  <a:cubicBezTo>
                    <a:pt x="9454" y="2260"/>
                    <a:pt x="9192" y="974"/>
                    <a:pt x="8264" y="355"/>
                  </a:cubicBezTo>
                  <a:cubicBezTo>
                    <a:pt x="7904" y="124"/>
                    <a:pt x="7503" y="1"/>
                    <a:pt x="70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2" name="Google Shape;12092;p61"/>
            <p:cNvSpPr/>
            <p:nvPr/>
          </p:nvSpPr>
          <p:spPr>
            <a:xfrm>
              <a:off x="2422623"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3" name="Google Shape;12093;p61"/>
            <p:cNvSpPr/>
            <p:nvPr/>
          </p:nvSpPr>
          <p:spPr>
            <a:xfrm>
              <a:off x="2442613" y="1574883"/>
              <a:ext cx="10581" cy="11373"/>
            </a:xfrm>
            <a:custGeom>
              <a:avLst/>
              <a:gdLst/>
              <a:ahLst/>
              <a:cxnLst/>
              <a:rect l="l" t="t" r="r" b="b"/>
              <a:pathLst>
                <a:path w="334" h="359" extrusionOk="0">
                  <a:moveTo>
                    <a:pt x="167" y="1"/>
                  </a:moveTo>
                  <a:cubicBezTo>
                    <a:pt x="84" y="1"/>
                    <a:pt x="1" y="72"/>
                    <a:pt x="1" y="156"/>
                  </a:cubicBezTo>
                  <a:lnTo>
                    <a:pt x="1" y="191"/>
                  </a:lnTo>
                  <a:cubicBezTo>
                    <a:pt x="1" y="275"/>
                    <a:pt x="84" y="358"/>
                    <a:pt x="167" y="358"/>
                  </a:cubicBezTo>
                  <a:cubicBezTo>
                    <a:pt x="262" y="358"/>
                    <a:pt x="334" y="275"/>
                    <a:pt x="334" y="191"/>
                  </a:cubicBezTo>
                  <a:lnTo>
                    <a:pt x="334" y="156"/>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4" name="Google Shape;12094;p61"/>
            <p:cNvSpPr/>
            <p:nvPr/>
          </p:nvSpPr>
          <p:spPr>
            <a:xfrm>
              <a:off x="2462983" y="1574883"/>
              <a:ext cx="10581" cy="11373"/>
            </a:xfrm>
            <a:custGeom>
              <a:avLst/>
              <a:gdLst/>
              <a:ahLst/>
              <a:cxnLst/>
              <a:rect l="l" t="t" r="r" b="b"/>
              <a:pathLst>
                <a:path w="334" h="359" extrusionOk="0">
                  <a:moveTo>
                    <a:pt x="167" y="1"/>
                  </a:moveTo>
                  <a:cubicBezTo>
                    <a:pt x="72" y="1"/>
                    <a:pt x="0" y="72"/>
                    <a:pt x="0" y="156"/>
                  </a:cubicBezTo>
                  <a:lnTo>
                    <a:pt x="0" y="191"/>
                  </a:lnTo>
                  <a:cubicBezTo>
                    <a:pt x="0" y="275"/>
                    <a:pt x="72" y="358"/>
                    <a:pt x="167" y="358"/>
                  </a:cubicBezTo>
                  <a:cubicBezTo>
                    <a:pt x="250" y="358"/>
                    <a:pt x="334" y="275"/>
                    <a:pt x="334" y="191"/>
                  </a:cubicBezTo>
                  <a:lnTo>
                    <a:pt x="334" y="156"/>
                  </a:lnTo>
                  <a:cubicBezTo>
                    <a:pt x="310"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5" name="Google Shape;12095;p61"/>
            <p:cNvSpPr/>
            <p:nvPr/>
          </p:nvSpPr>
          <p:spPr>
            <a:xfrm>
              <a:off x="2482974" y="1574883"/>
              <a:ext cx="10201" cy="11373"/>
            </a:xfrm>
            <a:custGeom>
              <a:avLst/>
              <a:gdLst/>
              <a:ahLst/>
              <a:cxnLst/>
              <a:rect l="l" t="t" r="r" b="b"/>
              <a:pathLst>
                <a:path w="322" h="359" extrusionOk="0">
                  <a:moveTo>
                    <a:pt x="155" y="1"/>
                  </a:moveTo>
                  <a:cubicBezTo>
                    <a:pt x="72" y="1"/>
                    <a:pt x="0" y="72"/>
                    <a:pt x="0" y="156"/>
                  </a:cubicBezTo>
                  <a:lnTo>
                    <a:pt x="0" y="191"/>
                  </a:lnTo>
                  <a:cubicBezTo>
                    <a:pt x="0" y="275"/>
                    <a:pt x="72" y="358"/>
                    <a:pt x="155" y="358"/>
                  </a:cubicBezTo>
                  <a:cubicBezTo>
                    <a:pt x="251" y="358"/>
                    <a:pt x="322" y="275"/>
                    <a:pt x="322" y="191"/>
                  </a:cubicBezTo>
                  <a:lnTo>
                    <a:pt x="322" y="156"/>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6" name="Google Shape;12096;p61"/>
            <p:cNvSpPr/>
            <p:nvPr/>
          </p:nvSpPr>
          <p:spPr>
            <a:xfrm>
              <a:off x="2312852" y="1654495"/>
              <a:ext cx="26073" cy="49041"/>
            </a:xfrm>
            <a:custGeom>
              <a:avLst/>
              <a:gdLst/>
              <a:ahLst/>
              <a:cxnLst/>
              <a:rect l="l" t="t" r="r" b="b"/>
              <a:pathLst>
                <a:path w="823" h="1548" extrusionOk="0">
                  <a:moveTo>
                    <a:pt x="179" y="0"/>
                  </a:moveTo>
                  <a:cubicBezTo>
                    <a:pt x="96" y="0"/>
                    <a:pt x="25" y="72"/>
                    <a:pt x="25" y="167"/>
                  </a:cubicBezTo>
                  <a:cubicBezTo>
                    <a:pt x="25" y="250"/>
                    <a:pt x="96" y="322"/>
                    <a:pt x="179" y="322"/>
                  </a:cubicBezTo>
                  <a:lnTo>
                    <a:pt x="263" y="322"/>
                  </a:lnTo>
                  <a:lnTo>
                    <a:pt x="263" y="1215"/>
                  </a:lnTo>
                  <a:lnTo>
                    <a:pt x="167" y="1215"/>
                  </a:lnTo>
                  <a:cubicBezTo>
                    <a:pt x="84" y="1215"/>
                    <a:pt x="1" y="1298"/>
                    <a:pt x="1" y="1381"/>
                  </a:cubicBezTo>
                  <a:cubicBezTo>
                    <a:pt x="1" y="1477"/>
                    <a:pt x="84" y="1548"/>
                    <a:pt x="167" y="1548"/>
                  </a:cubicBezTo>
                  <a:lnTo>
                    <a:pt x="656" y="1548"/>
                  </a:lnTo>
                  <a:cubicBezTo>
                    <a:pt x="751" y="1548"/>
                    <a:pt x="822" y="1477"/>
                    <a:pt x="822" y="1381"/>
                  </a:cubicBezTo>
                  <a:cubicBezTo>
                    <a:pt x="822" y="1274"/>
                    <a:pt x="751" y="1203"/>
                    <a:pt x="668" y="1203"/>
                  </a:cubicBezTo>
                  <a:lnTo>
                    <a:pt x="572" y="1203"/>
                  </a:lnTo>
                  <a:lnTo>
                    <a:pt x="572" y="167"/>
                  </a:lnTo>
                  <a:cubicBezTo>
                    <a:pt x="572" y="72"/>
                    <a:pt x="501"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7" name="Google Shape;12097;p61"/>
            <p:cNvSpPr/>
            <p:nvPr/>
          </p:nvSpPr>
          <p:spPr>
            <a:xfrm>
              <a:off x="2316242" y="1637135"/>
              <a:ext cx="14383" cy="13971"/>
            </a:xfrm>
            <a:custGeom>
              <a:avLst/>
              <a:gdLst/>
              <a:ahLst/>
              <a:cxnLst/>
              <a:rect l="l" t="t" r="r" b="b"/>
              <a:pathLst>
                <a:path w="454" h="441" extrusionOk="0">
                  <a:moveTo>
                    <a:pt x="227" y="0"/>
                  </a:moveTo>
                  <a:cubicBezTo>
                    <a:pt x="96" y="0"/>
                    <a:pt x="1" y="96"/>
                    <a:pt x="1" y="215"/>
                  </a:cubicBezTo>
                  <a:cubicBezTo>
                    <a:pt x="1" y="334"/>
                    <a:pt x="108" y="441"/>
                    <a:pt x="227" y="441"/>
                  </a:cubicBezTo>
                  <a:cubicBezTo>
                    <a:pt x="358" y="441"/>
                    <a:pt x="453" y="334"/>
                    <a:pt x="453" y="215"/>
                  </a:cubicBezTo>
                  <a:cubicBezTo>
                    <a:pt x="453" y="96"/>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098" name="Google Shape;12098;p61"/>
          <p:cNvGrpSpPr/>
          <p:nvPr/>
        </p:nvGrpSpPr>
        <p:grpSpPr>
          <a:xfrm>
            <a:off x="1331406" y="1513361"/>
            <a:ext cx="301784" cy="348607"/>
            <a:chOff x="1331406" y="1513361"/>
            <a:chExt cx="301784" cy="348607"/>
          </a:xfrm>
        </p:grpSpPr>
        <p:sp>
          <p:nvSpPr>
            <p:cNvPr id="12099" name="Google Shape;12099;p61"/>
            <p:cNvSpPr/>
            <p:nvPr/>
          </p:nvSpPr>
          <p:spPr>
            <a:xfrm>
              <a:off x="1473237" y="1513361"/>
              <a:ext cx="159952" cy="169076"/>
            </a:xfrm>
            <a:custGeom>
              <a:avLst/>
              <a:gdLst/>
              <a:ahLst/>
              <a:cxnLst/>
              <a:rect l="l" t="t" r="r" b="b"/>
              <a:pathLst>
                <a:path w="5049" h="5337" extrusionOk="0">
                  <a:moveTo>
                    <a:pt x="2623" y="0"/>
                  </a:moveTo>
                  <a:cubicBezTo>
                    <a:pt x="2460" y="0"/>
                    <a:pt x="2295" y="17"/>
                    <a:pt x="2132" y="50"/>
                  </a:cubicBezTo>
                  <a:cubicBezTo>
                    <a:pt x="1489" y="169"/>
                    <a:pt x="941" y="538"/>
                    <a:pt x="584" y="1074"/>
                  </a:cubicBezTo>
                  <a:cubicBezTo>
                    <a:pt x="0" y="1943"/>
                    <a:pt x="36" y="3050"/>
                    <a:pt x="655" y="3884"/>
                  </a:cubicBezTo>
                  <a:lnTo>
                    <a:pt x="596" y="5170"/>
                  </a:lnTo>
                  <a:cubicBezTo>
                    <a:pt x="596" y="5229"/>
                    <a:pt x="631" y="5277"/>
                    <a:pt x="679" y="5300"/>
                  </a:cubicBezTo>
                  <a:cubicBezTo>
                    <a:pt x="703" y="5312"/>
                    <a:pt x="739" y="5336"/>
                    <a:pt x="762" y="5336"/>
                  </a:cubicBezTo>
                  <a:cubicBezTo>
                    <a:pt x="798" y="5336"/>
                    <a:pt x="810" y="5336"/>
                    <a:pt x="834" y="5312"/>
                  </a:cubicBezTo>
                  <a:lnTo>
                    <a:pt x="2001" y="4777"/>
                  </a:lnTo>
                  <a:cubicBezTo>
                    <a:pt x="2203" y="4836"/>
                    <a:pt x="2417" y="4860"/>
                    <a:pt x="2608" y="4860"/>
                  </a:cubicBezTo>
                  <a:cubicBezTo>
                    <a:pt x="3394" y="4860"/>
                    <a:pt x="4156" y="4467"/>
                    <a:pt x="4620" y="3765"/>
                  </a:cubicBezTo>
                  <a:cubicBezTo>
                    <a:pt x="4870" y="3395"/>
                    <a:pt x="5001" y="2967"/>
                    <a:pt x="5025" y="2514"/>
                  </a:cubicBezTo>
                  <a:cubicBezTo>
                    <a:pt x="5049" y="2431"/>
                    <a:pt x="4989" y="2360"/>
                    <a:pt x="4906" y="2360"/>
                  </a:cubicBezTo>
                  <a:cubicBezTo>
                    <a:pt x="4811" y="2360"/>
                    <a:pt x="4739" y="2431"/>
                    <a:pt x="4739" y="2503"/>
                  </a:cubicBezTo>
                  <a:cubicBezTo>
                    <a:pt x="4715" y="2895"/>
                    <a:pt x="4608" y="3265"/>
                    <a:pt x="4382" y="3586"/>
                  </a:cubicBezTo>
                  <a:cubicBezTo>
                    <a:pt x="3981" y="4183"/>
                    <a:pt x="3325" y="4524"/>
                    <a:pt x="2630" y="4524"/>
                  </a:cubicBezTo>
                  <a:cubicBezTo>
                    <a:pt x="2438" y="4524"/>
                    <a:pt x="2242" y="4498"/>
                    <a:pt x="2048" y="4443"/>
                  </a:cubicBezTo>
                  <a:cubicBezTo>
                    <a:pt x="2027" y="4433"/>
                    <a:pt x="2008" y="4427"/>
                    <a:pt x="1990" y="4427"/>
                  </a:cubicBezTo>
                  <a:cubicBezTo>
                    <a:pt x="1969" y="4427"/>
                    <a:pt x="1949" y="4435"/>
                    <a:pt x="1929" y="4455"/>
                  </a:cubicBezTo>
                  <a:lnTo>
                    <a:pt x="953" y="4919"/>
                  </a:lnTo>
                  <a:lnTo>
                    <a:pt x="1001" y="3848"/>
                  </a:lnTo>
                  <a:cubicBezTo>
                    <a:pt x="1001" y="3800"/>
                    <a:pt x="989" y="3765"/>
                    <a:pt x="977" y="3741"/>
                  </a:cubicBezTo>
                  <a:cubicBezTo>
                    <a:pt x="405" y="3026"/>
                    <a:pt x="358" y="2026"/>
                    <a:pt x="870" y="1252"/>
                  </a:cubicBezTo>
                  <a:cubicBezTo>
                    <a:pt x="1179" y="788"/>
                    <a:pt x="1655" y="467"/>
                    <a:pt x="2203" y="359"/>
                  </a:cubicBezTo>
                  <a:cubicBezTo>
                    <a:pt x="2344" y="332"/>
                    <a:pt x="2485" y="319"/>
                    <a:pt x="2624" y="319"/>
                  </a:cubicBezTo>
                  <a:cubicBezTo>
                    <a:pt x="3038" y="319"/>
                    <a:pt x="3439" y="437"/>
                    <a:pt x="3787" y="669"/>
                  </a:cubicBezTo>
                  <a:cubicBezTo>
                    <a:pt x="4227" y="967"/>
                    <a:pt x="4525" y="1419"/>
                    <a:pt x="4668" y="1919"/>
                  </a:cubicBezTo>
                  <a:cubicBezTo>
                    <a:pt x="4678" y="1998"/>
                    <a:pt x="4736" y="2044"/>
                    <a:pt x="4811" y="2044"/>
                  </a:cubicBezTo>
                  <a:cubicBezTo>
                    <a:pt x="4826" y="2044"/>
                    <a:pt x="4842" y="2042"/>
                    <a:pt x="4858" y="2038"/>
                  </a:cubicBezTo>
                  <a:cubicBezTo>
                    <a:pt x="4942" y="2026"/>
                    <a:pt x="4989" y="1943"/>
                    <a:pt x="4977" y="1848"/>
                  </a:cubicBezTo>
                  <a:cubicBezTo>
                    <a:pt x="4822" y="1252"/>
                    <a:pt x="4465" y="752"/>
                    <a:pt x="3965" y="407"/>
                  </a:cubicBezTo>
                  <a:cubicBezTo>
                    <a:pt x="3566" y="141"/>
                    <a:pt x="3100" y="0"/>
                    <a:pt x="26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0" name="Google Shape;12100;p61"/>
            <p:cNvSpPr/>
            <p:nvPr/>
          </p:nvSpPr>
          <p:spPr>
            <a:xfrm>
              <a:off x="1331406" y="1579033"/>
              <a:ext cx="152412" cy="282934"/>
            </a:xfrm>
            <a:custGeom>
              <a:avLst/>
              <a:gdLst/>
              <a:ahLst/>
              <a:cxnLst/>
              <a:rect l="l" t="t" r="r" b="b"/>
              <a:pathLst>
                <a:path w="4811" h="8931" extrusionOk="0">
                  <a:moveTo>
                    <a:pt x="1132" y="310"/>
                  </a:moveTo>
                  <a:cubicBezTo>
                    <a:pt x="1203" y="310"/>
                    <a:pt x="1263" y="346"/>
                    <a:pt x="1310" y="382"/>
                  </a:cubicBezTo>
                  <a:cubicBezTo>
                    <a:pt x="1358" y="430"/>
                    <a:pt x="1382" y="501"/>
                    <a:pt x="1382" y="560"/>
                  </a:cubicBezTo>
                  <a:lnTo>
                    <a:pt x="1382" y="2073"/>
                  </a:lnTo>
                  <a:lnTo>
                    <a:pt x="858" y="2073"/>
                  </a:lnTo>
                  <a:lnTo>
                    <a:pt x="858" y="560"/>
                  </a:lnTo>
                  <a:cubicBezTo>
                    <a:pt x="870" y="430"/>
                    <a:pt x="977" y="310"/>
                    <a:pt x="1132" y="310"/>
                  </a:cubicBezTo>
                  <a:close/>
                  <a:moveTo>
                    <a:pt x="3644" y="310"/>
                  </a:moveTo>
                  <a:cubicBezTo>
                    <a:pt x="3727" y="310"/>
                    <a:pt x="3787" y="346"/>
                    <a:pt x="3823" y="382"/>
                  </a:cubicBezTo>
                  <a:cubicBezTo>
                    <a:pt x="3870" y="430"/>
                    <a:pt x="3906" y="501"/>
                    <a:pt x="3906" y="560"/>
                  </a:cubicBezTo>
                  <a:lnTo>
                    <a:pt x="3906" y="2073"/>
                  </a:lnTo>
                  <a:lnTo>
                    <a:pt x="3382" y="2073"/>
                  </a:lnTo>
                  <a:lnTo>
                    <a:pt x="3382" y="560"/>
                  </a:lnTo>
                  <a:cubicBezTo>
                    <a:pt x="3394" y="430"/>
                    <a:pt x="3513" y="310"/>
                    <a:pt x="3644" y="310"/>
                  </a:cubicBezTo>
                  <a:close/>
                  <a:moveTo>
                    <a:pt x="4454" y="2406"/>
                  </a:moveTo>
                  <a:lnTo>
                    <a:pt x="4454" y="2918"/>
                  </a:lnTo>
                  <a:lnTo>
                    <a:pt x="310" y="2918"/>
                  </a:lnTo>
                  <a:lnTo>
                    <a:pt x="310" y="2406"/>
                  </a:lnTo>
                  <a:close/>
                  <a:moveTo>
                    <a:pt x="2989" y="5513"/>
                  </a:moveTo>
                  <a:lnTo>
                    <a:pt x="2989" y="5978"/>
                  </a:lnTo>
                  <a:lnTo>
                    <a:pt x="1787" y="5978"/>
                  </a:lnTo>
                  <a:lnTo>
                    <a:pt x="1787" y="5513"/>
                  </a:lnTo>
                  <a:close/>
                  <a:moveTo>
                    <a:pt x="2846" y="6299"/>
                  </a:moveTo>
                  <a:lnTo>
                    <a:pt x="2846" y="6752"/>
                  </a:lnTo>
                  <a:lnTo>
                    <a:pt x="1930" y="6752"/>
                  </a:lnTo>
                  <a:lnTo>
                    <a:pt x="1930" y="6299"/>
                  </a:lnTo>
                  <a:close/>
                  <a:moveTo>
                    <a:pt x="1132" y="1"/>
                  </a:moveTo>
                  <a:cubicBezTo>
                    <a:pt x="798" y="1"/>
                    <a:pt x="548" y="263"/>
                    <a:pt x="548" y="572"/>
                  </a:cubicBezTo>
                  <a:lnTo>
                    <a:pt x="548" y="2084"/>
                  </a:lnTo>
                  <a:lnTo>
                    <a:pt x="167" y="2084"/>
                  </a:lnTo>
                  <a:cubicBezTo>
                    <a:pt x="72" y="2084"/>
                    <a:pt x="1" y="2156"/>
                    <a:pt x="1" y="2239"/>
                  </a:cubicBezTo>
                  <a:lnTo>
                    <a:pt x="1" y="3061"/>
                  </a:lnTo>
                  <a:cubicBezTo>
                    <a:pt x="1" y="3156"/>
                    <a:pt x="72" y="3227"/>
                    <a:pt x="167" y="3227"/>
                  </a:cubicBezTo>
                  <a:lnTo>
                    <a:pt x="203" y="3227"/>
                  </a:lnTo>
                  <a:lnTo>
                    <a:pt x="203" y="3823"/>
                  </a:lnTo>
                  <a:cubicBezTo>
                    <a:pt x="203" y="3847"/>
                    <a:pt x="227" y="3894"/>
                    <a:pt x="239" y="3930"/>
                  </a:cubicBezTo>
                  <a:lnTo>
                    <a:pt x="727" y="4537"/>
                  </a:lnTo>
                  <a:cubicBezTo>
                    <a:pt x="760" y="4576"/>
                    <a:pt x="807" y="4594"/>
                    <a:pt x="853" y="4594"/>
                  </a:cubicBezTo>
                  <a:cubicBezTo>
                    <a:pt x="890" y="4594"/>
                    <a:pt x="926" y="4582"/>
                    <a:pt x="953" y="4561"/>
                  </a:cubicBezTo>
                  <a:cubicBezTo>
                    <a:pt x="1025" y="4501"/>
                    <a:pt x="1025" y="4406"/>
                    <a:pt x="977" y="4347"/>
                  </a:cubicBezTo>
                  <a:lnTo>
                    <a:pt x="525" y="3775"/>
                  </a:lnTo>
                  <a:lnTo>
                    <a:pt x="525" y="3239"/>
                  </a:lnTo>
                  <a:lnTo>
                    <a:pt x="4239" y="3239"/>
                  </a:lnTo>
                  <a:lnTo>
                    <a:pt x="4239" y="3775"/>
                  </a:lnTo>
                  <a:lnTo>
                    <a:pt x="3084" y="5216"/>
                  </a:lnTo>
                  <a:lnTo>
                    <a:pt x="1691" y="5216"/>
                  </a:lnTo>
                  <a:lnTo>
                    <a:pt x="1429" y="4882"/>
                  </a:lnTo>
                  <a:cubicBezTo>
                    <a:pt x="1418" y="4847"/>
                    <a:pt x="1394" y="4835"/>
                    <a:pt x="1382" y="4823"/>
                  </a:cubicBezTo>
                  <a:cubicBezTo>
                    <a:pt x="1351" y="4797"/>
                    <a:pt x="1313" y="4785"/>
                    <a:pt x="1277" y="4785"/>
                  </a:cubicBezTo>
                  <a:cubicBezTo>
                    <a:pt x="1229" y="4785"/>
                    <a:pt x="1183" y="4806"/>
                    <a:pt x="1156" y="4847"/>
                  </a:cubicBezTo>
                  <a:cubicBezTo>
                    <a:pt x="1120" y="4906"/>
                    <a:pt x="1120" y="4978"/>
                    <a:pt x="1156" y="5037"/>
                  </a:cubicBezTo>
                  <a:lnTo>
                    <a:pt x="1489" y="5442"/>
                  </a:lnTo>
                  <a:lnTo>
                    <a:pt x="1489" y="6156"/>
                  </a:lnTo>
                  <a:cubicBezTo>
                    <a:pt x="1489" y="6252"/>
                    <a:pt x="1560" y="6311"/>
                    <a:pt x="1632" y="6323"/>
                  </a:cubicBezTo>
                  <a:lnTo>
                    <a:pt x="1632" y="6942"/>
                  </a:lnTo>
                  <a:cubicBezTo>
                    <a:pt x="1632" y="7037"/>
                    <a:pt x="1715" y="7109"/>
                    <a:pt x="1799" y="7109"/>
                  </a:cubicBezTo>
                  <a:lnTo>
                    <a:pt x="1834" y="7109"/>
                  </a:lnTo>
                  <a:lnTo>
                    <a:pt x="1834" y="8764"/>
                  </a:lnTo>
                  <a:cubicBezTo>
                    <a:pt x="1834" y="8859"/>
                    <a:pt x="1906" y="8931"/>
                    <a:pt x="1989" y="8931"/>
                  </a:cubicBezTo>
                  <a:lnTo>
                    <a:pt x="2846" y="8931"/>
                  </a:lnTo>
                  <a:cubicBezTo>
                    <a:pt x="2930" y="8931"/>
                    <a:pt x="3001" y="8859"/>
                    <a:pt x="3001" y="8764"/>
                  </a:cubicBezTo>
                  <a:lnTo>
                    <a:pt x="3001" y="8145"/>
                  </a:lnTo>
                  <a:cubicBezTo>
                    <a:pt x="3001" y="8050"/>
                    <a:pt x="2930" y="7978"/>
                    <a:pt x="2846" y="7978"/>
                  </a:cubicBezTo>
                  <a:cubicBezTo>
                    <a:pt x="2751" y="7978"/>
                    <a:pt x="2680" y="8050"/>
                    <a:pt x="2680" y="8145"/>
                  </a:cubicBezTo>
                  <a:lnTo>
                    <a:pt x="2680" y="8597"/>
                  </a:lnTo>
                  <a:lnTo>
                    <a:pt x="2156" y="8597"/>
                  </a:lnTo>
                  <a:lnTo>
                    <a:pt x="2156" y="7109"/>
                  </a:lnTo>
                  <a:lnTo>
                    <a:pt x="2680" y="7109"/>
                  </a:lnTo>
                  <a:lnTo>
                    <a:pt x="2680" y="7502"/>
                  </a:lnTo>
                  <a:cubicBezTo>
                    <a:pt x="2680" y="7585"/>
                    <a:pt x="2751" y="7669"/>
                    <a:pt x="2846" y="7669"/>
                  </a:cubicBezTo>
                  <a:cubicBezTo>
                    <a:pt x="2930" y="7669"/>
                    <a:pt x="3001" y="7585"/>
                    <a:pt x="3001" y="7502"/>
                  </a:cubicBezTo>
                  <a:lnTo>
                    <a:pt x="3001" y="7109"/>
                  </a:lnTo>
                  <a:lnTo>
                    <a:pt x="3037" y="7109"/>
                  </a:lnTo>
                  <a:cubicBezTo>
                    <a:pt x="3120" y="7109"/>
                    <a:pt x="3203" y="7037"/>
                    <a:pt x="3203" y="6954"/>
                  </a:cubicBezTo>
                  <a:lnTo>
                    <a:pt x="3203" y="6323"/>
                  </a:lnTo>
                  <a:cubicBezTo>
                    <a:pt x="3287" y="6323"/>
                    <a:pt x="3346" y="6252"/>
                    <a:pt x="3346" y="6156"/>
                  </a:cubicBezTo>
                  <a:lnTo>
                    <a:pt x="3346" y="5442"/>
                  </a:lnTo>
                  <a:lnTo>
                    <a:pt x="4573" y="3942"/>
                  </a:lnTo>
                  <a:cubicBezTo>
                    <a:pt x="4597" y="3906"/>
                    <a:pt x="4597" y="3882"/>
                    <a:pt x="4597" y="3835"/>
                  </a:cubicBezTo>
                  <a:lnTo>
                    <a:pt x="4597" y="3239"/>
                  </a:lnTo>
                  <a:lnTo>
                    <a:pt x="4644" y="3239"/>
                  </a:lnTo>
                  <a:cubicBezTo>
                    <a:pt x="4727" y="3239"/>
                    <a:pt x="4811" y="3168"/>
                    <a:pt x="4811" y="3073"/>
                  </a:cubicBezTo>
                  <a:lnTo>
                    <a:pt x="4811" y="2263"/>
                  </a:lnTo>
                  <a:cubicBezTo>
                    <a:pt x="4775" y="2156"/>
                    <a:pt x="4704" y="2084"/>
                    <a:pt x="4620" y="2084"/>
                  </a:cubicBezTo>
                  <a:lnTo>
                    <a:pt x="4227" y="2084"/>
                  </a:lnTo>
                  <a:lnTo>
                    <a:pt x="4227" y="584"/>
                  </a:lnTo>
                  <a:cubicBezTo>
                    <a:pt x="4227" y="430"/>
                    <a:pt x="4168" y="287"/>
                    <a:pt x="4061" y="156"/>
                  </a:cubicBezTo>
                  <a:cubicBezTo>
                    <a:pt x="3954" y="60"/>
                    <a:pt x="3811" y="1"/>
                    <a:pt x="3644" y="1"/>
                  </a:cubicBezTo>
                  <a:cubicBezTo>
                    <a:pt x="3323" y="1"/>
                    <a:pt x="3061" y="263"/>
                    <a:pt x="3061" y="572"/>
                  </a:cubicBezTo>
                  <a:lnTo>
                    <a:pt x="3061" y="2084"/>
                  </a:lnTo>
                  <a:lnTo>
                    <a:pt x="1715" y="2084"/>
                  </a:lnTo>
                  <a:lnTo>
                    <a:pt x="1715" y="572"/>
                  </a:lnTo>
                  <a:cubicBezTo>
                    <a:pt x="1715" y="430"/>
                    <a:pt x="1656" y="275"/>
                    <a:pt x="1549" y="156"/>
                  </a:cubicBezTo>
                  <a:cubicBezTo>
                    <a:pt x="1441" y="60"/>
                    <a:pt x="1298" y="1"/>
                    <a:pt x="1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1" name="Google Shape;12101;p61"/>
            <p:cNvSpPr/>
            <p:nvPr/>
          </p:nvSpPr>
          <p:spPr>
            <a:xfrm>
              <a:off x="1373667" y="1686935"/>
              <a:ext cx="66401" cy="10581"/>
            </a:xfrm>
            <a:custGeom>
              <a:avLst/>
              <a:gdLst/>
              <a:ahLst/>
              <a:cxnLst/>
              <a:rect l="l" t="t" r="r" b="b"/>
              <a:pathLst>
                <a:path w="2096" h="334" extrusionOk="0">
                  <a:moveTo>
                    <a:pt x="167" y="0"/>
                  </a:moveTo>
                  <a:cubicBezTo>
                    <a:pt x="84" y="0"/>
                    <a:pt x="0" y="72"/>
                    <a:pt x="0" y="167"/>
                  </a:cubicBezTo>
                  <a:cubicBezTo>
                    <a:pt x="0" y="250"/>
                    <a:pt x="84" y="333"/>
                    <a:pt x="167" y="333"/>
                  </a:cubicBezTo>
                  <a:lnTo>
                    <a:pt x="1929" y="333"/>
                  </a:lnTo>
                  <a:cubicBezTo>
                    <a:pt x="2012" y="333"/>
                    <a:pt x="2096" y="250"/>
                    <a:pt x="2096" y="167"/>
                  </a:cubicBezTo>
                  <a:cubicBezTo>
                    <a:pt x="2096" y="72"/>
                    <a:pt x="2012" y="0"/>
                    <a:pt x="1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2" name="Google Shape;12102;p61"/>
            <p:cNvSpPr/>
            <p:nvPr/>
          </p:nvSpPr>
          <p:spPr>
            <a:xfrm>
              <a:off x="1518508" y="1536044"/>
              <a:ext cx="72452" cy="112812"/>
            </a:xfrm>
            <a:custGeom>
              <a:avLst/>
              <a:gdLst/>
              <a:ahLst/>
              <a:cxnLst/>
              <a:rect l="l" t="t" r="r" b="b"/>
              <a:pathLst>
                <a:path w="2287" h="3561" extrusionOk="0">
                  <a:moveTo>
                    <a:pt x="1596" y="334"/>
                  </a:moveTo>
                  <a:lnTo>
                    <a:pt x="1024" y="1084"/>
                  </a:lnTo>
                  <a:cubicBezTo>
                    <a:pt x="1000" y="1132"/>
                    <a:pt x="988" y="1203"/>
                    <a:pt x="1012" y="1251"/>
                  </a:cubicBezTo>
                  <a:cubicBezTo>
                    <a:pt x="1048" y="1310"/>
                    <a:pt x="1107" y="1346"/>
                    <a:pt x="1167" y="1346"/>
                  </a:cubicBezTo>
                  <a:lnTo>
                    <a:pt x="1774" y="1346"/>
                  </a:lnTo>
                  <a:lnTo>
                    <a:pt x="893" y="2370"/>
                  </a:lnTo>
                  <a:lnTo>
                    <a:pt x="1167" y="1775"/>
                  </a:lnTo>
                  <a:cubicBezTo>
                    <a:pt x="1191" y="1727"/>
                    <a:pt x="1179" y="1667"/>
                    <a:pt x="1155" y="1620"/>
                  </a:cubicBezTo>
                  <a:cubicBezTo>
                    <a:pt x="1119" y="1584"/>
                    <a:pt x="1072" y="1548"/>
                    <a:pt x="1012" y="1548"/>
                  </a:cubicBezTo>
                  <a:lnTo>
                    <a:pt x="453" y="1548"/>
                  </a:lnTo>
                  <a:lnTo>
                    <a:pt x="1155" y="334"/>
                  </a:lnTo>
                  <a:close/>
                  <a:moveTo>
                    <a:pt x="1048" y="1"/>
                  </a:moveTo>
                  <a:cubicBezTo>
                    <a:pt x="988" y="1"/>
                    <a:pt x="941" y="24"/>
                    <a:pt x="917" y="72"/>
                  </a:cubicBezTo>
                  <a:lnTo>
                    <a:pt x="36" y="1620"/>
                  </a:lnTo>
                  <a:cubicBezTo>
                    <a:pt x="0" y="1667"/>
                    <a:pt x="0" y="1727"/>
                    <a:pt x="36" y="1787"/>
                  </a:cubicBezTo>
                  <a:cubicBezTo>
                    <a:pt x="60" y="1834"/>
                    <a:pt x="107" y="1858"/>
                    <a:pt x="167" y="1858"/>
                  </a:cubicBezTo>
                  <a:lnTo>
                    <a:pt x="762" y="1858"/>
                  </a:lnTo>
                  <a:lnTo>
                    <a:pt x="95" y="3322"/>
                  </a:lnTo>
                  <a:cubicBezTo>
                    <a:pt x="60" y="3394"/>
                    <a:pt x="95" y="3477"/>
                    <a:pt x="155" y="3525"/>
                  </a:cubicBezTo>
                  <a:cubicBezTo>
                    <a:pt x="179" y="3537"/>
                    <a:pt x="215" y="3561"/>
                    <a:pt x="238" y="3561"/>
                  </a:cubicBezTo>
                  <a:cubicBezTo>
                    <a:pt x="286" y="3561"/>
                    <a:pt x="334" y="3537"/>
                    <a:pt x="357" y="3501"/>
                  </a:cubicBezTo>
                  <a:lnTo>
                    <a:pt x="2203" y="1275"/>
                  </a:lnTo>
                  <a:cubicBezTo>
                    <a:pt x="2262" y="1227"/>
                    <a:pt x="2286" y="1167"/>
                    <a:pt x="2250" y="1108"/>
                  </a:cubicBezTo>
                  <a:cubicBezTo>
                    <a:pt x="2227" y="1048"/>
                    <a:pt x="2167" y="1013"/>
                    <a:pt x="2108" y="1013"/>
                  </a:cubicBezTo>
                  <a:lnTo>
                    <a:pt x="1477" y="1013"/>
                  </a:lnTo>
                  <a:lnTo>
                    <a:pt x="2048" y="251"/>
                  </a:lnTo>
                  <a:cubicBezTo>
                    <a:pt x="2072" y="203"/>
                    <a:pt x="2084" y="132"/>
                    <a:pt x="2060" y="84"/>
                  </a:cubicBezTo>
                  <a:cubicBezTo>
                    <a:pt x="2024" y="24"/>
                    <a:pt x="1965" y="1"/>
                    <a:pt x="1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03" name="Google Shape;12103;p61"/>
          <p:cNvGrpSpPr/>
          <p:nvPr/>
        </p:nvGrpSpPr>
        <p:grpSpPr>
          <a:xfrm>
            <a:off x="7144274" y="1500214"/>
            <a:ext cx="282174" cy="355735"/>
            <a:chOff x="7144274" y="1500214"/>
            <a:chExt cx="282174" cy="355735"/>
          </a:xfrm>
        </p:grpSpPr>
        <p:sp>
          <p:nvSpPr>
            <p:cNvPr id="12104" name="Google Shape;12104;p61"/>
            <p:cNvSpPr/>
            <p:nvPr/>
          </p:nvSpPr>
          <p:spPr>
            <a:xfrm>
              <a:off x="7245745" y="1613375"/>
              <a:ext cx="10613" cy="16252"/>
            </a:xfrm>
            <a:custGeom>
              <a:avLst/>
              <a:gdLst/>
              <a:ahLst/>
              <a:cxnLst/>
              <a:rect l="l" t="t" r="r" b="b"/>
              <a:pathLst>
                <a:path w="335" h="513" extrusionOk="0">
                  <a:moveTo>
                    <a:pt x="167" y="0"/>
                  </a:moveTo>
                  <a:cubicBezTo>
                    <a:pt x="72" y="0"/>
                    <a:pt x="1" y="72"/>
                    <a:pt x="1" y="167"/>
                  </a:cubicBezTo>
                  <a:lnTo>
                    <a:pt x="1" y="346"/>
                  </a:lnTo>
                  <a:cubicBezTo>
                    <a:pt x="1" y="429"/>
                    <a:pt x="72" y="512"/>
                    <a:pt x="167" y="512"/>
                  </a:cubicBezTo>
                  <a:cubicBezTo>
                    <a:pt x="251" y="512"/>
                    <a:pt x="334" y="429"/>
                    <a:pt x="334" y="346"/>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5" name="Google Shape;12105;p61"/>
            <p:cNvSpPr/>
            <p:nvPr/>
          </p:nvSpPr>
          <p:spPr>
            <a:xfrm>
              <a:off x="7313635" y="1613375"/>
              <a:ext cx="10613" cy="16252"/>
            </a:xfrm>
            <a:custGeom>
              <a:avLst/>
              <a:gdLst/>
              <a:ahLst/>
              <a:cxnLst/>
              <a:rect l="l" t="t" r="r" b="b"/>
              <a:pathLst>
                <a:path w="335" h="513" extrusionOk="0">
                  <a:moveTo>
                    <a:pt x="168" y="0"/>
                  </a:moveTo>
                  <a:cubicBezTo>
                    <a:pt x="72" y="0"/>
                    <a:pt x="1" y="72"/>
                    <a:pt x="1" y="167"/>
                  </a:cubicBezTo>
                  <a:lnTo>
                    <a:pt x="1" y="346"/>
                  </a:lnTo>
                  <a:cubicBezTo>
                    <a:pt x="1" y="429"/>
                    <a:pt x="72" y="512"/>
                    <a:pt x="168" y="512"/>
                  </a:cubicBezTo>
                  <a:cubicBezTo>
                    <a:pt x="251" y="512"/>
                    <a:pt x="334" y="429"/>
                    <a:pt x="334" y="346"/>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6" name="Google Shape;12106;p61"/>
            <p:cNvSpPr/>
            <p:nvPr/>
          </p:nvSpPr>
          <p:spPr>
            <a:xfrm>
              <a:off x="7262345" y="1653070"/>
              <a:ext cx="45302" cy="16157"/>
            </a:xfrm>
            <a:custGeom>
              <a:avLst/>
              <a:gdLst/>
              <a:ahLst/>
              <a:cxnLst/>
              <a:rect l="l" t="t" r="r" b="b"/>
              <a:pathLst>
                <a:path w="1430" h="510" extrusionOk="0">
                  <a:moveTo>
                    <a:pt x="184" y="0"/>
                  </a:moveTo>
                  <a:cubicBezTo>
                    <a:pt x="140" y="0"/>
                    <a:pt x="96" y="15"/>
                    <a:pt x="60" y="45"/>
                  </a:cubicBezTo>
                  <a:cubicBezTo>
                    <a:pt x="1" y="105"/>
                    <a:pt x="1" y="212"/>
                    <a:pt x="60" y="283"/>
                  </a:cubicBezTo>
                  <a:cubicBezTo>
                    <a:pt x="203" y="426"/>
                    <a:pt x="441" y="509"/>
                    <a:pt x="715" y="509"/>
                  </a:cubicBezTo>
                  <a:cubicBezTo>
                    <a:pt x="977" y="509"/>
                    <a:pt x="1215" y="414"/>
                    <a:pt x="1370" y="283"/>
                  </a:cubicBezTo>
                  <a:cubicBezTo>
                    <a:pt x="1429" y="212"/>
                    <a:pt x="1429" y="105"/>
                    <a:pt x="1370" y="45"/>
                  </a:cubicBezTo>
                  <a:cubicBezTo>
                    <a:pt x="1340" y="15"/>
                    <a:pt x="1298" y="0"/>
                    <a:pt x="1255" y="0"/>
                  </a:cubicBezTo>
                  <a:cubicBezTo>
                    <a:pt x="1212" y="0"/>
                    <a:pt x="1167" y="15"/>
                    <a:pt x="1132" y="45"/>
                  </a:cubicBezTo>
                  <a:cubicBezTo>
                    <a:pt x="1072" y="105"/>
                    <a:pt x="917" y="176"/>
                    <a:pt x="715" y="176"/>
                  </a:cubicBezTo>
                  <a:cubicBezTo>
                    <a:pt x="501" y="176"/>
                    <a:pt x="358" y="105"/>
                    <a:pt x="298" y="45"/>
                  </a:cubicBezTo>
                  <a:cubicBezTo>
                    <a:pt x="268"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7" name="Google Shape;12107;p61"/>
            <p:cNvSpPr/>
            <p:nvPr/>
          </p:nvSpPr>
          <p:spPr>
            <a:xfrm>
              <a:off x="7144274" y="1500214"/>
              <a:ext cx="282174" cy="355735"/>
            </a:xfrm>
            <a:custGeom>
              <a:avLst/>
              <a:gdLst/>
              <a:ahLst/>
              <a:cxnLst/>
              <a:rect l="l" t="t" r="r" b="b"/>
              <a:pathLst>
                <a:path w="8907" h="11229" extrusionOk="0">
                  <a:moveTo>
                    <a:pt x="7299" y="334"/>
                  </a:moveTo>
                  <a:cubicBezTo>
                    <a:pt x="7228" y="1048"/>
                    <a:pt x="6597" y="1608"/>
                    <a:pt x="5871" y="1608"/>
                  </a:cubicBezTo>
                  <a:lnTo>
                    <a:pt x="2656" y="1608"/>
                  </a:lnTo>
                  <a:cubicBezTo>
                    <a:pt x="2561" y="1608"/>
                    <a:pt x="2489" y="1679"/>
                    <a:pt x="2489" y="1775"/>
                  </a:cubicBezTo>
                  <a:cubicBezTo>
                    <a:pt x="2489" y="1858"/>
                    <a:pt x="2561" y="1941"/>
                    <a:pt x="2656" y="1941"/>
                  </a:cubicBezTo>
                  <a:lnTo>
                    <a:pt x="5871" y="1941"/>
                  </a:lnTo>
                  <a:cubicBezTo>
                    <a:pt x="6192" y="1941"/>
                    <a:pt x="6514" y="1846"/>
                    <a:pt x="6776" y="1679"/>
                  </a:cubicBezTo>
                  <a:lnTo>
                    <a:pt x="6776" y="3560"/>
                  </a:lnTo>
                  <a:cubicBezTo>
                    <a:pt x="6776" y="3644"/>
                    <a:pt x="6847" y="3727"/>
                    <a:pt x="6942" y="3727"/>
                  </a:cubicBezTo>
                  <a:lnTo>
                    <a:pt x="7026" y="3727"/>
                  </a:lnTo>
                  <a:cubicBezTo>
                    <a:pt x="7109" y="3727"/>
                    <a:pt x="7180" y="3751"/>
                    <a:pt x="7240" y="3810"/>
                  </a:cubicBezTo>
                  <a:cubicBezTo>
                    <a:pt x="7299" y="3870"/>
                    <a:pt x="7311" y="3941"/>
                    <a:pt x="7311" y="4037"/>
                  </a:cubicBezTo>
                  <a:cubicBezTo>
                    <a:pt x="7299" y="4180"/>
                    <a:pt x="7168" y="4287"/>
                    <a:pt x="7002" y="4287"/>
                  </a:cubicBezTo>
                  <a:lnTo>
                    <a:pt x="6930" y="4287"/>
                  </a:lnTo>
                  <a:lnTo>
                    <a:pt x="6930" y="4275"/>
                  </a:lnTo>
                  <a:cubicBezTo>
                    <a:pt x="6930" y="4180"/>
                    <a:pt x="6847" y="4108"/>
                    <a:pt x="6764" y="4108"/>
                  </a:cubicBezTo>
                  <a:cubicBezTo>
                    <a:pt x="6668" y="4108"/>
                    <a:pt x="6597" y="4180"/>
                    <a:pt x="6597" y="4275"/>
                  </a:cubicBezTo>
                  <a:cubicBezTo>
                    <a:pt x="6597" y="5465"/>
                    <a:pt x="5633" y="6430"/>
                    <a:pt x="4442" y="6430"/>
                  </a:cubicBezTo>
                  <a:cubicBezTo>
                    <a:pt x="3251" y="6430"/>
                    <a:pt x="2287" y="5465"/>
                    <a:pt x="2287" y="4275"/>
                  </a:cubicBezTo>
                  <a:cubicBezTo>
                    <a:pt x="2287" y="4180"/>
                    <a:pt x="2204" y="4108"/>
                    <a:pt x="2120" y="4108"/>
                  </a:cubicBezTo>
                  <a:cubicBezTo>
                    <a:pt x="2025" y="4108"/>
                    <a:pt x="1954" y="4180"/>
                    <a:pt x="1954" y="4275"/>
                  </a:cubicBezTo>
                  <a:lnTo>
                    <a:pt x="1954" y="4287"/>
                  </a:lnTo>
                  <a:lnTo>
                    <a:pt x="1846" y="4287"/>
                  </a:lnTo>
                  <a:cubicBezTo>
                    <a:pt x="1775" y="4287"/>
                    <a:pt x="1704" y="4263"/>
                    <a:pt x="1644" y="4203"/>
                  </a:cubicBezTo>
                  <a:cubicBezTo>
                    <a:pt x="1584" y="4144"/>
                    <a:pt x="1573" y="4061"/>
                    <a:pt x="1573" y="3977"/>
                  </a:cubicBezTo>
                  <a:cubicBezTo>
                    <a:pt x="1584" y="3822"/>
                    <a:pt x="1715" y="3727"/>
                    <a:pt x="1882" y="3727"/>
                  </a:cubicBezTo>
                  <a:lnTo>
                    <a:pt x="1942" y="3727"/>
                  </a:lnTo>
                  <a:cubicBezTo>
                    <a:pt x="2025" y="3727"/>
                    <a:pt x="2108" y="3644"/>
                    <a:pt x="2108" y="3560"/>
                  </a:cubicBezTo>
                  <a:lnTo>
                    <a:pt x="2108" y="1775"/>
                  </a:lnTo>
                  <a:cubicBezTo>
                    <a:pt x="2108" y="989"/>
                    <a:pt x="2739" y="334"/>
                    <a:pt x="3549" y="334"/>
                  </a:cubicBezTo>
                  <a:close/>
                  <a:moveTo>
                    <a:pt x="3025" y="6763"/>
                  </a:moveTo>
                  <a:lnTo>
                    <a:pt x="3025" y="7085"/>
                  </a:lnTo>
                  <a:cubicBezTo>
                    <a:pt x="3025" y="7239"/>
                    <a:pt x="2918" y="7382"/>
                    <a:pt x="2787" y="7430"/>
                  </a:cubicBezTo>
                  <a:lnTo>
                    <a:pt x="2406" y="7180"/>
                  </a:lnTo>
                  <a:cubicBezTo>
                    <a:pt x="2299" y="7097"/>
                    <a:pt x="2287" y="7001"/>
                    <a:pt x="2311" y="6918"/>
                  </a:cubicBezTo>
                  <a:cubicBezTo>
                    <a:pt x="2346" y="6847"/>
                    <a:pt x="2406" y="6763"/>
                    <a:pt x="2537" y="6763"/>
                  </a:cubicBezTo>
                  <a:close/>
                  <a:moveTo>
                    <a:pt x="6359" y="6763"/>
                  </a:moveTo>
                  <a:cubicBezTo>
                    <a:pt x="6478" y="6763"/>
                    <a:pt x="6549" y="6847"/>
                    <a:pt x="6585" y="6918"/>
                  </a:cubicBezTo>
                  <a:cubicBezTo>
                    <a:pt x="6609" y="7001"/>
                    <a:pt x="6597" y="7120"/>
                    <a:pt x="6490" y="7180"/>
                  </a:cubicBezTo>
                  <a:lnTo>
                    <a:pt x="6109" y="7430"/>
                  </a:lnTo>
                  <a:cubicBezTo>
                    <a:pt x="5954" y="7382"/>
                    <a:pt x="5859" y="7239"/>
                    <a:pt x="5859" y="7085"/>
                  </a:cubicBezTo>
                  <a:lnTo>
                    <a:pt x="5859" y="6763"/>
                  </a:lnTo>
                  <a:close/>
                  <a:moveTo>
                    <a:pt x="6371" y="6216"/>
                  </a:moveTo>
                  <a:cubicBezTo>
                    <a:pt x="6883" y="6216"/>
                    <a:pt x="7276" y="6620"/>
                    <a:pt x="7276" y="7132"/>
                  </a:cubicBezTo>
                  <a:cubicBezTo>
                    <a:pt x="7311" y="8156"/>
                    <a:pt x="6514" y="9025"/>
                    <a:pt x="5502" y="9097"/>
                  </a:cubicBezTo>
                  <a:lnTo>
                    <a:pt x="5502" y="8918"/>
                  </a:lnTo>
                  <a:cubicBezTo>
                    <a:pt x="5502" y="8823"/>
                    <a:pt x="5418" y="8752"/>
                    <a:pt x="5335" y="8752"/>
                  </a:cubicBezTo>
                  <a:cubicBezTo>
                    <a:pt x="5240" y="8752"/>
                    <a:pt x="5168" y="8823"/>
                    <a:pt x="5168" y="8918"/>
                  </a:cubicBezTo>
                  <a:lnTo>
                    <a:pt x="5168" y="9109"/>
                  </a:lnTo>
                  <a:lnTo>
                    <a:pt x="3716" y="9109"/>
                  </a:lnTo>
                  <a:lnTo>
                    <a:pt x="3716" y="8918"/>
                  </a:lnTo>
                  <a:cubicBezTo>
                    <a:pt x="3716" y="8823"/>
                    <a:pt x="3632" y="8752"/>
                    <a:pt x="3549" y="8752"/>
                  </a:cubicBezTo>
                  <a:cubicBezTo>
                    <a:pt x="3454" y="8752"/>
                    <a:pt x="3382" y="8823"/>
                    <a:pt x="3382" y="8918"/>
                  </a:cubicBezTo>
                  <a:lnTo>
                    <a:pt x="3382" y="9097"/>
                  </a:lnTo>
                  <a:cubicBezTo>
                    <a:pt x="2370" y="9002"/>
                    <a:pt x="1573" y="8156"/>
                    <a:pt x="1573" y="7132"/>
                  </a:cubicBezTo>
                  <a:cubicBezTo>
                    <a:pt x="1573" y="6620"/>
                    <a:pt x="1965" y="6227"/>
                    <a:pt x="2477" y="6227"/>
                  </a:cubicBezTo>
                  <a:lnTo>
                    <a:pt x="2906" y="6227"/>
                  </a:lnTo>
                  <a:cubicBezTo>
                    <a:pt x="2954" y="6251"/>
                    <a:pt x="3001" y="6287"/>
                    <a:pt x="3025" y="6311"/>
                  </a:cubicBezTo>
                  <a:lnTo>
                    <a:pt x="3025" y="6430"/>
                  </a:lnTo>
                  <a:lnTo>
                    <a:pt x="2525" y="6430"/>
                  </a:lnTo>
                  <a:cubicBezTo>
                    <a:pt x="2263" y="6430"/>
                    <a:pt x="2061" y="6585"/>
                    <a:pt x="1989" y="6835"/>
                  </a:cubicBezTo>
                  <a:cubicBezTo>
                    <a:pt x="1906" y="7085"/>
                    <a:pt x="2001" y="7323"/>
                    <a:pt x="2204" y="7454"/>
                  </a:cubicBezTo>
                  <a:lnTo>
                    <a:pt x="4037" y="8680"/>
                  </a:lnTo>
                  <a:cubicBezTo>
                    <a:pt x="4156" y="8752"/>
                    <a:pt x="4287" y="8799"/>
                    <a:pt x="4430" y="8799"/>
                  </a:cubicBezTo>
                  <a:cubicBezTo>
                    <a:pt x="4561" y="8799"/>
                    <a:pt x="4692" y="8752"/>
                    <a:pt x="4811" y="8680"/>
                  </a:cubicBezTo>
                  <a:lnTo>
                    <a:pt x="5228" y="8394"/>
                  </a:lnTo>
                  <a:cubicBezTo>
                    <a:pt x="5299" y="8347"/>
                    <a:pt x="5323" y="8252"/>
                    <a:pt x="5275" y="8168"/>
                  </a:cubicBezTo>
                  <a:cubicBezTo>
                    <a:pt x="5247" y="8125"/>
                    <a:pt x="5197" y="8104"/>
                    <a:pt x="5146" y="8104"/>
                  </a:cubicBezTo>
                  <a:cubicBezTo>
                    <a:pt x="5112" y="8104"/>
                    <a:pt x="5078" y="8113"/>
                    <a:pt x="5049" y="8132"/>
                  </a:cubicBezTo>
                  <a:lnTo>
                    <a:pt x="4632" y="8406"/>
                  </a:lnTo>
                  <a:cubicBezTo>
                    <a:pt x="4573" y="8454"/>
                    <a:pt x="4501" y="8478"/>
                    <a:pt x="4429" y="8478"/>
                  </a:cubicBezTo>
                  <a:cubicBezTo>
                    <a:pt x="4356" y="8478"/>
                    <a:pt x="4281" y="8454"/>
                    <a:pt x="4216" y="8406"/>
                  </a:cubicBezTo>
                  <a:lnTo>
                    <a:pt x="3073" y="7656"/>
                  </a:lnTo>
                  <a:cubicBezTo>
                    <a:pt x="3239" y="7513"/>
                    <a:pt x="3335" y="7323"/>
                    <a:pt x="3335" y="7097"/>
                  </a:cubicBezTo>
                  <a:lnTo>
                    <a:pt x="3335" y="6525"/>
                  </a:lnTo>
                  <a:cubicBezTo>
                    <a:pt x="3668" y="6680"/>
                    <a:pt x="4037" y="6775"/>
                    <a:pt x="4430" y="6775"/>
                  </a:cubicBezTo>
                  <a:cubicBezTo>
                    <a:pt x="4811" y="6775"/>
                    <a:pt x="5180" y="6680"/>
                    <a:pt x="5514" y="6525"/>
                  </a:cubicBezTo>
                  <a:lnTo>
                    <a:pt x="5514" y="7097"/>
                  </a:lnTo>
                  <a:cubicBezTo>
                    <a:pt x="5514" y="7323"/>
                    <a:pt x="5621" y="7513"/>
                    <a:pt x="5775" y="7656"/>
                  </a:cubicBezTo>
                  <a:lnTo>
                    <a:pt x="5668" y="7728"/>
                  </a:lnTo>
                  <a:cubicBezTo>
                    <a:pt x="5597" y="7775"/>
                    <a:pt x="5585" y="7871"/>
                    <a:pt x="5633" y="7954"/>
                  </a:cubicBezTo>
                  <a:cubicBezTo>
                    <a:pt x="5656" y="7990"/>
                    <a:pt x="5716" y="8025"/>
                    <a:pt x="5764" y="8025"/>
                  </a:cubicBezTo>
                  <a:cubicBezTo>
                    <a:pt x="5799" y="8025"/>
                    <a:pt x="5823" y="8001"/>
                    <a:pt x="5847" y="7990"/>
                  </a:cubicBezTo>
                  <a:lnTo>
                    <a:pt x="6645" y="7454"/>
                  </a:lnTo>
                  <a:cubicBezTo>
                    <a:pt x="6847" y="7323"/>
                    <a:pt x="6942" y="7073"/>
                    <a:pt x="6859" y="6835"/>
                  </a:cubicBezTo>
                  <a:cubicBezTo>
                    <a:pt x="6787" y="6597"/>
                    <a:pt x="6585" y="6430"/>
                    <a:pt x="6323" y="6430"/>
                  </a:cubicBezTo>
                  <a:lnTo>
                    <a:pt x="5823" y="6430"/>
                  </a:lnTo>
                  <a:lnTo>
                    <a:pt x="5823" y="6311"/>
                  </a:lnTo>
                  <a:cubicBezTo>
                    <a:pt x="5871" y="6287"/>
                    <a:pt x="5906" y="6251"/>
                    <a:pt x="5942" y="6216"/>
                  </a:cubicBezTo>
                  <a:close/>
                  <a:moveTo>
                    <a:pt x="3561" y="0"/>
                  </a:moveTo>
                  <a:cubicBezTo>
                    <a:pt x="2585" y="0"/>
                    <a:pt x="1787" y="786"/>
                    <a:pt x="1787" y="1775"/>
                  </a:cubicBezTo>
                  <a:lnTo>
                    <a:pt x="1787" y="3394"/>
                  </a:lnTo>
                  <a:cubicBezTo>
                    <a:pt x="1513" y="3441"/>
                    <a:pt x="1287" y="3668"/>
                    <a:pt x="1251" y="3930"/>
                  </a:cubicBezTo>
                  <a:cubicBezTo>
                    <a:pt x="1239" y="4108"/>
                    <a:pt x="1299" y="4275"/>
                    <a:pt x="1406" y="4406"/>
                  </a:cubicBezTo>
                  <a:cubicBezTo>
                    <a:pt x="1525" y="4537"/>
                    <a:pt x="1692" y="4608"/>
                    <a:pt x="1846" y="4608"/>
                  </a:cubicBezTo>
                  <a:lnTo>
                    <a:pt x="1989" y="4608"/>
                  </a:lnTo>
                  <a:cubicBezTo>
                    <a:pt x="2061" y="5108"/>
                    <a:pt x="2251" y="5537"/>
                    <a:pt x="2561" y="5894"/>
                  </a:cubicBezTo>
                  <a:lnTo>
                    <a:pt x="2489" y="5894"/>
                  </a:lnTo>
                  <a:cubicBezTo>
                    <a:pt x="1811" y="5894"/>
                    <a:pt x="1251" y="6442"/>
                    <a:pt x="1251" y="7132"/>
                  </a:cubicBezTo>
                  <a:cubicBezTo>
                    <a:pt x="1251" y="7382"/>
                    <a:pt x="1299" y="7620"/>
                    <a:pt x="1370" y="7859"/>
                  </a:cubicBezTo>
                  <a:lnTo>
                    <a:pt x="894" y="7990"/>
                  </a:lnTo>
                  <a:cubicBezTo>
                    <a:pt x="382" y="8144"/>
                    <a:pt x="1" y="8633"/>
                    <a:pt x="1" y="9180"/>
                  </a:cubicBezTo>
                  <a:lnTo>
                    <a:pt x="1" y="11061"/>
                  </a:lnTo>
                  <a:cubicBezTo>
                    <a:pt x="1" y="11145"/>
                    <a:pt x="84" y="11228"/>
                    <a:pt x="168" y="11228"/>
                  </a:cubicBezTo>
                  <a:cubicBezTo>
                    <a:pt x="263" y="11228"/>
                    <a:pt x="334" y="11145"/>
                    <a:pt x="334" y="11061"/>
                  </a:cubicBezTo>
                  <a:lnTo>
                    <a:pt x="334" y="9180"/>
                  </a:lnTo>
                  <a:cubicBezTo>
                    <a:pt x="334" y="8775"/>
                    <a:pt x="596" y="8418"/>
                    <a:pt x="989" y="8323"/>
                  </a:cubicBezTo>
                  <a:lnTo>
                    <a:pt x="1489" y="8168"/>
                  </a:lnTo>
                  <a:cubicBezTo>
                    <a:pt x="1846" y="8883"/>
                    <a:pt x="2561" y="9371"/>
                    <a:pt x="3394" y="9430"/>
                  </a:cubicBezTo>
                  <a:lnTo>
                    <a:pt x="3394" y="11061"/>
                  </a:lnTo>
                  <a:cubicBezTo>
                    <a:pt x="3394" y="11145"/>
                    <a:pt x="3478" y="11216"/>
                    <a:pt x="3561" y="11216"/>
                  </a:cubicBezTo>
                  <a:cubicBezTo>
                    <a:pt x="3656" y="11216"/>
                    <a:pt x="3728" y="11145"/>
                    <a:pt x="3728" y="11061"/>
                  </a:cubicBezTo>
                  <a:lnTo>
                    <a:pt x="3728" y="9430"/>
                  </a:lnTo>
                  <a:lnTo>
                    <a:pt x="5180" y="9430"/>
                  </a:lnTo>
                  <a:lnTo>
                    <a:pt x="5180" y="11061"/>
                  </a:lnTo>
                  <a:cubicBezTo>
                    <a:pt x="5180" y="11145"/>
                    <a:pt x="5263" y="11216"/>
                    <a:pt x="5347" y="11216"/>
                  </a:cubicBezTo>
                  <a:cubicBezTo>
                    <a:pt x="5430" y="11216"/>
                    <a:pt x="5514" y="11145"/>
                    <a:pt x="5514" y="11061"/>
                  </a:cubicBezTo>
                  <a:lnTo>
                    <a:pt x="5514" y="9430"/>
                  </a:lnTo>
                  <a:cubicBezTo>
                    <a:pt x="6347" y="9371"/>
                    <a:pt x="7061" y="8871"/>
                    <a:pt x="7419" y="8168"/>
                  </a:cubicBezTo>
                  <a:lnTo>
                    <a:pt x="7919" y="8323"/>
                  </a:lnTo>
                  <a:cubicBezTo>
                    <a:pt x="8311" y="8442"/>
                    <a:pt x="8573" y="8799"/>
                    <a:pt x="8573" y="9180"/>
                  </a:cubicBezTo>
                  <a:lnTo>
                    <a:pt x="8573" y="11061"/>
                  </a:lnTo>
                  <a:cubicBezTo>
                    <a:pt x="8573" y="11145"/>
                    <a:pt x="8657" y="11228"/>
                    <a:pt x="8740" y="11228"/>
                  </a:cubicBezTo>
                  <a:cubicBezTo>
                    <a:pt x="8823" y="11228"/>
                    <a:pt x="8907" y="11145"/>
                    <a:pt x="8907" y="11061"/>
                  </a:cubicBezTo>
                  <a:lnTo>
                    <a:pt x="8907" y="9180"/>
                  </a:lnTo>
                  <a:cubicBezTo>
                    <a:pt x="8895" y="8633"/>
                    <a:pt x="8514" y="8144"/>
                    <a:pt x="8002" y="7990"/>
                  </a:cubicBezTo>
                  <a:lnTo>
                    <a:pt x="7526" y="7859"/>
                  </a:lnTo>
                  <a:cubicBezTo>
                    <a:pt x="7597" y="7632"/>
                    <a:pt x="7645" y="7382"/>
                    <a:pt x="7645" y="7132"/>
                  </a:cubicBezTo>
                  <a:cubicBezTo>
                    <a:pt x="7645" y="6442"/>
                    <a:pt x="7085" y="5894"/>
                    <a:pt x="6406" y="5894"/>
                  </a:cubicBezTo>
                  <a:lnTo>
                    <a:pt x="6311" y="5894"/>
                  </a:lnTo>
                  <a:cubicBezTo>
                    <a:pt x="6609" y="5537"/>
                    <a:pt x="6823" y="5108"/>
                    <a:pt x="6895" y="4620"/>
                  </a:cubicBezTo>
                  <a:lnTo>
                    <a:pt x="7002" y="4620"/>
                  </a:lnTo>
                  <a:cubicBezTo>
                    <a:pt x="7323" y="4620"/>
                    <a:pt x="7597" y="4382"/>
                    <a:pt x="7645" y="4061"/>
                  </a:cubicBezTo>
                  <a:cubicBezTo>
                    <a:pt x="7657" y="3882"/>
                    <a:pt x="7597" y="3727"/>
                    <a:pt x="7490" y="3584"/>
                  </a:cubicBezTo>
                  <a:cubicBezTo>
                    <a:pt x="7383" y="3489"/>
                    <a:pt x="7252" y="3406"/>
                    <a:pt x="7121" y="3394"/>
                  </a:cubicBezTo>
                  <a:lnTo>
                    <a:pt x="7121" y="1429"/>
                  </a:lnTo>
                  <a:cubicBezTo>
                    <a:pt x="7442" y="1108"/>
                    <a:pt x="7657" y="655"/>
                    <a:pt x="7657" y="167"/>
                  </a:cubicBezTo>
                  <a:cubicBezTo>
                    <a:pt x="7657" y="72"/>
                    <a:pt x="7585" y="0"/>
                    <a:pt x="74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8" name="Google Shape;12108;p61"/>
            <p:cNvSpPr/>
            <p:nvPr/>
          </p:nvSpPr>
          <p:spPr>
            <a:xfrm>
              <a:off x="7239726" y="1594081"/>
              <a:ext cx="22651" cy="12165"/>
            </a:xfrm>
            <a:custGeom>
              <a:avLst/>
              <a:gdLst/>
              <a:ahLst/>
              <a:cxnLst/>
              <a:rect l="l" t="t" r="r" b="b"/>
              <a:pathLst>
                <a:path w="715" h="384" extrusionOk="0">
                  <a:moveTo>
                    <a:pt x="524" y="1"/>
                  </a:moveTo>
                  <a:cubicBezTo>
                    <a:pt x="517" y="1"/>
                    <a:pt x="508" y="1"/>
                    <a:pt x="500" y="2"/>
                  </a:cubicBezTo>
                  <a:lnTo>
                    <a:pt x="143" y="62"/>
                  </a:lnTo>
                  <a:cubicBezTo>
                    <a:pt x="60" y="74"/>
                    <a:pt x="0" y="169"/>
                    <a:pt x="12" y="252"/>
                  </a:cubicBezTo>
                  <a:cubicBezTo>
                    <a:pt x="24" y="324"/>
                    <a:pt x="95" y="383"/>
                    <a:pt x="179" y="383"/>
                  </a:cubicBezTo>
                  <a:lnTo>
                    <a:pt x="203" y="383"/>
                  </a:lnTo>
                  <a:lnTo>
                    <a:pt x="560" y="324"/>
                  </a:lnTo>
                  <a:cubicBezTo>
                    <a:pt x="655" y="312"/>
                    <a:pt x="715" y="228"/>
                    <a:pt x="703" y="133"/>
                  </a:cubicBezTo>
                  <a:cubicBezTo>
                    <a:pt x="681" y="57"/>
                    <a:pt x="609"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9" name="Google Shape;12109;p61"/>
            <p:cNvSpPr/>
            <p:nvPr/>
          </p:nvSpPr>
          <p:spPr>
            <a:xfrm>
              <a:off x="7307616" y="1594462"/>
              <a:ext cx="22651" cy="12514"/>
            </a:xfrm>
            <a:custGeom>
              <a:avLst/>
              <a:gdLst/>
              <a:ahLst/>
              <a:cxnLst/>
              <a:rect l="l" t="t" r="r" b="b"/>
              <a:pathLst>
                <a:path w="715" h="395" extrusionOk="0">
                  <a:moveTo>
                    <a:pt x="181" y="1"/>
                  </a:moveTo>
                  <a:cubicBezTo>
                    <a:pt x="104" y="1"/>
                    <a:pt x="23" y="57"/>
                    <a:pt x="12" y="133"/>
                  </a:cubicBezTo>
                  <a:cubicBezTo>
                    <a:pt x="0" y="228"/>
                    <a:pt x="60" y="312"/>
                    <a:pt x="143" y="335"/>
                  </a:cubicBezTo>
                  <a:lnTo>
                    <a:pt x="500" y="395"/>
                  </a:lnTo>
                  <a:lnTo>
                    <a:pt x="536" y="395"/>
                  </a:lnTo>
                  <a:cubicBezTo>
                    <a:pt x="608" y="395"/>
                    <a:pt x="679" y="335"/>
                    <a:pt x="703" y="252"/>
                  </a:cubicBezTo>
                  <a:cubicBezTo>
                    <a:pt x="715" y="169"/>
                    <a:pt x="655" y="73"/>
                    <a:pt x="560" y="62"/>
                  </a:cubicBezTo>
                  <a:lnTo>
                    <a:pt x="203" y="2"/>
                  </a:lnTo>
                  <a:cubicBezTo>
                    <a:pt x="196" y="1"/>
                    <a:pt x="188"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0" name="Google Shape;12110;p61"/>
          <p:cNvGrpSpPr/>
          <p:nvPr/>
        </p:nvGrpSpPr>
        <p:grpSpPr>
          <a:xfrm>
            <a:off x="6685262" y="1500214"/>
            <a:ext cx="289682" cy="354594"/>
            <a:chOff x="6685262" y="1500214"/>
            <a:chExt cx="289682" cy="354594"/>
          </a:xfrm>
        </p:grpSpPr>
        <p:sp>
          <p:nvSpPr>
            <p:cNvPr id="12111" name="Google Shape;12111;p61"/>
            <p:cNvSpPr/>
            <p:nvPr/>
          </p:nvSpPr>
          <p:spPr>
            <a:xfrm>
              <a:off x="6685262" y="1500214"/>
              <a:ext cx="289682" cy="354594"/>
            </a:xfrm>
            <a:custGeom>
              <a:avLst/>
              <a:gdLst/>
              <a:ahLst/>
              <a:cxnLst/>
              <a:rect l="l" t="t" r="r" b="b"/>
              <a:pathLst>
                <a:path w="9144" h="11193" extrusionOk="0">
                  <a:moveTo>
                    <a:pt x="7037" y="3310"/>
                  </a:moveTo>
                  <a:lnTo>
                    <a:pt x="7037" y="3322"/>
                  </a:lnTo>
                  <a:lnTo>
                    <a:pt x="7037" y="3691"/>
                  </a:lnTo>
                  <a:lnTo>
                    <a:pt x="6846" y="3691"/>
                  </a:lnTo>
                  <a:cubicBezTo>
                    <a:pt x="6739" y="3691"/>
                    <a:pt x="6656" y="3608"/>
                    <a:pt x="6656" y="3501"/>
                  </a:cubicBezTo>
                  <a:lnTo>
                    <a:pt x="6656" y="3310"/>
                  </a:lnTo>
                  <a:close/>
                  <a:moveTo>
                    <a:pt x="2465" y="3322"/>
                  </a:moveTo>
                  <a:lnTo>
                    <a:pt x="2465" y="3513"/>
                  </a:lnTo>
                  <a:cubicBezTo>
                    <a:pt x="2465" y="3620"/>
                    <a:pt x="2381" y="3703"/>
                    <a:pt x="2274" y="3703"/>
                  </a:cubicBezTo>
                  <a:lnTo>
                    <a:pt x="2096" y="3703"/>
                  </a:lnTo>
                  <a:lnTo>
                    <a:pt x="2096" y="3691"/>
                  </a:lnTo>
                  <a:lnTo>
                    <a:pt x="2096" y="3322"/>
                  </a:lnTo>
                  <a:close/>
                  <a:moveTo>
                    <a:pt x="4596" y="370"/>
                  </a:moveTo>
                  <a:lnTo>
                    <a:pt x="8453" y="2989"/>
                  </a:lnTo>
                  <a:lnTo>
                    <a:pt x="3691" y="2989"/>
                  </a:lnTo>
                  <a:cubicBezTo>
                    <a:pt x="3596" y="2989"/>
                    <a:pt x="3524" y="3072"/>
                    <a:pt x="3524" y="3156"/>
                  </a:cubicBezTo>
                  <a:cubicBezTo>
                    <a:pt x="3524" y="3251"/>
                    <a:pt x="3596" y="3322"/>
                    <a:pt x="3691" y="3322"/>
                  </a:cubicBezTo>
                  <a:lnTo>
                    <a:pt x="6334" y="3322"/>
                  </a:lnTo>
                  <a:lnTo>
                    <a:pt x="6334" y="3513"/>
                  </a:lnTo>
                  <a:cubicBezTo>
                    <a:pt x="6334" y="3799"/>
                    <a:pt x="6572" y="4037"/>
                    <a:pt x="6858" y="4037"/>
                  </a:cubicBezTo>
                  <a:lnTo>
                    <a:pt x="7120" y="4037"/>
                  </a:lnTo>
                  <a:cubicBezTo>
                    <a:pt x="7203" y="4037"/>
                    <a:pt x="7275" y="4061"/>
                    <a:pt x="7334" y="4120"/>
                  </a:cubicBezTo>
                  <a:cubicBezTo>
                    <a:pt x="7394" y="4180"/>
                    <a:pt x="7406" y="4263"/>
                    <a:pt x="7406" y="4334"/>
                  </a:cubicBezTo>
                  <a:cubicBezTo>
                    <a:pt x="7394" y="4465"/>
                    <a:pt x="7263" y="4584"/>
                    <a:pt x="7108" y="4584"/>
                  </a:cubicBezTo>
                  <a:lnTo>
                    <a:pt x="7037" y="4584"/>
                  </a:lnTo>
                  <a:lnTo>
                    <a:pt x="7037" y="4572"/>
                  </a:lnTo>
                  <a:cubicBezTo>
                    <a:pt x="7037" y="4477"/>
                    <a:pt x="6965" y="4406"/>
                    <a:pt x="6870" y="4406"/>
                  </a:cubicBezTo>
                  <a:cubicBezTo>
                    <a:pt x="6787" y="4406"/>
                    <a:pt x="6715" y="4477"/>
                    <a:pt x="6715" y="4572"/>
                  </a:cubicBezTo>
                  <a:cubicBezTo>
                    <a:pt x="6715" y="5692"/>
                    <a:pt x="5846" y="6597"/>
                    <a:pt x="4763" y="6680"/>
                  </a:cubicBezTo>
                  <a:lnTo>
                    <a:pt x="4763" y="6501"/>
                  </a:lnTo>
                  <a:cubicBezTo>
                    <a:pt x="4763" y="6418"/>
                    <a:pt x="4691" y="6347"/>
                    <a:pt x="4596" y="6347"/>
                  </a:cubicBezTo>
                  <a:cubicBezTo>
                    <a:pt x="4512" y="6347"/>
                    <a:pt x="4429" y="6418"/>
                    <a:pt x="4429" y="6501"/>
                  </a:cubicBezTo>
                  <a:lnTo>
                    <a:pt x="4429" y="6680"/>
                  </a:lnTo>
                  <a:cubicBezTo>
                    <a:pt x="3346" y="6597"/>
                    <a:pt x="2488" y="5692"/>
                    <a:pt x="2488" y="4572"/>
                  </a:cubicBezTo>
                  <a:cubicBezTo>
                    <a:pt x="2488" y="4477"/>
                    <a:pt x="2405" y="4406"/>
                    <a:pt x="2322" y="4406"/>
                  </a:cubicBezTo>
                  <a:cubicBezTo>
                    <a:pt x="2226" y="4406"/>
                    <a:pt x="2155" y="4477"/>
                    <a:pt x="2155" y="4572"/>
                  </a:cubicBezTo>
                  <a:lnTo>
                    <a:pt x="2155" y="4584"/>
                  </a:lnTo>
                  <a:lnTo>
                    <a:pt x="2048" y="4584"/>
                  </a:lnTo>
                  <a:cubicBezTo>
                    <a:pt x="1976" y="4584"/>
                    <a:pt x="1905" y="4561"/>
                    <a:pt x="1845" y="4501"/>
                  </a:cubicBezTo>
                  <a:cubicBezTo>
                    <a:pt x="1786" y="4442"/>
                    <a:pt x="1774" y="4358"/>
                    <a:pt x="1774" y="4287"/>
                  </a:cubicBezTo>
                  <a:cubicBezTo>
                    <a:pt x="1786" y="4156"/>
                    <a:pt x="1917" y="4037"/>
                    <a:pt x="2072" y="4037"/>
                  </a:cubicBezTo>
                  <a:lnTo>
                    <a:pt x="2310" y="4037"/>
                  </a:lnTo>
                  <a:cubicBezTo>
                    <a:pt x="2584" y="4037"/>
                    <a:pt x="2822" y="3799"/>
                    <a:pt x="2822" y="3513"/>
                  </a:cubicBezTo>
                  <a:lnTo>
                    <a:pt x="2822" y="3322"/>
                  </a:lnTo>
                  <a:lnTo>
                    <a:pt x="3024" y="3322"/>
                  </a:lnTo>
                  <a:cubicBezTo>
                    <a:pt x="3108" y="3322"/>
                    <a:pt x="3179" y="3251"/>
                    <a:pt x="3179" y="3156"/>
                  </a:cubicBezTo>
                  <a:cubicBezTo>
                    <a:pt x="3179" y="3072"/>
                    <a:pt x="3108" y="2989"/>
                    <a:pt x="3024" y="2989"/>
                  </a:cubicBezTo>
                  <a:lnTo>
                    <a:pt x="738" y="2989"/>
                  </a:lnTo>
                  <a:lnTo>
                    <a:pt x="4596" y="370"/>
                  </a:lnTo>
                  <a:close/>
                  <a:moveTo>
                    <a:pt x="5632" y="6763"/>
                  </a:moveTo>
                  <a:lnTo>
                    <a:pt x="5632" y="7144"/>
                  </a:lnTo>
                  <a:cubicBezTo>
                    <a:pt x="5644" y="7430"/>
                    <a:pt x="5798" y="7668"/>
                    <a:pt x="6060" y="7787"/>
                  </a:cubicBezTo>
                  <a:cubicBezTo>
                    <a:pt x="5977" y="7978"/>
                    <a:pt x="5858" y="8156"/>
                    <a:pt x="5715" y="8311"/>
                  </a:cubicBezTo>
                  <a:cubicBezTo>
                    <a:pt x="5655" y="8371"/>
                    <a:pt x="5655" y="8466"/>
                    <a:pt x="5715" y="8549"/>
                  </a:cubicBezTo>
                  <a:cubicBezTo>
                    <a:pt x="5739" y="8573"/>
                    <a:pt x="5786" y="8585"/>
                    <a:pt x="5834" y="8585"/>
                  </a:cubicBezTo>
                  <a:cubicBezTo>
                    <a:pt x="5882" y="8585"/>
                    <a:pt x="5917" y="8573"/>
                    <a:pt x="5953" y="8549"/>
                  </a:cubicBezTo>
                  <a:cubicBezTo>
                    <a:pt x="6132" y="8347"/>
                    <a:pt x="6275" y="8132"/>
                    <a:pt x="6370" y="7894"/>
                  </a:cubicBezTo>
                  <a:lnTo>
                    <a:pt x="6727" y="7990"/>
                  </a:lnTo>
                  <a:cubicBezTo>
                    <a:pt x="6572" y="8394"/>
                    <a:pt x="6310" y="8763"/>
                    <a:pt x="5953" y="9037"/>
                  </a:cubicBezTo>
                  <a:cubicBezTo>
                    <a:pt x="5548" y="9335"/>
                    <a:pt x="5072" y="9502"/>
                    <a:pt x="4572" y="9502"/>
                  </a:cubicBezTo>
                  <a:cubicBezTo>
                    <a:pt x="4072" y="9502"/>
                    <a:pt x="3596" y="9335"/>
                    <a:pt x="3203" y="9049"/>
                  </a:cubicBezTo>
                  <a:cubicBezTo>
                    <a:pt x="2846" y="8787"/>
                    <a:pt x="2572" y="8406"/>
                    <a:pt x="2405" y="8013"/>
                  </a:cubicBezTo>
                  <a:lnTo>
                    <a:pt x="2762" y="7906"/>
                  </a:lnTo>
                  <a:cubicBezTo>
                    <a:pt x="2905" y="8252"/>
                    <a:pt x="3119" y="8549"/>
                    <a:pt x="3405" y="8752"/>
                  </a:cubicBezTo>
                  <a:cubicBezTo>
                    <a:pt x="3739" y="9002"/>
                    <a:pt x="4131" y="9144"/>
                    <a:pt x="4548" y="9144"/>
                  </a:cubicBezTo>
                  <a:cubicBezTo>
                    <a:pt x="4822" y="9144"/>
                    <a:pt x="5072" y="9085"/>
                    <a:pt x="5322" y="8978"/>
                  </a:cubicBezTo>
                  <a:cubicBezTo>
                    <a:pt x="5417" y="8942"/>
                    <a:pt x="5441" y="8847"/>
                    <a:pt x="5417" y="8752"/>
                  </a:cubicBezTo>
                  <a:cubicBezTo>
                    <a:pt x="5391" y="8690"/>
                    <a:pt x="5332" y="8654"/>
                    <a:pt x="5265" y="8654"/>
                  </a:cubicBezTo>
                  <a:cubicBezTo>
                    <a:pt x="5241" y="8654"/>
                    <a:pt x="5216" y="8659"/>
                    <a:pt x="5191" y="8668"/>
                  </a:cubicBezTo>
                  <a:cubicBezTo>
                    <a:pt x="4989" y="8752"/>
                    <a:pt x="4774" y="8799"/>
                    <a:pt x="4548" y="8799"/>
                  </a:cubicBezTo>
                  <a:cubicBezTo>
                    <a:pt x="3893" y="8799"/>
                    <a:pt x="3322" y="8394"/>
                    <a:pt x="3084" y="7799"/>
                  </a:cubicBezTo>
                  <a:cubicBezTo>
                    <a:pt x="3334" y="7692"/>
                    <a:pt x="3500" y="7442"/>
                    <a:pt x="3500" y="7180"/>
                  </a:cubicBezTo>
                  <a:lnTo>
                    <a:pt x="3500" y="6787"/>
                  </a:lnTo>
                  <a:cubicBezTo>
                    <a:pt x="3774" y="6918"/>
                    <a:pt x="4072" y="7013"/>
                    <a:pt x="4405" y="7025"/>
                  </a:cubicBezTo>
                  <a:lnTo>
                    <a:pt x="4405" y="7573"/>
                  </a:lnTo>
                  <a:cubicBezTo>
                    <a:pt x="4405" y="7668"/>
                    <a:pt x="4477" y="7740"/>
                    <a:pt x="4560" y="7740"/>
                  </a:cubicBezTo>
                  <a:cubicBezTo>
                    <a:pt x="4655" y="7740"/>
                    <a:pt x="4727" y="7668"/>
                    <a:pt x="4727" y="7573"/>
                  </a:cubicBezTo>
                  <a:lnTo>
                    <a:pt x="4727" y="7001"/>
                  </a:lnTo>
                  <a:cubicBezTo>
                    <a:pt x="5060" y="6978"/>
                    <a:pt x="5358" y="6894"/>
                    <a:pt x="5632" y="6763"/>
                  </a:cubicBezTo>
                  <a:close/>
                  <a:moveTo>
                    <a:pt x="4562" y="0"/>
                  </a:moveTo>
                  <a:cubicBezTo>
                    <a:pt x="4530" y="0"/>
                    <a:pt x="4501" y="12"/>
                    <a:pt x="4477" y="36"/>
                  </a:cubicBezTo>
                  <a:lnTo>
                    <a:pt x="83" y="3025"/>
                  </a:lnTo>
                  <a:cubicBezTo>
                    <a:pt x="24" y="3072"/>
                    <a:pt x="0" y="3144"/>
                    <a:pt x="24" y="3203"/>
                  </a:cubicBezTo>
                  <a:cubicBezTo>
                    <a:pt x="60" y="3263"/>
                    <a:pt x="119" y="3322"/>
                    <a:pt x="191" y="3322"/>
                  </a:cubicBezTo>
                  <a:lnTo>
                    <a:pt x="1786" y="3322"/>
                  </a:lnTo>
                  <a:lnTo>
                    <a:pt x="1786" y="3751"/>
                  </a:lnTo>
                  <a:cubicBezTo>
                    <a:pt x="1584" y="3846"/>
                    <a:pt x="1453" y="4025"/>
                    <a:pt x="1441" y="4227"/>
                  </a:cubicBezTo>
                  <a:cubicBezTo>
                    <a:pt x="1429" y="4394"/>
                    <a:pt x="1488" y="4572"/>
                    <a:pt x="1584" y="4692"/>
                  </a:cubicBezTo>
                  <a:cubicBezTo>
                    <a:pt x="1703" y="4811"/>
                    <a:pt x="1869" y="4882"/>
                    <a:pt x="2036" y="4882"/>
                  </a:cubicBezTo>
                  <a:lnTo>
                    <a:pt x="2155" y="4882"/>
                  </a:lnTo>
                  <a:cubicBezTo>
                    <a:pt x="2238" y="5573"/>
                    <a:pt x="2631" y="6180"/>
                    <a:pt x="3179" y="6549"/>
                  </a:cubicBezTo>
                  <a:lnTo>
                    <a:pt x="3179" y="7132"/>
                  </a:lnTo>
                  <a:cubicBezTo>
                    <a:pt x="3179" y="7299"/>
                    <a:pt x="3072" y="7430"/>
                    <a:pt x="2929" y="7478"/>
                  </a:cubicBezTo>
                  <a:lnTo>
                    <a:pt x="1203" y="7978"/>
                  </a:lnTo>
                  <a:cubicBezTo>
                    <a:pt x="607" y="8156"/>
                    <a:pt x="202" y="8704"/>
                    <a:pt x="202" y="9323"/>
                  </a:cubicBezTo>
                  <a:lnTo>
                    <a:pt x="202" y="11026"/>
                  </a:lnTo>
                  <a:cubicBezTo>
                    <a:pt x="202" y="11121"/>
                    <a:pt x="274" y="11192"/>
                    <a:pt x="369" y="11192"/>
                  </a:cubicBezTo>
                  <a:cubicBezTo>
                    <a:pt x="452" y="11192"/>
                    <a:pt x="536" y="11121"/>
                    <a:pt x="536" y="11026"/>
                  </a:cubicBezTo>
                  <a:lnTo>
                    <a:pt x="536" y="9323"/>
                  </a:lnTo>
                  <a:cubicBezTo>
                    <a:pt x="536" y="8847"/>
                    <a:pt x="845" y="8430"/>
                    <a:pt x="1286" y="8287"/>
                  </a:cubicBezTo>
                  <a:lnTo>
                    <a:pt x="2107" y="8049"/>
                  </a:lnTo>
                  <a:cubicBezTo>
                    <a:pt x="2286" y="8549"/>
                    <a:pt x="2596" y="8966"/>
                    <a:pt x="3012" y="9275"/>
                  </a:cubicBezTo>
                  <a:cubicBezTo>
                    <a:pt x="3429" y="9585"/>
                    <a:pt x="3905" y="9752"/>
                    <a:pt x="4417" y="9776"/>
                  </a:cubicBezTo>
                  <a:lnTo>
                    <a:pt x="4417" y="11026"/>
                  </a:lnTo>
                  <a:cubicBezTo>
                    <a:pt x="4417" y="11121"/>
                    <a:pt x="4489" y="11192"/>
                    <a:pt x="4584" y="11192"/>
                  </a:cubicBezTo>
                  <a:cubicBezTo>
                    <a:pt x="4667" y="11192"/>
                    <a:pt x="4739" y="11121"/>
                    <a:pt x="4739" y="11026"/>
                  </a:cubicBezTo>
                  <a:lnTo>
                    <a:pt x="4739" y="9776"/>
                  </a:lnTo>
                  <a:cubicBezTo>
                    <a:pt x="5263" y="9752"/>
                    <a:pt x="5739" y="9573"/>
                    <a:pt x="6156" y="9252"/>
                  </a:cubicBezTo>
                  <a:cubicBezTo>
                    <a:pt x="6560" y="8942"/>
                    <a:pt x="6870" y="8525"/>
                    <a:pt x="7049" y="8049"/>
                  </a:cubicBezTo>
                  <a:lnTo>
                    <a:pt x="7870" y="8287"/>
                  </a:lnTo>
                  <a:cubicBezTo>
                    <a:pt x="8311" y="8418"/>
                    <a:pt x="8632" y="8835"/>
                    <a:pt x="8632" y="9311"/>
                  </a:cubicBezTo>
                  <a:lnTo>
                    <a:pt x="8632" y="11026"/>
                  </a:lnTo>
                  <a:cubicBezTo>
                    <a:pt x="8632" y="11121"/>
                    <a:pt x="8703" y="11192"/>
                    <a:pt x="8787" y="11192"/>
                  </a:cubicBezTo>
                  <a:cubicBezTo>
                    <a:pt x="8882" y="11192"/>
                    <a:pt x="8954" y="11121"/>
                    <a:pt x="8954" y="11026"/>
                  </a:cubicBezTo>
                  <a:lnTo>
                    <a:pt x="8954" y="9311"/>
                  </a:lnTo>
                  <a:cubicBezTo>
                    <a:pt x="8954" y="8704"/>
                    <a:pt x="8537" y="8156"/>
                    <a:pt x="7953" y="7978"/>
                  </a:cubicBezTo>
                  <a:lnTo>
                    <a:pt x="6227" y="7466"/>
                  </a:lnTo>
                  <a:cubicBezTo>
                    <a:pt x="6084" y="7430"/>
                    <a:pt x="5977" y="7275"/>
                    <a:pt x="5977" y="7132"/>
                  </a:cubicBezTo>
                  <a:lnTo>
                    <a:pt x="5977" y="6549"/>
                  </a:lnTo>
                  <a:cubicBezTo>
                    <a:pt x="6525" y="6156"/>
                    <a:pt x="6918" y="5561"/>
                    <a:pt x="7001" y="4882"/>
                  </a:cubicBezTo>
                  <a:lnTo>
                    <a:pt x="7108" y="4882"/>
                  </a:lnTo>
                  <a:cubicBezTo>
                    <a:pt x="7441" y="4882"/>
                    <a:pt x="7703" y="4644"/>
                    <a:pt x="7739" y="4346"/>
                  </a:cubicBezTo>
                  <a:cubicBezTo>
                    <a:pt x="7751" y="4180"/>
                    <a:pt x="7691" y="4001"/>
                    <a:pt x="7584" y="3882"/>
                  </a:cubicBezTo>
                  <a:cubicBezTo>
                    <a:pt x="7525" y="3822"/>
                    <a:pt x="7465" y="3775"/>
                    <a:pt x="7394" y="3739"/>
                  </a:cubicBezTo>
                  <a:lnTo>
                    <a:pt x="7394" y="3299"/>
                  </a:lnTo>
                  <a:lnTo>
                    <a:pt x="8989" y="3299"/>
                  </a:lnTo>
                  <a:cubicBezTo>
                    <a:pt x="9061" y="3299"/>
                    <a:pt x="9120" y="3263"/>
                    <a:pt x="9144" y="3179"/>
                  </a:cubicBezTo>
                  <a:cubicBezTo>
                    <a:pt x="9132" y="3132"/>
                    <a:pt x="9108" y="3048"/>
                    <a:pt x="9049" y="3025"/>
                  </a:cubicBezTo>
                  <a:lnTo>
                    <a:pt x="4655" y="36"/>
                  </a:lnTo>
                  <a:cubicBezTo>
                    <a:pt x="4626" y="12"/>
                    <a:pt x="4593" y="0"/>
                    <a:pt x="4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2" name="Google Shape;12112;p61"/>
            <p:cNvSpPr/>
            <p:nvPr/>
          </p:nvSpPr>
          <p:spPr>
            <a:xfrm>
              <a:off x="6792372" y="1655984"/>
              <a:ext cx="76222" cy="38143"/>
            </a:xfrm>
            <a:custGeom>
              <a:avLst/>
              <a:gdLst/>
              <a:ahLst/>
              <a:cxnLst/>
              <a:rect l="l" t="t" r="r" b="b"/>
              <a:pathLst>
                <a:path w="2406" h="1204" extrusionOk="0">
                  <a:moveTo>
                    <a:pt x="989" y="334"/>
                  </a:moveTo>
                  <a:cubicBezTo>
                    <a:pt x="917" y="441"/>
                    <a:pt x="798" y="537"/>
                    <a:pt x="667" y="537"/>
                  </a:cubicBezTo>
                  <a:lnTo>
                    <a:pt x="334" y="537"/>
                  </a:lnTo>
                  <a:cubicBezTo>
                    <a:pt x="393" y="417"/>
                    <a:pt x="512" y="334"/>
                    <a:pt x="667" y="334"/>
                  </a:cubicBezTo>
                  <a:close/>
                  <a:moveTo>
                    <a:pt x="1727" y="334"/>
                  </a:moveTo>
                  <a:cubicBezTo>
                    <a:pt x="1858" y="334"/>
                    <a:pt x="1989" y="417"/>
                    <a:pt x="2048" y="537"/>
                  </a:cubicBezTo>
                  <a:lnTo>
                    <a:pt x="1727" y="537"/>
                  </a:lnTo>
                  <a:cubicBezTo>
                    <a:pt x="1584" y="537"/>
                    <a:pt x="1453" y="453"/>
                    <a:pt x="1393" y="334"/>
                  </a:cubicBezTo>
                  <a:close/>
                  <a:moveTo>
                    <a:pt x="679" y="1"/>
                  </a:moveTo>
                  <a:cubicBezTo>
                    <a:pt x="298" y="1"/>
                    <a:pt x="0" y="310"/>
                    <a:pt x="0" y="679"/>
                  </a:cubicBezTo>
                  <a:lnTo>
                    <a:pt x="0" y="1037"/>
                  </a:lnTo>
                  <a:cubicBezTo>
                    <a:pt x="0" y="1132"/>
                    <a:pt x="72" y="1203"/>
                    <a:pt x="155" y="1203"/>
                  </a:cubicBezTo>
                  <a:cubicBezTo>
                    <a:pt x="250" y="1203"/>
                    <a:pt x="322" y="1132"/>
                    <a:pt x="322" y="1037"/>
                  </a:cubicBezTo>
                  <a:lnTo>
                    <a:pt x="322" y="846"/>
                  </a:lnTo>
                  <a:lnTo>
                    <a:pt x="679" y="846"/>
                  </a:lnTo>
                  <a:cubicBezTo>
                    <a:pt x="893" y="846"/>
                    <a:pt x="1084" y="751"/>
                    <a:pt x="1203" y="608"/>
                  </a:cubicBezTo>
                  <a:cubicBezTo>
                    <a:pt x="1334" y="751"/>
                    <a:pt x="1512" y="846"/>
                    <a:pt x="1727" y="846"/>
                  </a:cubicBezTo>
                  <a:lnTo>
                    <a:pt x="2084" y="846"/>
                  </a:lnTo>
                  <a:lnTo>
                    <a:pt x="2084" y="1037"/>
                  </a:lnTo>
                  <a:cubicBezTo>
                    <a:pt x="2084" y="1132"/>
                    <a:pt x="2155" y="1203"/>
                    <a:pt x="2239" y="1203"/>
                  </a:cubicBezTo>
                  <a:cubicBezTo>
                    <a:pt x="2334" y="1203"/>
                    <a:pt x="2405" y="1132"/>
                    <a:pt x="2405" y="1037"/>
                  </a:cubicBezTo>
                  <a:lnTo>
                    <a:pt x="2405" y="679"/>
                  </a:lnTo>
                  <a:cubicBezTo>
                    <a:pt x="2405" y="310"/>
                    <a:pt x="2096"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3" name="Google Shape;12113;p61"/>
            <p:cNvSpPr/>
            <p:nvPr/>
          </p:nvSpPr>
          <p:spPr>
            <a:xfrm>
              <a:off x="6785593" y="1622815"/>
              <a:ext cx="21891" cy="10581"/>
            </a:xfrm>
            <a:custGeom>
              <a:avLst/>
              <a:gdLst/>
              <a:ahLst/>
              <a:cxnLst/>
              <a:rect l="l" t="t" r="r" b="b"/>
              <a:pathLst>
                <a:path w="691" h="334" extrusionOk="0">
                  <a:moveTo>
                    <a:pt x="167" y="0"/>
                  </a:moveTo>
                  <a:cubicBezTo>
                    <a:pt x="72" y="0"/>
                    <a:pt x="0" y="71"/>
                    <a:pt x="0" y="167"/>
                  </a:cubicBezTo>
                  <a:cubicBezTo>
                    <a:pt x="0" y="250"/>
                    <a:pt x="72" y="333"/>
                    <a:pt x="167" y="333"/>
                  </a:cubicBezTo>
                  <a:lnTo>
                    <a:pt x="524" y="333"/>
                  </a:lnTo>
                  <a:cubicBezTo>
                    <a:pt x="607" y="333"/>
                    <a:pt x="679" y="250"/>
                    <a:pt x="679" y="167"/>
                  </a:cubicBezTo>
                  <a:cubicBezTo>
                    <a:pt x="691" y="71"/>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4" name="Google Shape;12114;p61"/>
            <p:cNvSpPr/>
            <p:nvPr/>
          </p:nvSpPr>
          <p:spPr>
            <a:xfrm>
              <a:off x="6852723" y="1622815"/>
              <a:ext cx="21542" cy="10581"/>
            </a:xfrm>
            <a:custGeom>
              <a:avLst/>
              <a:gdLst/>
              <a:ahLst/>
              <a:cxnLst/>
              <a:rect l="l" t="t" r="r" b="b"/>
              <a:pathLst>
                <a:path w="680" h="334" extrusionOk="0">
                  <a:moveTo>
                    <a:pt x="155" y="0"/>
                  </a:moveTo>
                  <a:cubicBezTo>
                    <a:pt x="72" y="0"/>
                    <a:pt x="0" y="71"/>
                    <a:pt x="0" y="167"/>
                  </a:cubicBezTo>
                  <a:cubicBezTo>
                    <a:pt x="0" y="250"/>
                    <a:pt x="72" y="333"/>
                    <a:pt x="155" y="333"/>
                  </a:cubicBezTo>
                  <a:lnTo>
                    <a:pt x="512" y="333"/>
                  </a:lnTo>
                  <a:cubicBezTo>
                    <a:pt x="608" y="333"/>
                    <a:pt x="679" y="250"/>
                    <a:pt x="679" y="167"/>
                  </a:cubicBezTo>
                  <a:cubicBezTo>
                    <a:pt x="679" y="71"/>
                    <a:pt x="60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15" name="Google Shape;12115;p61"/>
          <p:cNvGrpSpPr/>
          <p:nvPr/>
        </p:nvGrpSpPr>
        <p:grpSpPr>
          <a:xfrm>
            <a:off x="6200938" y="1500594"/>
            <a:ext cx="322154" cy="355355"/>
            <a:chOff x="6200938" y="1500594"/>
            <a:chExt cx="322154" cy="355355"/>
          </a:xfrm>
        </p:grpSpPr>
        <p:sp>
          <p:nvSpPr>
            <p:cNvPr id="12116" name="Google Shape;12116;p61"/>
            <p:cNvSpPr/>
            <p:nvPr/>
          </p:nvSpPr>
          <p:spPr>
            <a:xfrm>
              <a:off x="6325789" y="1605835"/>
              <a:ext cx="10581" cy="16252"/>
            </a:xfrm>
            <a:custGeom>
              <a:avLst/>
              <a:gdLst/>
              <a:ahLst/>
              <a:cxnLst/>
              <a:rect l="l" t="t" r="r" b="b"/>
              <a:pathLst>
                <a:path w="334" h="513" extrusionOk="0">
                  <a:moveTo>
                    <a:pt x="167" y="0"/>
                  </a:moveTo>
                  <a:cubicBezTo>
                    <a:pt x="84" y="0"/>
                    <a:pt x="0" y="72"/>
                    <a:pt x="0" y="167"/>
                  </a:cubicBezTo>
                  <a:lnTo>
                    <a:pt x="0" y="346"/>
                  </a:lnTo>
                  <a:cubicBezTo>
                    <a:pt x="0" y="429"/>
                    <a:pt x="84" y="512"/>
                    <a:pt x="167" y="512"/>
                  </a:cubicBezTo>
                  <a:cubicBezTo>
                    <a:pt x="262" y="512"/>
                    <a:pt x="334" y="429"/>
                    <a:pt x="334" y="346"/>
                  </a:cubicBezTo>
                  <a:lnTo>
                    <a:pt x="334" y="167"/>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7" name="Google Shape;12117;p61"/>
            <p:cNvSpPr/>
            <p:nvPr/>
          </p:nvSpPr>
          <p:spPr>
            <a:xfrm>
              <a:off x="6387280" y="1605835"/>
              <a:ext cx="10201" cy="16252"/>
            </a:xfrm>
            <a:custGeom>
              <a:avLst/>
              <a:gdLst/>
              <a:ahLst/>
              <a:cxnLst/>
              <a:rect l="l" t="t" r="r" b="b"/>
              <a:pathLst>
                <a:path w="322" h="513" extrusionOk="0">
                  <a:moveTo>
                    <a:pt x="167" y="0"/>
                  </a:moveTo>
                  <a:cubicBezTo>
                    <a:pt x="72" y="0"/>
                    <a:pt x="0" y="72"/>
                    <a:pt x="0" y="167"/>
                  </a:cubicBezTo>
                  <a:lnTo>
                    <a:pt x="0" y="346"/>
                  </a:lnTo>
                  <a:cubicBezTo>
                    <a:pt x="0" y="429"/>
                    <a:pt x="72" y="512"/>
                    <a:pt x="167" y="512"/>
                  </a:cubicBezTo>
                  <a:cubicBezTo>
                    <a:pt x="250" y="512"/>
                    <a:pt x="322" y="429"/>
                    <a:pt x="322" y="346"/>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8" name="Google Shape;12118;p61"/>
            <p:cNvSpPr/>
            <p:nvPr/>
          </p:nvSpPr>
          <p:spPr>
            <a:xfrm>
              <a:off x="6345779" y="1650725"/>
              <a:ext cx="32472" cy="10201"/>
            </a:xfrm>
            <a:custGeom>
              <a:avLst/>
              <a:gdLst/>
              <a:ahLst/>
              <a:cxnLst/>
              <a:rect l="l" t="t" r="r" b="b"/>
              <a:pathLst>
                <a:path w="1025" h="322" extrusionOk="0">
                  <a:moveTo>
                    <a:pt x="167" y="0"/>
                  </a:moveTo>
                  <a:cubicBezTo>
                    <a:pt x="72" y="0"/>
                    <a:pt x="0" y="72"/>
                    <a:pt x="0" y="167"/>
                  </a:cubicBezTo>
                  <a:cubicBezTo>
                    <a:pt x="0" y="250"/>
                    <a:pt x="72" y="322"/>
                    <a:pt x="167" y="322"/>
                  </a:cubicBezTo>
                  <a:lnTo>
                    <a:pt x="858" y="322"/>
                  </a:lnTo>
                  <a:cubicBezTo>
                    <a:pt x="953" y="322"/>
                    <a:pt x="1024" y="250"/>
                    <a:pt x="1024" y="167"/>
                  </a:cubicBezTo>
                  <a:cubicBezTo>
                    <a:pt x="1024" y="72"/>
                    <a:pt x="953" y="0"/>
                    <a:pt x="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9" name="Google Shape;12119;p61"/>
            <p:cNvSpPr/>
            <p:nvPr/>
          </p:nvSpPr>
          <p:spPr>
            <a:xfrm>
              <a:off x="6200938" y="1500594"/>
              <a:ext cx="322154" cy="355355"/>
            </a:xfrm>
            <a:custGeom>
              <a:avLst/>
              <a:gdLst/>
              <a:ahLst/>
              <a:cxnLst/>
              <a:rect l="l" t="t" r="r" b="b"/>
              <a:pathLst>
                <a:path w="10169" h="11217" extrusionOk="0">
                  <a:moveTo>
                    <a:pt x="5072" y="322"/>
                  </a:moveTo>
                  <a:cubicBezTo>
                    <a:pt x="5251" y="322"/>
                    <a:pt x="5442" y="334"/>
                    <a:pt x="5608" y="381"/>
                  </a:cubicBezTo>
                  <a:lnTo>
                    <a:pt x="5608" y="1727"/>
                  </a:lnTo>
                  <a:cubicBezTo>
                    <a:pt x="5608" y="1822"/>
                    <a:pt x="5680" y="1893"/>
                    <a:pt x="5775" y="1893"/>
                  </a:cubicBezTo>
                  <a:cubicBezTo>
                    <a:pt x="5858" y="1893"/>
                    <a:pt x="5942" y="1822"/>
                    <a:pt x="5942" y="1727"/>
                  </a:cubicBezTo>
                  <a:lnTo>
                    <a:pt x="5942" y="465"/>
                  </a:lnTo>
                  <a:cubicBezTo>
                    <a:pt x="6835" y="798"/>
                    <a:pt x="7466" y="1632"/>
                    <a:pt x="7525" y="2608"/>
                  </a:cubicBezTo>
                  <a:lnTo>
                    <a:pt x="5942" y="2608"/>
                  </a:lnTo>
                  <a:lnTo>
                    <a:pt x="5942" y="2417"/>
                  </a:lnTo>
                  <a:cubicBezTo>
                    <a:pt x="5942" y="2322"/>
                    <a:pt x="5858" y="2251"/>
                    <a:pt x="5775" y="2251"/>
                  </a:cubicBezTo>
                  <a:cubicBezTo>
                    <a:pt x="5680" y="2251"/>
                    <a:pt x="5608" y="2322"/>
                    <a:pt x="5608" y="2417"/>
                  </a:cubicBezTo>
                  <a:lnTo>
                    <a:pt x="5608" y="2608"/>
                  </a:lnTo>
                  <a:lnTo>
                    <a:pt x="4537" y="2608"/>
                  </a:lnTo>
                  <a:lnTo>
                    <a:pt x="4537" y="381"/>
                  </a:lnTo>
                  <a:cubicBezTo>
                    <a:pt x="4715" y="334"/>
                    <a:pt x="4894" y="322"/>
                    <a:pt x="5072" y="322"/>
                  </a:cubicBezTo>
                  <a:close/>
                  <a:moveTo>
                    <a:pt x="4215" y="477"/>
                  </a:moveTo>
                  <a:lnTo>
                    <a:pt x="4215" y="2620"/>
                  </a:lnTo>
                  <a:lnTo>
                    <a:pt x="2620" y="2620"/>
                  </a:lnTo>
                  <a:cubicBezTo>
                    <a:pt x="2679" y="1643"/>
                    <a:pt x="3322" y="810"/>
                    <a:pt x="4215" y="477"/>
                  </a:cubicBezTo>
                  <a:close/>
                  <a:moveTo>
                    <a:pt x="7204" y="2941"/>
                  </a:moveTo>
                  <a:lnTo>
                    <a:pt x="7204" y="4013"/>
                  </a:lnTo>
                  <a:cubicBezTo>
                    <a:pt x="7204" y="4072"/>
                    <a:pt x="7204" y="4132"/>
                    <a:pt x="7192" y="4203"/>
                  </a:cubicBezTo>
                  <a:lnTo>
                    <a:pt x="2965" y="4203"/>
                  </a:lnTo>
                  <a:cubicBezTo>
                    <a:pt x="2965" y="4144"/>
                    <a:pt x="2953" y="4084"/>
                    <a:pt x="2953" y="4013"/>
                  </a:cubicBezTo>
                  <a:lnTo>
                    <a:pt x="2953" y="3656"/>
                  </a:lnTo>
                  <a:cubicBezTo>
                    <a:pt x="2953" y="3560"/>
                    <a:pt x="2870" y="3489"/>
                    <a:pt x="2786" y="3489"/>
                  </a:cubicBezTo>
                  <a:cubicBezTo>
                    <a:pt x="2691" y="3489"/>
                    <a:pt x="2620" y="3560"/>
                    <a:pt x="2620" y="3656"/>
                  </a:cubicBezTo>
                  <a:lnTo>
                    <a:pt x="2620" y="4013"/>
                  </a:lnTo>
                  <a:lnTo>
                    <a:pt x="2620" y="4203"/>
                  </a:lnTo>
                  <a:lnTo>
                    <a:pt x="2441" y="4203"/>
                  </a:lnTo>
                  <a:cubicBezTo>
                    <a:pt x="2334" y="4203"/>
                    <a:pt x="2251" y="4108"/>
                    <a:pt x="2251" y="4013"/>
                  </a:cubicBezTo>
                  <a:lnTo>
                    <a:pt x="2251" y="3132"/>
                  </a:lnTo>
                  <a:cubicBezTo>
                    <a:pt x="2251" y="3025"/>
                    <a:pt x="2334" y="2941"/>
                    <a:pt x="2441" y="2941"/>
                  </a:cubicBezTo>
                  <a:lnTo>
                    <a:pt x="2632" y="2941"/>
                  </a:lnTo>
                  <a:lnTo>
                    <a:pt x="2632" y="2953"/>
                  </a:lnTo>
                  <a:cubicBezTo>
                    <a:pt x="2632" y="3036"/>
                    <a:pt x="2715" y="3120"/>
                    <a:pt x="2798" y="3120"/>
                  </a:cubicBezTo>
                  <a:cubicBezTo>
                    <a:pt x="2882" y="3120"/>
                    <a:pt x="2965" y="3036"/>
                    <a:pt x="2965" y="2953"/>
                  </a:cubicBezTo>
                  <a:lnTo>
                    <a:pt x="2965" y="2941"/>
                  </a:lnTo>
                  <a:close/>
                  <a:moveTo>
                    <a:pt x="7692" y="2953"/>
                  </a:moveTo>
                  <a:cubicBezTo>
                    <a:pt x="7811" y="2953"/>
                    <a:pt x="7894" y="3036"/>
                    <a:pt x="7894" y="3144"/>
                  </a:cubicBezTo>
                  <a:lnTo>
                    <a:pt x="7894" y="4025"/>
                  </a:lnTo>
                  <a:cubicBezTo>
                    <a:pt x="7894" y="4120"/>
                    <a:pt x="7799" y="4215"/>
                    <a:pt x="7692" y="4215"/>
                  </a:cubicBezTo>
                  <a:lnTo>
                    <a:pt x="7501" y="4215"/>
                  </a:lnTo>
                  <a:lnTo>
                    <a:pt x="7501" y="4025"/>
                  </a:lnTo>
                  <a:lnTo>
                    <a:pt x="7501" y="2953"/>
                  </a:lnTo>
                  <a:close/>
                  <a:moveTo>
                    <a:pt x="7513" y="4513"/>
                  </a:moveTo>
                  <a:lnTo>
                    <a:pt x="7418" y="5096"/>
                  </a:lnTo>
                  <a:cubicBezTo>
                    <a:pt x="7394" y="5180"/>
                    <a:pt x="7323" y="5239"/>
                    <a:pt x="7239" y="5239"/>
                  </a:cubicBezTo>
                  <a:lnTo>
                    <a:pt x="7192" y="5239"/>
                  </a:lnTo>
                  <a:cubicBezTo>
                    <a:pt x="7323" y="5025"/>
                    <a:pt x="7418" y="4763"/>
                    <a:pt x="7478" y="4513"/>
                  </a:cubicBezTo>
                  <a:close/>
                  <a:moveTo>
                    <a:pt x="3691" y="4525"/>
                  </a:moveTo>
                  <a:lnTo>
                    <a:pt x="3822" y="5263"/>
                  </a:lnTo>
                  <a:lnTo>
                    <a:pt x="3346" y="5263"/>
                  </a:lnTo>
                  <a:cubicBezTo>
                    <a:pt x="3203" y="5037"/>
                    <a:pt x="3084" y="4799"/>
                    <a:pt x="3013" y="4525"/>
                  </a:cubicBezTo>
                  <a:close/>
                  <a:moveTo>
                    <a:pt x="6108" y="4525"/>
                  </a:moveTo>
                  <a:lnTo>
                    <a:pt x="5965" y="5263"/>
                  </a:lnTo>
                  <a:lnTo>
                    <a:pt x="4168" y="5263"/>
                  </a:lnTo>
                  <a:lnTo>
                    <a:pt x="4037" y="4525"/>
                  </a:lnTo>
                  <a:close/>
                  <a:moveTo>
                    <a:pt x="7144" y="4525"/>
                  </a:moveTo>
                  <a:cubicBezTo>
                    <a:pt x="7073" y="4787"/>
                    <a:pt x="6966" y="5025"/>
                    <a:pt x="6823" y="5227"/>
                  </a:cubicBezTo>
                  <a:cubicBezTo>
                    <a:pt x="6823" y="5239"/>
                    <a:pt x="6799" y="5239"/>
                    <a:pt x="6799" y="5263"/>
                  </a:cubicBezTo>
                  <a:lnTo>
                    <a:pt x="6323" y="5263"/>
                  </a:lnTo>
                  <a:lnTo>
                    <a:pt x="6465" y="4525"/>
                  </a:lnTo>
                  <a:close/>
                  <a:moveTo>
                    <a:pt x="2691" y="4549"/>
                  </a:moveTo>
                  <a:cubicBezTo>
                    <a:pt x="2751" y="4799"/>
                    <a:pt x="2846" y="5049"/>
                    <a:pt x="2977" y="5275"/>
                  </a:cubicBezTo>
                  <a:lnTo>
                    <a:pt x="2917" y="5275"/>
                  </a:lnTo>
                  <a:lnTo>
                    <a:pt x="2917" y="5263"/>
                  </a:lnTo>
                  <a:cubicBezTo>
                    <a:pt x="2834" y="5263"/>
                    <a:pt x="2751" y="5203"/>
                    <a:pt x="2739" y="5108"/>
                  </a:cubicBezTo>
                  <a:lnTo>
                    <a:pt x="2655" y="4549"/>
                  </a:lnTo>
                  <a:close/>
                  <a:moveTo>
                    <a:pt x="3906" y="5584"/>
                  </a:moveTo>
                  <a:lnTo>
                    <a:pt x="3941" y="5811"/>
                  </a:lnTo>
                  <a:cubicBezTo>
                    <a:pt x="3846" y="5751"/>
                    <a:pt x="3739" y="5680"/>
                    <a:pt x="3644" y="5584"/>
                  </a:cubicBezTo>
                  <a:close/>
                  <a:moveTo>
                    <a:pt x="6501" y="5584"/>
                  </a:moveTo>
                  <a:cubicBezTo>
                    <a:pt x="6418" y="5680"/>
                    <a:pt x="6311" y="5739"/>
                    <a:pt x="6204" y="5811"/>
                  </a:cubicBezTo>
                  <a:lnTo>
                    <a:pt x="6251" y="5584"/>
                  </a:lnTo>
                  <a:close/>
                  <a:moveTo>
                    <a:pt x="5906" y="5584"/>
                  </a:moveTo>
                  <a:lnTo>
                    <a:pt x="5870" y="5834"/>
                  </a:lnTo>
                  <a:cubicBezTo>
                    <a:pt x="5834" y="6013"/>
                    <a:pt x="5692" y="6132"/>
                    <a:pt x="5513" y="6132"/>
                  </a:cubicBezTo>
                  <a:lnTo>
                    <a:pt x="4632" y="6132"/>
                  </a:lnTo>
                  <a:cubicBezTo>
                    <a:pt x="4453" y="6132"/>
                    <a:pt x="4299" y="6013"/>
                    <a:pt x="4275" y="5834"/>
                  </a:cubicBezTo>
                  <a:lnTo>
                    <a:pt x="4227" y="5584"/>
                  </a:lnTo>
                  <a:close/>
                  <a:moveTo>
                    <a:pt x="6132" y="6204"/>
                  </a:moveTo>
                  <a:lnTo>
                    <a:pt x="6132" y="6775"/>
                  </a:lnTo>
                  <a:cubicBezTo>
                    <a:pt x="6132" y="7073"/>
                    <a:pt x="6346" y="7358"/>
                    <a:pt x="6620" y="7442"/>
                  </a:cubicBezTo>
                  <a:lnTo>
                    <a:pt x="6704" y="7466"/>
                  </a:lnTo>
                  <a:cubicBezTo>
                    <a:pt x="6406" y="7859"/>
                    <a:pt x="5870" y="8442"/>
                    <a:pt x="5072" y="8751"/>
                  </a:cubicBezTo>
                  <a:cubicBezTo>
                    <a:pt x="4287" y="8442"/>
                    <a:pt x="3751" y="7859"/>
                    <a:pt x="3441" y="7466"/>
                  </a:cubicBezTo>
                  <a:lnTo>
                    <a:pt x="3513" y="7442"/>
                  </a:lnTo>
                  <a:cubicBezTo>
                    <a:pt x="3810" y="7358"/>
                    <a:pt x="4001" y="7085"/>
                    <a:pt x="4001" y="6775"/>
                  </a:cubicBezTo>
                  <a:lnTo>
                    <a:pt x="4001" y="6204"/>
                  </a:lnTo>
                  <a:cubicBezTo>
                    <a:pt x="4049" y="6239"/>
                    <a:pt x="4108" y="6251"/>
                    <a:pt x="4168" y="6287"/>
                  </a:cubicBezTo>
                  <a:lnTo>
                    <a:pt x="4179" y="6287"/>
                  </a:lnTo>
                  <a:cubicBezTo>
                    <a:pt x="4299" y="6382"/>
                    <a:pt x="4465" y="6454"/>
                    <a:pt x="4632" y="6454"/>
                  </a:cubicBezTo>
                  <a:lnTo>
                    <a:pt x="5513" y="6454"/>
                  </a:lnTo>
                  <a:cubicBezTo>
                    <a:pt x="5668" y="6454"/>
                    <a:pt x="5834" y="6394"/>
                    <a:pt x="5954" y="6287"/>
                  </a:cubicBezTo>
                  <a:cubicBezTo>
                    <a:pt x="6013" y="6251"/>
                    <a:pt x="6073" y="6239"/>
                    <a:pt x="6132" y="6204"/>
                  </a:cubicBezTo>
                  <a:close/>
                  <a:moveTo>
                    <a:pt x="8942" y="6632"/>
                  </a:moveTo>
                  <a:cubicBezTo>
                    <a:pt x="9442" y="6632"/>
                    <a:pt x="9835" y="7025"/>
                    <a:pt x="9835" y="7525"/>
                  </a:cubicBezTo>
                  <a:lnTo>
                    <a:pt x="9835" y="8751"/>
                  </a:lnTo>
                  <a:lnTo>
                    <a:pt x="9823" y="8751"/>
                  </a:lnTo>
                  <a:cubicBezTo>
                    <a:pt x="9823" y="9049"/>
                    <a:pt x="9585" y="9287"/>
                    <a:pt x="9287" y="9287"/>
                  </a:cubicBezTo>
                  <a:lnTo>
                    <a:pt x="8049" y="9287"/>
                  </a:lnTo>
                  <a:lnTo>
                    <a:pt x="8049" y="7061"/>
                  </a:lnTo>
                  <a:cubicBezTo>
                    <a:pt x="8109" y="7025"/>
                    <a:pt x="8168" y="7001"/>
                    <a:pt x="8216" y="6954"/>
                  </a:cubicBezTo>
                  <a:lnTo>
                    <a:pt x="8454" y="6775"/>
                  </a:lnTo>
                  <a:cubicBezTo>
                    <a:pt x="8573" y="6692"/>
                    <a:pt x="8716" y="6632"/>
                    <a:pt x="8882" y="6632"/>
                  </a:cubicBezTo>
                  <a:close/>
                  <a:moveTo>
                    <a:pt x="5072" y="0"/>
                  </a:moveTo>
                  <a:cubicBezTo>
                    <a:pt x="3572" y="0"/>
                    <a:pt x="2358" y="1179"/>
                    <a:pt x="2274" y="2667"/>
                  </a:cubicBezTo>
                  <a:cubicBezTo>
                    <a:pt x="2072" y="2739"/>
                    <a:pt x="1917" y="2929"/>
                    <a:pt x="1917" y="3156"/>
                  </a:cubicBezTo>
                  <a:lnTo>
                    <a:pt x="1917" y="4037"/>
                  </a:lnTo>
                  <a:cubicBezTo>
                    <a:pt x="1917" y="4275"/>
                    <a:pt x="2084" y="4465"/>
                    <a:pt x="2298" y="4525"/>
                  </a:cubicBezTo>
                  <a:lnTo>
                    <a:pt x="2394" y="5168"/>
                  </a:lnTo>
                  <a:cubicBezTo>
                    <a:pt x="2441" y="5418"/>
                    <a:pt x="2655" y="5596"/>
                    <a:pt x="2906" y="5596"/>
                  </a:cubicBezTo>
                  <a:lnTo>
                    <a:pt x="3191" y="5596"/>
                  </a:lnTo>
                  <a:cubicBezTo>
                    <a:pt x="3334" y="5763"/>
                    <a:pt x="3489" y="5906"/>
                    <a:pt x="3679" y="6049"/>
                  </a:cubicBezTo>
                  <a:lnTo>
                    <a:pt x="3679" y="6799"/>
                  </a:lnTo>
                  <a:cubicBezTo>
                    <a:pt x="3679" y="6966"/>
                    <a:pt x="3572" y="7097"/>
                    <a:pt x="3429" y="7144"/>
                  </a:cubicBezTo>
                  <a:lnTo>
                    <a:pt x="3263" y="7192"/>
                  </a:lnTo>
                  <a:cubicBezTo>
                    <a:pt x="3203" y="7097"/>
                    <a:pt x="3167" y="7049"/>
                    <a:pt x="3167" y="7025"/>
                  </a:cubicBezTo>
                  <a:cubicBezTo>
                    <a:pt x="3108" y="6906"/>
                    <a:pt x="2989" y="6846"/>
                    <a:pt x="2870" y="6846"/>
                  </a:cubicBezTo>
                  <a:lnTo>
                    <a:pt x="2572" y="6846"/>
                  </a:lnTo>
                  <a:cubicBezTo>
                    <a:pt x="2429" y="6846"/>
                    <a:pt x="2263" y="6799"/>
                    <a:pt x="2144" y="6704"/>
                  </a:cubicBezTo>
                  <a:lnTo>
                    <a:pt x="1905" y="6525"/>
                  </a:lnTo>
                  <a:cubicBezTo>
                    <a:pt x="1727" y="6394"/>
                    <a:pt x="1501" y="6311"/>
                    <a:pt x="1286" y="6311"/>
                  </a:cubicBezTo>
                  <a:lnTo>
                    <a:pt x="1227" y="6311"/>
                  </a:lnTo>
                  <a:cubicBezTo>
                    <a:pt x="548" y="6311"/>
                    <a:pt x="0" y="6870"/>
                    <a:pt x="0" y="7537"/>
                  </a:cubicBezTo>
                  <a:lnTo>
                    <a:pt x="0" y="8775"/>
                  </a:lnTo>
                  <a:cubicBezTo>
                    <a:pt x="0" y="9192"/>
                    <a:pt x="298" y="9549"/>
                    <a:pt x="703" y="9621"/>
                  </a:cubicBezTo>
                  <a:lnTo>
                    <a:pt x="703" y="11049"/>
                  </a:lnTo>
                  <a:cubicBezTo>
                    <a:pt x="703" y="11133"/>
                    <a:pt x="774" y="11216"/>
                    <a:pt x="870" y="11216"/>
                  </a:cubicBezTo>
                  <a:cubicBezTo>
                    <a:pt x="953" y="11216"/>
                    <a:pt x="1024" y="11133"/>
                    <a:pt x="1024" y="11049"/>
                  </a:cubicBezTo>
                  <a:lnTo>
                    <a:pt x="1024" y="9633"/>
                  </a:lnTo>
                  <a:lnTo>
                    <a:pt x="2096" y="9633"/>
                  </a:lnTo>
                  <a:lnTo>
                    <a:pt x="2096" y="11049"/>
                  </a:lnTo>
                  <a:cubicBezTo>
                    <a:pt x="2096" y="11133"/>
                    <a:pt x="2179" y="11216"/>
                    <a:pt x="2263" y="11216"/>
                  </a:cubicBezTo>
                  <a:cubicBezTo>
                    <a:pt x="2358" y="11216"/>
                    <a:pt x="2429" y="11133"/>
                    <a:pt x="2429" y="11049"/>
                  </a:cubicBezTo>
                  <a:lnTo>
                    <a:pt x="2429" y="9109"/>
                  </a:lnTo>
                  <a:cubicBezTo>
                    <a:pt x="2429" y="9025"/>
                    <a:pt x="2358" y="8954"/>
                    <a:pt x="2263" y="8954"/>
                  </a:cubicBezTo>
                  <a:cubicBezTo>
                    <a:pt x="2179" y="8954"/>
                    <a:pt x="2096" y="9025"/>
                    <a:pt x="2096" y="9109"/>
                  </a:cubicBezTo>
                  <a:lnTo>
                    <a:pt x="2096" y="9311"/>
                  </a:lnTo>
                  <a:lnTo>
                    <a:pt x="870" y="9311"/>
                  </a:lnTo>
                  <a:cubicBezTo>
                    <a:pt x="572" y="9311"/>
                    <a:pt x="334" y="9073"/>
                    <a:pt x="334" y="8775"/>
                  </a:cubicBezTo>
                  <a:lnTo>
                    <a:pt x="334" y="7537"/>
                  </a:lnTo>
                  <a:cubicBezTo>
                    <a:pt x="334" y="7049"/>
                    <a:pt x="727" y="6644"/>
                    <a:pt x="1227" y="6644"/>
                  </a:cubicBezTo>
                  <a:lnTo>
                    <a:pt x="1286" y="6644"/>
                  </a:lnTo>
                  <a:cubicBezTo>
                    <a:pt x="1429" y="6644"/>
                    <a:pt x="1596" y="6692"/>
                    <a:pt x="1715" y="6787"/>
                  </a:cubicBezTo>
                  <a:lnTo>
                    <a:pt x="1953" y="6966"/>
                  </a:lnTo>
                  <a:cubicBezTo>
                    <a:pt x="2013" y="7013"/>
                    <a:pt x="2060" y="7049"/>
                    <a:pt x="2120" y="7073"/>
                  </a:cubicBezTo>
                  <a:lnTo>
                    <a:pt x="2120" y="8418"/>
                  </a:lnTo>
                  <a:cubicBezTo>
                    <a:pt x="2120" y="8501"/>
                    <a:pt x="2191" y="8573"/>
                    <a:pt x="2274" y="8573"/>
                  </a:cubicBezTo>
                  <a:cubicBezTo>
                    <a:pt x="2370" y="8573"/>
                    <a:pt x="2441" y="8501"/>
                    <a:pt x="2441" y="8418"/>
                  </a:cubicBezTo>
                  <a:lnTo>
                    <a:pt x="2441" y="7168"/>
                  </a:lnTo>
                  <a:cubicBezTo>
                    <a:pt x="2489" y="7168"/>
                    <a:pt x="2536" y="7180"/>
                    <a:pt x="2572" y="7180"/>
                  </a:cubicBezTo>
                  <a:lnTo>
                    <a:pt x="2894" y="7180"/>
                  </a:lnTo>
                  <a:cubicBezTo>
                    <a:pt x="2917" y="7239"/>
                    <a:pt x="3608" y="8549"/>
                    <a:pt x="5037" y="9097"/>
                  </a:cubicBezTo>
                  <a:cubicBezTo>
                    <a:pt x="5055" y="9103"/>
                    <a:pt x="5072" y="9106"/>
                    <a:pt x="5092" y="9106"/>
                  </a:cubicBezTo>
                  <a:cubicBezTo>
                    <a:pt x="5111" y="9106"/>
                    <a:pt x="5132" y="9103"/>
                    <a:pt x="5156" y="9097"/>
                  </a:cubicBezTo>
                  <a:cubicBezTo>
                    <a:pt x="6596" y="8561"/>
                    <a:pt x="7275" y="7239"/>
                    <a:pt x="7299" y="7180"/>
                  </a:cubicBezTo>
                  <a:lnTo>
                    <a:pt x="7608" y="7180"/>
                  </a:lnTo>
                  <a:cubicBezTo>
                    <a:pt x="7656" y="7180"/>
                    <a:pt x="7692" y="7180"/>
                    <a:pt x="7739" y="7168"/>
                  </a:cubicBezTo>
                  <a:lnTo>
                    <a:pt x="7739" y="11049"/>
                  </a:lnTo>
                  <a:cubicBezTo>
                    <a:pt x="7739" y="11133"/>
                    <a:pt x="7811" y="11216"/>
                    <a:pt x="7906" y="11216"/>
                  </a:cubicBezTo>
                  <a:cubicBezTo>
                    <a:pt x="7989" y="11216"/>
                    <a:pt x="8073" y="11133"/>
                    <a:pt x="8073" y="11049"/>
                  </a:cubicBezTo>
                  <a:lnTo>
                    <a:pt x="8073" y="9633"/>
                  </a:lnTo>
                  <a:lnTo>
                    <a:pt x="9144" y="9633"/>
                  </a:lnTo>
                  <a:lnTo>
                    <a:pt x="9144" y="11049"/>
                  </a:lnTo>
                  <a:cubicBezTo>
                    <a:pt x="9144" y="11133"/>
                    <a:pt x="9216" y="11216"/>
                    <a:pt x="9299" y="11216"/>
                  </a:cubicBezTo>
                  <a:cubicBezTo>
                    <a:pt x="9394" y="11216"/>
                    <a:pt x="9466" y="11133"/>
                    <a:pt x="9466" y="11049"/>
                  </a:cubicBezTo>
                  <a:lnTo>
                    <a:pt x="9466" y="9621"/>
                  </a:lnTo>
                  <a:cubicBezTo>
                    <a:pt x="9871" y="9549"/>
                    <a:pt x="10168" y="9192"/>
                    <a:pt x="10168" y="8775"/>
                  </a:cubicBezTo>
                  <a:lnTo>
                    <a:pt x="10168" y="7537"/>
                  </a:lnTo>
                  <a:cubicBezTo>
                    <a:pt x="10156" y="6846"/>
                    <a:pt x="9621" y="6311"/>
                    <a:pt x="8930" y="6311"/>
                  </a:cubicBezTo>
                  <a:lnTo>
                    <a:pt x="8871" y="6311"/>
                  </a:lnTo>
                  <a:cubicBezTo>
                    <a:pt x="8644" y="6311"/>
                    <a:pt x="8418" y="6394"/>
                    <a:pt x="8240" y="6525"/>
                  </a:cubicBezTo>
                  <a:lnTo>
                    <a:pt x="8013" y="6704"/>
                  </a:lnTo>
                  <a:cubicBezTo>
                    <a:pt x="7894" y="6787"/>
                    <a:pt x="7739" y="6846"/>
                    <a:pt x="7573" y="6846"/>
                  </a:cubicBezTo>
                  <a:lnTo>
                    <a:pt x="7275" y="6846"/>
                  </a:lnTo>
                  <a:cubicBezTo>
                    <a:pt x="7144" y="6846"/>
                    <a:pt x="7037" y="6930"/>
                    <a:pt x="6977" y="7025"/>
                  </a:cubicBezTo>
                  <a:cubicBezTo>
                    <a:pt x="6977" y="7049"/>
                    <a:pt x="6954" y="7097"/>
                    <a:pt x="6894" y="7192"/>
                  </a:cubicBezTo>
                  <a:lnTo>
                    <a:pt x="6727" y="7144"/>
                  </a:lnTo>
                  <a:cubicBezTo>
                    <a:pt x="6585" y="7097"/>
                    <a:pt x="6477" y="6954"/>
                    <a:pt x="6477" y="6799"/>
                  </a:cubicBezTo>
                  <a:lnTo>
                    <a:pt x="6477" y="6049"/>
                  </a:lnTo>
                  <a:cubicBezTo>
                    <a:pt x="6656" y="5930"/>
                    <a:pt x="6823" y="5775"/>
                    <a:pt x="6966" y="5596"/>
                  </a:cubicBezTo>
                  <a:lnTo>
                    <a:pt x="7251" y="5596"/>
                  </a:lnTo>
                  <a:cubicBezTo>
                    <a:pt x="7501" y="5596"/>
                    <a:pt x="7716" y="5418"/>
                    <a:pt x="7751" y="5168"/>
                  </a:cubicBezTo>
                  <a:lnTo>
                    <a:pt x="7859" y="4525"/>
                  </a:lnTo>
                  <a:cubicBezTo>
                    <a:pt x="8073" y="4465"/>
                    <a:pt x="8228" y="4263"/>
                    <a:pt x="8228" y="4037"/>
                  </a:cubicBezTo>
                  <a:lnTo>
                    <a:pt x="8228" y="3156"/>
                  </a:lnTo>
                  <a:cubicBezTo>
                    <a:pt x="8228" y="2929"/>
                    <a:pt x="8085" y="2739"/>
                    <a:pt x="7870" y="2667"/>
                  </a:cubicBezTo>
                  <a:cubicBezTo>
                    <a:pt x="7799" y="1191"/>
                    <a:pt x="6585" y="0"/>
                    <a:pt x="5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0" name="Google Shape;12120;p61"/>
            <p:cNvSpPr/>
            <p:nvPr/>
          </p:nvSpPr>
          <p:spPr>
            <a:xfrm>
              <a:off x="6312199" y="1800445"/>
              <a:ext cx="99253" cy="54743"/>
            </a:xfrm>
            <a:custGeom>
              <a:avLst/>
              <a:gdLst/>
              <a:ahLst/>
              <a:cxnLst/>
              <a:rect l="l" t="t" r="r" b="b"/>
              <a:pathLst>
                <a:path w="3133" h="1728" extrusionOk="0">
                  <a:moveTo>
                    <a:pt x="1560" y="1"/>
                  </a:moveTo>
                  <a:cubicBezTo>
                    <a:pt x="703" y="1"/>
                    <a:pt x="1" y="703"/>
                    <a:pt x="1" y="1572"/>
                  </a:cubicBezTo>
                  <a:cubicBezTo>
                    <a:pt x="1" y="1656"/>
                    <a:pt x="72" y="1727"/>
                    <a:pt x="167" y="1727"/>
                  </a:cubicBezTo>
                  <a:cubicBezTo>
                    <a:pt x="251" y="1727"/>
                    <a:pt x="334" y="1656"/>
                    <a:pt x="334" y="1572"/>
                  </a:cubicBezTo>
                  <a:cubicBezTo>
                    <a:pt x="334" y="882"/>
                    <a:pt x="882" y="334"/>
                    <a:pt x="1560" y="334"/>
                  </a:cubicBezTo>
                  <a:cubicBezTo>
                    <a:pt x="2251" y="334"/>
                    <a:pt x="2799" y="882"/>
                    <a:pt x="2799" y="1572"/>
                  </a:cubicBezTo>
                  <a:cubicBezTo>
                    <a:pt x="2799" y="1656"/>
                    <a:pt x="2870" y="1727"/>
                    <a:pt x="2965" y="1727"/>
                  </a:cubicBezTo>
                  <a:cubicBezTo>
                    <a:pt x="3049" y="1727"/>
                    <a:pt x="3120" y="1656"/>
                    <a:pt x="3120" y="1572"/>
                  </a:cubicBezTo>
                  <a:cubicBezTo>
                    <a:pt x="3132" y="703"/>
                    <a:pt x="2430"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1" name="Google Shape;12121;p61"/>
          <p:cNvGrpSpPr/>
          <p:nvPr/>
        </p:nvGrpSpPr>
        <p:grpSpPr>
          <a:xfrm>
            <a:off x="5289631" y="1500214"/>
            <a:ext cx="332355" cy="354974"/>
            <a:chOff x="5289631" y="1500214"/>
            <a:chExt cx="332355" cy="354974"/>
          </a:xfrm>
        </p:grpSpPr>
        <p:sp>
          <p:nvSpPr>
            <p:cNvPr id="12122" name="Google Shape;12122;p61"/>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3" name="Google Shape;12123;p61"/>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4" name="Google Shape;12124;p61"/>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5" name="Google Shape;12125;p61"/>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6" name="Google Shape;12126;p61"/>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7" name="Google Shape;12127;p61"/>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28" name="Google Shape;12128;p61"/>
          <p:cNvGrpSpPr/>
          <p:nvPr/>
        </p:nvGrpSpPr>
        <p:grpSpPr>
          <a:xfrm>
            <a:off x="5748295" y="1499833"/>
            <a:ext cx="323294" cy="356115"/>
            <a:chOff x="5748295" y="1499833"/>
            <a:chExt cx="323294" cy="356115"/>
          </a:xfrm>
        </p:grpSpPr>
        <p:sp>
          <p:nvSpPr>
            <p:cNvPr id="12129" name="Google Shape;12129;p61"/>
            <p:cNvSpPr/>
            <p:nvPr/>
          </p:nvSpPr>
          <p:spPr>
            <a:xfrm>
              <a:off x="5871276" y="1611474"/>
              <a:ext cx="10581" cy="16252"/>
            </a:xfrm>
            <a:custGeom>
              <a:avLst/>
              <a:gdLst/>
              <a:ahLst/>
              <a:cxnLst/>
              <a:rect l="l" t="t" r="r" b="b"/>
              <a:pathLst>
                <a:path w="334" h="513" extrusionOk="0">
                  <a:moveTo>
                    <a:pt x="167" y="1"/>
                  </a:moveTo>
                  <a:cubicBezTo>
                    <a:pt x="84" y="1"/>
                    <a:pt x="0" y="72"/>
                    <a:pt x="0" y="168"/>
                  </a:cubicBezTo>
                  <a:lnTo>
                    <a:pt x="0" y="346"/>
                  </a:lnTo>
                  <a:cubicBezTo>
                    <a:pt x="0" y="429"/>
                    <a:pt x="84" y="513"/>
                    <a:pt x="167" y="513"/>
                  </a:cubicBezTo>
                  <a:cubicBezTo>
                    <a:pt x="250" y="513"/>
                    <a:pt x="334" y="429"/>
                    <a:pt x="334" y="346"/>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0" name="Google Shape;12130;p61"/>
            <p:cNvSpPr/>
            <p:nvPr/>
          </p:nvSpPr>
          <p:spPr>
            <a:xfrm>
              <a:off x="5938406" y="1611474"/>
              <a:ext cx="10233" cy="16252"/>
            </a:xfrm>
            <a:custGeom>
              <a:avLst/>
              <a:gdLst/>
              <a:ahLst/>
              <a:cxnLst/>
              <a:rect l="l" t="t" r="r" b="b"/>
              <a:pathLst>
                <a:path w="323" h="513" extrusionOk="0">
                  <a:moveTo>
                    <a:pt x="167" y="1"/>
                  </a:moveTo>
                  <a:cubicBezTo>
                    <a:pt x="72" y="1"/>
                    <a:pt x="1" y="72"/>
                    <a:pt x="1" y="168"/>
                  </a:cubicBezTo>
                  <a:lnTo>
                    <a:pt x="1" y="346"/>
                  </a:lnTo>
                  <a:cubicBezTo>
                    <a:pt x="1" y="429"/>
                    <a:pt x="72" y="513"/>
                    <a:pt x="167" y="513"/>
                  </a:cubicBezTo>
                  <a:cubicBezTo>
                    <a:pt x="251" y="513"/>
                    <a:pt x="322" y="429"/>
                    <a:pt x="322" y="346"/>
                  </a:cubicBez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1" name="Google Shape;12131;p61"/>
            <p:cNvSpPr/>
            <p:nvPr/>
          </p:nvSpPr>
          <p:spPr>
            <a:xfrm>
              <a:off x="5887116" y="1650820"/>
              <a:ext cx="45683" cy="15777"/>
            </a:xfrm>
            <a:custGeom>
              <a:avLst/>
              <a:gdLst/>
              <a:ahLst/>
              <a:cxnLst/>
              <a:rect l="l" t="t" r="r" b="b"/>
              <a:pathLst>
                <a:path w="1442" h="498" extrusionOk="0">
                  <a:moveTo>
                    <a:pt x="183" y="0"/>
                  </a:moveTo>
                  <a:cubicBezTo>
                    <a:pt x="140" y="0"/>
                    <a:pt x="96" y="15"/>
                    <a:pt x="60" y="45"/>
                  </a:cubicBezTo>
                  <a:cubicBezTo>
                    <a:pt x="0" y="104"/>
                    <a:pt x="0" y="199"/>
                    <a:pt x="60" y="283"/>
                  </a:cubicBezTo>
                  <a:cubicBezTo>
                    <a:pt x="203" y="414"/>
                    <a:pt x="441" y="497"/>
                    <a:pt x="691" y="497"/>
                  </a:cubicBezTo>
                  <a:cubicBezTo>
                    <a:pt x="965" y="497"/>
                    <a:pt x="1203" y="414"/>
                    <a:pt x="1334" y="283"/>
                  </a:cubicBezTo>
                  <a:cubicBezTo>
                    <a:pt x="1441" y="199"/>
                    <a:pt x="1441" y="104"/>
                    <a:pt x="1370" y="45"/>
                  </a:cubicBezTo>
                  <a:cubicBezTo>
                    <a:pt x="1340" y="15"/>
                    <a:pt x="1298" y="0"/>
                    <a:pt x="1255" y="0"/>
                  </a:cubicBezTo>
                  <a:cubicBezTo>
                    <a:pt x="1212" y="0"/>
                    <a:pt x="1167" y="15"/>
                    <a:pt x="1131" y="45"/>
                  </a:cubicBezTo>
                  <a:cubicBezTo>
                    <a:pt x="1072" y="104"/>
                    <a:pt x="917" y="176"/>
                    <a:pt x="715" y="176"/>
                  </a:cubicBezTo>
                  <a:cubicBezTo>
                    <a:pt x="500" y="176"/>
                    <a:pt x="358" y="104"/>
                    <a:pt x="298" y="45"/>
                  </a:cubicBezTo>
                  <a:cubicBezTo>
                    <a:pt x="268" y="15"/>
                    <a:pt x="227"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2" name="Google Shape;12132;p61"/>
            <p:cNvSpPr/>
            <p:nvPr/>
          </p:nvSpPr>
          <p:spPr>
            <a:xfrm>
              <a:off x="5748295" y="1499833"/>
              <a:ext cx="323294" cy="355355"/>
            </a:xfrm>
            <a:custGeom>
              <a:avLst/>
              <a:gdLst/>
              <a:ahLst/>
              <a:cxnLst/>
              <a:rect l="l" t="t" r="r" b="b"/>
              <a:pathLst>
                <a:path w="10205" h="11217" extrusionOk="0">
                  <a:moveTo>
                    <a:pt x="7026" y="334"/>
                  </a:moveTo>
                  <a:cubicBezTo>
                    <a:pt x="7323" y="334"/>
                    <a:pt x="7561" y="572"/>
                    <a:pt x="7561" y="870"/>
                  </a:cubicBezTo>
                  <a:lnTo>
                    <a:pt x="7561" y="3346"/>
                  </a:lnTo>
                  <a:lnTo>
                    <a:pt x="7371" y="3346"/>
                  </a:lnTo>
                  <a:cubicBezTo>
                    <a:pt x="7264" y="3346"/>
                    <a:pt x="7180" y="3251"/>
                    <a:pt x="7180" y="3156"/>
                  </a:cubicBezTo>
                  <a:lnTo>
                    <a:pt x="7180" y="2632"/>
                  </a:lnTo>
                  <a:cubicBezTo>
                    <a:pt x="7180" y="2156"/>
                    <a:pt x="6787" y="1763"/>
                    <a:pt x="6311" y="1763"/>
                  </a:cubicBezTo>
                  <a:lnTo>
                    <a:pt x="4561" y="1763"/>
                  </a:lnTo>
                  <a:cubicBezTo>
                    <a:pt x="4466" y="1763"/>
                    <a:pt x="4394" y="1846"/>
                    <a:pt x="4394" y="1929"/>
                  </a:cubicBezTo>
                  <a:cubicBezTo>
                    <a:pt x="4394" y="2025"/>
                    <a:pt x="4466" y="2096"/>
                    <a:pt x="4561" y="2096"/>
                  </a:cubicBezTo>
                  <a:lnTo>
                    <a:pt x="6311" y="2096"/>
                  </a:lnTo>
                  <a:cubicBezTo>
                    <a:pt x="6609" y="2096"/>
                    <a:pt x="6847" y="2334"/>
                    <a:pt x="6847" y="2632"/>
                  </a:cubicBezTo>
                  <a:lnTo>
                    <a:pt x="6847" y="3156"/>
                  </a:lnTo>
                  <a:cubicBezTo>
                    <a:pt x="6847" y="3441"/>
                    <a:pt x="7085" y="3680"/>
                    <a:pt x="7371" y="3680"/>
                  </a:cubicBezTo>
                  <a:lnTo>
                    <a:pt x="7633" y="3680"/>
                  </a:lnTo>
                  <a:cubicBezTo>
                    <a:pt x="7704" y="3680"/>
                    <a:pt x="7788" y="3703"/>
                    <a:pt x="7847" y="3763"/>
                  </a:cubicBezTo>
                  <a:cubicBezTo>
                    <a:pt x="7907" y="3822"/>
                    <a:pt x="7919" y="3894"/>
                    <a:pt x="7919" y="3977"/>
                  </a:cubicBezTo>
                  <a:cubicBezTo>
                    <a:pt x="7907" y="4108"/>
                    <a:pt x="7776" y="4227"/>
                    <a:pt x="7621" y="4227"/>
                  </a:cubicBezTo>
                  <a:lnTo>
                    <a:pt x="7549" y="4227"/>
                  </a:lnTo>
                  <a:lnTo>
                    <a:pt x="7549" y="4215"/>
                  </a:lnTo>
                  <a:cubicBezTo>
                    <a:pt x="7549" y="4120"/>
                    <a:pt x="7478" y="4049"/>
                    <a:pt x="7383" y="4049"/>
                  </a:cubicBezTo>
                  <a:cubicBezTo>
                    <a:pt x="7299" y="4049"/>
                    <a:pt x="7216" y="4120"/>
                    <a:pt x="7216" y="4215"/>
                  </a:cubicBezTo>
                  <a:cubicBezTo>
                    <a:pt x="7216" y="5370"/>
                    <a:pt x="6264" y="6323"/>
                    <a:pt x="5109" y="6323"/>
                  </a:cubicBezTo>
                  <a:cubicBezTo>
                    <a:pt x="5101" y="6323"/>
                    <a:pt x="5094" y="6323"/>
                    <a:pt x="5087" y="6323"/>
                  </a:cubicBezTo>
                  <a:cubicBezTo>
                    <a:pt x="3930" y="6323"/>
                    <a:pt x="2989" y="5375"/>
                    <a:pt x="2989" y="4215"/>
                  </a:cubicBezTo>
                  <a:cubicBezTo>
                    <a:pt x="2989" y="4120"/>
                    <a:pt x="2918" y="4049"/>
                    <a:pt x="2835" y="4049"/>
                  </a:cubicBezTo>
                  <a:cubicBezTo>
                    <a:pt x="2739" y="4049"/>
                    <a:pt x="2668" y="4120"/>
                    <a:pt x="2668" y="4215"/>
                  </a:cubicBezTo>
                  <a:lnTo>
                    <a:pt x="2668" y="4227"/>
                  </a:lnTo>
                  <a:lnTo>
                    <a:pt x="2561" y="4227"/>
                  </a:lnTo>
                  <a:cubicBezTo>
                    <a:pt x="2489" y="4227"/>
                    <a:pt x="2418" y="4192"/>
                    <a:pt x="2358" y="4132"/>
                  </a:cubicBezTo>
                  <a:cubicBezTo>
                    <a:pt x="2299" y="4073"/>
                    <a:pt x="2275" y="4001"/>
                    <a:pt x="2275" y="3930"/>
                  </a:cubicBezTo>
                  <a:cubicBezTo>
                    <a:pt x="2299" y="3799"/>
                    <a:pt x="2430" y="3680"/>
                    <a:pt x="2573" y="3680"/>
                  </a:cubicBezTo>
                  <a:lnTo>
                    <a:pt x="2811" y="3680"/>
                  </a:lnTo>
                  <a:cubicBezTo>
                    <a:pt x="3097" y="3680"/>
                    <a:pt x="3335" y="3441"/>
                    <a:pt x="3335" y="3156"/>
                  </a:cubicBezTo>
                  <a:lnTo>
                    <a:pt x="3335" y="2632"/>
                  </a:lnTo>
                  <a:cubicBezTo>
                    <a:pt x="3335" y="2334"/>
                    <a:pt x="3573" y="2096"/>
                    <a:pt x="3870" y="2096"/>
                  </a:cubicBezTo>
                  <a:cubicBezTo>
                    <a:pt x="3954" y="2096"/>
                    <a:pt x="4037" y="2025"/>
                    <a:pt x="4037" y="1929"/>
                  </a:cubicBezTo>
                  <a:cubicBezTo>
                    <a:pt x="4037" y="1846"/>
                    <a:pt x="3954" y="1763"/>
                    <a:pt x="3870" y="1763"/>
                  </a:cubicBezTo>
                  <a:cubicBezTo>
                    <a:pt x="3394" y="1763"/>
                    <a:pt x="3013" y="2156"/>
                    <a:pt x="3013" y="2632"/>
                  </a:cubicBezTo>
                  <a:lnTo>
                    <a:pt x="3013" y="3156"/>
                  </a:lnTo>
                  <a:cubicBezTo>
                    <a:pt x="3013" y="3251"/>
                    <a:pt x="2918" y="3346"/>
                    <a:pt x="2811" y="3346"/>
                  </a:cubicBezTo>
                  <a:lnTo>
                    <a:pt x="2620" y="3346"/>
                  </a:lnTo>
                  <a:lnTo>
                    <a:pt x="2620" y="870"/>
                  </a:lnTo>
                  <a:cubicBezTo>
                    <a:pt x="2620" y="572"/>
                    <a:pt x="2858" y="334"/>
                    <a:pt x="3156" y="334"/>
                  </a:cubicBezTo>
                  <a:close/>
                  <a:moveTo>
                    <a:pt x="6549" y="6204"/>
                  </a:moveTo>
                  <a:lnTo>
                    <a:pt x="6549" y="6632"/>
                  </a:lnTo>
                  <a:cubicBezTo>
                    <a:pt x="6549" y="6811"/>
                    <a:pt x="6621" y="6990"/>
                    <a:pt x="6764" y="7121"/>
                  </a:cubicBezTo>
                  <a:lnTo>
                    <a:pt x="7085" y="7454"/>
                  </a:lnTo>
                  <a:lnTo>
                    <a:pt x="7085" y="8085"/>
                  </a:lnTo>
                  <a:lnTo>
                    <a:pt x="7061" y="8085"/>
                  </a:lnTo>
                  <a:cubicBezTo>
                    <a:pt x="7061" y="9097"/>
                    <a:pt x="6264" y="9930"/>
                    <a:pt x="5287" y="10014"/>
                  </a:cubicBezTo>
                  <a:lnTo>
                    <a:pt x="5287" y="9835"/>
                  </a:lnTo>
                  <a:cubicBezTo>
                    <a:pt x="5287" y="9752"/>
                    <a:pt x="5204" y="9668"/>
                    <a:pt x="5121" y="9668"/>
                  </a:cubicBezTo>
                  <a:cubicBezTo>
                    <a:pt x="5037" y="9668"/>
                    <a:pt x="4954" y="9752"/>
                    <a:pt x="4954" y="9835"/>
                  </a:cubicBezTo>
                  <a:lnTo>
                    <a:pt x="4954" y="10014"/>
                  </a:lnTo>
                  <a:cubicBezTo>
                    <a:pt x="3966" y="9930"/>
                    <a:pt x="3192" y="9097"/>
                    <a:pt x="3192" y="8085"/>
                  </a:cubicBezTo>
                  <a:lnTo>
                    <a:pt x="3192" y="7442"/>
                  </a:lnTo>
                  <a:lnTo>
                    <a:pt x="3513" y="7109"/>
                  </a:lnTo>
                  <a:cubicBezTo>
                    <a:pt x="3644" y="6978"/>
                    <a:pt x="3728" y="6811"/>
                    <a:pt x="3728" y="6620"/>
                  </a:cubicBezTo>
                  <a:lnTo>
                    <a:pt x="3728" y="6204"/>
                  </a:lnTo>
                  <a:cubicBezTo>
                    <a:pt x="4120" y="6489"/>
                    <a:pt x="4621" y="6668"/>
                    <a:pt x="5132" y="6668"/>
                  </a:cubicBezTo>
                  <a:cubicBezTo>
                    <a:pt x="5668" y="6668"/>
                    <a:pt x="6145" y="6501"/>
                    <a:pt x="6549" y="6204"/>
                  </a:cubicBezTo>
                  <a:close/>
                  <a:moveTo>
                    <a:pt x="3168" y="1"/>
                  </a:moveTo>
                  <a:cubicBezTo>
                    <a:pt x="2692" y="1"/>
                    <a:pt x="2311" y="382"/>
                    <a:pt x="2311" y="858"/>
                  </a:cubicBezTo>
                  <a:lnTo>
                    <a:pt x="2311" y="3394"/>
                  </a:lnTo>
                  <a:cubicBezTo>
                    <a:pt x="2120" y="3477"/>
                    <a:pt x="1977" y="3656"/>
                    <a:pt x="1965" y="3870"/>
                  </a:cubicBezTo>
                  <a:cubicBezTo>
                    <a:pt x="1954" y="4037"/>
                    <a:pt x="2013" y="4215"/>
                    <a:pt x="2120" y="4334"/>
                  </a:cubicBezTo>
                  <a:cubicBezTo>
                    <a:pt x="2239" y="4454"/>
                    <a:pt x="2394" y="4525"/>
                    <a:pt x="2561" y="4525"/>
                  </a:cubicBezTo>
                  <a:lnTo>
                    <a:pt x="2680" y="4525"/>
                  </a:lnTo>
                  <a:cubicBezTo>
                    <a:pt x="2751" y="5049"/>
                    <a:pt x="2989" y="5525"/>
                    <a:pt x="3347" y="5894"/>
                  </a:cubicBezTo>
                  <a:lnTo>
                    <a:pt x="3347" y="6609"/>
                  </a:lnTo>
                  <a:cubicBezTo>
                    <a:pt x="3347" y="6716"/>
                    <a:pt x="3311" y="6799"/>
                    <a:pt x="3251" y="6859"/>
                  </a:cubicBezTo>
                  <a:lnTo>
                    <a:pt x="2632" y="7466"/>
                  </a:lnTo>
                  <a:cubicBezTo>
                    <a:pt x="2573" y="7525"/>
                    <a:pt x="2513" y="7561"/>
                    <a:pt x="2442" y="7573"/>
                  </a:cubicBezTo>
                  <a:lnTo>
                    <a:pt x="1299" y="7787"/>
                  </a:lnTo>
                  <a:cubicBezTo>
                    <a:pt x="549" y="7918"/>
                    <a:pt x="1" y="8573"/>
                    <a:pt x="1" y="9335"/>
                  </a:cubicBezTo>
                  <a:lnTo>
                    <a:pt x="1" y="11038"/>
                  </a:lnTo>
                  <a:cubicBezTo>
                    <a:pt x="1" y="11133"/>
                    <a:pt x="72" y="11204"/>
                    <a:pt x="168" y="11204"/>
                  </a:cubicBezTo>
                  <a:cubicBezTo>
                    <a:pt x="251" y="11204"/>
                    <a:pt x="334" y="11133"/>
                    <a:pt x="334" y="11038"/>
                  </a:cubicBezTo>
                  <a:lnTo>
                    <a:pt x="334" y="9335"/>
                  </a:lnTo>
                  <a:cubicBezTo>
                    <a:pt x="334" y="8740"/>
                    <a:pt x="763" y="8216"/>
                    <a:pt x="1358" y="8109"/>
                  </a:cubicBezTo>
                  <a:lnTo>
                    <a:pt x="2120" y="7978"/>
                  </a:lnTo>
                  <a:lnTo>
                    <a:pt x="2120" y="11061"/>
                  </a:lnTo>
                  <a:cubicBezTo>
                    <a:pt x="2120" y="11145"/>
                    <a:pt x="2192" y="11216"/>
                    <a:pt x="2275" y="11216"/>
                  </a:cubicBezTo>
                  <a:cubicBezTo>
                    <a:pt x="2370" y="11216"/>
                    <a:pt x="2442" y="11145"/>
                    <a:pt x="2442" y="11061"/>
                  </a:cubicBezTo>
                  <a:lnTo>
                    <a:pt x="2442" y="7918"/>
                  </a:lnTo>
                  <a:lnTo>
                    <a:pt x="2501" y="7894"/>
                  </a:lnTo>
                  <a:cubicBezTo>
                    <a:pt x="2620" y="7883"/>
                    <a:pt x="2727" y="7823"/>
                    <a:pt x="2835" y="7752"/>
                  </a:cubicBezTo>
                  <a:lnTo>
                    <a:pt x="2835" y="8061"/>
                  </a:lnTo>
                  <a:cubicBezTo>
                    <a:pt x="2835" y="9311"/>
                    <a:pt x="3847" y="10347"/>
                    <a:pt x="5109" y="10347"/>
                  </a:cubicBezTo>
                  <a:cubicBezTo>
                    <a:pt x="6359" y="10347"/>
                    <a:pt x="7383" y="9335"/>
                    <a:pt x="7383" y="8061"/>
                  </a:cubicBezTo>
                  <a:lnTo>
                    <a:pt x="7383" y="7752"/>
                  </a:lnTo>
                  <a:cubicBezTo>
                    <a:pt x="7478" y="7823"/>
                    <a:pt x="7597" y="7883"/>
                    <a:pt x="7716" y="7894"/>
                  </a:cubicBezTo>
                  <a:lnTo>
                    <a:pt x="7776" y="7918"/>
                  </a:lnTo>
                  <a:lnTo>
                    <a:pt x="7776" y="8240"/>
                  </a:lnTo>
                  <a:cubicBezTo>
                    <a:pt x="7776" y="8335"/>
                    <a:pt x="7847" y="8406"/>
                    <a:pt x="7930" y="8406"/>
                  </a:cubicBezTo>
                  <a:cubicBezTo>
                    <a:pt x="8026" y="8406"/>
                    <a:pt x="8097" y="8335"/>
                    <a:pt x="8097" y="8240"/>
                  </a:cubicBezTo>
                  <a:lnTo>
                    <a:pt x="8097" y="7978"/>
                  </a:lnTo>
                  <a:lnTo>
                    <a:pt x="8859" y="8109"/>
                  </a:lnTo>
                  <a:cubicBezTo>
                    <a:pt x="9454" y="8216"/>
                    <a:pt x="9883" y="8728"/>
                    <a:pt x="9883" y="9323"/>
                  </a:cubicBezTo>
                  <a:lnTo>
                    <a:pt x="9883" y="11038"/>
                  </a:lnTo>
                  <a:cubicBezTo>
                    <a:pt x="9883" y="11133"/>
                    <a:pt x="9955" y="11204"/>
                    <a:pt x="10050" y="11204"/>
                  </a:cubicBezTo>
                  <a:cubicBezTo>
                    <a:pt x="10133" y="11204"/>
                    <a:pt x="10205" y="11133"/>
                    <a:pt x="10205" y="11038"/>
                  </a:cubicBezTo>
                  <a:lnTo>
                    <a:pt x="10205" y="9323"/>
                  </a:lnTo>
                  <a:cubicBezTo>
                    <a:pt x="10181" y="8585"/>
                    <a:pt x="9645" y="7930"/>
                    <a:pt x="8907" y="7799"/>
                  </a:cubicBezTo>
                  <a:lnTo>
                    <a:pt x="7752" y="7585"/>
                  </a:lnTo>
                  <a:cubicBezTo>
                    <a:pt x="7680" y="7573"/>
                    <a:pt x="7621" y="7549"/>
                    <a:pt x="7561" y="7490"/>
                  </a:cubicBezTo>
                  <a:lnTo>
                    <a:pt x="6954" y="6870"/>
                  </a:lnTo>
                  <a:cubicBezTo>
                    <a:pt x="6883" y="6799"/>
                    <a:pt x="6847" y="6716"/>
                    <a:pt x="6847" y="6620"/>
                  </a:cubicBezTo>
                  <a:lnTo>
                    <a:pt x="6847" y="5906"/>
                  </a:lnTo>
                  <a:cubicBezTo>
                    <a:pt x="7204" y="5549"/>
                    <a:pt x="7442" y="5073"/>
                    <a:pt x="7514" y="4537"/>
                  </a:cubicBezTo>
                  <a:lnTo>
                    <a:pt x="7621" y="4537"/>
                  </a:lnTo>
                  <a:cubicBezTo>
                    <a:pt x="7954" y="4537"/>
                    <a:pt x="8216" y="4299"/>
                    <a:pt x="8252" y="4001"/>
                  </a:cubicBezTo>
                  <a:cubicBezTo>
                    <a:pt x="8264" y="3834"/>
                    <a:pt x="8204" y="3656"/>
                    <a:pt x="8097" y="3537"/>
                  </a:cubicBezTo>
                  <a:cubicBezTo>
                    <a:pt x="8038" y="3477"/>
                    <a:pt x="7978" y="3441"/>
                    <a:pt x="7907" y="3394"/>
                  </a:cubicBezTo>
                  <a:lnTo>
                    <a:pt x="7907" y="858"/>
                  </a:lnTo>
                  <a:cubicBezTo>
                    <a:pt x="7907" y="382"/>
                    <a:pt x="7514"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3" name="Google Shape;12133;p61"/>
            <p:cNvSpPr/>
            <p:nvPr/>
          </p:nvSpPr>
          <p:spPr>
            <a:xfrm>
              <a:off x="5865225" y="1594842"/>
              <a:ext cx="22683" cy="12894"/>
            </a:xfrm>
            <a:custGeom>
              <a:avLst/>
              <a:gdLst/>
              <a:ahLst/>
              <a:cxnLst/>
              <a:rect l="l" t="t" r="r" b="b"/>
              <a:pathLst>
                <a:path w="716" h="407" extrusionOk="0">
                  <a:moveTo>
                    <a:pt x="191" y="0"/>
                  </a:moveTo>
                  <a:cubicBezTo>
                    <a:pt x="104" y="0"/>
                    <a:pt x="24" y="58"/>
                    <a:pt x="13" y="145"/>
                  </a:cubicBezTo>
                  <a:cubicBezTo>
                    <a:pt x="1" y="228"/>
                    <a:pt x="60" y="323"/>
                    <a:pt x="156" y="335"/>
                  </a:cubicBezTo>
                  <a:lnTo>
                    <a:pt x="513" y="407"/>
                  </a:lnTo>
                  <a:lnTo>
                    <a:pt x="537" y="407"/>
                  </a:lnTo>
                  <a:cubicBezTo>
                    <a:pt x="608" y="407"/>
                    <a:pt x="691" y="347"/>
                    <a:pt x="703" y="276"/>
                  </a:cubicBezTo>
                  <a:cubicBezTo>
                    <a:pt x="715" y="181"/>
                    <a:pt x="656" y="97"/>
                    <a:pt x="572" y="85"/>
                  </a:cubicBezTo>
                  <a:lnTo>
                    <a:pt x="215" y="2"/>
                  </a:lnTo>
                  <a:cubicBezTo>
                    <a:pt x="207" y="1"/>
                    <a:pt x="199"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4" name="Google Shape;12134;p61"/>
            <p:cNvSpPr/>
            <p:nvPr/>
          </p:nvSpPr>
          <p:spPr>
            <a:xfrm>
              <a:off x="5931627" y="1594462"/>
              <a:ext cx="23412" cy="12894"/>
            </a:xfrm>
            <a:custGeom>
              <a:avLst/>
              <a:gdLst/>
              <a:ahLst/>
              <a:cxnLst/>
              <a:rect l="l" t="t" r="r" b="b"/>
              <a:pathLst>
                <a:path w="739" h="407" extrusionOk="0">
                  <a:moveTo>
                    <a:pt x="534" y="1"/>
                  </a:moveTo>
                  <a:cubicBezTo>
                    <a:pt x="527" y="1"/>
                    <a:pt x="519" y="1"/>
                    <a:pt x="512" y="2"/>
                  </a:cubicBezTo>
                  <a:lnTo>
                    <a:pt x="155" y="73"/>
                  </a:lnTo>
                  <a:cubicBezTo>
                    <a:pt x="60" y="97"/>
                    <a:pt x="0" y="181"/>
                    <a:pt x="12" y="276"/>
                  </a:cubicBezTo>
                  <a:cubicBezTo>
                    <a:pt x="36" y="347"/>
                    <a:pt x="107" y="407"/>
                    <a:pt x="179" y="407"/>
                  </a:cubicBezTo>
                  <a:lnTo>
                    <a:pt x="215" y="407"/>
                  </a:lnTo>
                  <a:lnTo>
                    <a:pt x="572" y="335"/>
                  </a:lnTo>
                  <a:cubicBezTo>
                    <a:pt x="679" y="312"/>
                    <a:pt x="739" y="228"/>
                    <a:pt x="703" y="133"/>
                  </a:cubicBezTo>
                  <a:cubicBezTo>
                    <a:pt x="692" y="57"/>
                    <a:pt x="611"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5" name="Google Shape;12135;p61"/>
            <p:cNvSpPr/>
            <p:nvPr/>
          </p:nvSpPr>
          <p:spPr>
            <a:xfrm>
              <a:off x="5993846" y="1778586"/>
              <a:ext cx="10613" cy="77363"/>
            </a:xfrm>
            <a:custGeom>
              <a:avLst/>
              <a:gdLst/>
              <a:ahLst/>
              <a:cxnLst/>
              <a:rect l="l" t="t" r="r" b="b"/>
              <a:pathLst>
                <a:path w="335" h="2442" extrusionOk="0">
                  <a:moveTo>
                    <a:pt x="168" y="0"/>
                  </a:moveTo>
                  <a:cubicBezTo>
                    <a:pt x="84" y="0"/>
                    <a:pt x="1" y="72"/>
                    <a:pt x="1" y="155"/>
                  </a:cubicBezTo>
                  <a:lnTo>
                    <a:pt x="1" y="2274"/>
                  </a:lnTo>
                  <a:cubicBezTo>
                    <a:pt x="1" y="2358"/>
                    <a:pt x="84" y="2441"/>
                    <a:pt x="168" y="2441"/>
                  </a:cubicBezTo>
                  <a:cubicBezTo>
                    <a:pt x="251" y="2441"/>
                    <a:pt x="334" y="2358"/>
                    <a:pt x="334" y="2274"/>
                  </a:cubicBezTo>
                  <a:lnTo>
                    <a:pt x="334" y="155"/>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36" name="Google Shape;12136;p61"/>
          <p:cNvGrpSpPr/>
          <p:nvPr/>
        </p:nvGrpSpPr>
        <p:grpSpPr>
          <a:xfrm>
            <a:off x="8047661" y="1501037"/>
            <a:ext cx="278404" cy="355260"/>
            <a:chOff x="8047661" y="1501037"/>
            <a:chExt cx="278404" cy="355260"/>
          </a:xfrm>
        </p:grpSpPr>
        <p:sp>
          <p:nvSpPr>
            <p:cNvPr id="12137" name="Google Shape;12137;p61"/>
            <p:cNvSpPr/>
            <p:nvPr/>
          </p:nvSpPr>
          <p:spPr>
            <a:xfrm>
              <a:off x="8147611" y="1622815"/>
              <a:ext cx="10581" cy="16220"/>
            </a:xfrm>
            <a:custGeom>
              <a:avLst/>
              <a:gdLst/>
              <a:ahLst/>
              <a:cxnLst/>
              <a:rect l="l" t="t" r="r" b="b"/>
              <a:pathLst>
                <a:path w="334" h="512" extrusionOk="0">
                  <a:moveTo>
                    <a:pt x="167" y="0"/>
                  </a:moveTo>
                  <a:cubicBezTo>
                    <a:pt x="84" y="0"/>
                    <a:pt x="1" y="71"/>
                    <a:pt x="1" y="167"/>
                  </a:cubicBezTo>
                  <a:lnTo>
                    <a:pt x="1" y="345"/>
                  </a:lnTo>
                  <a:cubicBezTo>
                    <a:pt x="1" y="429"/>
                    <a:pt x="84" y="512"/>
                    <a:pt x="167" y="512"/>
                  </a:cubicBezTo>
                  <a:cubicBezTo>
                    <a:pt x="251" y="512"/>
                    <a:pt x="334" y="429"/>
                    <a:pt x="334" y="345"/>
                  </a:cubicBezTo>
                  <a:lnTo>
                    <a:pt x="334" y="167"/>
                  </a:lnTo>
                  <a:cubicBezTo>
                    <a:pt x="334"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8" name="Google Shape;12138;p61"/>
            <p:cNvSpPr/>
            <p:nvPr/>
          </p:nvSpPr>
          <p:spPr>
            <a:xfrm>
              <a:off x="8214741" y="1622815"/>
              <a:ext cx="10233" cy="16220"/>
            </a:xfrm>
            <a:custGeom>
              <a:avLst/>
              <a:gdLst/>
              <a:ahLst/>
              <a:cxnLst/>
              <a:rect l="l" t="t" r="r" b="b"/>
              <a:pathLst>
                <a:path w="323" h="512" extrusionOk="0">
                  <a:moveTo>
                    <a:pt x="168" y="0"/>
                  </a:moveTo>
                  <a:cubicBezTo>
                    <a:pt x="72" y="0"/>
                    <a:pt x="1" y="71"/>
                    <a:pt x="1" y="167"/>
                  </a:cubicBezTo>
                  <a:lnTo>
                    <a:pt x="1" y="345"/>
                  </a:lnTo>
                  <a:cubicBezTo>
                    <a:pt x="1" y="429"/>
                    <a:pt x="72" y="512"/>
                    <a:pt x="168" y="512"/>
                  </a:cubicBezTo>
                  <a:cubicBezTo>
                    <a:pt x="251" y="512"/>
                    <a:pt x="322" y="429"/>
                    <a:pt x="322" y="345"/>
                  </a:cubicBezTo>
                  <a:lnTo>
                    <a:pt x="322" y="167"/>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9" name="Google Shape;12139;p61"/>
            <p:cNvSpPr/>
            <p:nvPr/>
          </p:nvSpPr>
          <p:spPr>
            <a:xfrm>
              <a:off x="8163451" y="1661370"/>
              <a:ext cx="45302" cy="16157"/>
            </a:xfrm>
            <a:custGeom>
              <a:avLst/>
              <a:gdLst/>
              <a:ahLst/>
              <a:cxnLst/>
              <a:rect l="l" t="t" r="r" b="b"/>
              <a:pathLst>
                <a:path w="1430" h="510" extrusionOk="0">
                  <a:moveTo>
                    <a:pt x="184" y="0"/>
                  </a:moveTo>
                  <a:cubicBezTo>
                    <a:pt x="141" y="0"/>
                    <a:pt x="96" y="15"/>
                    <a:pt x="60" y="45"/>
                  </a:cubicBezTo>
                  <a:cubicBezTo>
                    <a:pt x="1" y="105"/>
                    <a:pt x="1" y="212"/>
                    <a:pt x="60" y="283"/>
                  </a:cubicBezTo>
                  <a:cubicBezTo>
                    <a:pt x="203" y="426"/>
                    <a:pt x="441" y="509"/>
                    <a:pt x="691" y="509"/>
                  </a:cubicBezTo>
                  <a:cubicBezTo>
                    <a:pt x="965" y="509"/>
                    <a:pt x="1203" y="426"/>
                    <a:pt x="1334" y="283"/>
                  </a:cubicBezTo>
                  <a:cubicBezTo>
                    <a:pt x="1429" y="224"/>
                    <a:pt x="1429" y="128"/>
                    <a:pt x="1370" y="45"/>
                  </a:cubicBezTo>
                  <a:cubicBezTo>
                    <a:pt x="1340" y="15"/>
                    <a:pt x="1298" y="0"/>
                    <a:pt x="1255" y="0"/>
                  </a:cubicBezTo>
                  <a:cubicBezTo>
                    <a:pt x="1212" y="0"/>
                    <a:pt x="1167" y="15"/>
                    <a:pt x="1132" y="45"/>
                  </a:cubicBezTo>
                  <a:cubicBezTo>
                    <a:pt x="1072" y="105"/>
                    <a:pt x="917" y="188"/>
                    <a:pt x="715" y="188"/>
                  </a:cubicBezTo>
                  <a:cubicBezTo>
                    <a:pt x="501" y="188"/>
                    <a:pt x="358" y="105"/>
                    <a:pt x="298" y="45"/>
                  </a:cubicBez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0" name="Google Shape;12140;p61"/>
            <p:cNvSpPr/>
            <p:nvPr/>
          </p:nvSpPr>
          <p:spPr>
            <a:xfrm>
              <a:off x="8047661" y="1501037"/>
              <a:ext cx="278404" cy="355260"/>
            </a:xfrm>
            <a:custGeom>
              <a:avLst/>
              <a:gdLst/>
              <a:ahLst/>
              <a:cxnLst/>
              <a:rect l="l" t="t" r="r" b="b"/>
              <a:pathLst>
                <a:path w="8788" h="11214" extrusionOk="0">
                  <a:moveTo>
                    <a:pt x="5358" y="344"/>
                  </a:moveTo>
                  <a:lnTo>
                    <a:pt x="5823" y="808"/>
                  </a:lnTo>
                  <a:cubicBezTo>
                    <a:pt x="5858" y="844"/>
                    <a:pt x="5894" y="856"/>
                    <a:pt x="5942" y="856"/>
                  </a:cubicBezTo>
                  <a:lnTo>
                    <a:pt x="6751" y="856"/>
                  </a:lnTo>
                  <a:lnTo>
                    <a:pt x="6477" y="1510"/>
                  </a:lnTo>
                  <a:cubicBezTo>
                    <a:pt x="6465" y="1558"/>
                    <a:pt x="6465" y="1618"/>
                    <a:pt x="6489" y="1653"/>
                  </a:cubicBezTo>
                  <a:cubicBezTo>
                    <a:pt x="6525" y="1701"/>
                    <a:pt x="6573" y="1737"/>
                    <a:pt x="6632" y="1737"/>
                  </a:cubicBezTo>
                  <a:lnTo>
                    <a:pt x="7287" y="1737"/>
                  </a:lnTo>
                  <a:lnTo>
                    <a:pt x="7001" y="2570"/>
                  </a:lnTo>
                  <a:cubicBezTo>
                    <a:pt x="6989" y="2630"/>
                    <a:pt x="7001" y="2689"/>
                    <a:pt x="7049" y="2725"/>
                  </a:cubicBezTo>
                  <a:lnTo>
                    <a:pt x="7311" y="2999"/>
                  </a:lnTo>
                  <a:lnTo>
                    <a:pt x="7025" y="3677"/>
                  </a:lnTo>
                  <a:cubicBezTo>
                    <a:pt x="6989" y="3665"/>
                    <a:pt x="6942" y="3665"/>
                    <a:pt x="6882" y="3665"/>
                  </a:cubicBezTo>
                  <a:lnTo>
                    <a:pt x="6608" y="3665"/>
                  </a:lnTo>
                  <a:cubicBezTo>
                    <a:pt x="6513" y="3665"/>
                    <a:pt x="6418" y="3582"/>
                    <a:pt x="6418" y="3475"/>
                  </a:cubicBezTo>
                  <a:lnTo>
                    <a:pt x="6418" y="3118"/>
                  </a:lnTo>
                  <a:cubicBezTo>
                    <a:pt x="6418" y="3058"/>
                    <a:pt x="6394" y="3011"/>
                    <a:pt x="6346" y="2987"/>
                  </a:cubicBezTo>
                  <a:lnTo>
                    <a:pt x="5287" y="2284"/>
                  </a:lnTo>
                  <a:cubicBezTo>
                    <a:pt x="5261" y="2265"/>
                    <a:pt x="5227" y="2256"/>
                    <a:pt x="5194" y="2256"/>
                  </a:cubicBezTo>
                  <a:cubicBezTo>
                    <a:pt x="5168" y="2256"/>
                    <a:pt x="5141" y="2262"/>
                    <a:pt x="5120" y="2272"/>
                  </a:cubicBezTo>
                  <a:cubicBezTo>
                    <a:pt x="5061" y="2296"/>
                    <a:pt x="5037" y="2356"/>
                    <a:pt x="5037" y="2415"/>
                  </a:cubicBezTo>
                  <a:lnTo>
                    <a:pt x="5037" y="2832"/>
                  </a:lnTo>
                  <a:lnTo>
                    <a:pt x="4049" y="2272"/>
                  </a:lnTo>
                  <a:cubicBezTo>
                    <a:pt x="4022" y="2255"/>
                    <a:pt x="3994" y="2247"/>
                    <a:pt x="3967" y="2247"/>
                  </a:cubicBezTo>
                  <a:cubicBezTo>
                    <a:pt x="3919" y="2247"/>
                    <a:pt x="3872" y="2270"/>
                    <a:pt x="3834" y="2308"/>
                  </a:cubicBezTo>
                  <a:lnTo>
                    <a:pt x="3560" y="2725"/>
                  </a:lnTo>
                  <a:lnTo>
                    <a:pt x="3156" y="2534"/>
                  </a:lnTo>
                  <a:cubicBezTo>
                    <a:pt x="3132" y="2521"/>
                    <a:pt x="3108" y="2515"/>
                    <a:pt x="3084" y="2515"/>
                  </a:cubicBezTo>
                  <a:cubicBezTo>
                    <a:pt x="3024" y="2515"/>
                    <a:pt x="2967" y="2554"/>
                    <a:pt x="2941" y="2606"/>
                  </a:cubicBezTo>
                  <a:cubicBezTo>
                    <a:pt x="2894" y="2701"/>
                    <a:pt x="2941" y="2784"/>
                    <a:pt x="3013" y="2832"/>
                  </a:cubicBezTo>
                  <a:lnTo>
                    <a:pt x="3537" y="3082"/>
                  </a:lnTo>
                  <a:cubicBezTo>
                    <a:pt x="3561" y="3094"/>
                    <a:pt x="3587" y="3101"/>
                    <a:pt x="3613" y="3101"/>
                  </a:cubicBezTo>
                  <a:cubicBezTo>
                    <a:pt x="3661" y="3101"/>
                    <a:pt x="3708" y="3077"/>
                    <a:pt x="3739" y="3022"/>
                  </a:cubicBezTo>
                  <a:lnTo>
                    <a:pt x="4013" y="2630"/>
                  </a:lnTo>
                  <a:lnTo>
                    <a:pt x="5108" y="3249"/>
                  </a:lnTo>
                  <a:cubicBezTo>
                    <a:pt x="5132" y="3267"/>
                    <a:pt x="5162" y="3275"/>
                    <a:pt x="5192" y="3275"/>
                  </a:cubicBezTo>
                  <a:cubicBezTo>
                    <a:pt x="5221" y="3275"/>
                    <a:pt x="5251" y="3267"/>
                    <a:pt x="5275" y="3249"/>
                  </a:cubicBezTo>
                  <a:cubicBezTo>
                    <a:pt x="5322" y="3225"/>
                    <a:pt x="5346" y="3165"/>
                    <a:pt x="5346" y="3106"/>
                  </a:cubicBezTo>
                  <a:lnTo>
                    <a:pt x="5346" y="2701"/>
                  </a:lnTo>
                  <a:lnTo>
                    <a:pt x="6073" y="3177"/>
                  </a:lnTo>
                  <a:lnTo>
                    <a:pt x="6073" y="3439"/>
                  </a:lnTo>
                  <a:cubicBezTo>
                    <a:pt x="6073" y="3725"/>
                    <a:pt x="6311" y="3963"/>
                    <a:pt x="6596" y="3963"/>
                  </a:cubicBezTo>
                  <a:lnTo>
                    <a:pt x="6870" y="3963"/>
                  </a:lnTo>
                  <a:cubicBezTo>
                    <a:pt x="6942" y="3963"/>
                    <a:pt x="7013" y="3999"/>
                    <a:pt x="7073" y="4058"/>
                  </a:cubicBezTo>
                  <a:cubicBezTo>
                    <a:pt x="7132" y="4118"/>
                    <a:pt x="7144" y="4189"/>
                    <a:pt x="7144" y="4261"/>
                  </a:cubicBezTo>
                  <a:cubicBezTo>
                    <a:pt x="7132" y="4392"/>
                    <a:pt x="7001" y="4511"/>
                    <a:pt x="6846" y="4511"/>
                  </a:cubicBezTo>
                  <a:lnTo>
                    <a:pt x="6775" y="4511"/>
                  </a:lnTo>
                  <a:lnTo>
                    <a:pt x="6775" y="4499"/>
                  </a:lnTo>
                  <a:cubicBezTo>
                    <a:pt x="6775" y="4416"/>
                    <a:pt x="6704" y="4332"/>
                    <a:pt x="6608" y="4332"/>
                  </a:cubicBezTo>
                  <a:cubicBezTo>
                    <a:pt x="6525" y="4332"/>
                    <a:pt x="6454" y="4416"/>
                    <a:pt x="6454" y="4499"/>
                  </a:cubicBezTo>
                  <a:cubicBezTo>
                    <a:pt x="6454" y="5666"/>
                    <a:pt x="5501" y="6618"/>
                    <a:pt x="4334" y="6618"/>
                  </a:cubicBezTo>
                  <a:cubicBezTo>
                    <a:pt x="4320" y="6618"/>
                    <a:pt x="4306" y="6619"/>
                    <a:pt x="4292" y="6619"/>
                  </a:cubicBezTo>
                  <a:cubicBezTo>
                    <a:pt x="3180" y="6619"/>
                    <a:pt x="2263" y="5687"/>
                    <a:pt x="2263" y="4535"/>
                  </a:cubicBezTo>
                  <a:cubicBezTo>
                    <a:pt x="2263" y="4439"/>
                    <a:pt x="2191" y="4368"/>
                    <a:pt x="2108" y="4368"/>
                  </a:cubicBezTo>
                  <a:cubicBezTo>
                    <a:pt x="2013" y="4368"/>
                    <a:pt x="1941" y="4439"/>
                    <a:pt x="1941" y="4535"/>
                  </a:cubicBezTo>
                  <a:lnTo>
                    <a:pt x="1941" y="4546"/>
                  </a:lnTo>
                  <a:lnTo>
                    <a:pt x="1834" y="4546"/>
                  </a:lnTo>
                  <a:cubicBezTo>
                    <a:pt x="1763" y="4546"/>
                    <a:pt x="1691" y="4511"/>
                    <a:pt x="1632" y="4451"/>
                  </a:cubicBezTo>
                  <a:cubicBezTo>
                    <a:pt x="1572" y="4392"/>
                    <a:pt x="1548" y="4320"/>
                    <a:pt x="1548" y="4249"/>
                  </a:cubicBezTo>
                  <a:cubicBezTo>
                    <a:pt x="1572" y="4118"/>
                    <a:pt x="1703" y="3999"/>
                    <a:pt x="1846" y="3999"/>
                  </a:cubicBezTo>
                  <a:lnTo>
                    <a:pt x="2084" y="3999"/>
                  </a:lnTo>
                  <a:cubicBezTo>
                    <a:pt x="2370" y="3999"/>
                    <a:pt x="2608" y="3761"/>
                    <a:pt x="2608" y="3475"/>
                  </a:cubicBezTo>
                  <a:lnTo>
                    <a:pt x="2608" y="2415"/>
                  </a:lnTo>
                  <a:cubicBezTo>
                    <a:pt x="2608" y="2332"/>
                    <a:pt x="2536" y="2249"/>
                    <a:pt x="2441" y="2249"/>
                  </a:cubicBezTo>
                  <a:cubicBezTo>
                    <a:pt x="2358" y="2249"/>
                    <a:pt x="2286" y="2332"/>
                    <a:pt x="2286" y="2415"/>
                  </a:cubicBezTo>
                  <a:lnTo>
                    <a:pt x="2286" y="3475"/>
                  </a:lnTo>
                  <a:cubicBezTo>
                    <a:pt x="2286" y="3582"/>
                    <a:pt x="2191" y="3665"/>
                    <a:pt x="2084" y="3665"/>
                  </a:cubicBezTo>
                  <a:lnTo>
                    <a:pt x="1846" y="3665"/>
                  </a:lnTo>
                  <a:cubicBezTo>
                    <a:pt x="1786" y="3665"/>
                    <a:pt x="1727" y="3677"/>
                    <a:pt x="1691" y="3701"/>
                  </a:cubicBezTo>
                  <a:lnTo>
                    <a:pt x="1405" y="2999"/>
                  </a:lnTo>
                  <a:lnTo>
                    <a:pt x="1667" y="2725"/>
                  </a:lnTo>
                  <a:cubicBezTo>
                    <a:pt x="1715" y="2689"/>
                    <a:pt x="1727" y="2630"/>
                    <a:pt x="1715" y="2570"/>
                  </a:cubicBezTo>
                  <a:lnTo>
                    <a:pt x="1429" y="1737"/>
                  </a:lnTo>
                  <a:lnTo>
                    <a:pt x="1905" y="1737"/>
                  </a:lnTo>
                  <a:cubicBezTo>
                    <a:pt x="2001" y="1737"/>
                    <a:pt x="2072" y="1653"/>
                    <a:pt x="2072" y="1570"/>
                  </a:cubicBezTo>
                  <a:lnTo>
                    <a:pt x="2072" y="856"/>
                  </a:lnTo>
                  <a:lnTo>
                    <a:pt x="2786" y="856"/>
                  </a:lnTo>
                  <a:cubicBezTo>
                    <a:pt x="2822" y="856"/>
                    <a:pt x="2858" y="832"/>
                    <a:pt x="2894" y="820"/>
                  </a:cubicBezTo>
                  <a:lnTo>
                    <a:pt x="3537" y="344"/>
                  </a:lnTo>
                  <a:lnTo>
                    <a:pt x="4156" y="510"/>
                  </a:lnTo>
                  <a:lnTo>
                    <a:pt x="4215" y="510"/>
                  </a:lnTo>
                  <a:lnTo>
                    <a:pt x="5358" y="344"/>
                  </a:lnTo>
                  <a:close/>
                  <a:moveTo>
                    <a:pt x="2882" y="7225"/>
                  </a:moveTo>
                  <a:lnTo>
                    <a:pt x="4096" y="7892"/>
                  </a:lnTo>
                  <a:lnTo>
                    <a:pt x="3203" y="8654"/>
                  </a:lnTo>
                  <a:lnTo>
                    <a:pt x="3191" y="8654"/>
                  </a:lnTo>
                  <a:lnTo>
                    <a:pt x="2644" y="7690"/>
                  </a:lnTo>
                  <a:lnTo>
                    <a:pt x="2858" y="7225"/>
                  </a:lnTo>
                  <a:close/>
                  <a:moveTo>
                    <a:pt x="5442" y="6737"/>
                  </a:moveTo>
                  <a:lnTo>
                    <a:pt x="5442" y="7094"/>
                  </a:lnTo>
                  <a:lnTo>
                    <a:pt x="5239" y="7190"/>
                  </a:lnTo>
                  <a:cubicBezTo>
                    <a:pt x="5168" y="7237"/>
                    <a:pt x="5144" y="7344"/>
                    <a:pt x="5180" y="7416"/>
                  </a:cubicBezTo>
                  <a:cubicBezTo>
                    <a:pt x="5212" y="7465"/>
                    <a:pt x="5273" y="7497"/>
                    <a:pt x="5331" y="7497"/>
                  </a:cubicBezTo>
                  <a:cubicBezTo>
                    <a:pt x="5357" y="7497"/>
                    <a:pt x="5383" y="7490"/>
                    <a:pt x="5406" y="7475"/>
                  </a:cubicBezTo>
                  <a:lnTo>
                    <a:pt x="5882" y="7213"/>
                  </a:lnTo>
                  <a:lnTo>
                    <a:pt x="5894" y="7213"/>
                  </a:lnTo>
                  <a:lnTo>
                    <a:pt x="6120" y="7666"/>
                  </a:lnTo>
                  <a:lnTo>
                    <a:pt x="5573" y="8654"/>
                  </a:lnTo>
                  <a:lnTo>
                    <a:pt x="5561" y="8654"/>
                  </a:lnTo>
                  <a:lnTo>
                    <a:pt x="4668" y="7892"/>
                  </a:lnTo>
                  <a:lnTo>
                    <a:pt x="4811" y="7821"/>
                  </a:lnTo>
                  <a:cubicBezTo>
                    <a:pt x="4882" y="7773"/>
                    <a:pt x="4918" y="7666"/>
                    <a:pt x="4870" y="7594"/>
                  </a:cubicBezTo>
                  <a:cubicBezTo>
                    <a:pt x="4837" y="7545"/>
                    <a:pt x="4782" y="7513"/>
                    <a:pt x="4724" y="7513"/>
                  </a:cubicBezTo>
                  <a:cubicBezTo>
                    <a:pt x="4697" y="7513"/>
                    <a:pt x="4670" y="7520"/>
                    <a:pt x="4644" y="7535"/>
                  </a:cubicBezTo>
                  <a:lnTo>
                    <a:pt x="4382" y="7690"/>
                  </a:lnTo>
                  <a:lnTo>
                    <a:pt x="3310" y="7094"/>
                  </a:lnTo>
                  <a:lnTo>
                    <a:pt x="3310" y="6737"/>
                  </a:lnTo>
                  <a:cubicBezTo>
                    <a:pt x="3632" y="6892"/>
                    <a:pt x="3989" y="6975"/>
                    <a:pt x="4382" y="6975"/>
                  </a:cubicBezTo>
                  <a:cubicBezTo>
                    <a:pt x="4763" y="6975"/>
                    <a:pt x="5120" y="6880"/>
                    <a:pt x="5442" y="6737"/>
                  </a:cubicBezTo>
                  <a:close/>
                  <a:moveTo>
                    <a:pt x="4382" y="8071"/>
                  </a:moveTo>
                  <a:lnTo>
                    <a:pt x="4572" y="8237"/>
                  </a:lnTo>
                  <a:lnTo>
                    <a:pt x="4560" y="9630"/>
                  </a:lnTo>
                  <a:lnTo>
                    <a:pt x="4203" y="9630"/>
                  </a:lnTo>
                  <a:cubicBezTo>
                    <a:pt x="4203" y="9630"/>
                    <a:pt x="4191" y="9630"/>
                    <a:pt x="4191" y="9619"/>
                  </a:cubicBezTo>
                  <a:lnTo>
                    <a:pt x="4191" y="8237"/>
                  </a:lnTo>
                  <a:lnTo>
                    <a:pt x="4382" y="8071"/>
                  </a:lnTo>
                  <a:close/>
                  <a:moveTo>
                    <a:pt x="453" y="8726"/>
                  </a:moveTo>
                  <a:lnTo>
                    <a:pt x="1393" y="9535"/>
                  </a:lnTo>
                  <a:cubicBezTo>
                    <a:pt x="1512" y="9630"/>
                    <a:pt x="1584" y="9785"/>
                    <a:pt x="1584" y="9928"/>
                  </a:cubicBezTo>
                  <a:lnTo>
                    <a:pt x="1584" y="10107"/>
                  </a:lnTo>
                  <a:lnTo>
                    <a:pt x="334" y="9833"/>
                  </a:lnTo>
                  <a:lnTo>
                    <a:pt x="334" y="9178"/>
                  </a:lnTo>
                  <a:cubicBezTo>
                    <a:pt x="334" y="9011"/>
                    <a:pt x="369" y="8857"/>
                    <a:pt x="453" y="8726"/>
                  </a:cubicBezTo>
                  <a:close/>
                  <a:moveTo>
                    <a:pt x="3504" y="0"/>
                  </a:moveTo>
                  <a:cubicBezTo>
                    <a:pt x="3468" y="0"/>
                    <a:pt x="3431" y="17"/>
                    <a:pt x="3406" y="34"/>
                  </a:cubicBezTo>
                  <a:lnTo>
                    <a:pt x="2751" y="522"/>
                  </a:lnTo>
                  <a:lnTo>
                    <a:pt x="1941" y="522"/>
                  </a:lnTo>
                  <a:cubicBezTo>
                    <a:pt x="1846" y="522"/>
                    <a:pt x="1774" y="606"/>
                    <a:pt x="1774" y="689"/>
                  </a:cubicBezTo>
                  <a:lnTo>
                    <a:pt x="1774" y="1403"/>
                  </a:lnTo>
                  <a:lnTo>
                    <a:pt x="1239" y="1403"/>
                  </a:lnTo>
                  <a:cubicBezTo>
                    <a:pt x="1179" y="1403"/>
                    <a:pt x="1131" y="1439"/>
                    <a:pt x="1108" y="1475"/>
                  </a:cubicBezTo>
                  <a:cubicBezTo>
                    <a:pt x="1072" y="1522"/>
                    <a:pt x="1060" y="1582"/>
                    <a:pt x="1072" y="1629"/>
                  </a:cubicBezTo>
                  <a:lnTo>
                    <a:pt x="1382" y="2582"/>
                  </a:lnTo>
                  <a:lnTo>
                    <a:pt x="1108" y="2868"/>
                  </a:lnTo>
                  <a:cubicBezTo>
                    <a:pt x="1060" y="2903"/>
                    <a:pt x="1048" y="2987"/>
                    <a:pt x="1072" y="3046"/>
                  </a:cubicBezTo>
                  <a:lnTo>
                    <a:pt x="1417" y="3892"/>
                  </a:lnTo>
                  <a:cubicBezTo>
                    <a:pt x="1322" y="3975"/>
                    <a:pt x="1262" y="4106"/>
                    <a:pt x="1251" y="4249"/>
                  </a:cubicBezTo>
                  <a:cubicBezTo>
                    <a:pt x="1239" y="4404"/>
                    <a:pt x="1298" y="4582"/>
                    <a:pt x="1405" y="4701"/>
                  </a:cubicBezTo>
                  <a:cubicBezTo>
                    <a:pt x="1524" y="4832"/>
                    <a:pt x="1679" y="4904"/>
                    <a:pt x="1846" y="4904"/>
                  </a:cubicBezTo>
                  <a:lnTo>
                    <a:pt x="1965" y="4904"/>
                  </a:lnTo>
                  <a:cubicBezTo>
                    <a:pt x="2060" y="5582"/>
                    <a:pt x="2441" y="6190"/>
                    <a:pt x="2989" y="6571"/>
                  </a:cubicBezTo>
                  <a:lnTo>
                    <a:pt x="2989" y="6940"/>
                  </a:lnTo>
                  <a:cubicBezTo>
                    <a:pt x="2953" y="6928"/>
                    <a:pt x="2917" y="6922"/>
                    <a:pt x="2883" y="6922"/>
                  </a:cubicBezTo>
                  <a:cubicBezTo>
                    <a:pt x="2849" y="6922"/>
                    <a:pt x="2816" y="6928"/>
                    <a:pt x="2786" y="6940"/>
                  </a:cubicBezTo>
                  <a:cubicBezTo>
                    <a:pt x="2691" y="6963"/>
                    <a:pt x="2620" y="7035"/>
                    <a:pt x="2572" y="7118"/>
                  </a:cubicBezTo>
                  <a:lnTo>
                    <a:pt x="2322" y="7618"/>
                  </a:lnTo>
                  <a:lnTo>
                    <a:pt x="881" y="8035"/>
                  </a:lnTo>
                  <a:cubicBezTo>
                    <a:pt x="358" y="8190"/>
                    <a:pt x="0" y="8666"/>
                    <a:pt x="0" y="9202"/>
                  </a:cubicBezTo>
                  <a:lnTo>
                    <a:pt x="0" y="11047"/>
                  </a:lnTo>
                  <a:cubicBezTo>
                    <a:pt x="0" y="11131"/>
                    <a:pt x="72" y="11214"/>
                    <a:pt x="167" y="11214"/>
                  </a:cubicBezTo>
                  <a:cubicBezTo>
                    <a:pt x="250" y="11214"/>
                    <a:pt x="334" y="11131"/>
                    <a:pt x="334" y="11047"/>
                  </a:cubicBezTo>
                  <a:lnTo>
                    <a:pt x="334" y="10202"/>
                  </a:lnTo>
                  <a:lnTo>
                    <a:pt x="1584" y="10476"/>
                  </a:lnTo>
                  <a:lnTo>
                    <a:pt x="1584" y="11047"/>
                  </a:lnTo>
                  <a:cubicBezTo>
                    <a:pt x="1584" y="11131"/>
                    <a:pt x="1655" y="11214"/>
                    <a:pt x="1739" y="11214"/>
                  </a:cubicBezTo>
                  <a:cubicBezTo>
                    <a:pt x="1834" y="11214"/>
                    <a:pt x="1905" y="11131"/>
                    <a:pt x="1905" y="11047"/>
                  </a:cubicBezTo>
                  <a:lnTo>
                    <a:pt x="1905" y="9952"/>
                  </a:lnTo>
                  <a:cubicBezTo>
                    <a:pt x="1905" y="9690"/>
                    <a:pt x="1798" y="9452"/>
                    <a:pt x="1608" y="9297"/>
                  </a:cubicBezTo>
                  <a:lnTo>
                    <a:pt x="667" y="8487"/>
                  </a:lnTo>
                  <a:cubicBezTo>
                    <a:pt x="762" y="8416"/>
                    <a:pt x="870" y="8368"/>
                    <a:pt x="965" y="8345"/>
                  </a:cubicBezTo>
                  <a:lnTo>
                    <a:pt x="2382" y="7928"/>
                  </a:lnTo>
                  <a:lnTo>
                    <a:pt x="2906" y="8833"/>
                  </a:lnTo>
                  <a:cubicBezTo>
                    <a:pt x="2953" y="8916"/>
                    <a:pt x="3036" y="8976"/>
                    <a:pt x="3144" y="8999"/>
                  </a:cubicBezTo>
                  <a:lnTo>
                    <a:pt x="3203" y="8999"/>
                  </a:lnTo>
                  <a:cubicBezTo>
                    <a:pt x="3275" y="8999"/>
                    <a:pt x="3370" y="8964"/>
                    <a:pt x="3429" y="8916"/>
                  </a:cubicBezTo>
                  <a:lnTo>
                    <a:pt x="3870" y="8535"/>
                  </a:lnTo>
                  <a:lnTo>
                    <a:pt x="3870" y="9630"/>
                  </a:lnTo>
                  <a:cubicBezTo>
                    <a:pt x="3870" y="9833"/>
                    <a:pt x="4025" y="9976"/>
                    <a:pt x="4215" y="9976"/>
                  </a:cubicBezTo>
                  <a:lnTo>
                    <a:pt x="4572" y="9976"/>
                  </a:lnTo>
                  <a:cubicBezTo>
                    <a:pt x="4763" y="9976"/>
                    <a:pt x="4918" y="9833"/>
                    <a:pt x="4918" y="9630"/>
                  </a:cubicBezTo>
                  <a:lnTo>
                    <a:pt x="4918" y="8535"/>
                  </a:lnTo>
                  <a:lnTo>
                    <a:pt x="5358" y="8916"/>
                  </a:lnTo>
                  <a:cubicBezTo>
                    <a:pt x="5418" y="8976"/>
                    <a:pt x="5489" y="8999"/>
                    <a:pt x="5584" y="8999"/>
                  </a:cubicBezTo>
                  <a:lnTo>
                    <a:pt x="5644" y="8999"/>
                  </a:lnTo>
                  <a:cubicBezTo>
                    <a:pt x="5751" y="8976"/>
                    <a:pt x="5834" y="8916"/>
                    <a:pt x="5882" y="8833"/>
                  </a:cubicBezTo>
                  <a:lnTo>
                    <a:pt x="6406" y="7928"/>
                  </a:lnTo>
                  <a:lnTo>
                    <a:pt x="7811" y="8345"/>
                  </a:lnTo>
                  <a:cubicBezTo>
                    <a:pt x="7918" y="8368"/>
                    <a:pt x="8025" y="8428"/>
                    <a:pt x="8109" y="8487"/>
                  </a:cubicBezTo>
                  <a:lnTo>
                    <a:pt x="7180" y="9297"/>
                  </a:lnTo>
                  <a:cubicBezTo>
                    <a:pt x="6977" y="9452"/>
                    <a:pt x="6882" y="9690"/>
                    <a:pt x="6882" y="9952"/>
                  </a:cubicBezTo>
                  <a:lnTo>
                    <a:pt x="6882" y="11035"/>
                  </a:lnTo>
                  <a:cubicBezTo>
                    <a:pt x="6882" y="11119"/>
                    <a:pt x="6954" y="11202"/>
                    <a:pt x="7037" y="11202"/>
                  </a:cubicBezTo>
                  <a:cubicBezTo>
                    <a:pt x="7132" y="11202"/>
                    <a:pt x="7204" y="11119"/>
                    <a:pt x="7204" y="11035"/>
                  </a:cubicBezTo>
                  <a:lnTo>
                    <a:pt x="7204" y="10464"/>
                  </a:lnTo>
                  <a:lnTo>
                    <a:pt x="7430" y="10428"/>
                  </a:lnTo>
                  <a:cubicBezTo>
                    <a:pt x="7513" y="10404"/>
                    <a:pt x="7573" y="10321"/>
                    <a:pt x="7549" y="10226"/>
                  </a:cubicBezTo>
                  <a:cubicBezTo>
                    <a:pt x="7539" y="10155"/>
                    <a:pt x="7469" y="10101"/>
                    <a:pt x="7397" y="10101"/>
                  </a:cubicBezTo>
                  <a:cubicBezTo>
                    <a:pt x="7384" y="10101"/>
                    <a:pt x="7371" y="10103"/>
                    <a:pt x="7358" y="10107"/>
                  </a:cubicBezTo>
                  <a:lnTo>
                    <a:pt x="7204" y="10142"/>
                  </a:lnTo>
                  <a:lnTo>
                    <a:pt x="7204" y="9952"/>
                  </a:lnTo>
                  <a:cubicBezTo>
                    <a:pt x="7204" y="9785"/>
                    <a:pt x="7275" y="9630"/>
                    <a:pt x="7394" y="9547"/>
                  </a:cubicBezTo>
                  <a:lnTo>
                    <a:pt x="8335" y="8737"/>
                  </a:lnTo>
                  <a:cubicBezTo>
                    <a:pt x="8406" y="8880"/>
                    <a:pt x="8454" y="9023"/>
                    <a:pt x="8454" y="9190"/>
                  </a:cubicBezTo>
                  <a:lnTo>
                    <a:pt x="8454" y="9845"/>
                  </a:lnTo>
                  <a:lnTo>
                    <a:pt x="8049" y="9928"/>
                  </a:lnTo>
                  <a:cubicBezTo>
                    <a:pt x="7966" y="9952"/>
                    <a:pt x="7906" y="10035"/>
                    <a:pt x="7930" y="10131"/>
                  </a:cubicBezTo>
                  <a:cubicBezTo>
                    <a:pt x="7954" y="10202"/>
                    <a:pt x="8025" y="10261"/>
                    <a:pt x="8097" y="10261"/>
                  </a:cubicBezTo>
                  <a:lnTo>
                    <a:pt x="8132" y="10261"/>
                  </a:lnTo>
                  <a:lnTo>
                    <a:pt x="8454" y="10190"/>
                  </a:lnTo>
                  <a:lnTo>
                    <a:pt x="8454" y="11035"/>
                  </a:lnTo>
                  <a:cubicBezTo>
                    <a:pt x="8454" y="11119"/>
                    <a:pt x="8525" y="11202"/>
                    <a:pt x="8621" y="11202"/>
                  </a:cubicBezTo>
                  <a:cubicBezTo>
                    <a:pt x="8704" y="11202"/>
                    <a:pt x="8787" y="11119"/>
                    <a:pt x="8787" y="11035"/>
                  </a:cubicBezTo>
                  <a:lnTo>
                    <a:pt x="8751" y="9190"/>
                  </a:lnTo>
                  <a:cubicBezTo>
                    <a:pt x="8751" y="8654"/>
                    <a:pt x="8394" y="8178"/>
                    <a:pt x="7870" y="8023"/>
                  </a:cubicBezTo>
                  <a:lnTo>
                    <a:pt x="6430" y="7606"/>
                  </a:lnTo>
                  <a:lnTo>
                    <a:pt x="6180" y="7106"/>
                  </a:lnTo>
                  <a:cubicBezTo>
                    <a:pt x="6132" y="7011"/>
                    <a:pt x="6061" y="6952"/>
                    <a:pt x="5965" y="6928"/>
                  </a:cubicBezTo>
                  <a:cubicBezTo>
                    <a:pt x="5930" y="6922"/>
                    <a:pt x="5894" y="6919"/>
                    <a:pt x="5860" y="6919"/>
                  </a:cubicBezTo>
                  <a:cubicBezTo>
                    <a:pt x="5826" y="6919"/>
                    <a:pt x="5793" y="6922"/>
                    <a:pt x="5763" y="6928"/>
                  </a:cubicBezTo>
                  <a:lnTo>
                    <a:pt x="5763" y="6559"/>
                  </a:lnTo>
                  <a:cubicBezTo>
                    <a:pt x="6311" y="6166"/>
                    <a:pt x="6704" y="5570"/>
                    <a:pt x="6787" y="4892"/>
                  </a:cubicBezTo>
                  <a:lnTo>
                    <a:pt x="6894" y="4892"/>
                  </a:lnTo>
                  <a:cubicBezTo>
                    <a:pt x="7216" y="4892"/>
                    <a:pt x="7489" y="4654"/>
                    <a:pt x="7513" y="4356"/>
                  </a:cubicBezTo>
                  <a:cubicBezTo>
                    <a:pt x="7537" y="4189"/>
                    <a:pt x="7478" y="4011"/>
                    <a:pt x="7370" y="3892"/>
                  </a:cubicBezTo>
                  <a:lnTo>
                    <a:pt x="7358" y="3868"/>
                  </a:lnTo>
                  <a:lnTo>
                    <a:pt x="7680" y="3034"/>
                  </a:lnTo>
                  <a:cubicBezTo>
                    <a:pt x="7716" y="2975"/>
                    <a:pt x="7692" y="2903"/>
                    <a:pt x="7656" y="2856"/>
                  </a:cubicBezTo>
                  <a:lnTo>
                    <a:pt x="7370" y="2582"/>
                  </a:lnTo>
                  <a:lnTo>
                    <a:pt x="7680" y="1629"/>
                  </a:lnTo>
                  <a:cubicBezTo>
                    <a:pt x="7692" y="1582"/>
                    <a:pt x="7692" y="1522"/>
                    <a:pt x="7656" y="1475"/>
                  </a:cubicBezTo>
                  <a:cubicBezTo>
                    <a:pt x="7620" y="1427"/>
                    <a:pt x="7573" y="1403"/>
                    <a:pt x="7513" y="1403"/>
                  </a:cubicBezTo>
                  <a:lnTo>
                    <a:pt x="6882" y="1403"/>
                  </a:lnTo>
                  <a:lnTo>
                    <a:pt x="7144" y="748"/>
                  </a:lnTo>
                  <a:cubicBezTo>
                    <a:pt x="7156" y="701"/>
                    <a:pt x="7156" y="641"/>
                    <a:pt x="7132" y="606"/>
                  </a:cubicBezTo>
                  <a:cubicBezTo>
                    <a:pt x="7097" y="558"/>
                    <a:pt x="7061" y="522"/>
                    <a:pt x="7001" y="522"/>
                  </a:cubicBezTo>
                  <a:lnTo>
                    <a:pt x="6013" y="522"/>
                  </a:lnTo>
                  <a:lnTo>
                    <a:pt x="5537" y="46"/>
                  </a:lnTo>
                  <a:cubicBezTo>
                    <a:pt x="5519" y="28"/>
                    <a:pt x="5479" y="2"/>
                    <a:pt x="5440" y="2"/>
                  </a:cubicBezTo>
                  <a:cubicBezTo>
                    <a:pt x="5429" y="2"/>
                    <a:pt x="5417" y="5"/>
                    <a:pt x="5406" y="10"/>
                  </a:cubicBezTo>
                  <a:lnTo>
                    <a:pt x="4215" y="165"/>
                  </a:lnTo>
                  <a:lnTo>
                    <a:pt x="3548" y="10"/>
                  </a:lnTo>
                  <a:cubicBezTo>
                    <a:pt x="3535" y="3"/>
                    <a:pt x="3520" y="0"/>
                    <a:pt x="35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1" name="Google Shape;12141;p61"/>
          <p:cNvGrpSpPr/>
          <p:nvPr/>
        </p:nvGrpSpPr>
        <p:grpSpPr>
          <a:xfrm>
            <a:off x="4903389" y="1500214"/>
            <a:ext cx="267854" cy="355735"/>
            <a:chOff x="4903389" y="1500214"/>
            <a:chExt cx="267854" cy="355735"/>
          </a:xfrm>
        </p:grpSpPr>
        <p:sp>
          <p:nvSpPr>
            <p:cNvPr id="12142" name="Google Shape;12142;p61"/>
            <p:cNvSpPr/>
            <p:nvPr/>
          </p:nvSpPr>
          <p:spPr>
            <a:xfrm>
              <a:off x="4997700" y="1611854"/>
              <a:ext cx="10201" cy="16252"/>
            </a:xfrm>
            <a:custGeom>
              <a:avLst/>
              <a:gdLst/>
              <a:ahLst/>
              <a:cxnLst/>
              <a:rect l="l" t="t" r="r" b="b"/>
              <a:pathLst>
                <a:path w="322" h="513" extrusionOk="0">
                  <a:moveTo>
                    <a:pt x="167" y="1"/>
                  </a:moveTo>
                  <a:cubicBezTo>
                    <a:pt x="72" y="1"/>
                    <a:pt x="0" y="84"/>
                    <a:pt x="0" y="167"/>
                  </a:cubicBezTo>
                  <a:lnTo>
                    <a:pt x="0" y="346"/>
                  </a:lnTo>
                  <a:cubicBezTo>
                    <a:pt x="0" y="441"/>
                    <a:pt x="72" y="513"/>
                    <a:pt x="167" y="513"/>
                  </a:cubicBezTo>
                  <a:cubicBezTo>
                    <a:pt x="250" y="513"/>
                    <a:pt x="322" y="441"/>
                    <a:pt x="322" y="346"/>
                  </a:cubicBezTo>
                  <a:lnTo>
                    <a:pt x="322" y="167"/>
                  </a:lnTo>
                  <a:cubicBezTo>
                    <a:pt x="322"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3" name="Google Shape;12143;p61"/>
            <p:cNvSpPr/>
            <p:nvPr/>
          </p:nvSpPr>
          <p:spPr>
            <a:xfrm>
              <a:off x="5064830" y="1611854"/>
              <a:ext cx="10233" cy="16252"/>
            </a:xfrm>
            <a:custGeom>
              <a:avLst/>
              <a:gdLst/>
              <a:ahLst/>
              <a:cxnLst/>
              <a:rect l="l" t="t" r="r" b="b"/>
              <a:pathLst>
                <a:path w="323" h="513" extrusionOk="0">
                  <a:moveTo>
                    <a:pt x="156" y="1"/>
                  </a:moveTo>
                  <a:cubicBezTo>
                    <a:pt x="72" y="1"/>
                    <a:pt x="1" y="84"/>
                    <a:pt x="1" y="167"/>
                  </a:cubicBezTo>
                  <a:lnTo>
                    <a:pt x="1" y="346"/>
                  </a:lnTo>
                  <a:cubicBezTo>
                    <a:pt x="1" y="441"/>
                    <a:pt x="72" y="513"/>
                    <a:pt x="156" y="513"/>
                  </a:cubicBezTo>
                  <a:cubicBezTo>
                    <a:pt x="251" y="513"/>
                    <a:pt x="322" y="441"/>
                    <a:pt x="322" y="346"/>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4" name="Google Shape;12144;p61"/>
            <p:cNvSpPr/>
            <p:nvPr/>
          </p:nvSpPr>
          <p:spPr>
            <a:xfrm>
              <a:off x="5013160" y="1650820"/>
              <a:ext cx="45302" cy="15777"/>
            </a:xfrm>
            <a:custGeom>
              <a:avLst/>
              <a:gdLst/>
              <a:ahLst/>
              <a:cxnLst/>
              <a:rect l="l" t="t" r="r" b="b"/>
              <a:pathLst>
                <a:path w="1430" h="498" extrusionOk="0">
                  <a:moveTo>
                    <a:pt x="188" y="0"/>
                  </a:moveTo>
                  <a:cubicBezTo>
                    <a:pt x="146" y="0"/>
                    <a:pt x="102" y="15"/>
                    <a:pt x="60" y="45"/>
                  </a:cubicBezTo>
                  <a:cubicBezTo>
                    <a:pt x="1" y="104"/>
                    <a:pt x="1" y="199"/>
                    <a:pt x="60" y="283"/>
                  </a:cubicBezTo>
                  <a:cubicBezTo>
                    <a:pt x="203" y="414"/>
                    <a:pt x="453" y="497"/>
                    <a:pt x="703" y="497"/>
                  </a:cubicBezTo>
                  <a:cubicBezTo>
                    <a:pt x="953" y="497"/>
                    <a:pt x="1215" y="414"/>
                    <a:pt x="1346" y="283"/>
                  </a:cubicBezTo>
                  <a:cubicBezTo>
                    <a:pt x="1429" y="223"/>
                    <a:pt x="1429" y="116"/>
                    <a:pt x="1370" y="45"/>
                  </a:cubicBezTo>
                  <a:cubicBezTo>
                    <a:pt x="1340" y="15"/>
                    <a:pt x="1301" y="0"/>
                    <a:pt x="1260" y="0"/>
                  </a:cubicBezTo>
                  <a:cubicBezTo>
                    <a:pt x="1218" y="0"/>
                    <a:pt x="1173" y="15"/>
                    <a:pt x="1132" y="45"/>
                  </a:cubicBezTo>
                  <a:cubicBezTo>
                    <a:pt x="1072" y="104"/>
                    <a:pt x="929" y="176"/>
                    <a:pt x="715" y="176"/>
                  </a:cubicBezTo>
                  <a:cubicBezTo>
                    <a:pt x="513" y="176"/>
                    <a:pt x="358" y="104"/>
                    <a:pt x="298" y="45"/>
                  </a:cubicBezTo>
                  <a:cubicBezTo>
                    <a:pt x="268" y="15"/>
                    <a:pt x="230" y="0"/>
                    <a:pt x="1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5" name="Google Shape;12145;p61"/>
            <p:cNvSpPr/>
            <p:nvPr/>
          </p:nvSpPr>
          <p:spPr>
            <a:xfrm>
              <a:off x="4903389" y="1500214"/>
              <a:ext cx="267854" cy="355735"/>
            </a:xfrm>
            <a:custGeom>
              <a:avLst/>
              <a:gdLst/>
              <a:ahLst/>
              <a:cxnLst/>
              <a:rect l="l" t="t" r="r" b="b"/>
              <a:pathLst>
                <a:path w="8455" h="11229" extrusionOk="0">
                  <a:moveTo>
                    <a:pt x="1382" y="3144"/>
                  </a:moveTo>
                  <a:lnTo>
                    <a:pt x="1382" y="3394"/>
                  </a:lnTo>
                  <a:cubicBezTo>
                    <a:pt x="1180" y="3489"/>
                    <a:pt x="1025" y="3691"/>
                    <a:pt x="1025" y="3941"/>
                  </a:cubicBezTo>
                  <a:cubicBezTo>
                    <a:pt x="1025" y="4275"/>
                    <a:pt x="1299" y="4537"/>
                    <a:pt x="1620" y="4537"/>
                  </a:cubicBezTo>
                  <a:lnTo>
                    <a:pt x="1739" y="4537"/>
                  </a:lnTo>
                  <a:cubicBezTo>
                    <a:pt x="1811" y="5073"/>
                    <a:pt x="2073" y="5549"/>
                    <a:pt x="2430" y="5930"/>
                  </a:cubicBezTo>
                  <a:cubicBezTo>
                    <a:pt x="2362" y="5952"/>
                    <a:pt x="2270" y="5961"/>
                    <a:pt x="2172" y="5961"/>
                  </a:cubicBezTo>
                  <a:cubicBezTo>
                    <a:pt x="2116" y="5961"/>
                    <a:pt x="2058" y="5958"/>
                    <a:pt x="2001" y="5954"/>
                  </a:cubicBezTo>
                  <a:cubicBezTo>
                    <a:pt x="1656" y="5894"/>
                    <a:pt x="1370" y="5644"/>
                    <a:pt x="1251" y="5299"/>
                  </a:cubicBezTo>
                  <a:cubicBezTo>
                    <a:pt x="1203" y="5168"/>
                    <a:pt x="1192" y="5037"/>
                    <a:pt x="1203" y="4894"/>
                  </a:cubicBezTo>
                  <a:cubicBezTo>
                    <a:pt x="1215" y="4715"/>
                    <a:pt x="1144" y="4537"/>
                    <a:pt x="989" y="4442"/>
                  </a:cubicBezTo>
                  <a:cubicBezTo>
                    <a:pt x="751" y="4275"/>
                    <a:pt x="620" y="3989"/>
                    <a:pt x="691" y="3703"/>
                  </a:cubicBezTo>
                  <a:cubicBezTo>
                    <a:pt x="751" y="3429"/>
                    <a:pt x="965" y="3203"/>
                    <a:pt x="1251" y="3156"/>
                  </a:cubicBezTo>
                  <a:cubicBezTo>
                    <a:pt x="1299" y="3144"/>
                    <a:pt x="1334" y="3144"/>
                    <a:pt x="1382" y="3144"/>
                  </a:cubicBezTo>
                  <a:close/>
                  <a:moveTo>
                    <a:pt x="7002" y="3144"/>
                  </a:moveTo>
                  <a:cubicBezTo>
                    <a:pt x="7037" y="3144"/>
                    <a:pt x="7085" y="3144"/>
                    <a:pt x="7145" y="3156"/>
                  </a:cubicBezTo>
                  <a:cubicBezTo>
                    <a:pt x="7430" y="3203"/>
                    <a:pt x="7669" y="3441"/>
                    <a:pt x="7716" y="3703"/>
                  </a:cubicBezTo>
                  <a:cubicBezTo>
                    <a:pt x="7776" y="3989"/>
                    <a:pt x="7657" y="4275"/>
                    <a:pt x="7418" y="4442"/>
                  </a:cubicBezTo>
                  <a:cubicBezTo>
                    <a:pt x="7264" y="4537"/>
                    <a:pt x="7180" y="4715"/>
                    <a:pt x="7192" y="4894"/>
                  </a:cubicBezTo>
                  <a:cubicBezTo>
                    <a:pt x="7204" y="5037"/>
                    <a:pt x="7192" y="5168"/>
                    <a:pt x="7145" y="5299"/>
                  </a:cubicBezTo>
                  <a:cubicBezTo>
                    <a:pt x="7037" y="5632"/>
                    <a:pt x="6740" y="5894"/>
                    <a:pt x="6406" y="5954"/>
                  </a:cubicBezTo>
                  <a:cubicBezTo>
                    <a:pt x="6348" y="5966"/>
                    <a:pt x="6290" y="5971"/>
                    <a:pt x="6233" y="5971"/>
                  </a:cubicBezTo>
                  <a:cubicBezTo>
                    <a:pt x="6126" y="5971"/>
                    <a:pt x="6023" y="5953"/>
                    <a:pt x="5930" y="5930"/>
                  </a:cubicBezTo>
                  <a:cubicBezTo>
                    <a:pt x="6287" y="5549"/>
                    <a:pt x="6537" y="5073"/>
                    <a:pt x="6609" y="4537"/>
                  </a:cubicBezTo>
                  <a:lnTo>
                    <a:pt x="6728" y="4537"/>
                  </a:lnTo>
                  <a:cubicBezTo>
                    <a:pt x="7061" y="4537"/>
                    <a:pt x="7323" y="4275"/>
                    <a:pt x="7323" y="3941"/>
                  </a:cubicBezTo>
                  <a:cubicBezTo>
                    <a:pt x="7323" y="3703"/>
                    <a:pt x="7168" y="3501"/>
                    <a:pt x="6966" y="3394"/>
                  </a:cubicBezTo>
                  <a:lnTo>
                    <a:pt x="6966" y="3144"/>
                  </a:lnTo>
                  <a:close/>
                  <a:moveTo>
                    <a:pt x="4216" y="346"/>
                  </a:moveTo>
                  <a:cubicBezTo>
                    <a:pt x="5585" y="346"/>
                    <a:pt x="6680" y="1441"/>
                    <a:pt x="6680" y="2810"/>
                  </a:cubicBezTo>
                  <a:lnTo>
                    <a:pt x="6680" y="3346"/>
                  </a:lnTo>
                  <a:lnTo>
                    <a:pt x="6668" y="3346"/>
                  </a:lnTo>
                  <a:cubicBezTo>
                    <a:pt x="6502" y="3346"/>
                    <a:pt x="6347" y="3322"/>
                    <a:pt x="6192" y="3287"/>
                  </a:cubicBezTo>
                  <a:cubicBezTo>
                    <a:pt x="6180" y="3283"/>
                    <a:pt x="6167" y="3281"/>
                    <a:pt x="6154" y="3281"/>
                  </a:cubicBezTo>
                  <a:cubicBezTo>
                    <a:pt x="6081" y="3281"/>
                    <a:pt x="6008" y="3335"/>
                    <a:pt x="5978" y="3406"/>
                  </a:cubicBezTo>
                  <a:cubicBezTo>
                    <a:pt x="5954" y="3501"/>
                    <a:pt x="6014" y="3584"/>
                    <a:pt x="6097" y="3620"/>
                  </a:cubicBezTo>
                  <a:cubicBezTo>
                    <a:pt x="6299" y="3680"/>
                    <a:pt x="6490" y="3691"/>
                    <a:pt x="6668" y="3691"/>
                  </a:cubicBezTo>
                  <a:lnTo>
                    <a:pt x="6752" y="3691"/>
                  </a:lnTo>
                  <a:cubicBezTo>
                    <a:pt x="6907" y="3691"/>
                    <a:pt x="7026" y="3810"/>
                    <a:pt x="7026" y="3965"/>
                  </a:cubicBezTo>
                  <a:cubicBezTo>
                    <a:pt x="7026" y="4108"/>
                    <a:pt x="6907" y="4227"/>
                    <a:pt x="6752" y="4227"/>
                  </a:cubicBezTo>
                  <a:lnTo>
                    <a:pt x="6656" y="4227"/>
                  </a:lnTo>
                  <a:lnTo>
                    <a:pt x="6656" y="4215"/>
                  </a:lnTo>
                  <a:cubicBezTo>
                    <a:pt x="6656" y="4120"/>
                    <a:pt x="6573" y="4049"/>
                    <a:pt x="6490" y="4049"/>
                  </a:cubicBezTo>
                  <a:cubicBezTo>
                    <a:pt x="6395" y="4049"/>
                    <a:pt x="6323" y="4120"/>
                    <a:pt x="6323" y="4215"/>
                  </a:cubicBezTo>
                  <a:cubicBezTo>
                    <a:pt x="6323" y="5370"/>
                    <a:pt x="5371" y="6323"/>
                    <a:pt x="4216" y="6323"/>
                  </a:cubicBezTo>
                  <a:cubicBezTo>
                    <a:pt x="3037" y="6311"/>
                    <a:pt x="2084" y="5358"/>
                    <a:pt x="2084" y="4203"/>
                  </a:cubicBezTo>
                  <a:cubicBezTo>
                    <a:pt x="2084" y="4108"/>
                    <a:pt x="2013" y="4037"/>
                    <a:pt x="1918" y="4037"/>
                  </a:cubicBezTo>
                  <a:cubicBezTo>
                    <a:pt x="1834" y="4037"/>
                    <a:pt x="1763" y="4108"/>
                    <a:pt x="1763" y="4203"/>
                  </a:cubicBezTo>
                  <a:lnTo>
                    <a:pt x="1763" y="4215"/>
                  </a:lnTo>
                  <a:lnTo>
                    <a:pt x="1656" y="4215"/>
                  </a:lnTo>
                  <a:cubicBezTo>
                    <a:pt x="1501" y="4215"/>
                    <a:pt x="1382" y="4096"/>
                    <a:pt x="1382" y="3941"/>
                  </a:cubicBezTo>
                  <a:cubicBezTo>
                    <a:pt x="1382" y="3799"/>
                    <a:pt x="1501" y="3680"/>
                    <a:pt x="1656" y="3680"/>
                  </a:cubicBezTo>
                  <a:lnTo>
                    <a:pt x="1739" y="3680"/>
                  </a:lnTo>
                  <a:cubicBezTo>
                    <a:pt x="2918" y="3680"/>
                    <a:pt x="3847" y="2667"/>
                    <a:pt x="4180" y="2215"/>
                  </a:cubicBezTo>
                  <a:lnTo>
                    <a:pt x="4216" y="2215"/>
                  </a:lnTo>
                  <a:cubicBezTo>
                    <a:pt x="4418" y="2489"/>
                    <a:pt x="4871" y="2977"/>
                    <a:pt x="5454" y="3322"/>
                  </a:cubicBezTo>
                  <a:cubicBezTo>
                    <a:pt x="5476" y="3337"/>
                    <a:pt x="5502" y="3344"/>
                    <a:pt x="5528" y="3344"/>
                  </a:cubicBezTo>
                  <a:cubicBezTo>
                    <a:pt x="5586" y="3344"/>
                    <a:pt x="5644" y="3312"/>
                    <a:pt x="5668" y="3263"/>
                  </a:cubicBezTo>
                  <a:cubicBezTo>
                    <a:pt x="5716" y="3191"/>
                    <a:pt x="5680" y="3084"/>
                    <a:pt x="5609" y="3037"/>
                  </a:cubicBezTo>
                  <a:cubicBezTo>
                    <a:pt x="5073" y="2727"/>
                    <a:pt x="4680" y="2263"/>
                    <a:pt x="4478" y="2025"/>
                  </a:cubicBezTo>
                  <a:cubicBezTo>
                    <a:pt x="4418" y="1929"/>
                    <a:pt x="4323" y="1894"/>
                    <a:pt x="4216" y="1894"/>
                  </a:cubicBezTo>
                  <a:cubicBezTo>
                    <a:pt x="4109" y="1894"/>
                    <a:pt x="4001" y="1941"/>
                    <a:pt x="3942" y="2025"/>
                  </a:cubicBezTo>
                  <a:cubicBezTo>
                    <a:pt x="2989" y="3227"/>
                    <a:pt x="2096" y="3346"/>
                    <a:pt x="1763" y="3346"/>
                  </a:cubicBezTo>
                  <a:lnTo>
                    <a:pt x="1739" y="3346"/>
                  </a:lnTo>
                  <a:lnTo>
                    <a:pt x="1739" y="2810"/>
                  </a:lnTo>
                  <a:cubicBezTo>
                    <a:pt x="1739" y="1453"/>
                    <a:pt x="2846" y="346"/>
                    <a:pt x="4216" y="346"/>
                  </a:cubicBezTo>
                  <a:close/>
                  <a:moveTo>
                    <a:pt x="5085" y="6477"/>
                  </a:moveTo>
                  <a:lnTo>
                    <a:pt x="5085" y="7359"/>
                  </a:lnTo>
                  <a:cubicBezTo>
                    <a:pt x="5085" y="7847"/>
                    <a:pt x="4692" y="8252"/>
                    <a:pt x="4192" y="8252"/>
                  </a:cubicBezTo>
                  <a:cubicBezTo>
                    <a:pt x="3704" y="8252"/>
                    <a:pt x="3299" y="7847"/>
                    <a:pt x="3299" y="7359"/>
                  </a:cubicBezTo>
                  <a:lnTo>
                    <a:pt x="3299" y="6477"/>
                  </a:lnTo>
                  <a:cubicBezTo>
                    <a:pt x="3573" y="6585"/>
                    <a:pt x="3882" y="6644"/>
                    <a:pt x="4192" y="6644"/>
                  </a:cubicBezTo>
                  <a:cubicBezTo>
                    <a:pt x="4513" y="6644"/>
                    <a:pt x="4811" y="6585"/>
                    <a:pt x="5085" y="6477"/>
                  </a:cubicBezTo>
                  <a:close/>
                  <a:moveTo>
                    <a:pt x="5430" y="7061"/>
                  </a:moveTo>
                  <a:lnTo>
                    <a:pt x="5883" y="7204"/>
                  </a:lnTo>
                  <a:cubicBezTo>
                    <a:pt x="5954" y="7239"/>
                    <a:pt x="6002" y="7299"/>
                    <a:pt x="6002" y="7370"/>
                  </a:cubicBezTo>
                  <a:cubicBezTo>
                    <a:pt x="6014" y="7990"/>
                    <a:pt x="5883" y="8502"/>
                    <a:pt x="5752" y="8799"/>
                  </a:cubicBezTo>
                  <a:cubicBezTo>
                    <a:pt x="5664" y="9003"/>
                    <a:pt x="5465" y="9128"/>
                    <a:pt x="5259" y="9128"/>
                  </a:cubicBezTo>
                  <a:cubicBezTo>
                    <a:pt x="5213" y="9128"/>
                    <a:pt x="5166" y="9122"/>
                    <a:pt x="5121" y="9109"/>
                  </a:cubicBezTo>
                  <a:lnTo>
                    <a:pt x="4240" y="8883"/>
                  </a:lnTo>
                  <a:lnTo>
                    <a:pt x="4168" y="8883"/>
                  </a:lnTo>
                  <a:lnTo>
                    <a:pt x="3287" y="9109"/>
                  </a:lnTo>
                  <a:cubicBezTo>
                    <a:pt x="3247" y="9118"/>
                    <a:pt x="3205" y="9123"/>
                    <a:pt x="3164" y="9123"/>
                  </a:cubicBezTo>
                  <a:cubicBezTo>
                    <a:pt x="2953" y="9123"/>
                    <a:pt x="2748" y="8999"/>
                    <a:pt x="2668" y="8799"/>
                  </a:cubicBezTo>
                  <a:cubicBezTo>
                    <a:pt x="2525" y="8490"/>
                    <a:pt x="2394" y="7990"/>
                    <a:pt x="2430" y="7370"/>
                  </a:cubicBezTo>
                  <a:cubicBezTo>
                    <a:pt x="2430" y="7299"/>
                    <a:pt x="2489" y="7216"/>
                    <a:pt x="2549" y="7204"/>
                  </a:cubicBezTo>
                  <a:lnTo>
                    <a:pt x="2989" y="7061"/>
                  </a:lnTo>
                  <a:lnTo>
                    <a:pt x="2989" y="7359"/>
                  </a:lnTo>
                  <a:cubicBezTo>
                    <a:pt x="2989" y="8025"/>
                    <a:pt x="3537" y="8573"/>
                    <a:pt x="4216" y="8573"/>
                  </a:cubicBezTo>
                  <a:cubicBezTo>
                    <a:pt x="4882" y="8573"/>
                    <a:pt x="5430" y="8025"/>
                    <a:pt x="5430" y="7359"/>
                  </a:cubicBezTo>
                  <a:lnTo>
                    <a:pt x="5430" y="7061"/>
                  </a:lnTo>
                  <a:close/>
                  <a:moveTo>
                    <a:pt x="4204" y="0"/>
                  </a:moveTo>
                  <a:cubicBezTo>
                    <a:pt x="2656" y="0"/>
                    <a:pt x="1406" y="1251"/>
                    <a:pt x="1406" y="2798"/>
                  </a:cubicBezTo>
                  <a:lnTo>
                    <a:pt x="1406" y="2810"/>
                  </a:lnTo>
                  <a:cubicBezTo>
                    <a:pt x="1346" y="2810"/>
                    <a:pt x="1263" y="2810"/>
                    <a:pt x="1203" y="2822"/>
                  </a:cubicBezTo>
                  <a:cubicBezTo>
                    <a:pt x="787" y="2906"/>
                    <a:pt x="453" y="3227"/>
                    <a:pt x="370" y="3644"/>
                  </a:cubicBezTo>
                  <a:cubicBezTo>
                    <a:pt x="287" y="4061"/>
                    <a:pt x="465" y="4477"/>
                    <a:pt x="811" y="4715"/>
                  </a:cubicBezTo>
                  <a:cubicBezTo>
                    <a:pt x="870" y="4751"/>
                    <a:pt x="894" y="4823"/>
                    <a:pt x="882" y="4882"/>
                  </a:cubicBezTo>
                  <a:cubicBezTo>
                    <a:pt x="870" y="5061"/>
                    <a:pt x="882" y="5239"/>
                    <a:pt x="941" y="5418"/>
                  </a:cubicBezTo>
                  <a:cubicBezTo>
                    <a:pt x="1084" y="5858"/>
                    <a:pt x="1477" y="6204"/>
                    <a:pt x="1942" y="6299"/>
                  </a:cubicBezTo>
                  <a:cubicBezTo>
                    <a:pt x="2013" y="6311"/>
                    <a:pt x="2096" y="6311"/>
                    <a:pt x="2180" y="6311"/>
                  </a:cubicBezTo>
                  <a:cubicBezTo>
                    <a:pt x="2370" y="6311"/>
                    <a:pt x="2561" y="6263"/>
                    <a:pt x="2739" y="6180"/>
                  </a:cubicBezTo>
                  <a:cubicBezTo>
                    <a:pt x="2811" y="6239"/>
                    <a:pt x="2894" y="6275"/>
                    <a:pt x="2977" y="6323"/>
                  </a:cubicBezTo>
                  <a:lnTo>
                    <a:pt x="2977" y="6716"/>
                  </a:lnTo>
                  <a:lnTo>
                    <a:pt x="2430" y="6906"/>
                  </a:lnTo>
                  <a:cubicBezTo>
                    <a:pt x="2239" y="6978"/>
                    <a:pt x="2096" y="7156"/>
                    <a:pt x="2084" y="7370"/>
                  </a:cubicBezTo>
                  <a:lnTo>
                    <a:pt x="2084" y="7394"/>
                  </a:lnTo>
                  <a:lnTo>
                    <a:pt x="822" y="7847"/>
                  </a:lnTo>
                  <a:cubicBezTo>
                    <a:pt x="334" y="8025"/>
                    <a:pt x="1" y="8466"/>
                    <a:pt x="1" y="8990"/>
                  </a:cubicBezTo>
                  <a:lnTo>
                    <a:pt x="1" y="11061"/>
                  </a:lnTo>
                  <a:cubicBezTo>
                    <a:pt x="1" y="11145"/>
                    <a:pt x="72" y="11228"/>
                    <a:pt x="168" y="11228"/>
                  </a:cubicBezTo>
                  <a:cubicBezTo>
                    <a:pt x="251" y="11228"/>
                    <a:pt x="334" y="11145"/>
                    <a:pt x="334" y="11061"/>
                  </a:cubicBezTo>
                  <a:lnTo>
                    <a:pt x="334" y="8990"/>
                  </a:lnTo>
                  <a:cubicBezTo>
                    <a:pt x="334" y="8883"/>
                    <a:pt x="346" y="8787"/>
                    <a:pt x="394" y="8680"/>
                  </a:cubicBezTo>
                  <a:lnTo>
                    <a:pt x="1227" y="9395"/>
                  </a:lnTo>
                  <a:cubicBezTo>
                    <a:pt x="1346" y="9490"/>
                    <a:pt x="1418" y="9645"/>
                    <a:pt x="1418" y="9787"/>
                  </a:cubicBezTo>
                  <a:lnTo>
                    <a:pt x="1418" y="11061"/>
                  </a:lnTo>
                  <a:cubicBezTo>
                    <a:pt x="1418" y="11145"/>
                    <a:pt x="1489" y="11228"/>
                    <a:pt x="1584" y="11228"/>
                  </a:cubicBezTo>
                  <a:cubicBezTo>
                    <a:pt x="1668" y="11228"/>
                    <a:pt x="1739" y="11145"/>
                    <a:pt x="1739" y="11061"/>
                  </a:cubicBezTo>
                  <a:lnTo>
                    <a:pt x="1739" y="9787"/>
                  </a:lnTo>
                  <a:cubicBezTo>
                    <a:pt x="1739" y="9537"/>
                    <a:pt x="1644" y="9299"/>
                    <a:pt x="1442" y="9144"/>
                  </a:cubicBezTo>
                  <a:lnTo>
                    <a:pt x="584" y="8394"/>
                  </a:lnTo>
                  <a:cubicBezTo>
                    <a:pt x="668" y="8287"/>
                    <a:pt x="811" y="8204"/>
                    <a:pt x="941" y="8156"/>
                  </a:cubicBezTo>
                  <a:lnTo>
                    <a:pt x="2096" y="7751"/>
                  </a:lnTo>
                  <a:cubicBezTo>
                    <a:pt x="2132" y="8263"/>
                    <a:pt x="2251" y="8680"/>
                    <a:pt x="2370" y="8942"/>
                  </a:cubicBezTo>
                  <a:cubicBezTo>
                    <a:pt x="2508" y="9277"/>
                    <a:pt x="2825" y="9481"/>
                    <a:pt x="3167" y="9481"/>
                  </a:cubicBezTo>
                  <a:cubicBezTo>
                    <a:pt x="3238" y="9481"/>
                    <a:pt x="3310" y="9473"/>
                    <a:pt x="3382" y="9454"/>
                  </a:cubicBezTo>
                  <a:lnTo>
                    <a:pt x="4061" y="9287"/>
                  </a:lnTo>
                  <a:lnTo>
                    <a:pt x="4061" y="9823"/>
                  </a:lnTo>
                  <a:cubicBezTo>
                    <a:pt x="4061" y="9918"/>
                    <a:pt x="4144" y="9990"/>
                    <a:pt x="4228" y="9990"/>
                  </a:cubicBezTo>
                  <a:cubicBezTo>
                    <a:pt x="4311" y="9990"/>
                    <a:pt x="4394" y="9918"/>
                    <a:pt x="4394" y="9823"/>
                  </a:cubicBezTo>
                  <a:lnTo>
                    <a:pt x="4394" y="9287"/>
                  </a:lnTo>
                  <a:lnTo>
                    <a:pt x="5073" y="9454"/>
                  </a:lnTo>
                  <a:cubicBezTo>
                    <a:pt x="5144" y="9466"/>
                    <a:pt x="5228" y="9478"/>
                    <a:pt x="5287" y="9478"/>
                  </a:cubicBezTo>
                  <a:cubicBezTo>
                    <a:pt x="5621" y="9478"/>
                    <a:pt x="5942" y="9275"/>
                    <a:pt x="6085" y="8942"/>
                  </a:cubicBezTo>
                  <a:cubicBezTo>
                    <a:pt x="6204" y="8680"/>
                    <a:pt x="6323" y="8263"/>
                    <a:pt x="6359" y="7751"/>
                  </a:cubicBezTo>
                  <a:lnTo>
                    <a:pt x="7514" y="8156"/>
                  </a:lnTo>
                  <a:cubicBezTo>
                    <a:pt x="7669" y="8204"/>
                    <a:pt x="7788" y="8287"/>
                    <a:pt x="7871" y="8394"/>
                  </a:cubicBezTo>
                  <a:lnTo>
                    <a:pt x="7014" y="9133"/>
                  </a:lnTo>
                  <a:cubicBezTo>
                    <a:pt x="6823" y="9299"/>
                    <a:pt x="6716" y="9537"/>
                    <a:pt x="6716" y="9787"/>
                  </a:cubicBezTo>
                  <a:lnTo>
                    <a:pt x="6716" y="11061"/>
                  </a:lnTo>
                  <a:cubicBezTo>
                    <a:pt x="6716" y="11145"/>
                    <a:pt x="6787" y="11216"/>
                    <a:pt x="6871" y="11216"/>
                  </a:cubicBezTo>
                  <a:cubicBezTo>
                    <a:pt x="6966" y="11216"/>
                    <a:pt x="7037" y="11145"/>
                    <a:pt x="7037" y="11061"/>
                  </a:cubicBezTo>
                  <a:lnTo>
                    <a:pt x="7037" y="9787"/>
                  </a:lnTo>
                  <a:cubicBezTo>
                    <a:pt x="7037" y="9633"/>
                    <a:pt x="7109" y="9478"/>
                    <a:pt x="7228" y="9395"/>
                  </a:cubicBezTo>
                  <a:lnTo>
                    <a:pt x="8061" y="8680"/>
                  </a:lnTo>
                  <a:cubicBezTo>
                    <a:pt x="8097" y="8775"/>
                    <a:pt x="8121" y="8883"/>
                    <a:pt x="8121" y="8990"/>
                  </a:cubicBezTo>
                  <a:lnTo>
                    <a:pt x="8121" y="11061"/>
                  </a:lnTo>
                  <a:cubicBezTo>
                    <a:pt x="8121" y="11145"/>
                    <a:pt x="8204" y="11216"/>
                    <a:pt x="8288" y="11216"/>
                  </a:cubicBezTo>
                  <a:cubicBezTo>
                    <a:pt x="8383" y="11216"/>
                    <a:pt x="8454" y="11145"/>
                    <a:pt x="8454" y="11061"/>
                  </a:cubicBezTo>
                  <a:lnTo>
                    <a:pt x="8454" y="8990"/>
                  </a:lnTo>
                  <a:cubicBezTo>
                    <a:pt x="8395" y="8466"/>
                    <a:pt x="8061" y="8013"/>
                    <a:pt x="7573" y="7847"/>
                  </a:cubicBezTo>
                  <a:lnTo>
                    <a:pt x="6311" y="7394"/>
                  </a:lnTo>
                  <a:lnTo>
                    <a:pt x="6311" y="7370"/>
                  </a:lnTo>
                  <a:cubicBezTo>
                    <a:pt x="6299" y="7156"/>
                    <a:pt x="6168" y="6978"/>
                    <a:pt x="5966" y="6906"/>
                  </a:cubicBezTo>
                  <a:lnTo>
                    <a:pt x="5418" y="6716"/>
                  </a:lnTo>
                  <a:lnTo>
                    <a:pt x="5418" y="6323"/>
                  </a:lnTo>
                  <a:cubicBezTo>
                    <a:pt x="5502" y="6275"/>
                    <a:pt x="5585" y="6216"/>
                    <a:pt x="5656" y="6180"/>
                  </a:cubicBezTo>
                  <a:cubicBezTo>
                    <a:pt x="5835" y="6263"/>
                    <a:pt x="6025" y="6311"/>
                    <a:pt x="6216" y="6311"/>
                  </a:cubicBezTo>
                  <a:cubicBezTo>
                    <a:pt x="6299" y="6311"/>
                    <a:pt x="6383" y="6311"/>
                    <a:pt x="6454" y="6299"/>
                  </a:cubicBezTo>
                  <a:cubicBezTo>
                    <a:pt x="6918" y="6204"/>
                    <a:pt x="7311" y="5858"/>
                    <a:pt x="7454" y="5418"/>
                  </a:cubicBezTo>
                  <a:cubicBezTo>
                    <a:pt x="7514" y="5239"/>
                    <a:pt x="7526" y="5061"/>
                    <a:pt x="7514" y="4882"/>
                  </a:cubicBezTo>
                  <a:cubicBezTo>
                    <a:pt x="7514" y="4823"/>
                    <a:pt x="7549" y="4751"/>
                    <a:pt x="7585" y="4715"/>
                  </a:cubicBezTo>
                  <a:cubicBezTo>
                    <a:pt x="7954" y="4477"/>
                    <a:pt x="8109" y="4061"/>
                    <a:pt x="8026" y="3644"/>
                  </a:cubicBezTo>
                  <a:cubicBezTo>
                    <a:pt x="7930" y="3227"/>
                    <a:pt x="7609" y="2906"/>
                    <a:pt x="7192" y="2822"/>
                  </a:cubicBezTo>
                  <a:cubicBezTo>
                    <a:pt x="7133" y="2810"/>
                    <a:pt x="7061" y="2810"/>
                    <a:pt x="7002" y="2810"/>
                  </a:cubicBezTo>
                  <a:lnTo>
                    <a:pt x="7002" y="2798"/>
                  </a:lnTo>
                  <a:cubicBezTo>
                    <a:pt x="7002" y="1251"/>
                    <a:pt x="5752" y="0"/>
                    <a:pt x="42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6" name="Google Shape;12146;p61"/>
            <p:cNvSpPr/>
            <p:nvPr/>
          </p:nvSpPr>
          <p:spPr>
            <a:xfrm>
              <a:off x="5031281" y="1828007"/>
              <a:ext cx="10201" cy="15872"/>
            </a:xfrm>
            <a:custGeom>
              <a:avLst/>
              <a:gdLst/>
              <a:ahLst/>
              <a:cxnLst/>
              <a:rect l="l" t="t" r="r" b="b"/>
              <a:pathLst>
                <a:path w="322" h="501" extrusionOk="0">
                  <a:moveTo>
                    <a:pt x="155" y="0"/>
                  </a:moveTo>
                  <a:cubicBezTo>
                    <a:pt x="72" y="0"/>
                    <a:pt x="0" y="71"/>
                    <a:pt x="0" y="167"/>
                  </a:cubicBezTo>
                  <a:lnTo>
                    <a:pt x="0" y="345"/>
                  </a:lnTo>
                  <a:cubicBezTo>
                    <a:pt x="0" y="429"/>
                    <a:pt x="72" y="500"/>
                    <a:pt x="155" y="500"/>
                  </a:cubicBezTo>
                  <a:cubicBezTo>
                    <a:pt x="250" y="500"/>
                    <a:pt x="322" y="429"/>
                    <a:pt x="322" y="345"/>
                  </a:cubicBezTo>
                  <a:lnTo>
                    <a:pt x="322" y="167"/>
                  </a:lnTo>
                  <a:cubicBezTo>
                    <a:pt x="322" y="71"/>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47" name="Google Shape;12147;p61"/>
          <p:cNvGrpSpPr/>
          <p:nvPr/>
        </p:nvGrpSpPr>
        <p:grpSpPr>
          <a:xfrm>
            <a:off x="7613518" y="1501354"/>
            <a:ext cx="264433" cy="353074"/>
            <a:chOff x="7613518" y="1501354"/>
            <a:chExt cx="264433" cy="353074"/>
          </a:xfrm>
        </p:grpSpPr>
        <p:sp>
          <p:nvSpPr>
            <p:cNvPr id="12148" name="Google Shape;12148;p61"/>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9" name="Google Shape;12149;p61"/>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0" name="Google Shape;12150;p61"/>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1" name="Google Shape;12151;p61"/>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2" name="Google Shape;12152;p61"/>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3" name="Google Shape;12153;p61"/>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157"/>
        <p:cNvGrpSpPr/>
        <p:nvPr/>
      </p:nvGrpSpPr>
      <p:grpSpPr>
        <a:xfrm>
          <a:off x="0" y="0"/>
          <a:ext cx="0" cy="0"/>
          <a:chOff x="0" y="0"/>
          <a:chExt cx="0" cy="0"/>
        </a:xfrm>
      </p:grpSpPr>
      <p:sp>
        <p:nvSpPr>
          <p:cNvPr id="12158" name="Google Shape;12158;p62"/>
          <p:cNvSpPr txBox="1">
            <a:spLocks noGrp="1"/>
          </p:cNvSpPr>
          <p:nvPr>
            <p:ph type="title" idx="4294967295"/>
          </p:nvPr>
        </p:nvSpPr>
        <p:spPr>
          <a:xfrm>
            <a:off x="849675"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2159" name="Google Shape;12159;p62"/>
          <p:cNvSpPr txBox="1">
            <a:spLocks noGrp="1"/>
          </p:cNvSpPr>
          <p:nvPr>
            <p:ph type="title" idx="4294967295"/>
          </p:nvPr>
        </p:nvSpPr>
        <p:spPr>
          <a:xfrm>
            <a:off x="4858400" y="943800"/>
            <a:ext cx="34821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2160" name="Google Shape;12160;p62"/>
          <p:cNvGrpSpPr/>
          <p:nvPr/>
        </p:nvGrpSpPr>
        <p:grpSpPr>
          <a:xfrm>
            <a:off x="1757085" y="1500675"/>
            <a:ext cx="371069" cy="359396"/>
            <a:chOff x="1757085" y="1500675"/>
            <a:chExt cx="371069" cy="359396"/>
          </a:xfrm>
        </p:grpSpPr>
        <p:sp>
          <p:nvSpPr>
            <p:cNvPr id="12161" name="Google Shape;12161;p62"/>
            <p:cNvSpPr/>
            <p:nvPr/>
          </p:nvSpPr>
          <p:spPr>
            <a:xfrm>
              <a:off x="2032389" y="1667206"/>
              <a:ext cx="66313" cy="60684"/>
            </a:xfrm>
            <a:custGeom>
              <a:avLst/>
              <a:gdLst/>
              <a:ahLst/>
              <a:cxnLst/>
              <a:rect l="l" t="t" r="r" b="b"/>
              <a:pathLst>
                <a:path w="2085" h="1908" extrusionOk="0">
                  <a:moveTo>
                    <a:pt x="978" y="0"/>
                  </a:moveTo>
                  <a:cubicBezTo>
                    <a:pt x="891" y="0"/>
                    <a:pt x="803" y="13"/>
                    <a:pt x="715" y="39"/>
                  </a:cubicBezTo>
                  <a:cubicBezTo>
                    <a:pt x="298" y="158"/>
                    <a:pt x="1" y="539"/>
                    <a:pt x="1" y="979"/>
                  </a:cubicBezTo>
                  <a:cubicBezTo>
                    <a:pt x="1" y="1348"/>
                    <a:pt x="215" y="1670"/>
                    <a:pt x="524" y="1836"/>
                  </a:cubicBezTo>
                  <a:cubicBezTo>
                    <a:pt x="546" y="1851"/>
                    <a:pt x="571" y="1858"/>
                    <a:pt x="597" y="1858"/>
                  </a:cubicBezTo>
                  <a:cubicBezTo>
                    <a:pt x="656" y="1858"/>
                    <a:pt x="718" y="1823"/>
                    <a:pt x="751" y="1765"/>
                  </a:cubicBezTo>
                  <a:cubicBezTo>
                    <a:pt x="798" y="1694"/>
                    <a:pt x="763" y="1586"/>
                    <a:pt x="679" y="1539"/>
                  </a:cubicBezTo>
                  <a:cubicBezTo>
                    <a:pt x="155" y="1277"/>
                    <a:pt x="239" y="503"/>
                    <a:pt x="810" y="348"/>
                  </a:cubicBezTo>
                  <a:cubicBezTo>
                    <a:pt x="866" y="333"/>
                    <a:pt x="922" y="326"/>
                    <a:pt x="977" y="326"/>
                  </a:cubicBezTo>
                  <a:cubicBezTo>
                    <a:pt x="1316" y="326"/>
                    <a:pt x="1608" y="600"/>
                    <a:pt x="1608" y="979"/>
                  </a:cubicBezTo>
                  <a:cubicBezTo>
                    <a:pt x="1608" y="1241"/>
                    <a:pt x="1429" y="1491"/>
                    <a:pt x="1179" y="1586"/>
                  </a:cubicBezTo>
                  <a:cubicBezTo>
                    <a:pt x="1001" y="1646"/>
                    <a:pt x="1048" y="1908"/>
                    <a:pt x="1239" y="1908"/>
                  </a:cubicBezTo>
                  <a:cubicBezTo>
                    <a:pt x="1477" y="1908"/>
                    <a:pt x="2084" y="1420"/>
                    <a:pt x="1906" y="717"/>
                  </a:cubicBezTo>
                  <a:cubicBezTo>
                    <a:pt x="1797" y="301"/>
                    <a:pt x="1407" y="0"/>
                    <a:pt x="9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2" name="Google Shape;12162;p62"/>
            <p:cNvSpPr/>
            <p:nvPr/>
          </p:nvSpPr>
          <p:spPr>
            <a:xfrm>
              <a:off x="1971419" y="1747609"/>
              <a:ext cx="12531" cy="11513"/>
            </a:xfrm>
            <a:custGeom>
              <a:avLst/>
              <a:gdLst/>
              <a:ahLst/>
              <a:cxnLst/>
              <a:rect l="l" t="t" r="r" b="b"/>
              <a:pathLst>
                <a:path w="394" h="362" extrusionOk="0">
                  <a:moveTo>
                    <a:pt x="212" y="0"/>
                  </a:moveTo>
                  <a:cubicBezTo>
                    <a:pt x="194" y="0"/>
                    <a:pt x="175" y="4"/>
                    <a:pt x="155" y="11"/>
                  </a:cubicBezTo>
                  <a:cubicBezTo>
                    <a:pt x="60" y="35"/>
                    <a:pt x="1" y="130"/>
                    <a:pt x="36" y="237"/>
                  </a:cubicBezTo>
                  <a:cubicBezTo>
                    <a:pt x="57" y="308"/>
                    <a:pt x="128" y="361"/>
                    <a:pt x="208" y="361"/>
                  </a:cubicBezTo>
                  <a:cubicBezTo>
                    <a:pt x="222" y="361"/>
                    <a:pt x="236" y="360"/>
                    <a:pt x="251" y="356"/>
                  </a:cubicBezTo>
                  <a:cubicBezTo>
                    <a:pt x="346" y="320"/>
                    <a:pt x="394" y="213"/>
                    <a:pt x="370" y="130"/>
                  </a:cubicBezTo>
                  <a:cubicBezTo>
                    <a:pt x="351" y="54"/>
                    <a:pt x="286" y="0"/>
                    <a:pt x="2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3" name="Google Shape;12163;p62"/>
            <p:cNvSpPr/>
            <p:nvPr/>
          </p:nvSpPr>
          <p:spPr>
            <a:xfrm>
              <a:off x="2032008" y="1776202"/>
              <a:ext cx="62910" cy="61702"/>
            </a:xfrm>
            <a:custGeom>
              <a:avLst/>
              <a:gdLst/>
              <a:ahLst/>
              <a:cxnLst/>
              <a:rect l="l" t="t" r="r" b="b"/>
              <a:pathLst>
                <a:path w="1978" h="1940" extrusionOk="0">
                  <a:moveTo>
                    <a:pt x="988" y="0"/>
                  </a:moveTo>
                  <a:cubicBezTo>
                    <a:pt x="490" y="0"/>
                    <a:pt x="1" y="379"/>
                    <a:pt x="1" y="969"/>
                  </a:cubicBezTo>
                  <a:cubicBezTo>
                    <a:pt x="1" y="1543"/>
                    <a:pt x="471" y="1940"/>
                    <a:pt x="975" y="1940"/>
                  </a:cubicBezTo>
                  <a:cubicBezTo>
                    <a:pt x="1161" y="1940"/>
                    <a:pt x="1351" y="1886"/>
                    <a:pt x="1525" y="1767"/>
                  </a:cubicBezTo>
                  <a:cubicBezTo>
                    <a:pt x="1596" y="1731"/>
                    <a:pt x="1608" y="1624"/>
                    <a:pt x="1560" y="1553"/>
                  </a:cubicBezTo>
                  <a:cubicBezTo>
                    <a:pt x="1538" y="1501"/>
                    <a:pt x="1489" y="1477"/>
                    <a:pt x="1438" y="1477"/>
                  </a:cubicBezTo>
                  <a:cubicBezTo>
                    <a:pt x="1406" y="1477"/>
                    <a:pt x="1374" y="1487"/>
                    <a:pt x="1346" y="1505"/>
                  </a:cubicBezTo>
                  <a:cubicBezTo>
                    <a:pt x="1237" y="1576"/>
                    <a:pt x="1111" y="1612"/>
                    <a:pt x="985" y="1612"/>
                  </a:cubicBezTo>
                  <a:cubicBezTo>
                    <a:pt x="795" y="1612"/>
                    <a:pt x="606" y="1532"/>
                    <a:pt x="477" y="1374"/>
                  </a:cubicBezTo>
                  <a:cubicBezTo>
                    <a:pt x="155" y="957"/>
                    <a:pt x="453" y="326"/>
                    <a:pt x="989" y="326"/>
                  </a:cubicBezTo>
                  <a:cubicBezTo>
                    <a:pt x="1370" y="326"/>
                    <a:pt x="1679" y="672"/>
                    <a:pt x="1620" y="1076"/>
                  </a:cubicBezTo>
                  <a:cubicBezTo>
                    <a:pt x="1608" y="1160"/>
                    <a:pt x="1668" y="1255"/>
                    <a:pt x="1763" y="1267"/>
                  </a:cubicBezTo>
                  <a:cubicBezTo>
                    <a:pt x="1770" y="1268"/>
                    <a:pt x="1777" y="1268"/>
                    <a:pt x="1784" y="1268"/>
                  </a:cubicBezTo>
                  <a:cubicBezTo>
                    <a:pt x="1862" y="1268"/>
                    <a:pt x="1942" y="1212"/>
                    <a:pt x="1953" y="1136"/>
                  </a:cubicBezTo>
                  <a:cubicBezTo>
                    <a:pt x="1977" y="862"/>
                    <a:pt x="1918" y="600"/>
                    <a:pt x="1739" y="374"/>
                  </a:cubicBezTo>
                  <a:cubicBezTo>
                    <a:pt x="1540" y="116"/>
                    <a:pt x="1263" y="0"/>
                    <a:pt x="9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4" name="Google Shape;12164;p62"/>
            <p:cNvSpPr/>
            <p:nvPr/>
          </p:nvSpPr>
          <p:spPr>
            <a:xfrm>
              <a:off x="1976349"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5" name="Google Shape;12165;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6" name="Google Shape;1216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7" name="Google Shape;12167;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8" name="Google Shape;12168;p62"/>
            <p:cNvSpPr/>
            <p:nvPr/>
          </p:nvSpPr>
          <p:spPr>
            <a:xfrm>
              <a:off x="1976349" y="1730530"/>
              <a:ext cx="413" cy="32"/>
            </a:xfrm>
            <a:custGeom>
              <a:avLst/>
              <a:gdLst/>
              <a:ahLst/>
              <a:cxnLst/>
              <a:rect l="l" t="t" r="r" b="b"/>
              <a:pathLst>
                <a:path w="13" h="1" extrusionOk="0">
                  <a:moveTo>
                    <a:pt x="0" y="0"/>
                  </a:moveTo>
                  <a:lnTo>
                    <a:pt x="0" y="0"/>
                  </a:lnTo>
                  <a:cubicBezTo>
                    <a:pt x="12" y="0"/>
                    <a:pt x="12" y="0"/>
                    <a:pt x="0" y="0"/>
                  </a:cubicBezTo>
                  <a:cubicBezTo>
                    <a:pt x="12" y="0"/>
                    <a:pt x="12"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9" name="Google Shape;12169;p62"/>
            <p:cNvSpPr/>
            <p:nvPr/>
          </p:nvSpPr>
          <p:spPr>
            <a:xfrm>
              <a:off x="1976349" y="1730530"/>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0" name="Google Shape;12170;p62"/>
            <p:cNvSpPr/>
            <p:nvPr/>
          </p:nvSpPr>
          <p:spPr>
            <a:xfrm>
              <a:off x="1757085" y="1500675"/>
              <a:ext cx="371069" cy="359396"/>
            </a:xfrm>
            <a:custGeom>
              <a:avLst/>
              <a:gdLst/>
              <a:ahLst/>
              <a:cxnLst/>
              <a:rect l="l" t="t" r="r" b="b"/>
              <a:pathLst>
                <a:path w="11667" h="11300" extrusionOk="0">
                  <a:moveTo>
                    <a:pt x="9644" y="4908"/>
                  </a:moveTo>
                  <a:cubicBezTo>
                    <a:pt x="9857" y="4908"/>
                    <a:pt x="10077" y="4962"/>
                    <a:pt x="10288" y="5084"/>
                  </a:cubicBezTo>
                  <a:cubicBezTo>
                    <a:pt x="11264" y="5644"/>
                    <a:pt x="11085" y="7132"/>
                    <a:pt x="10002" y="7442"/>
                  </a:cubicBezTo>
                  <a:lnTo>
                    <a:pt x="9990" y="7442"/>
                  </a:lnTo>
                  <a:lnTo>
                    <a:pt x="8883" y="7739"/>
                  </a:lnTo>
                  <a:lnTo>
                    <a:pt x="7907" y="7477"/>
                  </a:lnTo>
                  <a:lnTo>
                    <a:pt x="7526" y="7370"/>
                  </a:lnTo>
                  <a:cubicBezTo>
                    <a:pt x="7978" y="7263"/>
                    <a:pt x="8145" y="7239"/>
                    <a:pt x="8168" y="7227"/>
                  </a:cubicBezTo>
                  <a:lnTo>
                    <a:pt x="8168" y="7227"/>
                  </a:lnTo>
                  <a:cubicBezTo>
                    <a:pt x="8139" y="7233"/>
                    <a:pt x="8037" y="7257"/>
                    <a:pt x="8029" y="7257"/>
                  </a:cubicBezTo>
                  <a:cubicBezTo>
                    <a:pt x="8020" y="7257"/>
                    <a:pt x="8103" y="7233"/>
                    <a:pt x="8442" y="7144"/>
                  </a:cubicBezTo>
                  <a:cubicBezTo>
                    <a:pt x="8538" y="7120"/>
                    <a:pt x="8597" y="7001"/>
                    <a:pt x="8538" y="6894"/>
                  </a:cubicBezTo>
                  <a:cubicBezTo>
                    <a:pt x="8466" y="6787"/>
                    <a:pt x="8418" y="6668"/>
                    <a:pt x="8395" y="6537"/>
                  </a:cubicBezTo>
                  <a:cubicBezTo>
                    <a:pt x="8160" y="5656"/>
                    <a:pt x="8855" y="4908"/>
                    <a:pt x="9644" y="4908"/>
                  </a:cubicBezTo>
                  <a:close/>
                  <a:moveTo>
                    <a:pt x="3874" y="6792"/>
                  </a:moveTo>
                  <a:cubicBezTo>
                    <a:pt x="3951" y="6792"/>
                    <a:pt x="4030" y="6802"/>
                    <a:pt x="4108" y="6822"/>
                  </a:cubicBezTo>
                  <a:lnTo>
                    <a:pt x="4632" y="6965"/>
                  </a:lnTo>
                  <a:lnTo>
                    <a:pt x="4954" y="7061"/>
                  </a:lnTo>
                  <a:cubicBezTo>
                    <a:pt x="4978" y="7072"/>
                    <a:pt x="5227" y="7132"/>
                    <a:pt x="6415" y="7452"/>
                  </a:cubicBezTo>
                  <a:lnTo>
                    <a:pt x="6415" y="7452"/>
                  </a:lnTo>
                  <a:cubicBezTo>
                    <a:pt x="6414" y="7452"/>
                    <a:pt x="6414" y="7452"/>
                    <a:pt x="6414" y="7452"/>
                  </a:cubicBezTo>
                  <a:cubicBezTo>
                    <a:pt x="6388" y="7452"/>
                    <a:pt x="6335" y="7537"/>
                    <a:pt x="6335" y="7537"/>
                  </a:cubicBezTo>
                  <a:cubicBezTo>
                    <a:pt x="6323" y="7549"/>
                    <a:pt x="6311" y="7561"/>
                    <a:pt x="6311" y="7596"/>
                  </a:cubicBezTo>
                  <a:cubicBezTo>
                    <a:pt x="6216" y="7751"/>
                    <a:pt x="6192" y="7954"/>
                    <a:pt x="6252" y="8108"/>
                  </a:cubicBezTo>
                  <a:cubicBezTo>
                    <a:pt x="4120" y="7537"/>
                    <a:pt x="5478" y="7906"/>
                    <a:pt x="3120" y="7275"/>
                  </a:cubicBezTo>
                  <a:cubicBezTo>
                    <a:pt x="3108" y="7275"/>
                    <a:pt x="3108" y="7263"/>
                    <a:pt x="3108" y="7251"/>
                  </a:cubicBezTo>
                  <a:cubicBezTo>
                    <a:pt x="3262" y="6963"/>
                    <a:pt x="3554" y="6792"/>
                    <a:pt x="3874" y="6792"/>
                  </a:cubicBezTo>
                  <a:close/>
                  <a:moveTo>
                    <a:pt x="4894" y="8096"/>
                  </a:moveTo>
                  <a:cubicBezTo>
                    <a:pt x="5966" y="8382"/>
                    <a:pt x="6204" y="8454"/>
                    <a:pt x="6252" y="8454"/>
                  </a:cubicBezTo>
                  <a:cubicBezTo>
                    <a:pt x="6216" y="8477"/>
                    <a:pt x="5954" y="8537"/>
                    <a:pt x="4097" y="9037"/>
                  </a:cubicBezTo>
                  <a:cubicBezTo>
                    <a:pt x="4020" y="9058"/>
                    <a:pt x="3943" y="9068"/>
                    <a:pt x="3866" y="9068"/>
                  </a:cubicBezTo>
                  <a:cubicBezTo>
                    <a:pt x="3550" y="9068"/>
                    <a:pt x="3250" y="8896"/>
                    <a:pt x="3096" y="8608"/>
                  </a:cubicBezTo>
                  <a:cubicBezTo>
                    <a:pt x="3096" y="8596"/>
                    <a:pt x="3096" y="8573"/>
                    <a:pt x="3108" y="8573"/>
                  </a:cubicBezTo>
                  <a:cubicBezTo>
                    <a:pt x="3096" y="8573"/>
                    <a:pt x="3180" y="8561"/>
                    <a:pt x="4894" y="8096"/>
                  </a:cubicBezTo>
                  <a:close/>
                  <a:moveTo>
                    <a:pt x="6895" y="7575"/>
                  </a:moveTo>
                  <a:cubicBezTo>
                    <a:pt x="6922" y="7575"/>
                    <a:pt x="6950" y="7578"/>
                    <a:pt x="6978" y="7584"/>
                  </a:cubicBezTo>
                  <a:cubicBezTo>
                    <a:pt x="8847" y="8084"/>
                    <a:pt x="9597" y="8275"/>
                    <a:pt x="9847" y="8346"/>
                  </a:cubicBezTo>
                  <a:cubicBezTo>
                    <a:pt x="9847" y="8346"/>
                    <a:pt x="9883" y="8370"/>
                    <a:pt x="9966" y="8394"/>
                  </a:cubicBezTo>
                  <a:cubicBezTo>
                    <a:pt x="10657" y="8596"/>
                    <a:pt x="11062" y="9311"/>
                    <a:pt x="10883" y="9978"/>
                  </a:cubicBezTo>
                  <a:cubicBezTo>
                    <a:pt x="10734" y="10545"/>
                    <a:pt x="10211" y="10929"/>
                    <a:pt x="9633" y="10929"/>
                  </a:cubicBezTo>
                  <a:cubicBezTo>
                    <a:pt x="9519" y="10929"/>
                    <a:pt x="9403" y="10914"/>
                    <a:pt x="9288" y="10882"/>
                  </a:cubicBezTo>
                  <a:cubicBezTo>
                    <a:pt x="8454" y="10656"/>
                    <a:pt x="8061" y="9692"/>
                    <a:pt x="8526" y="8954"/>
                  </a:cubicBezTo>
                  <a:cubicBezTo>
                    <a:pt x="8585" y="8858"/>
                    <a:pt x="8538" y="8727"/>
                    <a:pt x="8418" y="8692"/>
                  </a:cubicBezTo>
                  <a:lnTo>
                    <a:pt x="8157" y="8620"/>
                  </a:lnTo>
                  <a:cubicBezTo>
                    <a:pt x="8121" y="8608"/>
                    <a:pt x="7990" y="8573"/>
                    <a:pt x="7526" y="8454"/>
                  </a:cubicBezTo>
                  <a:cubicBezTo>
                    <a:pt x="7347" y="8418"/>
                    <a:pt x="7252" y="8382"/>
                    <a:pt x="7192" y="8370"/>
                  </a:cubicBezTo>
                  <a:lnTo>
                    <a:pt x="7192" y="8370"/>
                  </a:lnTo>
                  <a:cubicBezTo>
                    <a:pt x="7201" y="8373"/>
                    <a:pt x="7207" y="8375"/>
                    <a:pt x="7205" y="8375"/>
                  </a:cubicBezTo>
                  <a:cubicBezTo>
                    <a:pt x="7199" y="8375"/>
                    <a:pt x="7116" y="8354"/>
                    <a:pt x="6799" y="8263"/>
                  </a:cubicBezTo>
                  <a:cubicBezTo>
                    <a:pt x="6644" y="8215"/>
                    <a:pt x="6525" y="8084"/>
                    <a:pt x="6549" y="7906"/>
                  </a:cubicBezTo>
                  <a:lnTo>
                    <a:pt x="6549" y="7894"/>
                  </a:lnTo>
                  <a:cubicBezTo>
                    <a:pt x="6560" y="7708"/>
                    <a:pt x="6714" y="7575"/>
                    <a:pt x="6895" y="7575"/>
                  </a:cubicBezTo>
                  <a:close/>
                  <a:moveTo>
                    <a:pt x="2906" y="0"/>
                  </a:moveTo>
                  <a:cubicBezTo>
                    <a:pt x="2406" y="24"/>
                    <a:pt x="1930" y="143"/>
                    <a:pt x="1501" y="393"/>
                  </a:cubicBezTo>
                  <a:cubicBezTo>
                    <a:pt x="1084" y="631"/>
                    <a:pt x="739" y="953"/>
                    <a:pt x="489" y="1357"/>
                  </a:cubicBezTo>
                  <a:cubicBezTo>
                    <a:pt x="441" y="1429"/>
                    <a:pt x="465" y="1536"/>
                    <a:pt x="537" y="1584"/>
                  </a:cubicBezTo>
                  <a:cubicBezTo>
                    <a:pt x="562" y="1601"/>
                    <a:pt x="592" y="1608"/>
                    <a:pt x="622" y="1608"/>
                  </a:cubicBezTo>
                  <a:cubicBezTo>
                    <a:pt x="676" y="1608"/>
                    <a:pt x="732" y="1582"/>
                    <a:pt x="763" y="1536"/>
                  </a:cubicBezTo>
                  <a:cubicBezTo>
                    <a:pt x="977" y="1179"/>
                    <a:pt x="1299" y="881"/>
                    <a:pt x="1656" y="679"/>
                  </a:cubicBezTo>
                  <a:cubicBezTo>
                    <a:pt x="2056" y="446"/>
                    <a:pt x="2494" y="336"/>
                    <a:pt x="2927" y="336"/>
                  </a:cubicBezTo>
                  <a:cubicBezTo>
                    <a:pt x="3822" y="336"/>
                    <a:pt x="4695" y="805"/>
                    <a:pt x="5168" y="1631"/>
                  </a:cubicBezTo>
                  <a:cubicBezTo>
                    <a:pt x="5382" y="2012"/>
                    <a:pt x="5501" y="2465"/>
                    <a:pt x="5501" y="2905"/>
                  </a:cubicBezTo>
                  <a:cubicBezTo>
                    <a:pt x="5501" y="4336"/>
                    <a:pt x="4332" y="5485"/>
                    <a:pt x="2912" y="5485"/>
                  </a:cubicBezTo>
                  <a:cubicBezTo>
                    <a:pt x="2843" y="5485"/>
                    <a:pt x="2773" y="5483"/>
                    <a:pt x="2703" y="5477"/>
                  </a:cubicBezTo>
                  <a:cubicBezTo>
                    <a:pt x="1870" y="5406"/>
                    <a:pt x="1120" y="4929"/>
                    <a:pt x="679" y="4203"/>
                  </a:cubicBezTo>
                  <a:cubicBezTo>
                    <a:pt x="489" y="3858"/>
                    <a:pt x="370" y="3489"/>
                    <a:pt x="346" y="3084"/>
                  </a:cubicBezTo>
                  <a:cubicBezTo>
                    <a:pt x="310" y="2739"/>
                    <a:pt x="370" y="2405"/>
                    <a:pt x="465" y="2108"/>
                  </a:cubicBezTo>
                  <a:cubicBezTo>
                    <a:pt x="489" y="2012"/>
                    <a:pt x="441" y="1929"/>
                    <a:pt x="358" y="1893"/>
                  </a:cubicBezTo>
                  <a:cubicBezTo>
                    <a:pt x="339" y="1888"/>
                    <a:pt x="320" y="1886"/>
                    <a:pt x="303" y="1886"/>
                  </a:cubicBezTo>
                  <a:cubicBezTo>
                    <a:pt x="231" y="1886"/>
                    <a:pt x="172" y="1924"/>
                    <a:pt x="144" y="2000"/>
                  </a:cubicBezTo>
                  <a:cubicBezTo>
                    <a:pt x="48" y="2298"/>
                    <a:pt x="1" y="2608"/>
                    <a:pt x="1" y="2917"/>
                  </a:cubicBezTo>
                  <a:lnTo>
                    <a:pt x="1" y="2953"/>
                  </a:lnTo>
                  <a:lnTo>
                    <a:pt x="1" y="5679"/>
                  </a:lnTo>
                  <a:cubicBezTo>
                    <a:pt x="1" y="5763"/>
                    <a:pt x="72" y="5834"/>
                    <a:pt x="167" y="5834"/>
                  </a:cubicBezTo>
                  <a:cubicBezTo>
                    <a:pt x="251" y="5834"/>
                    <a:pt x="322" y="5763"/>
                    <a:pt x="322" y="5679"/>
                  </a:cubicBezTo>
                  <a:lnTo>
                    <a:pt x="322" y="4274"/>
                  </a:lnTo>
                  <a:cubicBezTo>
                    <a:pt x="346" y="4310"/>
                    <a:pt x="358" y="4334"/>
                    <a:pt x="382" y="4382"/>
                  </a:cubicBezTo>
                  <a:cubicBezTo>
                    <a:pt x="895" y="5257"/>
                    <a:pt x="1832" y="5835"/>
                    <a:pt x="2901" y="5835"/>
                  </a:cubicBezTo>
                  <a:cubicBezTo>
                    <a:pt x="2922" y="5835"/>
                    <a:pt x="2944" y="5835"/>
                    <a:pt x="2965" y="5834"/>
                  </a:cubicBezTo>
                  <a:lnTo>
                    <a:pt x="4549" y="5834"/>
                  </a:lnTo>
                  <a:lnTo>
                    <a:pt x="4549" y="6656"/>
                  </a:lnTo>
                  <a:lnTo>
                    <a:pt x="4120" y="6537"/>
                  </a:lnTo>
                  <a:cubicBezTo>
                    <a:pt x="4019" y="6510"/>
                    <a:pt x="3916" y="6497"/>
                    <a:pt x="3814" y="6497"/>
                  </a:cubicBezTo>
                  <a:cubicBezTo>
                    <a:pt x="3376" y="6497"/>
                    <a:pt x="2954" y="6736"/>
                    <a:pt x="2751" y="7132"/>
                  </a:cubicBezTo>
                  <a:cubicBezTo>
                    <a:pt x="2703" y="7227"/>
                    <a:pt x="2692" y="7346"/>
                    <a:pt x="2739" y="7430"/>
                  </a:cubicBezTo>
                  <a:cubicBezTo>
                    <a:pt x="2799" y="7584"/>
                    <a:pt x="2918" y="7620"/>
                    <a:pt x="3061" y="7656"/>
                  </a:cubicBezTo>
                  <a:cubicBezTo>
                    <a:pt x="3215" y="7703"/>
                    <a:pt x="4073" y="7918"/>
                    <a:pt x="4216" y="7965"/>
                  </a:cubicBezTo>
                  <a:cubicBezTo>
                    <a:pt x="3209" y="8241"/>
                    <a:pt x="3066" y="8279"/>
                    <a:pt x="3058" y="8279"/>
                  </a:cubicBezTo>
                  <a:cubicBezTo>
                    <a:pt x="3055" y="8279"/>
                    <a:pt x="3071" y="8274"/>
                    <a:pt x="3067" y="8274"/>
                  </a:cubicBezTo>
                  <a:cubicBezTo>
                    <a:pt x="3066" y="8274"/>
                    <a:pt x="3064" y="8274"/>
                    <a:pt x="3061" y="8275"/>
                  </a:cubicBezTo>
                  <a:cubicBezTo>
                    <a:pt x="3025" y="8299"/>
                    <a:pt x="2823" y="8311"/>
                    <a:pt x="2739" y="8501"/>
                  </a:cubicBezTo>
                  <a:cubicBezTo>
                    <a:pt x="2692" y="8608"/>
                    <a:pt x="2692" y="8716"/>
                    <a:pt x="2751" y="8799"/>
                  </a:cubicBezTo>
                  <a:cubicBezTo>
                    <a:pt x="2953" y="9192"/>
                    <a:pt x="3370" y="9439"/>
                    <a:pt x="3805" y="9439"/>
                  </a:cubicBezTo>
                  <a:cubicBezTo>
                    <a:pt x="3910" y="9439"/>
                    <a:pt x="4016" y="9424"/>
                    <a:pt x="4120" y="9394"/>
                  </a:cubicBezTo>
                  <a:lnTo>
                    <a:pt x="4549" y="9275"/>
                  </a:lnTo>
                  <a:lnTo>
                    <a:pt x="4549" y="10561"/>
                  </a:lnTo>
                  <a:cubicBezTo>
                    <a:pt x="4549" y="10704"/>
                    <a:pt x="4430" y="10823"/>
                    <a:pt x="4287" y="10823"/>
                  </a:cubicBezTo>
                  <a:lnTo>
                    <a:pt x="3632" y="10823"/>
                  </a:lnTo>
                  <a:cubicBezTo>
                    <a:pt x="3537" y="10823"/>
                    <a:pt x="3465" y="10894"/>
                    <a:pt x="3465" y="10990"/>
                  </a:cubicBezTo>
                  <a:cubicBezTo>
                    <a:pt x="3465" y="11073"/>
                    <a:pt x="3537" y="11156"/>
                    <a:pt x="3632" y="11156"/>
                  </a:cubicBezTo>
                  <a:lnTo>
                    <a:pt x="4287" y="11156"/>
                  </a:lnTo>
                  <a:cubicBezTo>
                    <a:pt x="4608" y="11156"/>
                    <a:pt x="4882" y="10882"/>
                    <a:pt x="4882" y="10561"/>
                  </a:cubicBezTo>
                  <a:lnTo>
                    <a:pt x="4882" y="9192"/>
                  </a:lnTo>
                  <a:lnTo>
                    <a:pt x="6835" y="8668"/>
                  </a:lnTo>
                  <a:cubicBezTo>
                    <a:pt x="6871" y="8680"/>
                    <a:pt x="7097" y="8739"/>
                    <a:pt x="8085" y="9013"/>
                  </a:cubicBezTo>
                  <a:cubicBezTo>
                    <a:pt x="7585" y="10085"/>
                    <a:pt x="8383" y="11299"/>
                    <a:pt x="9573" y="11299"/>
                  </a:cubicBezTo>
                  <a:cubicBezTo>
                    <a:pt x="10824" y="11299"/>
                    <a:pt x="11597" y="9942"/>
                    <a:pt x="10978" y="8870"/>
                  </a:cubicBezTo>
                  <a:cubicBezTo>
                    <a:pt x="10585" y="8037"/>
                    <a:pt x="9788" y="8037"/>
                    <a:pt x="9514" y="7918"/>
                  </a:cubicBezTo>
                  <a:cubicBezTo>
                    <a:pt x="9788" y="7799"/>
                    <a:pt x="10585" y="7799"/>
                    <a:pt x="11038" y="7001"/>
                  </a:cubicBezTo>
                  <a:cubicBezTo>
                    <a:pt x="11666" y="5883"/>
                    <a:pt x="10818" y="4574"/>
                    <a:pt x="9627" y="4574"/>
                  </a:cubicBezTo>
                  <a:cubicBezTo>
                    <a:pt x="9486" y="4574"/>
                    <a:pt x="9341" y="4593"/>
                    <a:pt x="9192" y="4632"/>
                  </a:cubicBezTo>
                  <a:cubicBezTo>
                    <a:pt x="8216" y="4906"/>
                    <a:pt x="7728" y="5977"/>
                    <a:pt x="8145" y="6882"/>
                  </a:cubicBezTo>
                  <a:cubicBezTo>
                    <a:pt x="7156" y="7144"/>
                    <a:pt x="6930" y="7203"/>
                    <a:pt x="6894" y="7227"/>
                  </a:cubicBezTo>
                  <a:lnTo>
                    <a:pt x="4942" y="6703"/>
                  </a:lnTo>
                  <a:lnTo>
                    <a:pt x="4942" y="5798"/>
                  </a:lnTo>
                  <a:cubicBezTo>
                    <a:pt x="5478" y="5763"/>
                    <a:pt x="6002" y="5584"/>
                    <a:pt x="6442" y="5287"/>
                  </a:cubicBezTo>
                  <a:cubicBezTo>
                    <a:pt x="6513" y="5227"/>
                    <a:pt x="6537" y="5144"/>
                    <a:pt x="6490" y="5060"/>
                  </a:cubicBezTo>
                  <a:cubicBezTo>
                    <a:pt x="6461" y="5017"/>
                    <a:pt x="6411" y="4996"/>
                    <a:pt x="6360" y="4996"/>
                  </a:cubicBezTo>
                  <a:cubicBezTo>
                    <a:pt x="6326" y="4996"/>
                    <a:pt x="6292" y="5006"/>
                    <a:pt x="6263" y="5025"/>
                  </a:cubicBezTo>
                  <a:cubicBezTo>
                    <a:pt x="5682" y="5429"/>
                    <a:pt x="5116" y="5476"/>
                    <a:pt x="4727" y="5476"/>
                  </a:cubicBezTo>
                  <a:cubicBezTo>
                    <a:pt x="4608" y="5476"/>
                    <a:pt x="4505" y="5472"/>
                    <a:pt x="4423" y="5472"/>
                  </a:cubicBezTo>
                  <a:cubicBezTo>
                    <a:pt x="4379" y="5472"/>
                    <a:pt x="4342" y="5473"/>
                    <a:pt x="4311" y="5477"/>
                  </a:cubicBezTo>
                  <a:cubicBezTo>
                    <a:pt x="4418" y="5417"/>
                    <a:pt x="4513" y="5358"/>
                    <a:pt x="4608" y="5298"/>
                  </a:cubicBezTo>
                  <a:cubicBezTo>
                    <a:pt x="4728" y="5227"/>
                    <a:pt x="4847" y="5120"/>
                    <a:pt x="4942" y="5036"/>
                  </a:cubicBezTo>
                  <a:cubicBezTo>
                    <a:pt x="5525" y="4489"/>
                    <a:pt x="5882" y="3715"/>
                    <a:pt x="5882" y="2905"/>
                  </a:cubicBezTo>
                  <a:cubicBezTo>
                    <a:pt x="5882" y="2405"/>
                    <a:pt x="5740" y="1905"/>
                    <a:pt x="5490" y="1465"/>
                  </a:cubicBezTo>
                  <a:cubicBezTo>
                    <a:pt x="5204" y="976"/>
                    <a:pt x="4787" y="584"/>
                    <a:pt x="4311" y="334"/>
                  </a:cubicBezTo>
                  <a:lnTo>
                    <a:pt x="4847" y="334"/>
                  </a:lnTo>
                  <a:cubicBezTo>
                    <a:pt x="6252" y="357"/>
                    <a:pt x="7383" y="1512"/>
                    <a:pt x="7383" y="2905"/>
                  </a:cubicBezTo>
                  <a:cubicBezTo>
                    <a:pt x="7383" y="3536"/>
                    <a:pt x="7156" y="4144"/>
                    <a:pt x="6728" y="4620"/>
                  </a:cubicBezTo>
                  <a:cubicBezTo>
                    <a:pt x="6633" y="4727"/>
                    <a:pt x="6716" y="4906"/>
                    <a:pt x="6847" y="4906"/>
                  </a:cubicBezTo>
                  <a:cubicBezTo>
                    <a:pt x="6894" y="4906"/>
                    <a:pt x="6930" y="4882"/>
                    <a:pt x="6966" y="4846"/>
                  </a:cubicBezTo>
                  <a:cubicBezTo>
                    <a:pt x="7442" y="4310"/>
                    <a:pt x="7692" y="3620"/>
                    <a:pt x="7692" y="2905"/>
                  </a:cubicBezTo>
                  <a:cubicBezTo>
                    <a:pt x="7692" y="2131"/>
                    <a:pt x="7395" y="1417"/>
                    <a:pt x="6859" y="869"/>
                  </a:cubicBezTo>
                  <a:cubicBezTo>
                    <a:pt x="6299" y="298"/>
                    <a:pt x="5537" y="0"/>
                    <a:pt x="4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1" name="Google Shape;12171;p62"/>
            <p:cNvSpPr/>
            <p:nvPr/>
          </p:nvSpPr>
          <p:spPr>
            <a:xfrm>
              <a:off x="1976349" y="1775216"/>
              <a:ext cx="413" cy="32"/>
            </a:xfrm>
            <a:custGeom>
              <a:avLst/>
              <a:gdLst/>
              <a:ahLst/>
              <a:cxnLst/>
              <a:rect l="l" t="t" r="r" b="b"/>
              <a:pathLst>
                <a:path w="13" h="1" extrusionOk="0">
                  <a:moveTo>
                    <a:pt x="0" y="0"/>
                  </a:moveTo>
                  <a:cubicBezTo>
                    <a:pt x="0" y="0"/>
                    <a:pt x="12" y="0"/>
                    <a:pt x="0" y="0"/>
                  </a:cubicBezTo>
                  <a:cubicBezTo>
                    <a:pt x="12" y="0"/>
                    <a:pt x="12" y="0"/>
                    <a:pt x="0" y="0"/>
                  </a:cubicBezTo>
                  <a:cubicBezTo>
                    <a:pt x="12" y="0"/>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2" name="Google Shape;12172;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3" name="Google Shape;12173;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4" name="Google Shape;12174;p62"/>
            <p:cNvSpPr/>
            <p:nvPr/>
          </p:nvSpPr>
          <p:spPr>
            <a:xfrm>
              <a:off x="2016868" y="177521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5" name="Google Shape;12175;p62"/>
            <p:cNvSpPr/>
            <p:nvPr/>
          </p:nvSpPr>
          <p:spPr>
            <a:xfrm>
              <a:off x="1914615" y="1724837"/>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6" name="Google Shape;12176;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7" name="Google Shape;12177;p62"/>
            <p:cNvSpPr/>
            <p:nvPr/>
          </p:nvSpPr>
          <p:spPr>
            <a:xfrm>
              <a:off x="1955898" y="1769523"/>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8" name="Google Shape;12178;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9" name="Google Shape;12179;p62"/>
            <p:cNvSpPr/>
            <p:nvPr/>
          </p:nvSpPr>
          <p:spPr>
            <a:xfrm>
              <a:off x="1914615" y="172483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0" name="Google Shape;12180;p62"/>
            <p:cNvSpPr/>
            <p:nvPr/>
          </p:nvSpPr>
          <p:spPr>
            <a:xfrm>
              <a:off x="1955898" y="176952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1" name="Google Shape;12181;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2" name="Google Shape;12182;p62"/>
            <p:cNvSpPr/>
            <p:nvPr/>
          </p:nvSpPr>
          <p:spPr>
            <a:xfrm>
              <a:off x="2016487" y="1775216"/>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3" name="Google Shape;12183;p62"/>
            <p:cNvSpPr/>
            <p:nvPr/>
          </p:nvSpPr>
          <p:spPr>
            <a:xfrm>
              <a:off x="2016868" y="177521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4" name="Google Shape;12184;p62"/>
            <p:cNvSpPr/>
            <p:nvPr/>
          </p:nvSpPr>
          <p:spPr>
            <a:xfrm>
              <a:off x="1955898" y="1769523"/>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5" name="Google Shape;12185;p62"/>
            <p:cNvSpPr/>
            <p:nvPr/>
          </p:nvSpPr>
          <p:spPr>
            <a:xfrm>
              <a:off x="1955898" y="1769523"/>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6" name="Google Shape;12186;p62"/>
            <p:cNvSpPr/>
            <p:nvPr/>
          </p:nvSpPr>
          <p:spPr>
            <a:xfrm>
              <a:off x="1812744" y="1556302"/>
              <a:ext cx="77668" cy="72929"/>
            </a:xfrm>
            <a:custGeom>
              <a:avLst/>
              <a:gdLst/>
              <a:ahLst/>
              <a:cxnLst/>
              <a:rect l="l" t="t" r="r" b="b"/>
              <a:pathLst>
                <a:path w="2442" h="2293" extrusionOk="0">
                  <a:moveTo>
                    <a:pt x="1212" y="326"/>
                  </a:moveTo>
                  <a:cubicBezTo>
                    <a:pt x="1252" y="326"/>
                    <a:pt x="1293" y="329"/>
                    <a:pt x="1334" y="335"/>
                  </a:cubicBezTo>
                  <a:cubicBezTo>
                    <a:pt x="1811" y="394"/>
                    <a:pt x="2120" y="859"/>
                    <a:pt x="2013" y="1311"/>
                  </a:cubicBezTo>
                  <a:cubicBezTo>
                    <a:pt x="1923" y="1684"/>
                    <a:pt x="1585" y="1945"/>
                    <a:pt x="1209" y="1945"/>
                  </a:cubicBezTo>
                  <a:cubicBezTo>
                    <a:pt x="1141" y="1945"/>
                    <a:pt x="1071" y="1937"/>
                    <a:pt x="1001" y="1918"/>
                  </a:cubicBezTo>
                  <a:cubicBezTo>
                    <a:pt x="715" y="1847"/>
                    <a:pt x="501" y="1609"/>
                    <a:pt x="418" y="1311"/>
                  </a:cubicBezTo>
                  <a:cubicBezTo>
                    <a:pt x="307" y="793"/>
                    <a:pt x="708" y="326"/>
                    <a:pt x="1212" y="326"/>
                  </a:cubicBezTo>
                  <a:close/>
                  <a:moveTo>
                    <a:pt x="1259" y="1"/>
                  </a:moveTo>
                  <a:cubicBezTo>
                    <a:pt x="1205" y="1"/>
                    <a:pt x="1151" y="5"/>
                    <a:pt x="1096" y="13"/>
                  </a:cubicBezTo>
                  <a:cubicBezTo>
                    <a:pt x="453" y="85"/>
                    <a:pt x="1" y="680"/>
                    <a:pt x="108" y="1323"/>
                  </a:cubicBezTo>
                  <a:cubicBezTo>
                    <a:pt x="197" y="1881"/>
                    <a:pt x="685" y="2293"/>
                    <a:pt x="1246" y="2293"/>
                  </a:cubicBezTo>
                  <a:cubicBezTo>
                    <a:pt x="1283" y="2293"/>
                    <a:pt x="1320" y="2291"/>
                    <a:pt x="1358" y="2287"/>
                  </a:cubicBezTo>
                  <a:cubicBezTo>
                    <a:pt x="1989" y="2204"/>
                    <a:pt x="2442" y="1621"/>
                    <a:pt x="2358" y="978"/>
                  </a:cubicBezTo>
                  <a:cubicBezTo>
                    <a:pt x="2272" y="425"/>
                    <a:pt x="1800" y="1"/>
                    <a:pt x="12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7" name="Google Shape;12187;p62"/>
            <p:cNvSpPr/>
            <p:nvPr/>
          </p:nvSpPr>
          <p:spPr>
            <a:xfrm>
              <a:off x="1759375" y="1695671"/>
              <a:ext cx="99613" cy="158707"/>
            </a:xfrm>
            <a:custGeom>
              <a:avLst/>
              <a:gdLst/>
              <a:ahLst/>
              <a:cxnLst/>
              <a:rect l="l" t="t" r="r" b="b"/>
              <a:pathLst>
                <a:path w="3132" h="4990" extrusionOk="0">
                  <a:moveTo>
                    <a:pt x="167" y="1"/>
                  </a:moveTo>
                  <a:cubicBezTo>
                    <a:pt x="72" y="1"/>
                    <a:pt x="0" y="72"/>
                    <a:pt x="0" y="168"/>
                  </a:cubicBezTo>
                  <a:lnTo>
                    <a:pt x="0" y="4394"/>
                  </a:lnTo>
                  <a:cubicBezTo>
                    <a:pt x="0" y="4728"/>
                    <a:pt x="274" y="4990"/>
                    <a:pt x="596" y="4990"/>
                  </a:cubicBezTo>
                  <a:lnTo>
                    <a:pt x="2965" y="4990"/>
                  </a:lnTo>
                  <a:cubicBezTo>
                    <a:pt x="3048" y="4990"/>
                    <a:pt x="3120" y="4918"/>
                    <a:pt x="3120" y="4823"/>
                  </a:cubicBezTo>
                  <a:cubicBezTo>
                    <a:pt x="3132" y="4740"/>
                    <a:pt x="3048" y="4668"/>
                    <a:pt x="2965" y="4668"/>
                  </a:cubicBezTo>
                  <a:lnTo>
                    <a:pt x="596" y="4668"/>
                  </a:lnTo>
                  <a:cubicBezTo>
                    <a:pt x="453" y="4668"/>
                    <a:pt x="334" y="4549"/>
                    <a:pt x="334" y="4394"/>
                  </a:cubicBezTo>
                  <a:lnTo>
                    <a:pt x="334" y="1965"/>
                  </a:lnTo>
                  <a:lnTo>
                    <a:pt x="762" y="1965"/>
                  </a:lnTo>
                  <a:cubicBezTo>
                    <a:pt x="846" y="1965"/>
                    <a:pt x="929" y="1894"/>
                    <a:pt x="929" y="1799"/>
                  </a:cubicBezTo>
                  <a:cubicBezTo>
                    <a:pt x="929" y="1715"/>
                    <a:pt x="846" y="1644"/>
                    <a:pt x="762" y="1644"/>
                  </a:cubicBezTo>
                  <a:lnTo>
                    <a:pt x="334" y="1644"/>
                  </a:ln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8" name="Google Shape;12188;p62"/>
            <p:cNvSpPr/>
            <p:nvPr/>
          </p:nvSpPr>
          <p:spPr>
            <a:xfrm>
              <a:off x="1794965" y="1747195"/>
              <a:ext cx="38261" cy="10623"/>
            </a:xfrm>
            <a:custGeom>
              <a:avLst/>
              <a:gdLst/>
              <a:ahLst/>
              <a:cxnLst/>
              <a:rect l="l" t="t" r="r" b="b"/>
              <a:pathLst>
                <a:path w="1203" h="334" extrusionOk="0">
                  <a:moveTo>
                    <a:pt x="167" y="0"/>
                  </a:moveTo>
                  <a:cubicBezTo>
                    <a:pt x="72" y="0"/>
                    <a:pt x="0" y="83"/>
                    <a:pt x="0" y="167"/>
                  </a:cubicBezTo>
                  <a:cubicBezTo>
                    <a:pt x="0" y="262"/>
                    <a:pt x="72" y="333"/>
                    <a:pt x="167" y="333"/>
                  </a:cubicBezTo>
                  <a:lnTo>
                    <a:pt x="1024" y="333"/>
                  </a:lnTo>
                  <a:cubicBezTo>
                    <a:pt x="1120" y="333"/>
                    <a:pt x="1191" y="262"/>
                    <a:pt x="1191" y="167"/>
                  </a:cubicBezTo>
                  <a:cubicBezTo>
                    <a:pt x="1203" y="83"/>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9" name="Google Shape;12189;p62"/>
            <p:cNvSpPr/>
            <p:nvPr/>
          </p:nvSpPr>
          <p:spPr>
            <a:xfrm>
              <a:off x="1839269" y="1747195"/>
              <a:ext cx="37912" cy="10623"/>
            </a:xfrm>
            <a:custGeom>
              <a:avLst/>
              <a:gdLst/>
              <a:ahLst/>
              <a:cxnLst/>
              <a:rect l="l" t="t" r="r" b="b"/>
              <a:pathLst>
                <a:path w="1192" h="334" extrusionOk="0">
                  <a:moveTo>
                    <a:pt x="167" y="0"/>
                  </a:moveTo>
                  <a:cubicBezTo>
                    <a:pt x="84" y="0"/>
                    <a:pt x="0" y="83"/>
                    <a:pt x="0" y="167"/>
                  </a:cubicBezTo>
                  <a:cubicBezTo>
                    <a:pt x="0" y="262"/>
                    <a:pt x="84" y="333"/>
                    <a:pt x="167" y="333"/>
                  </a:cubicBezTo>
                  <a:lnTo>
                    <a:pt x="1036" y="333"/>
                  </a:lnTo>
                  <a:cubicBezTo>
                    <a:pt x="1120" y="333"/>
                    <a:pt x="1191" y="262"/>
                    <a:pt x="1191" y="167"/>
                  </a:cubicBezTo>
                  <a:cubicBezTo>
                    <a:pt x="1191" y="83"/>
                    <a:pt x="1120" y="0"/>
                    <a:pt x="1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0" name="Google Shape;12190;p62"/>
          <p:cNvGrpSpPr/>
          <p:nvPr/>
        </p:nvGrpSpPr>
        <p:grpSpPr>
          <a:xfrm>
            <a:off x="2774209" y="1954691"/>
            <a:ext cx="116693" cy="374186"/>
            <a:chOff x="2774209" y="1954691"/>
            <a:chExt cx="116693" cy="374186"/>
          </a:xfrm>
        </p:grpSpPr>
        <p:sp>
          <p:nvSpPr>
            <p:cNvPr id="12191" name="Google Shape;12191;p62"/>
            <p:cNvSpPr/>
            <p:nvPr/>
          </p:nvSpPr>
          <p:spPr>
            <a:xfrm>
              <a:off x="2774209" y="2181525"/>
              <a:ext cx="115166" cy="147353"/>
            </a:xfrm>
            <a:custGeom>
              <a:avLst/>
              <a:gdLst/>
              <a:ahLst/>
              <a:cxnLst/>
              <a:rect l="l" t="t" r="r" b="b"/>
              <a:pathLst>
                <a:path w="3621" h="4633" extrusionOk="0">
                  <a:moveTo>
                    <a:pt x="3263" y="3263"/>
                  </a:moveTo>
                  <a:lnTo>
                    <a:pt x="3263" y="4013"/>
                  </a:lnTo>
                  <a:lnTo>
                    <a:pt x="3275" y="4013"/>
                  </a:lnTo>
                  <a:cubicBezTo>
                    <a:pt x="3275" y="4168"/>
                    <a:pt x="3156" y="4287"/>
                    <a:pt x="3025" y="4287"/>
                  </a:cubicBezTo>
                  <a:lnTo>
                    <a:pt x="3025" y="3751"/>
                  </a:lnTo>
                  <a:cubicBezTo>
                    <a:pt x="3025" y="3656"/>
                    <a:pt x="2954" y="3572"/>
                    <a:pt x="2847" y="3572"/>
                  </a:cubicBezTo>
                  <a:cubicBezTo>
                    <a:pt x="2739" y="3572"/>
                    <a:pt x="2668" y="3644"/>
                    <a:pt x="2668" y="3751"/>
                  </a:cubicBezTo>
                  <a:lnTo>
                    <a:pt x="2668" y="4287"/>
                  </a:lnTo>
                  <a:lnTo>
                    <a:pt x="2335" y="4287"/>
                  </a:lnTo>
                  <a:lnTo>
                    <a:pt x="2335" y="3751"/>
                  </a:lnTo>
                  <a:cubicBezTo>
                    <a:pt x="2335" y="3656"/>
                    <a:pt x="2263" y="3572"/>
                    <a:pt x="2156" y="3572"/>
                  </a:cubicBezTo>
                  <a:cubicBezTo>
                    <a:pt x="2073" y="3572"/>
                    <a:pt x="1977" y="3644"/>
                    <a:pt x="1977" y="3751"/>
                  </a:cubicBezTo>
                  <a:lnTo>
                    <a:pt x="1977" y="4287"/>
                  </a:lnTo>
                  <a:lnTo>
                    <a:pt x="1656" y="4287"/>
                  </a:lnTo>
                  <a:lnTo>
                    <a:pt x="1656" y="3751"/>
                  </a:lnTo>
                  <a:cubicBezTo>
                    <a:pt x="1656" y="3656"/>
                    <a:pt x="1573" y="3572"/>
                    <a:pt x="1477" y="3572"/>
                  </a:cubicBezTo>
                  <a:cubicBezTo>
                    <a:pt x="1370" y="3572"/>
                    <a:pt x="1299" y="3644"/>
                    <a:pt x="1299" y="3751"/>
                  </a:cubicBezTo>
                  <a:lnTo>
                    <a:pt x="1299" y="4287"/>
                  </a:lnTo>
                  <a:lnTo>
                    <a:pt x="965" y="4287"/>
                  </a:lnTo>
                  <a:lnTo>
                    <a:pt x="965" y="3751"/>
                  </a:lnTo>
                  <a:cubicBezTo>
                    <a:pt x="965" y="3656"/>
                    <a:pt x="894" y="3572"/>
                    <a:pt x="787" y="3572"/>
                  </a:cubicBezTo>
                  <a:cubicBezTo>
                    <a:pt x="680" y="3572"/>
                    <a:pt x="608" y="3644"/>
                    <a:pt x="608" y="3751"/>
                  </a:cubicBezTo>
                  <a:lnTo>
                    <a:pt x="608" y="4287"/>
                  </a:lnTo>
                  <a:cubicBezTo>
                    <a:pt x="465" y="4287"/>
                    <a:pt x="358" y="4168"/>
                    <a:pt x="358" y="4013"/>
                  </a:cubicBezTo>
                  <a:lnTo>
                    <a:pt x="358" y="3263"/>
                  </a:lnTo>
                  <a:close/>
                  <a:moveTo>
                    <a:pt x="3442" y="1"/>
                  </a:moveTo>
                  <a:cubicBezTo>
                    <a:pt x="3347" y="1"/>
                    <a:pt x="3263" y="72"/>
                    <a:pt x="3263" y="179"/>
                  </a:cubicBezTo>
                  <a:lnTo>
                    <a:pt x="3263" y="2906"/>
                  </a:lnTo>
                  <a:lnTo>
                    <a:pt x="358" y="2906"/>
                  </a:lnTo>
                  <a:lnTo>
                    <a:pt x="358" y="1429"/>
                  </a:lnTo>
                  <a:cubicBezTo>
                    <a:pt x="358" y="1334"/>
                    <a:pt x="287" y="1251"/>
                    <a:pt x="180" y="1251"/>
                  </a:cubicBezTo>
                  <a:cubicBezTo>
                    <a:pt x="84" y="1251"/>
                    <a:pt x="1" y="1322"/>
                    <a:pt x="1" y="1429"/>
                  </a:cubicBezTo>
                  <a:lnTo>
                    <a:pt x="1" y="4013"/>
                  </a:lnTo>
                  <a:cubicBezTo>
                    <a:pt x="1" y="4358"/>
                    <a:pt x="287" y="4632"/>
                    <a:pt x="608" y="4632"/>
                  </a:cubicBezTo>
                  <a:lnTo>
                    <a:pt x="2978" y="4632"/>
                  </a:lnTo>
                  <a:cubicBezTo>
                    <a:pt x="3323" y="4632"/>
                    <a:pt x="3585" y="4346"/>
                    <a:pt x="3585" y="4013"/>
                  </a:cubicBezTo>
                  <a:lnTo>
                    <a:pt x="3585" y="191"/>
                  </a:lnTo>
                  <a:cubicBezTo>
                    <a:pt x="3620" y="84"/>
                    <a:pt x="3549" y="1"/>
                    <a:pt x="3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2" name="Google Shape;12192;p62"/>
            <p:cNvSpPr/>
            <p:nvPr/>
          </p:nvSpPr>
          <p:spPr>
            <a:xfrm>
              <a:off x="2774591" y="1954691"/>
              <a:ext cx="116311" cy="255649"/>
            </a:xfrm>
            <a:custGeom>
              <a:avLst/>
              <a:gdLst/>
              <a:ahLst/>
              <a:cxnLst/>
              <a:rect l="l" t="t" r="r" b="b"/>
              <a:pathLst>
                <a:path w="3657" h="8038" extrusionOk="0">
                  <a:moveTo>
                    <a:pt x="1156" y="1870"/>
                  </a:moveTo>
                  <a:lnTo>
                    <a:pt x="1156" y="2537"/>
                  </a:lnTo>
                  <a:lnTo>
                    <a:pt x="644" y="2537"/>
                  </a:lnTo>
                  <a:lnTo>
                    <a:pt x="644" y="2144"/>
                  </a:lnTo>
                  <a:cubicBezTo>
                    <a:pt x="644" y="2001"/>
                    <a:pt x="763" y="1870"/>
                    <a:pt x="918" y="1870"/>
                  </a:cubicBezTo>
                  <a:close/>
                  <a:moveTo>
                    <a:pt x="2108" y="1882"/>
                  </a:moveTo>
                  <a:lnTo>
                    <a:pt x="2108" y="2537"/>
                  </a:lnTo>
                  <a:lnTo>
                    <a:pt x="1513" y="2537"/>
                  </a:lnTo>
                  <a:lnTo>
                    <a:pt x="1513" y="1882"/>
                  </a:lnTo>
                  <a:close/>
                  <a:moveTo>
                    <a:pt x="2680" y="1882"/>
                  </a:moveTo>
                  <a:cubicBezTo>
                    <a:pt x="2835" y="1882"/>
                    <a:pt x="2954" y="2001"/>
                    <a:pt x="2954" y="2144"/>
                  </a:cubicBezTo>
                  <a:lnTo>
                    <a:pt x="2954" y="2537"/>
                  </a:lnTo>
                  <a:lnTo>
                    <a:pt x="2442" y="2537"/>
                  </a:lnTo>
                  <a:lnTo>
                    <a:pt x="2442" y="1882"/>
                  </a:lnTo>
                  <a:close/>
                  <a:moveTo>
                    <a:pt x="1180" y="1"/>
                  </a:moveTo>
                  <a:cubicBezTo>
                    <a:pt x="834" y="1"/>
                    <a:pt x="572" y="286"/>
                    <a:pt x="572" y="608"/>
                  </a:cubicBezTo>
                  <a:lnTo>
                    <a:pt x="572" y="1644"/>
                  </a:lnTo>
                  <a:cubicBezTo>
                    <a:pt x="406" y="1739"/>
                    <a:pt x="299" y="1941"/>
                    <a:pt x="299" y="2144"/>
                  </a:cubicBezTo>
                  <a:lnTo>
                    <a:pt x="299" y="2596"/>
                  </a:lnTo>
                  <a:cubicBezTo>
                    <a:pt x="120" y="2680"/>
                    <a:pt x="1" y="2870"/>
                    <a:pt x="1" y="3084"/>
                  </a:cubicBezTo>
                  <a:lnTo>
                    <a:pt x="1" y="7859"/>
                  </a:lnTo>
                  <a:cubicBezTo>
                    <a:pt x="1" y="7954"/>
                    <a:pt x="84" y="8037"/>
                    <a:pt x="179" y="8037"/>
                  </a:cubicBezTo>
                  <a:cubicBezTo>
                    <a:pt x="287" y="8037"/>
                    <a:pt x="358" y="7966"/>
                    <a:pt x="358" y="7859"/>
                  </a:cubicBezTo>
                  <a:lnTo>
                    <a:pt x="358" y="3084"/>
                  </a:lnTo>
                  <a:cubicBezTo>
                    <a:pt x="358" y="2965"/>
                    <a:pt x="453" y="2870"/>
                    <a:pt x="572" y="2870"/>
                  </a:cubicBezTo>
                  <a:lnTo>
                    <a:pt x="1549" y="2870"/>
                  </a:lnTo>
                  <a:lnTo>
                    <a:pt x="1549" y="5168"/>
                  </a:lnTo>
                  <a:cubicBezTo>
                    <a:pt x="1549" y="5466"/>
                    <a:pt x="1787" y="5716"/>
                    <a:pt x="2108" y="5716"/>
                  </a:cubicBezTo>
                  <a:cubicBezTo>
                    <a:pt x="2406" y="5716"/>
                    <a:pt x="2656" y="5478"/>
                    <a:pt x="2656" y="5168"/>
                  </a:cubicBezTo>
                  <a:lnTo>
                    <a:pt x="2656" y="4477"/>
                  </a:lnTo>
                  <a:cubicBezTo>
                    <a:pt x="2656" y="4394"/>
                    <a:pt x="2585" y="4299"/>
                    <a:pt x="2477" y="4299"/>
                  </a:cubicBezTo>
                  <a:cubicBezTo>
                    <a:pt x="2382" y="4299"/>
                    <a:pt x="2299" y="4382"/>
                    <a:pt x="2299" y="4477"/>
                  </a:cubicBezTo>
                  <a:lnTo>
                    <a:pt x="2299" y="5168"/>
                  </a:lnTo>
                  <a:cubicBezTo>
                    <a:pt x="2299" y="5275"/>
                    <a:pt x="2204" y="5359"/>
                    <a:pt x="2108" y="5359"/>
                  </a:cubicBezTo>
                  <a:cubicBezTo>
                    <a:pt x="2001" y="5359"/>
                    <a:pt x="1906" y="5275"/>
                    <a:pt x="1906" y="5168"/>
                  </a:cubicBezTo>
                  <a:lnTo>
                    <a:pt x="1906" y="2870"/>
                  </a:lnTo>
                  <a:lnTo>
                    <a:pt x="2311" y="2870"/>
                  </a:lnTo>
                  <a:lnTo>
                    <a:pt x="2311" y="3799"/>
                  </a:lnTo>
                  <a:cubicBezTo>
                    <a:pt x="2311" y="3882"/>
                    <a:pt x="2382" y="3977"/>
                    <a:pt x="2489" y="3977"/>
                  </a:cubicBezTo>
                  <a:cubicBezTo>
                    <a:pt x="2585" y="3977"/>
                    <a:pt x="2668" y="3906"/>
                    <a:pt x="2668" y="3799"/>
                  </a:cubicBezTo>
                  <a:lnTo>
                    <a:pt x="2668" y="2870"/>
                  </a:lnTo>
                  <a:lnTo>
                    <a:pt x="3085" y="2870"/>
                  </a:lnTo>
                  <a:cubicBezTo>
                    <a:pt x="3204" y="2870"/>
                    <a:pt x="3299" y="2965"/>
                    <a:pt x="3299" y="3084"/>
                  </a:cubicBezTo>
                  <a:lnTo>
                    <a:pt x="3299" y="6609"/>
                  </a:lnTo>
                  <a:cubicBezTo>
                    <a:pt x="3299" y="6704"/>
                    <a:pt x="3370" y="6787"/>
                    <a:pt x="3477" y="6787"/>
                  </a:cubicBezTo>
                  <a:cubicBezTo>
                    <a:pt x="3561" y="6787"/>
                    <a:pt x="3656" y="6716"/>
                    <a:pt x="3656" y="6609"/>
                  </a:cubicBezTo>
                  <a:lnTo>
                    <a:pt x="3656" y="3084"/>
                  </a:lnTo>
                  <a:cubicBezTo>
                    <a:pt x="3608" y="2870"/>
                    <a:pt x="3489" y="2680"/>
                    <a:pt x="3311" y="2596"/>
                  </a:cubicBezTo>
                  <a:lnTo>
                    <a:pt x="3311" y="2144"/>
                  </a:lnTo>
                  <a:cubicBezTo>
                    <a:pt x="3311" y="1941"/>
                    <a:pt x="3204" y="1739"/>
                    <a:pt x="3037" y="1644"/>
                  </a:cubicBezTo>
                  <a:lnTo>
                    <a:pt x="3037" y="1132"/>
                  </a:lnTo>
                  <a:cubicBezTo>
                    <a:pt x="3037" y="1048"/>
                    <a:pt x="2966" y="953"/>
                    <a:pt x="2858" y="953"/>
                  </a:cubicBezTo>
                  <a:cubicBezTo>
                    <a:pt x="2775" y="953"/>
                    <a:pt x="2680" y="1025"/>
                    <a:pt x="2680" y="1132"/>
                  </a:cubicBezTo>
                  <a:lnTo>
                    <a:pt x="2680" y="1537"/>
                  </a:lnTo>
                  <a:lnTo>
                    <a:pt x="918" y="1537"/>
                  </a:lnTo>
                  <a:lnTo>
                    <a:pt x="918" y="608"/>
                  </a:lnTo>
                  <a:cubicBezTo>
                    <a:pt x="918" y="465"/>
                    <a:pt x="1025" y="346"/>
                    <a:pt x="1180" y="346"/>
                  </a:cubicBezTo>
                  <a:lnTo>
                    <a:pt x="2418" y="346"/>
                  </a:lnTo>
                  <a:cubicBezTo>
                    <a:pt x="2513" y="346"/>
                    <a:pt x="2620" y="406"/>
                    <a:pt x="2668" y="513"/>
                  </a:cubicBezTo>
                  <a:cubicBezTo>
                    <a:pt x="2702" y="573"/>
                    <a:pt x="2756" y="615"/>
                    <a:pt x="2819" y="615"/>
                  </a:cubicBezTo>
                  <a:cubicBezTo>
                    <a:pt x="2843" y="615"/>
                    <a:pt x="2868" y="609"/>
                    <a:pt x="2894" y="596"/>
                  </a:cubicBezTo>
                  <a:cubicBezTo>
                    <a:pt x="2977" y="548"/>
                    <a:pt x="3025" y="465"/>
                    <a:pt x="2977" y="370"/>
                  </a:cubicBezTo>
                  <a:cubicBezTo>
                    <a:pt x="2894" y="155"/>
                    <a:pt x="2668" y="1"/>
                    <a:pt x="2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3" name="Google Shape;12193;p62"/>
          <p:cNvGrpSpPr/>
          <p:nvPr/>
        </p:nvGrpSpPr>
        <p:grpSpPr>
          <a:xfrm>
            <a:off x="4017435" y="1499912"/>
            <a:ext cx="315092" cy="359397"/>
            <a:chOff x="4017435" y="1499912"/>
            <a:chExt cx="315092" cy="359397"/>
          </a:xfrm>
        </p:grpSpPr>
        <p:sp>
          <p:nvSpPr>
            <p:cNvPr id="12194" name="Google Shape;12194;p62"/>
            <p:cNvSpPr/>
            <p:nvPr/>
          </p:nvSpPr>
          <p:spPr>
            <a:xfrm>
              <a:off x="4017816" y="1499912"/>
              <a:ext cx="314710" cy="359397"/>
            </a:xfrm>
            <a:custGeom>
              <a:avLst/>
              <a:gdLst/>
              <a:ahLst/>
              <a:cxnLst/>
              <a:rect l="l" t="t" r="r" b="b"/>
              <a:pathLst>
                <a:path w="9895" h="11300" extrusionOk="0">
                  <a:moveTo>
                    <a:pt x="4929" y="0"/>
                  </a:moveTo>
                  <a:cubicBezTo>
                    <a:pt x="4810" y="0"/>
                    <a:pt x="4691" y="24"/>
                    <a:pt x="4584" y="84"/>
                  </a:cubicBezTo>
                  <a:lnTo>
                    <a:pt x="4048" y="405"/>
                  </a:lnTo>
                  <a:cubicBezTo>
                    <a:pt x="3977" y="441"/>
                    <a:pt x="3941" y="548"/>
                    <a:pt x="3989" y="643"/>
                  </a:cubicBezTo>
                  <a:cubicBezTo>
                    <a:pt x="4022" y="693"/>
                    <a:pt x="4077" y="719"/>
                    <a:pt x="4140" y="719"/>
                  </a:cubicBezTo>
                  <a:cubicBezTo>
                    <a:pt x="4168" y="719"/>
                    <a:pt x="4197" y="714"/>
                    <a:pt x="4227" y="703"/>
                  </a:cubicBezTo>
                  <a:lnTo>
                    <a:pt x="4763" y="381"/>
                  </a:lnTo>
                  <a:cubicBezTo>
                    <a:pt x="4816" y="352"/>
                    <a:pt x="4876" y="337"/>
                    <a:pt x="4935" y="337"/>
                  </a:cubicBezTo>
                  <a:cubicBezTo>
                    <a:pt x="4995" y="337"/>
                    <a:pt x="5054" y="352"/>
                    <a:pt x="5108" y="381"/>
                  </a:cubicBezTo>
                  <a:lnTo>
                    <a:pt x="9335" y="2822"/>
                  </a:lnTo>
                  <a:cubicBezTo>
                    <a:pt x="9346" y="2846"/>
                    <a:pt x="9358" y="2846"/>
                    <a:pt x="9370" y="2858"/>
                  </a:cubicBezTo>
                  <a:lnTo>
                    <a:pt x="4941" y="5382"/>
                  </a:lnTo>
                  <a:lnTo>
                    <a:pt x="4298" y="5013"/>
                  </a:lnTo>
                  <a:cubicBezTo>
                    <a:pt x="4276" y="4998"/>
                    <a:pt x="4250" y="4991"/>
                    <a:pt x="4223" y="4991"/>
                  </a:cubicBezTo>
                  <a:cubicBezTo>
                    <a:pt x="4165" y="4991"/>
                    <a:pt x="4105" y="5023"/>
                    <a:pt x="4072" y="5072"/>
                  </a:cubicBezTo>
                  <a:cubicBezTo>
                    <a:pt x="4036" y="5144"/>
                    <a:pt x="4060" y="5251"/>
                    <a:pt x="4132" y="5299"/>
                  </a:cubicBezTo>
                  <a:lnTo>
                    <a:pt x="4774" y="5668"/>
                  </a:lnTo>
                  <a:lnTo>
                    <a:pt x="4774" y="10823"/>
                  </a:lnTo>
                  <a:lnTo>
                    <a:pt x="488" y="8347"/>
                  </a:lnTo>
                  <a:cubicBezTo>
                    <a:pt x="381" y="8287"/>
                    <a:pt x="322" y="8180"/>
                    <a:pt x="322" y="8073"/>
                  </a:cubicBezTo>
                  <a:lnTo>
                    <a:pt x="322" y="7704"/>
                  </a:lnTo>
                  <a:cubicBezTo>
                    <a:pt x="322" y="7620"/>
                    <a:pt x="250" y="7537"/>
                    <a:pt x="167" y="7537"/>
                  </a:cubicBezTo>
                  <a:cubicBezTo>
                    <a:pt x="72" y="7537"/>
                    <a:pt x="0" y="7620"/>
                    <a:pt x="0" y="7704"/>
                  </a:cubicBezTo>
                  <a:lnTo>
                    <a:pt x="0" y="8073"/>
                  </a:lnTo>
                  <a:cubicBezTo>
                    <a:pt x="0" y="8323"/>
                    <a:pt x="119" y="8525"/>
                    <a:pt x="322" y="8644"/>
                  </a:cubicBezTo>
                  <a:lnTo>
                    <a:pt x="4870" y="11264"/>
                  </a:lnTo>
                  <a:cubicBezTo>
                    <a:pt x="4894" y="11276"/>
                    <a:pt x="4929" y="11299"/>
                    <a:pt x="4953" y="11299"/>
                  </a:cubicBezTo>
                  <a:cubicBezTo>
                    <a:pt x="4989" y="11299"/>
                    <a:pt x="5013" y="11276"/>
                    <a:pt x="5048" y="11264"/>
                  </a:cubicBezTo>
                  <a:lnTo>
                    <a:pt x="6715" y="10311"/>
                  </a:lnTo>
                  <a:cubicBezTo>
                    <a:pt x="6787" y="10263"/>
                    <a:pt x="6810" y="10168"/>
                    <a:pt x="6775" y="10073"/>
                  </a:cubicBezTo>
                  <a:cubicBezTo>
                    <a:pt x="6742" y="10024"/>
                    <a:pt x="6681" y="9992"/>
                    <a:pt x="6620" y="9992"/>
                  </a:cubicBezTo>
                  <a:cubicBezTo>
                    <a:pt x="6591" y="9992"/>
                    <a:pt x="6563" y="9999"/>
                    <a:pt x="6537" y="10013"/>
                  </a:cubicBezTo>
                  <a:lnTo>
                    <a:pt x="5120" y="10835"/>
                  </a:lnTo>
                  <a:lnTo>
                    <a:pt x="5120" y="5680"/>
                  </a:lnTo>
                  <a:lnTo>
                    <a:pt x="9549" y="3155"/>
                  </a:lnTo>
                  <a:lnTo>
                    <a:pt x="9549" y="3167"/>
                  </a:lnTo>
                  <a:lnTo>
                    <a:pt x="9549" y="3179"/>
                  </a:lnTo>
                  <a:lnTo>
                    <a:pt x="9549" y="3215"/>
                  </a:lnTo>
                  <a:lnTo>
                    <a:pt x="9549" y="8108"/>
                  </a:lnTo>
                  <a:cubicBezTo>
                    <a:pt x="9549" y="8228"/>
                    <a:pt x="9489" y="8335"/>
                    <a:pt x="9394" y="8382"/>
                  </a:cubicBezTo>
                  <a:lnTo>
                    <a:pt x="7096" y="9704"/>
                  </a:lnTo>
                  <a:cubicBezTo>
                    <a:pt x="7025" y="9752"/>
                    <a:pt x="6989" y="9847"/>
                    <a:pt x="7037" y="9942"/>
                  </a:cubicBezTo>
                  <a:cubicBezTo>
                    <a:pt x="7069" y="9991"/>
                    <a:pt x="7130" y="10023"/>
                    <a:pt x="7192" y="10023"/>
                  </a:cubicBezTo>
                  <a:cubicBezTo>
                    <a:pt x="7220" y="10023"/>
                    <a:pt x="7249" y="10017"/>
                    <a:pt x="7275" y="10002"/>
                  </a:cubicBezTo>
                  <a:lnTo>
                    <a:pt x="9573" y="8680"/>
                  </a:lnTo>
                  <a:cubicBezTo>
                    <a:pt x="9775" y="8561"/>
                    <a:pt x="9894" y="8347"/>
                    <a:pt x="9894" y="8108"/>
                  </a:cubicBezTo>
                  <a:lnTo>
                    <a:pt x="9894" y="3215"/>
                  </a:lnTo>
                  <a:cubicBezTo>
                    <a:pt x="9882" y="3060"/>
                    <a:pt x="9847" y="2929"/>
                    <a:pt x="9775" y="2810"/>
                  </a:cubicBezTo>
                  <a:cubicBezTo>
                    <a:pt x="9704" y="2691"/>
                    <a:pt x="9608" y="2608"/>
                    <a:pt x="9489" y="2524"/>
                  </a:cubicBezTo>
                  <a:lnTo>
                    <a:pt x="5263" y="84"/>
                  </a:lnTo>
                  <a:cubicBezTo>
                    <a:pt x="5167" y="24"/>
                    <a:pt x="5048"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5" name="Google Shape;12195;p62"/>
            <p:cNvSpPr/>
            <p:nvPr/>
          </p:nvSpPr>
          <p:spPr>
            <a:xfrm>
              <a:off x="4017435" y="1522302"/>
              <a:ext cx="121591" cy="207114"/>
            </a:xfrm>
            <a:custGeom>
              <a:avLst/>
              <a:gdLst/>
              <a:ahLst/>
              <a:cxnLst/>
              <a:rect l="l" t="t" r="r" b="b"/>
              <a:pathLst>
                <a:path w="3823" h="6512" extrusionOk="0">
                  <a:moveTo>
                    <a:pt x="3552" y="1"/>
                  </a:moveTo>
                  <a:cubicBezTo>
                    <a:pt x="3525" y="1"/>
                    <a:pt x="3499" y="8"/>
                    <a:pt x="3477" y="23"/>
                  </a:cubicBezTo>
                  <a:lnTo>
                    <a:pt x="429" y="1809"/>
                  </a:lnTo>
                  <a:cubicBezTo>
                    <a:pt x="298" y="1880"/>
                    <a:pt x="191" y="1987"/>
                    <a:pt x="119" y="2118"/>
                  </a:cubicBezTo>
                  <a:cubicBezTo>
                    <a:pt x="36" y="2261"/>
                    <a:pt x="0" y="2404"/>
                    <a:pt x="0" y="2559"/>
                  </a:cubicBezTo>
                  <a:lnTo>
                    <a:pt x="0" y="6345"/>
                  </a:lnTo>
                  <a:cubicBezTo>
                    <a:pt x="0" y="6440"/>
                    <a:pt x="72" y="6512"/>
                    <a:pt x="155" y="6512"/>
                  </a:cubicBezTo>
                  <a:cubicBezTo>
                    <a:pt x="250" y="6512"/>
                    <a:pt x="322" y="6440"/>
                    <a:pt x="322" y="6345"/>
                  </a:cubicBezTo>
                  <a:lnTo>
                    <a:pt x="322" y="2559"/>
                  </a:lnTo>
                  <a:lnTo>
                    <a:pt x="322" y="2511"/>
                  </a:lnTo>
                  <a:lnTo>
                    <a:pt x="322" y="2487"/>
                  </a:lnTo>
                  <a:lnTo>
                    <a:pt x="322" y="2451"/>
                  </a:lnTo>
                  <a:lnTo>
                    <a:pt x="3524" y="4273"/>
                  </a:lnTo>
                  <a:cubicBezTo>
                    <a:pt x="3550" y="4290"/>
                    <a:pt x="3580" y="4298"/>
                    <a:pt x="3610" y="4298"/>
                  </a:cubicBezTo>
                  <a:cubicBezTo>
                    <a:pt x="3664" y="4298"/>
                    <a:pt x="3720" y="4272"/>
                    <a:pt x="3751" y="4226"/>
                  </a:cubicBezTo>
                  <a:cubicBezTo>
                    <a:pt x="3822" y="4130"/>
                    <a:pt x="3810" y="4023"/>
                    <a:pt x="3715" y="3987"/>
                  </a:cubicBezTo>
                  <a:lnTo>
                    <a:pt x="512" y="2154"/>
                  </a:lnTo>
                  <a:cubicBezTo>
                    <a:pt x="548" y="2142"/>
                    <a:pt x="560" y="2106"/>
                    <a:pt x="595" y="2094"/>
                  </a:cubicBezTo>
                  <a:lnTo>
                    <a:pt x="3643" y="320"/>
                  </a:lnTo>
                  <a:cubicBezTo>
                    <a:pt x="3715" y="273"/>
                    <a:pt x="3751" y="177"/>
                    <a:pt x="3703" y="82"/>
                  </a:cubicBezTo>
                  <a:cubicBezTo>
                    <a:pt x="3670" y="33"/>
                    <a:pt x="3610" y="1"/>
                    <a:pt x="355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96" name="Google Shape;12196;p62"/>
          <p:cNvGrpSpPr/>
          <p:nvPr/>
        </p:nvGrpSpPr>
        <p:grpSpPr>
          <a:xfrm>
            <a:off x="3963652" y="1999759"/>
            <a:ext cx="374154" cy="284050"/>
            <a:chOff x="3963652" y="1999759"/>
            <a:chExt cx="374154" cy="284050"/>
          </a:xfrm>
        </p:grpSpPr>
        <p:sp>
          <p:nvSpPr>
            <p:cNvPr id="12197" name="Google Shape;12197;p62"/>
            <p:cNvSpPr/>
            <p:nvPr/>
          </p:nvSpPr>
          <p:spPr>
            <a:xfrm>
              <a:off x="4123441" y="2104652"/>
              <a:ext cx="214366" cy="179158"/>
            </a:xfrm>
            <a:custGeom>
              <a:avLst/>
              <a:gdLst/>
              <a:ahLst/>
              <a:cxnLst/>
              <a:rect l="l" t="t" r="r" b="b"/>
              <a:pathLst>
                <a:path w="6740" h="5633" extrusionOk="0">
                  <a:moveTo>
                    <a:pt x="6573" y="1"/>
                  </a:moveTo>
                  <a:cubicBezTo>
                    <a:pt x="6490" y="1"/>
                    <a:pt x="6395" y="84"/>
                    <a:pt x="6395" y="179"/>
                  </a:cubicBezTo>
                  <a:lnTo>
                    <a:pt x="6395" y="5275"/>
                  </a:lnTo>
                  <a:lnTo>
                    <a:pt x="180" y="5275"/>
                  </a:lnTo>
                  <a:cubicBezTo>
                    <a:pt x="84" y="5275"/>
                    <a:pt x="1" y="5346"/>
                    <a:pt x="1" y="5454"/>
                  </a:cubicBezTo>
                  <a:cubicBezTo>
                    <a:pt x="1" y="5549"/>
                    <a:pt x="72" y="5632"/>
                    <a:pt x="180" y="5632"/>
                  </a:cubicBezTo>
                  <a:lnTo>
                    <a:pt x="6561" y="5632"/>
                  </a:lnTo>
                  <a:cubicBezTo>
                    <a:pt x="6645" y="5632"/>
                    <a:pt x="6740" y="5549"/>
                    <a:pt x="6740" y="5454"/>
                  </a:cubicBezTo>
                  <a:lnTo>
                    <a:pt x="6740" y="179"/>
                  </a:lnTo>
                  <a:cubicBezTo>
                    <a:pt x="6740" y="84"/>
                    <a:pt x="6668" y="1"/>
                    <a:pt x="6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8" name="Google Shape;12198;p62"/>
            <p:cNvSpPr/>
            <p:nvPr/>
          </p:nvSpPr>
          <p:spPr>
            <a:xfrm>
              <a:off x="3963652" y="1999759"/>
              <a:ext cx="374154" cy="283669"/>
            </a:xfrm>
            <a:custGeom>
              <a:avLst/>
              <a:gdLst/>
              <a:ahLst/>
              <a:cxnLst/>
              <a:rect l="l" t="t" r="r" b="b"/>
              <a:pathLst>
                <a:path w="11764" h="8919" extrusionOk="0">
                  <a:moveTo>
                    <a:pt x="1036" y="1"/>
                  </a:moveTo>
                  <a:cubicBezTo>
                    <a:pt x="465" y="1"/>
                    <a:pt x="0" y="465"/>
                    <a:pt x="0" y="1024"/>
                  </a:cubicBezTo>
                  <a:lnTo>
                    <a:pt x="0" y="7847"/>
                  </a:lnTo>
                  <a:cubicBezTo>
                    <a:pt x="0" y="8418"/>
                    <a:pt x="477" y="8918"/>
                    <a:pt x="1072" y="8918"/>
                  </a:cubicBezTo>
                  <a:lnTo>
                    <a:pt x="4513" y="8918"/>
                  </a:lnTo>
                  <a:cubicBezTo>
                    <a:pt x="4608" y="8918"/>
                    <a:pt x="4692" y="8835"/>
                    <a:pt x="4692" y="8740"/>
                  </a:cubicBezTo>
                  <a:cubicBezTo>
                    <a:pt x="4692" y="8644"/>
                    <a:pt x="4620" y="8561"/>
                    <a:pt x="4513" y="8561"/>
                  </a:cubicBezTo>
                  <a:lnTo>
                    <a:pt x="1072" y="8561"/>
                  </a:lnTo>
                  <a:cubicBezTo>
                    <a:pt x="679" y="8561"/>
                    <a:pt x="358" y="8228"/>
                    <a:pt x="358" y="7847"/>
                  </a:cubicBezTo>
                  <a:lnTo>
                    <a:pt x="358" y="7799"/>
                  </a:lnTo>
                  <a:lnTo>
                    <a:pt x="358" y="7763"/>
                  </a:lnTo>
                  <a:cubicBezTo>
                    <a:pt x="405" y="7430"/>
                    <a:pt x="691" y="7168"/>
                    <a:pt x="1036" y="7168"/>
                  </a:cubicBezTo>
                  <a:lnTo>
                    <a:pt x="1358" y="7168"/>
                  </a:lnTo>
                  <a:cubicBezTo>
                    <a:pt x="1453" y="7168"/>
                    <a:pt x="1536" y="7097"/>
                    <a:pt x="1536" y="6990"/>
                  </a:cubicBezTo>
                  <a:cubicBezTo>
                    <a:pt x="1536" y="6906"/>
                    <a:pt x="1465" y="6811"/>
                    <a:pt x="1358" y="6811"/>
                  </a:cubicBezTo>
                  <a:cubicBezTo>
                    <a:pt x="1335" y="6814"/>
                    <a:pt x="1309" y="6815"/>
                    <a:pt x="1278" y="6815"/>
                  </a:cubicBezTo>
                  <a:cubicBezTo>
                    <a:pt x="1232" y="6815"/>
                    <a:pt x="1177" y="6813"/>
                    <a:pt x="1116" y="6813"/>
                  </a:cubicBezTo>
                  <a:cubicBezTo>
                    <a:pt x="905" y="6813"/>
                    <a:pt x="620" y="6839"/>
                    <a:pt x="346" y="7073"/>
                  </a:cubicBezTo>
                  <a:lnTo>
                    <a:pt x="346" y="1013"/>
                  </a:lnTo>
                  <a:cubicBezTo>
                    <a:pt x="346" y="643"/>
                    <a:pt x="655" y="322"/>
                    <a:pt x="1036" y="322"/>
                  </a:cubicBezTo>
                  <a:lnTo>
                    <a:pt x="2465" y="322"/>
                  </a:lnTo>
                  <a:lnTo>
                    <a:pt x="2465" y="6811"/>
                  </a:lnTo>
                  <a:lnTo>
                    <a:pt x="2048" y="6811"/>
                  </a:lnTo>
                  <a:cubicBezTo>
                    <a:pt x="1953" y="6811"/>
                    <a:pt x="1870" y="6894"/>
                    <a:pt x="1870" y="6990"/>
                  </a:cubicBezTo>
                  <a:cubicBezTo>
                    <a:pt x="1870" y="7085"/>
                    <a:pt x="1941" y="7168"/>
                    <a:pt x="2048" y="7168"/>
                  </a:cubicBezTo>
                  <a:lnTo>
                    <a:pt x="2620" y="7168"/>
                  </a:lnTo>
                  <a:cubicBezTo>
                    <a:pt x="2715" y="7168"/>
                    <a:pt x="2798" y="7097"/>
                    <a:pt x="2798" y="6990"/>
                  </a:cubicBezTo>
                  <a:lnTo>
                    <a:pt x="2798" y="1191"/>
                  </a:lnTo>
                  <a:lnTo>
                    <a:pt x="11407" y="1191"/>
                  </a:lnTo>
                  <a:lnTo>
                    <a:pt x="11407" y="2763"/>
                  </a:lnTo>
                  <a:cubicBezTo>
                    <a:pt x="11407" y="2858"/>
                    <a:pt x="11478" y="2941"/>
                    <a:pt x="11585" y="2941"/>
                  </a:cubicBezTo>
                  <a:cubicBezTo>
                    <a:pt x="11669" y="2941"/>
                    <a:pt x="11764" y="2870"/>
                    <a:pt x="11764" y="2763"/>
                  </a:cubicBezTo>
                  <a:lnTo>
                    <a:pt x="11764" y="1024"/>
                  </a:lnTo>
                  <a:cubicBezTo>
                    <a:pt x="11764" y="941"/>
                    <a:pt x="11692" y="858"/>
                    <a:pt x="11597" y="858"/>
                  </a:cubicBezTo>
                  <a:lnTo>
                    <a:pt x="2822" y="858"/>
                  </a:lnTo>
                  <a:lnTo>
                    <a:pt x="2822" y="179"/>
                  </a:lnTo>
                  <a:cubicBezTo>
                    <a:pt x="2822" y="84"/>
                    <a:pt x="2739" y="1"/>
                    <a:pt x="2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9" name="Google Shape;12199;p62"/>
            <p:cNvSpPr/>
            <p:nvPr/>
          </p:nvSpPr>
          <p:spPr>
            <a:xfrm>
              <a:off x="4069309" y="2061874"/>
              <a:ext cx="234435" cy="182911"/>
            </a:xfrm>
            <a:custGeom>
              <a:avLst/>
              <a:gdLst/>
              <a:ahLst/>
              <a:cxnLst/>
              <a:rect l="l" t="t" r="r" b="b"/>
              <a:pathLst>
                <a:path w="7371" h="5751" extrusionOk="0">
                  <a:moveTo>
                    <a:pt x="5477" y="357"/>
                  </a:moveTo>
                  <a:lnTo>
                    <a:pt x="5477" y="1631"/>
                  </a:lnTo>
                  <a:lnTo>
                    <a:pt x="3013" y="1631"/>
                  </a:lnTo>
                  <a:lnTo>
                    <a:pt x="3013" y="357"/>
                  </a:lnTo>
                  <a:close/>
                  <a:moveTo>
                    <a:pt x="2667" y="3036"/>
                  </a:moveTo>
                  <a:lnTo>
                    <a:pt x="2667" y="5394"/>
                  </a:lnTo>
                  <a:lnTo>
                    <a:pt x="1643" y="5394"/>
                  </a:lnTo>
                  <a:cubicBezTo>
                    <a:pt x="929" y="5394"/>
                    <a:pt x="358" y="4822"/>
                    <a:pt x="358" y="4120"/>
                  </a:cubicBezTo>
                  <a:lnTo>
                    <a:pt x="358" y="3036"/>
                  </a:lnTo>
                  <a:close/>
                  <a:moveTo>
                    <a:pt x="7013" y="334"/>
                  </a:moveTo>
                  <a:lnTo>
                    <a:pt x="7013" y="5394"/>
                  </a:lnTo>
                  <a:lnTo>
                    <a:pt x="3013" y="5394"/>
                  </a:lnTo>
                  <a:lnTo>
                    <a:pt x="3013" y="1977"/>
                  </a:lnTo>
                  <a:lnTo>
                    <a:pt x="5656" y="1977"/>
                  </a:lnTo>
                  <a:cubicBezTo>
                    <a:pt x="5751" y="1977"/>
                    <a:pt x="5834" y="1905"/>
                    <a:pt x="5834" y="1798"/>
                  </a:cubicBezTo>
                  <a:lnTo>
                    <a:pt x="5834" y="334"/>
                  </a:lnTo>
                  <a:close/>
                  <a:moveTo>
                    <a:pt x="179" y="0"/>
                  </a:moveTo>
                  <a:cubicBezTo>
                    <a:pt x="96" y="0"/>
                    <a:pt x="0" y="72"/>
                    <a:pt x="0" y="179"/>
                  </a:cubicBezTo>
                  <a:lnTo>
                    <a:pt x="0" y="4120"/>
                  </a:lnTo>
                  <a:cubicBezTo>
                    <a:pt x="0" y="5025"/>
                    <a:pt x="727" y="5751"/>
                    <a:pt x="1643" y="5751"/>
                  </a:cubicBezTo>
                  <a:lnTo>
                    <a:pt x="7192" y="5751"/>
                  </a:lnTo>
                  <a:cubicBezTo>
                    <a:pt x="7275" y="5751"/>
                    <a:pt x="7370" y="5679"/>
                    <a:pt x="7370" y="5572"/>
                  </a:cubicBezTo>
                  <a:lnTo>
                    <a:pt x="7370" y="179"/>
                  </a:lnTo>
                  <a:cubicBezTo>
                    <a:pt x="7358" y="72"/>
                    <a:pt x="7275" y="0"/>
                    <a:pt x="7192" y="0"/>
                  </a:cubicBezTo>
                  <a:lnTo>
                    <a:pt x="2024" y="0"/>
                  </a:lnTo>
                  <a:cubicBezTo>
                    <a:pt x="1941" y="0"/>
                    <a:pt x="1846" y="72"/>
                    <a:pt x="1846" y="179"/>
                  </a:cubicBezTo>
                  <a:cubicBezTo>
                    <a:pt x="1846" y="262"/>
                    <a:pt x="1917" y="357"/>
                    <a:pt x="2024" y="357"/>
                  </a:cubicBezTo>
                  <a:lnTo>
                    <a:pt x="2667" y="357"/>
                  </a:lnTo>
                  <a:lnTo>
                    <a:pt x="2667" y="2691"/>
                  </a:lnTo>
                  <a:lnTo>
                    <a:pt x="358" y="2691"/>
                  </a:lnTo>
                  <a:lnTo>
                    <a:pt x="358" y="357"/>
                  </a:lnTo>
                  <a:lnTo>
                    <a:pt x="1322" y="357"/>
                  </a:lnTo>
                  <a:cubicBezTo>
                    <a:pt x="1417" y="357"/>
                    <a:pt x="1501" y="274"/>
                    <a:pt x="1501" y="179"/>
                  </a:cubicBezTo>
                  <a:cubicBezTo>
                    <a:pt x="1501" y="84"/>
                    <a:pt x="1429" y="0"/>
                    <a:pt x="1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0" name="Google Shape;12200;p62"/>
          <p:cNvGrpSpPr/>
          <p:nvPr/>
        </p:nvGrpSpPr>
        <p:grpSpPr>
          <a:xfrm>
            <a:off x="1777536" y="2014866"/>
            <a:ext cx="376444" cy="253772"/>
            <a:chOff x="1777536" y="2014866"/>
            <a:chExt cx="376444" cy="253772"/>
          </a:xfrm>
        </p:grpSpPr>
        <p:sp>
          <p:nvSpPr>
            <p:cNvPr id="12201" name="Google Shape;12201;p62"/>
            <p:cNvSpPr/>
            <p:nvPr/>
          </p:nvSpPr>
          <p:spPr>
            <a:xfrm>
              <a:off x="1777536" y="2178503"/>
              <a:ext cx="376444" cy="90135"/>
            </a:xfrm>
            <a:custGeom>
              <a:avLst/>
              <a:gdLst/>
              <a:ahLst/>
              <a:cxnLst/>
              <a:rect l="l" t="t" r="r" b="b"/>
              <a:pathLst>
                <a:path w="11836" h="2834" extrusionOk="0">
                  <a:moveTo>
                    <a:pt x="11431" y="357"/>
                  </a:moveTo>
                  <a:lnTo>
                    <a:pt x="11431" y="2489"/>
                  </a:lnTo>
                  <a:lnTo>
                    <a:pt x="10966" y="2489"/>
                  </a:lnTo>
                  <a:lnTo>
                    <a:pt x="10966" y="357"/>
                  </a:lnTo>
                  <a:close/>
                  <a:moveTo>
                    <a:pt x="10966" y="0"/>
                  </a:moveTo>
                  <a:cubicBezTo>
                    <a:pt x="10764" y="0"/>
                    <a:pt x="10621" y="167"/>
                    <a:pt x="10621" y="346"/>
                  </a:cubicBezTo>
                  <a:lnTo>
                    <a:pt x="10621" y="738"/>
                  </a:lnTo>
                  <a:lnTo>
                    <a:pt x="5525" y="738"/>
                  </a:lnTo>
                  <a:lnTo>
                    <a:pt x="5525" y="631"/>
                  </a:lnTo>
                  <a:cubicBezTo>
                    <a:pt x="5525" y="536"/>
                    <a:pt x="5454" y="453"/>
                    <a:pt x="5359" y="453"/>
                  </a:cubicBezTo>
                  <a:cubicBezTo>
                    <a:pt x="5251" y="453"/>
                    <a:pt x="5180" y="524"/>
                    <a:pt x="5180" y="631"/>
                  </a:cubicBezTo>
                  <a:lnTo>
                    <a:pt x="5180" y="738"/>
                  </a:lnTo>
                  <a:lnTo>
                    <a:pt x="5180" y="2227"/>
                  </a:lnTo>
                  <a:cubicBezTo>
                    <a:pt x="5180" y="2370"/>
                    <a:pt x="5061" y="2489"/>
                    <a:pt x="4906" y="2489"/>
                  </a:cubicBezTo>
                  <a:lnTo>
                    <a:pt x="620" y="2489"/>
                  </a:lnTo>
                  <a:cubicBezTo>
                    <a:pt x="465" y="2489"/>
                    <a:pt x="346" y="2370"/>
                    <a:pt x="346" y="2227"/>
                  </a:cubicBezTo>
                  <a:lnTo>
                    <a:pt x="346" y="1370"/>
                  </a:lnTo>
                  <a:cubicBezTo>
                    <a:pt x="346" y="1286"/>
                    <a:pt x="275" y="1191"/>
                    <a:pt x="167" y="1191"/>
                  </a:cubicBezTo>
                  <a:cubicBezTo>
                    <a:pt x="84" y="1191"/>
                    <a:pt x="1" y="1274"/>
                    <a:pt x="1" y="1370"/>
                  </a:cubicBezTo>
                  <a:lnTo>
                    <a:pt x="1" y="2227"/>
                  </a:lnTo>
                  <a:cubicBezTo>
                    <a:pt x="1" y="2560"/>
                    <a:pt x="275" y="2834"/>
                    <a:pt x="608" y="2834"/>
                  </a:cubicBezTo>
                  <a:lnTo>
                    <a:pt x="6144" y="2834"/>
                  </a:lnTo>
                  <a:cubicBezTo>
                    <a:pt x="6228" y="2834"/>
                    <a:pt x="6323" y="2763"/>
                    <a:pt x="6323" y="2655"/>
                  </a:cubicBezTo>
                  <a:cubicBezTo>
                    <a:pt x="6323" y="2548"/>
                    <a:pt x="6251" y="2477"/>
                    <a:pt x="6144" y="2477"/>
                  </a:cubicBezTo>
                  <a:lnTo>
                    <a:pt x="5454" y="2477"/>
                  </a:lnTo>
                  <a:cubicBezTo>
                    <a:pt x="5561" y="2251"/>
                    <a:pt x="5501" y="2143"/>
                    <a:pt x="5513" y="1072"/>
                  </a:cubicBezTo>
                  <a:lnTo>
                    <a:pt x="5728" y="1072"/>
                  </a:lnTo>
                  <a:lnTo>
                    <a:pt x="5728" y="1465"/>
                  </a:lnTo>
                  <a:cubicBezTo>
                    <a:pt x="5728" y="1548"/>
                    <a:pt x="5799" y="1643"/>
                    <a:pt x="5906" y="1643"/>
                  </a:cubicBezTo>
                  <a:cubicBezTo>
                    <a:pt x="6001" y="1643"/>
                    <a:pt x="6085" y="1572"/>
                    <a:pt x="6085" y="1465"/>
                  </a:cubicBezTo>
                  <a:lnTo>
                    <a:pt x="6085" y="1072"/>
                  </a:lnTo>
                  <a:lnTo>
                    <a:pt x="6275" y="1072"/>
                  </a:lnTo>
                  <a:lnTo>
                    <a:pt x="6275" y="1941"/>
                  </a:lnTo>
                  <a:cubicBezTo>
                    <a:pt x="6275" y="2024"/>
                    <a:pt x="6347" y="2120"/>
                    <a:pt x="6454" y="2120"/>
                  </a:cubicBezTo>
                  <a:cubicBezTo>
                    <a:pt x="6561" y="2120"/>
                    <a:pt x="6632" y="2048"/>
                    <a:pt x="6632" y="1941"/>
                  </a:cubicBezTo>
                  <a:lnTo>
                    <a:pt x="6632" y="1072"/>
                  </a:lnTo>
                  <a:lnTo>
                    <a:pt x="6823" y="1072"/>
                  </a:lnTo>
                  <a:lnTo>
                    <a:pt x="6823" y="1465"/>
                  </a:lnTo>
                  <a:cubicBezTo>
                    <a:pt x="6823" y="1548"/>
                    <a:pt x="6894" y="1643"/>
                    <a:pt x="7002" y="1643"/>
                  </a:cubicBezTo>
                  <a:cubicBezTo>
                    <a:pt x="7109" y="1643"/>
                    <a:pt x="7180" y="1572"/>
                    <a:pt x="7180" y="1465"/>
                  </a:cubicBezTo>
                  <a:lnTo>
                    <a:pt x="7180" y="1072"/>
                  </a:lnTo>
                  <a:lnTo>
                    <a:pt x="7371" y="1072"/>
                  </a:lnTo>
                  <a:lnTo>
                    <a:pt x="7371" y="1465"/>
                  </a:lnTo>
                  <a:cubicBezTo>
                    <a:pt x="7371" y="1548"/>
                    <a:pt x="7454" y="1643"/>
                    <a:pt x="7549" y="1643"/>
                  </a:cubicBezTo>
                  <a:cubicBezTo>
                    <a:pt x="7656" y="1643"/>
                    <a:pt x="7728" y="1572"/>
                    <a:pt x="7728" y="1465"/>
                  </a:cubicBezTo>
                  <a:lnTo>
                    <a:pt x="7728" y="1072"/>
                  </a:lnTo>
                  <a:lnTo>
                    <a:pt x="7930" y="1072"/>
                  </a:lnTo>
                  <a:lnTo>
                    <a:pt x="7930" y="1465"/>
                  </a:lnTo>
                  <a:cubicBezTo>
                    <a:pt x="7930" y="1548"/>
                    <a:pt x="8002" y="1643"/>
                    <a:pt x="8109" y="1643"/>
                  </a:cubicBezTo>
                  <a:cubicBezTo>
                    <a:pt x="8192" y="1643"/>
                    <a:pt x="8287" y="1572"/>
                    <a:pt x="8287" y="1465"/>
                  </a:cubicBezTo>
                  <a:lnTo>
                    <a:pt x="8287" y="1072"/>
                  </a:lnTo>
                  <a:lnTo>
                    <a:pt x="8478" y="1072"/>
                  </a:lnTo>
                  <a:lnTo>
                    <a:pt x="8478" y="1941"/>
                  </a:lnTo>
                  <a:cubicBezTo>
                    <a:pt x="8478" y="2024"/>
                    <a:pt x="8549" y="2120"/>
                    <a:pt x="8657" y="2120"/>
                  </a:cubicBezTo>
                  <a:cubicBezTo>
                    <a:pt x="8764" y="2120"/>
                    <a:pt x="8835" y="2048"/>
                    <a:pt x="8835" y="1941"/>
                  </a:cubicBezTo>
                  <a:lnTo>
                    <a:pt x="8835" y="1072"/>
                  </a:lnTo>
                  <a:lnTo>
                    <a:pt x="9026" y="1072"/>
                  </a:lnTo>
                  <a:lnTo>
                    <a:pt x="9026" y="1465"/>
                  </a:lnTo>
                  <a:cubicBezTo>
                    <a:pt x="9026" y="1548"/>
                    <a:pt x="9097" y="1643"/>
                    <a:pt x="9204" y="1643"/>
                  </a:cubicBezTo>
                  <a:cubicBezTo>
                    <a:pt x="9311" y="1643"/>
                    <a:pt x="9383" y="1572"/>
                    <a:pt x="9383" y="1465"/>
                  </a:cubicBezTo>
                  <a:lnTo>
                    <a:pt x="9383" y="1072"/>
                  </a:lnTo>
                  <a:lnTo>
                    <a:pt x="9573" y="1072"/>
                  </a:lnTo>
                  <a:lnTo>
                    <a:pt x="9573" y="1465"/>
                  </a:lnTo>
                  <a:cubicBezTo>
                    <a:pt x="9573" y="1548"/>
                    <a:pt x="9657" y="1643"/>
                    <a:pt x="9752" y="1643"/>
                  </a:cubicBezTo>
                  <a:cubicBezTo>
                    <a:pt x="9859" y="1643"/>
                    <a:pt x="9931" y="1572"/>
                    <a:pt x="9931" y="1465"/>
                  </a:cubicBezTo>
                  <a:lnTo>
                    <a:pt x="9931" y="1072"/>
                  </a:lnTo>
                  <a:lnTo>
                    <a:pt x="10133" y="1072"/>
                  </a:lnTo>
                  <a:lnTo>
                    <a:pt x="10133" y="1465"/>
                  </a:lnTo>
                  <a:cubicBezTo>
                    <a:pt x="10133" y="1548"/>
                    <a:pt x="10204" y="1643"/>
                    <a:pt x="10312" y="1643"/>
                  </a:cubicBezTo>
                  <a:cubicBezTo>
                    <a:pt x="10407" y="1643"/>
                    <a:pt x="10490" y="1572"/>
                    <a:pt x="10490" y="1465"/>
                  </a:cubicBezTo>
                  <a:lnTo>
                    <a:pt x="10490" y="1072"/>
                  </a:lnTo>
                  <a:lnTo>
                    <a:pt x="10693" y="1072"/>
                  </a:lnTo>
                  <a:lnTo>
                    <a:pt x="10693" y="2477"/>
                  </a:lnTo>
                  <a:lnTo>
                    <a:pt x="6930" y="2477"/>
                  </a:lnTo>
                  <a:cubicBezTo>
                    <a:pt x="6835" y="2477"/>
                    <a:pt x="6752" y="2548"/>
                    <a:pt x="6752" y="2655"/>
                  </a:cubicBezTo>
                  <a:cubicBezTo>
                    <a:pt x="6752" y="2763"/>
                    <a:pt x="6823" y="2834"/>
                    <a:pt x="6930" y="2834"/>
                  </a:cubicBezTo>
                  <a:lnTo>
                    <a:pt x="11502" y="2834"/>
                  </a:lnTo>
                  <a:cubicBezTo>
                    <a:pt x="11693" y="2834"/>
                    <a:pt x="11836" y="2667"/>
                    <a:pt x="11836" y="2489"/>
                  </a:cubicBezTo>
                  <a:lnTo>
                    <a:pt x="11836" y="357"/>
                  </a:lnTo>
                  <a:cubicBezTo>
                    <a:pt x="11764" y="155"/>
                    <a:pt x="11621" y="0"/>
                    <a:pt x="114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2" name="Google Shape;12202;p62"/>
            <p:cNvSpPr/>
            <p:nvPr/>
          </p:nvSpPr>
          <p:spPr>
            <a:xfrm>
              <a:off x="1859338" y="2014866"/>
              <a:ext cx="107565" cy="167072"/>
            </a:xfrm>
            <a:custGeom>
              <a:avLst/>
              <a:gdLst/>
              <a:ahLst/>
              <a:cxnLst/>
              <a:rect l="l" t="t" r="r" b="b"/>
              <a:pathLst>
                <a:path w="3382" h="5253" extrusionOk="0">
                  <a:moveTo>
                    <a:pt x="1434" y="0"/>
                  </a:moveTo>
                  <a:cubicBezTo>
                    <a:pt x="1356" y="0"/>
                    <a:pt x="1274" y="67"/>
                    <a:pt x="1263" y="145"/>
                  </a:cubicBezTo>
                  <a:cubicBezTo>
                    <a:pt x="1251" y="240"/>
                    <a:pt x="1322" y="323"/>
                    <a:pt x="1417" y="347"/>
                  </a:cubicBezTo>
                  <a:cubicBezTo>
                    <a:pt x="1453" y="347"/>
                    <a:pt x="1501" y="359"/>
                    <a:pt x="1536" y="371"/>
                  </a:cubicBezTo>
                  <a:cubicBezTo>
                    <a:pt x="2465" y="728"/>
                    <a:pt x="2917" y="1454"/>
                    <a:pt x="2917" y="1776"/>
                  </a:cubicBezTo>
                  <a:cubicBezTo>
                    <a:pt x="2917" y="1931"/>
                    <a:pt x="2822" y="2097"/>
                    <a:pt x="2691" y="2193"/>
                  </a:cubicBezTo>
                  <a:cubicBezTo>
                    <a:pt x="2346" y="1454"/>
                    <a:pt x="1691" y="895"/>
                    <a:pt x="905" y="680"/>
                  </a:cubicBezTo>
                  <a:cubicBezTo>
                    <a:pt x="917" y="645"/>
                    <a:pt x="941" y="597"/>
                    <a:pt x="965" y="561"/>
                  </a:cubicBezTo>
                  <a:cubicBezTo>
                    <a:pt x="1024" y="490"/>
                    <a:pt x="1012" y="371"/>
                    <a:pt x="917" y="323"/>
                  </a:cubicBezTo>
                  <a:cubicBezTo>
                    <a:pt x="888" y="299"/>
                    <a:pt x="852" y="287"/>
                    <a:pt x="815" y="287"/>
                  </a:cubicBezTo>
                  <a:cubicBezTo>
                    <a:pt x="761" y="287"/>
                    <a:pt x="708" y="314"/>
                    <a:pt x="679" y="371"/>
                  </a:cubicBezTo>
                  <a:cubicBezTo>
                    <a:pt x="620" y="442"/>
                    <a:pt x="572" y="538"/>
                    <a:pt x="560" y="621"/>
                  </a:cubicBezTo>
                  <a:cubicBezTo>
                    <a:pt x="370" y="597"/>
                    <a:pt x="179" y="597"/>
                    <a:pt x="179" y="597"/>
                  </a:cubicBezTo>
                  <a:cubicBezTo>
                    <a:pt x="84" y="597"/>
                    <a:pt x="0" y="669"/>
                    <a:pt x="0" y="776"/>
                  </a:cubicBezTo>
                  <a:cubicBezTo>
                    <a:pt x="0" y="859"/>
                    <a:pt x="72" y="954"/>
                    <a:pt x="179" y="954"/>
                  </a:cubicBezTo>
                  <a:cubicBezTo>
                    <a:pt x="179" y="954"/>
                    <a:pt x="322" y="954"/>
                    <a:pt x="536" y="978"/>
                  </a:cubicBezTo>
                  <a:cubicBezTo>
                    <a:pt x="1691" y="1145"/>
                    <a:pt x="2596" y="2157"/>
                    <a:pt x="2596" y="3359"/>
                  </a:cubicBezTo>
                  <a:lnTo>
                    <a:pt x="2596" y="5074"/>
                  </a:lnTo>
                  <a:cubicBezTo>
                    <a:pt x="2596" y="5169"/>
                    <a:pt x="2679" y="5252"/>
                    <a:pt x="2775" y="5252"/>
                  </a:cubicBezTo>
                  <a:cubicBezTo>
                    <a:pt x="2882" y="5252"/>
                    <a:pt x="2953" y="5181"/>
                    <a:pt x="2953" y="5074"/>
                  </a:cubicBezTo>
                  <a:cubicBezTo>
                    <a:pt x="2929" y="3514"/>
                    <a:pt x="3037" y="3145"/>
                    <a:pt x="2822" y="2502"/>
                  </a:cubicBezTo>
                  <a:cubicBezTo>
                    <a:pt x="3203" y="2312"/>
                    <a:pt x="3382" y="1847"/>
                    <a:pt x="3203" y="1442"/>
                  </a:cubicBezTo>
                  <a:cubicBezTo>
                    <a:pt x="2941" y="835"/>
                    <a:pt x="2394" y="323"/>
                    <a:pt x="1667" y="49"/>
                  </a:cubicBezTo>
                  <a:cubicBezTo>
                    <a:pt x="1596" y="14"/>
                    <a:pt x="1513" y="2"/>
                    <a:pt x="1453" y="2"/>
                  </a:cubicBezTo>
                  <a:cubicBezTo>
                    <a:pt x="1447" y="1"/>
                    <a:pt x="1441" y="0"/>
                    <a:pt x="14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3" name="Google Shape;12203;p62"/>
            <p:cNvSpPr/>
            <p:nvPr/>
          </p:nvSpPr>
          <p:spPr>
            <a:xfrm>
              <a:off x="1777536" y="2036335"/>
              <a:ext cx="71243" cy="169457"/>
            </a:xfrm>
            <a:custGeom>
              <a:avLst/>
              <a:gdLst/>
              <a:ahLst/>
              <a:cxnLst/>
              <a:rect l="l" t="t" r="r" b="b"/>
              <a:pathLst>
                <a:path w="2240" h="5328" extrusionOk="0">
                  <a:moveTo>
                    <a:pt x="2048" y="0"/>
                  </a:moveTo>
                  <a:cubicBezTo>
                    <a:pt x="2033" y="0"/>
                    <a:pt x="2017" y="2"/>
                    <a:pt x="2001" y="5"/>
                  </a:cubicBezTo>
                  <a:cubicBezTo>
                    <a:pt x="834" y="351"/>
                    <a:pt x="1" y="1434"/>
                    <a:pt x="1" y="2661"/>
                  </a:cubicBezTo>
                  <a:lnTo>
                    <a:pt x="1" y="5149"/>
                  </a:lnTo>
                  <a:cubicBezTo>
                    <a:pt x="1" y="5232"/>
                    <a:pt x="72" y="5328"/>
                    <a:pt x="179" y="5328"/>
                  </a:cubicBezTo>
                  <a:cubicBezTo>
                    <a:pt x="263" y="5328"/>
                    <a:pt x="358" y="5244"/>
                    <a:pt x="358" y="5149"/>
                  </a:cubicBezTo>
                  <a:lnTo>
                    <a:pt x="358" y="2661"/>
                  </a:lnTo>
                  <a:cubicBezTo>
                    <a:pt x="358" y="1589"/>
                    <a:pt x="1072" y="636"/>
                    <a:pt x="2108" y="339"/>
                  </a:cubicBezTo>
                  <a:cubicBezTo>
                    <a:pt x="2203" y="303"/>
                    <a:pt x="2239" y="220"/>
                    <a:pt x="2227" y="125"/>
                  </a:cubicBezTo>
                  <a:cubicBezTo>
                    <a:pt x="2207" y="54"/>
                    <a:pt x="2135" y="0"/>
                    <a:pt x="2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4" name="Google Shape;12204;p62"/>
            <p:cNvSpPr/>
            <p:nvPr/>
          </p:nvSpPr>
          <p:spPr>
            <a:xfrm>
              <a:off x="1817197" y="2078794"/>
              <a:ext cx="85714" cy="54291"/>
            </a:xfrm>
            <a:custGeom>
              <a:avLst/>
              <a:gdLst/>
              <a:ahLst/>
              <a:cxnLst/>
              <a:rect l="l" t="t" r="r" b="b"/>
              <a:pathLst>
                <a:path w="2695" h="1707" extrusionOk="0">
                  <a:moveTo>
                    <a:pt x="1528" y="0"/>
                  </a:moveTo>
                  <a:cubicBezTo>
                    <a:pt x="754" y="0"/>
                    <a:pt x="1" y="618"/>
                    <a:pt x="63" y="1552"/>
                  </a:cubicBezTo>
                  <a:cubicBezTo>
                    <a:pt x="63" y="1635"/>
                    <a:pt x="147" y="1707"/>
                    <a:pt x="242" y="1707"/>
                  </a:cubicBezTo>
                  <a:cubicBezTo>
                    <a:pt x="325" y="1707"/>
                    <a:pt x="397" y="1623"/>
                    <a:pt x="397" y="1528"/>
                  </a:cubicBezTo>
                  <a:cubicBezTo>
                    <a:pt x="350" y="837"/>
                    <a:pt x="918" y="369"/>
                    <a:pt x="1506" y="369"/>
                  </a:cubicBezTo>
                  <a:cubicBezTo>
                    <a:pt x="1810" y="369"/>
                    <a:pt x="2118" y="494"/>
                    <a:pt x="2349" y="778"/>
                  </a:cubicBezTo>
                  <a:cubicBezTo>
                    <a:pt x="2383" y="818"/>
                    <a:pt x="2432" y="840"/>
                    <a:pt x="2484" y="840"/>
                  </a:cubicBezTo>
                  <a:cubicBezTo>
                    <a:pt x="2523" y="840"/>
                    <a:pt x="2563" y="827"/>
                    <a:pt x="2599" y="802"/>
                  </a:cubicBezTo>
                  <a:cubicBezTo>
                    <a:pt x="2695" y="718"/>
                    <a:pt x="2695" y="599"/>
                    <a:pt x="2635" y="540"/>
                  </a:cubicBezTo>
                  <a:cubicBezTo>
                    <a:pt x="2335" y="166"/>
                    <a:pt x="1929" y="0"/>
                    <a:pt x="15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5" name="Google Shape;12205;p62"/>
            <p:cNvSpPr/>
            <p:nvPr/>
          </p:nvSpPr>
          <p:spPr>
            <a:xfrm>
              <a:off x="1826007" y="2113716"/>
              <a:ext cx="88641" cy="56867"/>
            </a:xfrm>
            <a:custGeom>
              <a:avLst/>
              <a:gdLst/>
              <a:ahLst/>
              <a:cxnLst/>
              <a:rect l="l" t="t" r="r" b="b"/>
              <a:pathLst>
                <a:path w="2787" h="1788" extrusionOk="0">
                  <a:moveTo>
                    <a:pt x="2496" y="0"/>
                  </a:moveTo>
                  <a:cubicBezTo>
                    <a:pt x="2489" y="0"/>
                    <a:pt x="2483" y="0"/>
                    <a:pt x="2477" y="1"/>
                  </a:cubicBezTo>
                  <a:cubicBezTo>
                    <a:pt x="2382" y="13"/>
                    <a:pt x="2311" y="108"/>
                    <a:pt x="2322" y="192"/>
                  </a:cubicBezTo>
                  <a:cubicBezTo>
                    <a:pt x="2418" y="870"/>
                    <a:pt x="1894" y="1442"/>
                    <a:pt x="1239" y="1442"/>
                  </a:cubicBezTo>
                  <a:cubicBezTo>
                    <a:pt x="882" y="1442"/>
                    <a:pt x="560" y="1263"/>
                    <a:pt x="346" y="990"/>
                  </a:cubicBezTo>
                  <a:cubicBezTo>
                    <a:pt x="309" y="938"/>
                    <a:pt x="253" y="909"/>
                    <a:pt x="200" y="909"/>
                  </a:cubicBezTo>
                  <a:cubicBezTo>
                    <a:pt x="167" y="909"/>
                    <a:pt x="135" y="919"/>
                    <a:pt x="108" y="942"/>
                  </a:cubicBezTo>
                  <a:cubicBezTo>
                    <a:pt x="36" y="1001"/>
                    <a:pt x="1" y="1109"/>
                    <a:pt x="60" y="1180"/>
                  </a:cubicBezTo>
                  <a:cubicBezTo>
                    <a:pt x="334" y="1561"/>
                    <a:pt x="775" y="1787"/>
                    <a:pt x="1239" y="1787"/>
                  </a:cubicBezTo>
                  <a:cubicBezTo>
                    <a:pt x="2108" y="1787"/>
                    <a:pt x="2787" y="1025"/>
                    <a:pt x="2668" y="156"/>
                  </a:cubicBezTo>
                  <a:cubicBezTo>
                    <a:pt x="2657" y="68"/>
                    <a:pt x="2574" y="0"/>
                    <a:pt x="24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06" name="Google Shape;12206;p62"/>
          <p:cNvGrpSpPr/>
          <p:nvPr/>
        </p:nvGrpSpPr>
        <p:grpSpPr>
          <a:xfrm>
            <a:off x="1309875" y="2057326"/>
            <a:ext cx="374154" cy="169680"/>
            <a:chOff x="1309875" y="2057326"/>
            <a:chExt cx="374154" cy="169680"/>
          </a:xfrm>
        </p:grpSpPr>
        <p:sp>
          <p:nvSpPr>
            <p:cNvPr id="12207" name="Google Shape;12207;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8" name="Google Shape;12208;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9" name="Google Shape;12209;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0" name="Google Shape;12210;p62"/>
            <p:cNvSpPr/>
            <p:nvPr/>
          </p:nvSpPr>
          <p:spPr>
            <a:xfrm>
              <a:off x="1480286" y="2212566"/>
              <a:ext cx="413" cy="32"/>
            </a:xfrm>
            <a:custGeom>
              <a:avLst/>
              <a:gdLst/>
              <a:ahLst/>
              <a:cxnLst/>
              <a:rect l="l" t="t" r="r" b="b"/>
              <a:pathLst>
                <a:path w="13" h="1" extrusionOk="0">
                  <a:moveTo>
                    <a:pt x="12" y="1"/>
                  </a:moveTo>
                  <a:cubicBezTo>
                    <a:pt x="0" y="1"/>
                    <a:pt x="0" y="1"/>
                    <a:pt x="12" y="1"/>
                  </a:cubicBezTo>
                  <a:lnTo>
                    <a:pt x="12" y="1"/>
                  </a:lnTo>
                  <a:cubicBezTo>
                    <a:pt x="0" y="1"/>
                    <a:pt x="0" y="1"/>
                    <a:pt x="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1" name="Google Shape;12211;p62"/>
            <p:cNvSpPr/>
            <p:nvPr/>
          </p:nvSpPr>
          <p:spPr>
            <a:xfrm>
              <a:off x="1480668" y="2212566"/>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2" name="Google Shape;12212;p62"/>
            <p:cNvSpPr/>
            <p:nvPr/>
          </p:nvSpPr>
          <p:spPr>
            <a:xfrm>
              <a:off x="1460599" y="2082993"/>
              <a:ext cx="223430" cy="142232"/>
            </a:xfrm>
            <a:custGeom>
              <a:avLst/>
              <a:gdLst/>
              <a:ahLst/>
              <a:cxnLst/>
              <a:rect l="l" t="t" r="r" b="b"/>
              <a:pathLst>
                <a:path w="7025" h="4472" extrusionOk="0">
                  <a:moveTo>
                    <a:pt x="6763" y="491"/>
                  </a:moveTo>
                  <a:lnTo>
                    <a:pt x="6763" y="1729"/>
                  </a:lnTo>
                  <a:lnTo>
                    <a:pt x="1762" y="1729"/>
                  </a:lnTo>
                  <a:cubicBezTo>
                    <a:pt x="1762" y="1479"/>
                    <a:pt x="1774" y="1444"/>
                    <a:pt x="1738" y="1372"/>
                  </a:cubicBezTo>
                  <a:lnTo>
                    <a:pt x="1286" y="491"/>
                  </a:lnTo>
                  <a:lnTo>
                    <a:pt x="1786" y="491"/>
                  </a:lnTo>
                  <a:lnTo>
                    <a:pt x="1786" y="884"/>
                  </a:lnTo>
                  <a:cubicBezTo>
                    <a:pt x="1786" y="967"/>
                    <a:pt x="1858" y="1063"/>
                    <a:pt x="1965" y="1063"/>
                  </a:cubicBezTo>
                  <a:cubicBezTo>
                    <a:pt x="2060" y="1063"/>
                    <a:pt x="2143" y="979"/>
                    <a:pt x="2143" y="884"/>
                  </a:cubicBezTo>
                  <a:lnTo>
                    <a:pt x="2143" y="491"/>
                  </a:lnTo>
                  <a:lnTo>
                    <a:pt x="2334" y="491"/>
                  </a:lnTo>
                  <a:lnTo>
                    <a:pt x="2334" y="1360"/>
                  </a:lnTo>
                  <a:cubicBezTo>
                    <a:pt x="2334" y="1444"/>
                    <a:pt x="2417" y="1539"/>
                    <a:pt x="2512" y="1539"/>
                  </a:cubicBezTo>
                  <a:cubicBezTo>
                    <a:pt x="2608" y="1539"/>
                    <a:pt x="2691" y="1455"/>
                    <a:pt x="2691" y="1360"/>
                  </a:cubicBezTo>
                  <a:lnTo>
                    <a:pt x="2691" y="491"/>
                  </a:lnTo>
                  <a:lnTo>
                    <a:pt x="2893" y="491"/>
                  </a:lnTo>
                  <a:lnTo>
                    <a:pt x="2893" y="884"/>
                  </a:lnTo>
                  <a:cubicBezTo>
                    <a:pt x="2893" y="967"/>
                    <a:pt x="2965" y="1063"/>
                    <a:pt x="3072" y="1063"/>
                  </a:cubicBezTo>
                  <a:cubicBezTo>
                    <a:pt x="3155" y="1063"/>
                    <a:pt x="3251" y="979"/>
                    <a:pt x="3251" y="884"/>
                  </a:cubicBezTo>
                  <a:lnTo>
                    <a:pt x="3251" y="491"/>
                  </a:lnTo>
                  <a:lnTo>
                    <a:pt x="3441" y="491"/>
                  </a:lnTo>
                  <a:lnTo>
                    <a:pt x="3441" y="884"/>
                  </a:lnTo>
                  <a:cubicBezTo>
                    <a:pt x="3441" y="967"/>
                    <a:pt x="3513" y="1063"/>
                    <a:pt x="3620" y="1063"/>
                  </a:cubicBezTo>
                  <a:cubicBezTo>
                    <a:pt x="3703" y="1063"/>
                    <a:pt x="3798" y="979"/>
                    <a:pt x="3798" y="884"/>
                  </a:cubicBezTo>
                  <a:lnTo>
                    <a:pt x="3798" y="491"/>
                  </a:lnTo>
                  <a:lnTo>
                    <a:pt x="3989" y="491"/>
                  </a:lnTo>
                  <a:lnTo>
                    <a:pt x="3989" y="884"/>
                  </a:lnTo>
                  <a:cubicBezTo>
                    <a:pt x="3989" y="967"/>
                    <a:pt x="4060" y="1063"/>
                    <a:pt x="4167" y="1063"/>
                  </a:cubicBezTo>
                  <a:cubicBezTo>
                    <a:pt x="4263" y="1063"/>
                    <a:pt x="4346" y="979"/>
                    <a:pt x="4346" y="884"/>
                  </a:cubicBezTo>
                  <a:lnTo>
                    <a:pt x="4346" y="491"/>
                  </a:lnTo>
                  <a:lnTo>
                    <a:pt x="4536" y="491"/>
                  </a:lnTo>
                  <a:lnTo>
                    <a:pt x="4536" y="1360"/>
                  </a:lnTo>
                  <a:cubicBezTo>
                    <a:pt x="4536" y="1444"/>
                    <a:pt x="4620" y="1539"/>
                    <a:pt x="4715" y="1539"/>
                  </a:cubicBezTo>
                  <a:cubicBezTo>
                    <a:pt x="4822" y="1539"/>
                    <a:pt x="4894" y="1455"/>
                    <a:pt x="4894" y="1360"/>
                  </a:cubicBezTo>
                  <a:lnTo>
                    <a:pt x="4894" y="491"/>
                  </a:lnTo>
                  <a:lnTo>
                    <a:pt x="5096" y="491"/>
                  </a:lnTo>
                  <a:lnTo>
                    <a:pt x="5096" y="884"/>
                  </a:lnTo>
                  <a:cubicBezTo>
                    <a:pt x="5096" y="967"/>
                    <a:pt x="5167" y="1063"/>
                    <a:pt x="5275" y="1063"/>
                  </a:cubicBezTo>
                  <a:cubicBezTo>
                    <a:pt x="5358" y="1063"/>
                    <a:pt x="5453" y="979"/>
                    <a:pt x="5453" y="884"/>
                  </a:cubicBezTo>
                  <a:lnTo>
                    <a:pt x="5453" y="491"/>
                  </a:lnTo>
                  <a:lnTo>
                    <a:pt x="5644" y="491"/>
                  </a:lnTo>
                  <a:lnTo>
                    <a:pt x="5644" y="884"/>
                  </a:lnTo>
                  <a:cubicBezTo>
                    <a:pt x="5644" y="967"/>
                    <a:pt x="5715" y="1063"/>
                    <a:pt x="5822" y="1063"/>
                  </a:cubicBezTo>
                  <a:cubicBezTo>
                    <a:pt x="5906" y="1063"/>
                    <a:pt x="6001" y="979"/>
                    <a:pt x="6001" y="884"/>
                  </a:cubicBezTo>
                  <a:lnTo>
                    <a:pt x="6001" y="491"/>
                  </a:lnTo>
                  <a:lnTo>
                    <a:pt x="6191" y="491"/>
                  </a:lnTo>
                  <a:lnTo>
                    <a:pt x="6191" y="884"/>
                  </a:lnTo>
                  <a:cubicBezTo>
                    <a:pt x="6191" y="967"/>
                    <a:pt x="6263" y="1063"/>
                    <a:pt x="6370" y="1063"/>
                  </a:cubicBezTo>
                  <a:cubicBezTo>
                    <a:pt x="6465" y="1063"/>
                    <a:pt x="6549" y="979"/>
                    <a:pt x="6549" y="884"/>
                  </a:cubicBezTo>
                  <a:lnTo>
                    <a:pt x="6549" y="491"/>
                  </a:lnTo>
                  <a:close/>
                  <a:moveTo>
                    <a:pt x="914" y="1"/>
                  </a:moveTo>
                  <a:cubicBezTo>
                    <a:pt x="831" y="1"/>
                    <a:pt x="745" y="55"/>
                    <a:pt x="738" y="146"/>
                  </a:cubicBezTo>
                  <a:cubicBezTo>
                    <a:pt x="738" y="182"/>
                    <a:pt x="738" y="229"/>
                    <a:pt x="750" y="253"/>
                  </a:cubicBezTo>
                  <a:lnTo>
                    <a:pt x="881" y="503"/>
                  </a:lnTo>
                  <a:lnTo>
                    <a:pt x="1405" y="1503"/>
                  </a:lnTo>
                  <a:lnTo>
                    <a:pt x="1405" y="2087"/>
                  </a:lnTo>
                  <a:lnTo>
                    <a:pt x="1405" y="3158"/>
                  </a:lnTo>
                  <a:cubicBezTo>
                    <a:pt x="762" y="3896"/>
                    <a:pt x="631" y="4063"/>
                    <a:pt x="619" y="4075"/>
                  </a:cubicBezTo>
                  <a:cubicBezTo>
                    <a:pt x="584" y="4122"/>
                    <a:pt x="536" y="4122"/>
                    <a:pt x="512" y="4122"/>
                  </a:cubicBezTo>
                  <a:cubicBezTo>
                    <a:pt x="453" y="4122"/>
                    <a:pt x="357" y="4075"/>
                    <a:pt x="357" y="3968"/>
                  </a:cubicBezTo>
                  <a:lnTo>
                    <a:pt x="357" y="2860"/>
                  </a:lnTo>
                  <a:cubicBezTo>
                    <a:pt x="357" y="2765"/>
                    <a:pt x="286" y="2682"/>
                    <a:pt x="179" y="2682"/>
                  </a:cubicBezTo>
                  <a:cubicBezTo>
                    <a:pt x="84" y="2682"/>
                    <a:pt x="0" y="2753"/>
                    <a:pt x="0" y="2860"/>
                  </a:cubicBezTo>
                  <a:lnTo>
                    <a:pt x="0" y="3968"/>
                  </a:lnTo>
                  <a:cubicBezTo>
                    <a:pt x="0" y="4274"/>
                    <a:pt x="254" y="4471"/>
                    <a:pt x="512" y="4471"/>
                  </a:cubicBezTo>
                  <a:cubicBezTo>
                    <a:pt x="645" y="4471"/>
                    <a:pt x="780" y="4419"/>
                    <a:pt x="881" y="4301"/>
                  </a:cubicBezTo>
                  <a:lnTo>
                    <a:pt x="1655" y="3372"/>
                  </a:lnTo>
                  <a:lnTo>
                    <a:pt x="3155" y="3372"/>
                  </a:lnTo>
                  <a:cubicBezTo>
                    <a:pt x="3251" y="3372"/>
                    <a:pt x="3334" y="3301"/>
                    <a:pt x="3334" y="3194"/>
                  </a:cubicBezTo>
                  <a:cubicBezTo>
                    <a:pt x="3334" y="3110"/>
                    <a:pt x="3262" y="3027"/>
                    <a:pt x="3155" y="3027"/>
                  </a:cubicBezTo>
                  <a:lnTo>
                    <a:pt x="1762" y="3027"/>
                  </a:lnTo>
                  <a:lnTo>
                    <a:pt x="1762" y="2051"/>
                  </a:lnTo>
                  <a:lnTo>
                    <a:pt x="6668" y="2051"/>
                  </a:lnTo>
                  <a:lnTo>
                    <a:pt x="6668" y="3027"/>
                  </a:lnTo>
                  <a:lnTo>
                    <a:pt x="3858" y="3027"/>
                  </a:lnTo>
                  <a:cubicBezTo>
                    <a:pt x="3774" y="3027"/>
                    <a:pt x="3679" y="3099"/>
                    <a:pt x="3679" y="3194"/>
                  </a:cubicBezTo>
                  <a:cubicBezTo>
                    <a:pt x="3679" y="3289"/>
                    <a:pt x="3751" y="3372"/>
                    <a:pt x="3858" y="3372"/>
                  </a:cubicBezTo>
                  <a:lnTo>
                    <a:pt x="6846" y="3372"/>
                  </a:lnTo>
                  <a:cubicBezTo>
                    <a:pt x="6942" y="3372"/>
                    <a:pt x="7025" y="3301"/>
                    <a:pt x="7025" y="3194"/>
                  </a:cubicBezTo>
                  <a:lnTo>
                    <a:pt x="7025" y="301"/>
                  </a:lnTo>
                  <a:cubicBezTo>
                    <a:pt x="7025" y="229"/>
                    <a:pt x="6953" y="146"/>
                    <a:pt x="6846" y="146"/>
                  </a:cubicBezTo>
                  <a:lnTo>
                    <a:pt x="1096" y="146"/>
                  </a:lnTo>
                  <a:lnTo>
                    <a:pt x="1060" y="86"/>
                  </a:lnTo>
                  <a:cubicBezTo>
                    <a:pt x="1030" y="27"/>
                    <a:pt x="973" y="1"/>
                    <a:pt x="91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3" name="Google Shape;12213;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4" name="Google Shape;12214;p62"/>
            <p:cNvSpPr/>
            <p:nvPr/>
          </p:nvSpPr>
          <p:spPr>
            <a:xfrm>
              <a:off x="1480668" y="2212566"/>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5" name="Google Shape;12215;p62"/>
            <p:cNvSpPr/>
            <p:nvPr/>
          </p:nvSpPr>
          <p:spPr>
            <a:xfrm>
              <a:off x="1397339" y="218343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6" name="Google Shape;12216;p62"/>
            <p:cNvSpPr/>
            <p:nvPr/>
          </p:nvSpPr>
          <p:spPr>
            <a:xfrm>
              <a:off x="1309875" y="2057326"/>
              <a:ext cx="132945" cy="169680"/>
            </a:xfrm>
            <a:custGeom>
              <a:avLst/>
              <a:gdLst/>
              <a:ahLst/>
              <a:cxnLst/>
              <a:rect l="l" t="t" r="r" b="b"/>
              <a:pathLst>
                <a:path w="4180" h="5335" extrusionOk="0">
                  <a:moveTo>
                    <a:pt x="2406" y="2894"/>
                  </a:moveTo>
                  <a:lnTo>
                    <a:pt x="2406" y="3858"/>
                  </a:lnTo>
                  <a:lnTo>
                    <a:pt x="358" y="3858"/>
                  </a:lnTo>
                  <a:lnTo>
                    <a:pt x="358" y="2894"/>
                  </a:lnTo>
                  <a:close/>
                  <a:moveTo>
                    <a:pt x="3775" y="0"/>
                  </a:moveTo>
                  <a:cubicBezTo>
                    <a:pt x="3644" y="0"/>
                    <a:pt x="3525" y="84"/>
                    <a:pt x="3453" y="203"/>
                  </a:cubicBezTo>
                  <a:lnTo>
                    <a:pt x="3048" y="953"/>
                  </a:lnTo>
                  <a:lnTo>
                    <a:pt x="179" y="953"/>
                  </a:lnTo>
                  <a:cubicBezTo>
                    <a:pt x="84" y="953"/>
                    <a:pt x="0" y="1036"/>
                    <a:pt x="0" y="1131"/>
                  </a:cubicBezTo>
                  <a:lnTo>
                    <a:pt x="0" y="1512"/>
                  </a:lnTo>
                  <a:cubicBezTo>
                    <a:pt x="0" y="1596"/>
                    <a:pt x="72" y="1691"/>
                    <a:pt x="179" y="1691"/>
                  </a:cubicBezTo>
                  <a:cubicBezTo>
                    <a:pt x="262" y="1691"/>
                    <a:pt x="358" y="1608"/>
                    <a:pt x="358" y="1512"/>
                  </a:cubicBezTo>
                  <a:lnTo>
                    <a:pt x="358" y="1310"/>
                  </a:lnTo>
                  <a:lnTo>
                    <a:pt x="596" y="1310"/>
                  </a:lnTo>
                  <a:lnTo>
                    <a:pt x="596" y="2179"/>
                  </a:lnTo>
                  <a:cubicBezTo>
                    <a:pt x="596" y="2262"/>
                    <a:pt x="667" y="2358"/>
                    <a:pt x="774" y="2358"/>
                  </a:cubicBezTo>
                  <a:cubicBezTo>
                    <a:pt x="858" y="2358"/>
                    <a:pt x="953" y="2286"/>
                    <a:pt x="953" y="2179"/>
                  </a:cubicBezTo>
                  <a:lnTo>
                    <a:pt x="953" y="1310"/>
                  </a:lnTo>
                  <a:lnTo>
                    <a:pt x="1143" y="1310"/>
                  </a:lnTo>
                  <a:lnTo>
                    <a:pt x="1143" y="1703"/>
                  </a:lnTo>
                  <a:cubicBezTo>
                    <a:pt x="1143" y="1786"/>
                    <a:pt x="1215" y="1881"/>
                    <a:pt x="1322" y="1881"/>
                  </a:cubicBezTo>
                  <a:cubicBezTo>
                    <a:pt x="1405" y="1881"/>
                    <a:pt x="1501" y="1810"/>
                    <a:pt x="1501" y="1703"/>
                  </a:cubicBezTo>
                  <a:lnTo>
                    <a:pt x="1501" y="1310"/>
                  </a:lnTo>
                  <a:lnTo>
                    <a:pt x="1691" y="1310"/>
                  </a:lnTo>
                  <a:lnTo>
                    <a:pt x="1691" y="1703"/>
                  </a:lnTo>
                  <a:cubicBezTo>
                    <a:pt x="1691" y="1786"/>
                    <a:pt x="1763" y="1881"/>
                    <a:pt x="1870" y="1881"/>
                  </a:cubicBezTo>
                  <a:cubicBezTo>
                    <a:pt x="1965" y="1881"/>
                    <a:pt x="2048" y="1810"/>
                    <a:pt x="2048" y="1703"/>
                  </a:cubicBezTo>
                  <a:lnTo>
                    <a:pt x="2048" y="1310"/>
                  </a:lnTo>
                  <a:lnTo>
                    <a:pt x="2239" y="1310"/>
                  </a:lnTo>
                  <a:lnTo>
                    <a:pt x="2239" y="1703"/>
                  </a:lnTo>
                  <a:cubicBezTo>
                    <a:pt x="2239" y="1786"/>
                    <a:pt x="2310" y="1881"/>
                    <a:pt x="2417" y="1881"/>
                  </a:cubicBezTo>
                  <a:cubicBezTo>
                    <a:pt x="2513" y="1881"/>
                    <a:pt x="2596" y="1810"/>
                    <a:pt x="2596" y="1703"/>
                  </a:cubicBezTo>
                  <a:lnTo>
                    <a:pt x="2596" y="1310"/>
                  </a:lnTo>
                  <a:lnTo>
                    <a:pt x="2787" y="1310"/>
                  </a:lnTo>
                  <a:lnTo>
                    <a:pt x="2787" y="1572"/>
                  </a:lnTo>
                  <a:cubicBezTo>
                    <a:pt x="2334" y="2465"/>
                    <a:pt x="2465" y="2084"/>
                    <a:pt x="2453" y="2548"/>
                  </a:cubicBezTo>
                  <a:lnTo>
                    <a:pt x="393" y="2548"/>
                  </a:lnTo>
                  <a:lnTo>
                    <a:pt x="393" y="2227"/>
                  </a:lnTo>
                  <a:cubicBezTo>
                    <a:pt x="393" y="2132"/>
                    <a:pt x="322" y="2048"/>
                    <a:pt x="215" y="2048"/>
                  </a:cubicBezTo>
                  <a:cubicBezTo>
                    <a:pt x="131" y="2048"/>
                    <a:pt x="36" y="2120"/>
                    <a:pt x="36" y="2227"/>
                  </a:cubicBezTo>
                  <a:lnTo>
                    <a:pt x="36" y="4048"/>
                  </a:lnTo>
                  <a:cubicBezTo>
                    <a:pt x="36" y="4144"/>
                    <a:pt x="108" y="4227"/>
                    <a:pt x="215" y="4227"/>
                  </a:cubicBezTo>
                  <a:lnTo>
                    <a:pt x="2537" y="4227"/>
                  </a:lnTo>
                  <a:lnTo>
                    <a:pt x="2751" y="4489"/>
                  </a:lnTo>
                  <a:cubicBezTo>
                    <a:pt x="2783" y="4528"/>
                    <a:pt x="2833" y="4549"/>
                    <a:pt x="2883" y="4549"/>
                  </a:cubicBezTo>
                  <a:cubicBezTo>
                    <a:pt x="2925" y="4549"/>
                    <a:pt x="2968" y="4534"/>
                    <a:pt x="3001" y="4501"/>
                  </a:cubicBezTo>
                  <a:cubicBezTo>
                    <a:pt x="3072" y="4441"/>
                    <a:pt x="3084" y="4322"/>
                    <a:pt x="3013" y="4251"/>
                  </a:cubicBezTo>
                  <a:cubicBezTo>
                    <a:pt x="2834" y="4037"/>
                    <a:pt x="2810" y="3989"/>
                    <a:pt x="2787" y="3989"/>
                  </a:cubicBezTo>
                  <a:lnTo>
                    <a:pt x="2787" y="2346"/>
                  </a:lnTo>
                  <a:cubicBezTo>
                    <a:pt x="3762" y="490"/>
                    <a:pt x="3804" y="379"/>
                    <a:pt x="3817" y="379"/>
                  </a:cubicBezTo>
                  <a:cubicBezTo>
                    <a:pt x="3818" y="379"/>
                    <a:pt x="3820" y="381"/>
                    <a:pt x="3822" y="381"/>
                  </a:cubicBezTo>
                  <a:cubicBezTo>
                    <a:pt x="3825" y="381"/>
                    <a:pt x="3828" y="377"/>
                    <a:pt x="3829" y="377"/>
                  </a:cubicBezTo>
                  <a:cubicBezTo>
                    <a:pt x="3844" y="377"/>
                    <a:pt x="3834" y="626"/>
                    <a:pt x="3834" y="4822"/>
                  </a:cubicBezTo>
                  <a:cubicBezTo>
                    <a:pt x="3834" y="4929"/>
                    <a:pt x="3739" y="4977"/>
                    <a:pt x="3680" y="4977"/>
                  </a:cubicBezTo>
                  <a:cubicBezTo>
                    <a:pt x="3584" y="4977"/>
                    <a:pt x="3549" y="4870"/>
                    <a:pt x="3465" y="4787"/>
                  </a:cubicBezTo>
                  <a:cubicBezTo>
                    <a:pt x="3432" y="4740"/>
                    <a:pt x="3380" y="4716"/>
                    <a:pt x="3327" y="4716"/>
                  </a:cubicBezTo>
                  <a:cubicBezTo>
                    <a:pt x="3284" y="4716"/>
                    <a:pt x="3240" y="4731"/>
                    <a:pt x="3203" y="4763"/>
                  </a:cubicBezTo>
                  <a:cubicBezTo>
                    <a:pt x="3132" y="4822"/>
                    <a:pt x="3120" y="4941"/>
                    <a:pt x="3191" y="5025"/>
                  </a:cubicBezTo>
                  <a:lnTo>
                    <a:pt x="3310" y="5156"/>
                  </a:lnTo>
                  <a:cubicBezTo>
                    <a:pt x="3406" y="5275"/>
                    <a:pt x="3537" y="5334"/>
                    <a:pt x="3680" y="5334"/>
                  </a:cubicBezTo>
                  <a:cubicBezTo>
                    <a:pt x="3965" y="5334"/>
                    <a:pt x="4180" y="5108"/>
                    <a:pt x="4180" y="4834"/>
                  </a:cubicBezTo>
                  <a:lnTo>
                    <a:pt x="4180" y="405"/>
                  </a:lnTo>
                  <a:cubicBezTo>
                    <a:pt x="4144" y="167"/>
                    <a:pt x="3989" y="0"/>
                    <a:pt x="3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7" name="Google Shape;12217;p62"/>
            <p:cNvSpPr/>
            <p:nvPr/>
          </p:nvSpPr>
          <p:spPr>
            <a:xfrm>
              <a:off x="1460599" y="2057326"/>
              <a:ext cx="25380" cy="101140"/>
            </a:xfrm>
            <a:custGeom>
              <a:avLst/>
              <a:gdLst/>
              <a:ahLst/>
              <a:cxnLst/>
              <a:rect l="l" t="t" r="r" b="b"/>
              <a:pathLst>
                <a:path w="798" h="3180" extrusionOk="0">
                  <a:moveTo>
                    <a:pt x="381" y="0"/>
                  </a:moveTo>
                  <a:cubicBezTo>
                    <a:pt x="167" y="0"/>
                    <a:pt x="0" y="167"/>
                    <a:pt x="0" y="381"/>
                  </a:cubicBezTo>
                  <a:lnTo>
                    <a:pt x="0" y="3001"/>
                  </a:lnTo>
                  <a:cubicBezTo>
                    <a:pt x="0" y="3084"/>
                    <a:pt x="84" y="3179"/>
                    <a:pt x="179" y="3179"/>
                  </a:cubicBezTo>
                  <a:cubicBezTo>
                    <a:pt x="274" y="3179"/>
                    <a:pt x="357" y="3096"/>
                    <a:pt x="357" y="3001"/>
                  </a:cubicBezTo>
                  <a:lnTo>
                    <a:pt x="357" y="381"/>
                  </a:lnTo>
                  <a:cubicBezTo>
                    <a:pt x="357" y="381"/>
                    <a:pt x="357" y="357"/>
                    <a:pt x="381" y="357"/>
                  </a:cubicBezTo>
                  <a:cubicBezTo>
                    <a:pt x="381" y="357"/>
                    <a:pt x="393" y="357"/>
                    <a:pt x="393" y="381"/>
                  </a:cubicBezTo>
                  <a:lnTo>
                    <a:pt x="441" y="453"/>
                  </a:lnTo>
                  <a:cubicBezTo>
                    <a:pt x="465" y="511"/>
                    <a:pt x="525" y="545"/>
                    <a:pt x="590" y="545"/>
                  </a:cubicBezTo>
                  <a:cubicBezTo>
                    <a:pt x="619" y="545"/>
                    <a:pt x="650" y="539"/>
                    <a:pt x="679" y="524"/>
                  </a:cubicBezTo>
                  <a:cubicBezTo>
                    <a:pt x="762" y="465"/>
                    <a:pt x="798" y="357"/>
                    <a:pt x="750" y="274"/>
                  </a:cubicBezTo>
                  <a:lnTo>
                    <a:pt x="703" y="203"/>
                  </a:lnTo>
                  <a:cubicBezTo>
                    <a:pt x="643" y="84"/>
                    <a:pt x="524" y="0"/>
                    <a:pt x="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18" name="Google Shape;12218;p62"/>
          <p:cNvSpPr/>
          <p:nvPr/>
        </p:nvSpPr>
        <p:spPr>
          <a:xfrm>
            <a:off x="862283" y="2076250"/>
            <a:ext cx="374536" cy="130305"/>
          </a:xfrm>
          <a:custGeom>
            <a:avLst/>
            <a:gdLst/>
            <a:ahLst/>
            <a:cxnLst/>
            <a:rect l="l" t="t" r="r" b="b"/>
            <a:pathLst>
              <a:path w="11776" h="4097" extrusionOk="0">
                <a:moveTo>
                  <a:pt x="179" y="1"/>
                </a:moveTo>
                <a:cubicBezTo>
                  <a:pt x="96" y="1"/>
                  <a:pt x="0" y="84"/>
                  <a:pt x="0" y="179"/>
                </a:cubicBezTo>
                <a:lnTo>
                  <a:pt x="0" y="3906"/>
                </a:lnTo>
                <a:cubicBezTo>
                  <a:pt x="0" y="3989"/>
                  <a:pt x="84" y="4084"/>
                  <a:pt x="179" y="4084"/>
                </a:cubicBezTo>
                <a:lnTo>
                  <a:pt x="1215" y="4084"/>
                </a:lnTo>
                <a:cubicBezTo>
                  <a:pt x="1298" y="4084"/>
                  <a:pt x="1393" y="4013"/>
                  <a:pt x="1393" y="3906"/>
                </a:cubicBezTo>
                <a:cubicBezTo>
                  <a:pt x="1393" y="3811"/>
                  <a:pt x="1310" y="3727"/>
                  <a:pt x="1215" y="3727"/>
                </a:cubicBezTo>
                <a:lnTo>
                  <a:pt x="357" y="3727"/>
                </a:lnTo>
                <a:lnTo>
                  <a:pt x="357" y="1929"/>
                </a:lnTo>
                <a:lnTo>
                  <a:pt x="11418" y="1929"/>
                </a:lnTo>
                <a:lnTo>
                  <a:pt x="11418" y="3739"/>
                </a:lnTo>
                <a:lnTo>
                  <a:pt x="1893" y="3739"/>
                </a:lnTo>
                <a:cubicBezTo>
                  <a:pt x="1810" y="3739"/>
                  <a:pt x="1715" y="3811"/>
                  <a:pt x="1715" y="3918"/>
                </a:cubicBezTo>
                <a:cubicBezTo>
                  <a:pt x="1715" y="4013"/>
                  <a:pt x="1786" y="4096"/>
                  <a:pt x="1893" y="4096"/>
                </a:cubicBezTo>
                <a:lnTo>
                  <a:pt x="11585" y="4096"/>
                </a:lnTo>
                <a:cubicBezTo>
                  <a:pt x="11668" y="4096"/>
                  <a:pt x="11764" y="4025"/>
                  <a:pt x="11764" y="3918"/>
                </a:cubicBezTo>
                <a:lnTo>
                  <a:pt x="11764" y="1537"/>
                </a:lnTo>
                <a:cubicBezTo>
                  <a:pt x="11764" y="1453"/>
                  <a:pt x="11692" y="1358"/>
                  <a:pt x="11585" y="1358"/>
                </a:cubicBezTo>
                <a:cubicBezTo>
                  <a:pt x="11490" y="1358"/>
                  <a:pt x="11406" y="1429"/>
                  <a:pt x="11406" y="1537"/>
                </a:cubicBezTo>
                <a:lnTo>
                  <a:pt x="11406" y="1596"/>
                </a:lnTo>
                <a:lnTo>
                  <a:pt x="334" y="1596"/>
                </a:lnTo>
                <a:lnTo>
                  <a:pt x="334" y="358"/>
                </a:lnTo>
                <a:lnTo>
                  <a:pt x="1155" y="358"/>
                </a:lnTo>
                <a:lnTo>
                  <a:pt x="1155" y="1132"/>
                </a:lnTo>
                <a:cubicBezTo>
                  <a:pt x="1155" y="1227"/>
                  <a:pt x="1227" y="1310"/>
                  <a:pt x="1334" y="1310"/>
                </a:cubicBezTo>
                <a:cubicBezTo>
                  <a:pt x="1429" y="1310"/>
                  <a:pt x="1500" y="1239"/>
                  <a:pt x="1500" y="1132"/>
                </a:cubicBezTo>
                <a:lnTo>
                  <a:pt x="1500" y="358"/>
                </a:lnTo>
                <a:lnTo>
                  <a:pt x="2072" y="358"/>
                </a:lnTo>
                <a:lnTo>
                  <a:pt x="2072" y="834"/>
                </a:lnTo>
                <a:cubicBezTo>
                  <a:pt x="2072" y="929"/>
                  <a:pt x="2143" y="1013"/>
                  <a:pt x="2251" y="1013"/>
                </a:cubicBezTo>
                <a:cubicBezTo>
                  <a:pt x="2334" y="1013"/>
                  <a:pt x="2429" y="941"/>
                  <a:pt x="2429" y="834"/>
                </a:cubicBezTo>
                <a:lnTo>
                  <a:pt x="2429" y="358"/>
                </a:lnTo>
                <a:lnTo>
                  <a:pt x="2977" y="358"/>
                </a:lnTo>
                <a:lnTo>
                  <a:pt x="2977" y="1132"/>
                </a:lnTo>
                <a:cubicBezTo>
                  <a:pt x="2977" y="1227"/>
                  <a:pt x="3048" y="1310"/>
                  <a:pt x="3155" y="1310"/>
                </a:cubicBezTo>
                <a:cubicBezTo>
                  <a:pt x="3263" y="1310"/>
                  <a:pt x="3334" y="1239"/>
                  <a:pt x="3334" y="1132"/>
                </a:cubicBezTo>
                <a:lnTo>
                  <a:pt x="3334" y="358"/>
                </a:lnTo>
                <a:lnTo>
                  <a:pt x="3906" y="358"/>
                </a:lnTo>
                <a:lnTo>
                  <a:pt x="3906" y="834"/>
                </a:lnTo>
                <a:cubicBezTo>
                  <a:pt x="3906" y="929"/>
                  <a:pt x="3977" y="1013"/>
                  <a:pt x="4084" y="1013"/>
                </a:cubicBezTo>
                <a:cubicBezTo>
                  <a:pt x="4167" y="1013"/>
                  <a:pt x="4263" y="941"/>
                  <a:pt x="4263" y="834"/>
                </a:cubicBezTo>
                <a:lnTo>
                  <a:pt x="4263" y="358"/>
                </a:lnTo>
                <a:lnTo>
                  <a:pt x="4810" y="358"/>
                </a:lnTo>
                <a:lnTo>
                  <a:pt x="4810" y="1132"/>
                </a:lnTo>
                <a:cubicBezTo>
                  <a:pt x="4810" y="1227"/>
                  <a:pt x="4882" y="1310"/>
                  <a:pt x="4989" y="1310"/>
                </a:cubicBezTo>
                <a:cubicBezTo>
                  <a:pt x="5096" y="1310"/>
                  <a:pt x="5168" y="1239"/>
                  <a:pt x="5168" y="1132"/>
                </a:cubicBezTo>
                <a:lnTo>
                  <a:pt x="5168" y="358"/>
                </a:lnTo>
                <a:lnTo>
                  <a:pt x="5727" y="358"/>
                </a:lnTo>
                <a:lnTo>
                  <a:pt x="5727" y="834"/>
                </a:lnTo>
                <a:cubicBezTo>
                  <a:pt x="5727" y="929"/>
                  <a:pt x="5811" y="1013"/>
                  <a:pt x="5906" y="1013"/>
                </a:cubicBezTo>
                <a:cubicBezTo>
                  <a:pt x="6001" y="1013"/>
                  <a:pt x="6084" y="941"/>
                  <a:pt x="6084" y="834"/>
                </a:cubicBezTo>
                <a:lnTo>
                  <a:pt x="6084" y="358"/>
                </a:lnTo>
                <a:lnTo>
                  <a:pt x="6644" y="358"/>
                </a:lnTo>
                <a:lnTo>
                  <a:pt x="6644" y="1132"/>
                </a:lnTo>
                <a:cubicBezTo>
                  <a:pt x="6644" y="1227"/>
                  <a:pt x="6715" y="1310"/>
                  <a:pt x="6823" y="1310"/>
                </a:cubicBezTo>
                <a:cubicBezTo>
                  <a:pt x="6906" y="1310"/>
                  <a:pt x="7001" y="1239"/>
                  <a:pt x="7001" y="1132"/>
                </a:cubicBezTo>
                <a:lnTo>
                  <a:pt x="7001" y="358"/>
                </a:lnTo>
                <a:lnTo>
                  <a:pt x="7561" y="358"/>
                </a:lnTo>
                <a:lnTo>
                  <a:pt x="7561" y="834"/>
                </a:lnTo>
                <a:cubicBezTo>
                  <a:pt x="7561" y="929"/>
                  <a:pt x="7632" y="1013"/>
                  <a:pt x="7739" y="1013"/>
                </a:cubicBezTo>
                <a:cubicBezTo>
                  <a:pt x="7835" y="1013"/>
                  <a:pt x="7918" y="941"/>
                  <a:pt x="7918" y="834"/>
                </a:cubicBezTo>
                <a:lnTo>
                  <a:pt x="7918" y="358"/>
                </a:lnTo>
                <a:lnTo>
                  <a:pt x="8466" y="358"/>
                </a:lnTo>
                <a:lnTo>
                  <a:pt x="8466" y="1132"/>
                </a:lnTo>
                <a:cubicBezTo>
                  <a:pt x="8466" y="1227"/>
                  <a:pt x="8549" y="1310"/>
                  <a:pt x="8644" y="1310"/>
                </a:cubicBezTo>
                <a:cubicBezTo>
                  <a:pt x="8739" y="1310"/>
                  <a:pt x="8823" y="1239"/>
                  <a:pt x="8823" y="1132"/>
                </a:cubicBezTo>
                <a:lnTo>
                  <a:pt x="8823" y="358"/>
                </a:lnTo>
                <a:lnTo>
                  <a:pt x="9394" y="358"/>
                </a:lnTo>
                <a:lnTo>
                  <a:pt x="9394" y="834"/>
                </a:lnTo>
                <a:cubicBezTo>
                  <a:pt x="9394" y="929"/>
                  <a:pt x="9466" y="1013"/>
                  <a:pt x="9573" y="1013"/>
                </a:cubicBezTo>
                <a:cubicBezTo>
                  <a:pt x="9656" y="1013"/>
                  <a:pt x="9752" y="941"/>
                  <a:pt x="9752" y="834"/>
                </a:cubicBezTo>
                <a:lnTo>
                  <a:pt x="9752" y="358"/>
                </a:lnTo>
                <a:lnTo>
                  <a:pt x="10299" y="358"/>
                </a:lnTo>
                <a:lnTo>
                  <a:pt x="10299" y="1132"/>
                </a:lnTo>
                <a:cubicBezTo>
                  <a:pt x="10299" y="1227"/>
                  <a:pt x="10371" y="1310"/>
                  <a:pt x="10478" y="1310"/>
                </a:cubicBezTo>
                <a:cubicBezTo>
                  <a:pt x="10573" y="1310"/>
                  <a:pt x="10656" y="1239"/>
                  <a:pt x="10656" y="1132"/>
                </a:cubicBezTo>
                <a:lnTo>
                  <a:pt x="10656" y="358"/>
                </a:lnTo>
                <a:lnTo>
                  <a:pt x="11478" y="358"/>
                </a:lnTo>
                <a:lnTo>
                  <a:pt x="11478" y="834"/>
                </a:lnTo>
                <a:cubicBezTo>
                  <a:pt x="11418" y="941"/>
                  <a:pt x="11490" y="1013"/>
                  <a:pt x="11597" y="1013"/>
                </a:cubicBezTo>
                <a:cubicBezTo>
                  <a:pt x="11692" y="1013"/>
                  <a:pt x="11776" y="941"/>
                  <a:pt x="11776" y="834"/>
                </a:cubicBezTo>
                <a:lnTo>
                  <a:pt x="11776" y="179"/>
                </a:lnTo>
                <a:cubicBezTo>
                  <a:pt x="11776" y="96"/>
                  <a:pt x="11704" y="1"/>
                  <a:pt x="115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19" name="Google Shape;12219;p62"/>
          <p:cNvGrpSpPr/>
          <p:nvPr/>
        </p:nvGrpSpPr>
        <p:grpSpPr>
          <a:xfrm>
            <a:off x="2347450" y="1954564"/>
            <a:ext cx="113639" cy="373168"/>
            <a:chOff x="2347450" y="1954564"/>
            <a:chExt cx="113639" cy="373168"/>
          </a:xfrm>
        </p:grpSpPr>
        <p:sp>
          <p:nvSpPr>
            <p:cNvPr id="12220" name="Google Shape;12220;p62"/>
            <p:cNvSpPr/>
            <p:nvPr/>
          </p:nvSpPr>
          <p:spPr>
            <a:xfrm>
              <a:off x="2347450" y="1954564"/>
              <a:ext cx="89022" cy="261819"/>
            </a:xfrm>
            <a:custGeom>
              <a:avLst/>
              <a:gdLst/>
              <a:ahLst/>
              <a:cxnLst/>
              <a:rect l="l" t="t" r="r" b="b"/>
              <a:pathLst>
                <a:path w="2799" h="8232" extrusionOk="0">
                  <a:moveTo>
                    <a:pt x="1799" y="0"/>
                  </a:moveTo>
                  <a:cubicBezTo>
                    <a:pt x="1610" y="0"/>
                    <a:pt x="1422" y="78"/>
                    <a:pt x="1286" y="231"/>
                  </a:cubicBezTo>
                  <a:lnTo>
                    <a:pt x="786" y="814"/>
                  </a:lnTo>
                  <a:cubicBezTo>
                    <a:pt x="274" y="1386"/>
                    <a:pt x="1" y="2124"/>
                    <a:pt x="1" y="2898"/>
                  </a:cubicBezTo>
                  <a:lnTo>
                    <a:pt x="1" y="4874"/>
                  </a:lnTo>
                  <a:cubicBezTo>
                    <a:pt x="1" y="5077"/>
                    <a:pt x="394" y="5124"/>
                    <a:pt x="394" y="5434"/>
                  </a:cubicBezTo>
                  <a:cubicBezTo>
                    <a:pt x="394" y="5636"/>
                    <a:pt x="239" y="5708"/>
                    <a:pt x="60" y="5934"/>
                  </a:cubicBezTo>
                  <a:cubicBezTo>
                    <a:pt x="24" y="5958"/>
                    <a:pt x="13" y="6005"/>
                    <a:pt x="13" y="6053"/>
                  </a:cubicBezTo>
                  <a:lnTo>
                    <a:pt x="13" y="7279"/>
                  </a:lnTo>
                  <a:cubicBezTo>
                    <a:pt x="13" y="7577"/>
                    <a:pt x="72" y="7863"/>
                    <a:pt x="191" y="8137"/>
                  </a:cubicBezTo>
                  <a:cubicBezTo>
                    <a:pt x="215" y="8196"/>
                    <a:pt x="274" y="8232"/>
                    <a:pt x="358" y="8232"/>
                  </a:cubicBezTo>
                  <a:cubicBezTo>
                    <a:pt x="477" y="8232"/>
                    <a:pt x="560" y="8101"/>
                    <a:pt x="513" y="7982"/>
                  </a:cubicBezTo>
                  <a:cubicBezTo>
                    <a:pt x="417" y="7756"/>
                    <a:pt x="394" y="7089"/>
                    <a:pt x="370" y="6113"/>
                  </a:cubicBezTo>
                  <a:cubicBezTo>
                    <a:pt x="489" y="5958"/>
                    <a:pt x="775" y="5815"/>
                    <a:pt x="775" y="5422"/>
                  </a:cubicBezTo>
                  <a:cubicBezTo>
                    <a:pt x="775" y="5005"/>
                    <a:pt x="441" y="4839"/>
                    <a:pt x="370" y="4779"/>
                  </a:cubicBezTo>
                  <a:lnTo>
                    <a:pt x="370" y="2874"/>
                  </a:lnTo>
                  <a:cubicBezTo>
                    <a:pt x="370" y="2195"/>
                    <a:pt x="620" y="1541"/>
                    <a:pt x="1072" y="1029"/>
                  </a:cubicBezTo>
                  <a:lnTo>
                    <a:pt x="1572" y="457"/>
                  </a:lnTo>
                  <a:cubicBezTo>
                    <a:pt x="1636" y="381"/>
                    <a:pt x="1727" y="343"/>
                    <a:pt x="1816" y="343"/>
                  </a:cubicBezTo>
                  <a:cubicBezTo>
                    <a:pt x="1908" y="343"/>
                    <a:pt x="2000" y="384"/>
                    <a:pt x="2060" y="469"/>
                  </a:cubicBezTo>
                  <a:lnTo>
                    <a:pt x="2477" y="969"/>
                  </a:lnTo>
                  <a:cubicBezTo>
                    <a:pt x="2512" y="1018"/>
                    <a:pt x="2567" y="1042"/>
                    <a:pt x="2623" y="1042"/>
                  </a:cubicBezTo>
                  <a:cubicBezTo>
                    <a:pt x="2663" y="1042"/>
                    <a:pt x="2704" y="1030"/>
                    <a:pt x="2739" y="1005"/>
                  </a:cubicBezTo>
                  <a:cubicBezTo>
                    <a:pt x="2799" y="933"/>
                    <a:pt x="2799" y="826"/>
                    <a:pt x="2739" y="755"/>
                  </a:cubicBezTo>
                  <a:lnTo>
                    <a:pt x="2322" y="243"/>
                  </a:lnTo>
                  <a:cubicBezTo>
                    <a:pt x="2184" y="81"/>
                    <a:pt x="1991" y="0"/>
                    <a:pt x="1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1" name="Google Shape;12221;p62"/>
            <p:cNvSpPr/>
            <p:nvPr/>
          </p:nvSpPr>
          <p:spPr>
            <a:xfrm>
              <a:off x="2362970" y="1994352"/>
              <a:ext cx="98118" cy="333380"/>
            </a:xfrm>
            <a:custGeom>
              <a:avLst/>
              <a:gdLst/>
              <a:ahLst/>
              <a:cxnLst/>
              <a:rect l="l" t="t" r="r" b="b"/>
              <a:pathLst>
                <a:path w="3085" h="10482" extrusionOk="0">
                  <a:moveTo>
                    <a:pt x="2488" y="0"/>
                  </a:moveTo>
                  <a:cubicBezTo>
                    <a:pt x="2461" y="0"/>
                    <a:pt x="2434" y="5"/>
                    <a:pt x="2406" y="16"/>
                  </a:cubicBezTo>
                  <a:cubicBezTo>
                    <a:pt x="2322" y="63"/>
                    <a:pt x="2287" y="171"/>
                    <a:pt x="2334" y="254"/>
                  </a:cubicBezTo>
                  <a:cubicBezTo>
                    <a:pt x="2703" y="1004"/>
                    <a:pt x="2620" y="1623"/>
                    <a:pt x="2632" y="1742"/>
                  </a:cubicBezTo>
                  <a:lnTo>
                    <a:pt x="2227" y="2159"/>
                  </a:lnTo>
                  <a:cubicBezTo>
                    <a:pt x="1965" y="2445"/>
                    <a:pt x="1989" y="2909"/>
                    <a:pt x="2287" y="3147"/>
                  </a:cubicBezTo>
                  <a:lnTo>
                    <a:pt x="2632" y="3433"/>
                  </a:lnTo>
                  <a:lnTo>
                    <a:pt x="2632" y="5957"/>
                  </a:lnTo>
                  <a:cubicBezTo>
                    <a:pt x="2632" y="6326"/>
                    <a:pt x="2513" y="6683"/>
                    <a:pt x="2287" y="6981"/>
                  </a:cubicBezTo>
                  <a:lnTo>
                    <a:pt x="1406" y="8172"/>
                  </a:lnTo>
                  <a:lnTo>
                    <a:pt x="1406" y="4171"/>
                  </a:lnTo>
                  <a:lnTo>
                    <a:pt x="2203" y="3588"/>
                  </a:lnTo>
                  <a:cubicBezTo>
                    <a:pt x="2275" y="3528"/>
                    <a:pt x="2287" y="3433"/>
                    <a:pt x="2251" y="3350"/>
                  </a:cubicBezTo>
                  <a:cubicBezTo>
                    <a:pt x="2215" y="3307"/>
                    <a:pt x="2162" y="3285"/>
                    <a:pt x="2108" y="3285"/>
                  </a:cubicBezTo>
                  <a:cubicBezTo>
                    <a:pt x="2071" y="3285"/>
                    <a:pt x="2034" y="3295"/>
                    <a:pt x="2001" y="3314"/>
                  </a:cubicBezTo>
                  <a:lnTo>
                    <a:pt x="1430" y="3742"/>
                  </a:lnTo>
                  <a:lnTo>
                    <a:pt x="1430" y="230"/>
                  </a:lnTo>
                  <a:cubicBezTo>
                    <a:pt x="1430" y="123"/>
                    <a:pt x="1358" y="51"/>
                    <a:pt x="1251" y="51"/>
                  </a:cubicBezTo>
                  <a:cubicBezTo>
                    <a:pt x="1144" y="51"/>
                    <a:pt x="1072" y="123"/>
                    <a:pt x="1072" y="230"/>
                  </a:cubicBezTo>
                  <a:lnTo>
                    <a:pt x="1072" y="1349"/>
                  </a:lnTo>
                  <a:lnTo>
                    <a:pt x="656" y="992"/>
                  </a:lnTo>
                  <a:cubicBezTo>
                    <a:pt x="622" y="964"/>
                    <a:pt x="579" y="949"/>
                    <a:pt x="537" y="949"/>
                  </a:cubicBezTo>
                  <a:cubicBezTo>
                    <a:pt x="490" y="949"/>
                    <a:pt x="443" y="967"/>
                    <a:pt x="406" y="1004"/>
                  </a:cubicBezTo>
                  <a:cubicBezTo>
                    <a:pt x="346" y="1075"/>
                    <a:pt x="346" y="1183"/>
                    <a:pt x="417" y="1254"/>
                  </a:cubicBezTo>
                  <a:cubicBezTo>
                    <a:pt x="906" y="1683"/>
                    <a:pt x="1037" y="1826"/>
                    <a:pt x="1060" y="1826"/>
                  </a:cubicBezTo>
                  <a:lnTo>
                    <a:pt x="1060" y="5135"/>
                  </a:lnTo>
                  <a:lnTo>
                    <a:pt x="703" y="4814"/>
                  </a:lnTo>
                  <a:cubicBezTo>
                    <a:pt x="663" y="4786"/>
                    <a:pt x="621" y="4771"/>
                    <a:pt x="578" y="4771"/>
                  </a:cubicBezTo>
                  <a:cubicBezTo>
                    <a:pt x="532" y="4771"/>
                    <a:pt x="485" y="4789"/>
                    <a:pt x="441" y="4826"/>
                  </a:cubicBezTo>
                  <a:cubicBezTo>
                    <a:pt x="382" y="4897"/>
                    <a:pt x="382" y="5004"/>
                    <a:pt x="465" y="5076"/>
                  </a:cubicBezTo>
                  <a:lnTo>
                    <a:pt x="1060" y="5636"/>
                  </a:lnTo>
                  <a:lnTo>
                    <a:pt x="1060" y="8267"/>
                  </a:lnTo>
                  <a:lnTo>
                    <a:pt x="358" y="7267"/>
                  </a:lnTo>
                  <a:cubicBezTo>
                    <a:pt x="319" y="7220"/>
                    <a:pt x="261" y="7189"/>
                    <a:pt x="205" y="7189"/>
                  </a:cubicBezTo>
                  <a:cubicBezTo>
                    <a:pt x="174" y="7189"/>
                    <a:pt x="145" y="7198"/>
                    <a:pt x="120" y="7219"/>
                  </a:cubicBezTo>
                  <a:cubicBezTo>
                    <a:pt x="48" y="7279"/>
                    <a:pt x="13" y="7386"/>
                    <a:pt x="72" y="7457"/>
                  </a:cubicBezTo>
                  <a:lnTo>
                    <a:pt x="1072" y="8850"/>
                  </a:lnTo>
                  <a:lnTo>
                    <a:pt x="1072" y="9231"/>
                  </a:lnTo>
                  <a:lnTo>
                    <a:pt x="322" y="8517"/>
                  </a:lnTo>
                  <a:cubicBezTo>
                    <a:pt x="288" y="8483"/>
                    <a:pt x="246" y="8468"/>
                    <a:pt x="203" y="8468"/>
                  </a:cubicBezTo>
                  <a:cubicBezTo>
                    <a:pt x="157" y="8468"/>
                    <a:pt x="110" y="8486"/>
                    <a:pt x="72" y="8517"/>
                  </a:cubicBezTo>
                  <a:cubicBezTo>
                    <a:pt x="1" y="8588"/>
                    <a:pt x="13" y="8695"/>
                    <a:pt x="72" y="8767"/>
                  </a:cubicBezTo>
                  <a:lnTo>
                    <a:pt x="1060" y="9719"/>
                  </a:lnTo>
                  <a:lnTo>
                    <a:pt x="1060" y="10303"/>
                  </a:lnTo>
                  <a:cubicBezTo>
                    <a:pt x="1060" y="10410"/>
                    <a:pt x="1132" y="10481"/>
                    <a:pt x="1239" y="10481"/>
                  </a:cubicBezTo>
                  <a:cubicBezTo>
                    <a:pt x="1334" y="10481"/>
                    <a:pt x="1418" y="10410"/>
                    <a:pt x="1418" y="10303"/>
                  </a:cubicBezTo>
                  <a:lnTo>
                    <a:pt x="1418" y="9719"/>
                  </a:lnTo>
                  <a:lnTo>
                    <a:pt x="2430" y="8695"/>
                  </a:lnTo>
                  <a:cubicBezTo>
                    <a:pt x="2501" y="8624"/>
                    <a:pt x="2501" y="8517"/>
                    <a:pt x="2430" y="8445"/>
                  </a:cubicBezTo>
                  <a:cubicBezTo>
                    <a:pt x="2388" y="8410"/>
                    <a:pt x="2343" y="8392"/>
                    <a:pt x="2299" y="8392"/>
                  </a:cubicBezTo>
                  <a:cubicBezTo>
                    <a:pt x="2254" y="8392"/>
                    <a:pt x="2209" y="8410"/>
                    <a:pt x="2168" y="8445"/>
                  </a:cubicBezTo>
                  <a:lnTo>
                    <a:pt x="1394" y="9219"/>
                  </a:lnTo>
                  <a:lnTo>
                    <a:pt x="1394" y="8767"/>
                  </a:lnTo>
                  <a:lnTo>
                    <a:pt x="2561" y="7183"/>
                  </a:lnTo>
                  <a:cubicBezTo>
                    <a:pt x="2823" y="6826"/>
                    <a:pt x="2965" y="6386"/>
                    <a:pt x="2965" y="5945"/>
                  </a:cubicBezTo>
                  <a:lnTo>
                    <a:pt x="2965" y="3338"/>
                  </a:lnTo>
                  <a:cubicBezTo>
                    <a:pt x="3001" y="3326"/>
                    <a:pt x="2977" y="3266"/>
                    <a:pt x="2930" y="3230"/>
                  </a:cubicBezTo>
                  <a:lnTo>
                    <a:pt x="2513" y="2897"/>
                  </a:lnTo>
                  <a:cubicBezTo>
                    <a:pt x="2370" y="2778"/>
                    <a:pt x="2346" y="2552"/>
                    <a:pt x="2489" y="2421"/>
                  </a:cubicBezTo>
                  <a:cubicBezTo>
                    <a:pt x="2918" y="1956"/>
                    <a:pt x="2989" y="1945"/>
                    <a:pt x="2989" y="1826"/>
                  </a:cubicBezTo>
                  <a:cubicBezTo>
                    <a:pt x="2977" y="1671"/>
                    <a:pt x="3084" y="944"/>
                    <a:pt x="2644" y="99"/>
                  </a:cubicBezTo>
                  <a:cubicBezTo>
                    <a:pt x="2610" y="32"/>
                    <a:pt x="2553" y="0"/>
                    <a:pt x="248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22" name="Google Shape;12222;p62"/>
          <p:cNvSpPr/>
          <p:nvPr/>
        </p:nvSpPr>
        <p:spPr>
          <a:xfrm>
            <a:off x="861520" y="1586835"/>
            <a:ext cx="360160" cy="184628"/>
          </a:xfrm>
          <a:custGeom>
            <a:avLst/>
            <a:gdLst/>
            <a:ahLst/>
            <a:cxnLst/>
            <a:rect l="l" t="t" r="r" b="b"/>
            <a:pathLst>
              <a:path w="11324" h="5805" extrusionOk="0">
                <a:moveTo>
                  <a:pt x="5525" y="339"/>
                </a:moveTo>
                <a:lnTo>
                  <a:pt x="5525" y="4066"/>
                </a:lnTo>
                <a:cubicBezTo>
                  <a:pt x="5430" y="4078"/>
                  <a:pt x="5323" y="4090"/>
                  <a:pt x="5239" y="4125"/>
                </a:cubicBezTo>
                <a:lnTo>
                  <a:pt x="3810" y="684"/>
                </a:lnTo>
                <a:cubicBezTo>
                  <a:pt x="4013" y="601"/>
                  <a:pt x="4239" y="542"/>
                  <a:pt x="4477" y="482"/>
                </a:cubicBezTo>
                <a:lnTo>
                  <a:pt x="4692" y="1542"/>
                </a:lnTo>
                <a:cubicBezTo>
                  <a:pt x="4702" y="1618"/>
                  <a:pt x="4773" y="1674"/>
                  <a:pt x="4858" y="1674"/>
                </a:cubicBezTo>
                <a:cubicBezTo>
                  <a:pt x="4866" y="1674"/>
                  <a:pt x="4874" y="1674"/>
                  <a:pt x="4882" y="1673"/>
                </a:cubicBezTo>
                <a:cubicBezTo>
                  <a:pt x="4965" y="1649"/>
                  <a:pt x="5025" y="1565"/>
                  <a:pt x="5013" y="1470"/>
                </a:cubicBezTo>
                <a:lnTo>
                  <a:pt x="4811" y="422"/>
                </a:lnTo>
                <a:cubicBezTo>
                  <a:pt x="5049" y="375"/>
                  <a:pt x="5263" y="363"/>
                  <a:pt x="5525" y="339"/>
                </a:cubicBezTo>
                <a:close/>
                <a:moveTo>
                  <a:pt x="5846" y="351"/>
                </a:moveTo>
                <a:cubicBezTo>
                  <a:pt x="6085" y="351"/>
                  <a:pt x="6323" y="375"/>
                  <a:pt x="6561" y="422"/>
                </a:cubicBezTo>
                <a:lnTo>
                  <a:pt x="6358" y="1458"/>
                </a:lnTo>
                <a:cubicBezTo>
                  <a:pt x="6335" y="1554"/>
                  <a:pt x="6394" y="1637"/>
                  <a:pt x="6489" y="1661"/>
                </a:cubicBezTo>
                <a:cubicBezTo>
                  <a:pt x="6496" y="1662"/>
                  <a:pt x="6504" y="1662"/>
                  <a:pt x="6511" y="1662"/>
                </a:cubicBezTo>
                <a:cubicBezTo>
                  <a:pt x="6588" y="1662"/>
                  <a:pt x="6669" y="1605"/>
                  <a:pt x="6680" y="1518"/>
                </a:cubicBezTo>
                <a:lnTo>
                  <a:pt x="6894" y="482"/>
                </a:lnTo>
                <a:cubicBezTo>
                  <a:pt x="7109" y="542"/>
                  <a:pt x="7347" y="601"/>
                  <a:pt x="7573" y="684"/>
                </a:cubicBezTo>
                <a:lnTo>
                  <a:pt x="6144" y="4125"/>
                </a:lnTo>
                <a:cubicBezTo>
                  <a:pt x="6061" y="4102"/>
                  <a:pt x="5954" y="4078"/>
                  <a:pt x="5846" y="4066"/>
                </a:cubicBezTo>
                <a:lnTo>
                  <a:pt x="5846" y="351"/>
                </a:lnTo>
                <a:close/>
                <a:moveTo>
                  <a:pt x="3477" y="803"/>
                </a:moveTo>
                <a:lnTo>
                  <a:pt x="4906" y="4232"/>
                </a:lnTo>
                <a:cubicBezTo>
                  <a:pt x="4823" y="4280"/>
                  <a:pt x="4727" y="4328"/>
                  <a:pt x="4644" y="4399"/>
                </a:cubicBezTo>
                <a:lnTo>
                  <a:pt x="2036" y="1792"/>
                </a:lnTo>
                <a:cubicBezTo>
                  <a:pt x="2215" y="1625"/>
                  <a:pt x="2394" y="1470"/>
                  <a:pt x="2584" y="1339"/>
                </a:cubicBezTo>
                <a:lnTo>
                  <a:pt x="3179" y="2232"/>
                </a:lnTo>
                <a:cubicBezTo>
                  <a:pt x="3215" y="2280"/>
                  <a:pt x="3275" y="2316"/>
                  <a:pt x="3322" y="2316"/>
                </a:cubicBezTo>
                <a:cubicBezTo>
                  <a:pt x="3346" y="2316"/>
                  <a:pt x="3382" y="2292"/>
                  <a:pt x="3406" y="2280"/>
                </a:cubicBezTo>
                <a:cubicBezTo>
                  <a:pt x="3477" y="2232"/>
                  <a:pt x="3513" y="2137"/>
                  <a:pt x="3453" y="2042"/>
                </a:cubicBezTo>
                <a:lnTo>
                  <a:pt x="2858" y="1149"/>
                </a:lnTo>
                <a:cubicBezTo>
                  <a:pt x="3048" y="1030"/>
                  <a:pt x="3263" y="911"/>
                  <a:pt x="3477" y="803"/>
                </a:cubicBezTo>
                <a:close/>
                <a:moveTo>
                  <a:pt x="7859" y="803"/>
                </a:moveTo>
                <a:cubicBezTo>
                  <a:pt x="8085" y="911"/>
                  <a:pt x="8287" y="1030"/>
                  <a:pt x="8502" y="1149"/>
                </a:cubicBezTo>
                <a:lnTo>
                  <a:pt x="7906" y="2042"/>
                </a:lnTo>
                <a:cubicBezTo>
                  <a:pt x="7823" y="2161"/>
                  <a:pt x="7906" y="2316"/>
                  <a:pt x="8037" y="2316"/>
                </a:cubicBezTo>
                <a:cubicBezTo>
                  <a:pt x="8097" y="2316"/>
                  <a:pt x="8144" y="2280"/>
                  <a:pt x="8168" y="2232"/>
                </a:cubicBezTo>
                <a:lnTo>
                  <a:pt x="8763" y="1339"/>
                </a:lnTo>
                <a:cubicBezTo>
                  <a:pt x="8954" y="1470"/>
                  <a:pt x="9133" y="1625"/>
                  <a:pt x="9311" y="1792"/>
                </a:cubicBezTo>
                <a:cubicBezTo>
                  <a:pt x="6804" y="4299"/>
                  <a:pt x="6713" y="4400"/>
                  <a:pt x="6696" y="4400"/>
                </a:cubicBezTo>
                <a:cubicBezTo>
                  <a:pt x="6695" y="4400"/>
                  <a:pt x="6694" y="4399"/>
                  <a:pt x="6692" y="4399"/>
                </a:cubicBezTo>
                <a:cubicBezTo>
                  <a:pt x="6608" y="4340"/>
                  <a:pt x="6537" y="4280"/>
                  <a:pt x="6442" y="4232"/>
                </a:cubicBezTo>
                <a:lnTo>
                  <a:pt x="7859" y="803"/>
                </a:lnTo>
                <a:close/>
                <a:moveTo>
                  <a:pt x="9549" y="2042"/>
                </a:moveTo>
                <a:cubicBezTo>
                  <a:pt x="9716" y="2220"/>
                  <a:pt x="9859" y="2399"/>
                  <a:pt x="10002" y="2589"/>
                </a:cubicBezTo>
                <a:lnTo>
                  <a:pt x="9109" y="3185"/>
                </a:lnTo>
                <a:cubicBezTo>
                  <a:pt x="9037" y="3232"/>
                  <a:pt x="9002" y="3340"/>
                  <a:pt x="9061" y="3423"/>
                </a:cubicBezTo>
                <a:cubicBezTo>
                  <a:pt x="9091" y="3475"/>
                  <a:pt x="9139" y="3504"/>
                  <a:pt x="9194" y="3504"/>
                </a:cubicBezTo>
                <a:cubicBezTo>
                  <a:pt x="9227" y="3504"/>
                  <a:pt x="9263" y="3493"/>
                  <a:pt x="9299" y="3470"/>
                </a:cubicBezTo>
                <a:lnTo>
                  <a:pt x="10192" y="2875"/>
                </a:lnTo>
                <a:cubicBezTo>
                  <a:pt x="10311" y="3066"/>
                  <a:pt x="10430" y="3292"/>
                  <a:pt x="10514" y="3506"/>
                </a:cubicBezTo>
                <a:lnTo>
                  <a:pt x="7144" y="4887"/>
                </a:lnTo>
                <a:cubicBezTo>
                  <a:pt x="7085" y="4792"/>
                  <a:pt x="7025" y="4709"/>
                  <a:pt x="6954" y="4637"/>
                </a:cubicBezTo>
                <a:lnTo>
                  <a:pt x="9549" y="2042"/>
                </a:lnTo>
                <a:close/>
                <a:moveTo>
                  <a:pt x="703" y="3780"/>
                </a:moveTo>
                <a:lnTo>
                  <a:pt x="4061" y="5185"/>
                </a:lnTo>
                <a:cubicBezTo>
                  <a:pt x="4037" y="5292"/>
                  <a:pt x="4001" y="5375"/>
                  <a:pt x="3989" y="5483"/>
                </a:cubicBezTo>
                <a:lnTo>
                  <a:pt x="370" y="5483"/>
                </a:lnTo>
                <a:cubicBezTo>
                  <a:pt x="370" y="5245"/>
                  <a:pt x="405" y="5018"/>
                  <a:pt x="429" y="4792"/>
                </a:cubicBezTo>
                <a:lnTo>
                  <a:pt x="1489" y="5006"/>
                </a:lnTo>
                <a:lnTo>
                  <a:pt x="1513" y="5006"/>
                </a:lnTo>
                <a:cubicBezTo>
                  <a:pt x="1596" y="5006"/>
                  <a:pt x="1667" y="4947"/>
                  <a:pt x="1679" y="4875"/>
                </a:cubicBezTo>
                <a:cubicBezTo>
                  <a:pt x="1691" y="4780"/>
                  <a:pt x="1632" y="4697"/>
                  <a:pt x="1548" y="4673"/>
                </a:cubicBezTo>
                <a:lnTo>
                  <a:pt x="489" y="4471"/>
                </a:lnTo>
                <a:cubicBezTo>
                  <a:pt x="548" y="4244"/>
                  <a:pt x="608" y="4006"/>
                  <a:pt x="703" y="3780"/>
                </a:cubicBezTo>
                <a:close/>
                <a:moveTo>
                  <a:pt x="5680" y="4399"/>
                </a:moveTo>
                <a:cubicBezTo>
                  <a:pt x="6335" y="4399"/>
                  <a:pt x="6906" y="4852"/>
                  <a:pt x="7037" y="5483"/>
                </a:cubicBezTo>
                <a:lnTo>
                  <a:pt x="4334" y="5483"/>
                </a:lnTo>
                <a:cubicBezTo>
                  <a:pt x="4465" y="4852"/>
                  <a:pt x="5025" y="4399"/>
                  <a:pt x="5680" y="4399"/>
                </a:cubicBezTo>
                <a:close/>
                <a:moveTo>
                  <a:pt x="5632" y="0"/>
                </a:moveTo>
                <a:cubicBezTo>
                  <a:pt x="4161" y="0"/>
                  <a:pt x="2669" y="573"/>
                  <a:pt x="1513" y="1816"/>
                </a:cubicBezTo>
                <a:cubicBezTo>
                  <a:pt x="1453" y="1899"/>
                  <a:pt x="1453" y="1994"/>
                  <a:pt x="1536" y="2054"/>
                </a:cubicBezTo>
                <a:cubicBezTo>
                  <a:pt x="1570" y="2082"/>
                  <a:pt x="1613" y="2097"/>
                  <a:pt x="1654" y="2097"/>
                </a:cubicBezTo>
                <a:cubicBezTo>
                  <a:pt x="1699" y="2097"/>
                  <a:pt x="1743" y="2079"/>
                  <a:pt x="1775" y="2042"/>
                </a:cubicBezTo>
                <a:cubicBezTo>
                  <a:pt x="1775" y="2030"/>
                  <a:pt x="1786" y="2030"/>
                  <a:pt x="1786" y="2018"/>
                </a:cubicBezTo>
                <a:lnTo>
                  <a:pt x="4394" y="4613"/>
                </a:lnTo>
                <a:cubicBezTo>
                  <a:pt x="4311" y="4697"/>
                  <a:pt x="4251" y="4780"/>
                  <a:pt x="4191" y="4875"/>
                </a:cubicBezTo>
                <a:lnTo>
                  <a:pt x="822" y="3470"/>
                </a:lnTo>
                <a:cubicBezTo>
                  <a:pt x="917" y="3268"/>
                  <a:pt x="1024" y="3042"/>
                  <a:pt x="1143" y="2851"/>
                </a:cubicBezTo>
                <a:cubicBezTo>
                  <a:pt x="2084" y="3459"/>
                  <a:pt x="2036" y="3470"/>
                  <a:pt x="2120" y="3470"/>
                </a:cubicBezTo>
                <a:cubicBezTo>
                  <a:pt x="2286" y="3470"/>
                  <a:pt x="2358" y="3268"/>
                  <a:pt x="2215" y="3161"/>
                </a:cubicBezTo>
                <a:lnTo>
                  <a:pt x="1322" y="2566"/>
                </a:lnTo>
                <a:cubicBezTo>
                  <a:pt x="1322" y="2542"/>
                  <a:pt x="1334" y="2542"/>
                  <a:pt x="1334" y="2530"/>
                </a:cubicBezTo>
                <a:cubicBezTo>
                  <a:pt x="1394" y="2458"/>
                  <a:pt x="1370" y="2351"/>
                  <a:pt x="1286" y="2292"/>
                </a:cubicBezTo>
                <a:cubicBezTo>
                  <a:pt x="1261" y="2271"/>
                  <a:pt x="1232" y="2262"/>
                  <a:pt x="1202" y="2262"/>
                </a:cubicBezTo>
                <a:cubicBezTo>
                  <a:pt x="1146" y="2262"/>
                  <a:pt x="1087" y="2293"/>
                  <a:pt x="1048" y="2339"/>
                </a:cubicBezTo>
                <a:cubicBezTo>
                  <a:pt x="381" y="3256"/>
                  <a:pt x="0" y="4411"/>
                  <a:pt x="0" y="5637"/>
                </a:cubicBezTo>
                <a:cubicBezTo>
                  <a:pt x="0" y="5733"/>
                  <a:pt x="72" y="5804"/>
                  <a:pt x="155" y="5804"/>
                </a:cubicBezTo>
                <a:lnTo>
                  <a:pt x="7740" y="5804"/>
                </a:lnTo>
                <a:cubicBezTo>
                  <a:pt x="7823" y="5804"/>
                  <a:pt x="7894" y="5733"/>
                  <a:pt x="7894" y="5637"/>
                </a:cubicBezTo>
                <a:cubicBezTo>
                  <a:pt x="7894" y="5554"/>
                  <a:pt x="7823" y="5483"/>
                  <a:pt x="7740" y="5483"/>
                </a:cubicBezTo>
                <a:lnTo>
                  <a:pt x="7347" y="5483"/>
                </a:lnTo>
                <a:cubicBezTo>
                  <a:pt x="7335" y="5375"/>
                  <a:pt x="7299" y="5268"/>
                  <a:pt x="7263" y="5161"/>
                </a:cubicBezTo>
                <a:lnTo>
                  <a:pt x="10609" y="3780"/>
                </a:lnTo>
                <a:cubicBezTo>
                  <a:pt x="10692" y="4006"/>
                  <a:pt x="10752" y="4232"/>
                  <a:pt x="10823" y="4471"/>
                </a:cubicBezTo>
                <a:lnTo>
                  <a:pt x="9776" y="4673"/>
                </a:lnTo>
                <a:cubicBezTo>
                  <a:pt x="9692" y="4685"/>
                  <a:pt x="9633" y="4780"/>
                  <a:pt x="9645" y="4864"/>
                </a:cubicBezTo>
                <a:cubicBezTo>
                  <a:pt x="9655" y="4951"/>
                  <a:pt x="9726" y="5008"/>
                  <a:pt x="9811" y="5008"/>
                </a:cubicBezTo>
                <a:cubicBezTo>
                  <a:pt x="9819" y="5008"/>
                  <a:pt x="9827" y="5007"/>
                  <a:pt x="9835" y="5006"/>
                </a:cubicBezTo>
                <a:lnTo>
                  <a:pt x="10883" y="4792"/>
                </a:lnTo>
                <a:cubicBezTo>
                  <a:pt x="10907" y="5018"/>
                  <a:pt x="10942" y="5256"/>
                  <a:pt x="10942" y="5483"/>
                </a:cubicBezTo>
                <a:lnTo>
                  <a:pt x="8394" y="5483"/>
                </a:lnTo>
                <a:cubicBezTo>
                  <a:pt x="8299" y="5483"/>
                  <a:pt x="8228" y="5554"/>
                  <a:pt x="8228" y="5637"/>
                </a:cubicBezTo>
                <a:cubicBezTo>
                  <a:pt x="8228" y="5733"/>
                  <a:pt x="8299" y="5804"/>
                  <a:pt x="8394" y="5804"/>
                </a:cubicBezTo>
                <a:lnTo>
                  <a:pt x="11097" y="5804"/>
                </a:lnTo>
                <a:cubicBezTo>
                  <a:pt x="11192" y="5804"/>
                  <a:pt x="11264" y="5733"/>
                  <a:pt x="11264" y="5637"/>
                </a:cubicBezTo>
                <a:cubicBezTo>
                  <a:pt x="11323" y="4911"/>
                  <a:pt x="11180" y="4185"/>
                  <a:pt x="10895" y="3506"/>
                </a:cubicBezTo>
                <a:cubicBezTo>
                  <a:pt x="9975" y="1275"/>
                  <a:pt x="7827" y="0"/>
                  <a:pt x="5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23" name="Google Shape;12223;p62"/>
          <p:cNvGrpSpPr/>
          <p:nvPr/>
        </p:nvGrpSpPr>
        <p:grpSpPr>
          <a:xfrm>
            <a:off x="3110102" y="1499880"/>
            <a:ext cx="330613" cy="358379"/>
            <a:chOff x="3110102" y="1499880"/>
            <a:chExt cx="330613" cy="358379"/>
          </a:xfrm>
        </p:grpSpPr>
        <p:sp>
          <p:nvSpPr>
            <p:cNvPr id="12224" name="Google Shape;12224;p62"/>
            <p:cNvSpPr/>
            <p:nvPr/>
          </p:nvSpPr>
          <p:spPr>
            <a:xfrm>
              <a:off x="3385024" y="1775979"/>
              <a:ext cx="55341" cy="71211"/>
            </a:xfrm>
            <a:custGeom>
              <a:avLst/>
              <a:gdLst/>
              <a:ahLst/>
              <a:cxnLst/>
              <a:rect l="l" t="t" r="r" b="b"/>
              <a:pathLst>
                <a:path w="1740" h="2239" extrusionOk="0">
                  <a:moveTo>
                    <a:pt x="1248" y="0"/>
                  </a:moveTo>
                  <a:cubicBezTo>
                    <a:pt x="1180" y="0"/>
                    <a:pt x="1124" y="45"/>
                    <a:pt x="1096" y="119"/>
                  </a:cubicBezTo>
                  <a:cubicBezTo>
                    <a:pt x="1072" y="202"/>
                    <a:pt x="1108" y="286"/>
                    <a:pt x="1203" y="321"/>
                  </a:cubicBezTo>
                  <a:cubicBezTo>
                    <a:pt x="1275" y="333"/>
                    <a:pt x="1334" y="369"/>
                    <a:pt x="1406" y="369"/>
                  </a:cubicBezTo>
                  <a:lnTo>
                    <a:pt x="1406" y="1095"/>
                  </a:lnTo>
                  <a:cubicBezTo>
                    <a:pt x="1320" y="1097"/>
                    <a:pt x="1242" y="1097"/>
                    <a:pt x="1171" y="1097"/>
                  </a:cubicBezTo>
                  <a:cubicBezTo>
                    <a:pt x="861" y="1097"/>
                    <a:pt x="689" y="1088"/>
                    <a:pt x="585" y="1088"/>
                  </a:cubicBezTo>
                  <a:cubicBezTo>
                    <a:pt x="472" y="1088"/>
                    <a:pt x="438" y="1098"/>
                    <a:pt x="394" y="1143"/>
                  </a:cubicBezTo>
                  <a:cubicBezTo>
                    <a:pt x="370" y="1167"/>
                    <a:pt x="358" y="1214"/>
                    <a:pt x="358" y="1262"/>
                  </a:cubicBezTo>
                  <a:cubicBezTo>
                    <a:pt x="370" y="1524"/>
                    <a:pt x="263" y="1774"/>
                    <a:pt x="96" y="1953"/>
                  </a:cubicBezTo>
                  <a:cubicBezTo>
                    <a:pt x="1" y="2060"/>
                    <a:pt x="72" y="2238"/>
                    <a:pt x="215" y="2238"/>
                  </a:cubicBezTo>
                  <a:cubicBezTo>
                    <a:pt x="263" y="2238"/>
                    <a:pt x="310" y="2226"/>
                    <a:pt x="334" y="2179"/>
                  </a:cubicBezTo>
                  <a:cubicBezTo>
                    <a:pt x="537" y="1976"/>
                    <a:pt x="667" y="1703"/>
                    <a:pt x="679" y="1417"/>
                  </a:cubicBezTo>
                  <a:lnTo>
                    <a:pt x="1572" y="1417"/>
                  </a:lnTo>
                  <a:cubicBezTo>
                    <a:pt x="1668" y="1417"/>
                    <a:pt x="1739" y="1345"/>
                    <a:pt x="1739" y="1262"/>
                  </a:cubicBezTo>
                  <a:lnTo>
                    <a:pt x="1739" y="238"/>
                  </a:lnTo>
                  <a:cubicBezTo>
                    <a:pt x="1739" y="131"/>
                    <a:pt x="1680" y="60"/>
                    <a:pt x="1572" y="60"/>
                  </a:cubicBezTo>
                  <a:cubicBezTo>
                    <a:pt x="1489" y="60"/>
                    <a:pt x="1382" y="36"/>
                    <a:pt x="1310" y="12"/>
                  </a:cubicBezTo>
                  <a:cubicBezTo>
                    <a:pt x="1289" y="4"/>
                    <a:pt x="1268" y="0"/>
                    <a:pt x="12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5" name="Google Shape;12225;p62"/>
            <p:cNvSpPr/>
            <p:nvPr/>
          </p:nvSpPr>
          <p:spPr>
            <a:xfrm>
              <a:off x="3347176" y="1535501"/>
              <a:ext cx="93189" cy="61765"/>
            </a:xfrm>
            <a:custGeom>
              <a:avLst/>
              <a:gdLst/>
              <a:ahLst/>
              <a:cxnLst/>
              <a:rect l="l" t="t" r="r" b="b"/>
              <a:pathLst>
                <a:path w="2930" h="1942" extrusionOk="0">
                  <a:moveTo>
                    <a:pt x="1703" y="1"/>
                  </a:moveTo>
                  <a:cubicBezTo>
                    <a:pt x="1619" y="1"/>
                    <a:pt x="1524" y="72"/>
                    <a:pt x="1536" y="179"/>
                  </a:cubicBezTo>
                  <a:cubicBezTo>
                    <a:pt x="1572" y="655"/>
                    <a:pt x="1155" y="1132"/>
                    <a:pt x="595" y="1132"/>
                  </a:cubicBezTo>
                  <a:cubicBezTo>
                    <a:pt x="476" y="1132"/>
                    <a:pt x="345" y="1108"/>
                    <a:pt x="250" y="1072"/>
                  </a:cubicBezTo>
                  <a:cubicBezTo>
                    <a:pt x="228" y="1064"/>
                    <a:pt x="206" y="1060"/>
                    <a:pt x="186" y="1060"/>
                  </a:cubicBezTo>
                  <a:cubicBezTo>
                    <a:pt x="118" y="1060"/>
                    <a:pt x="60" y="1101"/>
                    <a:pt x="24" y="1155"/>
                  </a:cubicBezTo>
                  <a:cubicBezTo>
                    <a:pt x="0" y="1251"/>
                    <a:pt x="36" y="1334"/>
                    <a:pt x="119" y="1382"/>
                  </a:cubicBezTo>
                  <a:cubicBezTo>
                    <a:pt x="262" y="1441"/>
                    <a:pt x="429" y="1465"/>
                    <a:pt x="595" y="1465"/>
                  </a:cubicBezTo>
                  <a:cubicBezTo>
                    <a:pt x="1250" y="1465"/>
                    <a:pt x="1798" y="977"/>
                    <a:pt x="1869" y="334"/>
                  </a:cubicBezTo>
                  <a:lnTo>
                    <a:pt x="2596" y="334"/>
                  </a:lnTo>
                  <a:lnTo>
                    <a:pt x="2596" y="1786"/>
                  </a:lnTo>
                  <a:cubicBezTo>
                    <a:pt x="2596" y="1870"/>
                    <a:pt x="2679" y="1941"/>
                    <a:pt x="2762" y="1941"/>
                  </a:cubicBezTo>
                  <a:cubicBezTo>
                    <a:pt x="2858" y="1941"/>
                    <a:pt x="2929" y="1870"/>
                    <a:pt x="2929" y="1786"/>
                  </a:cubicBezTo>
                  <a:lnTo>
                    <a:pt x="2929" y="155"/>
                  </a:lnTo>
                  <a:cubicBezTo>
                    <a:pt x="2929" y="72"/>
                    <a:pt x="2858" y="1"/>
                    <a:pt x="2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6" name="Google Shape;12226;p62"/>
            <p:cNvSpPr/>
            <p:nvPr/>
          </p:nvSpPr>
          <p:spPr>
            <a:xfrm>
              <a:off x="3110102" y="1580728"/>
              <a:ext cx="330613" cy="277530"/>
            </a:xfrm>
            <a:custGeom>
              <a:avLst/>
              <a:gdLst/>
              <a:ahLst/>
              <a:cxnLst/>
              <a:rect l="l" t="t" r="r" b="b"/>
              <a:pathLst>
                <a:path w="10395" h="8726" extrusionOk="0">
                  <a:moveTo>
                    <a:pt x="5044" y="1"/>
                  </a:moveTo>
                  <a:cubicBezTo>
                    <a:pt x="4997" y="1"/>
                    <a:pt x="4950" y="22"/>
                    <a:pt x="4918" y="67"/>
                  </a:cubicBezTo>
                  <a:cubicBezTo>
                    <a:pt x="4251" y="817"/>
                    <a:pt x="4692" y="2055"/>
                    <a:pt x="5704" y="2186"/>
                  </a:cubicBezTo>
                  <a:lnTo>
                    <a:pt x="5704" y="2924"/>
                  </a:lnTo>
                  <a:lnTo>
                    <a:pt x="4823" y="2924"/>
                  </a:lnTo>
                  <a:cubicBezTo>
                    <a:pt x="4739" y="2924"/>
                    <a:pt x="4668" y="2996"/>
                    <a:pt x="4668" y="3079"/>
                  </a:cubicBezTo>
                  <a:cubicBezTo>
                    <a:pt x="4668" y="3630"/>
                    <a:pt x="4207" y="4034"/>
                    <a:pt x="3710" y="4034"/>
                  </a:cubicBezTo>
                  <a:cubicBezTo>
                    <a:pt x="3573" y="4034"/>
                    <a:pt x="3433" y="4003"/>
                    <a:pt x="3299" y="3936"/>
                  </a:cubicBezTo>
                  <a:cubicBezTo>
                    <a:pt x="2977" y="3770"/>
                    <a:pt x="2775" y="3460"/>
                    <a:pt x="2775" y="3079"/>
                  </a:cubicBezTo>
                  <a:cubicBezTo>
                    <a:pt x="2775" y="2996"/>
                    <a:pt x="2704" y="2924"/>
                    <a:pt x="2608" y="2924"/>
                  </a:cubicBezTo>
                  <a:lnTo>
                    <a:pt x="1727" y="2924"/>
                  </a:lnTo>
                  <a:lnTo>
                    <a:pt x="1727" y="2043"/>
                  </a:lnTo>
                  <a:cubicBezTo>
                    <a:pt x="1727" y="1948"/>
                    <a:pt x="1656" y="1877"/>
                    <a:pt x="1572" y="1877"/>
                  </a:cubicBezTo>
                  <a:cubicBezTo>
                    <a:pt x="834" y="1865"/>
                    <a:pt x="394" y="1055"/>
                    <a:pt x="763" y="436"/>
                  </a:cubicBezTo>
                  <a:cubicBezTo>
                    <a:pt x="810" y="364"/>
                    <a:pt x="799" y="257"/>
                    <a:pt x="703" y="210"/>
                  </a:cubicBezTo>
                  <a:cubicBezTo>
                    <a:pt x="679" y="193"/>
                    <a:pt x="650" y="185"/>
                    <a:pt x="621" y="185"/>
                  </a:cubicBezTo>
                  <a:cubicBezTo>
                    <a:pt x="565" y="185"/>
                    <a:pt x="508" y="214"/>
                    <a:pt x="477" y="269"/>
                  </a:cubicBezTo>
                  <a:cubicBezTo>
                    <a:pt x="1" y="1055"/>
                    <a:pt x="501" y="2067"/>
                    <a:pt x="1406" y="2210"/>
                  </a:cubicBezTo>
                  <a:lnTo>
                    <a:pt x="1406" y="3651"/>
                  </a:lnTo>
                  <a:cubicBezTo>
                    <a:pt x="1406" y="3734"/>
                    <a:pt x="1477" y="3817"/>
                    <a:pt x="1572" y="3817"/>
                  </a:cubicBezTo>
                  <a:cubicBezTo>
                    <a:pt x="1656" y="3817"/>
                    <a:pt x="1727" y="3734"/>
                    <a:pt x="1727" y="3651"/>
                  </a:cubicBezTo>
                  <a:lnTo>
                    <a:pt x="1727" y="3246"/>
                  </a:lnTo>
                  <a:lnTo>
                    <a:pt x="2465" y="3246"/>
                  </a:lnTo>
                  <a:cubicBezTo>
                    <a:pt x="2537" y="3817"/>
                    <a:pt x="2977" y="4258"/>
                    <a:pt x="3549" y="4341"/>
                  </a:cubicBezTo>
                  <a:cubicBezTo>
                    <a:pt x="3614" y="4351"/>
                    <a:pt x="3678" y="4356"/>
                    <a:pt x="3742" y="4356"/>
                  </a:cubicBezTo>
                  <a:cubicBezTo>
                    <a:pt x="4376" y="4356"/>
                    <a:pt x="4914" y="3884"/>
                    <a:pt x="4990" y="3246"/>
                  </a:cubicBezTo>
                  <a:lnTo>
                    <a:pt x="5716" y="3246"/>
                  </a:lnTo>
                  <a:lnTo>
                    <a:pt x="5716" y="4127"/>
                  </a:lnTo>
                  <a:cubicBezTo>
                    <a:pt x="5716" y="4210"/>
                    <a:pt x="5799" y="4294"/>
                    <a:pt x="5882" y="4294"/>
                  </a:cubicBezTo>
                  <a:cubicBezTo>
                    <a:pt x="6406" y="4294"/>
                    <a:pt x="6835" y="4722"/>
                    <a:pt x="6835" y="5234"/>
                  </a:cubicBezTo>
                  <a:cubicBezTo>
                    <a:pt x="6835" y="5758"/>
                    <a:pt x="6406" y="6187"/>
                    <a:pt x="5882" y="6187"/>
                  </a:cubicBezTo>
                  <a:cubicBezTo>
                    <a:pt x="5799" y="6187"/>
                    <a:pt x="5716" y="6270"/>
                    <a:pt x="5716" y="6353"/>
                  </a:cubicBezTo>
                  <a:lnTo>
                    <a:pt x="5716" y="7234"/>
                  </a:lnTo>
                  <a:lnTo>
                    <a:pt x="4990" y="7234"/>
                  </a:lnTo>
                  <a:cubicBezTo>
                    <a:pt x="4906" y="7234"/>
                    <a:pt x="4823" y="7306"/>
                    <a:pt x="4823" y="7401"/>
                  </a:cubicBezTo>
                  <a:cubicBezTo>
                    <a:pt x="4823" y="7484"/>
                    <a:pt x="4906" y="7568"/>
                    <a:pt x="4990" y="7568"/>
                  </a:cubicBezTo>
                  <a:lnTo>
                    <a:pt x="6775" y="7568"/>
                  </a:lnTo>
                  <a:cubicBezTo>
                    <a:pt x="6839" y="8230"/>
                    <a:pt x="7403" y="8726"/>
                    <a:pt x="8059" y="8726"/>
                  </a:cubicBezTo>
                  <a:cubicBezTo>
                    <a:pt x="8146" y="8726"/>
                    <a:pt x="8234" y="8717"/>
                    <a:pt x="8323" y="8699"/>
                  </a:cubicBezTo>
                  <a:cubicBezTo>
                    <a:pt x="8419" y="8675"/>
                    <a:pt x="8478" y="8592"/>
                    <a:pt x="8454" y="8496"/>
                  </a:cubicBezTo>
                  <a:cubicBezTo>
                    <a:pt x="8443" y="8420"/>
                    <a:pt x="8373" y="8364"/>
                    <a:pt x="8288" y="8364"/>
                  </a:cubicBezTo>
                  <a:cubicBezTo>
                    <a:pt x="8280" y="8364"/>
                    <a:pt x="8272" y="8364"/>
                    <a:pt x="8264" y="8365"/>
                  </a:cubicBezTo>
                  <a:cubicBezTo>
                    <a:pt x="8195" y="8380"/>
                    <a:pt x="8127" y="8387"/>
                    <a:pt x="8061" y="8387"/>
                  </a:cubicBezTo>
                  <a:cubicBezTo>
                    <a:pt x="7535" y="8387"/>
                    <a:pt x="7089" y="7950"/>
                    <a:pt x="7121" y="7401"/>
                  </a:cubicBezTo>
                  <a:cubicBezTo>
                    <a:pt x="7121" y="7353"/>
                    <a:pt x="7109" y="7306"/>
                    <a:pt x="7073" y="7282"/>
                  </a:cubicBezTo>
                  <a:cubicBezTo>
                    <a:pt x="7034" y="7237"/>
                    <a:pt x="7003" y="7227"/>
                    <a:pt x="6891" y="7227"/>
                  </a:cubicBezTo>
                  <a:cubicBezTo>
                    <a:pt x="6787" y="7227"/>
                    <a:pt x="6613" y="7236"/>
                    <a:pt x="6299" y="7236"/>
                  </a:cubicBezTo>
                  <a:cubicBezTo>
                    <a:pt x="6227" y="7236"/>
                    <a:pt x="6148" y="7236"/>
                    <a:pt x="6061" y="7234"/>
                  </a:cubicBezTo>
                  <a:lnTo>
                    <a:pt x="6061" y="6508"/>
                  </a:lnTo>
                  <a:cubicBezTo>
                    <a:pt x="6811" y="6401"/>
                    <a:pt x="7299" y="5698"/>
                    <a:pt x="7145" y="4972"/>
                  </a:cubicBezTo>
                  <a:cubicBezTo>
                    <a:pt x="7049" y="4472"/>
                    <a:pt x="6633" y="4032"/>
                    <a:pt x="6061" y="3960"/>
                  </a:cubicBezTo>
                  <a:lnTo>
                    <a:pt x="6061" y="3234"/>
                  </a:lnTo>
                  <a:lnTo>
                    <a:pt x="6787" y="3234"/>
                  </a:lnTo>
                  <a:cubicBezTo>
                    <a:pt x="6878" y="3888"/>
                    <a:pt x="7448" y="4334"/>
                    <a:pt x="8061" y="4334"/>
                  </a:cubicBezTo>
                  <a:cubicBezTo>
                    <a:pt x="8252" y="4334"/>
                    <a:pt x="8447" y="4291"/>
                    <a:pt x="8633" y="4198"/>
                  </a:cubicBezTo>
                  <a:cubicBezTo>
                    <a:pt x="9026" y="4008"/>
                    <a:pt x="9276" y="3651"/>
                    <a:pt x="9335" y="3234"/>
                  </a:cubicBezTo>
                  <a:lnTo>
                    <a:pt x="10062" y="3234"/>
                  </a:lnTo>
                  <a:lnTo>
                    <a:pt x="10062" y="3960"/>
                  </a:lnTo>
                  <a:cubicBezTo>
                    <a:pt x="9109" y="4091"/>
                    <a:pt x="8633" y="5246"/>
                    <a:pt x="9228" y="6020"/>
                  </a:cubicBezTo>
                  <a:cubicBezTo>
                    <a:pt x="9262" y="6060"/>
                    <a:pt x="9311" y="6082"/>
                    <a:pt x="9360" y="6082"/>
                  </a:cubicBezTo>
                  <a:cubicBezTo>
                    <a:pt x="9398" y="6082"/>
                    <a:pt x="9435" y="6069"/>
                    <a:pt x="9466" y="6044"/>
                  </a:cubicBezTo>
                  <a:cubicBezTo>
                    <a:pt x="9550" y="5984"/>
                    <a:pt x="9562" y="5877"/>
                    <a:pt x="9502" y="5806"/>
                  </a:cubicBezTo>
                  <a:cubicBezTo>
                    <a:pt x="9026" y="5198"/>
                    <a:pt x="9454" y="4294"/>
                    <a:pt x="10228" y="4270"/>
                  </a:cubicBezTo>
                  <a:cubicBezTo>
                    <a:pt x="10324" y="4270"/>
                    <a:pt x="10395" y="4198"/>
                    <a:pt x="10395" y="4103"/>
                  </a:cubicBezTo>
                  <a:lnTo>
                    <a:pt x="10395" y="1007"/>
                  </a:lnTo>
                  <a:cubicBezTo>
                    <a:pt x="10383" y="936"/>
                    <a:pt x="10312" y="865"/>
                    <a:pt x="10216" y="865"/>
                  </a:cubicBezTo>
                  <a:cubicBezTo>
                    <a:pt x="10133" y="865"/>
                    <a:pt x="10050" y="936"/>
                    <a:pt x="10050" y="1031"/>
                  </a:cubicBezTo>
                  <a:lnTo>
                    <a:pt x="10050" y="2900"/>
                  </a:lnTo>
                  <a:lnTo>
                    <a:pt x="9157" y="2900"/>
                  </a:lnTo>
                  <a:cubicBezTo>
                    <a:pt x="9073" y="2900"/>
                    <a:pt x="8990" y="2984"/>
                    <a:pt x="8990" y="3067"/>
                  </a:cubicBezTo>
                  <a:cubicBezTo>
                    <a:pt x="8990" y="3293"/>
                    <a:pt x="8907" y="3520"/>
                    <a:pt x="8740" y="3698"/>
                  </a:cubicBezTo>
                  <a:cubicBezTo>
                    <a:pt x="8542" y="3912"/>
                    <a:pt x="8291" y="4008"/>
                    <a:pt x="8045" y="4008"/>
                  </a:cubicBezTo>
                  <a:cubicBezTo>
                    <a:pt x="7564" y="4008"/>
                    <a:pt x="7101" y="3642"/>
                    <a:pt x="7085" y="3067"/>
                  </a:cubicBezTo>
                  <a:cubicBezTo>
                    <a:pt x="7085" y="2984"/>
                    <a:pt x="7014" y="2900"/>
                    <a:pt x="6930" y="2900"/>
                  </a:cubicBezTo>
                  <a:lnTo>
                    <a:pt x="6049" y="2900"/>
                  </a:lnTo>
                  <a:lnTo>
                    <a:pt x="6049" y="2031"/>
                  </a:lnTo>
                  <a:cubicBezTo>
                    <a:pt x="6049" y="1936"/>
                    <a:pt x="5978" y="1865"/>
                    <a:pt x="5882" y="1865"/>
                  </a:cubicBezTo>
                  <a:cubicBezTo>
                    <a:pt x="5061" y="1865"/>
                    <a:pt x="4632" y="900"/>
                    <a:pt x="5168" y="281"/>
                  </a:cubicBezTo>
                  <a:cubicBezTo>
                    <a:pt x="5228" y="210"/>
                    <a:pt x="5228" y="103"/>
                    <a:pt x="5156" y="43"/>
                  </a:cubicBezTo>
                  <a:cubicBezTo>
                    <a:pt x="5123" y="16"/>
                    <a:pt x="5083" y="1"/>
                    <a:pt x="50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7" name="Google Shape;12227;p62"/>
            <p:cNvSpPr/>
            <p:nvPr/>
          </p:nvSpPr>
          <p:spPr>
            <a:xfrm>
              <a:off x="3139267" y="1504428"/>
              <a:ext cx="77668" cy="78113"/>
            </a:xfrm>
            <a:custGeom>
              <a:avLst/>
              <a:gdLst/>
              <a:ahLst/>
              <a:cxnLst/>
              <a:rect l="l" t="t" r="r" b="b"/>
              <a:pathLst>
                <a:path w="2442" h="2456" extrusionOk="0">
                  <a:moveTo>
                    <a:pt x="2255" y="1"/>
                  </a:moveTo>
                  <a:cubicBezTo>
                    <a:pt x="2226" y="1"/>
                    <a:pt x="2196" y="9"/>
                    <a:pt x="2168" y="25"/>
                  </a:cubicBezTo>
                  <a:cubicBezTo>
                    <a:pt x="1810" y="216"/>
                    <a:pt x="1572" y="573"/>
                    <a:pt x="1513" y="978"/>
                  </a:cubicBezTo>
                  <a:lnTo>
                    <a:pt x="620" y="978"/>
                  </a:lnTo>
                  <a:cubicBezTo>
                    <a:pt x="536" y="978"/>
                    <a:pt x="465" y="1049"/>
                    <a:pt x="465" y="1132"/>
                  </a:cubicBezTo>
                  <a:lnTo>
                    <a:pt x="465" y="2025"/>
                  </a:lnTo>
                  <a:cubicBezTo>
                    <a:pt x="346" y="2049"/>
                    <a:pt x="215" y="2073"/>
                    <a:pt x="120" y="2132"/>
                  </a:cubicBezTo>
                  <a:cubicBezTo>
                    <a:pt x="24" y="2180"/>
                    <a:pt x="1" y="2263"/>
                    <a:pt x="24" y="2359"/>
                  </a:cubicBezTo>
                  <a:cubicBezTo>
                    <a:pt x="60" y="2420"/>
                    <a:pt x="121" y="2456"/>
                    <a:pt x="184" y="2456"/>
                  </a:cubicBezTo>
                  <a:cubicBezTo>
                    <a:pt x="206" y="2456"/>
                    <a:pt x="229" y="2451"/>
                    <a:pt x="251" y="2442"/>
                  </a:cubicBezTo>
                  <a:cubicBezTo>
                    <a:pt x="370" y="2382"/>
                    <a:pt x="501" y="2359"/>
                    <a:pt x="620" y="2359"/>
                  </a:cubicBezTo>
                  <a:cubicBezTo>
                    <a:pt x="715" y="2359"/>
                    <a:pt x="786" y="2275"/>
                    <a:pt x="786" y="2192"/>
                  </a:cubicBezTo>
                  <a:lnTo>
                    <a:pt x="786" y="1299"/>
                  </a:lnTo>
                  <a:lnTo>
                    <a:pt x="1667" y="1299"/>
                  </a:lnTo>
                  <a:cubicBezTo>
                    <a:pt x="1751" y="1299"/>
                    <a:pt x="1834" y="1228"/>
                    <a:pt x="1834" y="1132"/>
                  </a:cubicBezTo>
                  <a:cubicBezTo>
                    <a:pt x="1834" y="1132"/>
                    <a:pt x="1810" y="585"/>
                    <a:pt x="2322" y="299"/>
                  </a:cubicBezTo>
                  <a:cubicBezTo>
                    <a:pt x="2406" y="263"/>
                    <a:pt x="2441" y="168"/>
                    <a:pt x="2394" y="85"/>
                  </a:cubicBezTo>
                  <a:cubicBezTo>
                    <a:pt x="2362" y="30"/>
                    <a:pt x="2311" y="1"/>
                    <a:pt x="22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8" name="Google Shape;12228;p62"/>
            <p:cNvSpPr/>
            <p:nvPr/>
          </p:nvSpPr>
          <p:spPr>
            <a:xfrm>
              <a:off x="3226381" y="1499880"/>
              <a:ext cx="116279" cy="82661"/>
            </a:xfrm>
            <a:custGeom>
              <a:avLst/>
              <a:gdLst/>
              <a:ahLst/>
              <a:cxnLst/>
              <a:rect l="l" t="t" r="r" b="b"/>
              <a:pathLst>
                <a:path w="3656" h="2599" extrusionOk="0">
                  <a:moveTo>
                    <a:pt x="170" y="0"/>
                  </a:moveTo>
                  <a:cubicBezTo>
                    <a:pt x="83" y="0"/>
                    <a:pt x="12" y="67"/>
                    <a:pt x="12" y="144"/>
                  </a:cubicBezTo>
                  <a:cubicBezTo>
                    <a:pt x="0" y="239"/>
                    <a:pt x="71" y="323"/>
                    <a:pt x="155" y="323"/>
                  </a:cubicBezTo>
                  <a:cubicBezTo>
                    <a:pt x="631" y="370"/>
                    <a:pt x="1024" y="775"/>
                    <a:pt x="1024" y="1275"/>
                  </a:cubicBezTo>
                  <a:cubicBezTo>
                    <a:pt x="1024" y="1371"/>
                    <a:pt x="1095" y="1442"/>
                    <a:pt x="1191" y="1442"/>
                  </a:cubicBezTo>
                  <a:lnTo>
                    <a:pt x="2084" y="1442"/>
                  </a:lnTo>
                  <a:lnTo>
                    <a:pt x="2084" y="2168"/>
                  </a:lnTo>
                  <a:cubicBezTo>
                    <a:pt x="1965" y="2192"/>
                    <a:pt x="1822" y="2228"/>
                    <a:pt x="1738" y="2275"/>
                  </a:cubicBezTo>
                  <a:cubicBezTo>
                    <a:pt x="1643" y="2299"/>
                    <a:pt x="1619" y="2406"/>
                    <a:pt x="1643" y="2502"/>
                  </a:cubicBezTo>
                  <a:cubicBezTo>
                    <a:pt x="1669" y="2563"/>
                    <a:pt x="1735" y="2599"/>
                    <a:pt x="1801" y="2599"/>
                  </a:cubicBezTo>
                  <a:cubicBezTo>
                    <a:pt x="1824" y="2599"/>
                    <a:pt x="1848" y="2594"/>
                    <a:pt x="1869" y="2585"/>
                  </a:cubicBezTo>
                  <a:cubicBezTo>
                    <a:pt x="1988" y="2549"/>
                    <a:pt x="2107" y="2514"/>
                    <a:pt x="2238" y="2514"/>
                  </a:cubicBezTo>
                  <a:cubicBezTo>
                    <a:pt x="2334" y="2514"/>
                    <a:pt x="2405" y="2442"/>
                    <a:pt x="2405" y="2347"/>
                  </a:cubicBezTo>
                  <a:lnTo>
                    <a:pt x="2405" y="1454"/>
                  </a:lnTo>
                  <a:lnTo>
                    <a:pt x="3131" y="1454"/>
                  </a:lnTo>
                  <a:cubicBezTo>
                    <a:pt x="3167" y="1668"/>
                    <a:pt x="3227" y="1859"/>
                    <a:pt x="3346" y="2025"/>
                  </a:cubicBezTo>
                  <a:cubicBezTo>
                    <a:pt x="3376" y="2072"/>
                    <a:pt x="3427" y="2098"/>
                    <a:pt x="3485" y="2098"/>
                  </a:cubicBezTo>
                  <a:cubicBezTo>
                    <a:pt x="3516" y="2098"/>
                    <a:pt x="3550" y="2090"/>
                    <a:pt x="3584" y="2073"/>
                  </a:cubicBezTo>
                  <a:cubicBezTo>
                    <a:pt x="3643" y="2013"/>
                    <a:pt x="3655" y="1906"/>
                    <a:pt x="3620" y="1823"/>
                  </a:cubicBezTo>
                  <a:cubicBezTo>
                    <a:pt x="3500" y="1656"/>
                    <a:pt x="3453" y="1442"/>
                    <a:pt x="3453" y="1299"/>
                  </a:cubicBezTo>
                  <a:cubicBezTo>
                    <a:pt x="3453" y="1204"/>
                    <a:pt x="3381" y="1121"/>
                    <a:pt x="3286" y="1121"/>
                  </a:cubicBezTo>
                  <a:lnTo>
                    <a:pt x="1334" y="1121"/>
                  </a:lnTo>
                  <a:cubicBezTo>
                    <a:pt x="1262" y="525"/>
                    <a:pt x="774" y="61"/>
                    <a:pt x="191" y="1"/>
                  </a:cubicBezTo>
                  <a:cubicBezTo>
                    <a:pt x="183" y="0"/>
                    <a:pt x="177" y="0"/>
                    <a:pt x="1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9" name="Google Shape;12229;p62"/>
            <p:cNvSpPr/>
            <p:nvPr/>
          </p:nvSpPr>
          <p:spPr>
            <a:xfrm>
              <a:off x="3179786" y="1775216"/>
              <a:ext cx="86764" cy="46594"/>
            </a:xfrm>
            <a:custGeom>
              <a:avLst/>
              <a:gdLst/>
              <a:ahLst/>
              <a:cxnLst/>
              <a:rect l="l" t="t" r="r" b="b"/>
              <a:pathLst>
                <a:path w="2728" h="1465" extrusionOk="0">
                  <a:moveTo>
                    <a:pt x="1525" y="0"/>
                  </a:moveTo>
                  <a:cubicBezTo>
                    <a:pt x="870" y="0"/>
                    <a:pt x="322" y="500"/>
                    <a:pt x="239" y="1131"/>
                  </a:cubicBezTo>
                  <a:lnTo>
                    <a:pt x="167" y="1131"/>
                  </a:lnTo>
                  <a:cubicBezTo>
                    <a:pt x="84" y="1131"/>
                    <a:pt x="1" y="1215"/>
                    <a:pt x="1" y="1298"/>
                  </a:cubicBezTo>
                  <a:cubicBezTo>
                    <a:pt x="1" y="1393"/>
                    <a:pt x="84" y="1465"/>
                    <a:pt x="167" y="1465"/>
                  </a:cubicBezTo>
                  <a:lnTo>
                    <a:pt x="405" y="1465"/>
                  </a:lnTo>
                  <a:cubicBezTo>
                    <a:pt x="501" y="1465"/>
                    <a:pt x="584" y="1393"/>
                    <a:pt x="572" y="1286"/>
                  </a:cubicBezTo>
                  <a:cubicBezTo>
                    <a:pt x="560" y="798"/>
                    <a:pt x="953" y="322"/>
                    <a:pt x="1525" y="322"/>
                  </a:cubicBezTo>
                  <a:cubicBezTo>
                    <a:pt x="1882" y="322"/>
                    <a:pt x="2227" y="524"/>
                    <a:pt x="2382" y="857"/>
                  </a:cubicBezTo>
                  <a:cubicBezTo>
                    <a:pt x="2415" y="915"/>
                    <a:pt x="2471" y="950"/>
                    <a:pt x="2530" y="950"/>
                  </a:cubicBezTo>
                  <a:cubicBezTo>
                    <a:pt x="2556" y="950"/>
                    <a:pt x="2583" y="943"/>
                    <a:pt x="2608" y="929"/>
                  </a:cubicBezTo>
                  <a:cubicBezTo>
                    <a:pt x="2679" y="905"/>
                    <a:pt x="2727" y="810"/>
                    <a:pt x="2679" y="738"/>
                  </a:cubicBezTo>
                  <a:cubicBezTo>
                    <a:pt x="2477" y="286"/>
                    <a:pt x="2013" y="0"/>
                    <a:pt x="1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0" name="Google Shape;12230;p62"/>
            <p:cNvSpPr/>
            <p:nvPr/>
          </p:nvSpPr>
          <p:spPr>
            <a:xfrm>
              <a:off x="3154024" y="1712337"/>
              <a:ext cx="15203" cy="109473"/>
            </a:xfrm>
            <a:custGeom>
              <a:avLst/>
              <a:gdLst/>
              <a:ahLst/>
              <a:cxnLst/>
              <a:rect l="l" t="t" r="r" b="b"/>
              <a:pathLst>
                <a:path w="478" h="3442" extrusionOk="0">
                  <a:moveTo>
                    <a:pt x="156" y="1"/>
                  </a:moveTo>
                  <a:cubicBezTo>
                    <a:pt x="72" y="1"/>
                    <a:pt x="1" y="72"/>
                    <a:pt x="1" y="167"/>
                  </a:cubicBezTo>
                  <a:lnTo>
                    <a:pt x="1" y="3275"/>
                  </a:lnTo>
                  <a:cubicBezTo>
                    <a:pt x="1" y="3370"/>
                    <a:pt x="72" y="3442"/>
                    <a:pt x="156" y="3442"/>
                  </a:cubicBezTo>
                  <a:lnTo>
                    <a:pt x="310" y="3442"/>
                  </a:lnTo>
                  <a:cubicBezTo>
                    <a:pt x="394" y="3442"/>
                    <a:pt x="477" y="3370"/>
                    <a:pt x="477" y="3275"/>
                  </a:cubicBezTo>
                  <a:cubicBezTo>
                    <a:pt x="477" y="3203"/>
                    <a:pt x="418" y="3132"/>
                    <a:pt x="322" y="3108"/>
                  </a:cubicBezTo>
                  <a:lnTo>
                    <a:pt x="322" y="167"/>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31" name="Google Shape;12231;p62"/>
          <p:cNvSpPr/>
          <p:nvPr/>
        </p:nvSpPr>
        <p:spPr>
          <a:xfrm>
            <a:off x="3196834" y="1954214"/>
            <a:ext cx="118537" cy="373518"/>
          </a:xfrm>
          <a:custGeom>
            <a:avLst/>
            <a:gdLst/>
            <a:ahLst/>
            <a:cxnLst/>
            <a:rect l="l" t="t" r="r" b="b"/>
            <a:pathLst>
              <a:path w="3727" h="11744" extrusionOk="0">
                <a:moveTo>
                  <a:pt x="3273" y="1"/>
                </a:moveTo>
                <a:cubicBezTo>
                  <a:pt x="2520" y="1"/>
                  <a:pt x="1832" y="264"/>
                  <a:pt x="1239" y="802"/>
                </a:cubicBezTo>
                <a:cubicBezTo>
                  <a:pt x="762" y="1254"/>
                  <a:pt x="453" y="1790"/>
                  <a:pt x="286" y="2147"/>
                </a:cubicBezTo>
                <a:cubicBezTo>
                  <a:pt x="238" y="2230"/>
                  <a:pt x="286" y="2337"/>
                  <a:pt x="381" y="2385"/>
                </a:cubicBezTo>
                <a:cubicBezTo>
                  <a:pt x="404" y="2398"/>
                  <a:pt x="428" y="2404"/>
                  <a:pt x="452" y="2404"/>
                </a:cubicBezTo>
                <a:cubicBezTo>
                  <a:pt x="518" y="2404"/>
                  <a:pt x="585" y="2360"/>
                  <a:pt x="619" y="2290"/>
                </a:cubicBezTo>
                <a:cubicBezTo>
                  <a:pt x="1148" y="1163"/>
                  <a:pt x="2035" y="349"/>
                  <a:pt x="3314" y="349"/>
                </a:cubicBezTo>
                <a:cubicBezTo>
                  <a:pt x="3333" y="349"/>
                  <a:pt x="3351" y="349"/>
                  <a:pt x="3370" y="349"/>
                </a:cubicBezTo>
                <a:cubicBezTo>
                  <a:pt x="3084" y="694"/>
                  <a:pt x="2858" y="1040"/>
                  <a:pt x="2727" y="1421"/>
                </a:cubicBezTo>
                <a:cubicBezTo>
                  <a:pt x="2489" y="2135"/>
                  <a:pt x="2739" y="2564"/>
                  <a:pt x="2846" y="2814"/>
                </a:cubicBezTo>
                <a:cubicBezTo>
                  <a:pt x="3179" y="3611"/>
                  <a:pt x="2644" y="4540"/>
                  <a:pt x="1786" y="4588"/>
                </a:cubicBezTo>
                <a:cubicBezTo>
                  <a:pt x="1761" y="4588"/>
                  <a:pt x="1725" y="4589"/>
                  <a:pt x="1681" y="4589"/>
                </a:cubicBezTo>
                <a:cubicBezTo>
                  <a:pt x="1560" y="4589"/>
                  <a:pt x="1374" y="4577"/>
                  <a:pt x="1155" y="4481"/>
                </a:cubicBezTo>
                <a:cubicBezTo>
                  <a:pt x="584" y="4231"/>
                  <a:pt x="274" y="3576"/>
                  <a:pt x="393" y="2897"/>
                </a:cubicBezTo>
                <a:cubicBezTo>
                  <a:pt x="405" y="2814"/>
                  <a:pt x="346" y="2718"/>
                  <a:pt x="238" y="2695"/>
                </a:cubicBezTo>
                <a:cubicBezTo>
                  <a:pt x="231" y="2694"/>
                  <a:pt x="224" y="2693"/>
                  <a:pt x="217" y="2693"/>
                </a:cubicBezTo>
                <a:cubicBezTo>
                  <a:pt x="139" y="2693"/>
                  <a:pt x="58" y="2750"/>
                  <a:pt x="36" y="2837"/>
                </a:cubicBezTo>
                <a:cubicBezTo>
                  <a:pt x="24" y="2957"/>
                  <a:pt x="0" y="3064"/>
                  <a:pt x="0" y="3183"/>
                </a:cubicBezTo>
                <a:cubicBezTo>
                  <a:pt x="0" y="3826"/>
                  <a:pt x="298" y="4361"/>
                  <a:pt x="750" y="4659"/>
                </a:cubicBezTo>
                <a:cubicBezTo>
                  <a:pt x="393" y="6921"/>
                  <a:pt x="441" y="9553"/>
                  <a:pt x="1465" y="11612"/>
                </a:cubicBezTo>
                <a:cubicBezTo>
                  <a:pt x="1501" y="11684"/>
                  <a:pt x="1584" y="11743"/>
                  <a:pt x="1667" y="11743"/>
                </a:cubicBezTo>
                <a:cubicBezTo>
                  <a:pt x="1762" y="11743"/>
                  <a:pt x="1834" y="11696"/>
                  <a:pt x="1882" y="11612"/>
                </a:cubicBezTo>
                <a:cubicBezTo>
                  <a:pt x="2143" y="11077"/>
                  <a:pt x="2358" y="10457"/>
                  <a:pt x="2501" y="9803"/>
                </a:cubicBezTo>
                <a:cubicBezTo>
                  <a:pt x="2524" y="9719"/>
                  <a:pt x="2477" y="9612"/>
                  <a:pt x="2370" y="9600"/>
                </a:cubicBezTo>
                <a:cubicBezTo>
                  <a:pt x="2360" y="9599"/>
                  <a:pt x="2349" y="9598"/>
                  <a:pt x="2338" y="9598"/>
                </a:cubicBezTo>
                <a:cubicBezTo>
                  <a:pt x="2262" y="9598"/>
                  <a:pt x="2178" y="9637"/>
                  <a:pt x="2167" y="9731"/>
                </a:cubicBezTo>
                <a:cubicBezTo>
                  <a:pt x="2048" y="10267"/>
                  <a:pt x="1870" y="10779"/>
                  <a:pt x="1667" y="11231"/>
                </a:cubicBezTo>
                <a:cubicBezTo>
                  <a:pt x="1060" y="9862"/>
                  <a:pt x="869" y="8302"/>
                  <a:pt x="893" y="6814"/>
                </a:cubicBezTo>
                <a:lnTo>
                  <a:pt x="1155" y="6814"/>
                </a:lnTo>
                <a:cubicBezTo>
                  <a:pt x="1250" y="6814"/>
                  <a:pt x="1334" y="6743"/>
                  <a:pt x="1334" y="6636"/>
                </a:cubicBezTo>
                <a:cubicBezTo>
                  <a:pt x="1334" y="6552"/>
                  <a:pt x="1250" y="6457"/>
                  <a:pt x="1155" y="6457"/>
                </a:cubicBezTo>
                <a:lnTo>
                  <a:pt x="917" y="6457"/>
                </a:lnTo>
                <a:cubicBezTo>
                  <a:pt x="917" y="6397"/>
                  <a:pt x="929" y="6112"/>
                  <a:pt x="953" y="5838"/>
                </a:cubicBezTo>
                <a:lnTo>
                  <a:pt x="1584" y="5838"/>
                </a:lnTo>
                <a:cubicBezTo>
                  <a:pt x="1691" y="5838"/>
                  <a:pt x="1762" y="5755"/>
                  <a:pt x="1762" y="5659"/>
                </a:cubicBezTo>
                <a:cubicBezTo>
                  <a:pt x="1762" y="5552"/>
                  <a:pt x="1691" y="5481"/>
                  <a:pt x="1584" y="5481"/>
                </a:cubicBezTo>
                <a:lnTo>
                  <a:pt x="989" y="5481"/>
                </a:lnTo>
                <a:cubicBezTo>
                  <a:pt x="1012" y="5243"/>
                  <a:pt x="1048" y="5016"/>
                  <a:pt x="1072" y="4814"/>
                </a:cubicBezTo>
                <a:cubicBezTo>
                  <a:pt x="1250" y="4879"/>
                  <a:pt x="1456" y="4912"/>
                  <a:pt x="1661" y="4912"/>
                </a:cubicBezTo>
                <a:cubicBezTo>
                  <a:pt x="1867" y="4912"/>
                  <a:pt x="2072" y="4879"/>
                  <a:pt x="2251" y="4814"/>
                </a:cubicBezTo>
                <a:cubicBezTo>
                  <a:pt x="2286" y="5016"/>
                  <a:pt x="2310" y="5243"/>
                  <a:pt x="2346" y="5481"/>
                </a:cubicBezTo>
                <a:lnTo>
                  <a:pt x="2286" y="5481"/>
                </a:lnTo>
                <a:cubicBezTo>
                  <a:pt x="2191" y="5481"/>
                  <a:pt x="2108" y="5552"/>
                  <a:pt x="2108" y="5659"/>
                </a:cubicBezTo>
                <a:cubicBezTo>
                  <a:pt x="2108" y="5755"/>
                  <a:pt x="2179" y="5838"/>
                  <a:pt x="2286" y="5838"/>
                </a:cubicBezTo>
                <a:lnTo>
                  <a:pt x="2370" y="5838"/>
                </a:lnTo>
                <a:cubicBezTo>
                  <a:pt x="2382" y="6052"/>
                  <a:pt x="2405" y="6231"/>
                  <a:pt x="2417" y="6457"/>
                </a:cubicBezTo>
                <a:lnTo>
                  <a:pt x="1870" y="6457"/>
                </a:lnTo>
                <a:cubicBezTo>
                  <a:pt x="1774" y="6457"/>
                  <a:pt x="1691" y="6528"/>
                  <a:pt x="1691" y="6636"/>
                </a:cubicBezTo>
                <a:cubicBezTo>
                  <a:pt x="1691" y="6743"/>
                  <a:pt x="1762" y="6814"/>
                  <a:pt x="1870" y="6814"/>
                </a:cubicBezTo>
                <a:lnTo>
                  <a:pt x="2441" y="6814"/>
                </a:lnTo>
                <a:cubicBezTo>
                  <a:pt x="2465" y="7540"/>
                  <a:pt x="2429" y="8314"/>
                  <a:pt x="2310" y="9064"/>
                </a:cubicBezTo>
                <a:cubicBezTo>
                  <a:pt x="2298" y="9160"/>
                  <a:pt x="2358" y="9243"/>
                  <a:pt x="2465" y="9255"/>
                </a:cubicBezTo>
                <a:cubicBezTo>
                  <a:pt x="2476" y="9258"/>
                  <a:pt x="2487" y="9260"/>
                  <a:pt x="2498" y="9260"/>
                </a:cubicBezTo>
                <a:cubicBezTo>
                  <a:pt x="2572" y="9260"/>
                  <a:pt x="2645" y="9195"/>
                  <a:pt x="2655" y="9112"/>
                </a:cubicBezTo>
                <a:cubicBezTo>
                  <a:pt x="2882" y="7671"/>
                  <a:pt x="2834" y="6088"/>
                  <a:pt x="2596" y="4647"/>
                </a:cubicBezTo>
                <a:cubicBezTo>
                  <a:pt x="3191" y="4231"/>
                  <a:pt x="3477" y="3409"/>
                  <a:pt x="3179" y="2659"/>
                </a:cubicBezTo>
                <a:cubicBezTo>
                  <a:pt x="3072" y="2397"/>
                  <a:pt x="2691" y="1849"/>
                  <a:pt x="3417" y="849"/>
                </a:cubicBezTo>
                <a:cubicBezTo>
                  <a:pt x="3667" y="492"/>
                  <a:pt x="3727" y="492"/>
                  <a:pt x="3727" y="325"/>
                </a:cubicBezTo>
                <a:cubicBezTo>
                  <a:pt x="3727" y="147"/>
                  <a:pt x="3596" y="16"/>
                  <a:pt x="3417" y="4"/>
                </a:cubicBezTo>
                <a:cubicBezTo>
                  <a:pt x="3369" y="2"/>
                  <a:pt x="3321" y="1"/>
                  <a:pt x="3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32" name="Google Shape;12232;p62"/>
          <p:cNvGrpSpPr/>
          <p:nvPr/>
        </p:nvGrpSpPr>
        <p:grpSpPr>
          <a:xfrm>
            <a:off x="3485575" y="1999759"/>
            <a:ext cx="373772" cy="284050"/>
            <a:chOff x="3531200" y="1999759"/>
            <a:chExt cx="373772" cy="284050"/>
          </a:xfrm>
        </p:grpSpPr>
        <p:sp>
          <p:nvSpPr>
            <p:cNvPr id="12233" name="Google Shape;12233;p62"/>
            <p:cNvSpPr/>
            <p:nvPr/>
          </p:nvSpPr>
          <p:spPr>
            <a:xfrm>
              <a:off x="3531200" y="1999759"/>
              <a:ext cx="373772" cy="283669"/>
            </a:xfrm>
            <a:custGeom>
              <a:avLst/>
              <a:gdLst/>
              <a:ahLst/>
              <a:cxnLst/>
              <a:rect l="l" t="t" r="r" b="b"/>
              <a:pathLst>
                <a:path w="11752" h="8919" extrusionOk="0">
                  <a:moveTo>
                    <a:pt x="1024" y="1"/>
                  </a:moveTo>
                  <a:cubicBezTo>
                    <a:pt x="465" y="1"/>
                    <a:pt x="1" y="465"/>
                    <a:pt x="1" y="1024"/>
                  </a:cubicBezTo>
                  <a:lnTo>
                    <a:pt x="1" y="7847"/>
                  </a:lnTo>
                  <a:cubicBezTo>
                    <a:pt x="1" y="8418"/>
                    <a:pt x="477" y="8918"/>
                    <a:pt x="1072" y="8918"/>
                  </a:cubicBezTo>
                  <a:lnTo>
                    <a:pt x="4513" y="8918"/>
                  </a:lnTo>
                  <a:cubicBezTo>
                    <a:pt x="4596" y="8918"/>
                    <a:pt x="4692" y="8835"/>
                    <a:pt x="4692" y="8740"/>
                  </a:cubicBezTo>
                  <a:cubicBezTo>
                    <a:pt x="4692" y="8633"/>
                    <a:pt x="4608" y="8561"/>
                    <a:pt x="4513" y="8561"/>
                  </a:cubicBezTo>
                  <a:lnTo>
                    <a:pt x="1072" y="8561"/>
                  </a:lnTo>
                  <a:cubicBezTo>
                    <a:pt x="667" y="8561"/>
                    <a:pt x="358" y="8228"/>
                    <a:pt x="358" y="7847"/>
                  </a:cubicBezTo>
                  <a:lnTo>
                    <a:pt x="358" y="7763"/>
                  </a:lnTo>
                  <a:cubicBezTo>
                    <a:pt x="405" y="7430"/>
                    <a:pt x="679" y="7168"/>
                    <a:pt x="1024" y="7168"/>
                  </a:cubicBezTo>
                  <a:lnTo>
                    <a:pt x="1358" y="7168"/>
                  </a:lnTo>
                  <a:cubicBezTo>
                    <a:pt x="1441" y="7168"/>
                    <a:pt x="1536" y="7097"/>
                    <a:pt x="1536" y="6990"/>
                  </a:cubicBezTo>
                  <a:cubicBezTo>
                    <a:pt x="1536" y="6906"/>
                    <a:pt x="1453" y="6811"/>
                    <a:pt x="1358" y="6811"/>
                  </a:cubicBezTo>
                  <a:cubicBezTo>
                    <a:pt x="1335" y="6814"/>
                    <a:pt x="1308" y="6815"/>
                    <a:pt x="1278" y="6815"/>
                  </a:cubicBezTo>
                  <a:cubicBezTo>
                    <a:pt x="1231" y="6815"/>
                    <a:pt x="1176" y="6813"/>
                    <a:pt x="1114" y="6813"/>
                  </a:cubicBezTo>
                  <a:cubicBezTo>
                    <a:pt x="900" y="6813"/>
                    <a:pt x="612" y="6839"/>
                    <a:pt x="346" y="7073"/>
                  </a:cubicBezTo>
                  <a:cubicBezTo>
                    <a:pt x="358" y="679"/>
                    <a:pt x="322" y="1001"/>
                    <a:pt x="358" y="834"/>
                  </a:cubicBezTo>
                  <a:cubicBezTo>
                    <a:pt x="429" y="536"/>
                    <a:pt x="703" y="322"/>
                    <a:pt x="1013" y="322"/>
                  </a:cubicBezTo>
                  <a:lnTo>
                    <a:pt x="2441" y="322"/>
                  </a:lnTo>
                  <a:lnTo>
                    <a:pt x="2441" y="6811"/>
                  </a:lnTo>
                  <a:lnTo>
                    <a:pt x="2025" y="6811"/>
                  </a:lnTo>
                  <a:cubicBezTo>
                    <a:pt x="1929" y="6811"/>
                    <a:pt x="1846" y="6894"/>
                    <a:pt x="1846" y="6990"/>
                  </a:cubicBezTo>
                  <a:cubicBezTo>
                    <a:pt x="1846" y="7085"/>
                    <a:pt x="1917" y="7168"/>
                    <a:pt x="2025" y="7168"/>
                  </a:cubicBezTo>
                  <a:lnTo>
                    <a:pt x="2608" y="7168"/>
                  </a:lnTo>
                  <a:cubicBezTo>
                    <a:pt x="2644" y="7168"/>
                    <a:pt x="2691" y="7156"/>
                    <a:pt x="2727" y="7132"/>
                  </a:cubicBezTo>
                  <a:cubicBezTo>
                    <a:pt x="2751" y="7097"/>
                    <a:pt x="2763" y="7049"/>
                    <a:pt x="2763" y="7013"/>
                  </a:cubicBezTo>
                  <a:lnTo>
                    <a:pt x="2763" y="1203"/>
                  </a:lnTo>
                  <a:lnTo>
                    <a:pt x="11371" y="1203"/>
                  </a:lnTo>
                  <a:lnTo>
                    <a:pt x="11371" y="2787"/>
                  </a:lnTo>
                  <a:cubicBezTo>
                    <a:pt x="11371" y="2870"/>
                    <a:pt x="11442" y="2965"/>
                    <a:pt x="11550" y="2965"/>
                  </a:cubicBezTo>
                  <a:cubicBezTo>
                    <a:pt x="11633" y="2965"/>
                    <a:pt x="11728" y="2882"/>
                    <a:pt x="11728" y="2787"/>
                  </a:cubicBezTo>
                  <a:lnTo>
                    <a:pt x="11728" y="1036"/>
                  </a:lnTo>
                  <a:cubicBezTo>
                    <a:pt x="11752" y="941"/>
                    <a:pt x="11681" y="858"/>
                    <a:pt x="11597" y="858"/>
                  </a:cubicBezTo>
                  <a:lnTo>
                    <a:pt x="2810" y="858"/>
                  </a:lnTo>
                  <a:lnTo>
                    <a:pt x="2810" y="179"/>
                  </a:lnTo>
                  <a:cubicBezTo>
                    <a:pt x="2810" y="84"/>
                    <a:pt x="2739" y="1"/>
                    <a:pt x="2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4" name="Google Shape;12234;p62"/>
            <p:cNvSpPr/>
            <p:nvPr/>
          </p:nvSpPr>
          <p:spPr>
            <a:xfrm>
              <a:off x="3690638" y="2104652"/>
              <a:ext cx="214334" cy="179158"/>
            </a:xfrm>
            <a:custGeom>
              <a:avLst/>
              <a:gdLst/>
              <a:ahLst/>
              <a:cxnLst/>
              <a:rect l="l" t="t" r="r" b="b"/>
              <a:pathLst>
                <a:path w="6739" h="5633" extrusionOk="0">
                  <a:moveTo>
                    <a:pt x="6584" y="1"/>
                  </a:moveTo>
                  <a:cubicBezTo>
                    <a:pt x="6489" y="1"/>
                    <a:pt x="6406" y="84"/>
                    <a:pt x="6406" y="179"/>
                  </a:cubicBezTo>
                  <a:lnTo>
                    <a:pt x="6406" y="5275"/>
                  </a:lnTo>
                  <a:lnTo>
                    <a:pt x="179" y="5275"/>
                  </a:lnTo>
                  <a:cubicBezTo>
                    <a:pt x="95" y="5275"/>
                    <a:pt x="0" y="5346"/>
                    <a:pt x="0" y="5454"/>
                  </a:cubicBezTo>
                  <a:cubicBezTo>
                    <a:pt x="0" y="5549"/>
                    <a:pt x="72" y="5632"/>
                    <a:pt x="179" y="5632"/>
                  </a:cubicBezTo>
                  <a:lnTo>
                    <a:pt x="6560" y="5632"/>
                  </a:lnTo>
                  <a:cubicBezTo>
                    <a:pt x="6656" y="5632"/>
                    <a:pt x="6739" y="5549"/>
                    <a:pt x="6739" y="5454"/>
                  </a:cubicBezTo>
                  <a:lnTo>
                    <a:pt x="6739" y="179"/>
                  </a:lnTo>
                  <a:cubicBezTo>
                    <a:pt x="6739" y="84"/>
                    <a:pt x="6668" y="1"/>
                    <a:pt x="6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5" name="Google Shape;12235;p62"/>
            <p:cNvSpPr/>
            <p:nvPr/>
          </p:nvSpPr>
          <p:spPr>
            <a:xfrm>
              <a:off x="3631163" y="2148193"/>
              <a:ext cx="259433" cy="84856"/>
            </a:xfrm>
            <a:custGeom>
              <a:avLst/>
              <a:gdLst/>
              <a:ahLst/>
              <a:cxnLst/>
              <a:rect l="l" t="t" r="r" b="b"/>
              <a:pathLst>
                <a:path w="8157" h="2668" extrusionOk="0">
                  <a:moveTo>
                    <a:pt x="179" y="1"/>
                  </a:moveTo>
                  <a:cubicBezTo>
                    <a:pt x="84" y="1"/>
                    <a:pt x="1" y="84"/>
                    <a:pt x="1" y="179"/>
                  </a:cubicBezTo>
                  <a:lnTo>
                    <a:pt x="1" y="2489"/>
                  </a:lnTo>
                  <a:cubicBezTo>
                    <a:pt x="1" y="2584"/>
                    <a:pt x="72" y="2668"/>
                    <a:pt x="179" y="2668"/>
                  </a:cubicBezTo>
                  <a:lnTo>
                    <a:pt x="4954" y="2668"/>
                  </a:lnTo>
                  <a:cubicBezTo>
                    <a:pt x="5037" y="2668"/>
                    <a:pt x="5132" y="2596"/>
                    <a:pt x="5132" y="2489"/>
                  </a:cubicBezTo>
                  <a:cubicBezTo>
                    <a:pt x="5132" y="2382"/>
                    <a:pt x="5061" y="2311"/>
                    <a:pt x="4954" y="2311"/>
                  </a:cubicBezTo>
                  <a:lnTo>
                    <a:pt x="358" y="2311"/>
                  </a:lnTo>
                  <a:lnTo>
                    <a:pt x="358" y="346"/>
                  </a:lnTo>
                  <a:lnTo>
                    <a:pt x="501" y="346"/>
                  </a:lnTo>
                  <a:lnTo>
                    <a:pt x="501" y="1227"/>
                  </a:lnTo>
                  <a:cubicBezTo>
                    <a:pt x="501" y="1310"/>
                    <a:pt x="572" y="1406"/>
                    <a:pt x="679" y="1406"/>
                  </a:cubicBezTo>
                  <a:cubicBezTo>
                    <a:pt x="787" y="1406"/>
                    <a:pt x="858" y="1334"/>
                    <a:pt x="858" y="1227"/>
                  </a:cubicBezTo>
                  <a:lnTo>
                    <a:pt x="858" y="346"/>
                  </a:lnTo>
                  <a:lnTo>
                    <a:pt x="1072" y="346"/>
                  </a:lnTo>
                  <a:lnTo>
                    <a:pt x="1072" y="739"/>
                  </a:lnTo>
                  <a:cubicBezTo>
                    <a:pt x="1072" y="822"/>
                    <a:pt x="1144" y="918"/>
                    <a:pt x="1251" y="918"/>
                  </a:cubicBezTo>
                  <a:cubicBezTo>
                    <a:pt x="1346" y="918"/>
                    <a:pt x="1430" y="834"/>
                    <a:pt x="1430" y="739"/>
                  </a:cubicBezTo>
                  <a:lnTo>
                    <a:pt x="1430" y="346"/>
                  </a:lnTo>
                  <a:lnTo>
                    <a:pt x="1632" y="346"/>
                  </a:lnTo>
                  <a:lnTo>
                    <a:pt x="1632" y="739"/>
                  </a:lnTo>
                  <a:cubicBezTo>
                    <a:pt x="1632" y="822"/>
                    <a:pt x="1703" y="918"/>
                    <a:pt x="1811" y="918"/>
                  </a:cubicBezTo>
                  <a:cubicBezTo>
                    <a:pt x="1918" y="918"/>
                    <a:pt x="1989" y="834"/>
                    <a:pt x="1989" y="739"/>
                  </a:cubicBezTo>
                  <a:lnTo>
                    <a:pt x="1989" y="346"/>
                  </a:lnTo>
                  <a:lnTo>
                    <a:pt x="2203" y="346"/>
                  </a:lnTo>
                  <a:lnTo>
                    <a:pt x="2203" y="739"/>
                  </a:lnTo>
                  <a:cubicBezTo>
                    <a:pt x="2203" y="822"/>
                    <a:pt x="2275" y="918"/>
                    <a:pt x="2382" y="918"/>
                  </a:cubicBezTo>
                  <a:cubicBezTo>
                    <a:pt x="2477" y="918"/>
                    <a:pt x="2561" y="834"/>
                    <a:pt x="2561" y="739"/>
                  </a:cubicBezTo>
                  <a:lnTo>
                    <a:pt x="2561" y="346"/>
                  </a:lnTo>
                  <a:lnTo>
                    <a:pt x="2763" y="346"/>
                  </a:lnTo>
                  <a:lnTo>
                    <a:pt x="2763" y="1227"/>
                  </a:lnTo>
                  <a:cubicBezTo>
                    <a:pt x="2763" y="1310"/>
                    <a:pt x="2834" y="1406"/>
                    <a:pt x="2942" y="1406"/>
                  </a:cubicBezTo>
                  <a:cubicBezTo>
                    <a:pt x="3049" y="1406"/>
                    <a:pt x="3120" y="1334"/>
                    <a:pt x="3120" y="1227"/>
                  </a:cubicBezTo>
                  <a:lnTo>
                    <a:pt x="3120" y="346"/>
                  </a:lnTo>
                  <a:lnTo>
                    <a:pt x="3335" y="346"/>
                  </a:lnTo>
                  <a:lnTo>
                    <a:pt x="3335" y="739"/>
                  </a:lnTo>
                  <a:cubicBezTo>
                    <a:pt x="3335" y="822"/>
                    <a:pt x="3406" y="918"/>
                    <a:pt x="3513" y="918"/>
                  </a:cubicBezTo>
                  <a:cubicBezTo>
                    <a:pt x="3608" y="918"/>
                    <a:pt x="3692" y="834"/>
                    <a:pt x="3692" y="739"/>
                  </a:cubicBezTo>
                  <a:lnTo>
                    <a:pt x="3692" y="346"/>
                  </a:lnTo>
                  <a:lnTo>
                    <a:pt x="3894" y="346"/>
                  </a:lnTo>
                  <a:lnTo>
                    <a:pt x="3894" y="739"/>
                  </a:lnTo>
                  <a:cubicBezTo>
                    <a:pt x="3894" y="822"/>
                    <a:pt x="3966" y="918"/>
                    <a:pt x="4073" y="918"/>
                  </a:cubicBezTo>
                  <a:cubicBezTo>
                    <a:pt x="4168" y="918"/>
                    <a:pt x="4251" y="834"/>
                    <a:pt x="4251" y="739"/>
                  </a:cubicBezTo>
                  <a:lnTo>
                    <a:pt x="4251" y="346"/>
                  </a:lnTo>
                  <a:lnTo>
                    <a:pt x="4466" y="346"/>
                  </a:lnTo>
                  <a:lnTo>
                    <a:pt x="4466" y="739"/>
                  </a:lnTo>
                  <a:cubicBezTo>
                    <a:pt x="4466" y="822"/>
                    <a:pt x="4537" y="918"/>
                    <a:pt x="4644" y="918"/>
                  </a:cubicBezTo>
                  <a:cubicBezTo>
                    <a:pt x="4739" y="918"/>
                    <a:pt x="4823" y="834"/>
                    <a:pt x="4823" y="739"/>
                  </a:cubicBezTo>
                  <a:lnTo>
                    <a:pt x="4823" y="346"/>
                  </a:lnTo>
                  <a:lnTo>
                    <a:pt x="5025" y="346"/>
                  </a:lnTo>
                  <a:lnTo>
                    <a:pt x="5025" y="1227"/>
                  </a:lnTo>
                  <a:cubicBezTo>
                    <a:pt x="5025" y="1310"/>
                    <a:pt x="5097" y="1406"/>
                    <a:pt x="5204" y="1406"/>
                  </a:cubicBezTo>
                  <a:cubicBezTo>
                    <a:pt x="5311" y="1406"/>
                    <a:pt x="5382" y="1334"/>
                    <a:pt x="5382" y="1227"/>
                  </a:cubicBezTo>
                  <a:lnTo>
                    <a:pt x="5382" y="346"/>
                  </a:lnTo>
                  <a:lnTo>
                    <a:pt x="5597" y="346"/>
                  </a:lnTo>
                  <a:lnTo>
                    <a:pt x="5597" y="739"/>
                  </a:lnTo>
                  <a:cubicBezTo>
                    <a:pt x="5597" y="822"/>
                    <a:pt x="5668" y="918"/>
                    <a:pt x="5775" y="918"/>
                  </a:cubicBezTo>
                  <a:cubicBezTo>
                    <a:pt x="5871" y="918"/>
                    <a:pt x="5954" y="834"/>
                    <a:pt x="5954" y="739"/>
                  </a:cubicBezTo>
                  <a:lnTo>
                    <a:pt x="5954" y="346"/>
                  </a:lnTo>
                  <a:lnTo>
                    <a:pt x="6156" y="346"/>
                  </a:lnTo>
                  <a:lnTo>
                    <a:pt x="6156" y="739"/>
                  </a:lnTo>
                  <a:cubicBezTo>
                    <a:pt x="6156" y="822"/>
                    <a:pt x="6228" y="918"/>
                    <a:pt x="6335" y="918"/>
                  </a:cubicBezTo>
                  <a:cubicBezTo>
                    <a:pt x="6442" y="918"/>
                    <a:pt x="6514" y="834"/>
                    <a:pt x="6514" y="739"/>
                  </a:cubicBezTo>
                  <a:lnTo>
                    <a:pt x="6514" y="346"/>
                  </a:lnTo>
                  <a:lnTo>
                    <a:pt x="6728" y="346"/>
                  </a:lnTo>
                  <a:lnTo>
                    <a:pt x="6728" y="739"/>
                  </a:lnTo>
                  <a:cubicBezTo>
                    <a:pt x="6728" y="822"/>
                    <a:pt x="6799" y="918"/>
                    <a:pt x="6906" y="918"/>
                  </a:cubicBezTo>
                  <a:cubicBezTo>
                    <a:pt x="7002" y="918"/>
                    <a:pt x="7085" y="834"/>
                    <a:pt x="7085" y="739"/>
                  </a:cubicBezTo>
                  <a:lnTo>
                    <a:pt x="7085" y="346"/>
                  </a:lnTo>
                  <a:lnTo>
                    <a:pt x="7287" y="346"/>
                  </a:lnTo>
                  <a:lnTo>
                    <a:pt x="7287" y="1227"/>
                  </a:lnTo>
                  <a:cubicBezTo>
                    <a:pt x="7287" y="1310"/>
                    <a:pt x="7359" y="1406"/>
                    <a:pt x="7466" y="1406"/>
                  </a:cubicBezTo>
                  <a:cubicBezTo>
                    <a:pt x="7573" y="1406"/>
                    <a:pt x="7645" y="1334"/>
                    <a:pt x="7645" y="1227"/>
                  </a:cubicBezTo>
                  <a:lnTo>
                    <a:pt x="7645" y="346"/>
                  </a:lnTo>
                  <a:lnTo>
                    <a:pt x="7799" y="346"/>
                  </a:lnTo>
                  <a:lnTo>
                    <a:pt x="7799" y="2311"/>
                  </a:lnTo>
                  <a:lnTo>
                    <a:pt x="5835" y="2311"/>
                  </a:lnTo>
                  <a:cubicBezTo>
                    <a:pt x="5740" y="2311"/>
                    <a:pt x="5656" y="2382"/>
                    <a:pt x="5656" y="2489"/>
                  </a:cubicBezTo>
                  <a:cubicBezTo>
                    <a:pt x="5656" y="2596"/>
                    <a:pt x="5728" y="2668"/>
                    <a:pt x="5835" y="2668"/>
                  </a:cubicBezTo>
                  <a:lnTo>
                    <a:pt x="7978" y="2668"/>
                  </a:lnTo>
                  <a:cubicBezTo>
                    <a:pt x="8061" y="2668"/>
                    <a:pt x="8157" y="2596"/>
                    <a:pt x="8157" y="2489"/>
                  </a:cubicBezTo>
                  <a:lnTo>
                    <a:pt x="8157" y="179"/>
                  </a:lnTo>
                  <a:cubicBezTo>
                    <a:pt x="7954" y="96"/>
                    <a:pt x="7883"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6" name="Google Shape;12236;p62"/>
            <p:cNvSpPr/>
            <p:nvPr/>
          </p:nvSpPr>
          <p:spPr>
            <a:xfrm>
              <a:off x="3639496" y="2058089"/>
              <a:ext cx="206414" cy="73120"/>
            </a:xfrm>
            <a:custGeom>
              <a:avLst/>
              <a:gdLst/>
              <a:ahLst/>
              <a:cxnLst/>
              <a:rect l="l" t="t" r="r" b="b"/>
              <a:pathLst>
                <a:path w="6490" h="2299" extrusionOk="0">
                  <a:moveTo>
                    <a:pt x="179" y="0"/>
                  </a:moveTo>
                  <a:cubicBezTo>
                    <a:pt x="84" y="0"/>
                    <a:pt x="1" y="72"/>
                    <a:pt x="1" y="179"/>
                  </a:cubicBezTo>
                  <a:cubicBezTo>
                    <a:pt x="1" y="274"/>
                    <a:pt x="72" y="357"/>
                    <a:pt x="179" y="357"/>
                  </a:cubicBezTo>
                  <a:lnTo>
                    <a:pt x="3013" y="357"/>
                  </a:lnTo>
                  <a:cubicBezTo>
                    <a:pt x="3168" y="357"/>
                    <a:pt x="3311" y="488"/>
                    <a:pt x="3311" y="655"/>
                  </a:cubicBezTo>
                  <a:lnTo>
                    <a:pt x="3311" y="691"/>
                  </a:lnTo>
                  <a:cubicBezTo>
                    <a:pt x="3311" y="857"/>
                    <a:pt x="3168" y="988"/>
                    <a:pt x="3013" y="988"/>
                  </a:cubicBezTo>
                  <a:lnTo>
                    <a:pt x="2799" y="988"/>
                  </a:lnTo>
                  <a:cubicBezTo>
                    <a:pt x="2442" y="988"/>
                    <a:pt x="2144" y="1286"/>
                    <a:pt x="2144" y="1643"/>
                  </a:cubicBezTo>
                  <a:cubicBezTo>
                    <a:pt x="2144" y="2000"/>
                    <a:pt x="2442" y="2298"/>
                    <a:pt x="2799" y="2298"/>
                  </a:cubicBezTo>
                  <a:lnTo>
                    <a:pt x="6311" y="2298"/>
                  </a:lnTo>
                  <a:cubicBezTo>
                    <a:pt x="6406" y="2298"/>
                    <a:pt x="6490" y="2227"/>
                    <a:pt x="6490" y="2119"/>
                  </a:cubicBezTo>
                  <a:cubicBezTo>
                    <a:pt x="6490" y="2024"/>
                    <a:pt x="6418" y="1941"/>
                    <a:pt x="6311" y="1941"/>
                  </a:cubicBezTo>
                  <a:lnTo>
                    <a:pt x="2799" y="1941"/>
                  </a:lnTo>
                  <a:cubicBezTo>
                    <a:pt x="2632" y="1941"/>
                    <a:pt x="2501" y="1810"/>
                    <a:pt x="2501" y="1643"/>
                  </a:cubicBezTo>
                  <a:cubicBezTo>
                    <a:pt x="2501" y="1488"/>
                    <a:pt x="2632" y="1346"/>
                    <a:pt x="2799" y="1346"/>
                  </a:cubicBezTo>
                  <a:lnTo>
                    <a:pt x="3013" y="1346"/>
                  </a:lnTo>
                  <a:cubicBezTo>
                    <a:pt x="3358" y="1346"/>
                    <a:pt x="3656" y="1048"/>
                    <a:pt x="3656" y="691"/>
                  </a:cubicBezTo>
                  <a:lnTo>
                    <a:pt x="3656" y="655"/>
                  </a:lnTo>
                  <a:cubicBezTo>
                    <a:pt x="3656" y="298"/>
                    <a:pt x="3358" y="0"/>
                    <a:pt x="30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37" name="Google Shape;12237;p62"/>
          <p:cNvGrpSpPr/>
          <p:nvPr/>
        </p:nvGrpSpPr>
        <p:grpSpPr>
          <a:xfrm>
            <a:off x="2667058" y="1500293"/>
            <a:ext cx="330231" cy="359015"/>
            <a:chOff x="2667058" y="1500293"/>
            <a:chExt cx="330231" cy="359015"/>
          </a:xfrm>
        </p:grpSpPr>
        <p:sp>
          <p:nvSpPr>
            <p:cNvPr id="12238" name="Google Shape;12238;p62"/>
            <p:cNvSpPr/>
            <p:nvPr/>
          </p:nvSpPr>
          <p:spPr>
            <a:xfrm>
              <a:off x="2944239" y="1581714"/>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9" name="Google Shape;12239;p62"/>
            <p:cNvSpPr/>
            <p:nvPr/>
          </p:nvSpPr>
          <p:spPr>
            <a:xfrm>
              <a:off x="2667058" y="1500293"/>
              <a:ext cx="330231" cy="359015"/>
            </a:xfrm>
            <a:custGeom>
              <a:avLst/>
              <a:gdLst/>
              <a:ahLst/>
              <a:cxnLst/>
              <a:rect l="l" t="t" r="r" b="b"/>
              <a:pathLst>
                <a:path w="10383" h="11288" extrusionOk="0">
                  <a:moveTo>
                    <a:pt x="1036" y="322"/>
                  </a:moveTo>
                  <a:lnTo>
                    <a:pt x="1036" y="1048"/>
                  </a:lnTo>
                  <a:lnTo>
                    <a:pt x="322" y="1048"/>
                  </a:lnTo>
                  <a:lnTo>
                    <a:pt x="322" y="322"/>
                  </a:lnTo>
                  <a:close/>
                  <a:moveTo>
                    <a:pt x="5561" y="334"/>
                  </a:moveTo>
                  <a:lnTo>
                    <a:pt x="5561" y="1048"/>
                  </a:lnTo>
                  <a:lnTo>
                    <a:pt x="4846" y="1048"/>
                  </a:lnTo>
                  <a:lnTo>
                    <a:pt x="4846" y="334"/>
                  </a:lnTo>
                  <a:close/>
                  <a:moveTo>
                    <a:pt x="10049" y="334"/>
                  </a:moveTo>
                  <a:lnTo>
                    <a:pt x="10049" y="1048"/>
                  </a:lnTo>
                  <a:lnTo>
                    <a:pt x="9335" y="1048"/>
                  </a:lnTo>
                  <a:lnTo>
                    <a:pt x="9335" y="334"/>
                  </a:lnTo>
                  <a:close/>
                  <a:moveTo>
                    <a:pt x="8799" y="1905"/>
                  </a:moveTo>
                  <a:lnTo>
                    <a:pt x="8799" y="1905"/>
                  </a:lnTo>
                  <a:cubicBezTo>
                    <a:pt x="8740" y="2381"/>
                    <a:pt x="8728" y="2536"/>
                    <a:pt x="8728" y="2560"/>
                  </a:cubicBezTo>
                  <a:lnTo>
                    <a:pt x="8549" y="2381"/>
                  </a:lnTo>
                  <a:lnTo>
                    <a:pt x="8311" y="2143"/>
                  </a:lnTo>
                  <a:lnTo>
                    <a:pt x="8132" y="1965"/>
                  </a:lnTo>
                  <a:lnTo>
                    <a:pt x="8132" y="1965"/>
                  </a:lnTo>
                  <a:cubicBezTo>
                    <a:pt x="8140" y="1967"/>
                    <a:pt x="8153" y="1969"/>
                    <a:pt x="8173" y="1969"/>
                  </a:cubicBezTo>
                  <a:cubicBezTo>
                    <a:pt x="8242" y="1969"/>
                    <a:pt x="8402" y="1951"/>
                    <a:pt x="8799" y="1905"/>
                  </a:cubicBezTo>
                  <a:close/>
                  <a:moveTo>
                    <a:pt x="7061" y="3048"/>
                  </a:moveTo>
                  <a:lnTo>
                    <a:pt x="7656" y="3644"/>
                  </a:lnTo>
                  <a:cubicBezTo>
                    <a:pt x="7156" y="3703"/>
                    <a:pt x="7347" y="3679"/>
                    <a:pt x="6989" y="3727"/>
                  </a:cubicBezTo>
                  <a:cubicBezTo>
                    <a:pt x="6989" y="3727"/>
                    <a:pt x="7001" y="3644"/>
                    <a:pt x="7061" y="3048"/>
                  </a:cubicBezTo>
                  <a:close/>
                  <a:moveTo>
                    <a:pt x="1036" y="5299"/>
                  </a:moveTo>
                  <a:lnTo>
                    <a:pt x="1036" y="6013"/>
                  </a:lnTo>
                  <a:lnTo>
                    <a:pt x="322" y="6013"/>
                  </a:lnTo>
                  <a:lnTo>
                    <a:pt x="322" y="5299"/>
                  </a:lnTo>
                  <a:close/>
                  <a:moveTo>
                    <a:pt x="10049" y="5299"/>
                  </a:moveTo>
                  <a:lnTo>
                    <a:pt x="10049" y="6013"/>
                  </a:lnTo>
                  <a:lnTo>
                    <a:pt x="9335" y="6013"/>
                  </a:lnTo>
                  <a:lnTo>
                    <a:pt x="9335" y="5299"/>
                  </a:lnTo>
                  <a:close/>
                  <a:moveTo>
                    <a:pt x="6728" y="3227"/>
                  </a:moveTo>
                  <a:lnTo>
                    <a:pt x="6656" y="3894"/>
                  </a:lnTo>
                  <a:cubicBezTo>
                    <a:pt x="6644" y="4001"/>
                    <a:pt x="6751" y="4096"/>
                    <a:pt x="6847" y="4096"/>
                  </a:cubicBezTo>
                  <a:lnTo>
                    <a:pt x="7418" y="4036"/>
                  </a:lnTo>
                  <a:lnTo>
                    <a:pt x="7418" y="10418"/>
                  </a:lnTo>
                  <a:lnTo>
                    <a:pt x="5906" y="10418"/>
                  </a:lnTo>
                  <a:lnTo>
                    <a:pt x="5906" y="10061"/>
                  </a:lnTo>
                  <a:cubicBezTo>
                    <a:pt x="5906" y="9978"/>
                    <a:pt x="5823" y="9894"/>
                    <a:pt x="5739" y="9894"/>
                  </a:cubicBezTo>
                  <a:lnTo>
                    <a:pt x="4680" y="9894"/>
                  </a:lnTo>
                  <a:cubicBezTo>
                    <a:pt x="4596" y="9894"/>
                    <a:pt x="4513" y="9978"/>
                    <a:pt x="4513" y="10061"/>
                  </a:cubicBezTo>
                  <a:lnTo>
                    <a:pt x="4513" y="10418"/>
                  </a:lnTo>
                  <a:lnTo>
                    <a:pt x="1394" y="10418"/>
                  </a:lnTo>
                  <a:lnTo>
                    <a:pt x="1394" y="10061"/>
                  </a:lnTo>
                  <a:cubicBezTo>
                    <a:pt x="1394" y="9978"/>
                    <a:pt x="1322" y="9894"/>
                    <a:pt x="1227" y="9894"/>
                  </a:cubicBezTo>
                  <a:lnTo>
                    <a:pt x="870" y="9894"/>
                  </a:lnTo>
                  <a:lnTo>
                    <a:pt x="870" y="6346"/>
                  </a:lnTo>
                  <a:lnTo>
                    <a:pt x="1227" y="6346"/>
                  </a:lnTo>
                  <a:cubicBezTo>
                    <a:pt x="1322" y="6346"/>
                    <a:pt x="1394" y="6263"/>
                    <a:pt x="1394" y="6180"/>
                  </a:cubicBezTo>
                  <a:lnTo>
                    <a:pt x="1394" y="5120"/>
                  </a:lnTo>
                  <a:cubicBezTo>
                    <a:pt x="1394" y="5025"/>
                    <a:pt x="1322" y="4953"/>
                    <a:pt x="1227" y="4953"/>
                  </a:cubicBezTo>
                  <a:lnTo>
                    <a:pt x="870" y="4953"/>
                  </a:lnTo>
                  <a:lnTo>
                    <a:pt x="870" y="3227"/>
                  </a:lnTo>
                  <a:close/>
                  <a:moveTo>
                    <a:pt x="9002" y="834"/>
                  </a:moveTo>
                  <a:lnTo>
                    <a:pt x="9002" y="1191"/>
                  </a:lnTo>
                  <a:cubicBezTo>
                    <a:pt x="9002" y="1274"/>
                    <a:pt x="9073" y="1358"/>
                    <a:pt x="9156" y="1358"/>
                  </a:cubicBezTo>
                  <a:lnTo>
                    <a:pt x="9514" y="1358"/>
                  </a:lnTo>
                  <a:lnTo>
                    <a:pt x="9514" y="4929"/>
                  </a:lnTo>
                  <a:lnTo>
                    <a:pt x="9156" y="4929"/>
                  </a:lnTo>
                  <a:cubicBezTo>
                    <a:pt x="9073" y="4929"/>
                    <a:pt x="9002" y="5001"/>
                    <a:pt x="9002" y="5084"/>
                  </a:cubicBezTo>
                  <a:lnTo>
                    <a:pt x="9002" y="6144"/>
                  </a:lnTo>
                  <a:cubicBezTo>
                    <a:pt x="9002" y="6239"/>
                    <a:pt x="9073" y="6311"/>
                    <a:pt x="9156" y="6311"/>
                  </a:cubicBezTo>
                  <a:lnTo>
                    <a:pt x="9514" y="6311"/>
                  </a:lnTo>
                  <a:lnTo>
                    <a:pt x="9514" y="9870"/>
                  </a:lnTo>
                  <a:lnTo>
                    <a:pt x="9156" y="9870"/>
                  </a:lnTo>
                  <a:cubicBezTo>
                    <a:pt x="9073" y="9894"/>
                    <a:pt x="9002" y="9978"/>
                    <a:pt x="9002" y="10061"/>
                  </a:cubicBezTo>
                  <a:lnTo>
                    <a:pt x="9002" y="10418"/>
                  </a:lnTo>
                  <a:lnTo>
                    <a:pt x="7716" y="10418"/>
                  </a:lnTo>
                  <a:lnTo>
                    <a:pt x="7716" y="3977"/>
                  </a:lnTo>
                  <a:lnTo>
                    <a:pt x="8049" y="3929"/>
                  </a:lnTo>
                  <a:cubicBezTo>
                    <a:pt x="8180" y="3917"/>
                    <a:pt x="8240" y="3739"/>
                    <a:pt x="8144" y="3644"/>
                  </a:cubicBezTo>
                  <a:lnTo>
                    <a:pt x="7728" y="3227"/>
                  </a:lnTo>
                  <a:lnTo>
                    <a:pt x="8323" y="2632"/>
                  </a:lnTo>
                  <a:cubicBezTo>
                    <a:pt x="8728" y="3024"/>
                    <a:pt x="8740" y="3096"/>
                    <a:pt x="8859" y="3096"/>
                  </a:cubicBezTo>
                  <a:cubicBezTo>
                    <a:pt x="8954" y="3096"/>
                    <a:pt x="9025" y="3036"/>
                    <a:pt x="9025" y="2953"/>
                  </a:cubicBezTo>
                  <a:lnTo>
                    <a:pt x="9025" y="2929"/>
                  </a:lnTo>
                  <a:cubicBezTo>
                    <a:pt x="9025" y="2882"/>
                    <a:pt x="9061" y="2667"/>
                    <a:pt x="9180" y="1715"/>
                  </a:cubicBezTo>
                  <a:cubicBezTo>
                    <a:pt x="9192" y="1608"/>
                    <a:pt x="9097" y="1512"/>
                    <a:pt x="8978" y="1512"/>
                  </a:cubicBezTo>
                  <a:lnTo>
                    <a:pt x="7763" y="1667"/>
                  </a:lnTo>
                  <a:cubicBezTo>
                    <a:pt x="7632" y="1679"/>
                    <a:pt x="7573" y="1858"/>
                    <a:pt x="7656" y="1953"/>
                  </a:cubicBezTo>
                  <a:lnTo>
                    <a:pt x="8085" y="2381"/>
                  </a:lnTo>
                  <a:lnTo>
                    <a:pt x="7513" y="2965"/>
                  </a:lnTo>
                  <a:lnTo>
                    <a:pt x="7406" y="2858"/>
                  </a:lnTo>
                  <a:lnTo>
                    <a:pt x="7073" y="2524"/>
                  </a:lnTo>
                  <a:cubicBezTo>
                    <a:pt x="7041" y="2493"/>
                    <a:pt x="7001" y="2478"/>
                    <a:pt x="6962" y="2478"/>
                  </a:cubicBezTo>
                  <a:cubicBezTo>
                    <a:pt x="6884" y="2478"/>
                    <a:pt x="6807" y="2536"/>
                    <a:pt x="6799" y="2632"/>
                  </a:cubicBezTo>
                  <a:lnTo>
                    <a:pt x="6763" y="2858"/>
                  </a:lnTo>
                  <a:lnTo>
                    <a:pt x="870" y="2858"/>
                  </a:lnTo>
                  <a:lnTo>
                    <a:pt x="870" y="1358"/>
                  </a:lnTo>
                  <a:lnTo>
                    <a:pt x="1227" y="1358"/>
                  </a:lnTo>
                  <a:cubicBezTo>
                    <a:pt x="1322" y="1358"/>
                    <a:pt x="1394" y="1274"/>
                    <a:pt x="1394" y="1191"/>
                  </a:cubicBezTo>
                  <a:lnTo>
                    <a:pt x="1394" y="834"/>
                  </a:lnTo>
                  <a:lnTo>
                    <a:pt x="4513" y="834"/>
                  </a:lnTo>
                  <a:lnTo>
                    <a:pt x="4513" y="1191"/>
                  </a:lnTo>
                  <a:cubicBezTo>
                    <a:pt x="4513" y="1274"/>
                    <a:pt x="4596" y="1358"/>
                    <a:pt x="4680" y="1358"/>
                  </a:cubicBezTo>
                  <a:lnTo>
                    <a:pt x="5739" y="1358"/>
                  </a:lnTo>
                  <a:cubicBezTo>
                    <a:pt x="5823" y="1358"/>
                    <a:pt x="5906" y="1274"/>
                    <a:pt x="5906" y="1191"/>
                  </a:cubicBezTo>
                  <a:lnTo>
                    <a:pt x="5906" y="834"/>
                  </a:lnTo>
                  <a:close/>
                  <a:moveTo>
                    <a:pt x="1036" y="10228"/>
                  </a:moveTo>
                  <a:lnTo>
                    <a:pt x="1036" y="10942"/>
                  </a:lnTo>
                  <a:lnTo>
                    <a:pt x="322" y="10942"/>
                  </a:lnTo>
                  <a:lnTo>
                    <a:pt x="322" y="10228"/>
                  </a:lnTo>
                  <a:close/>
                  <a:moveTo>
                    <a:pt x="5561" y="10228"/>
                  </a:moveTo>
                  <a:lnTo>
                    <a:pt x="5561" y="10942"/>
                  </a:lnTo>
                  <a:lnTo>
                    <a:pt x="4846" y="10942"/>
                  </a:lnTo>
                  <a:lnTo>
                    <a:pt x="4846" y="10228"/>
                  </a:lnTo>
                  <a:close/>
                  <a:moveTo>
                    <a:pt x="10049" y="10228"/>
                  </a:moveTo>
                  <a:lnTo>
                    <a:pt x="10049" y="10942"/>
                  </a:lnTo>
                  <a:lnTo>
                    <a:pt x="9335" y="10942"/>
                  </a:lnTo>
                  <a:lnTo>
                    <a:pt x="9335" y="10228"/>
                  </a:lnTo>
                  <a:close/>
                  <a:moveTo>
                    <a:pt x="167" y="0"/>
                  </a:moveTo>
                  <a:cubicBezTo>
                    <a:pt x="84" y="0"/>
                    <a:pt x="0" y="72"/>
                    <a:pt x="0" y="167"/>
                  </a:cubicBezTo>
                  <a:lnTo>
                    <a:pt x="0" y="1215"/>
                  </a:lnTo>
                  <a:cubicBezTo>
                    <a:pt x="0" y="1310"/>
                    <a:pt x="84" y="1381"/>
                    <a:pt x="167" y="1381"/>
                  </a:cubicBezTo>
                  <a:lnTo>
                    <a:pt x="524" y="1381"/>
                  </a:lnTo>
                  <a:lnTo>
                    <a:pt x="524" y="4953"/>
                  </a:lnTo>
                  <a:lnTo>
                    <a:pt x="167" y="4953"/>
                  </a:lnTo>
                  <a:cubicBezTo>
                    <a:pt x="84" y="4953"/>
                    <a:pt x="0" y="5025"/>
                    <a:pt x="0" y="5120"/>
                  </a:cubicBezTo>
                  <a:lnTo>
                    <a:pt x="0" y="6180"/>
                  </a:lnTo>
                  <a:cubicBezTo>
                    <a:pt x="0" y="6263"/>
                    <a:pt x="84" y="6346"/>
                    <a:pt x="167" y="6346"/>
                  </a:cubicBezTo>
                  <a:lnTo>
                    <a:pt x="524" y="6346"/>
                  </a:lnTo>
                  <a:lnTo>
                    <a:pt x="524" y="9894"/>
                  </a:lnTo>
                  <a:lnTo>
                    <a:pt x="167" y="9894"/>
                  </a:lnTo>
                  <a:cubicBezTo>
                    <a:pt x="84" y="9894"/>
                    <a:pt x="0" y="9978"/>
                    <a:pt x="0" y="10061"/>
                  </a:cubicBezTo>
                  <a:lnTo>
                    <a:pt x="0" y="11121"/>
                  </a:lnTo>
                  <a:cubicBezTo>
                    <a:pt x="0" y="11204"/>
                    <a:pt x="84" y="11287"/>
                    <a:pt x="167" y="11287"/>
                  </a:cubicBezTo>
                  <a:lnTo>
                    <a:pt x="1227" y="11287"/>
                  </a:lnTo>
                  <a:cubicBezTo>
                    <a:pt x="1322" y="11287"/>
                    <a:pt x="1394" y="11204"/>
                    <a:pt x="1394" y="11121"/>
                  </a:cubicBezTo>
                  <a:lnTo>
                    <a:pt x="1394" y="10763"/>
                  </a:lnTo>
                  <a:lnTo>
                    <a:pt x="4513" y="10763"/>
                  </a:lnTo>
                  <a:lnTo>
                    <a:pt x="4513" y="11121"/>
                  </a:lnTo>
                  <a:cubicBezTo>
                    <a:pt x="4513" y="11204"/>
                    <a:pt x="4596" y="11287"/>
                    <a:pt x="4680" y="11287"/>
                  </a:cubicBezTo>
                  <a:lnTo>
                    <a:pt x="5739" y="11287"/>
                  </a:lnTo>
                  <a:cubicBezTo>
                    <a:pt x="5823" y="11287"/>
                    <a:pt x="5906" y="11204"/>
                    <a:pt x="5906" y="11121"/>
                  </a:cubicBezTo>
                  <a:lnTo>
                    <a:pt x="5906" y="10763"/>
                  </a:lnTo>
                  <a:lnTo>
                    <a:pt x="9002" y="10763"/>
                  </a:lnTo>
                  <a:lnTo>
                    <a:pt x="9002" y="11121"/>
                  </a:lnTo>
                  <a:cubicBezTo>
                    <a:pt x="9002" y="11204"/>
                    <a:pt x="9073" y="11287"/>
                    <a:pt x="9156" y="11287"/>
                  </a:cubicBezTo>
                  <a:lnTo>
                    <a:pt x="10216" y="11287"/>
                  </a:lnTo>
                  <a:cubicBezTo>
                    <a:pt x="10311" y="11287"/>
                    <a:pt x="10383" y="11204"/>
                    <a:pt x="10383" y="11121"/>
                  </a:cubicBezTo>
                  <a:lnTo>
                    <a:pt x="10383" y="10061"/>
                  </a:lnTo>
                  <a:cubicBezTo>
                    <a:pt x="10383" y="9978"/>
                    <a:pt x="10311" y="9894"/>
                    <a:pt x="10216" y="9894"/>
                  </a:cubicBezTo>
                  <a:lnTo>
                    <a:pt x="9859" y="9894"/>
                  </a:lnTo>
                  <a:lnTo>
                    <a:pt x="9859" y="6346"/>
                  </a:lnTo>
                  <a:lnTo>
                    <a:pt x="10216" y="6346"/>
                  </a:lnTo>
                  <a:cubicBezTo>
                    <a:pt x="10311" y="6346"/>
                    <a:pt x="10383" y="6263"/>
                    <a:pt x="10383" y="6180"/>
                  </a:cubicBezTo>
                  <a:lnTo>
                    <a:pt x="10383" y="5120"/>
                  </a:lnTo>
                  <a:cubicBezTo>
                    <a:pt x="10383" y="5025"/>
                    <a:pt x="10311" y="4953"/>
                    <a:pt x="10216" y="4953"/>
                  </a:cubicBezTo>
                  <a:lnTo>
                    <a:pt x="9859" y="4953"/>
                  </a:lnTo>
                  <a:lnTo>
                    <a:pt x="9859" y="1381"/>
                  </a:lnTo>
                  <a:lnTo>
                    <a:pt x="10216" y="1381"/>
                  </a:lnTo>
                  <a:cubicBezTo>
                    <a:pt x="10311" y="1381"/>
                    <a:pt x="10383" y="1310"/>
                    <a:pt x="10383" y="1215"/>
                  </a:cubicBezTo>
                  <a:lnTo>
                    <a:pt x="10383" y="167"/>
                  </a:lnTo>
                  <a:cubicBezTo>
                    <a:pt x="10383" y="72"/>
                    <a:pt x="10311" y="0"/>
                    <a:pt x="10216" y="0"/>
                  </a:cubicBezTo>
                  <a:lnTo>
                    <a:pt x="9156" y="0"/>
                  </a:lnTo>
                  <a:cubicBezTo>
                    <a:pt x="9073" y="0"/>
                    <a:pt x="9002" y="72"/>
                    <a:pt x="9002" y="167"/>
                  </a:cubicBezTo>
                  <a:lnTo>
                    <a:pt x="9002" y="524"/>
                  </a:lnTo>
                  <a:lnTo>
                    <a:pt x="5882" y="524"/>
                  </a:lnTo>
                  <a:lnTo>
                    <a:pt x="5882" y="167"/>
                  </a:lnTo>
                  <a:cubicBezTo>
                    <a:pt x="5882" y="72"/>
                    <a:pt x="5811" y="0"/>
                    <a:pt x="5727" y="0"/>
                  </a:cubicBezTo>
                  <a:lnTo>
                    <a:pt x="4680" y="0"/>
                  </a:lnTo>
                  <a:cubicBezTo>
                    <a:pt x="4596" y="0"/>
                    <a:pt x="4513" y="72"/>
                    <a:pt x="4513" y="167"/>
                  </a:cubicBezTo>
                  <a:lnTo>
                    <a:pt x="4513" y="524"/>
                  </a:lnTo>
                  <a:lnTo>
                    <a:pt x="1394" y="524"/>
                  </a:lnTo>
                  <a:lnTo>
                    <a:pt x="1394" y="167"/>
                  </a:lnTo>
                  <a:cubicBezTo>
                    <a:pt x="1394" y="72"/>
                    <a:pt x="1322" y="0"/>
                    <a:pt x="1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0" name="Google Shape;12240;p62"/>
            <p:cNvSpPr/>
            <p:nvPr/>
          </p:nvSpPr>
          <p:spPr>
            <a:xfrm>
              <a:off x="2925696" y="1563140"/>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1" name="Google Shape;12241;p62"/>
            <p:cNvSpPr/>
            <p:nvPr/>
          </p:nvSpPr>
          <p:spPr>
            <a:xfrm>
              <a:off x="2953717" y="1594563"/>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2" name="Google Shape;12242;p62"/>
            <p:cNvSpPr/>
            <p:nvPr/>
          </p:nvSpPr>
          <p:spPr>
            <a:xfrm>
              <a:off x="2953717" y="1594182"/>
              <a:ext cx="32" cy="413"/>
            </a:xfrm>
            <a:custGeom>
              <a:avLst/>
              <a:gdLst/>
              <a:ahLst/>
              <a:cxnLst/>
              <a:rect l="l" t="t" r="r" b="b"/>
              <a:pathLst>
                <a:path w="1" h="13" extrusionOk="0">
                  <a:moveTo>
                    <a:pt x="1" y="1"/>
                  </a:moveTo>
                  <a:cubicBezTo>
                    <a:pt x="1" y="1"/>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3" name="Google Shape;12243;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4" name="Google Shape;12244;p62"/>
            <p:cNvSpPr/>
            <p:nvPr/>
          </p:nvSpPr>
          <p:spPr>
            <a:xfrm>
              <a:off x="2925696" y="1563140"/>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5" name="Google Shape;12245;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6" name="Google Shape;12246;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7" name="Google Shape;12247;p62"/>
            <p:cNvSpPr/>
            <p:nvPr/>
          </p:nvSpPr>
          <p:spPr>
            <a:xfrm>
              <a:off x="2923788" y="1576403"/>
              <a:ext cx="32" cy="32"/>
            </a:xfrm>
            <a:custGeom>
              <a:avLst/>
              <a:gdLst/>
              <a:ahLst/>
              <a:cxnLst/>
              <a:rect l="l" t="t" r="r" b="b"/>
              <a:pathLst>
                <a:path w="1" h="1" extrusionOk="0">
                  <a:moveTo>
                    <a:pt x="1"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8" name="Google Shape;12248;p62"/>
            <p:cNvSpPr/>
            <p:nvPr/>
          </p:nvSpPr>
          <p:spPr>
            <a:xfrm>
              <a:off x="2953717" y="1594182"/>
              <a:ext cx="32" cy="32"/>
            </a:xfrm>
            <a:custGeom>
              <a:avLst/>
              <a:gdLst/>
              <a:ahLst/>
              <a:cxnLst/>
              <a:rect l="l" t="t" r="r" b="b"/>
              <a:pathLst>
                <a:path w="1" h="1" extrusionOk="0">
                  <a:moveTo>
                    <a:pt x="1" y="1"/>
                  </a:moveTo>
                  <a:lnTo>
                    <a:pt x="1" y="1"/>
                  </a:ln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9" name="Google Shape;12249;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0" name="Google Shape;12250;p62"/>
            <p:cNvSpPr/>
            <p:nvPr/>
          </p:nvSpPr>
          <p:spPr>
            <a:xfrm>
              <a:off x="2953717" y="1594182"/>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1" name="Google Shape;12251;p62"/>
            <p:cNvSpPr/>
            <p:nvPr/>
          </p:nvSpPr>
          <p:spPr>
            <a:xfrm>
              <a:off x="2923438" y="1576784"/>
              <a:ext cx="0" cy="32"/>
            </a:xfrm>
            <a:custGeom>
              <a:avLst/>
              <a:gdLst/>
              <a:ahLst/>
              <a:cxnLst/>
              <a:rect l="l" t="t" r="r" b="b"/>
              <a:pathLst>
                <a:path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2" name="Google Shape;12252;p62"/>
            <p:cNvSpPr/>
            <p:nvPr/>
          </p:nvSpPr>
          <p:spPr>
            <a:xfrm>
              <a:off x="2792783" y="1631298"/>
              <a:ext cx="87877" cy="101140"/>
            </a:xfrm>
            <a:custGeom>
              <a:avLst/>
              <a:gdLst/>
              <a:ahLst/>
              <a:cxnLst/>
              <a:rect l="l" t="t" r="r" b="b"/>
              <a:pathLst>
                <a:path w="2763" h="3180" extrusionOk="0">
                  <a:moveTo>
                    <a:pt x="167" y="1"/>
                  </a:moveTo>
                  <a:cubicBezTo>
                    <a:pt x="72" y="1"/>
                    <a:pt x="0" y="72"/>
                    <a:pt x="0" y="167"/>
                  </a:cubicBezTo>
                  <a:cubicBezTo>
                    <a:pt x="0" y="263"/>
                    <a:pt x="72" y="334"/>
                    <a:pt x="167" y="334"/>
                  </a:cubicBezTo>
                  <a:lnTo>
                    <a:pt x="2167" y="334"/>
                  </a:lnTo>
                  <a:cubicBezTo>
                    <a:pt x="2310" y="334"/>
                    <a:pt x="2429" y="453"/>
                    <a:pt x="2429" y="584"/>
                  </a:cubicBezTo>
                  <a:lnTo>
                    <a:pt x="2429" y="3013"/>
                  </a:lnTo>
                  <a:cubicBezTo>
                    <a:pt x="2429" y="3096"/>
                    <a:pt x="2501" y="3180"/>
                    <a:pt x="2584" y="3180"/>
                  </a:cubicBezTo>
                  <a:cubicBezTo>
                    <a:pt x="2679" y="3180"/>
                    <a:pt x="2751" y="3096"/>
                    <a:pt x="2751" y="3013"/>
                  </a:cubicBezTo>
                  <a:lnTo>
                    <a:pt x="2751" y="584"/>
                  </a:lnTo>
                  <a:cubicBezTo>
                    <a:pt x="2763" y="275"/>
                    <a:pt x="250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3" name="Google Shape;12253;p62"/>
            <p:cNvSpPr/>
            <p:nvPr/>
          </p:nvSpPr>
          <p:spPr>
            <a:xfrm>
              <a:off x="2715147" y="1631298"/>
              <a:ext cx="66695" cy="122735"/>
            </a:xfrm>
            <a:custGeom>
              <a:avLst/>
              <a:gdLst/>
              <a:ahLst/>
              <a:cxnLst/>
              <a:rect l="l" t="t" r="r" b="b"/>
              <a:pathLst>
                <a:path w="2097" h="3859" extrusionOk="0">
                  <a:moveTo>
                    <a:pt x="596" y="1"/>
                  </a:moveTo>
                  <a:cubicBezTo>
                    <a:pt x="263" y="1"/>
                    <a:pt x="1" y="275"/>
                    <a:pt x="1" y="596"/>
                  </a:cubicBezTo>
                  <a:lnTo>
                    <a:pt x="1" y="3692"/>
                  </a:lnTo>
                  <a:cubicBezTo>
                    <a:pt x="1" y="3787"/>
                    <a:pt x="72" y="3858"/>
                    <a:pt x="167" y="3858"/>
                  </a:cubicBezTo>
                  <a:cubicBezTo>
                    <a:pt x="251" y="3858"/>
                    <a:pt x="322" y="3787"/>
                    <a:pt x="322" y="3692"/>
                  </a:cubicBezTo>
                  <a:lnTo>
                    <a:pt x="322" y="596"/>
                  </a:lnTo>
                  <a:cubicBezTo>
                    <a:pt x="322" y="453"/>
                    <a:pt x="441" y="346"/>
                    <a:pt x="584" y="346"/>
                  </a:cubicBezTo>
                  <a:lnTo>
                    <a:pt x="1917" y="346"/>
                  </a:lnTo>
                  <a:cubicBezTo>
                    <a:pt x="2013" y="346"/>
                    <a:pt x="2084" y="275"/>
                    <a:pt x="2084" y="179"/>
                  </a:cubicBezTo>
                  <a:cubicBezTo>
                    <a:pt x="2096" y="72"/>
                    <a:pt x="2025" y="1"/>
                    <a:pt x="1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4" name="Google Shape;12254;p62"/>
            <p:cNvSpPr/>
            <p:nvPr/>
          </p:nvSpPr>
          <p:spPr>
            <a:xfrm>
              <a:off x="2715911" y="1707789"/>
              <a:ext cx="166277" cy="93570"/>
            </a:xfrm>
            <a:custGeom>
              <a:avLst/>
              <a:gdLst/>
              <a:ahLst/>
              <a:cxnLst/>
              <a:rect l="l" t="t" r="r" b="b"/>
              <a:pathLst>
                <a:path w="5228" h="2942" extrusionOk="0">
                  <a:moveTo>
                    <a:pt x="2001" y="358"/>
                  </a:moveTo>
                  <a:cubicBezTo>
                    <a:pt x="2132" y="358"/>
                    <a:pt x="2239" y="429"/>
                    <a:pt x="2298" y="537"/>
                  </a:cubicBezTo>
                  <a:lnTo>
                    <a:pt x="2596" y="1132"/>
                  </a:lnTo>
                  <a:cubicBezTo>
                    <a:pt x="2429" y="1287"/>
                    <a:pt x="2215" y="1382"/>
                    <a:pt x="2001" y="1382"/>
                  </a:cubicBezTo>
                  <a:cubicBezTo>
                    <a:pt x="1763" y="1382"/>
                    <a:pt x="1548" y="1287"/>
                    <a:pt x="1382" y="1132"/>
                  </a:cubicBezTo>
                  <a:lnTo>
                    <a:pt x="1703" y="537"/>
                  </a:lnTo>
                  <a:cubicBezTo>
                    <a:pt x="1763" y="418"/>
                    <a:pt x="1870" y="358"/>
                    <a:pt x="2001" y="358"/>
                  </a:cubicBezTo>
                  <a:close/>
                  <a:moveTo>
                    <a:pt x="2739" y="1453"/>
                  </a:moveTo>
                  <a:lnTo>
                    <a:pt x="3334" y="2632"/>
                  </a:lnTo>
                  <a:lnTo>
                    <a:pt x="631" y="2632"/>
                  </a:lnTo>
                  <a:lnTo>
                    <a:pt x="1227" y="1453"/>
                  </a:lnTo>
                  <a:cubicBezTo>
                    <a:pt x="1429" y="1632"/>
                    <a:pt x="1703" y="1739"/>
                    <a:pt x="1989" y="1739"/>
                  </a:cubicBezTo>
                  <a:cubicBezTo>
                    <a:pt x="2263" y="1739"/>
                    <a:pt x="2536" y="1632"/>
                    <a:pt x="2739" y="1453"/>
                  </a:cubicBezTo>
                  <a:close/>
                  <a:moveTo>
                    <a:pt x="2001" y="1"/>
                  </a:moveTo>
                  <a:cubicBezTo>
                    <a:pt x="1739" y="1"/>
                    <a:pt x="1524" y="132"/>
                    <a:pt x="1405" y="370"/>
                  </a:cubicBezTo>
                  <a:lnTo>
                    <a:pt x="1048" y="1072"/>
                  </a:lnTo>
                  <a:lnTo>
                    <a:pt x="346" y="2454"/>
                  </a:lnTo>
                  <a:cubicBezTo>
                    <a:pt x="334" y="2418"/>
                    <a:pt x="334" y="2382"/>
                    <a:pt x="334" y="2346"/>
                  </a:cubicBezTo>
                  <a:lnTo>
                    <a:pt x="334" y="1930"/>
                  </a:lnTo>
                  <a:cubicBezTo>
                    <a:pt x="334" y="1834"/>
                    <a:pt x="250" y="1763"/>
                    <a:pt x="167" y="1763"/>
                  </a:cubicBezTo>
                  <a:cubicBezTo>
                    <a:pt x="72" y="1763"/>
                    <a:pt x="0" y="1834"/>
                    <a:pt x="0" y="1930"/>
                  </a:cubicBezTo>
                  <a:lnTo>
                    <a:pt x="0" y="2346"/>
                  </a:lnTo>
                  <a:cubicBezTo>
                    <a:pt x="0" y="2680"/>
                    <a:pt x="274" y="2942"/>
                    <a:pt x="596" y="2942"/>
                  </a:cubicBezTo>
                  <a:lnTo>
                    <a:pt x="4632" y="2942"/>
                  </a:lnTo>
                  <a:cubicBezTo>
                    <a:pt x="4953" y="2942"/>
                    <a:pt x="5227" y="2680"/>
                    <a:pt x="5227" y="2346"/>
                  </a:cubicBezTo>
                  <a:lnTo>
                    <a:pt x="5227" y="1263"/>
                  </a:lnTo>
                  <a:cubicBezTo>
                    <a:pt x="5180" y="1191"/>
                    <a:pt x="5108" y="1108"/>
                    <a:pt x="5025" y="1108"/>
                  </a:cubicBezTo>
                  <a:cubicBezTo>
                    <a:pt x="4930" y="1108"/>
                    <a:pt x="4858" y="1191"/>
                    <a:pt x="4858" y="1275"/>
                  </a:cubicBezTo>
                  <a:lnTo>
                    <a:pt x="4858" y="2358"/>
                  </a:lnTo>
                  <a:cubicBezTo>
                    <a:pt x="4858" y="2513"/>
                    <a:pt x="4739" y="2620"/>
                    <a:pt x="4596" y="2620"/>
                  </a:cubicBezTo>
                  <a:lnTo>
                    <a:pt x="3739" y="2620"/>
                  </a:lnTo>
                  <a:lnTo>
                    <a:pt x="2608" y="370"/>
                  </a:lnTo>
                  <a:cubicBezTo>
                    <a:pt x="2548" y="251"/>
                    <a:pt x="2465" y="156"/>
                    <a:pt x="2358" y="96"/>
                  </a:cubicBezTo>
                  <a:cubicBezTo>
                    <a:pt x="2251" y="37"/>
                    <a:pt x="2132" y="1"/>
                    <a:pt x="20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5" name="Google Shape;12255;p62"/>
            <p:cNvSpPr/>
            <p:nvPr/>
          </p:nvSpPr>
          <p:spPr>
            <a:xfrm>
              <a:off x="2799589" y="1654706"/>
              <a:ext cx="61384" cy="62974"/>
            </a:xfrm>
            <a:custGeom>
              <a:avLst/>
              <a:gdLst/>
              <a:ahLst/>
              <a:cxnLst/>
              <a:rect l="l" t="t" r="r" b="b"/>
              <a:pathLst>
                <a:path w="1930" h="1980" extrusionOk="0">
                  <a:moveTo>
                    <a:pt x="644" y="432"/>
                  </a:moveTo>
                  <a:cubicBezTo>
                    <a:pt x="608" y="932"/>
                    <a:pt x="965" y="1384"/>
                    <a:pt x="1441" y="1467"/>
                  </a:cubicBezTo>
                  <a:cubicBezTo>
                    <a:pt x="1322" y="1587"/>
                    <a:pt x="1167" y="1646"/>
                    <a:pt x="989" y="1646"/>
                  </a:cubicBezTo>
                  <a:cubicBezTo>
                    <a:pt x="620" y="1646"/>
                    <a:pt x="334" y="1348"/>
                    <a:pt x="334" y="991"/>
                  </a:cubicBezTo>
                  <a:cubicBezTo>
                    <a:pt x="334" y="753"/>
                    <a:pt x="453" y="551"/>
                    <a:pt x="644" y="432"/>
                  </a:cubicBezTo>
                  <a:close/>
                  <a:moveTo>
                    <a:pt x="898" y="0"/>
                  </a:moveTo>
                  <a:cubicBezTo>
                    <a:pt x="889" y="0"/>
                    <a:pt x="880" y="1"/>
                    <a:pt x="870" y="3"/>
                  </a:cubicBezTo>
                  <a:cubicBezTo>
                    <a:pt x="382" y="74"/>
                    <a:pt x="1" y="491"/>
                    <a:pt x="1" y="979"/>
                  </a:cubicBezTo>
                  <a:cubicBezTo>
                    <a:pt x="1" y="1527"/>
                    <a:pt x="453" y="1979"/>
                    <a:pt x="1001" y="1979"/>
                  </a:cubicBezTo>
                  <a:cubicBezTo>
                    <a:pt x="1406" y="1979"/>
                    <a:pt x="1763" y="1741"/>
                    <a:pt x="1918" y="1384"/>
                  </a:cubicBezTo>
                  <a:cubicBezTo>
                    <a:pt x="1929" y="1336"/>
                    <a:pt x="1929" y="1265"/>
                    <a:pt x="1894" y="1217"/>
                  </a:cubicBezTo>
                  <a:cubicBezTo>
                    <a:pt x="1874" y="1178"/>
                    <a:pt x="1830" y="1155"/>
                    <a:pt x="1768" y="1155"/>
                  </a:cubicBezTo>
                  <a:cubicBezTo>
                    <a:pt x="1755" y="1155"/>
                    <a:pt x="1741" y="1156"/>
                    <a:pt x="1727" y="1158"/>
                  </a:cubicBezTo>
                  <a:lnTo>
                    <a:pt x="1644" y="1158"/>
                  </a:lnTo>
                  <a:cubicBezTo>
                    <a:pt x="1275" y="1158"/>
                    <a:pt x="989" y="860"/>
                    <a:pt x="989" y="503"/>
                  </a:cubicBezTo>
                  <a:cubicBezTo>
                    <a:pt x="989" y="420"/>
                    <a:pt x="1001" y="324"/>
                    <a:pt x="1048" y="241"/>
                  </a:cubicBezTo>
                  <a:cubicBezTo>
                    <a:pt x="1092" y="131"/>
                    <a:pt x="1014" y="0"/>
                    <a:pt x="8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56" name="Google Shape;12256;p62"/>
          <p:cNvGrpSpPr/>
          <p:nvPr/>
        </p:nvGrpSpPr>
        <p:grpSpPr>
          <a:xfrm>
            <a:off x="3567553" y="1499912"/>
            <a:ext cx="320022" cy="359778"/>
            <a:chOff x="3567553" y="1499912"/>
            <a:chExt cx="320022" cy="359778"/>
          </a:xfrm>
        </p:grpSpPr>
        <p:sp>
          <p:nvSpPr>
            <p:cNvPr id="12257" name="Google Shape;12257;p62"/>
            <p:cNvSpPr/>
            <p:nvPr/>
          </p:nvSpPr>
          <p:spPr>
            <a:xfrm>
              <a:off x="3567553" y="1502933"/>
              <a:ext cx="263218" cy="356757"/>
            </a:xfrm>
            <a:custGeom>
              <a:avLst/>
              <a:gdLst/>
              <a:ahLst/>
              <a:cxnLst/>
              <a:rect l="l" t="t" r="r" b="b"/>
              <a:pathLst>
                <a:path w="8276" h="11217" extrusionOk="0">
                  <a:moveTo>
                    <a:pt x="1738" y="0"/>
                  </a:moveTo>
                  <a:cubicBezTo>
                    <a:pt x="1718" y="0"/>
                    <a:pt x="1698" y="4"/>
                    <a:pt x="1679" y="12"/>
                  </a:cubicBezTo>
                  <a:cubicBezTo>
                    <a:pt x="1227" y="179"/>
                    <a:pt x="905" y="632"/>
                    <a:pt x="905" y="1120"/>
                  </a:cubicBezTo>
                  <a:lnTo>
                    <a:pt x="905" y="8275"/>
                  </a:lnTo>
                  <a:lnTo>
                    <a:pt x="167" y="8275"/>
                  </a:lnTo>
                  <a:cubicBezTo>
                    <a:pt x="72" y="8275"/>
                    <a:pt x="1" y="8359"/>
                    <a:pt x="1" y="8442"/>
                  </a:cubicBezTo>
                  <a:lnTo>
                    <a:pt x="1" y="10145"/>
                  </a:lnTo>
                  <a:cubicBezTo>
                    <a:pt x="1" y="10716"/>
                    <a:pt x="477" y="11216"/>
                    <a:pt x="1072" y="11216"/>
                  </a:cubicBezTo>
                  <a:lnTo>
                    <a:pt x="7156" y="11216"/>
                  </a:lnTo>
                  <a:cubicBezTo>
                    <a:pt x="7775" y="11216"/>
                    <a:pt x="8275" y="10716"/>
                    <a:pt x="8275" y="10097"/>
                  </a:cubicBezTo>
                  <a:lnTo>
                    <a:pt x="8275" y="4930"/>
                  </a:lnTo>
                  <a:cubicBezTo>
                    <a:pt x="8252" y="4835"/>
                    <a:pt x="8168" y="4751"/>
                    <a:pt x="8073" y="4751"/>
                  </a:cubicBezTo>
                  <a:cubicBezTo>
                    <a:pt x="7978" y="4751"/>
                    <a:pt x="7906" y="4835"/>
                    <a:pt x="7906" y="4918"/>
                  </a:cubicBezTo>
                  <a:lnTo>
                    <a:pt x="7906" y="10085"/>
                  </a:lnTo>
                  <a:cubicBezTo>
                    <a:pt x="7906" y="10514"/>
                    <a:pt x="7561" y="10859"/>
                    <a:pt x="7132" y="10859"/>
                  </a:cubicBezTo>
                  <a:lnTo>
                    <a:pt x="7061" y="10859"/>
                  </a:lnTo>
                  <a:cubicBezTo>
                    <a:pt x="6680" y="10811"/>
                    <a:pt x="6406" y="10502"/>
                    <a:pt x="6406" y="10133"/>
                  </a:cubicBezTo>
                  <a:lnTo>
                    <a:pt x="6406" y="9609"/>
                  </a:lnTo>
                  <a:cubicBezTo>
                    <a:pt x="6406" y="9514"/>
                    <a:pt x="6323" y="9442"/>
                    <a:pt x="6239" y="9442"/>
                  </a:cubicBezTo>
                  <a:cubicBezTo>
                    <a:pt x="6144" y="9442"/>
                    <a:pt x="6073" y="9514"/>
                    <a:pt x="6073" y="9609"/>
                  </a:cubicBezTo>
                  <a:lnTo>
                    <a:pt x="6073" y="10133"/>
                  </a:lnTo>
                  <a:cubicBezTo>
                    <a:pt x="6073" y="10407"/>
                    <a:pt x="6180" y="10680"/>
                    <a:pt x="6370" y="10871"/>
                  </a:cubicBezTo>
                  <a:cubicBezTo>
                    <a:pt x="3459" y="10871"/>
                    <a:pt x="2120" y="10874"/>
                    <a:pt x="1492" y="10874"/>
                  </a:cubicBezTo>
                  <a:cubicBezTo>
                    <a:pt x="864" y="10874"/>
                    <a:pt x="947" y="10871"/>
                    <a:pt x="882" y="10859"/>
                  </a:cubicBezTo>
                  <a:cubicBezTo>
                    <a:pt x="548" y="10788"/>
                    <a:pt x="298" y="10490"/>
                    <a:pt x="298" y="10145"/>
                  </a:cubicBezTo>
                  <a:lnTo>
                    <a:pt x="298" y="8609"/>
                  </a:lnTo>
                  <a:lnTo>
                    <a:pt x="6073" y="8609"/>
                  </a:lnTo>
                  <a:lnTo>
                    <a:pt x="6073" y="8954"/>
                  </a:lnTo>
                  <a:cubicBezTo>
                    <a:pt x="6073" y="9037"/>
                    <a:pt x="6144" y="9121"/>
                    <a:pt x="6239" y="9121"/>
                  </a:cubicBezTo>
                  <a:cubicBezTo>
                    <a:pt x="6323" y="9121"/>
                    <a:pt x="6406" y="9037"/>
                    <a:pt x="6406" y="8954"/>
                  </a:cubicBezTo>
                  <a:lnTo>
                    <a:pt x="6406" y="8442"/>
                  </a:lnTo>
                  <a:cubicBezTo>
                    <a:pt x="6406" y="8359"/>
                    <a:pt x="6323" y="8275"/>
                    <a:pt x="6239" y="8275"/>
                  </a:cubicBezTo>
                  <a:lnTo>
                    <a:pt x="1227" y="8275"/>
                  </a:lnTo>
                  <a:lnTo>
                    <a:pt x="1227" y="1120"/>
                  </a:lnTo>
                  <a:cubicBezTo>
                    <a:pt x="1227" y="763"/>
                    <a:pt x="1441" y="441"/>
                    <a:pt x="1786" y="322"/>
                  </a:cubicBezTo>
                  <a:cubicBezTo>
                    <a:pt x="1882" y="286"/>
                    <a:pt x="1917" y="179"/>
                    <a:pt x="1894" y="108"/>
                  </a:cubicBezTo>
                  <a:cubicBezTo>
                    <a:pt x="1866" y="44"/>
                    <a:pt x="1803" y="0"/>
                    <a:pt x="173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8" name="Google Shape;12258;p62"/>
            <p:cNvSpPr/>
            <p:nvPr/>
          </p:nvSpPr>
          <p:spPr>
            <a:xfrm>
              <a:off x="3638001" y="1499912"/>
              <a:ext cx="249574" cy="142773"/>
            </a:xfrm>
            <a:custGeom>
              <a:avLst/>
              <a:gdLst/>
              <a:ahLst/>
              <a:cxnLst/>
              <a:rect l="l" t="t" r="r" b="b"/>
              <a:pathLst>
                <a:path w="7847" h="4489" extrusionOk="0">
                  <a:moveTo>
                    <a:pt x="6787" y="322"/>
                  </a:moveTo>
                  <a:cubicBezTo>
                    <a:pt x="7191" y="322"/>
                    <a:pt x="7537" y="655"/>
                    <a:pt x="7537" y="1072"/>
                  </a:cubicBezTo>
                  <a:lnTo>
                    <a:pt x="7525" y="2608"/>
                  </a:lnTo>
                  <a:lnTo>
                    <a:pt x="6037" y="2608"/>
                  </a:lnTo>
                  <a:lnTo>
                    <a:pt x="6037" y="1417"/>
                  </a:lnTo>
                  <a:lnTo>
                    <a:pt x="6037" y="1072"/>
                  </a:lnTo>
                  <a:cubicBezTo>
                    <a:pt x="6037" y="643"/>
                    <a:pt x="6370" y="322"/>
                    <a:pt x="6775" y="322"/>
                  </a:cubicBezTo>
                  <a:close/>
                  <a:moveTo>
                    <a:pt x="167" y="0"/>
                  </a:moveTo>
                  <a:cubicBezTo>
                    <a:pt x="83" y="0"/>
                    <a:pt x="0" y="72"/>
                    <a:pt x="0" y="167"/>
                  </a:cubicBezTo>
                  <a:cubicBezTo>
                    <a:pt x="0" y="250"/>
                    <a:pt x="83" y="322"/>
                    <a:pt x="167" y="322"/>
                  </a:cubicBezTo>
                  <a:lnTo>
                    <a:pt x="5989" y="322"/>
                  </a:lnTo>
                  <a:cubicBezTo>
                    <a:pt x="5894" y="417"/>
                    <a:pt x="5810" y="548"/>
                    <a:pt x="5763" y="667"/>
                  </a:cubicBezTo>
                  <a:cubicBezTo>
                    <a:pt x="5715" y="798"/>
                    <a:pt x="5691" y="917"/>
                    <a:pt x="5691" y="1060"/>
                  </a:cubicBezTo>
                  <a:lnTo>
                    <a:pt x="5691" y="1393"/>
                  </a:lnTo>
                  <a:lnTo>
                    <a:pt x="5691" y="4334"/>
                  </a:lnTo>
                  <a:cubicBezTo>
                    <a:pt x="5691" y="4418"/>
                    <a:pt x="5763" y="4489"/>
                    <a:pt x="5858" y="4489"/>
                  </a:cubicBezTo>
                  <a:cubicBezTo>
                    <a:pt x="5941" y="4489"/>
                    <a:pt x="6013" y="4418"/>
                    <a:pt x="6013" y="4334"/>
                  </a:cubicBezTo>
                  <a:lnTo>
                    <a:pt x="6013" y="2929"/>
                  </a:lnTo>
                  <a:lnTo>
                    <a:pt x="7668" y="2929"/>
                  </a:lnTo>
                  <a:cubicBezTo>
                    <a:pt x="7763" y="2929"/>
                    <a:pt x="7834" y="2858"/>
                    <a:pt x="7834" y="2763"/>
                  </a:cubicBezTo>
                  <a:lnTo>
                    <a:pt x="7834" y="1072"/>
                  </a:lnTo>
                  <a:cubicBezTo>
                    <a:pt x="7846" y="488"/>
                    <a:pt x="7370" y="0"/>
                    <a:pt x="6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9" name="Google Shape;12259;p62"/>
            <p:cNvSpPr/>
            <p:nvPr/>
          </p:nvSpPr>
          <p:spPr>
            <a:xfrm>
              <a:off x="3641786" y="1594563"/>
              <a:ext cx="141659" cy="10273"/>
            </a:xfrm>
            <a:custGeom>
              <a:avLst/>
              <a:gdLst/>
              <a:ahLst/>
              <a:cxnLst/>
              <a:rect l="l" t="t" r="r" b="b"/>
              <a:pathLst>
                <a:path w="4454" h="323" extrusionOk="0">
                  <a:moveTo>
                    <a:pt x="167" y="1"/>
                  </a:moveTo>
                  <a:cubicBezTo>
                    <a:pt x="72" y="1"/>
                    <a:pt x="0" y="72"/>
                    <a:pt x="0" y="168"/>
                  </a:cubicBezTo>
                  <a:cubicBezTo>
                    <a:pt x="0" y="251"/>
                    <a:pt x="72" y="322"/>
                    <a:pt x="167" y="322"/>
                  </a:cubicBezTo>
                  <a:lnTo>
                    <a:pt x="4286" y="322"/>
                  </a:lnTo>
                  <a:cubicBezTo>
                    <a:pt x="4382" y="322"/>
                    <a:pt x="4453" y="251"/>
                    <a:pt x="4453" y="168"/>
                  </a:cubicBezTo>
                  <a:cubicBezTo>
                    <a:pt x="4453" y="72"/>
                    <a:pt x="4382" y="1"/>
                    <a:pt x="42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0" name="Google Shape;12260;p62"/>
            <p:cNvSpPr/>
            <p:nvPr/>
          </p:nvSpPr>
          <p:spPr>
            <a:xfrm>
              <a:off x="3641786" y="1638136"/>
              <a:ext cx="141659" cy="10241"/>
            </a:xfrm>
            <a:custGeom>
              <a:avLst/>
              <a:gdLst/>
              <a:ahLst/>
              <a:cxnLst/>
              <a:rect l="l" t="t" r="r" b="b"/>
              <a:pathLst>
                <a:path w="4454" h="322" extrusionOk="0">
                  <a:moveTo>
                    <a:pt x="167" y="0"/>
                  </a:moveTo>
                  <a:cubicBezTo>
                    <a:pt x="72" y="0"/>
                    <a:pt x="0" y="72"/>
                    <a:pt x="0" y="167"/>
                  </a:cubicBezTo>
                  <a:cubicBezTo>
                    <a:pt x="0" y="250"/>
                    <a:pt x="72" y="322"/>
                    <a:pt x="167" y="322"/>
                  </a:cubicBezTo>
                  <a:lnTo>
                    <a:pt x="4286" y="322"/>
                  </a:lnTo>
                  <a:cubicBezTo>
                    <a:pt x="4382" y="322"/>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1" name="Google Shape;12261;p62"/>
            <p:cNvSpPr/>
            <p:nvPr/>
          </p:nvSpPr>
          <p:spPr>
            <a:xfrm>
              <a:off x="3641786" y="1682059"/>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2" name="Google Shape;12262;p62"/>
            <p:cNvSpPr/>
            <p:nvPr/>
          </p:nvSpPr>
          <p:spPr>
            <a:xfrm>
              <a:off x="3641786" y="1725600"/>
              <a:ext cx="141659" cy="10623"/>
            </a:xfrm>
            <a:custGeom>
              <a:avLst/>
              <a:gdLst/>
              <a:ahLst/>
              <a:cxnLst/>
              <a:rect l="l" t="t" r="r" b="b"/>
              <a:pathLst>
                <a:path w="4454" h="334" extrusionOk="0">
                  <a:moveTo>
                    <a:pt x="167" y="0"/>
                  </a:moveTo>
                  <a:cubicBezTo>
                    <a:pt x="72" y="0"/>
                    <a:pt x="0" y="72"/>
                    <a:pt x="0" y="167"/>
                  </a:cubicBezTo>
                  <a:cubicBezTo>
                    <a:pt x="0" y="250"/>
                    <a:pt x="72" y="334"/>
                    <a:pt x="167" y="334"/>
                  </a:cubicBezTo>
                  <a:lnTo>
                    <a:pt x="4286" y="334"/>
                  </a:lnTo>
                  <a:cubicBezTo>
                    <a:pt x="4382" y="334"/>
                    <a:pt x="4453" y="250"/>
                    <a:pt x="4453" y="167"/>
                  </a:cubicBezTo>
                  <a:cubicBezTo>
                    <a:pt x="4453" y="72"/>
                    <a:pt x="4382" y="0"/>
                    <a:pt x="42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63" name="Google Shape;12263;p62"/>
          <p:cNvGrpSpPr/>
          <p:nvPr/>
        </p:nvGrpSpPr>
        <p:grpSpPr>
          <a:xfrm>
            <a:off x="1309875" y="1499912"/>
            <a:ext cx="359015" cy="358633"/>
            <a:chOff x="1309875" y="1499912"/>
            <a:chExt cx="359015" cy="358633"/>
          </a:xfrm>
        </p:grpSpPr>
        <p:sp>
          <p:nvSpPr>
            <p:cNvPr id="12264" name="Google Shape;12264;p62"/>
            <p:cNvSpPr/>
            <p:nvPr/>
          </p:nvSpPr>
          <p:spPr>
            <a:xfrm>
              <a:off x="1309875" y="1499912"/>
              <a:ext cx="133708" cy="204665"/>
            </a:xfrm>
            <a:custGeom>
              <a:avLst/>
              <a:gdLst/>
              <a:ahLst/>
              <a:cxnLst/>
              <a:rect l="l" t="t" r="r" b="b"/>
              <a:pathLst>
                <a:path w="4204" h="6435" extrusionOk="0">
                  <a:moveTo>
                    <a:pt x="1310" y="0"/>
                  </a:moveTo>
                  <a:cubicBezTo>
                    <a:pt x="608" y="0"/>
                    <a:pt x="24" y="560"/>
                    <a:pt x="24" y="1274"/>
                  </a:cubicBezTo>
                  <a:cubicBezTo>
                    <a:pt x="36" y="6323"/>
                    <a:pt x="0" y="6037"/>
                    <a:pt x="72" y="6311"/>
                  </a:cubicBezTo>
                  <a:cubicBezTo>
                    <a:pt x="82" y="6381"/>
                    <a:pt x="152" y="6435"/>
                    <a:pt x="231" y="6435"/>
                  </a:cubicBezTo>
                  <a:cubicBezTo>
                    <a:pt x="246" y="6435"/>
                    <a:pt x="260" y="6433"/>
                    <a:pt x="274" y="6430"/>
                  </a:cubicBezTo>
                  <a:cubicBezTo>
                    <a:pt x="370" y="6394"/>
                    <a:pt x="429" y="6311"/>
                    <a:pt x="393" y="6215"/>
                  </a:cubicBezTo>
                  <a:cubicBezTo>
                    <a:pt x="358" y="6013"/>
                    <a:pt x="381" y="6180"/>
                    <a:pt x="370" y="1262"/>
                  </a:cubicBezTo>
                  <a:cubicBezTo>
                    <a:pt x="370" y="739"/>
                    <a:pt x="786" y="322"/>
                    <a:pt x="1310" y="322"/>
                  </a:cubicBezTo>
                  <a:lnTo>
                    <a:pt x="4049" y="322"/>
                  </a:lnTo>
                  <a:cubicBezTo>
                    <a:pt x="4132" y="322"/>
                    <a:pt x="4203" y="250"/>
                    <a:pt x="4203" y="167"/>
                  </a:cubicBezTo>
                  <a:cubicBezTo>
                    <a:pt x="4203" y="72"/>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5" name="Google Shape;12265;p62"/>
            <p:cNvSpPr/>
            <p:nvPr/>
          </p:nvSpPr>
          <p:spPr>
            <a:xfrm>
              <a:off x="1454524" y="1499912"/>
              <a:ext cx="213602" cy="123467"/>
            </a:xfrm>
            <a:custGeom>
              <a:avLst/>
              <a:gdLst/>
              <a:ahLst/>
              <a:cxnLst/>
              <a:rect l="l" t="t" r="r" b="b"/>
              <a:pathLst>
                <a:path w="6716" h="3882" extrusionOk="0">
                  <a:moveTo>
                    <a:pt x="167" y="0"/>
                  </a:moveTo>
                  <a:cubicBezTo>
                    <a:pt x="72" y="0"/>
                    <a:pt x="1" y="72"/>
                    <a:pt x="1" y="167"/>
                  </a:cubicBezTo>
                  <a:cubicBezTo>
                    <a:pt x="1" y="250"/>
                    <a:pt x="72" y="322"/>
                    <a:pt x="167" y="322"/>
                  </a:cubicBezTo>
                  <a:lnTo>
                    <a:pt x="5430" y="322"/>
                  </a:lnTo>
                  <a:cubicBezTo>
                    <a:pt x="5954" y="322"/>
                    <a:pt x="6371" y="739"/>
                    <a:pt x="6371" y="1262"/>
                  </a:cubicBezTo>
                  <a:lnTo>
                    <a:pt x="6371" y="3715"/>
                  </a:lnTo>
                  <a:cubicBezTo>
                    <a:pt x="6371" y="3810"/>
                    <a:pt x="6442" y="3882"/>
                    <a:pt x="6537" y="3882"/>
                  </a:cubicBezTo>
                  <a:cubicBezTo>
                    <a:pt x="6621" y="3882"/>
                    <a:pt x="6704" y="3810"/>
                    <a:pt x="6704" y="3715"/>
                  </a:cubicBezTo>
                  <a:lnTo>
                    <a:pt x="6704" y="1262"/>
                  </a:lnTo>
                  <a:cubicBezTo>
                    <a:pt x="6716" y="584"/>
                    <a:pt x="6144" y="0"/>
                    <a:pt x="5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6" name="Google Shape;12266;p62"/>
            <p:cNvSpPr/>
            <p:nvPr/>
          </p:nvSpPr>
          <p:spPr>
            <a:xfrm>
              <a:off x="1322756" y="1634701"/>
              <a:ext cx="346134" cy="223844"/>
            </a:xfrm>
            <a:custGeom>
              <a:avLst/>
              <a:gdLst/>
              <a:ahLst/>
              <a:cxnLst/>
              <a:rect l="l" t="t" r="r" b="b"/>
              <a:pathLst>
                <a:path w="10883" h="7038" extrusionOk="0">
                  <a:moveTo>
                    <a:pt x="5930" y="3037"/>
                  </a:moveTo>
                  <a:lnTo>
                    <a:pt x="5930" y="5656"/>
                  </a:lnTo>
                  <a:lnTo>
                    <a:pt x="4560" y="5656"/>
                  </a:lnTo>
                  <a:lnTo>
                    <a:pt x="4560" y="3037"/>
                  </a:lnTo>
                  <a:close/>
                  <a:moveTo>
                    <a:pt x="7370" y="5990"/>
                  </a:moveTo>
                  <a:cubicBezTo>
                    <a:pt x="7549" y="5990"/>
                    <a:pt x="7716" y="6133"/>
                    <a:pt x="7716" y="6323"/>
                  </a:cubicBezTo>
                  <a:lnTo>
                    <a:pt x="7716" y="6383"/>
                  </a:lnTo>
                  <a:cubicBezTo>
                    <a:pt x="7716" y="6561"/>
                    <a:pt x="7573" y="6728"/>
                    <a:pt x="7370" y="6728"/>
                  </a:cubicBezTo>
                  <a:lnTo>
                    <a:pt x="3120" y="6728"/>
                  </a:lnTo>
                  <a:cubicBezTo>
                    <a:pt x="2941" y="6728"/>
                    <a:pt x="2774" y="6585"/>
                    <a:pt x="2774" y="6383"/>
                  </a:cubicBezTo>
                  <a:lnTo>
                    <a:pt x="2774" y="6323"/>
                  </a:lnTo>
                  <a:cubicBezTo>
                    <a:pt x="2774" y="6145"/>
                    <a:pt x="2929" y="5990"/>
                    <a:pt x="3120" y="5990"/>
                  </a:cubicBezTo>
                  <a:close/>
                  <a:moveTo>
                    <a:pt x="10692" y="1"/>
                  </a:moveTo>
                  <a:cubicBezTo>
                    <a:pt x="10597" y="1"/>
                    <a:pt x="10525" y="72"/>
                    <a:pt x="10525" y="168"/>
                  </a:cubicBezTo>
                  <a:lnTo>
                    <a:pt x="10525" y="1763"/>
                  </a:lnTo>
                  <a:cubicBezTo>
                    <a:pt x="10525" y="2275"/>
                    <a:pt x="10109" y="2692"/>
                    <a:pt x="9585" y="2692"/>
                  </a:cubicBezTo>
                  <a:lnTo>
                    <a:pt x="917" y="2692"/>
                  </a:lnTo>
                  <a:cubicBezTo>
                    <a:pt x="691" y="2692"/>
                    <a:pt x="465" y="2608"/>
                    <a:pt x="298" y="2454"/>
                  </a:cubicBezTo>
                  <a:cubicBezTo>
                    <a:pt x="265" y="2426"/>
                    <a:pt x="225" y="2412"/>
                    <a:pt x="185" y="2412"/>
                  </a:cubicBezTo>
                  <a:cubicBezTo>
                    <a:pt x="138" y="2412"/>
                    <a:pt x="92" y="2432"/>
                    <a:pt x="60" y="2477"/>
                  </a:cubicBezTo>
                  <a:cubicBezTo>
                    <a:pt x="0" y="2549"/>
                    <a:pt x="0" y="2656"/>
                    <a:pt x="84" y="2716"/>
                  </a:cubicBezTo>
                  <a:cubicBezTo>
                    <a:pt x="322" y="2918"/>
                    <a:pt x="619" y="3025"/>
                    <a:pt x="917" y="3025"/>
                  </a:cubicBezTo>
                  <a:lnTo>
                    <a:pt x="4227" y="3025"/>
                  </a:lnTo>
                  <a:lnTo>
                    <a:pt x="4227" y="5644"/>
                  </a:lnTo>
                  <a:lnTo>
                    <a:pt x="3132" y="5644"/>
                  </a:lnTo>
                  <a:cubicBezTo>
                    <a:pt x="2763" y="5644"/>
                    <a:pt x="2465" y="5942"/>
                    <a:pt x="2465" y="6311"/>
                  </a:cubicBezTo>
                  <a:lnTo>
                    <a:pt x="2465" y="6371"/>
                  </a:lnTo>
                  <a:cubicBezTo>
                    <a:pt x="2465" y="6740"/>
                    <a:pt x="2763" y="7038"/>
                    <a:pt x="3132" y="7038"/>
                  </a:cubicBezTo>
                  <a:lnTo>
                    <a:pt x="7394" y="7038"/>
                  </a:lnTo>
                  <a:cubicBezTo>
                    <a:pt x="7763" y="7038"/>
                    <a:pt x="8061" y="6740"/>
                    <a:pt x="8061" y="6371"/>
                  </a:cubicBezTo>
                  <a:lnTo>
                    <a:pt x="8061" y="6311"/>
                  </a:lnTo>
                  <a:cubicBezTo>
                    <a:pt x="8061" y="5942"/>
                    <a:pt x="7763" y="5644"/>
                    <a:pt x="7394" y="5644"/>
                  </a:cubicBezTo>
                  <a:lnTo>
                    <a:pt x="6287" y="5644"/>
                  </a:lnTo>
                  <a:lnTo>
                    <a:pt x="6287" y="3037"/>
                  </a:lnTo>
                  <a:lnTo>
                    <a:pt x="9609" y="3037"/>
                  </a:lnTo>
                  <a:cubicBezTo>
                    <a:pt x="10311" y="3037"/>
                    <a:pt x="10883" y="2477"/>
                    <a:pt x="10883" y="1751"/>
                  </a:cubicBezTo>
                  <a:lnTo>
                    <a:pt x="10883" y="168"/>
                  </a:lnTo>
                  <a:cubicBezTo>
                    <a:pt x="10859" y="72"/>
                    <a:pt x="10787" y="1"/>
                    <a:pt x="10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7" name="Google Shape;12267;p62"/>
            <p:cNvSpPr/>
            <p:nvPr/>
          </p:nvSpPr>
          <p:spPr>
            <a:xfrm>
              <a:off x="1331852" y="1519217"/>
              <a:ext cx="191243" cy="140514"/>
            </a:xfrm>
            <a:custGeom>
              <a:avLst/>
              <a:gdLst/>
              <a:ahLst/>
              <a:cxnLst/>
              <a:rect l="l" t="t" r="r" b="b"/>
              <a:pathLst>
                <a:path w="6013" h="4418" extrusionOk="0">
                  <a:moveTo>
                    <a:pt x="869" y="1"/>
                  </a:moveTo>
                  <a:cubicBezTo>
                    <a:pt x="393" y="1"/>
                    <a:pt x="0" y="393"/>
                    <a:pt x="0" y="870"/>
                  </a:cubicBezTo>
                  <a:lnTo>
                    <a:pt x="0" y="4263"/>
                  </a:lnTo>
                  <a:cubicBezTo>
                    <a:pt x="0" y="4346"/>
                    <a:pt x="83" y="4418"/>
                    <a:pt x="167" y="4418"/>
                  </a:cubicBezTo>
                  <a:cubicBezTo>
                    <a:pt x="262" y="4418"/>
                    <a:pt x="333" y="4346"/>
                    <a:pt x="333" y="4263"/>
                  </a:cubicBezTo>
                  <a:lnTo>
                    <a:pt x="333" y="870"/>
                  </a:lnTo>
                  <a:cubicBezTo>
                    <a:pt x="333" y="572"/>
                    <a:pt x="572" y="334"/>
                    <a:pt x="869" y="334"/>
                  </a:cubicBezTo>
                  <a:lnTo>
                    <a:pt x="5834" y="334"/>
                  </a:lnTo>
                  <a:cubicBezTo>
                    <a:pt x="5929" y="334"/>
                    <a:pt x="6001" y="251"/>
                    <a:pt x="6001" y="167"/>
                  </a:cubicBezTo>
                  <a:cubicBezTo>
                    <a:pt x="6013" y="72"/>
                    <a:pt x="5929" y="1"/>
                    <a:pt x="5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8" name="Google Shape;12268;p62"/>
            <p:cNvSpPr/>
            <p:nvPr/>
          </p:nvSpPr>
          <p:spPr>
            <a:xfrm>
              <a:off x="1331852" y="1519217"/>
              <a:ext cx="315442" cy="190512"/>
            </a:xfrm>
            <a:custGeom>
              <a:avLst/>
              <a:gdLst/>
              <a:ahLst/>
              <a:cxnLst/>
              <a:rect l="l" t="t" r="r" b="b"/>
              <a:pathLst>
                <a:path w="9918" h="5990" extrusionOk="0">
                  <a:moveTo>
                    <a:pt x="6513" y="1"/>
                  </a:moveTo>
                  <a:cubicBezTo>
                    <a:pt x="6418" y="1"/>
                    <a:pt x="6346" y="72"/>
                    <a:pt x="6346" y="167"/>
                  </a:cubicBezTo>
                  <a:cubicBezTo>
                    <a:pt x="6346" y="251"/>
                    <a:pt x="6418" y="322"/>
                    <a:pt x="6513" y="322"/>
                  </a:cubicBezTo>
                  <a:lnTo>
                    <a:pt x="9049" y="322"/>
                  </a:lnTo>
                  <a:cubicBezTo>
                    <a:pt x="9346" y="322"/>
                    <a:pt x="9585" y="560"/>
                    <a:pt x="9585" y="870"/>
                  </a:cubicBezTo>
                  <a:lnTo>
                    <a:pt x="9585" y="5120"/>
                  </a:lnTo>
                  <a:cubicBezTo>
                    <a:pt x="9585" y="5418"/>
                    <a:pt x="9346" y="5656"/>
                    <a:pt x="9049" y="5656"/>
                  </a:cubicBezTo>
                  <a:lnTo>
                    <a:pt x="869" y="5656"/>
                  </a:lnTo>
                  <a:cubicBezTo>
                    <a:pt x="572" y="5656"/>
                    <a:pt x="333" y="5418"/>
                    <a:pt x="333" y="5120"/>
                  </a:cubicBezTo>
                  <a:lnTo>
                    <a:pt x="333" y="4930"/>
                  </a:lnTo>
                  <a:cubicBezTo>
                    <a:pt x="333" y="4834"/>
                    <a:pt x="262" y="4763"/>
                    <a:pt x="167" y="4763"/>
                  </a:cubicBezTo>
                  <a:cubicBezTo>
                    <a:pt x="71" y="4763"/>
                    <a:pt x="0" y="4834"/>
                    <a:pt x="0" y="4930"/>
                  </a:cubicBezTo>
                  <a:lnTo>
                    <a:pt x="0" y="5120"/>
                  </a:lnTo>
                  <a:cubicBezTo>
                    <a:pt x="0" y="5596"/>
                    <a:pt x="393" y="5989"/>
                    <a:pt x="869" y="5989"/>
                  </a:cubicBezTo>
                  <a:lnTo>
                    <a:pt x="9049" y="5989"/>
                  </a:lnTo>
                  <a:cubicBezTo>
                    <a:pt x="9525" y="5989"/>
                    <a:pt x="9918" y="5596"/>
                    <a:pt x="9918" y="5120"/>
                  </a:cubicBezTo>
                  <a:lnTo>
                    <a:pt x="9918" y="870"/>
                  </a:lnTo>
                  <a:cubicBezTo>
                    <a:pt x="9918" y="393"/>
                    <a:pt x="9525"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9" name="Google Shape;12269;p62"/>
            <p:cNvSpPr/>
            <p:nvPr/>
          </p:nvSpPr>
          <p:spPr>
            <a:xfrm>
              <a:off x="1587056" y="1669178"/>
              <a:ext cx="32" cy="32"/>
            </a:xfrm>
            <a:custGeom>
              <a:avLst/>
              <a:gdLst/>
              <a:ahLst/>
              <a:cxnLst/>
              <a:rect l="l" t="t" r="r" b="b"/>
              <a:pathLst>
                <a:path w="1" h="1" extrusionOk="0">
                  <a:moveTo>
                    <a:pt x="1" y="0"/>
                  </a:moveTo>
                  <a:lnTo>
                    <a:pt x="1" y="0"/>
                  </a:lnTo>
                  <a:lnTo>
                    <a:pt x="1" y="0"/>
                  </a:ln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0" name="Google Shape;12270;p62"/>
            <p:cNvSpPr/>
            <p:nvPr/>
          </p:nvSpPr>
          <p:spPr>
            <a:xfrm>
              <a:off x="1471190" y="1538523"/>
              <a:ext cx="160965" cy="141278"/>
            </a:xfrm>
            <a:custGeom>
              <a:avLst/>
              <a:gdLst/>
              <a:ahLst/>
              <a:cxnLst/>
              <a:rect l="l" t="t" r="r" b="b"/>
              <a:pathLst>
                <a:path w="5061" h="4442" extrusionOk="0">
                  <a:moveTo>
                    <a:pt x="2489" y="346"/>
                  </a:moveTo>
                  <a:lnTo>
                    <a:pt x="1536" y="1096"/>
                  </a:lnTo>
                  <a:lnTo>
                    <a:pt x="548" y="346"/>
                  </a:lnTo>
                  <a:close/>
                  <a:moveTo>
                    <a:pt x="322" y="596"/>
                  </a:moveTo>
                  <a:lnTo>
                    <a:pt x="1251" y="1299"/>
                  </a:lnTo>
                  <a:lnTo>
                    <a:pt x="322" y="2013"/>
                  </a:lnTo>
                  <a:lnTo>
                    <a:pt x="322" y="596"/>
                  </a:lnTo>
                  <a:close/>
                  <a:moveTo>
                    <a:pt x="2739" y="584"/>
                  </a:moveTo>
                  <a:lnTo>
                    <a:pt x="2739" y="2013"/>
                  </a:lnTo>
                  <a:lnTo>
                    <a:pt x="1810" y="1299"/>
                  </a:lnTo>
                  <a:lnTo>
                    <a:pt x="2739" y="584"/>
                  </a:lnTo>
                  <a:close/>
                  <a:moveTo>
                    <a:pt x="1536" y="1501"/>
                  </a:moveTo>
                  <a:lnTo>
                    <a:pt x="2525" y="2263"/>
                  </a:lnTo>
                  <a:lnTo>
                    <a:pt x="548" y="2263"/>
                  </a:lnTo>
                  <a:lnTo>
                    <a:pt x="1536" y="1501"/>
                  </a:lnTo>
                  <a:close/>
                  <a:moveTo>
                    <a:pt x="3239" y="2680"/>
                  </a:moveTo>
                  <a:lnTo>
                    <a:pt x="3239" y="2680"/>
                  </a:lnTo>
                  <a:cubicBezTo>
                    <a:pt x="3261" y="2702"/>
                    <a:pt x="4644" y="3120"/>
                    <a:pt x="4644" y="3120"/>
                  </a:cubicBezTo>
                  <a:cubicBezTo>
                    <a:pt x="4639" y="3122"/>
                    <a:pt x="4637" y="3122"/>
                    <a:pt x="4636" y="3122"/>
                  </a:cubicBezTo>
                  <a:cubicBezTo>
                    <a:pt x="4636" y="3122"/>
                    <a:pt x="4642" y="3120"/>
                    <a:pt x="4640" y="3120"/>
                  </a:cubicBezTo>
                  <a:cubicBezTo>
                    <a:pt x="4636" y="3120"/>
                    <a:pt x="4565" y="3136"/>
                    <a:pt x="4049" y="3263"/>
                  </a:cubicBezTo>
                  <a:cubicBezTo>
                    <a:pt x="3930" y="3287"/>
                    <a:pt x="3834" y="3382"/>
                    <a:pt x="3811" y="3501"/>
                  </a:cubicBezTo>
                  <a:cubicBezTo>
                    <a:pt x="3686" y="3957"/>
                    <a:pt x="3662" y="4068"/>
                    <a:pt x="3659" y="4091"/>
                  </a:cubicBezTo>
                  <a:lnTo>
                    <a:pt x="3659" y="4091"/>
                  </a:lnTo>
                  <a:cubicBezTo>
                    <a:pt x="3658" y="4092"/>
                    <a:pt x="3657" y="4094"/>
                    <a:pt x="3656" y="4097"/>
                  </a:cubicBezTo>
                  <a:cubicBezTo>
                    <a:pt x="3656" y="4085"/>
                    <a:pt x="3620" y="3954"/>
                    <a:pt x="3239" y="2680"/>
                  </a:cubicBezTo>
                  <a:close/>
                  <a:moveTo>
                    <a:pt x="322" y="1"/>
                  </a:moveTo>
                  <a:cubicBezTo>
                    <a:pt x="143" y="1"/>
                    <a:pt x="1" y="156"/>
                    <a:pt x="1" y="334"/>
                  </a:cubicBezTo>
                  <a:lnTo>
                    <a:pt x="1" y="2263"/>
                  </a:lnTo>
                  <a:cubicBezTo>
                    <a:pt x="1" y="2442"/>
                    <a:pt x="143" y="2596"/>
                    <a:pt x="322" y="2596"/>
                  </a:cubicBezTo>
                  <a:lnTo>
                    <a:pt x="2739" y="2596"/>
                  </a:lnTo>
                  <a:cubicBezTo>
                    <a:pt x="2810" y="2596"/>
                    <a:pt x="2882" y="2561"/>
                    <a:pt x="2941" y="2513"/>
                  </a:cubicBezTo>
                  <a:lnTo>
                    <a:pt x="2941" y="2513"/>
                  </a:lnTo>
                  <a:cubicBezTo>
                    <a:pt x="2894" y="2596"/>
                    <a:pt x="2882" y="2692"/>
                    <a:pt x="2918" y="2787"/>
                  </a:cubicBezTo>
                  <a:lnTo>
                    <a:pt x="3334" y="4204"/>
                  </a:lnTo>
                  <a:cubicBezTo>
                    <a:pt x="3375" y="4362"/>
                    <a:pt x="3511" y="4442"/>
                    <a:pt x="3650" y="4442"/>
                  </a:cubicBezTo>
                  <a:cubicBezTo>
                    <a:pt x="3793" y="4442"/>
                    <a:pt x="3941" y="4356"/>
                    <a:pt x="3989" y="4180"/>
                  </a:cubicBezTo>
                  <a:lnTo>
                    <a:pt x="4132" y="3585"/>
                  </a:lnTo>
                  <a:lnTo>
                    <a:pt x="4727" y="3442"/>
                  </a:lnTo>
                  <a:cubicBezTo>
                    <a:pt x="5061" y="3358"/>
                    <a:pt x="5061" y="2894"/>
                    <a:pt x="4727" y="2787"/>
                  </a:cubicBezTo>
                  <a:lnTo>
                    <a:pt x="3322" y="2370"/>
                  </a:lnTo>
                  <a:cubicBezTo>
                    <a:pt x="3290" y="2363"/>
                    <a:pt x="3256" y="2359"/>
                    <a:pt x="3223" y="2359"/>
                  </a:cubicBezTo>
                  <a:cubicBezTo>
                    <a:pt x="3147" y="2359"/>
                    <a:pt x="3075" y="2380"/>
                    <a:pt x="3025" y="2430"/>
                  </a:cubicBezTo>
                  <a:cubicBezTo>
                    <a:pt x="3096" y="2299"/>
                    <a:pt x="3049" y="2334"/>
                    <a:pt x="3060" y="334"/>
                  </a:cubicBezTo>
                  <a:cubicBezTo>
                    <a:pt x="3060" y="287"/>
                    <a:pt x="3060" y="251"/>
                    <a:pt x="3049" y="215"/>
                  </a:cubicBezTo>
                  <a:cubicBezTo>
                    <a:pt x="3049" y="179"/>
                    <a:pt x="3037" y="156"/>
                    <a:pt x="3025" y="132"/>
                  </a:cubicBezTo>
                  <a:cubicBezTo>
                    <a:pt x="3001" y="120"/>
                    <a:pt x="2989" y="108"/>
                    <a:pt x="2977" y="108"/>
                  </a:cubicBezTo>
                  <a:cubicBezTo>
                    <a:pt x="2918" y="48"/>
                    <a:pt x="2822" y="1"/>
                    <a:pt x="2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1" name="Google Shape;12271;p62"/>
            <p:cNvSpPr/>
            <p:nvPr/>
          </p:nvSpPr>
          <p:spPr>
            <a:xfrm>
              <a:off x="1354943" y="1540049"/>
              <a:ext cx="124230" cy="148847"/>
            </a:xfrm>
            <a:custGeom>
              <a:avLst/>
              <a:gdLst/>
              <a:ahLst/>
              <a:cxnLst/>
              <a:rect l="l" t="t" r="r" b="b"/>
              <a:pathLst>
                <a:path w="3906" h="4680" extrusionOk="0">
                  <a:moveTo>
                    <a:pt x="1834" y="0"/>
                  </a:moveTo>
                  <a:cubicBezTo>
                    <a:pt x="1489" y="0"/>
                    <a:pt x="1179" y="227"/>
                    <a:pt x="1072" y="548"/>
                  </a:cubicBezTo>
                  <a:cubicBezTo>
                    <a:pt x="0" y="3929"/>
                    <a:pt x="24" y="3751"/>
                    <a:pt x="24" y="3941"/>
                  </a:cubicBezTo>
                  <a:cubicBezTo>
                    <a:pt x="24" y="4346"/>
                    <a:pt x="346" y="4680"/>
                    <a:pt x="750" y="4680"/>
                  </a:cubicBezTo>
                  <a:cubicBezTo>
                    <a:pt x="1060" y="4680"/>
                    <a:pt x="1346" y="4477"/>
                    <a:pt x="1429" y="4168"/>
                  </a:cubicBezTo>
                  <a:lnTo>
                    <a:pt x="1524" y="3882"/>
                  </a:lnTo>
                  <a:cubicBezTo>
                    <a:pt x="1572" y="3739"/>
                    <a:pt x="1703" y="3644"/>
                    <a:pt x="1846" y="3644"/>
                  </a:cubicBezTo>
                  <a:lnTo>
                    <a:pt x="2024" y="3644"/>
                  </a:lnTo>
                  <a:cubicBezTo>
                    <a:pt x="2179" y="3644"/>
                    <a:pt x="2310" y="3739"/>
                    <a:pt x="2358" y="3882"/>
                  </a:cubicBezTo>
                  <a:lnTo>
                    <a:pt x="2441" y="4168"/>
                  </a:lnTo>
                  <a:cubicBezTo>
                    <a:pt x="2548" y="4465"/>
                    <a:pt x="2822" y="4680"/>
                    <a:pt x="3132" y="4680"/>
                  </a:cubicBezTo>
                  <a:cubicBezTo>
                    <a:pt x="3536" y="4680"/>
                    <a:pt x="3858" y="4346"/>
                    <a:pt x="3858" y="3941"/>
                  </a:cubicBezTo>
                  <a:cubicBezTo>
                    <a:pt x="3906" y="3751"/>
                    <a:pt x="3858" y="3739"/>
                    <a:pt x="3489" y="2501"/>
                  </a:cubicBezTo>
                  <a:cubicBezTo>
                    <a:pt x="3470" y="2424"/>
                    <a:pt x="3405" y="2386"/>
                    <a:pt x="3337" y="2386"/>
                  </a:cubicBezTo>
                  <a:cubicBezTo>
                    <a:pt x="3320" y="2386"/>
                    <a:pt x="3303" y="2389"/>
                    <a:pt x="3286" y="2394"/>
                  </a:cubicBezTo>
                  <a:cubicBezTo>
                    <a:pt x="3191" y="2429"/>
                    <a:pt x="3144" y="2513"/>
                    <a:pt x="3179" y="2608"/>
                  </a:cubicBezTo>
                  <a:cubicBezTo>
                    <a:pt x="3584" y="3882"/>
                    <a:pt x="3596" y="3834"/>
                    <a:pt x="3596" y="3941"/>
                  </a:cubicBezTo>
                  <a:cubicBezTo>
                    <a:pt x="3596" y="4168"/>
                    <a:pt x="3417" y="4334"/>
                    <a:pt x="3203" y="4334"/>
                  </a:cubicBezTo>
                  <a:cubicBezTo>
                    <a:pt x="3048" y="4334"/>
                    <a:pt x="2894" y="4227"/>
                    <a:pt x="2834" y="4060"/>
                  </a:cubicBezTo>
                  <a:lnTo>
                    <a:pt x="2751" y="3787"/>
                  </a:lnTo>
                  <a:cubicBezTo>
                    <a:pt x="2655" y="3501"/>
                    <a:pt x="2393" y="3310"/>
                    <a:pt x="2096" y="3310"/>
                  </a:cubicBezTo>
                  <a:lnTo>
                    <a:pt x="1882" y="3310"/>
                  </a:lnTo>
                  <a:cubicBezTo>
                    <a:pt x="1584" y="3310"/>
                    <a:pt x="1334" y="3501"/>
                    <a:pt x="1227" y="3787"/>
                  </a:cubicBezTo>
                  <a:lnTo>
                    <a:pt x="1143" y="4084"/>
                  </a:lnTo>
                  <a:cubicBezTo>
                    <a:pt x="1084" y="4239"/>
                    <a:pt x="929" y="4346"/>
                    <a:pt x="762" y="4346"/>
                  </a:cubicBezTo>
                  <a:cubicBezTo>
                    <a:pt x="500" y="4346"/>
                    <a:pt x="298" y="4096"/>
                    <a:pt x="393" y="3822"/>
                  </a:cubicBezTo>
                  <a:lnTo>
                    <a:pt x="1417" y="655"/>
                  </a:lnTo>
                  <a:cubicBezTo>
                    <a:pt x="1477" y="465"/>
                    <a:pt x="1655" y="346"/>
                    <a:pt x="1846" y="346"/>
                  </a:cubicBezTo>
                  <a:lnTo>
                    <a:pt x="2084" y="346"/>
                  </a:lnTo>
                  <a:cubicBezTo>
                    <a:pt x="2286" y="346"/>
                    <a:pt x="2465" y="477"/>
                    <a:pt x="2524" y="655"/>
                  </a:cubicBezTo>
                  <a:lnTo>
                    <a:pt x="2941" y="1965"/>
                  </a:lnTo>
                  <a:cubicBezTo>
                    <a:pt x="2960" y="2041"/>
                    <a:pt x="3025" y="2079"/>
                    <a:pt x="3093" y="2079"/>
                  </a:cubicBezTo>
                  <a:cubicBezTo>
                    <a:pt x="3110" y="2079"/>
                    <a:pt x="3127" y="2077"/>
                    <a:pt x="3144" y="2072"/>
                  </a:cubicBezTo>
                  <a:cubicBezTo>
                    <a:pt x="3239" y="2036"/>
                    <a:pt x="3275" y="1953"/>
                    <a:pt x="3251" y="1858"/>
                  </a:cubicBezTo>
                  <a:lnTo>
                    <a:pt x="2834" y="548"/>
                  </a:lnTo>
                  <a:cubicBezTo>
                    <a:pt x="2727" y="227"/>
                    <a:pt x="2417"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2" name="Google Shape;12272;p62"/>
            <p:cNvSpPr/>
            <p:nvPr/>
          </p:nvSpPr>
          <p:spPr>
            <a:xfrm>
              <a:off x="1399629" y="1581714"/>
              <a:ext cx="37148" cy="52669"/>
            </a:xfrm>
            <a:custGeom>
              <a:avLst/>
              <a:gdLst/>
              <a:ahLst/>
              <a:cxnLst/>
              <a:rect l="l" t="t" r="r" b="b"/>
              <a:pathLst>
                <a:path w="1168" h="1656" extrusionOk="0">
                  <a:moveTo>
                    <a:pt x="596" y="738"/>
                  </a:moveTo>
                  <a:lnTo>
                    <a:pt x="774" y="1310"/>
                  </a:lnTo>
                  <a:lnTo>
                    <a:pt x="417" y="1310"/>
                  </a:lnTo>
                  <a:lnTo>
                    <a:pt x="596" y="738"/>
                  </a:lnTo>
                  <a:close/>
                  <a:moveTo>
                    <a:pt x="584" y="0"/>
                  </a:moveTo>
                  <a:cubicBezTo>
                    <a:pt x="512" y="0"/>
                    <a:pt x="453" y="48"/>
                    <a:pt x="417" y="119"/>
                  </a:cubicBezTo>
                  <a:lnTo>
                    <a:pt x="36" y="1429"/>
                  </a:lnTo>
                  <a:cubicBezTo>
                    <a:pt x="0" y="1536"/>
                    <a:pt x="72" y="1655"/>
                    <a:pt x="191" y="1655"/>
                  </a:cubicBezTo>
                  <a:lnTo>
                    <a:pt x="1000" y="1655"/>
                  </a:lnTo>
                  <a:cubicBezTo>
                    <a:pt x="1060" y="1655"/>
                    <a:pt x="1108" y="1619"/>
                    <a:pt x="1131" y="1584"/>
                  </a:cubicBezTo>
                  <a:cubicBezTo>
                    <a:pt x="1167" y="1536"/>
                    <a:pt x="1167" y="1488"/>
                    <a:pt x="1143" y="1429"/>
                  </a:cubicBezTo>
                  <a:lnTo>
                    <a:pt x="750" y="119"/>
                  </a:lnTo>
                  <a:cubicBezTo>
                    <a:pt x="727" y="48"/>
                    <a:pt x="65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3" name="Google Shape;12273;p62"/>
          <p:cNvGrpSpPr/>
          <p:nvPr/>
        </p:nvGrpSpPr>
        <p:grpSpPr>
          <a:xfrm>
            <a:off x="2219466" y="1500293"/>
            <a:ext cx="330613" cy="359015"/>
            <a:chOff x="2219466" y="1500293"/>
            <a:chExt cx="330613" cy="359015"/>
          </a:xfrm>
        </p:grpSpPr>
        <p:sp>
          <p:nvSpPr>
            <p:cNvPr id="12274" name="Google Shape;12274;p62"/>
            <p:cNvSpPr/>
            <p:nvPr/>
          </p:nvSpPr>
          <p:spPr>
            <a:xfrm>
              <a:off x="2353906" y="1635560"/>
              <a:ext cx="65518" cy="82121"/>
            </a:xfrm>
            <a:custGeom>
              <a:avLst/>
              <a:gdLst/>
              <a:ahLst/>
              <a:cxnLst/>
              <a:rect l="l" t="t" r="r" b="b"/>
              <a:pathLst>
                <a:path w="2060" h="2582" extrusionOk="0">
                  <a:moveTo>
                    <a:pt x="994" y="319"/>
                  </a:moveTo>
                  <a:cubicBezTo>
                    <a:pt x="1051" y="319"/>
                    <a:pt x="1107" y="355"/>
                    <a:pt x="1131" y="426"/>
                  </a:cubicBezTo>
                  <a:lnTo>
                    <a:pt x="1631" y="2093"/>
                  </a:lnTo>
                  <a:cubicBezTo>
                    <a:pt x="1667" y="2165"/>
                    <a:pt x="1607" y="2236"/>
                    <a:pt x="1536" y="2236"/>
                  </a:cubicBezTo>
                  <a:lnTo>
                    <a:pt x="476" y="2236"/>
                  </a:lnTo>
                  <a:cubicBezTo>
                    <a:pt x="405" y="2236"/>
                    <a:pt x="345" y="2165"/>
                    <a:pt x="357" y="2093"/>
                  </a:cubicBezTo>
                  <a:lnTo>
                    <a:pt x="857" y="426"/>
                  </a:lnTo>
                  <a:cubicBezTo>
                    <a:pt x="881" y="355"/>
                    <a:pt x="938" y="319"/>
                    <a:pt x="994" y="319"/>
                  </a:cubicBezTo>
                  <a:close/>
                  <a:moveTo>
                    <a:pt x="1006" y="1"/>
                  </a:moveTo>
                  <a:cubicBezTo>
                    <a:pt x="813" y="1"/>
                    <a:pt x="619" y="111"/>
                    <a:pt x="548" y="331"/>
                  </a:cubicBezTo>
                  <a:lnTo>
                    <a:pt x="48" y="1998"/>
                  </a:lnTo>
                  <a:cubicBezTo>
                    <a:pt x="0" y="2129"/>
                    <a:pt x="36" y="2284"/>
                    <a:pt x="119" y="2403"/>
                  </a:cubicBezTo>
                  <a:cubicBezTo>
                    <a:pt x="214" y="2522"/>
                    <a:pt x="345" y="2581"/>
                    <a:pt x="476" y="2581"/>
                  </a:cubicBezTo>
                  <a:lnTo>
                    <a:pt x="1536" y="2581"/>
                  </a:lnTo>
                  <a:cubicBezTo>
                    <a:pt x="1845" y="2581"/>
                    <a:pt x="2060" y="2284"/>
                    <a:pt x="1965" y="1998"/>
                  </a:cubicBezTo>
                  <a:lnTo>
                    <a:pt x="1464" y="331"/>
                  </a:lnTo>
                  <a:cubicBezTo>
                    <a:pt x="1393" y="111"/>
                    <a:pt x="1200" y="1"/>
                    <a:pt x="10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5" name="Google Shape;12275;p62"/>
            <p:cNvSpPr/>
            <p:nvPr/>
          </p:nvSpPr>
          <p:spPr>
            <a:xfrm>
              <a:off x="2219466" y="1500293"/>
              <a:ext cx="330613" cy="359015"/>
            </a:xfrm>
            <a:custGeom>
              <a:avLst/>
              <a:gdLst/>
              <a:ahLst/>
              <a:cxnLst/>
              <a:rect l="l" t="t" r="r" b="b"/>
              <a:pathLst>
                <a:path w="10395" h="11288" extrusionOk="0">
                  <a:moveTo>
                    <a:pt x="1048" y="322"/>
                  </a:moveTo>
                  <a:lnTo>
                    <a:pt x="1048" y="1048"/>
                  </a:lnTo>
                  <a:lnTo>
                    <a:pt x="334" y="1048"/>
                  </a:lnTo>
                  <a:lnTo>
                    <a:pt x="334" y="322"/>
                  </a:lnTo>
                  <a:close/>
                  <a:moveTo>
                    <a:pt x="5549" y="334"/>
                  </a:moveTo>
                  <a:lnTo>
                    <a:pt x="5549" y="1048"/>
                  </a:lnTo>
                  <a:lnTo>
                    <a:pt x="4834" y="1048"/>
                  </a:lnTo>
                  <a:lnTo>
                    <a:pt x="4834" y="334"/>
                  </a:lnTo>
                  <a:close/>
                  <a:moveTo>
                    <a:pt x="10049" y="322"/>
                  </a:moveTo>
                  <a:lnTo>
                    <a:pt x="10049" y="1048"/>
                  </a:lnTo>
                  <a:lnTo>
                    <a:pt x="9335" y="1048"/>
                  </a:lnTo>
                  <a:lnTo>
                    <a:pt x="9335" y="322"/>
                  </a:lnTo>
                  <a:close/>
                  <a:moveTo>
                    <a:pt x="10061" y="5287"/>
                  </a:moveTo>
                  <a:lnTo>
                    <a:pt x="10061" y="6001"/>
                  </a:lnTo>
                  <a:lnTo>
                    <a:pt x="9347" y="6001"/>
                  </a:lnTo>
                  <a:lnTo>
                    <a:pt x="9347" y="5287"/>
                  </a:lnTo>
                  <a:close/>
                  <a:moveTo>
                    <a:pt x="1048" y="5299"/>
                  </a:moveTo>
                  <a:lnTo>
                    <a:pt x="1048" y="6013"/>
                  </a:lnTo>
                  <a:lnTo>
                    <a:pt x="334" y="6013"/>
                  </a:lnTo>
                  <a:lnTo>
                    <a:pt x="334" y="5299"/>
                  </a:lnTo>
                  <a:close/>
                  <a:moveTo>
                    <a:pt x="1381" y="10287"/>
                  </a:moveTo>
                  <a:lnTo>
                    <a:pt x="1524" y="10418"/>
                  </a:lnTo>
                  <a:lnTo>
                    <a:pt x="1381" y="10418"/>
                  </a:lnTo>
                  <a:lnTo>
                    <a:pt x="1381" y="10287"/>
                  </a:lnTo>
                  <a:close/>
                  <a:moveTo>
                    <a:pt x="9001" y="10287"/>
                  </a:moveTo>
                  <a:lnTo>
                    <a:pt x="9001" y="10418"/>
                  </a:lnTo>
                  <a:lnTo>
                    <a:pt x="8870" y="10418"/>
                  </a:lnTo>
                  <a:lnTo>
                    <a:pt x="9001" y="10287"/>
                  </a:lnTo>
                  <a:close/>
                  <a:moveTo>
                    <a:pt x="9025" y="857"/>
                  </a:moveTo>
                  <a:lnTo>
                    <a:pt x="9025" y="1215"/>
                  </a:lnTo>
                  <a:cubicBezTo>
                    <a:pt x="9025" y="1310"/>
                    <a:pt x="9097" y="1381"/>
                    <a:pt x="9180" y="1381"/>
                  </a:cubicBezTo>
                  <a:lnTo>
                    <a:pt x="9537" y="1381"/>
                  </a:lnTo>
                  <a:lnTo>
                    <a:pt x="9537" y="4953"/>
                  </a:lnTo>
                  <a:lnTo>
                    <a:pt x="9180" y="4953"/>
                  </a:lnTo>
                  <a:cubicBezTo>
                    <a:pt x="9097" y="4953"/>
                    <a:pt x="9025" y="5025"/>
                    <a:pt x="9025" y="5120"/>
                  </a:cubicBezTo>
                  <a:lnTo>
                    <a:pt x="9025" y="6180"/>
                  </a:lnTo>
                  <a:cubicBezTo>
                    <a:pt x="9025" y="6263"/>
                    <a:pt x="9097" y="6346"/>
                    <a:pt x="9180" y="6346"/>
                  </a:cubicBezTo>
                  <a:lnTo>
                    <a:pt x="9537" y="6346"/>
                  </a:lnTo>
                  <a:lnTo>
                    <a:pt x="9537" y="9894"/>
                  </a:lnTo>
                  <a:lnTo>
                    <a:pt x="9275" y="9894"/>
                  </a:lnTo>
                  <a:cubicBezTo>
                    <a:pt x="9406" y="9573"/>
                    <a:pt x="9442" y="9216"/>
                    <a:pt x="9323" y="8870"/>
                  </a:cubicBezTo>
                  <a:lnTo>
                    <a:pt x="7311" y="2632"/>
                  </a:lnTo>
                  <a:cubicBezTo>
                    <a:pt x="7283" y="2567"/>
                    <a:pt x="7227" y="2524"/>
                    <a:pt x="7160" y="2524"/>
                  </a:cubicBezTo>
                  <a:cubicBezTo>
                    <a:pt x="7139" y="2524"/>
                    <a:pt x="7118" y="2528"/>
                    <a:pt x="7096" y="2536"/>
                  </a:cubicBezTo>
                  <a:cubicBezTo>
                    <a:pt x="7013" y="2560"/>
                    <a:pt x="6965" y="2655"/>
                    <a:pt x="7001" y="2739"/>
                  </a:cubicBezTo>
                  <a:lnTo>
                    <a:pt x="9001" y="8978"/>
                  </a:lnTo>
                  <a:cubicBezTo>
                    <a:pt x="9263" y="9780"/>
                    <a:pt x="8624" y="10429"/>
                    <a:pt x="7936" y="10429"/>
                  </a:cubicBezTo>
                  <a:cubicBezTo>
                    <a:pt x="7685" y="10429"/>
                    <a:pt x="7427" y="10342"/>
                    <a:pt x="7204" y="10144"/>
                  </a:cubicBezTo>
                  <a:cubicBezTo>
                    <a:pt x="7171" y="10123"/>
                    <a:pt x="7132" y="10111"/>
                    <a:pt x="7093" y="10111"/>
                  </a:cubicBezTo>
                  <a:cubicBezTo>
                    <a:pt x="7045" y="10111"/>
                    <a:pt x="6998" y="10129"/>
                    <a:pt x="6965" y="10168"/>
                  </a:cubicBezTo>
                  <a:cubicBezTo>
                    <a:pt x="6906" y="10240"/>
                    <a:pt x="6906" y="10347"/>
                    <a:pt x="6977" y="10406"/>
                  </a:cubicBezTo>
                  <a:cubicBezTo>
                    <a:pt x="7001" y="10418"/>
                    <a:pt x="7013" y="10430"/>
                    <a:pt x="7025" y="10430"/>
                  </a:cubicBezTo>
                  <a:lnTo>
                    <a:pt x="5906" y="10430"/>
                  </a:lnTo>
                  <a:lnTo>
                    <a:pt x="5906" y="10073"/>
                  </a:lnTo>
                  <a:cubicBezTo>
                    <a:pt x="5906" y="9990"/>
                    <a:pt x="5834" y="9918"/>
                    <a:pt x="5751" y="9918"/>
                  </a:cubicBezTo>
                  <a:lnTo>
                    <a:pt x="4691" y="9918"/>
                  </a:lnTo>
                  <a:cubicBezTo>
                    <a:pt x="4596" y="9918"/>
                    <a:pt x="4525" y="9990"/>
                    <a:pt x="4525" y="10073"/>
                  </a:cubicBezTo>
                  <a:lnTo>
                    <a:pt x="4525" y="10430"/>
                  </a:lnTo>
                  <a:lnTo>
                    <a:pt x="3382" y="10430"/>
                  </a:lnTo>
                  <a:cubicBezTo>
                    <a:pt x="3834" y="10049"/>
                    <a:pt x="3858" y="9585"/>
                    <a:pt x="4037" y="9144"/>
                  </a:cubicBezTo>
                  <a:cubicBezTo>
                    <a:pt x="4167" y="8728"/>
                    <a:pt x="4548" y="8442"/>
                    <a:pt x="5001" y="8442"/>
                  </a:cubicBezTo>
                  <a:lnTo>
                    <a:pt x="5418" y="8442"/>
                  </a:lnTo>
                  <a:cubicBezTo>
                    <a:pt x="5846" y="8442"/>
                    <a:pt x="6239" y="8728"/>
                    <a:pt x="6382" y="9144"/>
                  </a:cubicBezTo>
                  <a:lnTo>
                    <a:pt x="6596" y="9775"/>
                  </a:lnTo>
                  <a:cubicBezTo>
                    <a:pt x="6615" y="9849"/>
                    <a:pt x="6676" y="9894"/>
                    <a:pt x="6742" y="9894"/>
                  </a:cubicBezTo>
                  <a:cubicBezTo>
                    <a:pt x="6761" y="9894"/>
                    <a:pt x="6780" y="9890"/>
                    <a:pt x="6799" y="9882"/>
                  </a:cubicBezTo>
                  <a:cubicBezTo>
                    <a:pt x="6894" y="9859"/>
                    <a:pt x="6930" y="9763"/>
                    <a:pt x="6906" y="9680"/>
                  </a:cubicBezTo>
                  <a:lnTo>
                    <a:pt x="6692" y="9037"/>
                  </a:lnTo>
                  <a:cubicBezTo>
                    <a:pt x="6513" y="8489"/>
                    <a:pt x="6001" y="8108"/>
                    <a:pt x="5418" y="8108"/>
                  </a:cubicBezTo>
                  <a:lnTo>
                    <a:pt x="5001" y="8108"/>
                  </a:lnTo>
                  <a:cubicBezTo>
                    <a:pt x="4418" y="8108"/>
                    <a:pt x="3894" y="8489"/>
                    <a:pt x="3715" y="9037"/>
                  </a:cubicBezTo>
                  <a:lnTo>
                    <a:pt x="3513" y="9680"/>
                  </a:lnTo>
                  <a:cubicBezTo>
                    <a:pt x="3358" y="10132"/>
                    <a:pt x="2929" y="10430"/>
                    <a:pt x="2453" y="10430"/>
                  </a:cubicBezTo>
                  <a:cubicBezTo>
                    <a:pt x="1846" y="10430"/>
                    <a:pt x="1334" y="9942"/>
                    <a:pt x="1334" y="9323"/>
                  </a:cubicBezTo>
                  <a:cubicBezTo>
                    <a:pt x="1334" y="9025"/>
                    <a:pt x="1429" y="8906"/>
                    <a:pt x="1751" y="7846"/>
                  </a:cubicBezTo>
                  <a:cubicBezTo>
                    <a:pt x="1786" y="7751"/>
                    <a:pt x="1739" y="7668"/>
                    <a:pt x="1655" y="7632"/>
                  </a:cubicBezTo>
                  <a:cubicBezTo>
                    <a:pt x="1639" y="7628"/>
                    <a:pt x="1622" y="7626"/>
                    <a:pt x="1607" y="7626"/>
                  </a:cubicBezTo>
                  <a:cubicBezTo>
                    <a:pt x="1532" y="7626"/>
                    <a:pt x="1470" y="7670"/>
                    <a:pt x="1441" y="7739"/>
                  </a:cubicBezTo>
                  <a:lnTo>
                    <a:pt x="1084" y="8870"/>
                  </a:lnTo>
                  <a:cubicBezTo>
                    <a:pt x="977" y="9216"/>
                    <a:pt x="1000" y="9573"/>
                    <a:pt x="1143" y="9894"/>
                  </a:cubicBezTo>
                  <a:lnTo>
                    <a:pt x="881" y="9894"/>
                  </a:lnTo>
                  <a:lnTo>
                    <a:pt x="881" y="6346"/>
                  </a:lnTo>
                  <a:lnTo>
                    <a:pt x="1239" y="6346"/>
                  </a:lnTo>
                  <a:cubicBezTo>
                    <a:pt x="1322" y="6346"/>
                    <a:pt x="1393" y="6263"/>
                    <a:pt x="1393" y="6180"/>
                  </a:cubicBezTo>
                  <a:lnTo>
                    <a:pt x="1393" y="5120"/>
                  </a:lnTo>
                  <a:cubicBezTo>
                    <a:pt x="1393" y="5037"/>
                    <a:pt x="1322" y="4953"/>
                    <a:pt x="1239" y="4953"/>
                  </a:cubicBezTo>
                  <a:lnTo>
                    <a:pt x="881" y="4953"/>
                  </a:lnTo>
                  <a:lnTo>
                    <a:pt x="881" y="1381"/>
                  </a:lnTo>
                  <a:lnTo>
                    <a:pt x="1239" y="1381"/>
                  </a:lnTo>
                  <a:cubicBezTo>
                    <a:pt x="1322" y="1381"/>
                    <a:pt x="1393" y="1310"/>
                    <a:pt x="1393" y="1227"/>
                  </a:cubicBezTo>
                  <a:lnTo>
                    <a:pt x="1393" y="869"/>
                  </a:lnTo>
                  <a:lnTo>
                    <a:pt x="3953" y="869"/>
                  </a:lnTo>
                  <a:cubicBezTo>
                    <a:pt x="3703" y="1060"/>
                    <a:pt x="3513" y="1322"/>
                    <a:pt x="3417" y="1643"/>
                  </a:cubicBezTo>
                  <a:lnTo>
                    <a:pt x="1643" y="7096"/>
                  </a:lnTo>
                  <a:cubicBezTo>
                    <a:pt x="1608" y="7204"/>
                    <a:pt x="1679" y="7323"/>
                    <a:pt x="1798" y="7323"/>
                  </a:cubicBezTo>
                  <a:cubicBezTo>
                    <a:pt x="1881" y="7323"/>
                    <a:pt x="1941" y="7275"/>
                    <a:pt x="1965" y="7204"/>
                  </a:cubicBezTo>
                  <a:lnTo>
                    <a:pt x="3739" y="1727"/>
                  </a:lnTo>
                  <a:cubicBezTo>
                    <a:pt x="3858" y="1334"/>
                    <a:pt x="4156" y="1036"/>
                    <a:pt x="4525" y="917"/>
                  </a:cubicBezTo>
                  <a:lnTo>
                    <a:pt x="4525" y="1215"/>
                  </a:lnTo>
                  <a:cubicBezTo>
                    <a:pt x="4525" y="1310"/>
                    <a:pt x="4596" y="1381"/>
                    <a:pt x="4691" y="1381"/>
                  </a:cubicBezTo>
                  <a:lnTo>
                    <a:pt x="5751" y="1381"/>
                  </a:lnTo>
                  <a:cubicBezTo>
                    <a:pt x="5834" y="1381"/>
                    <a:pt x="5906" y="1310"/>
                    <a:pt x="5906" y="1215"/>
                  </a:cubicBezTo>
                  <a:lnTo>
                    <a:pt x="5906" y="941"/>
                  </a:lnTo>
                  <a:cubicBezTo>
                    <a:pt x="6263" y="1072"/>
                    <a:pt x="6549" y="1358"/>
                    <a:pt x="6680" y="1739"/>
                  </a:cubicBezTo>
                  <a:lnTo>
                    <a:pt x="6799" y="2096"/>
                  </a:lnTo>
                  <a:cubicBezTo>
                    <a:pt x="6827" y="2172"/>
                    <a:pt x="6886" y="2210"/>
                    <a:pt x="6958" y="2210"/>
                  </a:cubicBezTo>
                  <a:cubicBezTo>
                    <a:pt x="6975" y="2210"/>
                    <a:pt x="6994" y="2208"/>
                    <a:pt x="7013" y="2203"/>
                  </a:cubicBezTo>
                  <a:cubicBezTo>
                    <a:pt x="7096" y="2167"/>
                    <a:pt x="7144" y="2084"/>
                    <a:pt x="7120" y="1989"/>
                  </a:cubicBezTo>
                  <a:cubicBezTo>
                    <a:pt x="7025" y="1786"/>
                    <a:pt x="6977" y="1262"/>
                    <a:pt x="6465" y="857"/>
                  </a:cubicBezTo>
                  <a:close/>
                  <a:moveTo>
                    <a:pt x="1048" y="10228"/>
                  </a:moveTo>
                  <a:lnTo>
                    <a:pt x="1048" y="10942"/>
                  </a:lnTo>
                  <a:lnTo>
                    <a:pt x="334" y="10942"/>
                  </a:lnTo>
                  <a:lnTo>
                    <a:pt x="334" y="10228"/>
                  </a:lnTo>
                  <a:close/>
                  <a:moveTo>
                    <a:pt x="5572" y="10228"/>
                  </a:moveTo>
                  <a:lnTo>
                    <a:pt x="5572" y="10942"/>
                  </a:lnTo>
                  <a:lnTo>
                    <a:pt x="4858" y="10942"/>
                  </a:lnTo>
                  <a:lnTo>
                    <a:pt x="4858" y="10228"/>
                  </a:lnTo>
                  <a:close/>
                  <a:moveTo>
                    <a:pt x="10061" y="10228"/>
                  </a:moveTo>
                  <a:lnTo>
                    <a:pt x="10061" y="10942"/>
                  </a:lnTo>
                  <a:lnTo>
                    <a:pt x="9347" y="10942"/>
                  </a:lnTo>
                  <a:lnTo>
                    <a:pt x="9347" y="10228"/>
                  </a:lnTo>
                  <a:close/>
                  <a:moveTo>
                    <a:pt x="167" y="0"/>
                  </a:moveTo>
                  <a:cubicBezTo>
                    <a:pt x="72" y="0"/>
                    <a:pt x="0" y="72"/>
                    <a:pt x="0" y="167"/>
                  </a:cubicBezTo>
                  <a:lnTo>
                    <a:pt x="0" y="1227"/>
                  </a:lnTo>
                  <a:cubicBezTo>
                    <a:pt x="0" y="1310"/>
                    <a:pt x="72" y="1381"/>
                    <a:pt x="167" y="1381"/>
                  </a:cubicBezTo>
                  <a:lnTo>
                    <a:pt x="524" y="1381"/>
                  </a:lnTo>
                  <a:lnTo>
                    <a:pt x="524" y="4953"/>
                  </a:lnTo>
                  <a:lnTo>
                    <a:pt x="167" y="4953"/>
                  </a:lnTo>
                  <a:cubicBezTo>
                    <a:pt x="72" y="4953"/>
                    <a:pt x="0" y="5037"/>
                    <a:pt x="0" y="5120"/>
                  </a:cubicBezTo>
                  <a:lnTo>
                    <a:pt x="0" y="6180"/>
                  </a:lnTo>
                  <a:cubicBezTo>
                    <a:pt x="0" y="6263"/>
                    <a:pt x="72" y="6346"/>
                    <a:pt x="167" y="6346"/>
                  </a:cubicBezTo>
                  <a:lnTo>
                    <a:pt x="524" y="6346"/>
                  </a:lnTo>
                  <a:lnTo>
                    <a:pt x="524" y="9894"/>
                  </a:lnTo>
                  <a:lnTo>
                    <a:pt x="167" y="9894"/>
                  </a:lnTo>
                  <a:cubicBezTo>
                    <a:pt x="72" y="9894"/>
                    <a:pt x="0" y="9978"/>
                    <a:pt x="0" y="10061"/>
                  </a:cubicBezTo>
                  <a:lnTo>
                    <a:pt x="0" y="11121"/>
                  </a:lnTo>
                  <a:cubicBezTo>
                    <a:pt x="0" y="11204"/>
                    <a:pt x="72" y="11287"/>
                    <a:pt x="167" y="11287"/>
                  </a:cubicBezTo>
                  <a:lnTo>
                    <a:pt x="1215" y="11287"/>
                  </a:lnTo>
                  <a:cubicBezTo>
                    <a:pt x="1310" y="11287"/>
                    <a:pt x="1381" y="11204"/>
                    <a:pt x="1381" y="11121"/>
                  </a:cubicBezTo>
                  <a:lnTo>
                    <a:pt x="1381" y="10763"/>
                  </a:lnTo>
                  <a:lnTo>
                    <a:pt x="4513" y="10763"/>
                  </a:lnTo>
                  <a:lnTo>
                    <a:pt x="4513" y="11121"/>
                  </a:lnTo>
                  <a:cubicBezTo>
                    <a:pt x="4513" y="11204"/>
                    <a:pt x="4584" y="11287"/>
                    <a:pt x="4679" y="11287"/>
                  </a:cubicBezTo>
                  <a:lnTo>
                    <a:pt x="5727" y="11287"/>
                  </a:lnTo>
                  <a:cubicBezTo>
                    <a:pt x="5822" y="11287"/>
                    <a:pt x="5894" y="11204"/>
                    <a:pt x="5894" y="11121"/>
                  </a:cubicBezTo>
                  <a:lnTo>
                    <a:pt x="5894" y="10763"/>
                  </a:lnTo>
                  <a:lnTo>
                    <a:pt x="9001" y="10763"/>
                  </a:lnTo>
                  <a:lnTo>
                    <a:pt x="9001" y="11121"/>
                  </a:lnTo>
                  <a:cubicBezTo>
                    <a:pt x="9001" y="11204"/>
                    <a:pt x="9085" y="11287"/>
                    <a:pt x="9168" y="11287"/>
                  </a:cubicBezTo>
                  <a:lnTo>
                    <a:pt x="10228" y="11287"/>
                  </a:lnTo>
                  <a:cubicBezTo>
                    <a:pt x="10311" y="11287"/>
                    <a:pt x="10394" y="11204"/>
                    <a:pt x="10394" y="11121"/>
                  </a:cubicBezTo>
                  <a:lnTo>
                    <a:pt x="10394" y="10061"/>
                  </a:lnTo>
                  <a:cubicBezTo>
                    <a:pt x="10394" y="9978"/>
                    <a:pt x="10311" y="9894"/>
                    <a:pt x="10228" y="9894"/>
                  </a:cubicBezTo>
                  <a:lnTo>
                    <a:pt x="9871" y="9894"/>
                  </a:lnTo>
                  <a:lnTo>
                    <a:pt x="9871" y="6346"/>
                  </a:lnTo>
                  <a:lnTo>
                    <a:pt x="10228" y="6346"/>
                  </a:lnTo>
                  <a:cubicBezTo>
                    <a:pt x="10311" y="6346"/>
                    <a:pt x="10394" y="6263"/>
                    <a:pt x="10394" y="6180"/>
                  </a:cubicBezTo>
                  <a:lnTo>
                    <a:pt x="10394" y="5120"/>
                  </a:lnTo>
                  <a:cubicBezTo>
                    <a:pt x="10394" y="5037"/>
                    <a:pt x="10311" y="4953"/>
                    <a:pt x="10228" y="4953"/>
                  </a:cubicBezTo>
                  <a:lnTo>
                    <a:pt x="9871" y="4953"/>
                  </a:lnTo>
                  <a:lnTo>
                    <a:pt x="9871" y="1381"/>
                  </a:lnTo>
                  <a:lnTo>
                    <a:pt x="10228" y="1381"/>
                  </a:lnTo>
                  <a:cubicBezTo>
                    <a:pt x="10311" y="1381"/>
                    <a:pt x="10394" y="1310"/>
                    <a:pt x="10394" y="1227"/>
                  </a:cubicBezTo>
                  <a:lnTo>
                    <a:pt x="10394" y="167"/>
                  </a:lnTo>
                  <a:cubicBezTo>
                    <a:pt x="10394" y="72"/>
                    <a:pt x="10311" y="0"/>
                    <a:pt x="10228" y="0"/>
                  </a:cubicBezTo>
                  <a:lnTo>
                    <a:pt x="9168" y="0"/>
                  </a:lnTo>
                  <a:cubicBezTo>
                    <a:pt x="9085" y="0"/>
                    <a:pt x="9001" y="72"/>
                    <a:pt x="9001" y="167"/>
                  </a:cubicBezTo>
                  <a:lnTo>
                    <a:pt x="9001" y="524"/>
                  </a:lnTo>
                  <a:lnTo>
                    <a:pt x="5894" y="524"/>
                  </a:lnTo>
                  <a:lnTo>
                    <a:pt x="5894" y="167"/>
                  </a:lnTo>
                  <a:cubicBezTo>
                    <a:pt x="5894" y="72"/>
                    <a:pt x="5822" y="0"/>
                    <a:pt x="5727" y="0"/>
                  </a:cubicBezTo>
                  <a:lnTo>
                    <a:pt x="4679" y="0"/>
                  </a:lnTo>
                  <a:cubicBezTo>
                    <a:pt x="4584" y="0"/>
                    <a:pt x="4513" y="72"/>
                    <a:pt x="4513" y="167"/>
                  </a:cubicBezTo>
                  <a:lnTo>
                    <a:pt x="4513" y="524"/>
                  </a:lnTo>
                  <a:lnTo>
                    <a:pt x="1381" y="524"/>
                  </a:lnTo>
                  <a:lnTo>
                    <a:pt x="1381" y="167"/>
                  </a:lnTo>
                  <a:cubicBezTo>
                    <a:pt x="1381" y="72"/>
                    <a:pt x="1310"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76" name="Google Shape;12276;p62"/>
          <p:cNvGrpSpPr/>
          <p:nvPr/>
        </p:nvGrpSpPr>
        <p:grpSpPr>
          <a:xfrm>
            <a:off x="5343544" y="1509358"/>
            <a:ext cx="244676" cy="351095"/>
            <a:chOff x="5343544" y="1509358"/>
            <a:chExt cx="244676" cy="351095"/>
          </a:xfrm>
        </p:grpSpPr>
        <p:sp>
          <p:nvSpPr>
            <p:cNvPr id="12277" name="Google Shape;12277;p62"/>
            <p:cNvSpPr/>
            <p:nvPr/>
          </p:nvSpPr>
          <p:spPr>
            <a:xfrm>
              <a:off x="5430658" y="1574494"/>
              <a:ext cx="25031" cy="10655"/>
            </a:xfrm>
            <a:custGeom>
              <a:avLst/>
              <a:gdLst/>
              <a:ahLst/>
              <a:cxnLst/>
              <a:rect l="l" t="t" r="r" b="b"/>
              <a:pathLst>
                <a:path w="787" h="335" extrusionOk="0">
                  <a:moveTo>
                    <a:pt x="167" y="1"/>
                  </a:moveTo>
                  <a:cubicBezTo>
                    <a:pt x="72" y="1"/>
                    <a:pt x="0" y="72"/>
                    <a:pt x="0" y="168"/>
                  </a:cubicBezTo>
                  <a:cubicBezTo>
                    <a:pt x="0" y="263"/>
                    <a:pt x="72" y="334"/>
                    <a:pt x="167" y="334"/>
                  </a:cubicBezTo>
                  <a:lnTo>
                    <a:pt x="619" y="334"/>
                  </a:lnTo>
                  <a:cubicBezTo>
                    <a:pt x="715" y="334"/>
                    <a:pt x="786" y="263"/>
                    <a:pt x="786" y="168"/>
                  </a:cubicBezTo>
                  <a:cubicBezTo>
                    <a:pt x="786" y="72"/>
                    <a:pt x="715" y="1"/>
                    <a:pt x="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8" name="Google Shape;12278;p62"/>
            <p:cNvSpPr/>
            <p:nvPr/>
          </p:nvSpPr>
          <p:spPr>
            <a:xfrm>
              <a:off x="5447706" y="1613137"/>
              <a:ext cx="39025" cy="38643"/>
            </a:xfrm>
            <a:custGeom>
              <a:avLst/>
              <a:gdLst/>
              <a:ahLst/>
              <a:cxnLst/>
              <a:rect l="l" t="t" r="r" b="b"/>
              <a:pathLst>
                <a:path w="1227" h="1215" extrusionOk="0">
                  <a:moveTo>
                    <a:pt x="607" y="322"/>
                  </a:moveTo>
                  <a:cubicBezTo>
                    <a:pt x="774" y="322"/>
                    <a:pt x="893" y="453"/>
                    <a:pt x="893" y="608"/>
                  </a:cubicBezTo>
                  <a:cubicBezTo>
                    <a:pt x="893" y="750"/>
                    <a:pt x="774" y="893"/>
                    <a:pt x="607" y="893"/>
                  </a:cubicBezTo>
                  <a:cubicBezTo>
                    <a:pt x="453" y="893"/>
                    <a:pt x="322" y="750"/>
                    <a:pt x="322" y="608"/>
                  </a:cubicBezTo>
                  <a:cubicBezTo>
                    <a:pt x="322" y="453"/>
                    <a:pt x="464" y="322"/>
                    <a:pt x="607" y="322"/>
                  </a:cubicBezTo>
                  <a:close/>
                  <a:moveTo>
                    <a:pt x="607" y="0"/>
                  </a:moveTo>
                  <a:cubicBezTo>
                    <a:pt x="274" y="0"/>
                    <a:pt x="0" y="262"/>
                    <a:pt x="0" y="608"/>
                  </a:cubicBezTo>
                  <a:cubicBezTo>
                    <a:pt x="0" y="953"/>
                    <a:pt x="274" y="1215"/>
                    <a:pt x="607" y="1215"/>
                  </a:cubicBezTo>
                  <a:cubicBezTo>
                    <a:pt x="953" y="1215"/>
                    <a:pt x="1215" y="953"/>
                    <a:pt x="1215" y="608"/>
                  </a:cubicBezTo>
                  <a:cubicBezTo>
                    <a:pt x="1226" y="262"/>
                    <a:pt x="953" y="0"/>
                    <a:pt x="6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9" name="Google Shape;12279;p62"/>
            <p:cNvSpPr/>
            <p:nvPr/>
          </p:nvSpPr>
          <p:spPr>
            <a:xfrm>
              <a:off x="5343544" y="1509358"/>
              <a:ext cx="244676" cy="351095"/>
            </a:xfrm>
            <a:custGeom>
              <a:avLst/>
              <a:gdLst/>
              <a:ahLst/>
              <a:cxnLst/>
              <a:rect l="l" t="t" r="r" b="b"/>
              <a:pathLst>
                <a:path w="7693" h="11039" extrusionOk="0">
                  <a:moveTo>
                    <a:pt x="4728" y="311"/>
                  </a:moveTo>
                  <a:lnTo>
                    <a:pt x="4728" y="1192"/>
                  </a:lnTo>
                  <a:cubicBezTo>
                    <a:pt x="4728" y="1275"/>
                    <a:pt x="4811" y="1346"/>
                    <a:pt x="4894" y="1346"/>
                  </a:cubicBezTo>
                  <a:cubicBezTo>
                    <a:pt x="4990" y="1346"/>
                    <a:pt x="5061" y="1275"/>
                    <a:pt x="5061" y="1192"/>
                  </a:cubicBezTo>
                  <a:lnTo>
                    <a:pt x="5061" y="322"/>
                  </a:lnTo>
                  <a:cubicBezTo>
                    <a:pt x="5716" y="418"/>
                    <a:pt x="6216" y="965"/>
                    <a:pt x="6216" y="1644"/>
                  </a:cubicBezTo>
                  <a:lnTo>
                    <a:pt x="6216" y="2037"/>
                  </a:lnTo>
                  <a:lnTo>
                    <a:pt x="4418" y="2037"/>
                  </a:lnTo>
                  <a:cubicBezTo>
                    <a:pt x="4335" y="2037"/>
                    <a:pt x="4251" y="2108"/>
                    <a:pt x="4251" y="2204"/>
                  </a:cubicBezTo>
                  <a:cubicBezTo>
                    <a:pt x="4251" y="2287"/>
                    <a:pt x="4335" y="2358"/>
                    <a:pt x="4418" y="2358"/>
                  </a:cubicBezTo>
                  <a:lnTo>
                    <a:pt x="6216" y="2358"/>
                  </a:lnTo>
                  <a:lnTo>
                    <a:pt x="6216" y="2704"/>
                  </a:lnTo>
                  <a:lnTo>
                    <a:pt x="4418" y="2704"/>
                  </a:lnTo>
                  <a:cubicBezTo>
                    <a:pt x="4335" y="2704"/>
                    <a:pt x="4251" y="2775"/>
                    <a:pt x="4251" y="2870"/>
                  </a:cubicBezTo>
                  <a:cubicBezTo>
                    <a:pt x="4251" y="2966"/>
                    <a:pt x="4335" y="3037"/>
                    <a:pt x="4418" y="3037"/>
                  </a:cubicBezTo>
                  <a:lnTo>
                    <a:pt x="6216" y="3037"/>
                  </a:lnTo>
                  <a:lnTo>
                    <a:pt x="6216" y="3382"/>
                  </a:lnTo>
                  <a:lnTo>
                    <a:pt x="4894" y="3382"/>
                  </a:lnTo>
                  <a:cubicBezTo>
                    <a:pt x="4811" y="3382"/>
                    <a:pt x="4728" y="3454"/>
                    <a:pt x="4728" y="3537"/>
                  </a:cubicBezTo>
                  <a:cubicBezTo>
                    <a:pt x="4728" y="3632"/>
                    <a:pt x="4811" y="3704"/>
                    <a:pt x="4894" y="3704"/>
                  </a:cubicBezTo>
                  <a:lnTo>
                    <a:pt x="6216" y="3704"/>
                  </a:lnTo>
                  <a:lnTo>
                    <a:pt x="6216" y="4049"/>
                  </a:lnTo>
                  <a:lnTo>
                    <a:pt x="4894" y="4049"/>
                  </a:lnTo>
                  <a:cubicBezTo>
                    <a:pt x="4811" y="4049"/>
                    <a:pt x="4728" y="4121"/>
                    <a:pt x="4728" y="4216"/>
                  </a:cubicBezTo>
                  <a:cubicBezTo>
                    <a:pt x="4728" y="4299"/>
                    <a:pt x="4811" y="4371"/>
                    <a:pt x="4894" y="4371"/>
                  </a:cubicBezTo>
                  <a:lnTo>
                    <a:pt x="6216" y="4371"/>
                  </a:lnTo>
                  <a:lnTo>
                    <a:pt x="6216" y="4716"/>
                  </a:lnTo>
                  <a:lnTo>
                    <a:pt x="4418" y="4716"/>
                  </a:lnTo>
                  <a:cubicBezTo>
                    <a:pt x="4335" y="4716"/>
                    <a:pt x="4251" y="4787"/>
                    <a:pt x="4251" y="4883"/>
                  </a:cubicBezTo>
                  <a:cubicBezTo>
                    <a:pt x="4251" y="4966"/>
                    <a:pt x="4335" y="5049"/>
                    <a:pt x="4418" y="5049"/>
                  </a:cubicBezTo>
                  <a:lnTo>
                    <a:pt x="6216" y="5049"/>
                  </a:lnTo>
                  <a:lnTo>
                    <a:pt x="6216" y="5383"/>
                  </a:lnTo>
                  <a:lnTo>
                    <a:pt x="4418" y="5383"/>
                  </a:lnTo>
                  <a:cubicBezTo>
                    <a:pt x="4335" y="5383"/>
                    <a:pt x="4251" y="5466"/>
                    <a:pt x="4251" y="5549"/>
                  </a:cubicBezTo>
                  <a:cubicBezTo>
                    <a:pt x="4251" y="5645"/>
                    <a:pt x="4335" y="5716"/>
                    <a:pt x="4418" y="5716"/>
                  </a:cubicBezTo>
                  <a:lnTo>
                    <a:pt x="6216" y="5716"/>
                  </a:lnTo>
                  <a:lnTo>
                    <a:pt x="6216" y="6097"/>
                  </a:lnTo>
                  <a:cubicBezTo>
                    <a:pt x="6216" y="6788"/>
                    <a:pt x="5716" y="7335"/>
                    <a:pt x="5061" y="7430"/>
                  </a:cubicBezTo>
                  <a:lnTo>
                    <a:pt x="5061" y="6538"/>
                  </a:lnTo>
                  <a:cubicBezTo>
                    <a:pt x="5061" y="6442"/>
                    <a:pt x="4990" y="6371"/>
                    <a:pt x="4894" y="6371"/>
                  </a:cubicBezTo>
                  <a:cubicBezTo>
                    <a:pt x="4811" y="6371"/>
                    <a:pt x="4728" y="6442"/>
                    <a:pt x="4728" y="6538"/>
                  </a:cubicBezTo>
                  <a:lnTo>
                    <a:pt x="4728" y="7407"/>
                  </a:lnTo>
                  <a:lnTo>
                    <a:pt x="4394" y="7407"/>
                  </a:lnTo>
                  <a:lnTo>
                    <a:pt x="4394" y="6538"/>
                  </a:lnTo>
                  <a:cubicBezTo>
                    <a:pt x="4394" y="6442"/>
                    <a:pt x="4311" y="6371"/>
                    <a:pt x="4228" y="6371"/>
                  </a:cubicBezTo>
                  <a:cubicBezTo>
                    <a:pt x="4132" y="6371"/>
                    <a:pt x="4061" y="6442"/>
                    <a:pt x="4061" y="6538"/>
                  </a:cubicBezTo>
                  <a:lnTo>
                    <a:pt x="4061" y="7407"/>
                  </a:lnTo>
                  <a:lnTo>
                    <a:pt x="3716" y="7407"/>
                  </a:lnTo>
                  <a:lnTo>
                    <a:pt x="3716" y="6538"/>
                  </a:lnTo>
                  <a:cubicBezTo>
                    <a:pt x="3716" y="6442"/>
                    <a:pt x="3644" y="6371"/>
                    <a:pt x="3561" y="6371"/>
                  </a:cubicBezTo>
                  <a:cubicBezTo>
                    <a:pt x="3466" y="6371"/>
                    <a:pt x="3394" y="6442"/>
                    <a:pt x="3394" y="6538"/>
                  </a:cubicBezTo>
                  <a:lnTo>
                    <a:pt x="3394" y="7407"/>
                  </a:lnTo>
                  <a:lnTo>
                    <a:pt x="3049" y="7407"/>
                  </a:lnTo>
                  <a:lnTo>
                    <a:pt x="3049" y="6538"/>
                  </a:lnTo>
                  <a:cubicBezTo>
                    <a:pt x="3049" y="6442"/>
                    <a:pt x="2977" y="6371"/>
                    <a:pt x="2882" y="6371"/>
                  </a:cubicBezTo>
                  <a:cubicBezTo>
                    <a:pt x="2799" y="6371"/>
                    <a:pt x="2727" y="6442"/>
                    <a:pt x="2727" y="6538"/>
                  </a:cubicBezTo>
                  <a:lnTo>
                    <a:pt x="2727" y="7395"/>
                  </a:lnTo>
                  <a:cubicBezTo>
                    <a:pt x="2073" y="7311"/>
                    <a:pt x="1561" y="6752"/>
                    <a:pt x="1561" y="6073"/>
                  </a:cubicBezTo>
                  <a:lnTo>
                    <a:pt x="1561" y="5680"/>
                  </a:lnTo>
                  <a:lnTo>
                    <a:pt x="3358" y="5680"/>
                  </a:lnTo>
                  <a:cubicBezTo>
                    <a:pt x="3454" y="5680"/>
                    <a:pt x="3525" y="5609"/>
                    <a:pt x="3525" y="5525"/>
                  </a:cubicBezTo>
                  <a:cubicBezTo>
                    <a:pt x="3525" y="5430"/>
                    <a:pt x="3454" y="5359"/>
                    <a:pt x="3358" y="5359"/>
                  </a:cubicBezTo>
                  <a:lnTo>
                    <a:pt x="1561" y="5359"/>
                  </a:lnTo>
                  <a:lnTo>
                    <a:pt x="1561" y="5014"/>
                  </a:lnTo>
                  <a:lnTo>
                    <a:pt x="3358" y="5014"/>
                  </a:lnTo>
                  <a:cubicBezTo>
                    <a:pt x="3454" y="5014"/>
                    <a:pt x="3525" y="4942"/>
                    <a:pt x="3525" y="4847"/>
                  </a:cubicBezTo>
                  <a:cubicBezTo>
                    <a:pt x="3525" y="4763"/>
                    <a:pt x="3454" y="4680"/>
                    <a:pt x="3358" y="4680"/>
                  </a:cubicBezTo>
                  <a:lnTo>
                    <a:pt x="1561" y="4680"/>
                  </a:lnTo>
                  <a:lnTo>
                    <a:pt x="1561" y="4347"/>
                  </a:lnTo>
                  <a:lnTo>
                    <a:pt x="2894" y="4347"/>
                  </a:lnTo>
                  <a:cubicBezTo>
                    <a:pt x="2977" y="4347"/>
                    <a:pt x="3049" y="4263"/>
                    <a:pt x="3049" y="4180"/>
                  </a:cubicBezTo>
                  <a:cubicBezTo>
                    <a:pt x="3049" y="4085"/>
                    <a:pt x="2977" y="4013"/>
                    <a:pt x="2894" y="4013"/>
                  </a:cubicBezTo>
                  <a:lnTo>
                    <a:pt x="1561" y="4013"/>
                  </a:lnTo>
                  <a:lnTo>
                    <a:pt x="1561" y="3668"/>
                  </a:lnTo>
                  <a:lnTo>
                    <a:pt x="2894" y="3668"/>
                  </a:lnTo>
                  <a:cubicBezTo>
                    <a:pt x="2977" y="3668"/>
                    <a:pt x="3049" y="3597"/>
                    <a:pt x="3049" y="3513"/>
                  </a:cubicBezTo>
                  <a:cubicBezTo>
                    <a:pt x="3049" y="3418"/>
                    <a:pt x="2977" y="3347"/>
                    <a:pt x="2894" y="3347"/>
                  </a:cubicBezTo>
                  <a:lnTo>
                    <a:pt x="1561" y="3347"/>
                  </a:lnTo>
                  <a:lnTo>
                    <a:pt x="1561" y="3001"/>
                  </a:lnTo>
                  <a:lnTo>
                    <a:pt x="3358" y="3001"/>
                  </a:lnTo>
                  <a:cubicBezTo>
                    <a:pt x="3454" y="3001"/>
                    <a:pt x="3525" y="2930"/>
                    <a:pt x="3525" y="2835"/>
                  </a:cubicBezTo>
                  <a:cubicBezTo>
                    <a:pt x="3525" y="2751"/>
                    <a:pt x="3454" y="2680"/>
                    <a:pt x="3358" y="2680"/>
                  </a:cubicBezTo>
                  <a:lnTo>
                    <a:pt x="1561" y="2680"/>
                  </a:lnTo>
                  <a:lnTo>
                    <a:pt x="1561" y="2370"/>
                  </a:lnTo>
                  <a:lnTo>
                    <a:pt x="2156" y="2370"/>
                  </a:lnTo>
                  <a:cubicBezTo>
                    <a:pt x="2251" y="2370"/>
                    <a:pt x="2323" y="2287"/>
                    <a:pt x="2323" y="2204"/>
                  </a:cubicBezTo>
                  <a:cubicBezTo>
                    <a:pt x="2323" y="2108"/>
                    <a:pt x="2251" y="2037"/>
                    <a:pt x="2156" y="2037"/>
                  </a:cubicBezTo>
                  <a:lnTo>
                    <a:pt x="1561" y="2037"/>
                  </a:lnTo>
                  <a:lnTo>
                    <a:pt x="1561" y="1644"/>
                  </a:lnTo>
                  <a:cubicBezTo>
                    <a:pt x="1561" y="965"/>
                    <a:pt x="2073" y="418"/>
                    <a:pt x="2727" y="322"/>
                  </a:cubicBezTo>
                  <a:lnTo>
                    <a:pt x="2727" y="1192"/>
                  </a:lnTo>
                  <a:cubicBezTo>
                    <a:pt x="2727" y="1275"/>
                    <a:pt x="2799" y="1346"/>
                    <a:pt x="2882" y="1346"/>
                  </a:cubicBezTo>
                  <a:cubicBezTo>
                    <a:pt x="2977" y="1346"/>
                    <a:pt x="3049" y="1275"/>
                    <a:pt x="3049" y="1192"/>
                  </a:cubicBezTo>
                  <a:lnTo>
                    <a:pt x="3049" y="311"/>
                  </a:lnTo>
                  <a:lnTo>
                    <a:pt x="3394" y="311"/>
                  </a:lnTo>
                  <a:lnTo>
                    <a:pt x="3394" y="1192"/>
                  </a:lnTo>
                  <a:cubicBezTo>
                    <a:pt x="3394" y="1275"/>
                    <a:pt x="3466" y="1346"/>
                    <a:pt x="3561" y="1346"/>
                  </a:cubicBezTo>
                  <a:cubicBezTo>
                    <a:pt x="3644" y="1346"/>
                    <a:pt x="3716" y="1275"/>
                    <a:pt x="3716" y="1192"/>
                  </a:cubicBezTo>
                  <a:lnTo>
                    <a:pt x="3716" y="311"/>
                  </a:lnTo>
                  <a:lnTo>
                    <a:pt x="4061" y="311"/>
                  </a:lnTo>
                  <a:lnTo>
                    <a:pt x="4061" y="1192"/>
                  </a:lnTo>
                  <a:cubicBezTo>
                    <a:pt x="4061" y="1275"/>
                    <a:pt x="4132" y="1346"/>
                    <a:pt x="4228" y="1346"/>
                  </a:cubicBezTo>
                  <a:cubicBezTo>
                    <a:pt x="4311" y="1346"/>
                    <a:pt x="4394" y="1275"/>
                    <a:pt x="4394" y="1192"/>
                  </a:cubicBezTo>
                  <a:lnTo>
                    <a:pt x="4394" y="311"/>
                  </a:lnTo>
                  <a:close/>
                  <a:moveTo>
                    <a:pt x="6776" y="5025"/>
                  </a:moveTo>
                  <a:lnTo>
                    <a:pt x="6776" y="6192"/>
                  </a:lnTo>
                  <a:cubicBezTo>
                    <a:pt x="6776" y="7216"/>
                    <a:pt x="5942" y="8050"/>
                    <a:pt x="4906" y="8050"/>
                  </a:cubicBezTo>
                  <a:lnTo>
                    <a:pt x="2882" y="8050"/>
                  </a:lnTo>
                  <a:cubicBezTo>
                    <a:pt x="1858" y="8050"/>
                    <a:pt x="1025" y="7216"/>
                    <a:pt x="1025" y="6192"/>
                  </a:cubicBezTo>
                  <a:lnTo>
                    <a:pt x="1013" y="5025"/>
                  </a:lnTo>
                  <a:lnTo>
                    <a:pt x="1251" y="5025"/>
                  </a:lnTo>
                  <a:lnTo>
                    <a:pt x="1251" y="6085"/>
                  </a:lnTo>
                  <a:cubicBezTo>
                    <a:pt x="1251" y="6990"/>
                    <a:pt x="1977" y="7728"/>
                    <a:pt x="2882" y="7740"/>
                  </a:cubicBezTo>
                  <a:lnTo>
                    <a:pt x="4894" y="7740"/>
                  </a:lnTo>
                  <a:cubicBezTo>
                    <a:pt x="5799" y="7728"/>
                    <a:pt x="6537" y="6978"/>
                    <a:pt x="6537" y="6085"/>
                  </a:cubicBezTo>
                  <a:lnTo>
                    <a:pt x="6537" y="5025"/>
                  </a:lnTo>
                  <a:close/>
                  <a:moveTo>
                    <a:pt x="4144" y="8966"/>
                  </a:moveTo>
                  <a:lnTo>
                    <a:pt x="4144" y="9966"/>
                  </a:lnTo>
                  <a:lnTo>
                    <a:pt x="3620" y="9966"/>
                  </a:lnTo>
                  <a:lnTo>
                    <a:pt x="3620" y="8966"/>
                  </a:lnTo>
                  <a:close/>
                  <a:moveTo>
                    <a:pt x="6299" y="10300"/>
                  </a:moveTo>
                  <a:cubicBezTo>
                    <a:pt x="6561" y="10300"/>
                    <a:pt x="6787" y="10478"/>
                    <a:pt x="6859" y="10717"/>
                  </a:cubicBezTo>
                  <a:lnTo>
                    <a:pt x="918" y="10717"/>
                  </a:lnTo>
                  <a:cubicBezTo>
                    <a:pt x="1001" y="10478"/>
                    <a:pt x="1215" y="10300"/>
                    <a:pt x="1489" y="10300"/>
                  </a:cubicBezTo>
                  <a:close/>
                  <a:moveTo>
                    <a:pt x="2835" y="1"/>
                  </a:moveTo>
                  <a:cubicBezTo>
                    <a:pt x="1918" y="13"/>
                    <a:pt x="1191" y="763"/>
                    <a:pt x="1191" y="1656"/>
                  </a:cubicBezTo>
                  <a:lnTo>
                    <a:pt x="1191" y="4704"/>
                  </a:lnTo>
                  <a:lnTo>
                    <a:pt x="953" y="4704"/>
                  </a:lnTo>
                  <a:lnTo>
                    <a:pt x="953" y="4502"/>
                  </a:lnTo>
                  <a:cubicBezTo>
                    <a:pt x="953" y="4252"/>
                    <a:pt x="751" y="4037"/>
                    <a:pt x="477" y="4037"/>
                  </a:cubicBezTo>
                  <a:cubicBezTo>
                    <a:pt x="227" y="4037"/>
                    <a:pt x="1" y="4240"/>
                    <a:pt x="1" y="4502"/>
                  </a:cubicBezTo>
                  <a:lnTo>
                    <a:pt x="1" y="6168"/>
                  </a:lnTo>
                  <a:cubicBezTo>
                    <a:pt x="1" y="7716"/>
                    <a:pt x="1251" y="8966"/>
                    <a:pt x="2799" y="8966"/>
                  </a:cubicBezTo>
                  <a:lnTo>
                    <a:pt x="3227" y="8966"/>
                  </a:lnTo>
                  <a:lnTo>
                    <a:pt x="3227" y="9966"/>
                  </a:lnTo>
                  <a:lnTo>
                    <a:pt x="1406" y="9966"/>
                  </a:lnTo>
                  <a:cubicBezTo>
                    <a:pt x="906" y="9966"/>
                    <a:pt x="489" y="10371"/>
                    <a:pt x="489" y="10883"/>
                  </a:cubicBezTo>
                  <a:cubicBezTo>
                    <a:pt x="489" y="10967"/>
                    <a:pt x="572" y="11038"/>
                    <a:pt x="656" y="11038"/>
                  </a:cubicBezTo>
                  <a:lnTo>
                    <a:pt x="6966" y="11038"/>
                  </a:lnTo>
                  <a:cubicBezTo>
                    <a:pt x="7061" y="11038"/>
                    <a:pt x="7133" y="10967"/>
                    <a:pt x="7133" y="10883"/>
                  </a:cubicBezTo>
                  <a:cubicBezTo>
                    <a:pt x="7133" y="10383"/>
                    <a:pt x="6728" y="9966"/>
                    <a:pt x="6228" y="9966"/>
                  </a:cubicBezTo>
                  <a:lnTo>
                    <a:pt x="4466" y="9966"/>
                  </a:lnTo>
                  <a:lnTo>
                    <a:pt x="4466" y="8966"/>
                  </a:lnTo>
                  <a:lnTo>
                    <a:pt x="4894" y="8966"/>
                  </a:lnTo>
                  <a:cubicBezTo>
                    <a:pt x="6442" y="8966"/>
                    <a:pt x="7692" y="7728"/>
                    <a:pt x="7692" y="6168"/>
                  </a:cubicBezTo>
                  <a:lnTo>
                    <a:pt x="7692" y="5978"/>
                  </a:lnTo>
                  <a:cubicBezTo>
                    <a:pt x="7692" y="5895"/>
                    <a:pt x="7621" y="5811"/>
                    <a:pt x="7538" y="5811"/>
                  </a:cubicBezTo>
                  <a:cubicBezTo>
                    <a:pt x="7442" y="5811"/>
                    <a:pt x="7371" y="5895"/>
                    <a:pt x="7371" y="5978"/>
                  </a:cubicBezTo>
                  <a:lnTo>
                    <a:pt x="7371" y="6168"/>
                  </a:lnTo>
                  <a:cubicBezTo>
                    <a:pt x="7371" y="7538"/>
                    <a:pt x="6252" y="8657"/>
                    <a:pt x="4882" y="8657"/>
                  </a:cubicBezTo>
                  <a:lnTo>
                    <a:pt x="2858" y="8657"/>
                  </a:lnTo>
                  <a:cubicBezTo>
                    <a:pt x="1489" y="8657"/>
                    <a:pt x="370" y="7538"/>
                    <a:pt x="370" y="6168"/>
                  </a:cubicBezTo>
                  <a:lnTo>
                    <a:pt x="370" y="4502"/>
                  </a:lnTo>
                  <a:cubicBezTo>
                    <a:pt x="370" y="4418"/>
                    <a:pt x="453" y="4359"/>
                    <a:pt x="525" y="4359"/>
                  </a:cubicBezTo>
                  <a:cubicBezTo>
                    <a:pt x="596" y="4359"/>
                    <a:pt x="668" y="4430"/>
                    <a:pt x="668" y="4502"/>
                  </a:cubicBezTo>
                  <a:lnTo>
                    <a:pt x="668" y="6168"/>
                  </a:lnTo>
                  <a:cubicBezTo>
                    <a:pt x="668" y="7383"/>
                    <a:pt x="1656" y="8347"/>
                    <a:pt x="2846" y="8347"/>
                  </a:cubicBezTo>
                  <a:lnTo>
                    <a:pt x="4871" y="8347"/>
                  </a:lnTo>
                  <a:cubicBezTo>
                    <a:pt x="6073" y="8347"/>
                    <a:pt x="7037" y="7359"/>
                    <a:pt x="7037" y="6168"/>
                  </a:cubicBezTo>
                  <a:lnTo>
                    <a:pt x="7037" y="4502"/>
                  </a:lnTo>
                  <a:cubicBezTo>
                    <a:pt x="7037" y="4418"/>
                    <a:pt x="7121" y="4359"/>
                    <a:pt x="7192" y="4359"/>
                  </a:cubicBezTo>
                  <a:cubicBezTo>
                    <a:pt x="7276" y="4359"/>
                    <a:pt x="7335" y="4430"/>
                    <a:pt x="7335" y="4502"/>
                  </a:cubicBezTo>
                  <a:lnTo>
                    <a:pt x="7335" y="5252"/>
                  </a:lnTo>
                  <a:cubicBezTo>
                    <a:pt x="7335" y="5347"/>
                    <a:pt x="7418" y="5418"/>
                    <a:pt x="7502" y="5418"/>
                  </a:cubicBezTo>
                  <a:cubicBezTo>
                    <a:pt x="7585" y="5418"/>
                    <a:pt x="7668" y="5347"/>
                    <a:pt x="7668" y="5252"/>
                  </a:cubicBezTo>
                  <a:lnTo>
                    <a:pt x="7668" y="4502"/>
                  </a:lnTo>
                  <a:cubicBezTo>
                    <a:pt x="7668" y="4252"/>
                    <a:pt x="7454" y="4037"/>
                    <a:pt x="7192" y="4037"/>
                  </a:cubicBezTo>
                  <a:cubicBezTo>
                    <a:pt x="6930" y="4037"/>
                    <a:pt x="6716" y="4240"/>
                    <a:pt x="6716" y="4502"/>
                  </a:cubicBezTo>
                  <a:lnTo>
                    <a:pt x="6716" y="4704"/>
                  </a:lnTo>
                  <a:lnTo>
                    <a:pt x="6478" y="4704"/>
                  </a:lnTo>
                  <a:lnTo>
                    <a:pt x="6478" y="1656"/>
                  </a:lnTo>
                  <a:cubicBezTo>
                    <a:pt x="6478" y="739"/>
                    <a:pt x="5740" y="13"/>
                    <a:pt x="48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0" name="Google Shape;12280;p62"/>
          <p:cNvGrpSpPr/>
          <p:nvPr/>
        </p:nvGrpSpPr>
        <p:grpSpPr>
          <a:xfrm>
            <a:off x="4882340" y="1509358"/>
            <a:ext cx="246171" cy="351095"/>
            <a:chOff x="4882340" y="1509358"/>
            <a:chExt cx="246171" cy="351095"/>
          </a:xfrm>
        </p:grpSpPr>
        <p:sp>
          <p:nvSpPr>
            <p:cNvPr id="12281" name="Google Shape;12281;p62"/>
            <p:cNvSpPr/>
            <p:nvPr/>
          </p:nvSpPr>
          <p:spPr>
            <a:xfrm>
              <a:off x="4935709" y="1576784"/>
              <a:ext cx="30724" cy="30692"/>
            </a:xfrm>
            <a:custGeom>
              <a:avLst/>
              <a:gdLst/>
              <a:ahLst/>
              <a:cxnLst/>
              <a:rect l="l" t="t" r="r" b="b"/>
              <a:pathLst>
                <a:path w="966" h="965" extrusionOk="0">
                  <a:moveTo>
                    <a:pt x="787" y="0"/>
                  </a:moveTo>
                  <a:cubicBezTo>
                    <a:pt x="346" y="0"/>
                    <a:pt x="1" y="357"/>
                    <a:pt x="1" y="798"/>
                  </a:cubicBezTo>
                  <a:cubicBezTo>
                    <a:pt x="1" y="881"/>
                    <a:pt x="72" y="965"/>
                    <a:pt x="156" y="965"/>
                  </a:cubicBezTo>
                  <a:cubicBezTo>
                    <a:pt x="251" y="965"/>
                    <a:pt x="322" y="881"/>
                    <a:pt x="322" y="798"/>
                  </a:cubicBezTo>
                  <a:cubicBezTo>
                    <a:pt x="322" y="548"/>
                    <a:pt x="525" y="322"/>
                    <a:pt x="799" y="322"/>
                  </a:cubicBezTo>
                  <a:cubicBezTo>
                    <a:pt x="882" y="322"/>
                    <a:pt x="965" y="250"/>
                    <a:pt x="965" y="155"/>
                  </a:cubicBezTo>
                  <a:cubicBezTo>
                    <a:pt x="953" y="84"/>
                    <a:pt x="870" y="0"/>
                    <a:pt x="7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2" name="Google Shape;12282;p62"/>
            <p:cNvSpPr/>
            <p:nvPr/>
          </p:nvSpPr>
          <p:spPr>
            <a:xfrm>
              <a:off x="5043655" y="1597235"/>
              <a:ext cx="30692" cy="31073"/>
            </a:xfrm>
            <a:custGeom>
              <a:avLst/>
              <a:gdLst/>
              <a:ahLst/>
              <a:cxnLst/>
              <a:rect l="l" t="t" r="r" b="b"/>
              <a:pathLst>
                <a:path w="965" h="977" extrusionOk="0">
                  <a:moveTo>
                    <a:pt x="155" y="0"/>
                  </a:moveTo>
                  <a:cubicBezTo>
                    <a:pt x="72" y="0"/>
                    <a:pt x="0" y="84"/>
                    <a:pt x="0" y="167"/>
                  </a:cubicBezTo>
                  <a:cubicBezTo>
                    <a:pt x="0" y="262"/>
                    <a:pt x="72" y="334"/>
                    <a:pt x="155" y="334"/>
                  </a:cubicBezTo>
                  <a:cubicBezTo>
                    <a:pt x="417" y="334"/>
                    <a:pt x="631" y="536"/>
                    <a:pt x="631" y="810"/>
                  </a:cubicBezTo>
                  <a:cubicBezTo>
                    <a:pt x="631" y="893"/>
                    <a:pt x="714" y="977"/>
                    <a:pt x="798" y="977"/>
                  </a:cubicBezTo>
                  <a:cubicBezTo>
                    <a:pt x="881" y="977"/>
                    <a:pt x="965" y="893"/>
                    <a:pt x="965" y="810"/>
                  </a:cubicBezTo>
                  <a:cubicBezTo>
                    <a:pt x="953" y="357"/>
                    <a:pt x="584"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3" name="Google Shape;12283;p62"/>
            <p:cNvSpPr/>
            <p:nvPr/>
          </p:nvSpPr>
          <p:spPr>
            <a:xfrm>
              <a:off x="4993657" y="1538046"/>
              <a:ext cx="36003" cy="26271"/>
            </a:xfrm>
            <a:custGeom>
              <a:avLst/>
              <a:gdLst/>
              <a:ahLst/>
              <a:cxnLst/>
              <a:rect l="l" t="t" r="r" b="b"/>
              <a:pathLst>
                <a:path w="1132" h="826" extrusionOk="0">
                  <a:moveTo>
                    <a:pt x="315" y="0"/>
                  </a:moveTo>
                  <a:cubicBezTo>
                    <a:pt x="262" y="0"/>
                    <a:pt x="209" y="5"/>
                    <a:pt x="155" y="16"/>
                  </a:cubicBezTo>
                  <a:cubicBezTo>
                    <a:pt x="60" y="28"/>
                    <a:pt x="0" y="123"/>
                    <a:pt x="36" y="206"/>
                  </a:cubicBezTo>
                  <a:cubicBezTo>
                    <a:pt x="46" y="282"/>
                    <a:pt x="109" y="336"/>
                    <a:pt x="176" y="336"/>
                  </a:cubicBezTo>
                  <a:cubicBezTo>
                    <a:pt x="193" y="336"/>
                    <a:pt x="210" y="332"/>
                    <a:pt x="227" y="325"/>
                  </a:cubicBezTo>
                  <a:cubicBezTo>
                    <a:pt x="257" y="320"/>
                    <a:pt x="288" y="317"/>
                    <a:pt x="318" y="317"/>
                  </a:cubicBezTo>
                  <a:cubicBezTo>
                    <a:pt x="537" y="317"/>
                    <a:pt x="744" y="463"/>
                    <a:pt x="786" y="683"/>
                  </a:cubicBezTo>
                  <a:cubicBezTo>
                    <a:pt x="810" y="766"/>
                    <a:pt x="882" y="825"/>
                    <a:pt x="953" y="825"/>
                  </a:cubicBezTo>
                  <a:lnTo>
                    <a:pt x="989" y="825"/>
                  </a:lnTo>
                  <a:cubicBezTo>
                    <a:pt x="1072" y="790"/>
                    <a:pt x="1132" y="718"/>
                    <a:pt x="1108" y="623"/>
                  </a:cubicBezTo>
                  <a:cubicBezTo>
                    <a:pt x="1024" y="248"/>
                    <a:pt x="686" y="0"/>
                    <a:pt x="3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4" name="Google Shape;12284;p62"/>
            <p:cNvSpPr/>
            <p:nvPr/>
          </p:nvSpPr>
          <p:spPr>
            <a:xfrm>
              <a:off x="4931924" y="1693795"/>
              <a:ext cx="146589" cy="104161"/>
            </a:xfrm>
            <a:custGeom>
              <a:avLst/>
              <a:gdLst/>
              <a:ahLst/>
              <a:cxnLst/>
              <a:rect l="l" t="t" r="r" b="b"/>
              <a:pathLst>
                <a:path w="4609" h="3275" extrusionOk="0">
                  <a:moveTo>
                    <a:pt x="2299" y="334"/>
                  </a:moveTo>
                  <a:cubicBezTo>
                    <a:pt x="2834" y="334"/>
                    <a:pt x="3346" y="477"/>
                    <a:pt x="3716" y="727"/>
                  </a:cubicBezTo>
                  <a:cubicBezTo>
                    <a:pt x="4073" y="989"/>
                    <a:pt x="4263" y="1298"/>
                    <a:pt x="4263" y="1643"/>
                  </a:cubicBezTo>
                  <a:cubicBezTo>
                    <a:pt x="4287" y="1977"/>
                    <a:pt x="4073" y="2298"/>
                    <a:pt x="3716" y="2548"/>
                  </a:cubicBezTo>
                  <a:cubicBezTo>
                    <a:pt x="3346" y="2798"/>
                    <a:pt x="2834" y="2953"/>
                    <a:pt x="2299" y="2953"/>
                  </a:cubicBezTo>
                  <a:cubicBezTo>
                    <a:pt x="1763" y="2953"/>
                    <a:pt x="1263" y="2798"/>
                    <a:pt x="894" y="2548"/>
                  </a:cubicBezTo>
                  <a:cubicBezTo>
                    <a:pt x="525" y="2298"/>
                    <a:pt x="334" y="1977"/>
                    <a:pt x="334" y="1643"/>
                  </a:cubicBezTo>
                  <a:cubicBezTo>
                    <a:pt x="334" y="1298"/>
                    <a:pt x="525" y="989"/>
                    <a:pt x="894" y="727"/>
                  </a:cubicBezTo>
                  <a:cubicBezTo>
                    <a:pt x="1263" y="477"/>
                    <a:pt x="1763" y="334"/>
                    <a:pt x="2299" y="334"/>
                  </a:cubicBezTo>
                  <a:close/>
                  <a:moveTo>
                    <a:pt x="2299" y="0"/>
                  </a:moveTo>
                  <a:cubicBezTo>
                    <a:pt x="1703" y="0"/>
                    <a:pt x="1120" y="167"/>
                    <a:pt x="691" y="465"/>
                  </a:cubicBezTo>
                  <a:cubicBezTo>
                    <a:pt x="251" y="774"/>
                    <a:pt x="1" y="1191"/>
                    <a:pt x="1" y="1643"/>
                  </a:cubicBezTo>
                  <a:cubicBezTo>
                    <a:pt x="1" y="2084"/>
                    <a:pt x="251" y="2501"/>
                    <a:pt x="691" y="2810"/>
                  </a:cubicBezTo>
                  <a:cubicBezTo>
                    <a:pt x="1132" y="3108"/>
                    <a:pt x="1691" y="3275"/>
                    <a:pt x="2299" y="3275"/>
                  </a:cubicBezTo>
                  <a:cubicBezTo>
                    <a:pt x="2894" y="3275"/>
                    <a:pt x="3477" y="3108"/>
                    <a:pt x="3906" y="2810"/>
                  </a:cubicBezTo>
                  <a:cubicBezTo>
                    <a:pt x="4358" y="2501"/>
                    <a:pt x="4608" y="2084"/>
                    <a:pt x="4608" y="1643"/>
                  </a:cubicBezTo>
                  <a:cubicBezTo>
                    <a:pt x="4597" y="1191"/>
                    <a:pt x="4358" y="774"/>
                    <a:pt x="3906" y="465"/>
                  </a:cubicBezTo>
                  <a:cubicBezTo>
                    <a:pt x="3477" y="167"/>
                    <a:pt x="2906" y="0"/>
                    <a:pt x="2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5" name="Google Shape;12285;p62"/>
            <p:cNvSpPr/>
            <p:nvPr/>
          </p:nvSpPr>
          <p:spPr>
            <a:xfrm>
              <a:off x="4882340" y="1509358"/>
              <a:ext cx="246171" cy="351095"/>
            </a:xfrm>
            <a:custGeom>
              <a:avLst/>
              <a:gdLst/>
              <a:ahLst/>
              <a:cxnLst/>
              <a:rect l="l" t="t" r="r" b="b"/>
              <a:pathLst>
                <a:path w="7740" h="11039" extrusionOk="0">
                  <a:moveTo>
                    <a:pt x="3953" y="311"/>
                  </a:moveTo>
                  <a:cubicBezTo>
                    <a:pt x="4096" y="322"/>
                    <a:pt x="4251" y="406"/>
                    <a:pt x="4334" y="525"/>
                  </a:cubicBezTo>
                  <a:cubicBezTo>
                    <a:pt x="4371" y="571"/>
                    <a:pt x="4415" y="589"/>
                    <a:pt x="4466" y="589"/>
                  </a:cubicBezTo>
                  <a:cubicBezTo>
                    <a:pt x="4481" y="589"/>
                    <a:pt x="4496" y="587"/>
                    <a:pt x="4513" y="584"/>
                  </a:cubicBezTo>
                  <a:cubicBezTo>
                    <a:pt x="4572" y="561"/>
                    <a:pt x="4632" y="549"/>
                    <a:pt x="4691" y="549"/>
                  </a:cubicBezTo>
                  <a:cubicBezTo>
                    <a:pt x="5036" y="549"/>
                    <a:pt x="5322" y="799"/>
                    <a:pt x="5322" y="1096"/>
                  </a:cubicBezTo>
                  <a:cubicBezTo>
                    <a:pt x="5322" y="1144"/>
                    <a:pt x="5334" y="1192"/>
                    <a:pt x="5382" y="1215"/>
                  </a:cubicBezTo>
                  <a:cubicBezTo>
                    <a:pt x="5405" y="1251"/>
                    <a:pt x="5453" y="1263"/>
                    <a:pt x="5513" y="1263"/>
                  </a:cubicBezTo>
                  <a:lnTo>
                    <a:pt x="5608" y="1263"/>
                  </a:lnTo>
                  <a:cubicBezTo>
                    <a:pt x="5977" y="1263"/>
                    <a:pt x="6275" y="1537"/>
                    <a:pt x="6275" y="1870"/>
                  </a:cubicBezTo>
                  <a:cubicBezTo>
                    <a:pt x="6275" y="1966"/>
                    <a:pt x="6263" y="2037"/>
                    <a:pt x="6215" y="2108"/>
                  </a:cubicBezTo>
                  <a:cubicBezTo>
                    <a:pt x="6179" y="2168"/>
                    <a:pt x="6203" y="2227"/>
                    <a:pt x="6227" y="2275"/>
                  </a:cubicBezTo>
                  <a:cubicBezTo>
                    <a:pt x="6263" y="2323"/>
                    <a:pt x="6322" y="2347"/>
                    <a:pt x="6382" y="2347"/>
                  </a:cubicBezTo>
                  <a:lnTo>
                    <a:pt x="6441" y="2347"/>
                  </a:lnTo>
                  <a:cubicBezTo>
                    <a:pt x="6810" y="2347"/>
                    <a:pt x="7108" y="2620"/>
                    <a:pt x="7108" y="2966"/>
                  </a:cubicBezTo>
                  <a:cubicBezTo>
                    <a:pt x="7108" y="3049"/>
                    <a:pt x="7096" y="3120"/>
                    <a:pt x="7049" y="3204"/>
                  </a:cubicBezTo>
                  <a:cubicBezTo>
                    <a:pt x="7037" y="3216"/>
                    <a:pt x="7037" y="3239"/>
                    <a:pt x="7037" y="3275"/>
                  </a:cubicBezTo>
                  <a:cubicBezTo>
                    <a:pt x="7037" y="3359"/>
                    <a:pt x="7108" y="3442"/>
                    <a:pt x="7191" y="3442"/>
                  </a:cubicBezTo>
                  <a:lnTo>
                    <a:pt x="7299" y="3442"/>
                  </a:lnTo>
                  <a:cubicBezTo>
                    <a:pt x="7465" y="3442"/>
                    <a:pt x="7489" y="3561"/>
                    <a:pt x="7489" y="3597"/>
                  </a:cubicBezTo>
                  <a:cubicBezTo>
                    <a:pt x="7418" y="3680"/>
                    <a:pt x="7370" y="3763"/>
                    <a:pt x="7275" y="3811"/>
                  </a:cubicBezTo>
                  <a:cubicBezTo>
                    <a:pt x="7239" y="3811"/>
                    <a:pt x="7227" y="3823"/>
                    <a:pt x="7215" y="3835"/>
                  </a:cubicBezTo>
                  <a:lnTo>
                    <a:pt x="7191" y="3823"/>
                  </a:lnTo>
                  <a:lnTo>
                    <a:pt x="7180" y="3811"/>
                  </a:lnTo>
                  <a:cubicBezTo>
                    <a:pt x="7168" y="3811"/>
                    <a:pt x="7168" y="3787"/>
                    <a:pt x="7156" y="3787"/>
                  </a:cubicBezTo>
                  <a:cubicBezTo>
                    <a:pt x="7108" y="3763"/>
                    <a:pt x="7072" y="3728"/>
                    <a:pt x="7037" y="3716"/>
                  </a:cubicBezTo>
                  <a:cubicBezTo>
                    <a:pt x="7013" y="3716"/>
                    <a:pt x="7013" y="3704"/>
                    <a:pt x="7001" y="3704"/>
                  </a:cubicBezTo>
                  <a:cubicBezTo>
                    <a:pt x="6989" y="3704"/>
                    <a:pt x="6989" y="3692"/>
                    <a:pt x="6977" y="3692"/>
                  </a:cubicBezTo>
                  <a:cubicBezTo>
                    <a:pt x="6941" y="3668"/>
                    <a:pt x="6918" y="3668"/>
                    <a:pt x="6882" y="3656"/>
                  </a:cubicBezTo>
                  <a:lnTo>
                    <a:pt x="6477" y="3656"/>
                  </a:lnTo>
                  <a:cubicBezTo>
                    <a:pt x="6418" y="3668"/>
                    <a:pt x="6358" y="3704"/>
                    <a:pt x="6298" y="3728"/>
                  </a:cubicBezTo>
                  <a:cubicBezTo>
                    <a:pt x="6287" y="3728"/>
                    <a:pt x="6287" y="3751"/>
                    <a:pt x="6275" y="3751"/>
                  </a:cubicBezTo>
                  <a:cubicBezTo>
                    <a:pt x="6275" y="3751"/>
                    <a:pt x="6263" y="3751"/>
                    <a:pt x="6263" y="3763"/>
                  </a:cubicBezTo>
                  <a:cubicBezTo>
                    <a:pt x="6239" y="3763"/>
                    <a:pt x="6239" y="3775"/>
                    <a:pt x="6227" y="3775"/>
                  </a:cubicBezTo>
                  <a:cubicBezTo>
                    <a:pt x="6227" y="3775"/>
                    <a:pt x="6215" y="3775"/>
                    <a:pt x="6215" y="3787"/>
                  </a:cubicBezTo>
                  <a:cubicBezTo>
                    <a:pt x="6203" y="3787"/>
                    <a:pt x="6203" y="3811"/>
                    <a:pt x="6179" y="3811"/>
                  </a:cubicBezTo>
                  <a:lnTo>
                    <a:pt x="6167" y="3823"/>
                  </a:lnTo>
                  <a:lnTo>
                    <a:pt x="6156" y="3835"/>
                  </a:lnTo>
                  <a:cubicBezTo>
                    <a:pt x="6144" y="3835"/>
                    <a:pt x="6144" y="3859"/>
                    <a:pt x="6120" y="3859"/>
                  </a:cubicBezTo>
                  <a:lnTo>
                    <a:pt x="6108" y="3871"/>
                  </a:lnTo>
                  <a:lnTo>
                    <a:pt x="6084" y="3894"/>
                  </a:lnTo>
                  <a:cubicBezTo>
                    <a:pt x="6060" y="3918"/>
                    <a:pt x="6037" y="3942"/>
                    <a:pt x="6025" y="3978"/>
                  </a:cubicBezTo>
                  <a:cubicBezTo>
                    <a:pt x="6001" y="3990"/>
                    <a:pt x="6001" y="4001"/>
                    <a:pt x="5989" y="4013"/>
                  </a:cubicBezTo>
                  <a:cubicBezTo>
                    <a:pt x="5989" y="4001"/>
                    <a:pt x="5977" y="4001"/>
                    <a:pt x="5977" y="3990"/>
                  </a:cubicBezTo>
                  <a:lnTo>
                    <a:pt x="5965" y="3978"/>
                  </a:lnTo>
                  <a:cubicBezTo>
                    <a:pt x="5941" y="3954"/>
                    <a:pt x="5941" y="3942"/>
                    <a:pt x="5929" y="3942"/>
                  </a:cubicBezTo>
                  <a:lnTo>
                    <a:pt x="5906" y="3918"/>
                  </a:lnTo>
                  <a:lnTo>
                    <a:pt x="5882" y="3918"/>
                  </a:lnTo>
                  <a:lnTo>
                    <a:pt x="5858" y="3882"/>
                  </a:lnTo>
                  <a:lnTo>
                    <a:pt x="5846" y="3882"/>
                  </a:lnTo>
                  <a:cubicBezTo>
                    <a:pt x="5822" y="3871"/>
                    <a:pt x="5822" y="3871"/>
                    <a:pt x="5810" y="3871"/>
                  </a:cubicBezTo>
                  <a:cubicBezTo>
                    <a:pt x="5798" y="3871"/>
                    <a:pt x="5798" y="3859"/>
                    <a:pt x="5786" y="3859"/>
                  </a:cubicBezTo>
                  <a:cubicBezTo>
                    <a:pt x="5763" y="3859"/>
                    <a:pt x="5763" y="3835"/>
                    <a:pt x="5751" y="3835"/>
                  </a:cubicBezTo>
                  <a:cubicBezTo>
                    <a:pt x="5739" y="3835"/>
                    <a:pt x="5739" y="3823"/>
                    <a:pt x="5727" y="3823"/>
                  </a:cubicBezTo>
                  <a:cubicBezTo>
                    <a:pt x="5703" y="3823"/>
                    <a:pt x="5691" y="3811"/>
                    <a:pt x="5691" y="3811"/>
                  </a:cubicBezTo>
                  <a:cubicBezTo>
                    <a:pt x="5679" y="3811"/>
                    <a:pt x="5667" y="3787"/>
                    <a:pt x="5644" y="3787"/>
                  </a:cubicBezTo>
                  <a:cubicBezTo>
                    <a:pt x="5632" y="3787"/>
                    <a:pt x="5620" y="3775"/>
                    <a:pt x="5608" y="3775"/>
                  </a:cubicBezTo>
                  <a:cubicBezTo>
                    <a:pt x="5584" y="3775"/>
                    <a:pt x="5572" y="3763"/>
                    <a:pt x="5560" y="3763"/>
                  </a:cubicBezTo>
                  <a:cubicBezTo>
                    <a:pt x="5548" y="3763"/>
                    <a:pt x="5525" y="3751"/>
                    <a:pt x="5513" y="3751"/>
                  </a:cubicBezTo>
                  <a:cubicBezTo>
                    <a:pt x="5501" y="3751"/>
                    <a:pt x="5489" y="3751"/>
                    <a:pt x="5465" y="3728"/>
                  </a:cubicBezTo>
                  <a:lnTo>
                    <a:pt x="5132" y="3728"/>
                  </a:lnTo>
                  <a:cubicBezTo>
                    <a:pt x="5108" y="3728"/>
                    <a:pt x="5096" y="3728"/>
                    <a:pt x="5084" y="3751"/>
                  </a:cubicBezTo>
                  <a:lnTo>
                    <a:pt x="5072" y="3751"/>
                  </a:lnTo>
                  <a:cubicBezTo>
                    <a:pt x="5048" y="3751"/>
                    <a:pt x="5036" y="3763"/>
                    <a:pt x="5024" y="3763"/>
                  </a:cubicBezTo>
                  <a:lnTo>
                    <a:pt x="5013" y="3763"/>
                  </a:lnTo>
                  <a:cubicBezTo>
                    <a:pt x="4989" y="3763"/>
                    <a:pt x="4989" y="3763"/>
                    <a:pt x="4977" y="3775"/>
                  </a:cubicBezTo>
                  <a:lnTo>
                    <a:pt x="4965" y="3775"/>
                  </a:lnTo>
                  <a:cubicBezTo>
                    <a:pt x="4953" y="3775"/>
                    <a:pt x="4953" y="3787"/>
                    <a:pt x="4929" y="3787"/>
                  </a:cubicBezTo>
                  <a:lnTo>
                    <a:pt x="4917" y="3787"/>
                  </a:lnTo>
                  <a:cubicBezTo>
                    <a:pt x="4905" y="3787"/>
                    <a:pt x="4905" y="3811"/>
                    <a:pt x="4894" y="3811"/>
                  </a:cubicBezTo>
                  <a:lnTo>
                    <a:pt x="4870" y="3811"/>
                  </a:lnTo>
                  <a:cubicBezTo>
                    <a:pt x="4858" y="3811"/>
                    <a:pt x="4846" y="3823"/>
                    <a:pt x="4834" y="3823"/>
                  </a:cubicBezTo>
                  <a:lnTo>
                    <a:pt x="4810" y="3823"/>
                  </a:lnTo>
                  <a:cubicBezTo>
                    <a:pt x="4798" y="3823"/>
                    <a:pt x="4798" y="3835"/>
                    <a:pt x="4786" y="3835"/>
                  </a:cubicBezTo>
                  <a:cubicBezTo>
                    <a:pt x="4786" y="3835"/>
                    <a:pt x="4774" y="3835"/>
                    <a:pt x="4774" y="3859"/>
                  </a:cubicBezTo>
                  <a:cubicBezTo>
                    <a:pt x="4751" y="3859"/>
                    <a:pt x="4751" y="3871"/>
                    <a:pt x="4739" y="3871"/>
                  </a:cubicBezTo>
                  <a:cubicBezTo>
                    <a:pt x="4739" y="3871"/>
                    <a:pt x="4727" y="3871"/>
                    <a:pt x="4727" y="3882"/>
                  </a:cubicBezTo>
                  <a:cubicBezTo>
                    <a:pt x="4715" y="3882"/>
                    <a:pt x="4715" y="3894"/>
                    <a:pt x="4691" y="3894"/>
                  </a:cubicBezTo>
                  <a:lnTo>
                    <a:pt x="4679" y="3918"/>
                  </a:lnTo>
                  <a:lnTo>
                    <a:pt x="4655" y="3942"/>
                  </a:lnTo>
                  <a:lnTo>
                    <a:pt x="4620" y="3978"/>
                  </a:lnTo>
                  <a:cubicBezTo>
                    <a:pt x="4620" y="3978"/>
                    <a:pt x="4620" y="3990"/>
                    <a:pt x="4608" y="3990"/>
                  </a:cubicBezTo>
                  <a:cubicBezTo>
                    <a:pt x="4608" y="4001"/>
                    <a:pt x="4596" y="4001"/>
                    <a:pt x="4596" y="4013"/>
                  </a:cubicBezTo>
                  <a:cubicBezTo>
                    <a:pt x="4596" y="4013"/>
                    <a:pt x="4596" y="4037"/>
                    <a:pt x="4572" y="4037"/>
                  </a:cubicBezTo>
                  <a:cubicBezTo>
                    <a:pt x="4572" y="4049"/>
                    <a:pt x="4560" y="4049"/>
                    <a:pt x="4560" y="4061"/>
                  </a:cubicBezTo>
                  <a:lnTo>
                    <a:pt x="4560" y="4073"/>
                  </a:lnTo>
                  <a:cubicBezTo>
                    <a:pt x="4536" y="4049"/>
                    <a:pt x="4513" y="4013"/>
                    <a:pt x="4489" y="3990"/>
                  </a:cubicBezTo>
                  <a:cubicBezTo>
                    <a:pt x="4322" y="3823"/>
                    <a:pt x="4120" y="3740"/>
                    <a:pt x="3881" y="3740"/>
                  </a:cubicBezTo>
                  <a:lnTo>
                    <a:pt x="3858" y="3740"/>
                  </a:lnTo>
                  <a:cubicBezTo>
                    <a:pt x="3620" y="3740"/>
                    <a:pt x="3417" y="3823"/>
                    <a:pt x="3250" y="3990"/>
                  </a:cubicBezTo>
                  <a:cubicBezTo>
                    <a:pt x="3227" y="4013"/>
                    <a:pt x="3191" y="4049"/>
                    <a:pt x="3179" y="4073"/>
                  </a:cubicBezTo>
                  <a:lnTo>
                    <a:pt x="3179" y="4061"/>
                  </a:lnTo>
                  <a:cubicBezTo>
                    <a:pt x="3179" y="4049"/>
                    <a:pt x="3167" y="4049"/>
                    <a:pt x="3167" y="4037"/>
                  </a:cubicBezTo>
                  <a:cubicBezTo>
                    <a:pt x="3167" y="4037"/>
                    <a:pt x="3167" y="4013"/>
                    <a:pt x="3143" y="4013"/>
                  </a:cubicBezTo>
                  <a:cubicBezTo>
                    <a:pt x="3143" y="4001"/>
                    <a:pt x="3131" y="4001"/>
                    <a:pt x="3131" y="3990"/>
                  </a:cubicBezTo>
                  <a:lnTo>
                    <a:pt x="3119" y="3978"/>
                  </a:lnTo>
                  <a:lnTo>
                    <a:pt x="3084" y="3942"/>
                  </a:lnTo>
                  <a:lnTo>
                    <a:pt x="3060" y="3918"/>
                  </a:lnTo>
                  <a:lnTo>
                    <a:pt x="3048" y="3894"/>
                  </a:lnTo>
                  <a:cubicBezTo>
                    <a:pt x="3024" y="3894"/>
                    <a:pt x="3024" y="3882"/>
                    <a:pt x="3012" y="3882"/>
                  </a:cubicBezTo>
                  <a:cubicBezTo>
                    <a:pt x="3012" y="3882"/>
                    <a:pt x="3000" y="3882"/>
                    <a:pt x="3000" y="3871"/>
                  </a:cubicBezTo>
                  <a:cubicBezTo>
                    <a:pt x="2989" y="3871"/>
                    <a:pt x="2989" y="3859"/>
                    <a:pt x="2965" y="3859"/>
                  </a:cubicBezTo>
                  <a:cubicBezTo>
                    <a:pt x="2965" y="3859"/>
                    <a:pt x="2953" y="3859"/>
                    <a:pt x="2953" y="3835"/>
                  </a:cubicBezTo>
                  <a:cubicBezTo>
                    <a:pt x="2941" y="3835"/>
                    <a:pt x="2941" y="3823"/>
                    <a:pt x="2929" y="3823"/>
                  </a:cubicBezTo>
                  <a:lnTo>
                    <a:pt x="2905" y="3823"/>
                  </a:lnTo>
                  <a:cubicBezTo>
                    <a:pt x="2893" y="3811"/>
                    <a:pt x="2881" y="3811"/>
                    <a:pt x="2869" y="3811"/>
                  </a:cubicBezTo>
                  <a:lnTo>
                    <a:pt x="2846" y="3811"/>
                  </a:lnTo>
                  <a:cubicBezTo>
                    <a:pt x="2834" y="3811"/>
                    <a:pt x="2834" y="3787"/>
                    <a:pt x="2822" y="3787"/>
                  </a:cubicBezTo>
                  <a:lnTo>
                    <a:pt x="2810" y="3787"/>
                  </a:lnTo>
                  <a:cubicBezTo>
                    <a:pt x="2786" y="3787"/>
                    <a:pt x="2786" y="3775"/>
                    <a:pt x="2774" y="3775"/>
                  </a:cubicBezTo>
                  <a:lnTo>
                    <a:pt x="2762" y="3775"/>
                  </a:lnTo>
                  <a:cubicBezTo>
                    <a:pt x="2750" y="3775"/>
                    <a:pt x="2750" y="3775"/>
                    <a:pt x="2727" y="3763"/>
                  </a:cubicBezTo>
                  <a:lnTo>
                    <a:pt x="2715" y="3763"/>
                  </a:lnTo>
                  <a:cubicBezTo>
                    <a:pt x="2703" y="3763"/>
                    <a:pt x="2691" y="3751"/>
                    <a:pt x="2667" y="3751"/>
                  </a:cubicBezTo>
                  <a:lnTo>
                    <a:pt x="2655" y="3751"/>
                  </a:lnTo>
                  <a:cubicBezTo>
                    <a:pt x="2643" y="3751"/>
                    <a:pt x="2631" y="3751"/>
                    <a:pt x="2608" y="3728"/>
                  </a:cubicBezTo>
                  <a:lnTo>
                    <a:pt x="2310" y="3728"/>
                  </a:lnTo>
                  <a:cubicBezTo>
                    <a:pt x="2298" y="3728"/>
                    <a:pt x="2286" y="3728"/>
                    <a:pt x="2274" y="3751"/>
                  </a:cubicBezTo>
                  <a:cubicBezTo>
                    <a:pt x="2250" y="3751"/>
                    <a:pt x="2238" y="3751"/>
                    <a:pt x="2227" y="3763"/>
                  </a:cubicBezTo>
                  <a:cubicBezTo>
                    <a:pt x="2179" y="3775"/>
                    <a:pt x="2131" y="3787"/>
                    <a:pt x="2107" y="3811"/>
                  </a:cubicBezTo>
                  <a:cubicBezTo>
                    <a:pt x="2096" y="3811"/>
                    <a:pt x="2072" y="3823"/>
                    <a:pt x="2060" y="3823"/>
                  </a:cubicBezTo>
                  <a:cubicBezTo>
                    <a:pt x="2048" y="3823"/>
                    <a:pt x="2036" y="3835"/>
                    <a:pt x="2036" y="3835"/>
                  </a:cubicBezTo>
                  <a:cubicBezTo>
                    <a:pt x="2012" y="3835"/>
                    <a:pt x="2000" y="3859"/>
                    <a:pt x="2000" y="3859"/>
                  </a:cubicBezTo>
                  <a:cubicBezTo>
                    <a:pt x="1988" y="3859"/>
                    <a:pt x="1988" y="3871"/>
                    <a:pt x="1976" y="3871"/>
                  </a:cubicBezTo>
                  <a:cubicBezTo>
                    <a:pt x="1953" y="3871"/>
                    <a:pt x="1953" y="3882"/>
                    <a:pt x="1941" y="3882"/>
                  </a:cubicBezTo>
                  <a:cubicBezTo>
                    <a:pt x="1929" y="3882"/>
                    <a:pt x="1929" y="3894"/>
                    <a:pt x="1917" y="3918"/>
                  </a:cubicBezTo>
                  <a:cubicBezTo>
                    <a:pt x="1893" y="3918"/>
                    <a:pt x="1893" y="3930"/>
                    <a:pt x="1881" y="3930"/>
                  </a:cubicBezTo>
                  <a:lnTo>
                    <a:pt x="1857" y="3954"/>
                  </a:lnTo>
                  <a:cubicBezTo>
                    <a:pt x="1834" y="3978"/>
                    <a:pt x="1834" y="3990"/>
                    <a:pt x="1822" y="3990"/>
                  </a:cubicBezTo>
                  <a:cubicBezTo>
                    <a:pt x="1822" y="3990"/>
                    <a:pt x="1822" y="4001"/>
                    <a:pt x="1810" y="4001"/>
                  </a:cubicBezTo>
                  <a:cubicBezTo>
                    <a:pt x="1810" y="4013"/>
                    <a:pt x="1798" y="4013"/>
                    <a:pt x="1798" y="4037"/>
                  </a:cubicBezTo>
                  <a:cubicBezTo>
                    <a:pt x="1774" y="4013"/>
                    <a:pt x="1774" y="4001"/>
                    <a:pt x="1762" y="3990"/>
                  </a:cubicBezTo>
                  <a:cubicBezTo>
                    <a:pt x="1762" y="3978"/>
                    <a:pt x="1750" y="3978"/>
                    <a:pt x="1738" y="3954"/>
                  </a:cubicBezTo>
                  <a:cubicBezTo>
                    <a:pt x="1738" y="3954"/>
                    <a:pt x="1738" y="3942"/>
                    <a:pt x="1715" y="3942"/>
                  </a:cubicBezTo>
                  <a:cubicBezTo>
                    <a:pt x="1572" y="3763"/>
                    <a:pt x="1334" y="3656"/>
                    <a:pt x="1095" y="3656"/>
                  </a:cubicBezTo>
                  <a:lnTo>
                    <a:pt x="905" y="3656"/>
                  </a:lnTo>
                  <a:cubicBezTo>
                    <a:pt x="869" y="3680"/>
                    <a:pt x="845" y="3680"/>
                    <a:pt x="810" y="3692"/>
                  </a:cubicBezTo>
                  <a:cubicBezTo>
                    <a:pt x="798" y="3692"/>
                    <a:pt x="798" y="3704"/>
                    <a:pt x="786" y="3704"/>
                  </a:cubicBezTo>
                  <a:cubicBezTo>
                    <a:pt x="762" y="3704"/>
                    <a:pt x="762" y="3716"/>
                    <a:pt x="750" y="3716"/>
                  </a:cubicBezTo>
                  <a:cubicBezTo>
                    <a:pt x="703" y="3740"/>
                    <a:pt x="667" y="3763"/>
                    <a:pt x="631" y="3799"/>
                  </a:cubicBezTo>
                  <a:cubicBezTo>
                    <a:pt x="619" y="3799"/>
                    <a:pt x="619" y="3811"/>
                    <a:pt x="607" y="3811"/>
                  </a:cubicBezTo>
                  <a:lnTo>
                    <a:pt x="583" y="3823"/>
                  </a:lnTo>
                  <a:lnTo>
                    <a:pt x="572" y="3835"/>
                  </a:lnTo>
                  <a:cubicBezTo>
                    <a:pt x="560" y="3823"/>
                    <a:pt x="524" y="3811"/>
                    <a:pt x="512" y="3811"/>
                  </a:cubicBezTo>
                  <a:cubicBezTo>
                    <a:pt x="405" y="3775"/>
                    <a:pt x="369" y="3692"/>
                    <a:pt x="381" y="3597"/>
                  </a:cubicBezTo>
                  <a:cubicBezTo>
                    <a:pt x="381" y="3561"/>
                    <a:pt x="405" y="3454"/>
                    <a:pt x="572" y="3442"/>
                  </a:cubicBezTo>
                  <a:lnTo>
                    <a:pt x="667" y="3442"/>
                  </a:lnTo>
                  <a:cubicBezTo>
                    <a:pt x="726" y="3442"/>
                    <a:pt x="786" y="3418"/>
                    <a:pt x="810" y="3359"/>
                  </a:cubicBezTo>
                  <a:cubicBezTo>
                    <a:pt x="845" y="3323"/>
                    <a:pt x="857" y="3263"/>
                    <a:pt x="822" y="3204"/>
                  </a:cubicBezTo>
                  <a:cubicBezTo>
                    <a:pt x="798" y="3120"/>
                    <a:pt x="762" y="3037"/>
                    <a:pt x="762" y="2966"/>
                  </a:cubicBezTo>
                  <a:cubicBezTo>
                    <a:pt x="762" y="2620"/>
                    <a:pt x="1084" y="2347"/>
                    <a:pt x="1441" y="2347"/>
                  </a:cubicBezTo>
                  <a:lnTo>
                    <a:pt x="1500" y="2347"/>
                  </a:lnTo>
                  <a:cubicBezTo>
                    <a:pt x="1560" y="2347"/>
                    <a:pt x="1619" y="2335"/>
                    <a:pt x="1643" y="2275"/>
                  </a:cubicBezTo>
                  <a:cubicBezTo>
                    <a:pt x="1679" y="2227"/>
                    <a:pt x="1691" y="2168"/>
                    <a:pt x="1655" y="2108"/>
                  </a:cubicBezTo>
                  <a:cubicBezTo>
                    <a:pt x="1631" y="2037"/>
                    <a:pt x="1595" y="1954"/>
                    <a:pt x="1595" y="1870"/>
                  </a:cubicBezTo>
                  <a:cubicBezTo>
                    <a:pt x="1595" y="1537"/>
                    <a:pt x="1893" y="1263"/>
                    <a:pt x="2274" y="1263"/>
                  </a:cubicBezTo>
                  <a:lnTo>
                    <a:pt x="2357" y="1263"/>
                  </a:lnTo>
                  <a:cubicBezTo>
                    <a:pt x="2405" y="1263"/>
                    <a:pt x="2453" y="1251"/>
                    <a:pt x="2488" y="1215"/>
                  </a:cubicBezTo>
                  <a:cubicBezTo>
                    <a:pt x="2524" y="1192"/>
                    <a:pt x="2548" y="1144"/>
                    <a:pt x="2548" y="1096"/>
                  </a:cubicBezTo>
                  <a:cubicBezTo>
                    <a:pt x="2548" y="787"/>
                    <a:pt x="2834" y="549"/>
                    <a:pt x="3179" y="549"/>
                  </a:cubicBezTo>
                  <a:cubicBezTo>
                    <a:pt x="3239" y="549"/>
                    <a:pt x="3298" y="561"/>
                    <a:pt x="3358" y="584"/>
                  </a:cubicBezTo>
                  <a:cubicBezTo>
                    <a:pt x="3371" y="587"/>
                    <a:pt x="3385" y="589"/>
                    <a:pt x="3399" y="589"/>
                  </a:cubicBezTo>
                  <a:cubicBezTo>
                    <a:pt x="3448" y="589"/>
                    <a:pt x="3499" y="571"/>
                    <a:pt x="3536" y="525"/>
                  </a:cubicBezTo>
                  <a:cubicBezTo>
                    <a:pt x="3620" y="406"/>
                    <a:pt x="3762" y="322"/>
                    <a:pt x="3917" y="311"/>
                  </a:cubicBezTo>
                  <a:close/>
                  <a:moveTo>
                    <a:pt x="1072" y="3930"/>
                  </a:moveTo>
                  <a:cubicBezTo>
                    <a:pt x="1179" y="3930"/>
                    <a:pt x="1274" y="3954"/>
                    <a:pt x="1345" y="4001"/>
                  </a:cubicBezTo>
                  <a:cubicBezTo>
                    <a:pt x="1476" y="4085"/>
                    <a:pt x="1572" y="4228"/>
                    <a:pt x="1595" y="4382"/>
                  </a:cubicBezTo>
                  <a:lnTo>
                    <a:pt x="1595" y="4430"/>
                  </a:lnTo>
                  <a:lnTo>
                    <a:pt x="1607" y="4537"/>
                  </a:lnTo>
                  <a:lnTo>
                    <a:pt x="1607" y="4549"/>
                  </a:lnTo>
                  <a:lnTo>
                    <a:pt x="1762" y="5895"/>
                  </a:lnTo>
                  <a:cubicBezTo>
                    <a:pt x="1774" y="5978"/>
                    <a:pt x="1834" y="6037"/>
                    <a:pt x="1929" y="6037"/>
                  </a:cubicBezTo>
                  <a:lnTo>
                    <a:pt x="1941" y="6037"/>
                  </a:lnTo>
                  <a:cubicBezTo>
                    <a:pt x="2024" y="6026"/>
                    <a:pt x="2084" y="5954"/>
                    <a:pt x="2084" y="5859"/>
                  </a:cubicBezTo>
                  <a:lnTo>
                    <a:pt x="1941" y="4525"/>
                  </a:lnTo>
                  <a:lnTo>
                    <a:pt x="1941" y="4466"/>
                  </a:lnTo>
                  <a:lnTo>
                    <a:pt x="1941" y="4454"/>
                  </a:lnTo>
                  <a:lnTo>
                    <a:pt x="1941" y="4430"/>
                  </a:lnTo>
                  <a:lnTo>
                    <a:pt x="1941" y="4418"/>
                  </a:lnTo>
                  <a:lnTo>
                    <a:pt x="1941" y="4382"/>
                  </a:lnTo>
                  <a:lnTo>
                    <a:pt x="1941" y="4359"/>
                  </a:lnTo>
                  <a:lnTo>
                    <a:pt x="1941" y="4347"/>
                  </a:lnTo>
                  <a:lnTo>
                    <a:pt x="1941" y="4323"/>
                  </a:lnTo>
                  <a:lnTo>
                    <a:pt x="1941" y="4311"/>
                  </a:lnTo>
                  <a:cubicBezTo>
                    <a:pt x="1941" y="4311"/>
                    <a:pt x="1941" y="4299"/>
                    <a:pt x="1953" y="4299"/>
                  </a:cubicBezTo>
                  <a:cubicBezTo>
                    <a:pt x="1953" y="4299"/>
                    <a:pt x="1953" y="4287"/>
                    <a:pt x="1965" y="4287"/>
                  </a:cubicBezTo>
                  <a:lnTo>
                    <a:pt x="1965" y="4263"/>
                  </a:lnTo>
                  <a:cubicBezTo>
                    <a:pt x="1965" y="4263"/>
                    <a:pt x="1965" y="4252"/>
                    <a:pt x="1988" y="4252"/>
                  </a:cubicBezTo>
                  <a:cubicBezTo>
                    <a:pt x="1988" y="4252"/>
                    <a:pt x="1988" y="4240"/>
                    <a:pt x="2000" y="4240"/>
                  </a:cubicBezTo>
                  <a:lnTo>
                    <a:pt x="2000" y="4228"/>
                  </a:lnTo>
                  <a:cubicBezTo>
                    <a:pt x="2000" y="4228"/>
                    <a:pt x="2000" y="4204"/>
                    <a:pt x="2012" y="4204"/>
                  </a:cubicBezTo>
                  <a:lnTo>
                    <a:pt x="2024" y="4192"/>
                  </a:lnTo>
                  <a:cubicBezTo>
                    <a:pt x="2024" y="4192"/>
                    <a:pt x="2024" y="4180"/>
                    <a:pt x="2048" y="4180"/>
                  </a:cubicBezTo>
                  <a:lnTo>
                    <a:pt x="2060" y="4168"/>
                  </a:lnTo>
                  <a:lnTo>
                    <a:pt x="2072" y="4144"/>
                  </a:lnTo>
                  <a:lnTo>
                    <a:pt x="2084" y="4132"/>
                  </a:lnTo>
                  <a:cubicBezTo>
                    <a:pt x="2179" y="4049"/>
                    <a:pt x="2310" y="4001"/>
                    <a:pt x="2441" y="4001"/>
                  </a:cubicBezTo>
                  <a:lnTo>
                    <a:pt x="2465" y="4001"/>
                  </a:lnTo>
                  <a:cubicBezTo>
                    <a:pt x="2536" y="4001"/>
                    <a:pt x="2596" y="4013"/>
                    <a:pt x="2655" y="4049"/>
                  </a:cubicBezTo>
                  <a:cubicBezTo>
                    <a:pt x="2834" y="4121"/>
                    <a:pt x="2965" y="4299"/>
                    <a:pt x="2977" y="4502"/>
                  </a:cubicBezTo>
                  <a:lnTo>
                    <a:pt x="3012" y="5335"/>
                  </a:lnTo>
                  <a:cubicBezTo>
                    <a:pt x="3012" y="5423"/>
                    <a:pt x="3074" y="5491"/>
                    <a:pt x="3158" y="5491"/>
                  </a:cubicBezTo>
                  <a:cubicBezTo>
                    <a:pt x="3165" y="5491"/>
                    <a:pt x="3172" y="5491"/>
                    <a:pt x="3179" y="5490"/>
                  </a:cubicBezTo>
                  <a:cubicBezTo>
                    <a:pt x="3262" y="5490"/>
                    <a:pt x="3334" y="5418"/>
                    <a:pt x="3322" y="5323"/>
                  </a:cubicBezTo>
                  <a:lnTo>
                    <a:pt x="3298" y="4537"/>
                  </a:lnTo>
                  <a:lnTo>
                    <a:pt x="3298" y="4525"/>
                  </a:lnTo>
                  <a:lnTo>
                    <a:pt x="3298" y="4502"/>
                  </a:lnTo>
                  <a:lnTo>
                    <a:pt x="3298" y="4490"/>
                  </a:lnTo>
                  <a:lnTo>
                    <a:pt x="3298" y="4478"/>
                  </a:lnTo>
                  <a:lnTo>
                    <a:pt x="3298" y="4466"/>
                  </a:lnTo>
                  <a:lnTo>
                    <a:pt x="3298" y="4442"/>
                  </a:lnTo>
                  <a:lnTo>
                    <a:pt x="3298" y="4430"/>
                  </a:lnTo>
                  <a:lnTo>
                    <a:pt x="3298" y="4418"/>
                  </a:lnTo>
                  <a:lnTo>
                    <a:pt x="3298" y="4406"/>
                  </a:lnTo>
                  <a:lnTo>
                    <a:pt x="3298" y="4382"/>
                  </a:lnTo>
                  <a:lnTo>
                    <a:pt x="3298" y="4371"/>
                  </a:lnTo>
                  <a:lnTo>
                    <a:pt x="3298" y="4359"/>
                  </a:lnTo>
                  <a:lnTo>
                    <a:pt x="3298" y="4347"/>
                  </a:lnTo>
                  <a:lnTo>
                    <a:pt x="3298" y="4323"/>
                  </a:lnTo>
                  <a:lnTo>
                    <a:pt x="3298" y="4311"/>
                  </a:lnTo>
                  <a:lnTo>
                    <a:pt x="3298" y="4299"/>
                  </a:lnTo>
                  <a:lnTo>
                    <a:pt x="3298" y="4287"/>
                  </a:lnTo>
                  <a:lnTo>
                    <a:pt x="3298" y="4263"/>
                  </a:lnTo>
                  <a:lnTo>
                    <a:pt x="3298" y="4252"/>
                  </a:lnTo>
                  <a:lnTo>
                    <a:pt x="3298" y="4240"/>
                  </a:lnTo>
                  <a:lnTo>
                    <a:pt x="3298" y="4228"/>
                  </a:lnTo>
                  <a:lnTo>
                    <a:pt x="3298" y="4204"/>
                  </a:lnTo>
                  <a:lnTo>
                    <a:pt x="3298" y="4192"/>
                  </a:lnTo>
                  <a:lnTo>
                    <a:pt x="3298" y="4180"/>
                  </a:lnTo>
                  <a:cubicBezTo>
                    <a:pt x="3298" y="4180"/>
                    <a:pt x="3298" y="4168"/>
                    <a:pt x="3310" y="4168"/>
                  </a:cubicBezTo>
                  <a:lnTo>
                    <a:pt x="3310" y="4144"/>
                  </a:lnTo>
                  <a:cubicBezTo>
                    <a:pt x="3310" y="4144"/>
                    <a:pt x="3310" y="4132"/>
                    <a:pt x="3322" y="4132"/>
                  </a:cubicBezTo>
                  <a:lnTo>
                    <a:pt x="3322" y="4121"/>
                  </a:lnTo>
                  <a:lnTo>
                    <a:pt x="3334" y="4109"/>
                  </a:lnTo>
                  <a:lnTo>
                    <a:pt x="3358" y="4085"/>
                  </a:lnTo>
                  <a:cubicBezTo>
                    <a:pt x="3429" y="4001"/>
                    <a:pt x="3536" y="3954"/>
                    <a:pt x="3655" y="3942"/>
                  </a:cubicBezTo>
                  <a:lnTo>
                    <a:pt x="3739" y="3942"/>
                  </a:lnTo>
                  <a:cubicBezTo>
                    <a:pt x="3893" y="3942"/>
                    <a:pt x="4024" y="4001"/>
                    <a:pt x="4108" y="4109"/>
                  </a:cubicBezTo>
                  <a:cubicBezTo>
                    <a:pt x="4191" y="4180"/>
                    <a:pt x="4227" y="4287"/>
                    <a:pt x="4251" y="4382"/>
                  </a:cubicBezTo>
                  <a:lnTo>
                    <a:pt x="4251" y="4418"/>
                  </a:lnTo>
                  <a:lnTo>
                    <a:pt x="4251" y="4442"/>
                  </a:lnTo>
                  <a:lnTo>
                    <a:pt x="4251" y="4478"/>
                  </a:lnTo>
                  <a:lnTo>
                    <a:pt x="4251" y="4490"/>
                  </a:lnTo>
                  <a:lnTo>
                    <a:pt x="4215" y="5264"/>
                  </a:lnTo>
                  <a:cubicBezTo>
                    <a:pt x="4215" y="5359"/>
                    <a:pt x="4274" y="5430"/>
                    <a:pt x="4370" y="5430"/>
                  </a:cubicBezTo>
                  <a:cubicBezTo>
                    <a:pt x="4453" y="5430"/>
                    <a:pt x="4524" y="5371"/>
                    <a:pt x="4524" y="5275"/>
                  </a:cubicBezTo>
                  <a:lnTo>
                    <a:pt x="4560" y="4442"/>
                  </a:lnTo>
                  <a:cubicBezTo>
                    <a:pt x="4572" y="4168"/>
                    <a:pt x="4798" y="3942"/>
                    <a:pt x="5084" y="3942"/>
                  </a:cubicBezTo>
                  <a:lnTo>
                    <a:pt x="5096" y="3942"/>
                  </a:lnTo>
                  <a:cubicBezTo>
                    <a:pt x="5227" y="3942"/>
                    <a:pt x="5346" y="3990"/>
                    <a:pt x="5453" y="4073"/>
                  </a:cubicBezTo>
                  <a:lnTo>
                    <a:pt x="5465" y="4085"/>
                  </a:lnTo>
                  <a:lnTo>
                    <a:pt x="5477" y="4109"/>
                  </a:lnTo>
                  <a:lnTo>
                    <a:pt x="5501" y="4121"/>
                  </a:lnTo>
                  <a:cubicBezTo>
                    <a:pt x="5501" y="4121"/>
                    <a:pt x="5501" y="4132"/>
                    <a:pt x="5513" y="4132"/>
                  </a:cubicBezTo>
                  <a:lnTo>
                    <a:pt x="5525" y="4144"/>
                  </a:lnTo>
                  <a:cubicBezTo>
                    <a:pt x="5536" y="4168"/>
                    <a:pt x="5536" y="4180"/>
                    <a:pt x="5560" y="4192"/>
                  </a:cubicBezTo>
                  <a:cubicBezTo>
                    <a:pt x="5560" y="4204"/>
                    <a:pt x="5572" y="4204"/>
                    <a:pt x="5572" y="4228"/>
                  </a:cubicBezTo>
                  <a:cubicBezTo>
                    <a:pt x="5572" y="4228"/>
                    <a:pt x="5572" y="4240"/>
                    <a:pt x="5584" y="4240"/>
                  </a:cubicBezTo>
                  <a:lnTo>
                    <a:pt x="5584" y="4252"/>
                  </a:lnTo>
                  <a:lnTo>
                    <a:pt x="5584" y="4263"/>
                  </a:lnTo>
                  <a:lnTo>
                    <a:pt x="5584" y="4287"/>
                  </a:lnTo>
                  <a:lnTo>
                    <a:pt x="5584" y="4299"/>
                  </a:lnTo>
                  <a:lnTo>
                    <a:pt x="5584" y="4311"/>
                  </a:lnTo>
                  <a:lnTo>
                    <a:pt x="5584" y="4323"/>
                  </a:lnTo>
                  <a:lnTo>
                    <a:pt x="5584" y="4347"/>
                  </a:lnTo>
                  <a:lnTo>
                    <a:pt x="5584" y="4359"/>
                  </a:lnTo>
                  <a:lnTo>
                    <a:pt x="5584" y="4371"/>
                  </a:lnTo>
                  <a:lnTo>
                    <a:pt x="5584" y="4382"/>
                  </a:lnTo>
                  <a:lnTo>
                    <a:pt x="5584" y="4406"/>
                  </a:lnTo>
                  <a:lnTo>
                    <a:pt x="5584" y="4418"/>
                  </a:lnTo>
                  <a:lnTo>
                    <a:pt x="5584" y="4430"/>
                  </a:lnTo>
                  <a:lnTo>
                    <a:pt x="5584" y="4442"/>
                  </a:lnTo>
                  <a:lnTo>
                    <a:pt x="5584" y="4466"/>
                  </a:lnTo>
                  <a:lnTo>
                    <a:pt x="5584" y="4490"/>
                  </a:lnTo>
                  <a:lnTo>
                    <a:pt x="5584" y="4525"/>
                  </a:lnTo>
                  <a:lnTo>
                    <a:pt x="5441" y="5847"/>
                  </a:lnTo>
                  <a:cubicBezTo>
                    <a:pt x="5417" y="5930"/>
                    <a:pt x="5501" y="6014"/>
                    <a:pt x="5584" y="6026"/>
                  </a:cubicBezTo>
                  <a:lnTo>
                    <a:pt x="5596" y="6026"/>
                  </a:lnTo>
                  <a:cubicBezTo>
                    <a:pt x="5679" y="6026"/>
                    <a:pt x="5751" y="5966"/>
                    <a:pt x="5763" y="5871"/>
                  </a:cubicBezTo>
                  <a:lnTo>
                    <a:pt x="5917" y="4549"/>
                  </a:lnTo>
                  <a:lnTo>
                    <a:pt x="5929" y="4406"/>
                  </a:lnTo>
                  <a:cubicBezTo>
                    <a:pt x="5953" y="4132"/>
                    <a:pt x="6179" y="3942"/>
                    <a:pt x="6453" y="3942"/>
                  </a:cubicBezTo>
                  <a:lnTo>
                    <a:pt x="6513" y="3942"/>
                  </a:lnTo>
                  <a:cubicBezTo>
                    <a:pt x="6537" y="3942"/>
                    <a:pt x="6572" y="3942"/>
                    <a:pt x="6584" y="3954"/>
                  </a:cubicBezTo>
                  <a:cubicBezTo>
                    <a:pt x="6608" y="3954"/>
                    <a:pt x="6644" y="3966"/>
                    <a:pt x="6656" y="3990"/>
                  </a:cubicBezTo>
                  <a:cubicBezTo>
                    <a:pt x="6691" y="4001"/>
                    <a:pt x="6703" y="4013"/>
                    <a:pt x="6727" y="4025"/>
                  </a:cubicBezTo>
                  <a:cubicBezTo>
                    <a:pt x="6763" y="4049"/>
                    <a:pt x="6775" y="4061"/>
                    <a:pt x="6787" y="4073"/>
                  </a:cubicBezTo>
                  <a:lnTo>
                    <a:pt x="6822" y="4109"/>
                  </a:lnTo>
                  <a:lnTo>
                    <a:pt x="6846" y="4132"/>
                  </a:lnTo>
                  <a:lnTo>
                    <a:pt x="6870" y="4144"/>
                  </a:lnTo>
                  <a:cubicBezTo>
                    <a:pt x="6870" y="4168"/>
                    <a:pt x="6882" y="4168"/>
                    <a:pt x="6882" y="4180"/>
                  </a:cubicBezTo>
                  <a:lnTo>
                    <a:pt x="6882" y="4192"/>
                  </a:lnTo>
                  <a:cubicBezTo>
                    <a:pt x="6882" y="4204"/>
                    <a:pt x="6894" y="4204"/>
                    <a:pt x="6894" y="4228"/>
                  </a:cubicBezTo>
                  <a:lnTo>
                    <a:pt x="6894" y="4240"/>
                  </a:lnTo>
                  <a:cubicBezTo>
                    <a:pt x="6894" y="4252"/>
                    <a:pt x="6906" y="4252"/>
                    <a:pt x="6906" y="4263"/>
                  </a:cubicBezTo>
                  <a:cubicBezTo>
                    <a:pt x="6906" y="4287"/>
                    <a:pt x="6929" y="4299"/>
                    <a:pt x="6929" y="4299"/>
                  </a:cubicBezTo>
                  <a:lnTo>
                    <a:pt x="6929" y="4311"/>
                  </a:lnTo>
                  <a:cubicBezTo>
                    <a:pt x="6929" y="4323"/>
                    <a:pt x="6929" y="4347"/>
                    <a:pt x="6941" y="4347"/>
                  </a:cubicBezTo>
                  <a:cubicBezTo>
                    <a:pt x="7168" y="4406"/>
                    <a:pt x="7168" y="4490"/>
                    <a:pt x="7144" y="4573"/>
                  </a:cubicBezTo>
                  <a:lnTo>
                    <a:pt x="6048" y="10478"/>
                  </a:lnTo>
                  <a:cubicBezTo>
                    <a:pt x="6013" y="10609"/>
                    <a:pt x="5894" y="10717"/>
                    <a:pt x="5751" y="10717"/>
                  </a:cubicBezTo>
                  <a:lnTo>
                    <a:pt x="5394" y="10717"/>
                  </a:lnTo>
                  <a:lnTo>
                    <a:pt x="5572" y="9157"/>
                  </a:lnTo>
                  <a:cubicBezTo>
                    <a:pt x="5584" y="9062"/>
                    <a:pt x="5513" y="8990"/>
                    <a:pt x="5417" y="8978"/>
                  </a:cubicBezTo>
                  <a:cubicBezTo>
                    <a:pt x="5408" y="8975"/>
                    <a:pt x="5398" y="8974"/>
                    <a:pt x="5388" y="8974"/>
                  </a:cubicBezTo>
                  <a:cubicBezTo>
                    <a:pt x="5318" y="8974"/>
                    <a:pt x="5260" y="9048"/>
                    <a:pt x="5239" y="9121"/>
                  </a:cubicBezTo>
                  <a:lnTo>
                    <a:pt x="5060" y="10717"/>
                  </a:lnTo>
                  <a:lnTo>
                    <a:pt x="4465" y="10717"/>
                  </a:lnTo>
                  <a:lnTo>
                    <a:pt x="4513" y="9609"/>
                  </a:lnTo>
                  <a:cubicBezTo>
                    <a:pt x="4513" y="9526"/>
                    <a:pt x="4453" y="9455"/>
                    <a:pt x="4370" y="9455"/>
                  </a:cubicBezTo>
                  <a:cubicBezTo>
                    <a:pt x="4274" y="9455"/>
                    <a:pt x="4203" y="9514"/>
                    <a:pt x="4203" y="9597"/>
                  </a:cubicBezTo>
                  <a:lnTo>
                    <a:pt x="4155" y="10705"/>
                  </a:lnTo>
                  <a:lnTo>
                    <a:pt x="3560" y="10705"/>
                  </a:lnTo>
                  <a:lnTo>
                    <a:pt x="3512" y="9585"/>
                  </a:lnTo>
                  <a:cubicBezTo>
                    <a:pt x="3512" y="9497"/>
                    <a:pt x="3451" y="9429"/>
                    <a:pt x="3376" y="9429"/>
                  </a:cubicBezTo>
                  <a:cubicBezTo>
                    <a:pt x="3370" y="9429"/>
                    <a:pt x="3364" y="9430"/>
                    <a:pt x="3358" y="9431"/>
                  </a:cubicBezTo>
                  <a:cubicBezTo>
                    <a:pt x="3262" y="9431"/>
                    <a:pt x="3191" y="9514"/>
                    <a:pt x="3203" y="9597"/>
                  </a:cubicBezTo>
                  <a:lnTo>
                    <a:pt x="3250" y="10705"/>
                  </a:lnTo>
                  <a:lnTo>
                    <a:pt x="2655" y="10705"/>
                  </a:lnTo>
                  <a:lnTo>
                    <a:pt x="2477" y="9109"/>
                  </a:lnTo>
                  <a:cubicBezTo>
                    <a:pt x="2465" y="9014"/>
                    <a:pt x="2381" y="8954"/>
                    <a:pt x="2298" y="8954"/>
                  </a:cubicBezTo>
                  <a:cubicBezTo>
                    <a:pt x="2203" y="8978"/>
                    <a:pt x="2143" y="9050"/>
                    <a:pt x="2143" y="9133"/>
                  </a:cubicBezTo>
                  <a:lnTo>
                    <a:pt x="2322" y="10705"/>
                  </a:lnTo>
                  <a:lnTo>
                    <a:pt x="1965" y="10705"/>
                  </a:lnTo>
                  <a:cubicBezTo>
                    <a:pt x="1822" y="10705"/>
                    <a:pt x="1703" y="10598"/>
                    <a:pt x="1667" y="10455"/>
                  </a:cubicBezTo>
                  <a:lnTo>
                    <a:pt x="572" y="4549"/>
                  </a:lnTo>
                  <a:cubicBezTo>
                    <a:pt x="560" y="4478"/>
                    <a:pt x="560" y="4406"/>
                    <a:pt x="583" y="4335"/>
                  </a:cubicBezTo>
                  <a:cubicBezTo>
                    <a:pt x="583" y="4311"/>
                    <a:pt x="583" y="4299"/>
                    <a:pt x="595" y="4299"/>
                  </a:cubicBezTo>
                  <a:lnTo>
                    <a:pt x="595" y="4287"/>
                  </a:lnTo>
                  <a:cubicBezTo>
                    <a:pt x="595" y="4263"/>
                    <a:pt x="619" y="4252"/>
                    <a:pt x="619" y="4252"/>
                  </a:cubicBezTo>
                  <a:cubicBezTo>
                    <a:pt x="619" y="4240"/>
                    <a:pt x="631" y="4240"/>
                    <a:pt x="631" y="4228"/>
                  </a:cubicBezTo>
                  <a:lnTo>
                    <a:pt x="631" y="4204"/>
                  </a:lnTo>
                  <a:cubicBezTo>
                    <a:pt x="631" y="4192"/>
                    <a:pt x="643" y="4192"/>
                    <a:pt x="643" y="4180"/>
                  </a:cubicBezTo>
                  <a:lnTo>
                    <a:pt x="643" y="4168"/>
                  </a:lnTo>
                  <a:cubicBezTo>
                    <a:pt x="643" y="4144"/>
                    <a:pt x="655" y="4144"/>
                    <a:pt x="655" y="4132"/>
                  </a:cubicBezTo>
                  <a:lnTo>
                    <a:pt x="679" y="4121"/>
                  </a:lnTo>
                  <a:lnTo>
                    <a:pt x="703" y="4085"/>
                  </a:lnTo>
                  <a:lnTo>
                    <a:pt x="738" y="4061"/>
                  </a:lnTo>
                  <a:cubicBezTo>
                    <a:pt x="750" y="4049"/>
                    <a:pt x="774" y="4037"/>
                    <a:pt x="798" y="4013"/>
                  </a:cubicBezTo>
                  <a:cubicBezTo>
                    <a:pt x="822" y="4001"/>
                    <a:pt x="833" y="3990"/>
                    <a:pt x="869" y="3966"/>
                  </a:cubicBezTo>
                  <a:cubicBezTo>
                    <a:pt x="893" y="3954"/>
                    <a:pt x="917" y="3954"/>
                    <a:pt x="941" y="3942"/>
                  </a:cubicBezTo>
                  <a:cubicBezTo>
                    <a:pt x="976" y="3942"/>
                    <a:pt x="988" y="3930"/>
                    <a:pt x="1012" y="3930"/>
                  </a:cubicBezTo>
                  <a:close/>
                  <a:moveTo>
                    <a:pt x="3822" y="1"/>
                  </a:moveTo>
                  <a:cubicBezTo>
                    <a:pt x="3620" y="25"/>
                    <a:pt x="3429" y="120"/>
                    <a:pt x="3298" y="251"/>
                  </a:cubicBezTo>
                  <a:cubicBezTo>
                    <a:pt x="3250" y="239"/>
                    <a:pt x="3191" y="239"/>
                    <a:pt x="3143" y="239"/>
                  </a:cubicBezTo>
                  <a:cubicBezTo>
                    <a:pt x="2691" y="239"/>
                    <a:pt x="2298" y="549"/>
                    <a:pt x="2227" y="953"/>
                  </a:cubicBezTo>
                  <a:cubicBezTo>
                    <a:pt x="1691" y="965"/>
                    <a:pt x="1262" y="1382"/>
                    <a:pt x="1262" y="1870"/>
                  </a:cubicBezTo>
                  <a:cubicBezTo>
                    <a:pt x="1262" y="1930"/>
                    <a:pt x="1262" y="1977"/>
                    <a:pt x="1274" y="2037"/>
                  </a:cubicBezTo>
                  <a:cubicBezTo>
                    <a:pt x="798" y="2096"/>
                    <a:pt x="417" y="2489"/>
                    <a:pt x="417" y="2966"/>
                  </a:cubicBezTo>
                  <a:cubicBezTo>
                    <a:pt x="417" y="3013"/>
                    <a:pt x="417" y="3061"/>
                    <a:pt x="441" y="3120"/>
                  </a:cubicBezTo>
                  <a:cubicBezTo>
                    <a:pt x="250" y="3168"/>
                    <a:pt x="60" y="3299"/>
                    <a:pt x="36" y="3561"/>
                  </a:cubicBezTo>
                  <a:cubicBezTo>
                    <a:pt x="0" y="3751"/>
                    <a:pt x="95" y="3942"/>
                    <a:pt x="262" y="4049"/>
                  </a:cubicBezTo>
                  <a:lnTo>
                    <a:pt x="262" y="4121"/>
                  </a:lnTo>
                  <a:cubicBezTo>
                    <a:pt x="262" y="4192"/>
                    <a:pt x="274" y="4252"/>
                    <a:pt x="298" y="4311"/>
                  </a:cubicBezTo>
                  <a:cubicBezTo>
                    <a:pt x="286" y="4418"/>
                    <a:pt x="286" y="4525"/>
                    <a:pt x="298" y="4633"/>
                  </a:cubicBezTo>
                  <a:lnTo>
                    <a:pt x="1405" y="10538"/>
                  </a:lnTo>
                  <a:cubicBezTo>
                    <a:pt x="1465" y="10836"/>
                    <a:pt x="1715" y="11038"/>
                    <a:pt x="2012" y="11038"/>
                  </a:cubicBezTo>
                  <a:lnTo>
                    <a:pt x="5822" y="11038"/>
                  </a:lnTo>
                  <a:cubicBezTo>
                    <a:pt x="6120" y="11038"/>
                    <a:pt x="6370" y="10836"/>
                    <a:pt x="6429" y="10538"/>
                  </a:cubicBezTo>
                  <a:lnTo>
                    <a:pt x="7537" y="4633"/>
                  </a:lnTo>
                  <a:cubicBezTo>
                    <a:pt x="7549" y="4525"/>
                    <a:pt x="7549" y="4418"/>
                    <a:pt x="7537" y="4311"/>
                  </a:cubicBezTo>
                  <a:cubicBezTo>
                    <a:pt x="7561" y="4252"/>
                    <a:pt x="7584" y="4180"/>
                    <a:pt x="7584" y="4121"/>
                  </a:cubicBezTo>
                  <a:lnTo>
                    <a:pt x="7584" y="4049"/>
                  </a:lnTo>
                  <a:cubicBezTo>
                    <a:pt x="7656" y="3942"/>
                    <a:pt x="7739" y="3751"/>
                    <a:pt x="7727" y="3561"/>
                  </a:cubicBezTo>
                  <a:cubicBezTo>
                    <a:pt x="7703" y="3299"/>
                    <a:pt x="7525" y="3168"/>
                    <a:pt x="7334" y="3120"/>
                  </a:cubicBezTo>
                  <a:cubicBezTo>
                    <a:pt x="7346" y="3061"/>
                    <a:pt x="7346" y="3025"/>
                    <a:pt x="7346" y="2966"/>
                  </a:cubicBezTo>
                  <a:cubicBezTo>
                    <a:pt x="7346" y="2501"/>
                    <a:pt x="6965" y="2108"/>
                    <a:pt x="6489" y="2037"/>
                  </a:cubicBezTo>
                  <a:cubicBezTo>
                    <a:pt x="6513" y="1989"/>
                    <a:pt x="6513" y="1930"/>
                    <a:pt x="6513" y="1870"/>
                  </a:cubicBezTo>
                  <a:cubicBezTo>
                    <a:pt x="6513" y="1370"/>
                    <a:pt x="6072" y="965"/>
                    <a:pt x="5536" y="953"/>
                  </a:cubicBezTo>
                  <a:cubicBezTo>
                    <a:pt x="5455" y="545"/>
                    <a:pt x="5075" y="239"/>
                    <a:pt x="4633" y="239"/>
                  </a:cubicBezTo>
                  <a:cubicBezTo>
                    <a:pt x="4625" y="239"/>
                    <a:pt x="4616" y="239"/>
                    <a:pt x="4608" y="239"/>
                  </a:cubicBezTo>
                  <a:cubicBezTo>
                    <a:pt x="4560" y="239"/>
                    <a:pt x="4501" y="239"/>
                    <a:pt x="4453" y="251"/>
                  </a:cubicBezTo>
                  <a:cubicBezTo>
                    <a:pt x="4322" y="120"/>
                    <a:pt x="4143" y="25"/>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86" name="Google Shape;12286;p62"/>
          <p:cNvGrpSpPr/>
          <p:nvPr/>
        </p:nvGrpSpPr>
        <p:grpSpPr>
          <a:xfrm>
            <a:off x="6273204" y="1509008"/>
            <a:ext cx="236343" cy="351445"/>
            <a:chOff x="6273204" y="1509008"/>
            <a:chExt cx="236343" cy="351445"/>
          </a:xfrm>
        </p:grpSpPr>
        <p:sp>
          <p:nvSpPr>
            <p:cNvPr id="12287" name="Google Shape;12287;p62"/>
            <p:cNvSpPr/>
            <p:nvPr/>
          </p:nvSpPr>
          <p:spPr>
            <a:xfrm>
              <a:off x="6273204" y="1509008"/>
              <a:ext cx="236343" cy="351445"/>
            </a:xfrm>
            <a:custGeom>
              <a:avLst/>
              <a:gdLst/>
              <a:ahLst/>
              <a:cxnLst/>
              <a:rect l="l" t="t" r="r" b="b"/>
              <a:pathLst>
                <a:path w="7431" h="11050" extrusionOk="0">
                  <a:moveTo>
                    <a:pt x="5751" y="2417"/>
                  </a:moveTo>
                  <a:cubicBezTo>
                    <a:pt x="5787" y="2417"/>
                    <a:pt x="5835" y="2453"/>
                    <a:pt x="5847" y="2500"/>
                  </a:cubicBezTo>
                  <a:lnTo>
                    <a:pt x="5990" y="3000"/>
                  </a:lnTo>
                  <a:lnTo>
                    <a:pt x="1429" y="3000"/>
                  </a:lnTo>
                  <a:lnTo>
                    <a:pt x="1560" y="2500"/>
                  </a:lnTo>
                  <a:cubicBezTo>
                    <a:pt x="1584" y="2453"/>
                    <a:pt x="1620" y="2417"/>
                    <a:pt x="1668" y="2417"/>
                  </a:cubicBezTo>
                  <a:close/>
                  <a:moveTo>
                    <a:pt x="7085" y="3310"/>
                  </a:moveTo>
                  <a:lnTo>
                    <a:pt x="7085" y="3882"/>
                  </a:lnTo>
                  <a:lnTo>
                    <a:pt x="334" y="3882"/>
                  </a:lnTo>
                  <a:lnTo>
                    <a:pt x="334" y="3310"/>
                  </a:lnTo>
                  <a:close/>
                  <a:moveTo>
                    <a:pt x="5228" y="4191"/>
                  </a:moveTo>
                  <a:lnTo>
                    <a:pt x="5085" y="6001"/>
                  </a:lnTo>
                  <a:cubicBezTo>
                    <a:pt x="5085" y="6096"/>
                    <a:pt x="5144" y="6168"/>
                    <a:pt x="5239" y="6179"/>
                  </a:cubicBezTo>
                  <a:lnTo>
                    <a:pt x="5251" y="6179"/>
                  </a:lnTo>
                  <a:cubicBezTo>
                    <a:pt x="5347" y="6179"/>
                    <a:pt x="5406" y="6120"/>
                    <a:pt x="5418" y="6037"/>
                  </a:cubicBezTo>
                  <a:lnTo>
                    <a:pt x="5549" y="4203"/>
                  </a:lnTo>
                  <a:lnTo>
                    <a:pt x="6335" y="4203"/>
                  </a:lnTo>
                  <a:lnTo>
                    <a:pt x="5585" y="10382"/>
                  </a:lnTo>
                  <a:cubicBezTo>
                    <a:pt x="5549" y="10573"/>
                    <a:pt x="5394" y="10739"/>
                    <a:pt x="5192" y="10739"/>
                  </a:cubicBezTo>
                  <a:lnTo>
                    <a:pt x="5073" y="10739"/>
                  </a:lnTo>
                  <a:lnTo>
                    <a:pt x="5192" y="8954"/>
                  </a:lnTo>
                  <a:cubicBezTo>
                    <a:pt x="5192" y="8858"/>
                    <a:pt x="5132" y="8787"/>
                    <a:pt x="5049" y="8775"/>
                  </a:cubicBezTo>
                  <a:cubicBezTo>
                    <a:pt x="4954" y="8775"/>
                    <a:pt x="4882" y="8834"/>
                    <a:pt x="4870" y="8930"/>
                  </a:cubicBezTo>
                  <a:lnTo>
                    <a:pt x="4739" y="10739"/>
                  </a:lnTo>
                  <a:lnTo>
                    <a:pt x="4263" y="10739"/>
                  </a:lnTo>
                  <a:lnTo>
                    <a:pt x="4287" y="9358"/>
                  </a:lnTo>
                  <a:cubicBezTo>
                    <a:pt x="4287" y="9263"/>
                    <a:pt x="4216" y="9192"/>
                    <a:pt x="4120" y="9192"/>
                  </a:cubicBezTo>
                  <a:cubicBezTo>
                    <a:pt x="4037" y="9192"/>
                    <a:pt x="3965" y="9263"/>
                    <a:pt x="3965" y="9358"/>
                  </a:cubicBezTo>
                  <a:lnTo>
                    <a:pt x="3930" y="10739"/>
                  </a:lnTo>
                  <a:lnTo>
                    <a:pt x="3454" y="10739"/>
                  </a:lnTo>
                  <a:lnTo>
                    <a:pt x="3430" y="9358"/>
                  </a:lnTo>
                  <a:cubicBezTo>
                    <a:pt x="3430" y="9263"/>
                    <a:pt x="3346" y="9192"/>
                    <a:pt x="3263" y="9192"/>
                  </a:cubicBezTo>
                  <a:cubicBezTo>
                    <a:pt x="3168" y="9192"/>
                    <a:pt x="3096" y="9263"/>
                    <a:pt x="3096" y="9358"/>
                  </a:cubicBezTo>
                  <a:lnTo>
                    <a:pt x="3132" y="10739"/>
                  </a:lnTo>
                  <a:lnTo>
                    <a:pt x="2656" y="10739"/>
                  </a:lnTo>
                  <a:lnTo>
                    <a:pt x="2513" y="8930"/>
                  </a:lnTo>
                  <a:cubicBezTo>
                    <a:pt x="2513" y="8834"/>
                    <a:pt x="2430" y="8775"/>
                    <a:pt x="2334" y="8775"/>
                  </a:cubicBezTo>
                  <a:cubicBezTo>
                    <a:pt x="2251" y="8775"/>
                    <a:pt x="2180" y="8870"/>
                    <a:pt x="2191" y="8954"/>
                  </a:cubicBezTo>
                  <a:lnTo>
                    <a:pt x="2311" y="10739"/>
                  </a:lnTo>
                  <a:lnTo>
                    <a:pt x="2191" y="10739"/>
                  </a:lnTo>
                  <a:cubicBezTo>
                    <a:pt x="2001" y="10739"/>
                    <a:pt x="1822" y="10597"/>
                    <a:pt x="1799" y="10382"/>
                  </a:cubicBezTo>
                  <a:lnTo>
                    <a:pt x="1084" y="4203"/>
                  </a:lnTo>
                  <a:lnTo>
                    <a:pt x="1882" y="4203"/>
                  </a:lnTo>
                  <a:lnTo>
                    <a:pt x="2013" y="6048"/>
                  </a:lnTo>
                  <a:cubicBezTo>
                    <a:pt x="2013" y="6144"/>
                    <a:pt x="2084" y="6203"/>
                    <a:pt x="2180" y="6203"/>
                  </a:cubicBezTo>
                  <a:lnTo>
                    <a:pt x="2191" y="6203"/>
                  </a:lnTo>
                  <a:cubicBezTo>
                    <a:pt x="2275" y="6203"/>
                    <a:pt x="2358" y="6108"/>
                    <a:pt x="2334" y="6025"/>
                  </a:cubicBezTo>
                  <a:lnTo>
                    <a:pt x="2203" y="4191"/>
                  </a:lnTo>
                  <a:lnTo>
                    <a:pt x="2989" y="4191"/>
                  </a:lnTo>
                  <a:lnTo>
                    <a:pt x="3025" y="5560"/>
                  </a:lnTo>
                  <a:cubicBezTo>
                    <a:pt x="3025" y="5656"/>
                    <a:pt x="3096" y="5727"/>
                    <a:pt x="3192" y="5727"/>
                  </a:cubicBezTo>
                  <a:cubicBezTo>
                    <a:pt x="3275" y="5727"/>
                    <a:pt x="3346" y="5656"/>
                    <a:pt x="3346" y="5560"/>
                  </a:cubicBezTo>
                  <a:lnTo>
                    <a:pt x="3323" y="4203"/>
                  </a:lnTo>
                  <a:lnTo>
                    <a:pt x="4108" y="4203"/>
                  </a:lnTo>
                  <a:lnTo>
                    <a:pt x="4073" y="5548"/>
                  </a:lnTo>
                  <a:cubicBezTo>
                    <a:pt x="4073" y="5632"/>
                    <a:pt x="4156" y="5703"/>
                    <a:pt x="4239" y="5703"/>
                  </a:cubicBezTo>
                  <a:cubicBezTo>
                    <a:pt x="4335" y="5703"/>
                    <a:pt x="4406" y="5632"/>
                    <a:pt x="4406" y="5548"/>
                  </a:cubicBezTo>
                  <a:lnTo>
                    <a:pt x="4430" y="4191"/>
                  </a:lnTo>
                  <a:close/>
                  <a:moveTo>
                    <a:pt x="4108" y="0"/>
                  </a:moveTo>
                  <a:cubicBezTo>
                    <a:pt x="4037" y="0"/>
                    <a:pt x="3977" y="36"/>
                    <a:pt x="3942" y="119"/>
                  </a:cubicBezTo>
                  <a:lnTo>
                    <a:pt x="3442" y="2084"/>
                  </a:lnTo>
                  <a:lnTo>
                    <a:pt x="1656" y="2084"/>
                  </a:lnTo>
                  <a:cubicBezTo>
                    <a:pt x="1465" y="2084"/>
                    <a:pt x="1287" y="2215"/>
                    <a:pt x="1239" y="2405"/>
                  </a:cubicBezTo>
                  <a:lnTo>
                    <a:pt x="1084" y="3000"/>
                  </a:lnTo>
                  <a:lnTo>
                    <a:pt x="310" y="3000"/>
                  </a:lnTo>
                  <a:cubicBezTo>
                    <a:pt x="132" y="3000"/>
                    <a:pt x="1" y="3155"/>
                    <a:pt x="1" y="3310"/>
                  </a:cubicBezTo>
                  <a:lnTo>
                    <a:pt x="1" y="3893"/>
                  </a:lnTo>
                  <a:cubicBezTo>
                    <a:pt x="1" y="4072"/>
                    <a:pt x="155" y="4203"/>
                    <a:pt x="310" y="4203"/>
                  </a:cubicBezTo>
                  <a:lnTo>
                    <a:pt x="775" y="4203"/>
                  </a:lnTo>
                  <a:lnTo>
                    <a:pt x="1501" y="10418"/>
                  </a:lnTo>
                  <a:cubicBezTo>
                    <a:pt x="1549" y="10763"/>
                    <a:pt x="1846" y="11049"/>
                    <a:pt x="2215" y="11049"/>
                  </a:cubicBezTo>
                  <a:lnTo>
                    <a:pt x="5216" y="11049"/>
                  </a:lnTo>
                  <a:cubicBezTo>
                    <a:pt x="5585" y="11049"/>
                    <a:pt x="5882" y="10787"/>
                    <a:pt x="5918" y="10418"/>
                  </a:cubicBezTo>
                  <a:lnTo>
                    <a:pt x="6656" y="4203"/>
                  </a:lnTo>
                  <a:lnTo>
                    <a:pt x="7109" y="4203"/>
                  </a:lnTo>
                  <a:cubicBezTo>
                    <a:pt x="7299" y="4203"/>
                    <a:pt x="7430" y="4060"/>
                    <a:pt x="7430" y="3893"/>
                  </a:cubicBezTo>
                  <a:lnTo>
                    <a:pt x="7430" y="3310"/>
                  </a:lnTo>
                  <a:cubicBezTo>
                    <a:pt x="7418" y="3131"/>
                    <a:pt x="7264" y="3000"/>
                    <a:pt x="7085" y="3000"/>
                  </a:cubicBezTo>
                  <a:lnTo>
                    <a:pt x="6311" y="3000"/>
                  </a:lnTo>
                  <a:lnTo>
                    <a:pt x="6168" y="2405"/>
                  </a:lnTo>
                  <a:cubicBezTo>
                    <a:pt x="6121" y="2215"/>
                    <a:pt x="5942" y="2084"/>
                    <a:pt x="5751" y="2084"/>
                  </a:cubicBezTo>
                  <a:lnTo>
                    <a:pt x="3799" y="2084"/>
                  </a:lnTo>
                  <a:lnTo>
                    <a:pt x="4263" y="322"/>
                  </a:lnTo>
                  <a:lnTo>
                    <a:pt x="6001" y="322"/>
                  </a:lnTo>
                  <a:cubicBezTo>
                    <a:pt x="6085" y="322"/>
                    <a:pt x="6168" y="250"/>
                    <a:pt x="6168" y="155"/>
                  </a:cubicBezTo>
                  <a:cubicBezTo>
                    <a:pt x="6168" y="72"/>
                    <a:pt x="6085" y="0"/>
                    <a:pt x="6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8" name="Google Shape;12288;p62"/>
            <p:cNvSpPr/>
            <p:nvPr/>
          </p:nvSpPr>
          <p:spPr>
            <a:xfrm>
              <a:off x="6330390" y="1703241"/>
              <a:ext cx="120064" cy="85237"/>
            </a:xfrm>
            <a:custGeom>
              <a:avLst/>
              <a:gdLst/>
              <a:ahLst/>
              <a:cxnLst/>
              <a:rect l="l" t="t" r="r" b="b"/>
              <a:pathLst>
                <a:path w="3775" h="2680" extrusionOk="0">
                  <a:moveTo>
                    <a:pt x="1894" y="334"/>
                  </a:moveTo>
                  <a:cubicBezTo>
                    <a:pt x="2310" y="334"/>
                    <a:pt x="2715" y="453"/>
                    <a:pt x="3013" y="644"/>
                  </a:cubicBezTo>
                  <a:cubicBezTo>
                    <a:pt x="3299" y="834"/>
                    <a:pt x="3441" y="1096"/>
                    <a:pt x="3441" y="1346"/>
                  </a:cubicBezTo>
                  <a:cubicBezTo>
                    <a:pt x="3441" y="1608"/>
                    <a:pt x="3299" y="1846"/>
                    <a:pt x="3013" y="2049"/>
                  </a:cubicBezTo>
                  <a:cubicBezTo>
                    <a:pt x="2715" y="2251"/>
                    <a:pt x="2310" y="2358"/>
                    <a:pt x="1894" y="2358"/>
                  </a:cubicBezTo>
                  <a:cubicBezTo>
                    <a:pt x="1477" y="2358"/>
                    <a:pt x="1072" y="2239"/>
                    <a:pt x="774" y="2049"/>
                  </a:cubicBezTo>
                  <a:cubicBezTo>
                    <a:pt x="501" y="1846"/>
                    <a:pt x="346" y="1596"/>
                    <a:pt x="346" y="1346"/>
                  </a:cubicBezTo>
                  <a:cubicBezTo>
                    <a:pt x="346" y="1073"/>
                    <a:pt x="501" y="834"/>
                    <a:pt x="774" y="644"/>
                  </a:cubicBezTo>
                  <a:cubicBezTo>
                    <a:pt x="1072" y="442"/>
                    <a:pt x="1477" y="334"/>
                    <a:pt x="1894" y="334"/>
                  </a:cubicBezTo>
                  <a:close/>
                  <a:moveTo>
                    <a:pt x="1882" y="1"/>
                  </a:moveTo>
                  <a:cubicBezTo>
                    <a:pt x="1394" y="1"/>
                    <a:pt x="929" y="144"/>
                    <a:pt x="572" y="382"/>
                  </a:cubicBezTo>
                  <a:cubicBezTo>
                    <a:pt x="203" y="632"/>
                    <a:pt x="1" y="977"/>
                    <a:pt x="1" y="1346"/>
                  </a:cubicBezTo>
                  <a:cubicBezTo>
                    <a:pt x="1" y="1715"/>
                    <a:pt x="215" y="2061"/>
                    <a:pt x="572" y="2311"/>
                  </a:cubicBezTo>
                  <a:cubicBezTo>
                    <a:pt x="929" y="2549"/>
                    <a:pt x="1394" y="2680"/>
                    <a:pt x="1882" y="2680"/>
                  </a:cubicBezTo>
                  <a:cubicBezTo>
                    <a:pt x="2370" y="2680"/>
                    <a:pt x="2834" y="2549"/>
                    <a:pt x="3191" y="2311"/>
                  </a:cubicBezTo>
                  <a:cubicBezTo>
                    <a:pt x="3561" y="2061"/>
                    <a:pt x="3751" y="1715"/>
                    <a:pt x="3751" y="1346"/>
                  </a:cubicBezTo>
                  <a:cubicBezTo>
                    <a:pt x="3775" y="977"/>
                    <a:pt x="3561" y="632"/>
                    <a:pt x="3191" y="382"/>
                  </a:cubicBezTo>
                  <a:cubicBezTo>
                    <a:pt x="2834" y="144"/>
                    <a:pt x="2370"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289" name="Google Shape;12289;p62"/>
          <p:cNvSpPr/>
          <p:nvPr/>
        </p:nvSpPr>
        <p:spPr>
          <a:xfrm>
            <a:off x="5809710" y="1509739"/>
            <a:ext cx="243913" cy="351445"/>
          </a:xfrm>
          <a:custGeom>
            <a:avLst/>
            <a:gdLst/>
            <a:ahLst/>
            <a:cxnLst/>
            <a:rect l="l" t="t" r="r" b="b"/>
            <a:pathLst>
              <a:path w="7669" h="11050" extrusionOk="0">
                <a:moveTo>
                  <a:pt x="1644" y="299"/>
                </a:moveTo>
                <a:lnTo>
                  <a:pt x="1501" y="1180"/>
                </a:lnTo>
                <a:lnTo>
                  <a:pt x="1012" y="1180"/>
                </a:lnTo>
                <a:lnTo>
                  <a:pt x="882" y="299"/>
                </a:lnTo>
                <a:close/>
                <a:moveTo>
                  <a:pt x="1691" y="1501"/>
                </a:moveTo>
                <a:lnTo>
                  <a:pt x="1691" y="1703"/>
                </a:lnTo>
                <a:lnTo>
                  <a:pt x="834" y="1703"/>
                </a:lnTo>
                <a:lnTo>
                  <a:pt x="834" y="1501"/>
                </a:lnTo>
                <a:close/>
                <a:moveTo>
                  <a:pt x="6579" y="3583"/>
                </a:moveTo>
                <a:cubicBezTo>
                  <a:pt x="6612" y="3583"/>
                  <a:pt x="6633" y="3589"/>
                  <a:pt x="6644" y="3597"/>
                </a:cubicBezTo>
                <a:cubicBezTo>
                  <a:pt x="6716" y="3680"/>
                  <a:pt x="6608" y="3870"/>
                  <a:pt x="6394" y="4144"/>
                </a:cubicBezTo>
                <a:cubicBezTo>
                  <a:pt x="6394" y="4144"/>
                  <a:pt x="6275" y="4287"/>
                  <a:pt x="6073" y="4525"/>
                </a:cubicBezTo>
                <a:lnTo>
                  <a:pt x="6073" y="3751"/>
                </a:lnTo>
                <a:lnTo>
                  <a:pt x="6061" y="3751"/>
                </a:lnTo>
                <a:cubicBezTo>
                  <a:pt x="6073" y="3739"/>
                  <a:pt x="6108" y="3739"/>
                  <a:pt x="6120" y="3728"/>
                </a:cubicBezTo>
                <a:cubicBezTo>
                  <a:pt x="6366" y="3613"/>
                  <a:pt x="6504" y="3583"/>
                  <a:pt x="6579" y="3583"/>
                </a:cubicBezTo>
                <a:close/>
                <a:moveTo>
                  <a:pt x="5751" y="3882"/>
                </a:moveTo>
                <a:lnTo>
                  <a:pt x="5751" y="4930"/>
                </a:lnTo>
                <a:cubicBezTo>
                  <a:pt x="5584" y="5132"/>
                  <a:pt x="5406" y="5359"/>
                  <a:pt x="5203" y="5609"/>
                </a:cubicBezTo>
                <a:lnTo>
                  <a:pt x="5203" y="3989"/>
                </a:lnTo>
                <a:cubicBezTo>
                  <a:pt x="5358" y="3989"/>
                  <a:pt x="5537" y="3966"/>
                  <a:pt x="5751" y="3882"/>
                </a:cubicBezTo>
                <a:close/>
                <a:moveTo>
                  <a:pt x="4322" y="3585"/>
                </a:moveTo>
                <a:cubicBezTo>
                  <a:pt x="4441" y="3739"/>
                  <a:pt x="4584" y="3859"/>
                  <a:pt x="4799" y="3930"/>
                </a:cubicBezTo>
                <a:cubicBezTo>
                  <a:pt x="4822" y="3942"/>
                  <a:pt x="4846" y="3942"/>
                  <a:pt x="4870" y="3966"/>
                </a:cubicBezTo>
                <a:lnTo>
                  <a:pt x="4870" y="6061"/>
                </a:lnTo>
                <a:cubicBezTo>
                  <a:pt x="4692" y="6299"/>
                  <a:pt x="4513" y="6537"/>
                  <a:pt x="4322" y="6787"/>
                </a:cubicBezTo>
                <a:lnTo>
                  <a:pt x="4322" y="3585"/>
                </a:lnTo>
                <a:close/>
                <a:moveTo>
                  <a:pt x="3453" y="2501"/>
                </a:moveTo>
                <a:cubicBezTo>
                  <a:pt x="3679" y="2608"/>
                  <a:pt x="3870" y="2775"/>
                  <a:pt x="4013" y="3025"/>
                </a:cubicBezTo>
                <a:lnTo>
                  <a:pt x="4013" y="7216"/>
                </a:lnTo>
                <a:cubicBezTo>
                  <a:pt x="3810" y="7466"/>
                  <a:pt x="3632" y="7740"/>
                  <a:pt x="3453" y="7990"/>
                </a:cubicBezTo>
                <a:lnTo>
                  <a:pt x="3453" y="2501"/>
                </a:lnTo>
                <a:close/>
                <a:moveTo>
                  <a:pt x="1691" y="8621"/>
                </a:moveTo>
                <a:lnTo>
                  <a:pt x="1691" y="8811"/>
                </a:lnTo>
                <a:lnTo>
                  <a:pt x="834" y="8811"/>
                </a:lnTo>
                <a:lnTo>
                  <a:pt x="834" y="8621"/>
                </a:lnTo>
                <a:close/>
                <a:moveTo>
                  <a:pt x="2584" y="2299"/>
                </a:moveTo>
                <a:cubicBezTo>
                  <a:pt x="2775" y="2311"/>
                  <a:pt x="2953" y="2323"/>
                  <a:pt x="3132" y="2370"/>
                </a:cubicBezTo>
                <a:lnTo>
                  <a:pt x="3132" y="8454"/>
                </a:lnTo>
                <a:lnTo>
                  <a:pt x="3132" y="8466"/>
                </a:lnTo>
                <a:cubicBezTo>
                  <a:pt x="2917" y="8788"/>
                  <a:pt x="2739" y="9097"/>
                  <a:pt x="2584" y="9383"/>
                </a:cubicBezTo>
                <a:lnTo>
                  <a:pt x="2584" y="2299"/>
                </a:lnTo>
                <a:close/>
                <a:moveTo>
                  <a:pt x="1513" y="9133"/>
                </a:moveTo>
                <a:lnTo>
                  <a:pt x="1644" y="9978"/>
                </a:lnTo>
                <a:lnTo>
                  <a:pt x="882" y="9978"/>
                </a:lnTo>
                <a:lnTo>
                  <a:pt x="1012" y="9133"/>
                </a:lnTo>
                <a:close/>
                <a:moveTo>
                  <a:pt x="2251" y="2299"/>
                </a:moveTo>
                <a:lnTo>
                  <a:pt x="2251" y="9978"/>
                </a:lnTo>
                <a:lnTo>
                  <a:pt x="1953" y="9978"/>
                </a:lnTo>
                <a:lnTo>
                  <a:pt x="1822" y="9121"/>
                </a:lnTo>
                <a:cubicBezTo>
                  <a:pt x="1917" y="9097"/>
                  <a:pt x="2001" y="9002"/>
                  <a:pt x="2001" y="8907"/>
                </a:cubicBezTo>
                <a:lnTo>
                  <a:pt x="2001" y="8526"/>
                </a:lnTo>
                <a:cubicBezTo>
                  <a:pt x="2001" y="8395"/>
                  <a:pt x="1894" y="8311"/>
                  <a:pt x="1774" y="8288"/>
                </a:cubicBezTo>
                <a:lnTo>
                  <a:pt x="1774" y="2299"/>
                </a:lnTo>
                <a:close/>
                <a:moveTo>
                  <a:pt x="4156" y="10300"/>
                </a:moveTo>
                <a:cubicBezTo>
                  <a:pt x="4168" y="10300"/>
                  <a:pt x="4191" y="10312"/>
                  <a:pt x="4191" y="10324"/>
                </a:cubicBezTo>
                <a:lnTo>
                  <a:pt x="4191" y="10669"/>
                </a:lnTo>
                <a:cubicBezTo>
                  <a:pt x="4191" y="10693"/>
                  <a:pt x="4168" y="10705"/>
                  <a:pt x="4156" y="10705"/>
                </a:cubicBezTo>
                <a:lnTo>
                  <a:pt x="346" y="10705"/>
                </a:lnTo>
                <a:cubicBezTo>
                  <a:pt x="334" y="10705"/>
                  <a:pt x="322" y="10681"/>
                  <a:pt x="322" y="10669"/>
                </a:cubicBezTo>
                <a:lnTo>
                  <a:pt x="322" y="10324"/>
                </a:lnTo>
                <a:cubicBezTo>
                  <a:pt x="322" y="10312"/>
                  <a:pt x="334" y="10300"/>
                  <a:pt x="346" y="10300"/>
                </a:cubicBezTo>
                <a:close/>
                <a:moveTo>
                  <a:pt x="703" y="1"/>
                </a:moveTo>
                <a:cubicBezTo>
                  <a:pt x="643" y="1"/>
                  <a:pt x="596" y="25"/>
                  <a:pt x="572" y="60"/>
                </a:cubicBezTo>
                <a:cubicBezTo>
                  <a:pt x="536" y="108"/>
                  <a:pt x="524" y="168"/>
                  <a:pt x="524" y="215"/>
                </a:cubicBezTo>
                <a:lnTo>
                  <a:pt x="691" y="1203"/>
                </a:lnTo>
                <a:cubicBezTo>
                  <a:pt x="584" y="1239"/>
                  <a:pt x="512" y="1322"/>
                  <a:pt x="512" y="1430"/>
                </a:cubicBezTo>
                <a:lnTo>
                  <a:pt x="512" y="1799"/>
                </a:lnTo>
                <a:cubicBezTo>
                  <a:pt x="512" y="1942"/>
                  <a:pt x="608" y="2025"/>
                  <a:pt x="727" y="2037"/>
                </a:cubicBezTo>
                <a:lnTo>
                  <a:pt x="727" y="2846"/>
                </a:lnTo>
                <a:cubicBezTo>
                  <a:pt x="727" y="2930"/>
                  <a:pt x="810" y="3013"/>
                  <a:pt x="893" y="3013"/>
                </a:cubicBezTo>
                <a:cubicBezTo>
                  <a:pt x="989" y="3013"/>
                  <a:pt x="1060" y="2930"/>
                  <a:pt x="1060" y="2846"/>
                </a:cubicBezTo>
                <a:lnTo>
                  <a:pt x="1060" y="2037"/>
                </a:lnTo>
                <a:lnTo>
                  <a:pt x="1441" y="2037"/>
                </a:lnTo>
                <a:lnTo>
                  <a:pt x="1441" y="8311"/>
                </a:lnTo>
                <a:lnTo>
                  <a:pt x="1060" y="8311"/>
                </a:lnTo>
                <a:lnTo>
                  <a:pt x="1060" y="3608"/>
                </a:lnTo>
                <a:cubicBezTo>
                  <a:pt x="1060" y="3513"/>
                  <a:pt x="989" y="3442"/>
                  <a:pt x="893" y="3442"/>
                </a:cubicBezTo>
                <a:cubicBezTo>
                  <a:pt x="810" y="3442"/>
                  <a:pt x="727" y="3513"/>
                  <a:pt x="727" y="3608"/>
                </a:cubicBezTo>
                <a:lnTo>
                  <a:pt x="727" y="8311"/>
                </a:lnTo>
                <a:cubicBezTo>
                  <a:pt x="608" y="8311"/>
                  <a:pt x="512" y="8407"/>
                  <a:pt x="512" y="8550"/>
                </a:cubicBezTo>
                <a:lnTo>
                  <a:pt x="512" y="8919"/>
                </a:lnTo>
                <a:cubicBezTo>
                  <a:pt x="512" y="9026"/>
                  <a:pt x="584" y="9109"/>
                  <a:pt x="691" y="9145"/>
                </a:cubicBezTo>
                <a:lnTo>
                  <a:pt x="548" y="9990"/>
                </a:lnTo>
                <a:lnTo>
                  <a:pt x="358" y="9990"/>
                </a:lnTo>
                <a:cubicBezTo>
                  <a:pt x="167" y="9990"/>
                  <a:pt x="0" y="10157"/>
                  <a:pt x="0" y="10347"/>
                </a:cubicBezTo>
                <a:lnTo>
                  <a:pt x="0" y="10693"/>
                </a:lnTo>
                <a:cubicBezTo>
                  <a:pt x="0" y="10883"/>
                  <a:pt x="167" y="11050"/>
                  <a:pt x="358" y="11050"/>
                </a:cubicBezTo>
                <a:lnTo>
                  <a:pt x="4168" y="11050"/>
                </a:lnTo>
                <a:cubicBezTo>
                  <a:pt x="4358" y="11050"/>
                  <a:pt x="4525" y="10883"/>
                  <a:pt x="4525" y="10693"/>
                </a:cubicBezTo>
                <a:lnTo>
                  <a:pt x="4525" y="10347"/>
                </a:lnTo>
                <a:cubicBezTo>
                  <a:pt x="4525" y="10157"/>
                  <a:pt x="4370" y="9990"/>
                  <a:pt x="4168" y="9990"/>
                </a:cubicBezTo>
                <a:lnTo>
                  <a:pt x="4108" y="9990"/>
                </a:lnTo>
                <a:cubicBezTo>
                  <a:pt x="4203" y="9585"/>
                  <a:pt x="4334" y="9216"/>
                  <a:pt x="4501" y="8823"/>
                </a:cubicBezTo>
                <a:cubicBezTo>
                  <a:pt x="4525" y="8740"/>
                  <a:pt x="4501" y="8645"/>
                  <a:pt x="4406" y="8621"/>
                </a:cubicBezTo>
                <a:cubicBezTo>
                  <a:pt x="4384" y="8612"/>
                  <a:pt x="4361" y="8607"/>
                  <a:pt x="4339" y="8607"/>
                </a:cubicBezTo>
                <a:cubicBezTo>
                  <a:pt x="4278" y="8607"/>
                  <a:pt x="4221" y="8643"/>
                  <a:pt x="4203" y="8704"/>
                </a:cubicBezTo>
                <a:cubicBezTo>
                  <a:pt x="4001" y="9157"/>
                  <a:pt x="3870" y="9562"/>
                  <a:pt x="3763" y="10002"/>
                </a:cubicBezTo>
                <a:lnTo>
                  <a:pt x="2632" y="10002"/>
                </a:lnTo>
                <a:cubicBezTo>
                  <a:pt x="2977" y="9288"/>
                  <a:pt x="3620" y="8323"/>
                  <a:pt x="4275" y="7395"/>
                </a:cubicBezTo>
                <a:cubicBezTo>
                  <a:pt x="4287" y="7383"/>
                  <a:pt x="4287" y="7383"/>
                  <a:pt x="4287" y="7371"/>
                </a:cubicBezTo>
                <a:cubicBezTo>
                  <a:pt x="5406" y="5835"/>
                  <a:pt x="6597" y="4406"/>
                  <a:pt x="6608" y="4394"/>
                </a:cubicBezTo>
                <a:cubicBezTo>
                  <a:pt x="6739" y="4228"/>
                  <a:pt x="7180" y="3739"/>
                  <a:pt x="6847" y="3406"/>
                </a:cubicBezTo>
                <a:cubicBezTo>
                  <a:pt x="6772" y="3336"/>
                  <a:pt x="6670" y="3301"/>
                  <a:pt x="6542" y="3301"/>
                </a:cubicBezTo>
                <a:cubicBezTo>
                  <a:pt x="6386" y="3301"/>
                  <a:pt x="6189" y="3354"/>
                  <a:pt x="5954" y="3466"/>
                </a:cubicBezTo>
                <a:cubicBezTo>
                  <a:pt x="5655" y="3619"/>
                  <a:pt x="5383" y="3696"/>
                  <a:pt x="5158" y="3696"/>
                </a:cubicBezTo>
                <a:cubicBezTo>
                  <a:pt x="5051" y="3696"/>
                  <a:pt x="4954" y="3679"/>
                  <a:pt x="4870" y="3644"/>
                </a:cubicBezTo>
                <a:cubicBezTo>
                  <a:pt x="4572" y="3549"/>
                  <a:pt x="4418" y="3251"/>
                  <a:pt x="4322" y="3013"/>
                </a:cubicBezTo>
                <a:cubicBezTo>
                  <a:pt x="4299" y="2989"/>
                  <a:pt x="4299" y="2977"/>
                  <a:pt x="4287" y="2966"/>
                </a:cubicBezTo>
                <a:cubicBezTo>
                  <a:pt x="3918" y="2192"/>
                  <a:pt x="3132" y="2025"/>
                  <a:pt x="2394" y="2001"/>
                </a:cubicBezTo>
                <a:lnTo>
                  <a:pt x="1894" y="2001"/>
                </a:lnTo>
                <a:lnTo>
                  <a:pt x="1905" y="1977"/>
                </a:lnTo>
                <a:lnTo>
                  <a:pt x="1917" y="1965"/>
                </a:lnTo>
                <a:cubicBezTo>
                  <a:pt x="1917" y="1965"/>
                  <a:pt x="1917" y="1954"/>
                  <a:pt x="1941" y="1954"/>
                </a:cubicBezTo>
                <a:lnTo>
                  <a:pt x="1941" y="1930"/>
                </a:lnTo>
                <a:lnTo>
                  <a:pt x="1941" y="1918"/>
                </a:lnTo>
                <a:lnTo>
                  <a:pt x="1941" y="1906"/>
                </a:lnTo>
                <a:lnTo>
                  <a:pt x="1941" y="1894"/>
                </a:lnTo>
                <a:lnTo>
                  <a:pt x="1941" y="1870"/>
                </a:lnTo>
                <a:lnTo>
                  <a:pt x="1941" y="1858"/>
                </a:lnTo>
                <a:lnTo>
                  <a:pt x="1941" y="1846"/>
                </a:lnTo>
                <a:lnTo>
                  <a:pt x="1941" y="1834"/>
                </a:lnTo>
                <a:lnTo>
                  <a:pt x="1941" y="1811"/>
                </a:lnTo>
                <a:lnTo>
                  <a:pt x="1941" y="1787"/>
                </a:lnTo>
                <a:lnTo>
                  <a:pt x="1941" y="1418"/>
                </a:lnTo>
                <a:lnTo>
                  <a:pt x="1941" y="1394"/>
                </a:lnTo>
                <a:lnTo>
                  <a:pt x="1941" y="1382"/>
                </a:lnTo>
                <a:lnTo>
                  <a:pt x="1941" y="1370"/>
                </a:lnTo>
                <a:lnTo>
                  <a:pt x="1941" y="1358"/>
                </a:lnTo>
                <a:lnTo>
                  <a:pt x="1941" y="1334"/>
                </a:lnTo>
                <a:lnTo>
                  <a:pt x="1941" y="1322"/>
                </a:lnTo>
                <a:cubicBezTo>
                  <a:pt x="1941" y="1322"/>
                  <a:pt x="1941" y="1311"/>
                  <a:pt x="1917" y="1311"/>
                </a:cubicBezTo>
                <a:cubicBezTo>
                  <a:pt x="1917" y="1311"/>
                  <a:pt x="1917" y="1299"/>
                  <a:pt x="1905" y="1299"/>
                </a:cubicBezTo>
                <a:cubicBezTo>
                  <a:pt x="1905" y="1299"/>
                  <a:pt x="1905" y="1275"/>
                  <a:pt x="1894" y="1275"/>
                </a:cubicBezTo>
                <a:lnTo>
                  <a:pt x="1882" y="1263"/>
                </a:lnTo>
                <a:lnTo>
                  <a:pt x="1858" y="1251"/>
                </a:lnTo>
                <a:cubicBezTo>
                  <a:pt x="1858" y="1251"/>
                  <a:pt x="1846" y="1251"/>
                  <a:pt x="1846" y="1239"/>
                </a:cubicBezTo>
                <a:lnTo>
                  <a:pt x="1834" y="1215"/>
                </a:lnTo>
                <a:lnTo>
                  <a:pt x="1786" y="1215"/>
                </a:lnTo>
                <a:lnTo>
                  <a:pt x="1822" y="1072"/>
                </a:lnTo>
                <a:lnTo>
                  <a:pt x="1834" y="965"/>
                </a:lnTo>
                <a:cubicBezTo>
                  <a:pt x="1994" y="962"/>
                  <a:pt x="2158" y="960"/>
                  <a:pt x="2316" y="960"/>
                </a:cubicBezTo>
                <a:cubicBezTo>
                  <a:pt x="2736" y="960"/>
                  <a:pt x="3120" y="976"/>
                  <a:pt x="3310" y="1037"/>
                </a:cubicBezTo>
                <a:cubicBezTo>
                  <a:pt x="3608" y="1144"/>
                  <a:pt x="4037" y="1394"/>
                  <a:pt x="4334" y="2049"/>
                </a:cubicBezTo>
                <a:cubicBezTo>
                  <a:pt x="4418" y="2263"/>
                  <a:pt x="4501" y="2454"/>
                  <a:pt x="4572" y="2620"/>
                </a:cubicBezTo>
                <a:cubicBezTo>
                  <a:pt x="4715" y="2989"/>
                  <a:pt x="4822" y="3227"/>
                  <a:pt x="4977" y="3323"/>
                </a:cubicBezTo>
                <a:cubicBezTo>
                  <a:pt x="5026" y="3349"/>
                  <a:pt x="5085" y="3362"/>
                  <a:pt x="5158" y="3362"/>
                </a:cubicBezTo>
                <a:cubicBezTo>
                  <a:pt x="5317" y="3362"/>
                  <a:pt x="5543" y="3299"/>
                  <a:pt x="5870" y="3168"/>
                </a:cubicBezTo>
                <a:cubicBezTo>
                  <a:pt x="6100" y="3082"/>
                  <a:pt x="6291" y="3042"/>
                  <a:pt x="6469" y="3042"/>
                </a:cubicBezTo>
                <a:cubicBezTo>
                  <a:pt x="6512" y="3042"/>
                  <a:pt x="6554" y="3044"/>
                  <a:pt x="6597" y="3049"/>
                </a:cubicBezTo>
                <a:cubicBezTo>
                  <a:pt x="6787" y="3085"/>
                  <a:pt x="6942" y="3168"/>
                  <a:pt x="7049" y="3323"/>
                </a:cubicBezTo>
                <a:cubicBezTo>
                  <a:pt x="7228" y="3620"/>
                  <a:pt x="7228" y="3870"/>
                  <a:pt x="6704" y="4585"/>
                </a:cubicBezTo>
                <a:cubicBezTo>
                  <a:pt x="5656" y="6037"/>
                  <a:pt x="4965" y="7145"/>
                  <a:pt x="4501" y="8002"/>
                </a:cubicBezTo>
                <a:cubicBezTo>
                  <a:pt x="4453" y="8085"/>
                  <a:pt x="4489" y="8180"/>
                  <a:pt x="4572" y="8228"/>
                </a:cubicBezTo>
                <a:cubicBezTo>
                  <a:pt x="4594" y="8243"/>
                  <a:pt x="4619" y="8249"/>
                  <a:pt x="4645" y="8249"/>
                </a:cubicBezTo>
                <a:cubicBezTo>
                  <a:pt x="4704" y="8249"/>
                  <a:pt x="4766" y="8215"/>
                  <a:pt x="4799" y="8157"/>
                </a:cubicBezTo>
                <a:cubicBezTo>
                  <a:pt x="5263" y="7288"/>
                  <a:pt x="5942" y="6216"/>
                  <a:pt x="6989" y="4763"/>
                </a:cubicBezTo>
                <a:cubicBezTo>
                  <a:pt x="7489" y="4061"/>
                  <a:pt x="7668" y="3632"/>
                  <a:pt x="7347" y="3108"/>
                </a:cubicBezTo>
                <a:cubicBezTo>
                  <a:pt x="7192" y="2894"/>
                  <a:pt x="6966" y="2739"/>
                  <a:pt x="6668" y="2692"/>
                </a:cubicBezTo>
                <a:cubicBezTo>
                  <a:pt x="6620" y="2685"/>
                  <a:pt x="6570" y="2681"/>
                  <a:pt x="6518" y="2681"/>
                </a:cubicBezTo>
                <a:cubicBezTo>
                  <a:pt x="6298" y="2681"/>
                  <a:pt x="6044" y="2741"/>
                  <a:pt x="5775" y="2846"/>
                </a:cubicBezTo>
                <a:cubicBezTo>
                  <a:pt x="5394" y="2999"/>
                  <a:pt x="5242" y="3014"/>
                  <a:pt x="5190" y="3014"/>
                </a:cubicBezTo>
                <a:cubicBezTo>
                  <a:pt x="5177" y="3014"/>
                  <a:pt x="5170" y="3013"/>
                  <a:pt x="5168" y="3013"/>
                </a:cubicBezTo>
                <a:cubicBezTo>
                  <a:pt x="5108" y="2966"/>
                  <a:pt x="4989" y="2680"/>
                  <a:pt x="4906" y="2477"/>
                </a:cubicBezTo>
                <a:cubicBezTo>
                  <a:pt x="4822" y="2311"/>
                  <a:pt x="4751" y="2120"/>
                  <a:pt x="4668" y="1906"/>
                </a:cubicBezTo>
                <a:cubicBezTo>
                  <a:pt x="4322" y="1144"/>
                  <a:pt x="3799" y="834"/>
                  <a:pt x="3441" y="715"/>
                </a:cubicBezTo>
                <a:cubicBezTo>
                  <a:pt x="3239" y="642"/>
                  <a:pt x="2905" y="619"/>
                  <a:pt x="2513" y="619"/>
                </a:cubicBezTo>
                <a:cubicBezTo>
                  <a:pt x="2329" y="619"/>
                  <a:pt x="2131" y="624"/>
                  <a:pt x="1929" y="632"/>
                </a:cubicBezTo>
                <a:lnTo>
                  <a:pt x="1989" y="215"/>
                </a:lnTo>
                <a:cubicBezTo>
                  <a:pt x="2001" y="156"/>
                  <a:pt x="1989" y="108"/>
                  <a:pt x="1941" y="60"/>
                </a:cubicBezTo>
                <a:cubicBezTo>
                  <a:pt x="1905" y="13"/>
                  <a:pt x="1846" y="1"/>
                  <a:pt x="1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90" name="Google Shape;12290;p62"/>
          <p:cNvGrpSpPr/>
          <p:nvPr/>
        </p:nvGrpSpPr>
        <p:grpSpPr>
          <a:xfrm>
            <a:off x="7219530" y="1508244"/>
            <a:ext cx="191625" cy="352209"/>
            <a:chOff x="7219530" y="1508244"/>
            <a:chExt cx="191625" cy="352209"/>
          </a:xfrm>
        </p:grpSpPr>
        <p:sp>
          <p:nvSpPr>
            <p:cNvPr id="12291" name="Google Shape;12291;p62"/>
            <p:cNvSpPr/>
            <p:nvPr/>
          </p:nvSpPr>
          <p:spPr>
            <a:xfrm>
              <a:off x="7219530" y="1508244"/>
              <a:ext cx="191625" cy="352209"/>
            </a:xfrm>
            <a:custGeom>
              <a:avLst/>
              <a:gdLst/>
              <a:ahLst/>
              <a:cxnLst/>
              <a:rect l="l" t="t" r="r" b="b"/>
              <a:pathLst>
                <a:path w="6025" h="11074" extrusionOk="0">
                  <a:moveTo>
                    <a:pt x="4453" y="357"/>
                  </a:moveTo>
                  <a:cubicBezTo>
                    <a:pt x="4572" y="357"/>
                    <a:pt x="4656" y="453"/>
                    <a:pt x="4656" y="572"/>
                  </a:cubicBezTo>
                  <a:cubicBezTo>
                    <a:pt x="4656" y="691"/>
                    <a:pt x="4572" y="774"/>
                    <a:pt x="4453" y="774"/>
                  </a:cubicBezTo>
                  <a:lnTo>
                    <a:pt x="524" y="774"/>
                  </a:lnTo>
                  <a:cubicBezTo>
                    <a:pt x="405" y="774"/>
                    <a:pt x="310" y="691"/>
                    <a:pt x="310" y="572"/>
                  </a:cubicBezTo>
                  <a:cubicBezTo>
                    <a:pt x="310" y="453"/>
                    <a:pt x="393" y="357"/>
                    <a:pt x="524" y="357"/>
                  </a:cubicBezTo>
                  <a:close/>
                  <a:moveTo>
                    <a:pt x="3858" y="1108"/>
                  </a:moveTo>
                  <a:cubicBezTo>
                    <a:pt x="3382" y="1691"/>
                    <a:pt x="2763" y="2584"/>
                    <a:pt x="2739" y="3477"/>
                  </a:cubicBezTo>
                  <a:lnTo>
                    <a:pt x="2739" y="3501"/>
                  </a:lnTo>
                  <a:lnTo>
                    <a:pt x="2739" y="4263"/>
                  </a:lnTo>
                  <a:lnTo>
                    <a:pt x="2215" y="4263"/>
                  </a:lnTo>
                  <a:lnTo>
                    <a:pt x="2215" y="3501"/>
                  </a:lnTo>
                  <a:cubicBezTo>
                    <a:pt x="2203" y="2596"/>
                    <a:pt x="1608" y="1691"/>
                    <a:pt x="1120" y="1108"/>
                  </a:cubicBezTo>
                  <a:close/>
                  <a:moveTo>
                    <a:pt x="5489" y="4584"/>
                  </a:moveTo>
                  <a:cubicBezTo>
                    <a:pt x="5596" y="4584"/>
                    <a:pt x="5680" y="4679"/>
                    <a:pt x="5680" y="4787"/>
                  </a:cubicBezTo>
                  <a:cubicBezTo>
                    <a:pt x="5680" y="4882"/>
                    <a:pt x="5596" y="4977"/>
                    <a:pt x="5489" y="4977"/>
                  </a:cubicBezTo>
                  <a:lnTo>
                    <a:pt x="1679" y="4977"/>
                  </a:lnTo>
                  <a:lnTo>
                    <a:pt x="1679" y="4584"/>
                  </a:lnTo>
                  <a:close/>
                  <a:moveTo>
                    <a:pt x="2739" y="5287"/>
                  </a:moveTo>
                  <a:lnTo>
                    <a:pt x="2739" y="5787"/>
                  </a:lnTo>
                  <a:lnTo>
                    <a:pt x="2215" y="5787"/>
                  </a:lnTo>
                  <a:lnTo>
                    <a:pt x="2215" y="5287"/>
                  </a:lnTo>
                  <a:close/>
                  <a:moveTo>
                    <a:pt x="4287" y="5287"/>
                  </a:moveTo>
                  <a:lnTo>
                    <a:pt x="4287" y="5787"/>
                  </a:lnTo>
                  <a:lnTo>
                    <a:pt x="3060" y="5787"/>
                  </a:lnTo>
                  <a:lnTo>
                    <a:pt x="3060" y="5287"/>
                  </a:lnTo>
                  <a:close/>
                  <a:moveTo>
                    <a:pt x="5108" y="5287"/>
                  </a:moveTo>
                  <a:lnTo>
                    <a:pt x="5108" y="5787"/>
                  </a:lnTo>
                  <a:lnTo>
                    <a:pt x="4608" y="5787"/>
                  </a:lnTo>
                  <a:lnTo>
                    <a:pt x="4608" y="5287"/>
                  </a:lnTo>
                  <a:close/>
                  <a:moveTo>
                    <a:pt x="5489" y="6120"/>
                  </a:moveTo>
                  <a:cubicBezTo>
                    <a:pt x="5596" y="6120"/>
                    <a:pt x="5680" y="6215"/>
                    <a:pt x="5680" y="6311"/>
                  </a:cubicBezTo>
                  <a:cubicBezTo>
                    <a:pt x="5680" y="6418"/>
                    <a:pt x="5596" y="6513"/>
                    <a:pt x="5489" y="6513"/>
                  </a:cubicBezTo>
                  <a:lnTo>
                    <a:pt x="1679" y="6513"/>
                  </a:lnTo>
                  <a:lnTo>
                    <a:pt x="1679" y="6120"/>
                  </a:lnTo>
                  <a:close/>
                  <a:moveTo>
                    <a:pt x="2739" y="6834"/>
                  </a:moveTo>
                  <a:lnTo>
                    <a:pt x="2739" y="7346"/>
                  </a:lnTo>
                  <a:lnTo>
                    <a:pt x="2215" y="7346"/>
                  </a:lnTo>
                  <a:lnTo>
                    <a:pt x="2215" y="6834"/>
                  </a:lnTo>
                  <a:close/>
                  <a:moveTo>
                    <a:pt x="4287" y="6834"/>
                  </a:moveTo>
                  <a:lnTo>
                    <a:pt x="4287" y="7346"/>
                  </a:lnTo>
                  <a:lnTo>
                    <a:pt x="3060" y="7346"/>
                  </a:lnTo>
                  <a:lnTo>
                    <a:pt x="3060" y="6834"/>
                  </a:lnTo>
                  <a:close/>
                  <a:moveTo>
                    <a:pt x="5108" y="6834"/>
                  </a:moveTo>
                  <a:lnTo>
                    <a:pt x="5108" y="7346"/>
                  </a:lnTo>
                  <a:lnTo>
                    <a:pt x="4608" y="7346"/>
                  </a:lnTo>
                  <a:lnTo>
                    <a:pt x="4608" y="6834"/>
                  </a:lnTo>
                  <a:close/>
                  <a:moveTo>
                    <a:pt x="5489" y="7656"/>
                  </a:moveTo>
                  <a:cubicBezTo>
                    <a:pt x="5596" y="7656"/>
                    <a:pt x="5680" y="7739"/>
                    <a:pt x="5680" y="7846"/>
                  </a:cubicBezTo>
                  <a:cubicBezTo>
                    <a:pt x="5680" y="7954"/>
                    <a:pt x="5596" y="8037"/>
                    <a:pt x="5489" y="8037"/>
                  </a:cubicBezTo>
                  <a:lnTo>
                    <a:pt x="1679" y="8037"/>
                  </a:lnTo>
                  <a:lnTo>
                    <a:pt x="1679" y="7656"/>
                  </a:lnTo>
                  <a:close/>
                  <a:moveTo>
                    <a:pt x="2751" y="8370"/>
                  </a:moveTo>
                  <a:lnTo>
                    <a:pt x="2751" y="10001"/>
                  </a:lnTo>
                  <a:lnTo>
                    <a:pt x="2227" y="10001"/>
                  </a:lnTo>
                  <a:lnTo>
                    <a:pt x="2227" y="8370"/>
                  </a:lnTo>
                  <a:close/>
                  <a:moveTo>
                    <a:pt x="2917" y="10335"/>
                  </a:moveTo>
                  <a:lnTo>
                    <a:pt x="3060" y="10752"/>
                  </a:lnTo>
                  <a:lnTo>
                    <a:pt x="1894" y="10752"/>
                  </a:lnTo>
                  <a:lnTo>
                    <a:pt x="2024" y="10335"/>
                  </a:lnTo>
                  <a:close/>
                  <a:moveTo>
                    <a:pt x="536" y="0"/>
                  </a:moveTo>
                  <a:cubicBezTo>
                    <a:pt x="239" y="0"/>
                    <a:pt x="0" y="238"/>
                    <a:pt x="0" y="536"/>
                  </a:cubicBezTo>
                  <a:cubicBezTo>
                    <a:pt x="0" y="834"/>
                    <a:pt x="239" y="1072"/>
                    <a:pt x="536" y="1072"/>
                  </a:cubicBezTo>
                  <a:lnTo>
                    <a:pt x="715" y="1072"/>
                  </a:lnTo>
                  <a:cubicBezTo>
                    <a:pt x="1739" y="2239"/>
                    <a:pt x="1917" y="3072"/>
                    <a:pt x="1917" y="3477"/>
                  </a:cubicBezTo>
                  <a:lnTo>
                    <a:pt x="1917" y="4227"/>
                  </a:lnTo>
                  <a:lnTo>
                    <a:pt x="1620" y="4227"/>
                  </a:lnTo>
                  <a:cubicBezTo>
                    <a:pt x="1489" y="4227"/>
                    <a:pt x="1370" y="4346"/>
                    <a:pt x="1370" y="4489"/>
                  </a:cubicBezTo>
                  <a:lnTo>
                    <a:pt x="1370" y="4584"/>
                  </a:lnTo>
                  <a:lnTo>
                    <a:pt x="1155" y="4584"/>
                  </a:lnTo>
                  <a:lnTo>
                    <a:pt x="1155" y="4370"/>
                  </a:lnTo>
                  <a:cubicBezTo>
                    <a:pt x="1155" y="4275"/>
                    <a:pt x="1084" y="4203"/>
                    <a:pt x="989" y="4203"/>
                  </a:cubicBezTo>
                  <a:cubicBezTo>
                    <a:pt x="905" y="4203"/>
                    <a:pt x="834" y="4275"/>
                    <a:pt x="834" y="4370"/>
                  </a:cubicBezTo>
                  <a:lnTo>
                    <a:pt x="834" y="5144"/>
                  </a:lnTo>
                  <a:cubicBezTo>
                    <a:pt x="834" y="5227"/>
                    <a:pt x="905" y="5299"/>
                    <a:pt x="989" y="5299"/>
                  </a:cubicBezTo>
                  <a:cubicBezTo>
                    <a:pt x="1084" y="5299"/>
                    <a:pt x="1155" y="5227"/>
                    <a:pt x="1155" y="5144"/>
                  </a:cubicBezTo>
                  <a:lnTo>
                    <a:pt x="1155" y="4918"/>
                  </a:lnTo>
                  <a:lnTo>
                    <a:pt x="1370" y="4918"/>
                  </a:lnTo>
                  <a:lnTo>
                    <a:pt x="1370" y="5025"/>
                  </a:lnTo>
                  <a:cubicBezTo>
                    <a:pt x="1370" y="5156"/>
                    <a:pt x="1489" y="5275"/>
                    <a:pt x="1620" y="5275"/>
                  </a:cubicBezTo>
                  <a:lnTo>
                    <a:pt x="1917" y="5275"/>
                  </a:lnTo>
                  <a:lnTo>
                    <a:pt x="1917" y="5775"/>
                  </a:lnTo>
                  <a:lnTo>
                    <a:pt x="1620" y="5775"/>
                  </a:lnTo>
                  <a:cubicBezTo>
                    <a:pt x="1489" y="5775"/>
                    <a:pt x="1370" y="5894"/>
                    <a:pt x="1370" y="6037"/>
                  </a:cubicBezTo>
                  <a:lnTo>
                    <a:pt x="1370" y="6156"/>
                  </a:lnTo>
                  <a:lnTo>
                    <a:pt x="1155" y="6156"/>
                  </a:lnTo>
                  <a:lnTo>
                    <a:pt x="1155" y="5930"/>
                  </a:lnTo>
                  <a:cubicBezTo>
                    <a:pt x="1155" y="5834"/>
                    <a:pt x="1084" y="5763"/>
                    <a:pt x="989" y="5763"/>
                  </a:cubicBezTo>
                  <a:cubicBezTo>
                    <a:pt x="905" y="5763"/>
                    <a:pt x="834" y="5834"/>
                    <a:pt x="834" y="5930"/>
                  </a:cubicBezTo>
                  <a:lnTo>
                    <a:pt x="834" y="6703"/>
                  </a:lnTo>
                  <a:cubicBezTo>
                    <a:pt x="834" y="6787"/>
                    <a:pt x="905" y="6870"/>
                    <a:pt x="989" y="6870"/>
                  </a:cubicBezTo>
                  <a:cubicBezTo>
                    <a:pt x="1084" y="6870"/>
                    <a:pt x="1155" y="6787"/>
                    <a:pt x="1155" y="6703"/>
                  </a:cubicBezTo>
                  <a:lnTo>
                    <a:pt x="1155" y="6477"/>
                  </a:lnTo>
                  <a:lnTo>
                    <a:pt x="1370" y="6477"/>
                  </a:lnTo>
                  <a:lnTo>
                    <a:pt x="1370" y="6573"/>
                  </a:lnTo>
                  <a:cubicBezTo>
                    <a:pt x="1370" y="6703"/>
                    <a:pt x="1489" y="6823"/>
                    <a:pt x="1620" y="6823"/>
                  </a:cubicBezTo>
                  <a:lnTo>
                    <a:pt x="1917" y="6823"/>
                  </a:lnTo>
                  <a:lnTo>
                    <a:pt x="1917" y="7323"/>
                  </a:lnTo>
                  <a:lnTo>
                    <a:pt x="1620" y="7323"/>
                  </a:lnTo>
                  <a:cubicBezTo>
                    <a:pt x="1489" y="7323"/>
                    <a:pt x="1370" y="7442"/>
                    <a:pt x="1370" y="7585"/>
                  </a:cubicBezTo>
                  <a:lnTo>
                    <a:pt x="1370" y="7680"/>
                  </a:lnTo>
                  <a:lnTo>
                    <a:pt x="1155" y="7680"/>
                  </a:lnTo>
                  <a:lnTo>
                    <a:pt x="1155" y="7465"/>
                  </a:lnTo>
                  <a:cubicBezTo>
                    <a:pt x="1155" y="7370"/>
                    <a:pt x="1084" y="7299"/>
                    <a:pt x="989" y="7299"/>
                  </a:cubicBezTo>
                  <a:cubicBezTo>
                    <a:pt x="905" y="7299"/>
                    <a:pt x="834" y="7370"/>
                    <a:pt x="834" y="7465"/>
                  </a:cubicBezTo>
                  <a:lnTo>
                    <a:pt x="834" y="8239"/>
                  </a:lnTo>
                  <a:cubicBezTo>
                    <a:pt x="834" y="8323"/>
                    <a:pt x="905" y="8394"/>
                    <a:pt x="989" y="8394"/>
                  </a:cubicBezTo>
                  <a:cubicBezTo>
                    <a:pt x="1084" y="8394"/>
                    <a:pt x="1155" y="8323"/>
                    <a:pt x="1155" y="8239"/>
                  </a:cubicBezTo>
                  <a:lnTo>
                    <a:pt x="1155" y="8013"/>
                  </a:lnTo>
                  <a:lnTo>
                    <a:pt x="1370" y="8013"/>
                  </a:lnTo>
                  <a:lnTo>
                    <a:pt x="1370" y="8108"/>
                  </a:lnTo>
                  <a:cubicBezTo>
                    <a:pt x="1370" y="8251"/>
                    <a:pt x="1489" y="8370"/>
                    <a:pt x="1620" y="8370"/>
                  </a:cubicBezTo>
                  <a:lnTo>
                    <a:pt x="1917" y="8370"/>
                  </a:lnTo>
                  <a:lnTo>
                    <a:pt x="1917" y="10025"/>
                  </a:lnTo>
                  <a:cubicBezTo>
                    <a:pt x="1846" y="10049"/>
                    <a:pt x="1786" y="10109"/>
                    <a:pt x="1763" y="10180"/>
                  </a:cubicBezTo>
                  <a:lnTo>
                    <a:pt x="1572" y="10752"/>
                  </a:lnTo>
                  <a:cubicBezTo>
                    <a:pt x="1548" y="10823"/>
                    <a:pt x="1560" y="10918"/>
                    <a:pt x="1608" y="10978"/>
                  </a:cubicBezTo>
                  <a:cubicBezTo>
                    <a:pt x="1655" y="11037"/>
                    <a:pt x="1727" y="11073"/>
                    <a:pt x="1810" y="11073"/>
                  </a:cubicBezTo>
                  <a:lnTo>
                    <a:pt x="3179" y="11073"/>
                  </a:lnTo>
                  <a:cubicBezTo>
                    <a:pt x="3263" y="11073"/>
                    <a:pt x="3346" y="11037"/>
                    <a:pt x="3394" y="10978"/>
                  </a:cubicBezTo>
                  <a:cubicBezTo>
                    <a:pt x="3441" y="10918"/>
                    <a:pt x="3453" y="10823"/>
                    <a:pt x="3418" y="10752"/>
                  </a:cubicBezTo>
                  <a:lnTo>
                    <a:pt x="3227" y="10180"/>
                  </a:lnTo>
                  <a:cubicBezTo>
                    <a:pt x="3203" y="10109"/>
                    <a:pt x="3144" y="10049"/>
                    <a:pt x="3084" y="10025"/>
                  </a:cubicBezTo>
                  <a:lnTo>
                    <a:pt x="3084" y="8370"/>
                  </a:lnTo>
                  <a:lnTo>
                    <a:pt x="4239" y="8370"/>
                  </a:lnTo>
                  <a:cubicBezTo>
                    <a:pt x="4156" y="8585"/>
                    <a:pt x="3929" y="8739"/>
                    <a:pt x="3679" y="8739"/>
                  </a:cubicBezTo>
                  <a:cubicBezTo>
                    <a:pt x="3584" y="8739"/>
                    <a:pt x="3513" y="8811"/>
                    <a:pt x="3513" y="8906"/>
                  </a:cubicBezTo>
                  <a:cubicBezTo>
                    <a:pt x="3513" y="8989"/>
                    <a:pt x="3584" y="9073"/>
                    <a:pt x="3679" y="9073"/>
                  </a:cubicBezTo>
                  <a:cubicBezTo>
                    <a:pt x="4108" y="9073"/>
                    <a:pt x="4477" y="8775"/>
                    <a:pt x="4584" y="8370"/>
                  </a:cubicBezTo>
                  <a:lnTo>
                    <a:pt x="5084" y="8370"/>
                  </a:lnTo>
                  <a:cubicBezTo>
                    <a:pt x="4965" y="9037"/>
                    <a:pt x="4394" y="9561"/>
                    <a:pt x="3679" y="9561"/>
                  </a:cubicBezTo>
                  <a:cubicBezTo>
                    <a:pt x="3584" y="9561"/>
                    <a:pt x="3513" y="9632"/>
                    <a:pt x="3513" y="9728"/>
                  </a:cubicBezTo>
                  <a:cubicBezTo>
                    <a:pt x="3513" y="9811"/>
                    <a:pt x="3584" y="9882"/>
                    <a:pt x="3679" y="9882"/>
                  </a:cubicBezTo>
                  <a:cubicBezTo>
                    <a:pt x="4549" y="9882"/>
                    <a:pt x="5299" y="9228"/>
                    <a:pt x="5418" y="8382"/>
                  </a:cubicBezTo>
                  <a:lnTo>
                    <a:pt x="5501" y="8382"/>
                  </a:lnTo>
                  <a:cubicBezTo>
                    <a:pt x="5787" y="8382"/>
                    <a:pt x="6025" y="8144"/>
                    <a:pt x="6025" y="7858"/>
                  </a:cubicBezTo>
                  <a:cubicBezTo>
                    <a:pt x="6013" y="7561"/>
                    <a:pt x="5775" y="7323"/>
                    <a:pt x="5489" y="7323"/>
                  </a:cubicBezTo>
                  <a:lnTo>
                    <a:pt x="5418" y="7323"/>
                  </a:lnTo>
                  <a:lnTo>
                    <a:pt x="5418" y="6823"/>
                  </a:lnTo>
                  <a:lnTo>
                    <a:pt x="5489" y="6823"/>
                  </a:lnTo>
                  <a:cubicBezTo>
                    <a:pt x="5775" y="6823"/>
                    <a:pt x="6013" y="6584"/>
                    <a:pt x="6013" y="6299"/>
                  </a:cubicBezTo>
                  <a:cubicBezTo>
                    <a:pt x="6013" y="6013"/>
                    <a:pt x="5775" y="5775"/>
                    <a:pt x="5489" y="5775"/>
                  </a:cubicBezTo>
                  <a:lnTo>
                    <a:pt x="5418" y="5775"/>
                  </a:lnTo>
                  <a:lnTo>
                    <a:pt x="5418" y="5275"/>
                  </a:lnTo>
                  <a:lnTo>
                    <a:pt x="5489" y="5275"/>
                  </a:lnTo>
                  <a:cubicBezTo>
                    <a:pt x="5775" y="5275"/>
                    <a:pt x="6013" y="5037"/>
                    <a:pt x="6013" y="4751"/>
                  </a:cubicBezTo>
                  <a:cubicBezTo>
                    <a:pt x="6013" y="4465"/>
                    <a:pt x="5775" y="4227"/>
                    <a:pt x="5489" y="4227"/>
                  </a:cubicBezTo>
                  <a:lnTo>
                    <a:pt x="5406" y="4227"/>
                  </a:lnTo>
                  <a:cubicBezTo>
                    <a:pt x="5263" y="3441"/>
                    <a:pt x="4608" y="2822"/>
                    <a:pt x="3810" y="2763"/>
                  </a:cubicBezTo>
                  <a:cubicBezTo>
                    <a:pt x="3715" y="2763"/>
                    <a:pt x="3644" y="2822"/>
                    <a:pt x="3632" y="2905"/>
                  </a:cubicBezTo>
                  <a:cubicBezTo>
                    <a:pt x="3632" y="3001"/>
                    <a:pt x="3691" y="3072"/>
                    <a:pt x="3775" y="3084"/>
                  </a:cubicBezTo>
                  <a:cubicBezTo>
                    <a:pt x="4418" y="3132"/>
                    <a:pt x="4953" y="3608"/>
                    <a:pt x="5072" y="4227"/>
                  </a:cubicBezTo>
                  <a:lnTo>
                    <a:pt x="4572" y="4227"/>
                  </a:lnTo>
                  <a:cubicBezTo>
                    <a:pt x="4453" y="3846"/>
                    <a:pt x="4072" y="3572"/>
                    <a:pt x="3679" y="3572"/>
                  </a:cubicBezTo>
                  <a:cubicBezTo>
                    <a:pt x="3584" y="3572"/>
                    <a:pt x="3513" y="3655"/>
                    <a:pt x="3513" y="3739"/>
                  </a:cubicBezTo>
                  <a:cubicBezTo>
                    <a:pt x="3513" y="3834"/>
                    <a:pt x="3584" y="3906"/>
                    <a:pt x="3679" y="3906"/>
                  </a:cubicBezTo>
                  <a:cubicBezTo>
                    <a:pt x="3918" y="3906"/>
                    <a:pt x="4120" y="4036"/>
                    <a:pt x="4227" y="4227"/>
                  </a:cubicBezTo>
                  <a:lnTo>
                    <a:pt x="3084" y="4227"/>
                  </a:lnTo>
                  <a:lnTo>
                    <a:pt x="3084" y="3489"/>
                  </a:lnTo>
                  <a:lnTo>
                    <a:pt x="3084" y="3477"/>
                  </a:lnTo>
                  <a:cubicBezTo>
                    <a:pt x="3096" y="3072"/>
                    <a:pt x="3263" y="2227"/>
                    <a:pt x="4287" y="1072"/>
                  </a:cubicBezTo>
                  <a:lnTo>
                    <a:pt x="4465" y="1072"/>
                  </a:lnTo>
                  <a:cubicBezTo>
                    <a:pt x="4763" y="1072"/>
                    <a:pt x="5001" y="834"/>
                    <a:pt x="5001" y="536"/>
                  </a:cubicBezTo>
                  <a:cubicBezTo>
                    <a:pt x="5001" y="238"/>
                    <a:pt x="4763" y="0"/>
                    <a:pt x="4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2" name="Google Shape;12292;p62"/>
            <p:cNvSpPr/>
            <p:nvPr/>
          </p:nvSpPr>
          <p:spPr>
            <a:xfrm>
              <a:off x="7376679" y="1654039"/>
              <a:ext cx="795" cy="32"/>
            </a:xfrm>
            <a:custGeom>
              <a:avLst/>
              <a:gdLst/>
              <a:ahLst/>
              <a:cxnLst/>
              <a:rect l="l" t="t" r="r" b="b"/>
              <a:pathLst>
                <a:path w="25" h="1" extrusionOk="0">
                  <a:moveTo>
                    <a:pt x="24" y="0"/>
                  </a:moveTo>
                  <a:lnTo>
                    <a:pt x="1"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293" name="Google Shape;12293;p62"/>
          <p:cNvGrpSpPr/>
          <p:nvPr/>
        </p:nvGrpSpPr>
        <p:grpSpPr>
          <a:xfrm>
            <a:off x="7699309" y="1508626"/>
            <a:ext cx="154922" cy="351827"/>
            <a:chOff x="7699309" y="1508626"/>
            <a:chExt cx="154922" cy="351827"/>
          </a:xfrm>
        </p:grpSpPr>
        <p:sp>
          <p:nvSpPr>
            <p:cNvPr id="12294" name="Google Shape;12294;p62"/>
            <p:cNvSpPr/>
            <p:nvPr/>
          </p:nvSpPr>
          <p:spPr>
            <a:xfrm>
              <a:off x="7733022" y="1737336"/>
              <a:ext cx="24267" cy="57599"/>
            </a:xfrm>
            <a:custGeom>
              <a:avLst/>
              <a:gdLst/>
              <a:ahLst/>
              <a:cxnLst/>
              <a:rect l="l" t="t" r="r" b="b"/>
              <a:pathLst>
                <a:path w="763" h="1811" extrusionOk="0">
                  <a:moveTo>
                    <a:pt x="584" y="1"/>
                  </a:moveTo>
                  <a:cubicBezTo>
                    <a:pt x="488" y="1"/>
                    <a:pt x="417" y="84"/>
                    <a:pt x="417" y="167"/>
                  </a:cubicBezTo>
                  <a:lnTo>
                    <a:pt x="417" y="501"/>
                  </a:lnTo>
                  <a:cubicBezTo>
                    <a:pt x="417" y="596"/>
                    <a:pt x="369" y="715"/>
                    <a:pt x="298" y="798"/>
                  </a:cubicBezTo>
                  <a:cubicBezTo>
                    <a:pt x="72" y="1013"/>
                    <a:pt x="0" y="1358"/>
                    <a:pt x="155" y="1644"/>
                  </a:cubicBezTo>
                  <a:lnTo>
                    <a:pt x="179" y="1715"/>
                  </a:lnTo>
                  <a:cubicBezTo>
                    <a:pt x="215" y="1775"/>
                    <a:pt x="274" y="1810"/>
                    <a:pt x="334" y="1810"/>
                  </a:cubicBezTo>
                  <a:cubicBezTo>
                    <a:pt x="357" y="1810"/>
                    <a:pt x="369" y="1810"/>
                    <a:pt x="405" y="1786"/>
                  </a:cubicBezTo>
                  <a:cubicBezTo>
                    <a:pt x="477" y="1751"/>
                    <a:pt x="524" y="1655"/>
                    <a:pt x="477" y="1572"/>
                  </a:cubicBezTo>
                  <a:lnTo>
                    <a:pt x="453" y="1489"/>
                  </a:lnTo>
                  <a:cubicBezTo>
                    <a:pt x="369" y="1334"/>
                    <a:pt x="405" y="1155"/>
                    <a:pt x="536" y="1013"/>
                  </a:cubicBezTo>
                  <a:cubicBezTo>
                    <a:pt x="691" y="882"/>
                    <a:pt x="762" y="691"/>
                    <a:pt x="762" y="501"/>
                  </a:cubicBezTo>
                  <a:lnTo>
                    <a:pt x="762" y="167"/>
                  </a:lnTo>
                  <a:cubicBezTo>
                    <a:pt x="750" y="84"/>
                    <a:pt x="667" y="1"/>
                    <a:pt x="5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5" name="Google Shape;12295;p62"/>
            <p:cNvSpPr/>
            <p:nvPr/>
          </p:nvSpPr>
          <p:spPr>
            <a:xfrm>
              <a:off x="7796632" y="1737336"/>
              <a:ext cx="23504" cy="57599"/>
            </a:xfrm>
            <a:custGeom>
              <a:avLst/>
              <a:gdLst/>
              <a:ahLst/>
              <a:cxnLst/>
              <a:rect l="l" t="t" r="r" b="b"/>
              <a:pathLst>
                <a:path w="739" h="1811" extrusionOk="0">
                  <a:moveTo>
                    <a:pt x="155" y="1"/>
                  </a:moveTo>
                  <a:cubicBezTo>
                    <a:pt x="72" y="1"/>
                    <a:pt x="1" y="84"/>
                    <a:pt x="1" y="167"/>
                  </a:cubicBezTo>
                  <a:lnTo>
                    <a:pt x="1" y="501"/>
                  </a:lnTo>
                  <a:cubicBezTo>
                    <a:pt x="1" y="691"/>
                    <a:pt x="84" y="882"/>
                    <a:pt x="215" y="1013"/>
                  </a:cubicBezTo>
                  <a:cubicBezTo>
                    <a:pt x="358" y="1132"/>
                    <a:pt x="382" y="1334"/>
                    <a:pt x="310" y="1489"/>
                  </a:cubicBezTo>
                  <a:lnTo>
                    <a:pt x="274" y="1572"/>
                  </a:lnTo>
                  <a:cubicBezTo>
                    <a:pt x="239" y="1644"/>
                    <a:pt x="274" y="1751"/>
                    <a:pt x="358" y="1786"/>
                  </a:cubicBezTo>
                  <a:cubicBezTo>
                    <a:pt x="382" y="1810"/>
                    <a:pt x="393" y="1810"/>
                    <a:pt x="429" y="1810"/>
                  </a:cubicBezTo>
                  <a:cubicBezTo>
                    <a:pt x="489" y="1810"/>
                    <a:pt x="548" y="1775"/>
                    <a:pt x="572" y="1715"/>
                  </a:cubicBezTo>
                  <a:lnTo>
                    <a:pt x="608" y="1644"/>
                  </a:lnTo>
                  <a:cubicBezTo>
                    <a:pt x="739" y="1346"/>
                    <a:pt x="679" y="1013"/>
                    <a:pt x="441" y="798"/>
                  </a:cubicBezTo>
                  <a:cubicBezTo>
                    <a:pt x="370" y="715"/>
                    <a:pt x="322" y="620"/>
                    <a:pt x="322" y="501"/>
                  </a:cubicBezTo>
                  <a:lnTo>
                    <a:pt x="322" y="167"/>
                  </a:lnTo>
                  <a:cubicBezTo>
                    <a:pt x="322" y="84"/>
                    <a:pt x="25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6" name="Google Shape;12296;p62"/>
            <p:cNvSpPr/>
            <p:nvPr/>
          </p:nvSpPr>
          <p:spPr>
            <a:xfrm>
              <a:off x="7757639" y="1792231"/>
              <a:ext cx="32" cy="795"/>
            </a:xfrm>
            <a:custGeom>
              <a:avLst/>
              <a:gdLst/>
              <a:ahLst/>
              <a:cxnLst/>
              <a:rect l="l" t="t" r="r" b="b"/>
              <a:pathLst>
                <a:path w="1" h="25" extrusionOk="0">
                  <a:moveTo>
                    <a:pt x="0" y="1"/>
                  </a:moveTo>
                  <a:cubicBezTo>
                    <a:pt x="0" y="1"/>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7" name="Google Shape;12297;p62"/>
            <p:cNvSpPr/>
            <p:nvPr/>
          </p:nvSpPr>
          <p:spPr>
            <a:xfrm>
              <a:off x="7757639" y="1784280"/>
              <a:ext cx="39406" cy="76173"/>
            </a:xfrm>
            <a:custGeom>
              <a:avLst/>
              <a:gdLst/>
              <a:ahLst/>
              <a:cxnLst/>
              <a:rect l="l" t="t" r="r" b="b"/>
              <a:pathLst>
                <a:path w="1239" h="2395" extrusionOk="0">
                  <a:moveTo>
                    <a:pt x="857" y="322"/>
                  </a:moveTo>
                  <a:lnTo>
                    <a:pt x="834" y="894"/>
                  </a:lnTo>
                  <a:lnTo>
                    <a:pt x="357" y="894"/>
                  </a:lnTo>
                  <a:lnTo>
                    <a:pt x="322" y="322"/>
                  </a:lnTo>
                  <a:close/>
                  <a:moveTo>
                    <a:pt x="822" y="1227"/>
                  </a:moveTo>
                  <a:lnTo>
                    <a:pt x="762" y="2073"/>
                  </a:lnTo>
                  <a:lnTo>
                    <a:pt x="429" y="2073"/>
                  </a:lnTo>
                  <a:lnTo>
                    <a:pt x="393" y="1227"/>
                  </a:lnTo>
                  <a:close/>
                  <a:moveTo>
                    <a:pt x="250" y="1"/>
                  </a:moveTo>
                  <a:cubicBezTo>
                    <a:pt x="179" y="1"/>
                    <a:pt x="119" y="25"/>
                    <a:pt x="72" y="72"/>
                  </a:cubicBezTo>
                  <a:cubicBezTo>
                    <a:pt x="24" y="120"/>
                    <a:pt x="0" y="191"/>
                    <a:pt x="12" y="251"/>
                  </a:cubicBezTo>
                  <a:cubicBezTo>
                    <a:pt x="12" y="275"/>
                    <a:pt x="119" y="2144"/>
                    <a:pt x="131" y="2156"/>
                  </a:cubicBezTo>
                  <a:cubicBezTo>
                    <a:pt x="143" y="2287"/>
                    <a:pt x="250" y="2394"/>
                    <a:pt x="381" y="2394"/>
                  </a:cubicBezTo>
                  <a:lnTo>
                    <a:pt x="857" y="2394"/>
                  </a:lnTo>
                  <a:cubicBezTo>
                    <a:pt x="1000" y="2394"/>
                    <a:pt x="1096" y="2299"/>
                    <a:pt x="1119" y="2156"/>
                  </a:cubicBezTo>
                  <a:lnTo>
                    <a:pt x="1238" y="251"/>
                  </a:lnTo>
                  <a:cubicBezTo>
                    <a:pt x="1191" y="191"/>
                    <a:pt x="1179" y="120"/>
                    <a:pt x="1131" y="72"/>
                  </a:cubicBezTo>
                  <a:cubicBezTo>
                    <a:pt x="1084" y="25"/>
                    <a:pt x="1024" y="1"/>
                    <a:pt x="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8" name="Google Shape;12298;p62"/>
            <p:cNvSpPr/>
            <p:nvPr/>
          </p:nvSpPr>
          <p:spPr>
            <a:xfrm>
              <a:off x="7805347" y="1642016"/>
              <a:ext cx="48884" cy="201771"/>
            </a:xfrm>
            <a:custGeom>
              <a:avLst/>
              <a:gdLst/>
              <a:ahLst/>
              <a:cxnLst/>
              <a:rect l="l" t="t" r="r" b="b"/>
              <a:pathLst>
                <a:path w="1537" h="6344" extrusionOk="0">
                  <a:moveTo>
                    <a:pt x="180" y="0"/>
                  </a:moveTo>
                  <a:cubicBezTo>
                    <a:pt x="119" y="0"/>
                    <a:pt x="54" y="27"/>
                    <a:pt x="36" y="81"/>
                  </a:cubicBezTo>
                  <a:cubicBezTo>
                    <a:pt x="0" y="164"/>
                    <a:pt x="36" y="259"/>
                    <a:pt x="108" y="295"/>
                  </a:cubicBezTo>
                  <a:cubicBezTo>
                    <a:pt x="584" y="497"/>
                    <a:pt x="893" y="985"/>
                    <a:pt x="893" y="1509"/>
                  </a:cubicBezTo>
                  <a:lnTo>
                    <a:pt x="893" y="2497"/>
                  </a:lnTo>
                  <a:cubicBezTo>
                    <a:pt x="893" y="2521"/>
                    <a:pt x="870" y="2569"/>
                    <a:pt x="834" y="2569"/>
                  </a:cubicBezTo>
                  <a:cubicBezTo>
                    <a:pt x="572" y="2628"/>
                    <a:pt x="381" y="2867"/>
                    <a:pt x="381" y="3140"/>
                  </a:cubicBezTo>
                  <a:lnTo>
                    <a:pt x="381" y="3307"/>
                  </a:lnTo>
                  <a:cubicBezTo>
                    <a:pt x="381" y="3605"/>
                    <a:pt x="596" y="3867"/>
                    <a:pt x="893" y="3891"/>
                  </a:cubicBezTo>
                  <a:cubicBezTo>
                    <a:pt x="1072" y="3902"/>
                    <a:pt x="1203" y="4057"/>
                    <a:pt x="1203" y="4236"/>
                  </a:cubicBezTo>
                  <a:lnTo>
                    <a:pt x="1203" y="4545"/>
                  </a:lnTo>
                  <a:cubicBezTo>
                    <a:pt x="1203" y="5224"/>
                    <a:pt x="774" y="5819"/>
                    <a:pt x="155" y="6034"/>
                  </a:cubicBezTo>
                  <a:cubicBezTo>
                    <a:pt x="60" y="6069"/>
                    <a:pt x="12" y="6153"/>
                    <a:pt x="48" y="6248"/>
                  </a:cubicBezTo>
                  <a:cubicBezTo>
                    <a:pt x="84" y="6319"/>
                    <a:pt x="131" y="6343"/>
                    <a:pt x="203" y="6343"/>
                  </a:cubicBezTo>
                  <a:cubicBezTo>
                    <a:pt x="215" y="6343"/>
                    <a:pt x="227" y="6343"/>
                    <a:pt x="262" y="6331"/>
                  </a:cubicBezTo>
                  <a:cubicBezTo>
                    <a:pt x="1012" y="6069"/>
                    <a:pt x="1536" y="5355"/>
                    <a:pt x="1536" y="4545"/>
                  </a:cubicBezTo>
                  <a:lnTo>
                    <a:pt x="1536" y="4236"/>
                  </a:lnTo>
                  <a:cubicBezTo>
                    <a:pt x="1536" y="3891"/>
                    <a:pt x="1274" y="3605"/>
                    <a:pt x="929" y="3581"/>
                  </a:cubicBezTo>
                  <a:cubicBezTo>
                    <a:pt x="798" y="3569"/>
                    <a:pt x="703" y="3462"/>
                    <a:pt x="703" y="3331"/>
                  </a:cubicBezTo>
                  <a:lnTo>
                    <a:pt x="703" y="3152"/>
                  </a:lnTo>
                  <a:cubicBezTo>
                    <a:pt x="703" y="3033"/>
                    <a:pt x="798" y="2926"/>
                    <a:pt x="917" y="2902"/>
                  </a:cubicBezTo>
                  <a:cubicBezTo>
                    <a:pt x="1096" y="2855"/>
                    <a:pt x="1227" y="2688"/>
                    <a:pt x="1227" y="2509"/>
                  </a:cubicBezTo>
                  <a:lnTo>
                    <a:pt x="1227" y="1521"/>
                  </a:lnTo>
                  <a:cubicBezTo>
                    <a:pt x="1227" y="878"/>
                    <a:pt x="834" y="283"/>
                    <a:pt x="239" y="9"/>
                  </a:cubicBezTo>
                  <a:cubicBezTo>
                    <a:pt x="221" y="3"/>
                    <a:pt x="201"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9" name="Google Shape;12299;p62"/>
            <p:cNvSpPr/>
            <p:nvPr/>
          </p:nvSpPr>
          <p:spPr>
            <a:xfrm>
              <a:off x="7699309" y="1642239"/>
              <a:ext cx="48884" cy="202661"/>
            </a:xfrm>
            <a:custGeom>
              <a:avLst/>
              <a:gdLst/>
              <a:ahLst/>
              <a:cxnLst/>
              <a:rect l="l" t="t" r="r" b="b"/>
              <a:pathLst>
                <a:path w="1537" h="6372" extrusionOk="0">
                  <a:moveTo>
                    <a:pt x="1348" y="0"/>
                  </a:moveTo>
                  <a:cubicBezTo>
                    <a:pt x="1326" y="0"/>
                    <a:pt x="1305" y="5"/>
                    <a:pt x="1287" y="14"/>
                  </a:cubicBezTo>
                  <a:cubicBezTo>
                    <a:pt x="691" y="288"/>
                    <a:pt x="310" y="883"/>
                    <a:pt x="310" y="1526"/>
                  </a:cubicBezTo>
                  <a:lnTo>
                    <a:pt x="310" y="2502"/>
                  </a:lnTo>
                  <a:cubicBezTo>
                    <a:pt x="310" y="2693"/>
                    <a:pt x="453" y="2860"/>
                    <a:pt x="632" y="2895"/>
                  </a:cubicBezTo>
                  <a:cubicBezTo>
                    <a:pt x="751" y="2919"/>
                    <a:pt x="834" y="3026"/>
                    <a:pt x="834" y="3145"/>
                  </a:cubicBezTo>
                  <a:lnTo>
                    <a:pt x="834" y="3324"/>
                  </a:lnTo>
                  <a:cubicBezTo>
                    <a:pt x="834" y="3455"/>
                    <a:pt x="727" y="3562"/>
                    <a:pt x="608" y="3574"/>
                  </a:cubicBezTo>
                  <a:cubicBezTo>
                    <a:pt x="274" y="3610"/>
                    <a:pt x="1" y="3907"/>
                    <a:pt x="1" y="4241"/>
                  </a:cubicBezTo>
                  <a:lnTo>
                    <a:pt x="1" y="4562"/>
                  </a:lnTo>
                  <a:cubicBezTo>
                    <a:pt x="1" y="5372"/>
                    <a:pt x="525" y="6086"/>
                    <a:pt x="1298" y="6360"/>
                  </a:cubicBezTo>
                  <a:cubicBezTo>
                    <a:pt x="1310" y="6360"/>
                    <a:pt x="1334" y="6372"/>
                    <a:pt x="1346" y="6372"/>
                  </a:cubicBezTo>
                  <a:cubicBezTo>
                    <a:pt x="1417" y="6372"/>
                    <a:pt x="1477" y="6324"/>
                    <a:pt x="1489" y="6265"/>
                  </a:cubicBezTo>
                  <a:cubicBezTo>
                    <a:pt x="1525" y="6169"/>
                    <a:pt x="1477" y="6074"/>
                    <a:pt x="1394" y="6050"/>
                  </a:cubicBezTo>
                  <a:cubicBezTo>
                    <a:pt x="751" y="5836"/>
                    <a:pt x="322" y="5229"/>
                    <a:pt x="322" y="4562"/>
                  </a:cubicBezTo>
                  <a:lnTo>
                    <a:pt x="322" y="4241"/>
                  </a:lnTo>
                  <a:cubicBezTo>
                    <a:pt x="322" y="4062"/>
                    <a:pt x="453" y="3919"/>
                    <a:pt x="632" y="3895"/>
                  </a:cubicBezTo>
                  <a:cubicBezTo>
                    <a:pt x="929" y="3872"/>
                    <a:pt x="1156" y="3622"/>
                    <a:pt x="1156" y="3324"/>
                  </a:cubicBezTo>
                  <a:lnTo>
                    <a:pt x="1156" y="3145"/>
                  </a:lnTo>
                  <a:cubicBezTo>
                    <a:pt x="1156" y="2871"/>
                    <a:pt x="953" y="2633"/>
                    <a:pt x="691" y="2574"/>
                  </a:cubicBezTo>
                  <a:cubicBezTo>
                    <a:pt x="655" y="2574"/>
                    <a:pt x="632" y="2538"/>
                    <a:pt x="632" y="2502"/>
                  </a:cubicBezTo>
                  <a:lnTo>
                    <a:pt x="632" y="1514"/>
                  </a:lnTo>
                  <a:cubicBezTo>
                    <a:pt x="632" y="1002"/>
                    <a:pt x="941" y="526"/>
                    <a:pt x="1417" y="300"/>
                  </a:cubicBezTo>
                  <a:cubicBezTo>
                    <a:pt x="1489" y="276"/>
                    <a:pt x="1537" y="169"/>
                    <a:pt x="1489" y="97"/>
                  </a:cubicBezTo>
                  <a:cubicBezTo>
                    <a:pt x="1471" y="36"/>
                    <a:pt x="1408" y="0"/>
                    <a:pt x="1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0" name="Google Shape;12300;p62"/>
            <p:cNvSpPr/>
            <p:nvPr/>
          </p:nvSpPr>
          <p:spPr>
            <a:xfrm>
              <a:off x="7743613" y="1508626"/>
              <a:ext cx="66313" cy="208673"/>
            </a:xfrm>
            <a:custGeom>
              <a:avLst/>
              <a:gdLst/>
              <a:ahLst/>
              <a:cxnLst/>
              <a:rect l="l" t="t" r="r" b="b"/>
              <a:pathLst>
                <a:path w="2085" h="6561" extrusionOk="0">
                  <a:moveTo>
                    <a:pt x="1191" y="345"/>
                  </a:moveTo>
                  <a:lnTo>
                    <a:pt x="1310" y="1250"/>
                  </a:lnTo>
                  <a:lnTo>
                    <a:pt x="775" y="1250"/>
                  </a:lnTo>
                  <a:lnTo>
                    <a:pt x="894" y="345"/>
                  </a:lnTo>
                  <a:close/>
                  <a:moveTo>
                    <a:pt x="1108" y="1572"/>
                  </a:moveTo>
                  <a:lnTo>
                    <a:pt x="1263" y="6215"/>
                  </a:lnTo>
                  <a:lnTo>
                    <a:pt x="810" y="6215"/>
                  </a:lnTo>
                  <a:lnTo>
                    <a:pt x="810" y="6191"/>
                  </a:lnTo>
                  <a:lnTo>
                    <a:pt x="977" y="1572"/>
                  </a:lnTo>
                  <a:close/>
                  <a:moveTo>
                    <a:pt x="1263" y="6215"/>
                  </a:moveTo>
                  <a:lnTo>
                    <a:pt x="1263" y="6215"/>
                  </a:lnTo>
                  <a:cubicBezTo>
                    <a:pt x="1263" y="6221"/>
                    <a:pt x="1260" y="6224"/>
                    <a:pt x="1258" y="6224"/>
                  </a:cubicBezTo>
                  <a:cubicBezTo>
                    <a:pt x="1257" y="6224"/>
                    <a:pt x="1257" y="6221"/>
                    <a:pt x="1263" y="6215"/>
                  </a:cubicBezTo>
                  <a:close/>
                  <a:moveTo>
                    <a:pt x="798" y="0"/>
                  </a:moveTo>
                  <a:cubicBezTo>
                    <a:pt x="679" y="0"/>
                    <a:pt x="596" y="95"/>
                    <a:pt x="572" y="203"/>
                  </a:cubicBezTo>
                  <a:lnTo>
                    <a:pt x="572" y="250"/>
                  </a:lnTo>
                  <a:lnTo>
                    <a:pt x="263" y="250"/>
                  </a:lnTo>
                  <a:cubicBezTo>
                    <a:pt x="179" y="250"/>
                    <a:pt x="96" y="322"/>
                    <a:pt x="96" y="405"/>
                  </a:cubicBezTo>
                  <a:cubicBezTo>
                    <a:pt x="96" y="500"/>
                    <a:pt x="179" y="572"/>
                    <a:pt x="263" y="572"/>
                  </a:cubicBezTo>
                  <a:lnTo>
                    <a:pt x="536" y="572"/>
                  </a:lnTo>
                  <a:lnTo>
                    <a:pt x="477" y="988"/>
                  </a:lnTo>
                  <a:lnTo>
                    <a:pt x="155" y="988"/>
                  </a:lnTo>
                  <a:cubicBezTo>
                    <a:pt x="72" y="988"/>
                    <a:pt x="1" y="1060"/>
                    <a:pt x="1" y="1155"/>
                  </a:cubicBezTo>
                  <a:cubicBezTo>
                    <a:pt x="1" y="1238"/>
                    <a:pt x="72" y="1322"/>
                    <a:pt x="155" y="1322"/>
                  </a:cubicBezTo>
                  <a:lnTo>
                    <a:pt x="441" y="1322"/>
                  </a:lnTo>
                  <a:cubicBezTo>
                    <a:pt x="441" y="1381"/>
                    <a:pt x="453" y="1453"/>
                    <a:pt x="501" y="1500"/>
                  </a:cubicBezTo>
                  <a:cubicBezTo>
                    <a:pt x="548" y="1536"/>
                    <a:pt x="608" y="1572"/>
                    <a:pt x="667" y="1572"/>
                  </a:cubicBezTo>
                  <a:lnTo>
                    <a:pt x="501" y="6203"/>
                  </a:lnTo>
                  <a:cubicBezTo>
                    <a:pt x="501" y="6287"/>
                    <a:pt x="536" y="6382"/>
                    <a:pt x="596" y="6453"/>
                  </a:cubicBezTo>
                  <a:cubicBezTo>
                    <a:pt x="656" y="6513"/>
                    <a:pt x="739" y="6561"/>
                    <a:pt x="834" y="6561"/>
                  </a:cubicBezTo>
                  <a:lnTo>
                    <a:pt x="1251" y="6561"/>
                  </a:lnTo>
                  <a:cubicBezTo>
                    <a:pt x="1334" y="6561"/>
                    <a:pt x="1429" y="6525"/>
                    <a:pt x="1489" y="6453"/>
                  </a:cubicBezTo>
                  <a:cubicBezTo>
                    <a:pt x="1548" y="6394"/>
                    <a:pt x="1584" y="6299"/>
                    <a:pt x="1572" y="6203"/>
                  </a:cubicBezTo>
                  <a:lnTo>
                    <a:pt x="1406" y="1572"/>
                  </a:lnTo>
                  <a:cubicBezTo>
                    <a:pt x="1465" y="1572"/>
                    <a:pt x="1525" y="1536"/>
                    <a:pt x="1572" y="1500"/>
                  </a:cubicBezTo>
                  <a:cubicBezTo>
                    <a:pt x="1620" y="1453"/>
                    <a:pt x="1632" y="1393"/>
                    <a:pt x="1632" y="1334"/>
                  </a:cubicBezTo>
                  <a:lnTo>
                    <a:pt x="1918" y="1334"/>
                  </a:lnTo>
                  <a:cubicBezTo>
                    <a:pt x="2001" y="1334"/>
                    <a:pt x="2084" y="1250"/>
                    <a:pt x="2084" y="1167"/>
                  </a:cubicBezTo>
                  <a:cubicBezTo>
                    <a:pt x="2084" y="1072"/>
                    <a:pt x="2001" y="1000"/>
                    <a:pt x="1918" y="1000"/>
                  </a:cubicBezTo>
                  <a:lnTo>
                    <a:pt x="1608" y="1000"/>
                  </a:lnTo>
                  <a:lnTo>
                    <a:pt x="1548" y="584"/>
                  </a:lnTo>
                  <a:lnTo>
                    <a:pt x="1810" y="584"/>
                  </a:lnTo>
                  <a:cubicBezTo>
                    <a:pt x="1906" y="584"/>
                    <a:pt x="1977" y="512"/>
                    <a:pt x="1977" y="429"/>
                  </a:cubicBezTo>
                  <a:cubicBezTo>
                    <a:pt x="1977" y="334"/>
                    <a:pt x="1906" y="262"/>
                    <a:pt x="1810" y="262"/>
                  </a:cubicBezTo>
                  <a:lnTo>
                    <a:pt x="1501" y="262"/>
                  </a:lnTo>
                  <a:lnTo>
                    <a:pt x="1489" y="203"/>
                  </a:lnTo>
                  <a:cubicBezTo>
                    <a:pt x="1465" y="84"/>
                    <a:pt x="1382"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1" name="Google Shape;12301;p62"/>
          <p:cNvGrpSpPr/>
          <p:nvPr/>
        </p:nvGrpSpPr>
        <p:grpSpPr>
          <a:xfrm>
            <a:off x="8161690" y="1509008"/>
            <a:ext cx="153396" cy="351064"/>
            <a:chOff x="8161690" y="1509008"/>
            <a:chExt cx="153396" cy="351064"/>
          </a:xfrm>
        </p:grpSpPr>
        <p:sp>
          <p:nvSpPr>
            <p:cNvPr id="12302" name="Google Shape;12302;p62"/>
            <p:cNvSpPr/>
            <p:nvPr/>
          </p:nvSpPr>
          <p:spPr>
            <a:xfrm>
              <a:off x="8207871" y="1699838"/>
              <a:ext cx="61384" cy="61765"/>
            </a:xfrm>
            <a:custGeom>
              <a:avLst/>
              <a:gdLst/>
              <a:ahLst/>
              <a:cxnLst/>
              <a:rect l="l" t="t" r="r" b="b"/>
              <a:pathLst>
                <a:path w="1930" h="1942" extrusionOk="0">
                  <a:moveTo>
                    <a:pt x="965" y="334"/>
                  </a:moveTo>
                  <a:cubicBezTo>
                    <a:pt x="1322" y="334"/>
                    <a:pt x="1608" y="620"/>
                    <a:pt x="1608" y="977"/>
                  </a:cubicBezTo>
                  <a:cubicBezTo>
                    <a:pt x="1608" y="1334"/>
                    <a:pt x="1322" y="1620"/>
                    <a:pt x="965" y="1620"/>
                  </a:cubicBezTo>
                  <a:cubicBezTo>
                    <a:pt x="608" y="1620"/>
                    <a:pt x="322" y="1334"/>
                    <a:pt x="322" y="977"/>
                  </a:cubicBezTo>
                  <a:cubicBezTo>
                    <a:pt x="322" y="620"/>
                    <a:pt x="608" y="334"/>
                    <a:pt x="965" y="334"/>
                  </a:cubicBezTo>
                  <a:close/>
                  <a:moveTo>
                    <a:pt x="965" y="1"/>
                  </a:moveTo>
                  <a:cubicBezTo>
                    <a:pt x="429" y="1"/>
                    <a:pt x="1" y="441"/>
                    <a:pt x="1" y="977"/>
                  </a:cubicBezTo>
                  <a:cubicBezTo>
                    <a:pt x="1" y="1513"/>
                    <a:pt x="429" y="1942"/>
                    <a:pt x="965" y="1942"/>
                  </a:cubicBezTo>
                  <a:cubicBezTo>
                    <a:pt x="1501" y="1942"/>
                    <a:pt x="1930" y="1513"/>
                    <a:pt x="1930" y="977"/>
                  </a:cubicBezTo>
                  <a:cubicBezTo>
                    <a:pt x="1930" y="441"/>
                    <a:pt x="1501" y="1"/>
                    <a:pt x="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3" name="Google Shape;12303;p62"/>
            <p:cNvSpPr/>
            <p:nvPr/>
          </p:nvSpPr>
          <p:spPr>
            <a:xfrm>
              <a:off x="8199919" y="1800564"/>
              <a:ext cx="77668" cy="29579"/>
            </a:xfrm>
            <a:custGeom>
              <a:avLst/>
              <a:gdLst/>
              <a:ahLst/>
              <a:cxnLst/>
              <a:rect l="l" t="t" r="r" b="b"/>
              <a:pathLst>
                <a:path w="2442" h="930" extrusionOk="0">
                  <a:moveTo>
                    <a:pt x="2120" y="322"/>
                  </a:moveTo>
                  <a:lnTo>
                    <a:pt x="2120" y="620"/>
                  </a:lnTo>
                  <a:lnTo>
                    <a:pt x="322" y="620"/>
                  </a:lnTo>
                  <a:lnTo>
                    <a:pt x="322" y="322"/>
                  </a:lnTo>
                  <a:close/>
                  <a:moveTo>
                    <a:pt x="239" y="1"/>
                  </a:moveTo>
                  <a:cubicBezTo>
                    <a:pt x="96" y="1"/>
                    <a:pt x="1" y="96"/>
                    <a:pt x="1" y="239"/>
                  </a:cubicBezTo>
                  <a:lnTo>
                    <a:pt x="1" y="691"/>
                  </a:lnTo>
                  <a:cubicBezTo>
                    <a:pt x="1" y="834"/>
                    <a:pt x="96" y="930"/>
                    <a:pt x="239" y="930"/>
                  </a:cubicBezTo>
                  <a:lnTo>
                    <a:pt x="2203" y="930"/>
                  </a:lnTo>
                  <a:cubicBezTo>
                    <a:pt x="2334" y="930"/>
                    <a:pt x="2441" y="834"/>
                    <a:pt x="2441" y="691"/>
                  </a:cubicBezTo>
                  <a:lnTo>
                    <a:pt x="2441" y="239"/>
                  </a:lnTo>
                  <a:cubicBezTo>
                    <a:pt x="2441" y="108"/>
                    <a:pt x="2334" y="1"/>
                    <a:pt x="2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4" name="Google Shape;12304;p62"/>
            <p:cNvSpPr/>
            <p:nvPr/>
          </p:nvSpPr>
          <p:spPr>
            <a:xfrm>
              <a:off x="8161690" y="1664598"/>
              <a:ext cx="153396" cy="195474"/>
            </a:xfrm>
            <a:custGeom>
              <a:avLst/>
              <a:gdLst/>
              <a:ahLst/>
              <a:cxnLst/>
              <a:rect l="l" t="t" r="r" b="b"/>
              <a:pathLst>
                <a:path w="4823" h="6146" extrusionOk="0">
                  <a:moveTo>
                    <a:pt x="1264" y="1"/>
                  </a:moveTo>
                  <a:cubicBezTo>
                    <a:pt x="1234" y="1"/>
                    <a:pt x="1204" y="8"/>
                    <a:pt x="1179" y="25"/>
                  </a:cubicBezTo>
                  <a:cubicBezTo>
                    <a:pt x="1167" y="49"/>
                    <a:pt x="1155" y="61"/>
                    <a:pt x="1119" y="61"/>
                  </a:cubicBezTo>
                  <a:cubicBezTo>
                    <a:pt x="762" y="311"/>
                    <a:pt x="572" y="716"/>
                    <a:pt x="572" y="1192"/>
                  </a:cubicBezTo>
                  <a:cubicBezTo>
                    <a:pt x="572" y="1430"/>
                    <a:pt x="619" y="1668"/>
                    <a:pt x="703" y="1871"/>
                  </a:cubicBezTo>
                  <a:cubicBezTo>
                    <a:pt x="822" y="2157"/>
                    <a:pt x="774" y="2490"/>
                    <a:pt x="572" y="2728"/>
                  </a:cubicBezTo>
                  <a:cubicBezTo>
                    <a:pt x="214" y="3145"/>
                    <a:pt x="0" y="3692"/>
                    <a:pt x="0" y="4240"/>
                  </a:cubicBezTo>
                  <a:cubicBezTo>
                    <a:pt x="0" y="4824"/>
                    <a:pt x="226" y="5312"/>
                    <a:pt x="643" y="5633"/>
                  </a:cubicBezTo>
                  <a:cubicBezTo>
                    <a:pt x="1012" y="5931"/>
                    <a:pt x="1536" y="6109"/>
                    <a:pt x="2143" y="6145"/>
                  </a:cubicBezTo>
                  <a:lnTo>
                    <a:pt x="2679" y="6145"/>
                  </a:lnTo>
                  <a:cubicBezTo>
                    <a:pt x="3298" y="6109"/>
                    <a:pt x="3810" y="5931"/>
                    <a:pt x="4191" y="5633"/>
                  </a:cubicBezTo>
                  <a:cubicBezTo>
                    <a:pt x="4608" y="5300"/>
                    <a:pt x="4822" y="4824"/>
                    <a:pt x="4822" y="4240"/>
                  </a:cubicBezTo>
                  <a:cubicBezTo>
                    <a:pt x="4810" y="3681"/>
                    <a:pt x="4620" y="3145"/>
                    <a:pt x="4251" y="2728"/>
                  </a:cubicBezTo>
                  <a:cubicBezTo>
                    <a:pt x="4036" y="2478"/>
                    <a:pt x="4001" y="2157"/>
                    <a:pt x="4120" y="1871"/>
                  </a:cubicBezTo>
                  <a:cubicBezTo>
                    <a:pt x="4203" y="1657"/>
                    <a:pt x="4251" y="1430"/>
                    <a:pt x="4251" y="1192"/>
                  </a:cubicBezTo>
                  <a:cubicBezTo>
                    <a:pt x="4251" y="716"/>
                    <a:pt x="4060" y="323"/>
                    <a:pt x="3703" y="61"/>
                  </a:cubicBezTo>
                  <a:cubicBezTo>
                    <a:pt x="3679" y="37"/>
                    <a:pt x="3667" y="25"/>
                    <a:pt x="3655" y="25"/>
                  </a:cubicBezTo>
                  <a:cubicBezTo>
                    <a:pt x="3630" y="8"/>
                    <a:pt x="3600" y="1"/>
                    <a:pt x="3570" y="1"/>
                  </a:cubicBezTo>
                  <a:cubicBezTo>
                    <a:pt x="3516" y="1"/>
                    <a:pt x="3460" y="27"/>
                    <a:pt x="3429" y="73"/>
                  </a:cubicBezTo>
                  <a:cubicBezTo>
                    <a:pt x="3382" y="144"/>
                    <a:pt x="3405" y="252"/>
                    <a:pt x="3477" y="299"/>
                  </a:cubicBezTo>
                  <a:cubicBezTo>
                    <a:pt x="3489" y="311"/>
                    <a:pt x="3501" y="311"/>
                    <a:pt x="3524" y="323"/>
                  </a:cubicBezTo>
                  <a:cubicBezTo>
                    <a:pt x="3798" y="514"/>
                    <a:pt x="3941" y="811"/>
                    <a:pt x="3941" y="1192"/>
                  </a:cubicBezTo>
                  <a:cubicBezTo>
                    <a:pt x="3941" y="1383"/>
                    <a:pt x="3894" y="1573"/>
                    <a:pt x="3822" y="1752"/>
                  </a:cubicBezTo>
                  <a:cubicBezTo>
                    <a:pt x="3655" y="2157"/>
                    <a:pt x="3727" y="2597"/>
                    <a:pt x="4013" y="2930"/>
                  </a:cubicBezTo>
                  <a:cubicBezTo>
                    <a:pt x="4322" y="3288"/>
                    <a:pt x="4489" y="3764"/>
                    <a:pt x="4489" y="4240"/>
                  </a:cubicBezTo>
                  <a:cubicBezTo>
                    <a:pt x="4489" y="4728"/>
                    <a:pt x="4310" y="5121"/>
                    <a:pt x="3977" y="5407"/>
                  </a:cubicBezTo>
                  <a:cubicBezTo>
                    <a:pt x="3667" y="5657"/>
                    <a:pt x="3203" y="5824"/>
                    <a:pt x="2667" y="5836"/>
                  </a:cubicBezTo>
                  <a:lnTo>
                    <a:pt x="2167" y="5836"/>
                  </a:lnTo>
                  <a:cubicBezTo>
                    <a:pt x="1631" y="5800"/>
                    <a:pt x="1167" y="5657"/>
                    <a:pt x="857" y="5407"/>
                  </a:cubicBezTo>
                  <a:cubicBezTo>
                    <a:pt x="512" y="5121"/>
                    <a:pt x="345" y="4728"/>
                    <a:pt x="345" y="4240"/>
                  </a:cubicBezTo>
                  <a:cubicBezTo>
                    <a:pt x="345" y="3764"/>
                    <a:pt x="524" y="3300"/>
                    <a:pt x="822" y="2930"/>
                  </a:cubicBezTo>
                  <a:cubicBezTo>
                    <a:pt x="1107" y="2597"/>
                    <a:pt x="1179" y="2157"/>
                    <a:pt x="1012" y="1752"/>
                  </a:cubicBezTo>
                  <a:cubicBezTo>
                    <a:pt x="941" y="1573"/>
                    <a:pt x="905" y="1383"/>
                    <a:pt x="905" y="1192"/>
                  </a:cubicBezTo>
                  <a:cubicBezTo>
                    <a:pt x="905" y="811"/>
                    <a:pt x="1036" y="514"/>
                    <a:pt x="1310" y="323"/>
                  </a:cubicBezTo>
                  <a:cubicBezTo>
                    <a:pt x="1334" y="311"/>
                    <a:pt x="1346" y="311"/>
                    <a:pt x="1357" y="299"/>
                  </a:cubicBezTo>
                  <a:cubicBezTo>
                    <a:pt x="1429" y="252"/>
                    <a:pt x="1453" y="144"/>
                    <a:pt x="1405" y="73"/>
                  </a:cubicBezTo>
                  <a:cubicBezTo>
                    <a:pt x="1374" y="27"/>
                    <a:pt x="1319" y="1"/>
                    <a:pt x="12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5" name="Google Shape;12305;p62"/>
            <p:cNvSpPr/>
            <p:nvPr/>
          </p:nvSpPr>
          <p:spPr>
            <a:xfrm>
              <a:off x="8201828" y="1509008"/>
              <a:ext cx="73851" cy="181034"/>
            </a:xfrm>
            <a:custGeom>
              <a:avLst/>
              <a:gdLst/>
              <a:ahLst/>
              <a:cxnLst/>
              <a:rect l="l" t="t" r="r" b="b"/>
              <a:pathLst>
                <a:path w="2322" h="5692" extrusionOk="0">
                  <a:moveTo>
                    <a:pt x="1608" y="322"/>
                  </a:moveTo>
                  <a:lnTo>
                    <a:pt x="1500" y="1488"/>
                  </a:lnTo>
                  <a:lnTo>
                    <a:pt x="798" y="1488"/>
                  </a:lnTo>
                  <a:lnTo>
                    <a:pt x="691" y="322"/>
                  </a:lnTo>
                  <a:close/>
                  <a:moveTo>
                    <a:pt x="1286" y="1810"/>
                  </a:moveTo>
                  <a:lnTo>
                    <a:pt x="1429" y="5394"/>
                  </a:lnTo>
                  <a:lnTo>
                    <a:pt x="857" y="5394"/>
                  </a:lnTo>
                  <a:lnTo>
                    <a:pt x="988" y="1810"/>
                  </a:lnTo>
                  <a:close/>
                  <a:moveTo>
                    <a:pt x="679" y="0"/>
                  </a:moveTo>
                  <a:cubicBezTo>
                    <a:pt x="596" y="0"/>
                    <a:pt x="512" y="24"/>
                    <a:pt x="453" y="95"/>
                  </a:cubicBezTo>
                  <a:cubicBezTo>
                    <a:pt x="393" y="155"/>
                    <a:pt x="369" y="250"/>
                    <a:pt x="381" y="333"/>
                  </a:cubicBezTo>
                  <a:lnTo>
                    <a:pt x="381" y="369"/>
                  </a:lnTo>
                  <a:lnTo>
                    <a:pt x="155" y="369"/>
                  </a:lnTo>
                  <a:cubicBezTo>
                    <a:pt x="72" y="369"/>
                    <a:pt x="0" y="441"/>
                    <a:pt x="0" y="536"/>
                  </a:cubicBezTo>
                  <a:cubicBezTo>
                    <a:pt x="0" y="619"/>
                    <a:pt x="72" y="691"/>
                    <a:pt x="155" y="691"/>
                  </a:cubicBezTo>
                  <a:lnTo>
                    <a:pt x="393" y="691"/>
                  </a:lnTo>
                  <a:lnTo>
                    <a:pt x="441" y="1155"/>
                  </a:lnTo>
                  <a:lnTo>
                    <a:pt x="203" y="1155"/>
                  </a:lnTo>
                  <a:cubicBezTo>
                    <a:pt x="119" y="1155"/>
                    <a:pt x="36" y="1226"/>
                    <a:pt x="36" y="1322"/>
                  </a:cubicBezTo>
                  <a:cubicBezTo>
                    <a:pt x="36" y="1405"/>
                    <a:pt x="119" y="1488"/>
                    <a:pt x="203" y="1488"/>
                  </a:cubicBezTo>
                  <a:lnTo>
                    <a:pt x="465" y="1488"/>
                  </a:lnTo>
                  <a:lnTo>
                    <a:pt x="465" y="1524"/>
                  </a:lnTo>
                  <a:cubicBezTo>
                    <a:pt x="488" y="1643"/>
                    <a:pt x="560" y="1750"/>
                    <a:pt x="667" y="1786"/>
                  </a:cubicBezTo>
                  <a:lnTo>
                    <a:pt x="524" y="5441"/>
                  </a:lnTo>
                  <a:cubicBezTo>
                    <a:pt x="524" y="5513"/>
                    <a:pt x="560" y="5572"/>
                    <a:pt x="607" y="5620"/>
                  </a:cubicBezTo>
                  <a:cubicBezTo>
                    <a:pt x="643" y="5667"/>
                    <a:pt x="703" y="5691"/>
                    <a:pt x="786" y="5691"/>
                  </a:cubicBezTo>
                  <a:lnTo>
                    <a:pt x="1512" y="5691"/>
                  </a:lnTo>
                  <a:cubicBezTo>
                    <a:pt x="1584" y="5691"/>
                    <a:pt x="1643" y="5667"/>
                    <a:pt x="1691" y="5620"/>
                  </a:cubicBezTo>
                  <a:cubicBezTo>
                    <a:pt x="1739" y="5572"/>
                    <a:pt x="1762" y="5501"/>
                    <a:pt x="1762" y="5441"/>
                  </a:cubicBezTo>
                  <a:lnTo>
                    <a:pt x="1631" y="1786"/>
                  </a:lnTo>
                  <a:cubicBezTo>
                    <a:pt x="1739" y="1738"/>
                    <a:pt x="1810" y="1643"/>
                    <a:pt x="1822" y="1524"/>
                  </a:cubicBezTo>
                  <a:lnTo>
                    <a:pt x="1822" y="1488"/>
                  </a:lnTo>
                  <a:lnTo>
                    <a:pt x="2096" y="1488"/>
                  </a:lnTo>
                  <a:cubicBezTo>
                    <a:pt x="2179" y="1488"/>
                    <a:pt x="2251" y="1405"/>
                    <a:pt x="2251" y="1322"/>
                  </a:cubicBezTo>
                  <a:cubicBezTo>
                    <a:pt x="2251" y="1226"/>
                    <a:pt x="2203" y="1155"/>
                    <a:pt x="2108" y="1155"/>
                  </a:cubicBezTo>
                  <a:lnTo>
                    <a:pt x="1870" y="1155"/>
                  </a:lnTo>
                  <a:lnTo>
                    <a:pt x="1917" y="691"/>
                  </a:lnTo>
                  <a:lnTo>
                    <a:pt x="2155" y="691"/>
                  </a:lnTo>
                  <a:cubicBezTo>
                    <a:pt x="2239" y="691"/>
                    <a:pt x="2322" y="619"/>
                    <a:pt x="2322" y="536"/>
                  </a:cubicBezTo>
                  <a:cubicBezTo>
                    <a:pt x="2322" y="441"/>
                    <a:pt x="2239" y="369"/>
                    <a:pt x="2155" y="369"/>
                  </a:cubicBezTo>
                  <a:lnTo>
                    <a:pt x="1929" y="369"/>
                  </a:lnTo>
                  <a:lnTo>
                    <a:pt x="1929" y="333"/>
                  </a:lnTo>
                  <a:cubicBezTo>
                    <a:pt x="1941" y="250"/>
                    <a:pt x="1917" y="179"/>
                    <a:pt x="1858" y="95"/>
                  </a:cubicBezTo>
                  <a:cubicBezTo>
                    <a:pt x="1798" y="36"/>
                    <a:pt x="1727" y="0"/>
                    <a:pt x="1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06" name="Google Shape;12306;p62"/>
          <p:cNvGrpSpPr/>
          <p:nvPr/>
        </p:nvGrpSpPr>
        <p:grpSpPr>
          <a:xfrm>
            <a:off x="6746940" y="1508881"/>
            <a:ext cx="213221" cy="352304"/>
            <a:chOff x="6746940" y="1508881"/>
            <a:chExt cx="213221" cy="352304"/>
          </a:xfrm>
        </p:grpSpPr>
        <p:sp>
          <p:nvSpPr>
            <p:cNvPr id="12307" name="Google Shape;12307;p62"/>
            <p:cNvSpPr/>
            <p:nvPr/>
          </p:nvSpPr>
          <p:spPr>
            <a:xfrm>
              <a:off x="6805238" y="1661227"/>
              <a:ext cx="10655" cy="10241"/>
            </a:xfrm>
            <a:custGeom>
              <a:avLst/>
              <a:gdLst/>
              <a:ahLst/>
              <a:cxnLst/>
              <a:rect l="l" t="t" r="r" b="b"/>
              <a:pathLst>
                <a:path w="335" h="322" extrusionOk="0">
                  <a:moveTo>
                    <a:pt x="168" y="0"/>
                  </a:moveTo>
                  <a:cubicBezTo>
                    <a:pt x="72" y="0"/>
                    <a:pt x="1" y="72"/>
                    <a:pt x="1" y="167"/>
                  </a:cubicBezTo>
                  <a:cubicBezTo>
                    <a:pt x="1" y="250"/>
                    <a:pt x="72" y="322"/>
                    <a:pt x="168" y="322"/>
                  </a:cubicBezTo>
                  <a:cubicBezTo>
                    <a:pt x="251" y="322"/>
                    <a:pt x="334" y="250"/>
                    <a:pt x="334" y="167"/>
                  </a:cubicBez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8" name="Google Shape;12308;p62"/>
            <p:cNvSpPr/>
            <p:nvPr/>
          </p:nvSpPr>
          <p:spPr>
            <a:xfrm>
              <a:off x="6804125" y="1706294"/>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62"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9" name="Google Shape;12309;p62"/>
            <p:cNvSpPr/>
            <p:nvPr/>
          </p:nvSpPr>
          <p:spPr>
            <a:xfrm>
              <a:off x="6803362" y="1754002"/>
              <a:ext cx="10623" cy="10241"/>
            </a:xfrm>
            <a:custGeom>
              <a:avLst/>
              <a:gdLst/>
              <a:ahLst/>
              <a:cxnLst/>
              <a:rect l="l" t="t" r="r" b="b"/>
              <a:pathLst>
                <a:path w="334" h="322" extrusionOk="0">
                  <a:moveTo>
                    <a:pt x="167" y="0"/>
                  </a:moveTo>
                  <a:cubicBezTo>
                    <a:pt x="72" y="0"/>
                    <a:pt x="0" y="72"/>
                    <a:pt x="0" y="167"/>
                  </a:cubicBezTo>
                  <a:cubicBezTo>
                    <a:pt x="0" y="250"/>
                    <a:pt x="72" y="322"/>
                    <a:pt x="167" y="322"/>
                  </a:cubicBezTo>
                  <a:cubicBezTo>
                    <a:pt x="250" y="322"/>
                    <a:pt x="334" y="250"/>
                    <a:pt x="334" y="167"/>
                  </a:cubicBezTo>
                  <a:cubicBezTo>
                    <a:pt x="334"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0" name="Google Shape;12310;p62"/>
            <p:cNvSpPr/>
            <p:nvPr/>
          </p:nvSpPr>
          <p:spPr>
            <a:xfrm>
              <a:off x="6746940" y="1508881"/>
              <a:ext cx="213221" cy="352304"/>
            </a:xfrm>
            <a:custGeom>
              <a:avLst/>
              <a:gdLst/>
              <a:ahLst/>
              <a:cxnLst/>
              <a:rect l="l" t="t" r="r" b="b"/>
              <a:pathLst>
                <a:path w="6704" h="11077" extrusionOk="0">
                  <a:moveTo>
                    <a:pt x="4072" y="3897"/>
                  </a:moveTo>
                  <a:lnTo>
                    <a:pt x="4822" y="4886"/>
                  </a:lnTo>
                  <a:lnTo>
                    <a:pt x="5453" y="5683"/>
                  </a:lnTo>
                  <a:cubicBezTo>
                    <a:pt x="4703" y="6302"/>
                    <a:pt x="4263" y="7243"/>
                    <a:pt x="4263" y="8231"/>
                  </a:cubicBezTo>
                  <a:lnTo>
                    <a:pt x="4263" y="8612"/>
                  </a:lnTo>
                  <a:lnTo>
                    <a:pt x="3298" y="8612"/>
                  </a:lnTo>
                  <a:lnTo>
                    <a:pt x="3298" y="6029"/>
                  </a:lnTo>
                  <a:cubicBezTo>
                    <a:pt x="3298" y="5493"/>
                    <a:pt x="3441" y="4969"/>
                    <a:pt x="3715" y="4505"/>
                  </a:cubicBezTo>
                  <a:lnTo>
                    <a:pt x="4072" y="3897"/>
                  </a:lnTo>
                  <a:close/>
                  <a:moveTo>
                    <a:pt x="4263" y="8934"/>
                  </a:moveTo>
                  <a:lnTo>
                    <a:pt x="4263" y="9374"/>
                  </a:lnTo>
                  <a:cubicBezTo>
                    <a:pt x="4263" y="10124"/>
                    <a:pt x="3656" y="10732"/>
                    <a:pt x="2906" y="10732"/>
                  </a:cubicBezTo>
                  <a:cubicBezTo>
                    <a:pt x="2536" y="10732"/>
                    <a:pt x="2191" y="10577"/>
                    <a:pt x="1941" y="10315"/>
                  </a:cubicBezTo>
                  <a:cubicBezTo>
                    <a:pt x="1691" y="10041"/>
                    <a:pt x="1548" y="9684"/>
                    <a:pt x="1572" y="9315"/>
                  </a:cubicBezTo>
                  <a:lnTo>
                    <a:pt x="1584" y="8934"/>
                  </a:lnTo>
                  <a:lnTo>
                    <a:pt x="2239" y="8934"/>
                  </a:lnTo>
                  <a:lnTo>
                    <a:pt x="2239" y="9005"/>
                  </a:lnTo>
                  <a:cubicBezTo>
                    <a:pt x="2239" y="9279"/>
                    <a:pt x="2477" y="9529"/>
                    <a:pt x="2763" y="9541"/>
                  </a:cubicBezTo>
                  <a:cubicBezTo>
                    <a:pt x="2894" y="9541"/>
                    <a:pt x="3025" y="9493"/>
                    <a:pt x="3132" y="9386"/>
                  </a:cubicBezTo>
                  <a:cubicBezTo>
                    <a:pt x="3239" y="9291"/>
                    <a:pt x="3298" y="9148"/>
                    <a:pt x="3298" y="9005"/>
                  </a:cubicBezTo>
                  <a:lnTo>
                    <a:pt x="3298" y="8934"/>
                  </a:lnTo>
                  <a:close/>
                  <a:moveTo>
                    <a:pt x="1602" y="0"/>
                  </a:moveTo>
                  <a:cubicBezTo>
                    <a:pt x="1462" y="0"/>
                    <a:pt x="1323" y="33"/>
                    <a:pt x="1191" y="99"/>
                  </a:cubicBezTo>
                  <a:lnTo>
                    <a:pt x="548" y="421"/>
                  </a:lnTo>
                  <a:lnTo>
                    <a:pt x="167" y="421"/>
                  </a:lnTo>
                  <a:cubicBezTo>
                    <a:pt x="84" y="421"/>
                    <a:pt x="0" y="492"/>
                    <a:pt x="0" y="576"/>
                  </a:cubicBezTo>
                  <a:cubicBezTo>
                    <a:pt x="0" y="671"/>
                    <a:pt x="84" y="742"/>
                    <a:pt x="167" y="742"/>
                  </a:cubicBezTo>
                  <a:lnTo>
                    <a:pt x="1048" y="742"/>
                  </a:lnTo>
                  <a:lnTo>
                    <a:pt x="1393" y="754"/>
                  </a:lnTo>
                  <a:cubicBezTo>
                    <a:pt x="1524" y="790"/>
                    <a:pt x="1632" y="909"/>
                    <a:pt x="1632" y="1052"/>
                  </a:cubicBezTo>
                  <a:lnTo>
                    <a:pt x="1596" y="1647"/>
                  </a:lnTo>
                  <a:cubicBezTo>
                    <a:pt x="1596" y="1742"/>
                    <a:pt x="1655" y="1814"/>
                    <a:pt x="1739" y="1814"/>
                  </a:cubicBezTo>
                  <a:cubicBezTo>
                    <a:pt x="1834" y="1814"/>
                    <a:pt x="1905" y="1754"/>
                    <a:pt x="1905" y="1671"/>
                  </a:cubicBezTo>
                  <a:lnTo>
                    <a:pt x="1941" y="1076"/>
                  </a:lnTo>
                  <a:cubicBezTo>
                    <a:pt x="1953" y="754"/>
                    <a:pt x="1727" y="492"/>
                    <a:pt x="1417" y="445"/>
                  </a:cubicBezTo>
                  <a:lnTo>
                    <a:pt x="1286" y="445"/>
                  </a:lnTo>
                  <a:lnTo>
                    <a:pt x="1358" y="421"/>
                  </a:lnTo>
                  <a:cubicBezTo>
                    <a:pt x="1448" y="376"/>
                    <a:pt x="1546" y="352"/>
                    <a:pt x="1643" y="352"/>
                  </a:cubicBezTo>
                  <a:cubicBezTo>
                    <a:pt x="1751" y="352"/>
                    <a:pt x="1859" y="382"/>
                    <a:pt x="1953" y="445"/>
                  </a:cubicBezTo>
                  <a:cubicBezTo>
                    <a:pt x="2132" y="552"/>
                    <a:pt x="2239" y="730"/>
                    <a:pt x="2251" y="933"/>
                  </a:cubicBezTo>
                  <a:lnTo>
                    <a:pt x="2251" y="968"/>
                  </a:lnTo>
                  <a:lnTo>
                    <a:pt x="2251" y="3219"/>
                  </a:lnTo>
                  <a:lnTo>
                    <a:pt x="2251" y="8648"/>
                  </a:lnTo>
                  <a:lnTo>
                    <a:pt x="1608" y="8648"/>
                  </a:lnTo>
                  <a:lnTo>
                    <a:pt x="1894" y="2445"/>
                  </a:lnTo>
                  <a:cubicBezTo>
                    <a:pt x="1894" y="2350"/>
                    <a:pt x="1834" y="2278"/>
                    <a:pt x="1751" y="2278"/>
                  </a:cubicBezTo>
                  <a:cubicBezTo>
                    <a:pt x="1655" y="2278"/>
                    <a:pt x="1584" y="2338"/>
                    <a:pt x="1584" y="2421"/>
                  </a:cubicBezTo>
                  <a:lnTo>
                    <a:pt x="1393" y="6648"/>
                  </a:lnTo>
                  <a:lnTo>
                    <a:pt x="1155" y="6648"/>
                  </a:lnTo>
                  <a:lnTo>
                    <a:pt x="1155" y="6469"/>
                  </a:lnTo>
                  <a:cubicBezTo>
                    <a:pt x="1155" y="6386"/>
                    <a:pt x="1072" y="6314"/>
                    <a:pt x="989" y="6314"/>
                  </a:cubicBezTo>
                  <a:cubicBezTo>
                    <a:pt x="893" y="6314"/>
                    <a:pt x="822" y="6386"/>
                    <a:pt x="822" y="6469"/>
                  </a:cubicBezTo>
                  <a:lnTo>
                    <a:pt x="822" y="7160"/>
                  </a:lnTo>
                  <a:cubicBezTo>
                    <a:pt x="822" y="7243"/>
                    <a:pt x="893" y="7326"/>
                    <a:pt x="989" y="7326"/>
                  </a:cubicBezTo>
                  <a:cubicBezTo>
                    <a:pt x="1072" y="7326"/>
                    <a:pt x="1155" y="7243"/>
                    <a:pt x="1155" y="7160"/>
                  </a:cubicBezTo>
                  <a:lnTo>
                    <a:pt x="1155" y="6981"/>
                  </a:lnTo>
                  <a:lnTo>
                    <a:pt x="1370" y="6981"/>
                  </a:lnTo>
                  <a:lnTo>
                    <a:pt x="1334" y="7946"/>
                  </a:lnTo>
                  <a:lnTo>
                    <a:pt x="1155" y="7946"/>
                  </a:lnTo>
                  <a:lnTo>
                    <a:pt x="1155" y="7743"/>
                  </a:lnTo>
                  <a:cubicBezTo>
                    <a:pt x="1155" y="7648"/>
                    <a:pt x="1072" y="7576"/>
                    <a:pt x="989" y="7576"/>
                  </a:cubicBezTo>
                  <a:cubicBezTo>
                    <a:pt x="893" y="7576"/>
                    <a:pt x="822" y="7648"/>
                    <a:pt x="822" y="7743"/>
                  </a:cubicBezTo>
                  <a:lnTo>
                    <a:pt x="822" y="8422"/>
                  </a:lnTo>
                  <a:cubicBezTo>
                    <a:pt x="822" y="8517"/>
                    <a:pt x="893" y="8588"/>
                    <a:pt x="989" y="8588"/>
                  </a:cubicBezTo>
                  <a:cubicBezTo>
                    <a:pt x="1072" y="8588"/>
                    <a:pt x="1155" y="8517"/>
                    <a:pt x="1155" y="8422"/>
                  </a:cubicBezTo>
                  <a:lnTo>
                    <a:pt x="1155" y="8243"/>
                  </a:lnTo>
                  <a:lnTo>
                    <a:pt x="1310" y="8243"/>
                  </a:lnTo>
                  <a:lnTo>
                    <a:pt x="1274" y="9315"/>
                  </a:lnTo>
                  <a:cubicBezTo>
                    <a:pt x="1251" y="9779"/>
                    <a:pt x="1417" y="10208"/>
                    <a:pt x="1727" y="10553"/>
                  </a:cubicBezTo>
                  <a:cubicBezTo>
                    <a:pt x="2048" y="10874"/>
                    <a:pt x="2477" y="11077"/>
                    <a:pt x="2941" y="11077"/>
                  </a:cubicBezTo>
                  <a:cubicBezTo>
                    <a:pt x="3858" y="11077"/>
                    <a:pt x="4608" y="10327"/>
                    <a:pt x="4608" y="9410"/>
                  </a:cubicBezTo>
                  <a:lnTo>
                    <a:pt x="4608" y="8243"/>
                  </a:lnTo>
                  <a:cubicBezTo>
                    <a:pt x="4608" y="7362"/>
                    <a:pt x="5001" y="6529"/>
                    <a:pt x="5680" y="5969"/>
                  </a:cubicBezTo>
                  <a:lnTo>
                    <a:pt x="5680" y="5981"/>
                  </a:lnTo>
                  <a:cubicBezTo>
                    <a:pt x="5763" y="6100"/>
                    <a:pt x="5894" y="6172"/>
                    <a:pt x="6049" y="6195"/>
                  </a:cubicBezTo>
                  <a:lnTo>
                    <a:pt x="6120" y="6195"/>
                  </a:lnTo>
                  <a:cubicBezTo>
                    <a:pt x="6239" y="6195"/>
                    <a:pt x="6358" y="6148"/>
                    <a:pt x="6466" y="6076"/>
                  </a:cubicBezTo>
                  <a:cubicBezTo>
                    <a:pt x="6668" y="5862"/>
                    <a:pt x="6704" y="5517"/>
                    <a:pt x="6525" y="5279"/>
                  </a:cubicBezTo>
                  <a:lnTo>
                    <a:pt x="6108" y="4743"/>
                  </a:lnTo>
                  <a:cubicBezTo>
                    <a:pt x="6075" y="4702"/>
                    <a:pt x="6029" y="4681"/>
                    <a:pt x="5983" y="4681"/>
                  </a:cubicBezTo>
                  <a:cubicBezTo>
                    <a:pt x="5948" y="4681"/>
                    <a:pt x="5913" y="4693"/>
                    <a:pt x="5882" y="4719"/>
                  </a:cubicBezTo>
                  <a:cubicBezTo>
                    <a:pt x="5811" y="4778"/>
                    <a:pt x="5799" y="4862"/>
                    <a:pt x="5858" y="4945"/>
                  </a:cubicBezTo>
                  <a:lnTo>
                    <a:pt x="6275" y="5481"/>
                  </a:lnTo>
                  <a:cubicBezTo>
                    <a:pt x="6346" y="5576"/>
                    <a:pt x="6335" y="5719"/>
                    <a:pt x="6227" y="5791"/>
                  </a:cubicBezTo>
                  <a:cubicBezTo>
                    <a:pt x="6186" y="5811"/>
                    <a:pt x="6136" y="5840"/>
                    <a:pt x="6085" y="5840"/>
                  </a:cubicBezTo>
                  <a:cubicBezTo>
                    <a:pt x="6077" y="5840"/>
                    <a:pt x="6069" y="5840"/>
                    <a:pt x="6061" y="5838"/>
                  </a:cubicBezTo>
                  <a:cubicBezTo>
                    <a:pt x="6001" y="5814"/>
                    <a:pt x="5942" y="5791"/>
                    <a:pt x="5918" y="5743"/>
                  </a:cubicBezTo>
                  <a:lnTo>
                    <a:pt x="4561" y="3969"/>
                  </a:lnTo>
                  <a:lnTo>
                    <a:pt x="4191" y="3493"/>
                  </a:lnTo>
                  <a:lnTo>
                    <a:pt x="4025" y="3290"/>
                  </a:lnTo>
                  <a:cubicBezTo>
                    <a:pt x="3953" y="3183"/>
                    <a:pt x="3965" y="3052"/>
                    <a:pt x="4072" y="2981"/>
                  </a:cubicBezTo>
                  <a:cubicBezTo>
                    <a:pt x="4102" y="2951"/>
                    <a:pt x="4147" y="2930"/>
                    <a:pt x="4196" y="2930"/>
                  </a:cubicBezTo>
                  <a:cubicBezTo>
                    <a:pt x="4206" y="2930"/>
                    <a:pt x="4217" y="2931"/>
                    <a:pt x="4227" y="2933"/>
                  </a:cubicBezTo>
                  <a:cubicBezTo>
                    <a:pt x="4287" y="2945"/>
                    <a:pt x="4346" y="2981"/>
                    <a:pt x="4382" y="3016"/>
                  </a:cubicBezTo>
                  <a:lnTo>
                    <a:pt x="5394" y="4350"/>
                  </a:lnTo>
                  <a:cubicBezTo>
                    <a:pt x="5428" y="4390"/>
                    <a:pt x="5469" y="4412"/>
                    <a:pt x="5514" y="4412"/>
                  </a:cubicBezTo>
                  <a:cubicBezTo>
                    <a:pt x="5548" y="4412"/>
                    <a:pt x="5584" y="4399"/>
                    <a:pt x="5620" y="4374"/>
                  </a:cubicBezTo>
                  <a:cubicBezTo>
                    <a:pt x="5692" y="4314"/>
                    <a:pt x="5704" y="4231"/>
                    <a:pt x="5644" y="4147"/>
                  </a:cubicBezTo>
                  <a:lnTo>
                    <a:pt x="4632" y="2826"/>
                  </a:lnTo>
                  <a:cubicBezTo>
                    <a:pt x="4549" y="2707"/>
                    <a:pt x="4406" y="2635"/>
                    <a:pt x="4263" y="2623"/>
                  </a:cubicBezTo>
                  <a:cubicBezTo>
                    <a:pt x="4231" y="2619"/>
                    <a:pt x="4201" y="2616"/>
                    <a:pt x="4171" y="2616"/>
                  </a:cubicBezTo>
                  <a:cubicBezTo>
                    <a:pt x="4055" y="2616"/>
                    <a:pt x="3953" y="2652"/>
                    <a:pt x="3858" y="2719"/>
                  </a:cubicBezTo>
                  <a:cubicBezTo>
                    <a:pt x="3620" y="2897"/>
                    <a:pt x="3572" y="3254"/>
                    <a:pt x="3751" y="3493"/>
                  </a:cubicBezTo>
                  <a:lnTo>
                    <a:pt x="3846" y="3612"/>
                  </a:lnTo>
                  <a:lnTo>
                    <a:pt x="3418" y="4326"/>
                  </a:lnTo>
                  <a:cubicBezTo>
                    <a:pt x="3120" y="4838"/>
                    <a:pt x="2953" y="5421"/>
                    <a:pt x="2953" y="6017"/>
                  </a:cubicBezTo>
                  <a:lnTo>
                    <a:pt x="2953" y="9005"/>
                  </a:lnTo>
                  <a:cubicBezTo>
                    <a:pt x="2953" y="9065"/>
                    <a:pt x="2917" y="9124"/>
                    <a:pt x="2894" y="9172"/>
                  </a:cubicBezTo>
                  <a:cubicBezTo>
                    <a:pt x="2846" y="9208"/>
                    <a:pt x="2798" y="9231"/>
                    <a:pt x="2739" y="9231"/>
                  </a:cubicBezTo>
                  <a:cubicBezTo>
                    <a:pt x="2620" y="9231"/>
                    <a:pt x="2536" y="9136"/>
                    <a:pt x="2536" y="9017"/>
                  </a:cubicBezTo>
                  <a:lnTo>
                    <a:pt x="2536" y="4493"/>
                  </a:lnTo>
                  <a:lnTo>
                    <a:pt x="2715" y="4493"/>
                  </a:lnTo>
                  <a:lnTo>
                    <a:pt x="2715" y="4671"/>
                  </a:lnTo>
                  <a:cubicBezTo>
                    <a:pt x="2715" y="4767"/>
                    <a:pt x="2786" y="4838"/>
                    <a:pt x="2870" y="4838"/>
                  </a:cubicBezTo>
                  <a:cubicBezTo>
                    <a:pt x="2965" y="4838"/>
                    <a:pt x="3037" y="4767"/>
                    <a:pt x="3037" y="4671"/>
                  </a:cubicBezTo>
                  <a:lnTo>
                    <a:pt x="3037" y="3993"/>
                  </a:lnTo>
                  <a:cubicBezTo>
                    <a:pt x="3037" y="3897"/>
                    <a:pt x="2965" y="3826"/>
                    <a:pt x="2870" y="3826"/>
                  </a:cubicBezTo>
                  <a:cubicBezTo>
                    <a:pt x="2786" y="3826"/>
                    <a:pt x="2715" y="3897"/>
                    <a:pt x="2715" y="3993"/>
                  </a:cubicBezTo>
                  <a:lnTo>
                    <a:pt x="2715" y="4171"/>
                  </a:lnTo>
                  <a:lnTo>
                    <a:pt x="2536" y="4171"/>
                  </a:lnTo>
                  <a:lnTo>
                    <a:pt x="2536" y="3350"/>
                  </a:lnTo>
                  <a:lnTo>
                    <a:pt x="2715" y="3350"/>
                  </a:lnTo>
                  <a:lnTo>
                    <a:pt x="2715" y="3528"/>
                  </a:lnTo>
                  <a:cubicBezTo>
                    <a:pt x="2715" y="3612"/>
                    <a:pt x="2786" y="3695"/>
                    <a:pt x="2870" y="3695"/>
                  </a:cubicBezTo>
                  <a:cubicBezTo>
                    <a:pt x="2965" y="3695"/>
                    <a:pt x="3037" y="3612"/>
                    <a:pt x="3037" y="3528"/>
                  </a:cubicBezTo>
                  <a:lnTo>
                    <a:pt x="3037" y="2838"/>
                  </a:lnTo>
                  <a:cubicBezTo>
                    <a:pt x="3037" y="2754"/>
                    <a:pt x="2965" y="2683"/>
                    <a:pt x="2870" y="2683"/>
                  </a:cubicBezTo>
                  <a:cubicBezTo>
                    <a:pt x="2786" y="2683"/>
                    <a:pt x="2715" y="2754"/>
                    <a:pt x="2715" y="2838"/>
                  </a:cubicBezTo>
                  <a:lnTo>
                    <a:pt x="2715" y="3016"/>
                  </a:lnTo>
                  <a:lnTo>
                    <a:pt x="2536" y="3016"/>
                  </a:lnTo>
                  <a:lnTo>
                    <a:pt x="2536" y="921"/>
                  </a:lnTo>
                  <a:lnTo>
                    <a:pt x="2536" y="873"/>
                  </a:lnTo>
                  <a:cubicBezTo>
                    <a:pt x="2525" y="564"/>
                    <a:pt x="2358" y="278"/>
                    <a:pt x="2084" y="135"/>
                  </a:cubicBezTo>
                  <a:cubicBezTo>
                    <a:pt x="1930" y="45"/>
                    <a:pt x="1766" y="0"/>
                    <a:pt x="16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1" name="Google Shape;12311;p62"/>
          <p:cNvGrpSpPr/>
          <p:nvPr/>
        </p:nvGrpSpPr>
        <p:grpSpPr>
          <a:xfrm>
            <a:off x="5770336" y="2007615"/>
            <a:ext cx="350682" cy="292097"/>
            <a:chOff x="5770336" y="2007615"/>
            <a:chExt cx="350682" cy="292097"/>
          </a:xfrm>
        </p:grpSpPr>
        <p:sp>
          <p:nvSpPr>
            <p:cNvPr id="12312" name="Google Shape;12312;p62"/>
            <p:cNvSpPr/>
            <p:nvPr/>
          </p:nvSpPr>
          <p:spPr>
            <a:xfrm>
              <a:off x="5780545" y="2007615"/>
              <a:ext cx="329500" cy="75855"/>
            </a:xfrm>
            <a:custGeom>
              <a:avLst/>
              <a:gdLst/>
              <a:ahLst/>
              <a:cxnLst/>
              <a:rect l="l" t="t" r="r" b="b"/>
              <a:pathLst>
                <a:path w="10360" h="2385" extrusionOk="0">
                  <a:moveTo>
                    <a:pt x="245" y="1"/>
                  </a:moveTo>
                  <a:cubicBezTo>
                    <a:pt x="179" y="1"/>
                    <a:pt x="123" y="24"/>
                    <a:pt x="84" y="63"/>
                  </a:cubicBezTo>
                  <a:cubicBezTo>
                    <a:pt x="24" y="111"/>
                    <a:pt x="1" y="182"/>
                    <a:pt x="1" y="254"/>
                  </a:cubicBezTo>
                  <a:lnTo>
                    <a:pt x="1" y="2218"/>
                  </a:lnTo>
                  <a:cubicBezTo>
                    <a:pt x="1" y="2313"/>
                    <a:pt x="72" y="2385"/>
                    <a:pt x="167" y="2385"/>
                  </a:cubicBezTo>
                  <a:cubicBezTo>
                    <a:pt x="251" y="2385"/>
                    <a:pt x="322" y="2313"/>
                    <a:pt x="322" y="2218"/>
                  </a:cubicBezTo>
                  <a:lnTo>
                    <a:pt x="322" y="349"/>
                  </a:lnTo>
                  <a:cubicBezTo>
                    <a:pt x="977" y="456"/>
                    <a:pt x="2882" y="718"/>
                    <a:pt x="5180" y="718"/>
                  </a:cubicBezTo>
                  <a:cubicBezTo>
                    <a:pt x="7466" y="718"/>
                    <a:pt x="9371" y="456"/>
                    <a:pt x="10026" y="349"/>
                  </a:cubicBezTo>
                  <a:lnTo>
                    <a:pt x="10026" y="2218"/>
                  </a:lnTo>
                  <a:cubicBezTo>
                    <a:pt x="10026" y="2313"/>
                    <a:pt x="10097" y="2385"/>
                    <a:pt x="10192" y="2385"/>
                  </a:cubicBezTo>
                  <a:cubicBezTo>
                    <a:pt x="10276" y="2385"/>
                    <a:pt x="10359" y="2313"/>
                    <a:pt x="10359" y="2218"/>
                  </a:cubicBezTo>
                  <a:lnTo>
                    <a:pt x="10359" y="254"/>
                  </a:lnTo>
                  <a:cubicBezTo>
                    <a:pt x="10323" y="182"/>
                    <a:pt x="10300" y="111"/>
                    <a:pt x="10240" y="63"/>
                  </a:cubicBezTo>
                  <a:cubicBezTo>
                    <a:pt x="10191" y="24"/>
                    <a:pt x="10125" y="1"/>
                    <a:pt x="10077" y="1"/>
                  </a:cubicBezTo>
                  <a:cubicBezTo>
                    <a:pt x="10067" y="1"/>
                    <a:pt x="10058" y="2"/>
                    <a:pt x="10050" y="4"/>
                  </a:cubicBezTo>
                  <a:cubicBezTo>
                    <a:pt x="9657" y="63"/>
                    <a:pt x="7597" y="396"/>
                    <a:pt x="5168" y="396"/>
                  </a:cubicBezTo>
                  <a:cubicBezTo>
                    <a:pt x="2727" y="396"/>
                    <a:pt x="667" y="75"/>
                    <a:pt x="286" y="4"/>
                  </a:cubicBezTo>
                  <a:cubicBezTo>
                    <a:pt x="272" y="2"/>
                    <a:pt x="258" y="1"/>
                    <a:pt x="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3" name="Google Shape;12313;p62"/>
            <p:cNvSpPr/>
            <p:nvPr/>
          </p:nvSpPr>
          <p:spPr>
            <a:xfrm>
              <a:off x="5779400" y="2097082"/>
              <a:ext cx="329500" cy="76014"/>
            </a:xfrm>
            <a:custGeom>
              <a:avLst/>
              <a:gdLst/>
              <a:ahLst/>
              <a:cxnLst/>
              <a:rect l="l" t="t" r="r" b="b"/>
              <a:pathLst>
                <a:path w="10360" h="2390" extrusionOk="0">
                  <a:moveTo>
                    <a:pt x="168" y="0"/>
                  </a:moveTo>
                  <a:cubicBezTo>
                    <a:pt x="84" y="0"/>
                    <a:pt x="1" y="72"/>
                    <a:pt x="1" y="167"/>
                  </a:cubicBezTo>
                  <a:lnTo>
                    <a:pt x="1" y="2132"/>
                  </a:lnTo>
                  <a:cubicBezTo>
                    <a:pt x="1" y="2203"/>
                    <a:pt x="37" y="2286"/>
                    <a:pt x="96" y="2322"/>
                  </a:cubicBezTo>
                  <a:cubicBezTo>
                    <a:pt x="144" y="2370"/>
                    <a:pt x="203" y="2382"/>
                    <a:pt x="263" y="2382"/>
                  </a:cubicBezTo>
                  <a:lnTo>
                    <a:pt x="299" y="2382"/>
                  </a:lnTo>
                  <a:cubicBezTo>
                    <a:pt x="692" y="2322"/>
                    <a:pt x="2739" y="2001"/>
                    <a:pt x="5180" y="2001"/>
                  </a:cubicBezTo>
                  <a:cubicBezTo>
                    <a:pt x="7621" y="2001"/>
                    <a:pt x="9681" y="2310"/>
                    <a:pt x="10062" y="2382"/>
                  </a:cubicBezTo>
                  <a:cubicBezTo>
                    <a:pt x="10080" y="2387"/>
                    <a:pt x="10098" y="2389"/>
                    <a:pt x="10115" y="2389"/>
                  </a:cubicBezTo>
                  <a:cubicBezTo>
                    <a:pt x="10175" y="2389"/>
                    <a:pt x="10227" y="2359"/>
                    <a:pt x="10264" y="2322"/>
                  </a:cubicBezTo>
                  <a:cubicBezTo>
                    <a:pt x="10324" y="2286"/>
                    <a:pt x="10347" y="2203"/>
                    <a:pt x="10347" y="2132"/>
                  </a:cubicBezTo>
                  <a:lnTo>
                    <a:pt x="10347" y="167"/>
                  </a:lnTo>
                  <a:cubicBezTo>
                    <a:pt x="10359" y="84"/>
                    <a:pt x="10288" y="0"/>
                    <a:pt x="10193" y="0"/>
                  </a:cubicBezTo>
                  <a:cubicBezTo>
                    <a:pt x="10109" y="0"/>
                    <a:pt x="10038" y="84"/>
                    <a:pt x="10038" y="167"/>
                  </a:cubicBezTo>
                  <a:lnTo>
                    <a:pt x="10038" y="2048"/>
                  </a:lnTo>
                  <a:cubicBezTo>
                    <a:pt x="9383" y="1941"/>
                    <a:pt x="7478" y="1667"/>
                    <a:pt x="5180" y="1667"/>
                  </a:cubicBezTo>
                  <a:cubicBezTo>
                    <a:pt x="2894" y="1667"/>
                    <a:pt x="989" y="1941"/>
                    <a:pt x="334" y="2048"/>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4" name="Google Shape;12314;p62"/>
            <p:cNvSpPr/>
            <p:nvPr/>
          </p:nvSpPr>
          <p:spPr>
            <a:xfrm>
              <a:off x="5800996" y="2031850"/>
              <a:ext cx="288217" cy="117201"/>
            </a:xfrm>
            <a:custGeom>
              <a:avLst/>
              <a:gdLst/>
              <a:ahLst/>
              <a:cxnLst/>
              <a:rect l="l" t="t" r="r" b="b"/>
              <a:pathLst>
                <a:path w="9062" h="3685" extrusionOk="0">
                  <a:moveTo>
                    <a:pt x="8728" y="325"/>
                  </a:moveTo>
                  <a:lnTo>
                    <a:pt x="8728" y="3349"/>
                  </a:lnTo>
                  <a:cubicBezTo>
                    <a:pt x="7752" y="3218"/>
                    <a:pt x="6228" y="3087"/>
                    <a:pt x="4525" y="3087"/>
                  </a:cubicBezTo>
                  <a:cubicBezTo>
                    <a:pt x="2799" y="3087"/>
                    <a:pt x="1286" y="3230"/>
                    <a:pt x="310" y="3349"/>
                  </a:cubicBezTo>
                  <a:lnTo>
                    <a:pt x="310" y="325"/>
                  </a:lnTo>
                  <a:cubicBezTo>
                    <a:pt x="1275" y="444"/>
                    <a:pt x="2799" y="599"/>
                    <a:pt x="4525" y="599"/>
                  </a:cubicBezTo>
                  <a:cubicBezTo>
                    <a:pt x="6239" y="599"/>
                    <a:pt x="7752" y="444"/>
                    <a:pt x="8728" y="325"/>
                  </a:cubicBezTo>
                  <a:close/>
                  <a:moveTo>
                    <a:pt x="292" y="1"/>
                  </a:moveTo>
                  <a:cubicBezTo>
                    <a:pt x="220" y="1"/>
                    <a:pt x="145" y="25"/>
                    <a:pt x="96" y="75"/>
                  </a:cubicBezTo>
                  <a:cubicBezTo>
                    <a:pt x="36" y="135"/>
                    <a:pt x="1" y="230"/>
                    <a:pt x="1" y="313"/>
                  </a:cubicBezTo>
                  <a:lnTo>
                    <a:pt x="1" y="3361"/>
                  </a:lnTo>
                  <a:cubicBezTo>
                    <a:pt x="1" y="3456"/>
                    <a:pt x="36" y="3540"/>
                    <a:pt x="96" y="3599"/>
                  </a:cubicBezTo>
                  <a:cubicBezTo>
                    <a:pt x="155" y="3647"/>
                    <a:pt x="239" y="3683"/>
                    <a:pt x="310" y="3683"/>
                  </a:cubicBezTo>
                  <a:lnTo>
                    <a:pt x="358" y="3683"/>
                  </a:lnTo>
                  <a:cubicBezTo>
                    <a:pt x="1322" y="3564"/>
                    <a:pt x="2822" y="3409"/>
                    <a:pt x="4537" y="3409"/>
                  </a:cubicBezTo>
                  <a:cubicBezTo>
                    <a:pt x="6251" y="3409"/>
                    <a:pt x="7752" y="3564"/>
                    <a:pt x="8716" y="3683"/>
                  </a:cubicBezTo>
                  <a:cubicBezTo>
                    <a:pt x="8728" y="3684"/>
                    <a:pt x="8740" y="3685"/>
                    <a:pt x="8752" y="3685"/>
                  </a:cubicBezTo>
                  <a:cubicBezTo>
                    <a:pt x="8832" y="3685"/>
                    <a:pt x="8902" y="3651"/>
                    <a:pt x="8954" y="3599"/>
                  </a:cubicBezTo>
                  <a:cubicBezTo>
                    <a:pt x="9026" y="3540"/>
                    <a:pt x="9061" y="3456"/>
                    <a:pt x="9061" y="3361"/>
                  </a:cubicBezTo>
                  <a:lnTo>
                    <a:pt x="9061" y="313"/>
                  </a:lnTo>
                  <a:cubicBezTo>
                    <a:pt x="9049" y="230"/>
                    <a:pt x="9002" y="135"/>
                    <a:pt x="8942" y="75"/>
                  </a:cubicBezTo>
                  <a:cubicBezTo>
                    <a:pt x="8893" y="25"/>
                    <a:pt x="8818" y="1"/>
                    <a:pt x="8747" y="1"/>
                  </a:cubicBezTo>
                  <a:cubicBezTo>
                    <a:pt x="8732" y="1"/>
                    <a:pt x="8718" y="2"/>
                    <a:pt x="8704" y="4"/>
                  </a:cubicBezTo>
                  <a:cubicBezTo>
                    <a:pt x="7740" y="123"/>
                    <a:pt x="6228" y="266"/>
                    <a:pt x="4525" y="266"/>
                  </a:cubicBezTo>
                  <a:cubicBezTo>
                    <a:pt x="2810" y="266"/>
                    <a:pt x="1310" y="123"/>
                    <a:pt x="334" y="4"/>
                  </a:cubicBezTo>
                  <a:cubicBezTo>
                    <a:pt x="320" y="2"/>
                    <a:pt x="306" y="1"/>
                    <a:pt x="2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5" name="Google Shape;12315;p62"/>
            <p:cNvSpPr/>
            <p:nvPr/>
          </p:nvSpPr>
          <p:spPr>
            <a:xfrm>
              <a:off x="5770336" y="2186073"/>
              <a:ext cx="350682" cy="113639"/>
            </a:xfrm>
            <a:custGeom>
              <a:avLst/>
              <a:gdLst/>
              <a:ahLst/>
              <a:cxnLst/>
              <a:rect l="l" t="t" r="r" b="b"/>
              <a:pathLst>
                <a:path w="11026" h="3573" extrusionOk="0">
                  <a:moveTo>
                    <a:pt x="2965" y="334"/>
                  </a:moveTo>
                  <a:cubicBezTo>
                    <a:pt x="3179" y="334"/>
                    <a:pt x="3346" y="500"/>
                    <a:pt x="3346" y="703"/>
                  </a:cubicBezTo>
                  <a:lnTo>
                    <a:pt x="3346" y="1155"/>
                  </a:lnTo>
                  <a:lnTo>
                    <a:pt x="2953" y="1155"/>
                  </a:lnTo>
                  <a:cubicBezTo>
                    <a:pt x="2786" y="1179"/>
                    <a:pt x="2631" y="1274"/>
                    <a:pt x="2524" y="1393"/>
                  </a:cubicBezTo>
                  <a:cubicBezTo>
                    <a:pt x="2393" y="1239"/>
                    <a:pt x="2191" y="1132"/>
                    <a:pt x="1989" y="1132"/>
                  </a:cubicBezTo>
                  <a:lnTo>
                    <a:pt x="1703" y="1132"/>
                  </a:lnTo>
                  <a:lnTo>
                    <a:pt x="1703" y="703"/>
                  </a:lnTo>
                  <a:lnTo>
                    <a:pt x="1715" y="703"/>
                  </a:lnTo>
                  <a:cubicBezTo>
                    <a:pt x="1715" y="500"/>
                    <a:pt x="1881" y="334"/>
                    <a:pt x="2096" y="334"/>
                  </a:cubicBezTo>
                  <a:close/>
                  <a:moveTo>
                    <a:pt x="4929" y="334"/>
                  </a:moveTo>
                  <a:cubicBezTo>
                    <a:pt x="5144" y="334"/>
                    <a:pt x="5310" y="500"/>
                    <a:pt x="5310" y="703"/>
                  </a:cubicBezTo>
                  <a:lnTo>
                    <a:pt x="5310" y="1155"/>
                  </a:lnTo>
                  <a:lnTo>
                    <a:pt x="4917" y="1155"/>
                  </a:lnTo>
                  <a:cubicBezTo>
                    <a:pt x="4751" y="1179"/>
                    <a:pt x="4596" y="1274"/>
                    <a:pt x="4489" y="1393"/>
                  </a:cubicBezTo>
                  <a:cubicBezTo>
                    <a:pt x="4358" y="1239"/>
                    <a:pt x="4155" y="1132"/>
                    <a:pt x="3953" y="1132"/>
                  </a:cubicBezTo>
                  <a:lnTo>
                    <a:pt x="3667" y="1132"/>
                  </a:lnTo>
                  <a:lnTo>
                    <a:pt x="3667" y="703"/>
                  </a:lnTo>
                  <a:lnTo>
                    <a:pt x="3679" y="703"/>
                  </a:lnTo>
                  <a:cubicBezTo>
                    <a:pt x="3679" y="500"/>
                    <a:pt x="3846" y="334"/>
                    <a:pt x="4060" y="334"/>
                  </a:cubicBezTo>
                  <a:close/>
                  <a:moveTo>
                    <a:pt x="6894" y="334"/>
                  </a:moveTo>
                  <a:cubicBezTo>
                    <a:pt x="7108" y="334"/>
                    <a:pt x="7275" y="500"/>
                    <a:pt x="7275" y="703"/>
                  </a:cubicBezTo>
                  <a:lnTo>
                    <a:pt x="7275" y="1155"/>
                  </a:lnTo>
                  <a:lnTo>
                    <a:pt x="6811" y="1155"/>
                  </a:lnTo>
                  <a:cubicBezTo>
                    <a:pt x="6799" y="1155"/>
                    <a:pt x="6775" y="1155"/>
                    <a:pt x="6775" y="1167"/>
                  </a:cubicBezTo>
                  <a:cubicBezTo>
                    <a:pt x="6644" y="1215"/>
                    <a:pt x="6525" y="1286"/>
                    <a:pt x="6441" y="1393"/>
                  </a:cubicBezTo>
                  <a:cubicBezTo>
                    <a:pt x="6346" y="1286"/>
                    <a:pt x="6227" y="1215"/>
                    <a:pt x="6096" y="1167"/>
                  </a:cubicBezTo>
                  <a:cubicBezTo>
                    <a:pt x="6084" y="1167"/>
                    <a:pt x="6084" y="1167"/>
                    <a:pt x="6060" y="1155"/>
                  </a:cubicBezTo>
                  <a:lnTo>
                    <a:pt x="5608" y="1155"/>
                  </a:lnTo>
                  <a:lnTo>
                    <a:pt x="5608" y="703"/>
                  </a:lnTo>
                  <a:cubicBezTo>
                    <a:pt x="5644" y="500"/>
                    <a:pt x="5810" y="334"/>
                    <a:pt x="6013" y="334"/>
                  </a:cubicBezTo>
                  <a:close/>
                  <a:moveTo>
                    <a:pt x="8847" y="334"/>
                  </a:moveTo>
                  <a:cubicBezTo>
                    <a:pt x="9061" y="334"/>
                    <a:pt x="9216" y="500"/>
                    <a:pt x="9216" y="703"/>
                  </a:cubicBezTo>
                  <a:lnTo>
                    <a:pt x="9216" y="1155"/>
                  </a:lnTo>
                  <a:lnTo>
                    <a:pt x="8763" y="1155"/>
                  </a:lnTo>
                  <a:cubicBezTo>
                    <a:pt x="8739" y="1155"/>
                    <a:pt x="8739" y="1155"/>
                    <a:pt x="8727" y="1167"/>
                  </a:cubicBezTo>
                  <a:cubicBezTo>
                    <a:pt x="8597" y="1215"/>
                    <a:pt x="8477" y="1286"/>
                    <a:pt x="8382" y="1393"/>
                  </a:cubicBezTo>
                  <a:cubicBezTo>
                    <a:pt x="8299" y="1286"/>
                    <a:pt x="8180" y="1215"/>
                    <a:pt x="8049" y="1167"/>
                  </a:cubicBezTo>
                  <a:cubicBezTo>
                    <a:pt x="8025" y="1167"/>
                    <a:pt x="8025" y="1167"/>
                    <a:pt x="8013" y="1155"/>
                  </a:cubicBezTo>
                  <a:lnTo>
                    <a:pt x="7549" y="1155"/>
                  </a:lnTo>
                  <a:lnTo>
                    <a:pt x="7549" y="703"/>
                  </a:lnTo>
                  <a:lnTo>
                    <a:pt x="7596" y="703"/>
                  </a:lnTo>
                  <a:cubicBezTo>
                    <a:pt x="7596" y="500"/>
                    <a:pt x="7763" y="334"/>
                    <a:pt x="7965" y="334"/>
                  </a:cubicBezTo>
                  <a:close/>
                  <a:moveTo>
                    <a:pt x="5489" y="1453"/>
                  </a:moveTo>
                  <a:lnTo>
                    <a:pt x="5489" y="1477"/>
                  </a:lnTo>
                  <a:lnTo>
                    <a:pt x="6013" y="1477"/>
                  </a:lnTo>
                  <a:cubicBezTo>
                    <a:pt x="6037" y="1477"/>
                    <a:pt x="6037" y="1477"/>
                    <a:pt x="6049" y="1489"/>
                  </a:cubicBezTo>
                  <a:lnTo>
                    <a:pt x="6060" y="1489"/>
                  </a:lnTo>
                  <a:cubicBezTo>
                    <a:pt x="6072" y="1489"/>
                    <a:pt x="6072" y="1489"/>
                    <a:pt x="6096" y="1513"/>
                  </a:cubicBezTo>
                  <a:lnTo>
                    <a:pt x="6108" y="1513"/>
                  </a:lnTo>
                  <a:cubicBezTo>
                    <a:pt x="6120" y="1513"/>
                    <a:pt x="6120" y="1524"/>
                    <a:pt x="6132" y="1524"/>
                  </a:cubicBezTo>
                  <a:cubicBezTo>
                    <a:pt x="6156" y="1524"/>
                    <a:pt x="6156" y="1536"/>
                    <a:pt x="6156" y="1536"/>
                  </a:cubicBezTo>
                  <a:lnTo>
                    <a:pt x="6168" y="1548"/>
                  </a:lnTo>
                  <a:lnTo>
                    <a:pt x="6180" y="1572"/>
                  </a:lnTo>
                  <a:lnTo>
                    <a:pt x="6180" y="1584"/>
                  </a:lnTo>
                  <a:lnTo>
                    <a:pt x="6191" y="1596"/>
                  </a:lnTo>
                  <a:lnTo>
                    <a:pt x="6191" y="1608"/>
                  </a:lnTo>
                  <a:lnTo>
                    <a:pt x="6215" y="1632"/>
                  </a:lnTo>
                  <a:lnTo>
                    <a:pt x="6215" y="1643"/>
                  </a:lnTo>
                  <a:cubicBezTo>
                    <a:pt x="6215" y="1643"/>
                    <a:pt x="6215" y="1655"/>
                    <a:pt x="6227" y="1655"/>
                  </a:cubicBezTo>
                  <a:lnTo>
                    <a:pt x="6227" y="1667"/>
                  </a:lnTo>
                  <a:cubicBezTo>
                    <a:pt x="6227" y="1667"/>
                    <a:pt x="6227" y="1691"/>
                    <a:pt x="6239" y="1691"/>
                  </a:cubicBezTo>
                  <a:lnTo>
                    <a:pt x="6239" y="1703"/>
                  </a:lnTo>
                  <a:lnTo>
                    <a:pt x="6239" y="1715"/>
                  </a:lnTo>
                  <a:lnTo>
                    <a:pt x="6239" y="1727"/>
                  </a:lnTo>
                  <a:lnTo>
                    <a:pt x="6239" y="1751"/>
                  </a:lnTo>
                  <a:lnTo>
                    <a:pt x="6239" y="1763"/>
                  </a:lnTo>
                  <a:lnTo>
                    <a:pt x="6239" y="1786"/>
                  </a:lnTo>
                  <a:lnTo>
                    <a:pt x="6239" y="1822"/>
                  </a:lnTo>
                  <a:lnTo>
                    <a:pt x="6239" y="2655"/>
                  </a:lnTo>
                  <a:lnTo>
                    <a:pt x="4608" y="2655"/>
                  </a:lnTo>
                  <a:lnTo>
                    <a:pt x="4608" y="1822"/>
                  </a:lnTo>
                  <a:lnTo>
                    <a:pt x="4608" y="1786"/>
                  </a:lnTo>
                  <a:cubicBezTo>
                    <a:pt x="4620" y="1632"/>
                    <a:pt x="4751" y="1489"/>
                    <a:pt x="4906" y="1453"/>
                  </a:cubicBezTo>
                  <a:close/>
                  <a:moveTo>
                    <a:pt x="7977" y="1477"/>
                  </a:moveTo>
                  <a:cubicBezTo>
                    <a:pt x="8001" y="1477"/>
                    <a:pt x="8001" y="1477"/>
                    <a:pt x="8013" y="1489"/>
                  </a:cubicBezTo>
                  <a:lnTo>
                    <a:pt x="8025" y="1489"/>
                  </a:lnTo>
                  <a:cubicBezTo>
                    <a:pt x="8037" y="1489"/>
                    <a:pt x="8037" y="1489"/>
                    <a:pt x="8061" y="1513"/>
                  </a:cubicBezTo>
                  <a:lnTo>
                    <a:pt x="8073" y="1513"/>
                  </a:lnTo>
                  <a:cubicBezTo>
                    <a:pt x="8085" y="1513"/>
                    <a:pt x="8085" y="1524"/>
                    <a:pt x="8096" y="1524"/>
                  </a:cubicBezTo>
                  <a:lnTo>
                    <a:pt x="8120" y="1536"/>
                  </a:lnTo>
                  <a:lnTo>
                    <a:pt x="8132" y="1548"/>
                  </a:lnTo>
                  <a:lnTo>
                    <a:pt x="8144" y="1572"/>
                  </a:lnTo>
                  <a:lnTo>
                    <a:pt x="8144" y="1584"/>
                  </a:lnTo>
                  <a:lnTo>
                    <a:pt x="8156" y="1596"/>
                  </a:lnTo>
                  <a:lnTo>
                    <a:pt x="8156" y="1608"/>
                  </a:lnTo>
                  <a:lnTo>
                    <a:pt x="8180" y="1632"/>
                  </a:lnTo>
                  <a:lnTo>
                    <a:pt x="8180" y="1643"/>
                  </a:lnTo>
                  <a:cubicBezTo>
                    <a:pt x="8180" y="1643"/>
                    <a:pt x="8180" y="1655"/>
                    <a:pt x="8192" y="1655"/>
                  </a:cubicBezTo>
                  <a:lnTo>
                    <a:pt x="8192" y="1667"/>
                  </a:lnTo>
                  <a:cubicBezTo>
                    <a:pt x="8192" y="1667"/>
                    <a:pt x="8192" y="1691"/>
                    <a:pt x="8204" y="1691"/>
                  </a:cubicBezTo>
                  <a:lnTo>
                    <a:pt x="8204" y="1703"/>
                  </a:lnTo>
                  <a:lnTo>
                    <a:pt x="8204" y="1715"/>
                  </a:lnTo>
                  <a:lnTo>
                    <a:pt x="8204" y="1727"/>
                  </a:lnTo>
                  <a:lnTo>
                    <a:pt x="8204" y="1751"/>
                  </a:lnTo>
                  <a:lnTo>
                    <a:pt x="8204" y="1763"/>
                  </a:lnTo>
                  <a:lnTo>
                    <a:pt x="8204" y="1786"/>
                  </a:lnTo>
                  <a:lnTo>
                    <a:pt x="8204" y="1822"/>
                  </a:lnTo>
                  <a:lnTo>
                    <a:pt x="8204" y="2655"/>
                  </a:lnTo>
                  <a:lnTo>
                    <a:pt x="6572" y="2655"/>
                  </a:lnTo>
                  <a:lnTo>
                    <a:pt x="6572" y="1822"/>
                  </a:lnTo>
                  <a:lnTo>
                    <a:pt x="6572" y="1786"/>
                  </a:lnTo>
                  <a:lnTo>
                    <a:pt x="6572" y="1763"/>
                  </a:lnTo>
                  <a:lnTo>
                    <a:pt x="6572" y="1751"/>
                  </a:lnTo>
                  <a:lnTo>
                    <a:pt x="6572" y="1727"/>
                  </a:lnTo>
                  <a:lnTo>
                    <a:pt x="6572" y="1715"/>
                  </a:lnTo>
                  <a:lnTo>
                    <a:pt x="6572" y="1703"/>
                  </a:lnTo>
                  <a:lnTo>
                    <a:pt x="6572" y="1691"/>
                  </a:lnTo>
                  <a:cubicBezTo>
                    <a:pt x="6572" y="1691"/>
                    <a:pt x="6572" y="1667"/>
                    <a:pt x="6584" y="1667"/>
                  </a:cubicBezTo>
                  <a:lnTo>
                    <a:pt x="6584" y="1655"/>
                  </a:lnTo>
                  <a:cubicBezTo>
                    <a:pt x="6584" y="1655"/>
                    <a:pt x="6584" y="1643"/>
                    <a:pt x="6596" y="1643"/>
                  </a:cubicBezTo>
                  <a:lnTo>
                    <a:pt x="6596" y="1632"/>
                  </a:lnTo>
                  <a:lnTo>
                    <a:pt x="6608" y="1608"/>
                  </a:lnTo>
                  <a:lnTo>
                    <a:pt x="6608" y="1596"/>
                  </a:lnTo>
                  <a:lnTo>
                    <a:pt x="6632" y="1584"/>
                  </a:lnTo>
                  <a:lnTo>
                    <a:pt x="6632" y="1572"/>
                  </a:lnTo>
                  <a:lnTo>
                    <a:pt x="6644" y="1548"/>
                  </a:lnTo>
                  <a:lnTo>
                    <a:pt x="6656" y="1536"/>
                  </a:lnTo>
                  <a:lnTo>
                    <a:pt x="6668" y="1524"/>
                  </a:lnTo>
                  <a:cubicBezTo>
                    <a:pt x="6692" y="1524"/>
                    <a:pt x="6692" y="1513"/>
                    <a:pt x="6703" y="1513"/>
                  </a:cubicBezTo>
                  <a:lnTo>
                    <a:pt x="6715" y="1513"/>
                  </a:lnTo>
                  <a:cubicBezTo>
                    <a:pt x="6727" y="1513"/>
                    <a:pt x="6727" y="1489"/>
                    <a:pt x="6751" y="1489"/>
                  </a:cubicBezTo>
                  <a:lnTo>
                    <a:pt x="6763" y="1489"/>
                  </a:lnTo>
                  <a:cubicBezTo>
                    <a:pt x="6775" y="1489"/>
                    <a:pt x="6775" y="1489"/>
                    <a:pt x="6787" y="1477"/>
                  </a:cubicBezTo>
                  <a:close/>
                  <a:moveTo>
                    <a:pt x="1989" y="1477"/>
                  </a:moveTo>
                  <a:cubicBezTo>
                    <a:pt x="2191" y="1477"/>
                    <a:pt x="2358" y="1643"/>
                    <a:pt x="2358" y="1846"/>
                  </a:cubicBezTo>
                  <a:lnTo>
                    <a:pt x="2358" y="2679"/>
                  </a:lnTo>
                  <a:lnTo>
                    <a:pt x="726" y="2679"/>
                  </a:lnTo>
                  <a:lnTo>
                    <a:pt x="726" y="1846"/>
                  </a:lnTo>
                  <a:lnTo>
                    <a:pt x="738" y="1846"/>
                  </a:lnTo>
                  <a:cubicBezTo>
                    <a:pt x="738" y="1643"/>
                    <a:pt x="893" y="1477"/>
                    <a:pt x="1107" y="1477"/>
                  </a:cubicBezTo>
                  <a:close/>
                  <a:moveTo>
                    <a:pt x="3953" y="1477"/>
                  </a:moveTo>
                  <a:cubicBezTo>
                    <a:pt x="4155" y="1477"/>
                    <a:pt x="4322" y="1643"/>
                    <a:pt x="4322" y="1846"/>
                  </a:cubicBezTo>
                  <a:lnTo>
                    <a:pt x="4322" y="2679"/>
                  </a:lnTo>
                  <a:lnTo>
                    <a:pt x="2691" y="2679"/>
                  </a:lnTo>
                  <a:lnTo>
                    <a:pt x="2691" y="1846"/>
                  </a:lnTo>
                  <a:lnTo>
                    <a:pt x="2691" y="1822"/>
                  </a:lnTo>
                  <a:cubicBezTo>
                    <a:pt x="2703" y="1655"/>
                    <a:pt x="2834" y="1524"/>
                    <a:pt x="2989" y="1477"/>
                  </a:cubicBezTo>
                  <a:close/>
                  <a:moveTo>
                    <a:pt x="9835" y="1477"/>
                  </a:moveTo>
                  <a:cubicBezTo>
                    <a:pt x="10037" y="1477"/>
                    <a:pt x="10204" y="1643"/>
                    <a:pt x="10204" y="1846"/>
                  </a:cubicBezTo>
                  <a:lnTo>
                    <a:pt x="10204" y="2679"/>
                  </a:lnTo>
                  <a:lnTo>
                    <a:pt x="8561" y="2679"/>
                  </a:lnTo>
                  <a:lnTo>
                    <a:pt x="8561" y="1846"/>
                  </a:lnTo>
                  <a:lnTo>
                    <a:pt x="8561" y="1822"/>
                  </a:lnTo>
                  <a:lnTo>
                    <a:pt x="8561" y="1786"/>
                  </a:lnTo>
                  <a:lnTo>
                    <a:pt x="8561" y="1774"/>
                  </a:lnTo>
                  <a:lnTo>
                    <a:pt x="8561" y="1763"/>
                  </a:lnTo>
                  <a:lnTo>
                    <a:pt x="8561" y="1739"/>
                  </a:lnTo>
                  <a:lnTo>
                    <a:pt x="8561" y="1727"/>
                  </a:lnTo>
                  <a:lnTo>
                    <a:pt x="8561" y="1715"/>
                  </a:lnTo>
                  <a:cubicBezTo>
                    <a:pt x="8561" y="1715"/>
                    <a:pt x="8561" y="1703"/>
                    <a:pt x="8585" y="1703"/>
                  </a:cubicBezTo>
                  <a:lnTo>
                    <a:pt x="8585" y="1679"/>
                  </a:lnTo>
                  <a:cubicBezTo>
                    <a:pt x="8585" y="1679"/>
                    <a:pt x="8585" y="1667"/>
                    <a:pt x="8597" y="1667"/>
                  </a:cubicBezTo>
                  <a:lnTo>
                    <a:pt x="8597" y="1655"/>
                  </a:lnTo>
                  <a:lnTo>
                    <a:pt x="8608" y="1643"/>
                  </a:lnTo>
                  <a:lnTo>
                    <a:pt x="8608" y="1620"/>
                  </a:lnTo>
                  <a:lnTo>
                    <a:pt x="8620" y="1608"/>
                  </a:lnTo>
                  <a:lnTo>
                    <a:pt x="8620" y="1596"/>
                  </a:lnTo>
                  <a:lnTo>
                    <a:pt x="8632" y="1584"/>
                  </a:lnTo>
                  <a:lnTo>
                    <a:pt x="8656" y="1560"/>
                  </a:lnTo>
                  <a:lnTo>
                    <a:pt x="8668" y="1548"/>
                  </a:lnTo>
                  <a:cubicBezTo>
                    <a:pt x="8680" y="1548"/>
                    <a:pt x="8680" y="1536"/>
                    <a:pt x="8692" y="1536"/>
                  </a:cubicBezTo>
                  <a:lnTo>
                    <a:pt x="8716" y="1536"/>
                  </a:lnTo>
                  <a:cubicBezTo>
                    <a:pt x="8727" y="1536"/>
                    <a:pt x="8727" y="1524"/>
                    <a:pt x="8739" y="1524"/>
                  </a:cubicBezTo>
                  <a:lnTo>
                    <a:pt x="8751" y="1524"/>
                  </a:lnTo>
                  <a:cubicBezTo>
                    <a:pt x="8775" y="1524"/>
                    <a:pt x="8775" y="1524"/>
                    <a:pt x="8787" y="1501"/>
                  </a:cubicBezTo>
                  <a:lnTo>
                    <a:pt x="9394" y="1501"/>
                  </a:lnTo>
                  <a:lnTo>
                    <a:pt x="9394" y="1477"/>
                  </a:lnTo>
                  <a:close/>
                  <a:moveTo>
                    <a:pt x="10668" y="3013"/>
                  </a:moveTo>
                  <a:lnTo>
                    <a:pt x="10668" y="3251"/>
                  </a:lnTo>
                  <a:lnTo>
                    <a:pt x="310" y="3251"/>
                  </a:lnTo>
                  <a:lnTo>
                    <a:pt x="310" y="3013"/>
                  </a:lnTo>
                  <a:close/>
                  <a:moveTo>
                    <a:pt x="2131" y="0"/>
                  </a:moveTo>
                  <a:cubicBezTo>
                    <a:pt x="1750" y="0"/>
                    <a:pt x="1441" y="322"/>
                    <a:pt x="1441" y="703"/>
                  </a:cubicBezTo>
                  <a:lnTo>
                    <a:pt x="1441" y="1155"/>
                  </a:lnTo>
                  <a:lnTo>
                    <a:pt x="1155" y="1155"/>
                  </a:lnTo>
                  <a:cubicBezTo>
                    <a:pt x="762" y="1155"/>
                    <a:pt x="453" y="1465"/>
                    <a:pt x="453" y="1846"/>
                  </a:cubicBezTo>
                  <a:lnTo>
                    <a:pt x="453" y="2679"/>
                  </a:lnTo>
                  <a:lnTo>
                    <a:pt x="215" y="2679"/>
                  </a:lnTo>
                  <a:cubicBezTo>
                    <a:pt x="107" y="2679"/>
                    <a:pt x="0" y="2775"/>
                    <a:pt x="0" y="2894"/>
                  </a:cubicBezTo>
                  <a:lnTo>
                    <a:pt x="0" y="3370"/>
                  </a:lnTo>
                  <a:cubicBezTo>
                    <a:pt x="0" y="3477"/>
                    <a:pt x="95" y="3572"/>
                    <a:pt x="215" y="3572"/>
                  </a:cubicBezTo>
                  <a:lnTo>
                    <a:pt x="10811" y="3572"/>
                  </a:lnTo>
                  <a:cubicBezTo>
                    <a:pt x="10918" y="3572"/>
                    <a:pt x="11025" y="3489"/>
                    <a:pt x="11025" y="3370"/>
                  </a:cubicBezTo>
                  <a:lnTo>
                    <a:pt x="11025" y="2894"/>
                  </a:lnTo>
                  <a:cubicBezTo>
                    <a:pt x="10978" y="2775"/>
                    <a:pt x="10883" y="2679"/>
                    <a:pt x="10775" y="2679"/>
                  </a:cubicBezTo>
                  <a:lnTo>
                    <a:pt x="10549" y="2679"/>
                  </a:lnTo>
                  <a:lnTo>
                    <a:pt x="10549" y="1846"/>
                  </a:lnTo>
                  <a:cubicBezTo>
                    <a:pt x="10549" y="1465"/>
                    <a:pt x="10228" y="1155"/>
                    <a:pt x="9847" y="1155"/>
                  </a:cubicBezTo>
                  <a:lnTo>
                    <a:pt x="9561" y="1155"/>
                  </a:lnTo>
                  <a:lnTo>
                    <a:pt x="9561" y="703"/>
                  </a:lnTo>
                  <a:cubicBezTo>
                    <a:pt x="9561" y="322"/>
                    <a:pt x="9251" y="0"/>
                    <a:pt x="8858" y="0"/>
                  </a:cubicBezTo>
                  <a:lnTo>
                    <a:pt x="7977" y="0"/>
                  </a:lnTo>
                  <a:cubicBezTo>
                    <a:pt x="7763" y="0"/>
                    <a:pt x="7561" y="108"/>
                    <a:pt x="7442" y="262"/>
                  </a:cubicBezTo>
                  <a:cubicBezTo>
                    <a:pt x="7311" y="108"/>
                    <a:pt x="7120" y="0"/>
                    <a:pt x="6906" y="0"/>
                  </a:cubicBezTo>
                  <a:lnTo>
                    <a:pt x="6037" y="0"/>
                  </a:lnTo>
                  <a:cubicBezTo>
                    <a:pt x="5810" y="0"/>
                    <a:pt x="5620" y="108"/>
                    <a:pt x="5501" y="262"/>
                  </a:cubicBezTo>
                  <a:cubicBezTo>
                    <a:pt x="5358" y="108"/>
                    <a:pt x="5168" y="0"/>
                    <a:pt x="4965" y="0"/>
                  </a:cubicBezTo>
                  <a:lnTo>
                    <a:pt x="4084" y="0"/>
                  </a:lnTo>
                  <a:cubicBezTo>
                    <a:pt x="3858" y="0"/>
                    <a:pt x="3667" y="108"/>
                    <a:pt x="3548" y="262"/>
                  </a:cubicBezTo>
                  <a:cubicBezTo>
                    <a:pt x="3417" y="108"/>
                    <a:pt x="3227" y="0"/>
                    <a:pt x="30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16" name="Google Shape;12316;p62"/>
          <p:cNvGrpSpPr/>
          <p:nvPr/>
        </p:nvGrpSpPr>
        <p:grpSpPr>
          <a:xfrm>
            <a:off x="5326878" y="1980358"/>
            <a:ext cx="350332" cy="346229"/>
            <a:chOff x="5326878" y="1980358"/>
            <a:chExt cx="350332" cy="346229"/>
          </a:xfrm>
        </p:grpSpPr>
        <p:sp>
          <p:nvSpPr>
            <p:cNvPr id="12317" name="Google Shape;12317;p62"/>
            <p:cNvSpPr/>
            <p:nvPr/>
          </p:nvSpPr>
          <p:spPr>
            <a:xfrm>
              <a:off x="5352259" y="2005834"/>
              <a:ext cx="94715" cy="94683"/>
            </a:xfrm>
            <a:custGeom>
              <a:avLst/>
              <a:gdLst/>
              <a:ahLst/>
              <a:cxnLst/>
              <a:rect l="l" t="t" r="r" b="b"/>
              <a:pathLst>
                <a:path w="2978" h="2977" extrusionOk="0">
                  <a:moveTo>
                    <a:pt x="1501" y="298"/>
                  </a:moveTo>
                  <a:cubicBezTo>
                    <a:pt x="1799" y="298"/>
                    <a:pt x="2096" y="417"/>
                    <a:pt x="2334" y="643"/>
                  </a:cubicBezTo>
                  <a:cubicBezTo>
                    <a:pt x="2763" y="1107"/>
                    <a:pt x="2763" y="1846"/>
                    <a:pt x="2322" y="2310"/>
                  </a:cubicBezTo>
                  <a:cubicBezTo>
                    <a:pt x="2090" y="2542"/>
                    <a:pt x="1787" y="2658"/>
                    <a:pt x="1486" y="2658"/>
                  </a:cubicBezTo>
                  <a:cubicBezTo>
                    <a:pt x="1185" y="2658"/>
                    <a:pt x="888" y="2542"/>
                    <a:pt x="667" y="2310"/>
                  </a:cubicBezTo>
                  <a:cubicBezTo>
                    <a:pt x="441" y="2084"/>
                    <a:pt x="322" y="1786"/>
                    <a:pt x="322" y="1476"/>
                  </a:cubicBezTo>
                  <a:cubicBezTo>
                    <a:pt x="322" y="1155"/>
                    <a:pt x="441" y="857"/>
                    <a:pt x="667" y="643"/>
                  </a:cubicBezTo>
                  <a:cubicBezTo>
                    <a:pt x="894" y="417"/>
                    <a:pt x="1203" y="298"/>
                    <a:pt x="1501" y="298"/>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63"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8" name="Google Shape;12318;p62"/>
            <p:cNvSpPr/>
            <p:nvPr/>
          </p:nvSpPr>
          <p:spPr>
            <a:xfrm>
              <a:off x="5534024" y="2005834"/>
              <a:ext cx="94715" cy="94683"/>
            </a:xfrm>
            <a:custGeom>
              <a:avLst/>
              <a:gdLst/>
              <a:ahLst/>
              <a:cxnLst/>
              <a:rect l="l" t="t" r="r" b="b"/>
              <a:pathLst>
                <a:path w="2978" h="2977" extrusionOk="0">
                  <a:moveTo>
                    <a:pt x="1489" y="310"/>
                  </a:moveTo>
                  <a:cubicBezTo>
                    <a:pt x="1787" y="310"/>
                    <a:pt x="2084" y="429"/>
                    <a:pt x="2322" y="655"/>
                  </a:cubicBezTo>
                  <a:cubicBezTo>
                    <a:pt x="2763" y="1107"/>
                    <a:pt x="2763" y="1846"/>
                    <a:pt x="2299" y="2310"/>
                  </a:cubicBezTo>
                  <a:cubicBezTo>
                    <a:pt x="2072" y="2542"/>
                    <a:pt x="1772" y="2658"/>
                    <a:pt x="1473" y="2658"/>
                  </a:cubicBezTo>
                  <a:cubicBezTo>
                    <a:pt x="1173" y="2658"/>
                    <a:pt x="876" y="2542"/>
                    <a:pt x="656" y="2310"/>
                  </a:cubicBezTo>
                  <a:cubicBezTo>
                    <a:pt x="191" y="1846"/>
                    <a:pt x="191" y="1107"/>
                    <a:pt x="656" y="655"/>
                  </a:cubicBezTo>
                  <a:cubicBezTo>
                    <a:pt x="870" y="429"/>
                    <a:pt x="1191" y="310"/>
                    <a:pt x="1489" y="310"/>
                  </a:cubicBezTo>
                  <a:close/>
                  <a:moveTo>
                    <a:pt x="1489" y="0"/>
                  </a:moveTo>
                  <a:cubicBezTo>
                    <a:pt x="1084" y="0"/>
                    <a:pt x="715" y="155"/>
                    <a:pt x="429" y="429"/>
                  </a:cubicBezTo>
                  <a:cubicBezTo>
                    <a:pt x="144" y="714"/>
                    <a:pt x="1" y="1084"/>
                    <a:pt x="1" y="1488"/>
                  </a:cubicBezTo>
                  <a:cubicBezTo>
                    <a:pt x="1" y="1893"/>
                    <a:pt x="144" y="2262"/>
                    <a:pt x="429" y="2548"/>
                  </a:cubicBezTo>
                  <a:cubicBezTo>
                    <a:pt x="715" y="2834"/>
                    <a:pt x="1084" y="2977"/>
                    <a:pt x="1489" y="2977"/>
                  </a:cubicBezTo>
                  <a:cubicBezTo>
                    <a:pt x="1882" y="2977"/>
                    <a:pt x="2263" y="2834"/>
                    <a:pt x="2537" y="2548"/>
                  </a:cubicBezTo>
                  <a:cubicBezTo>
                    <a:pt x="2822" y="2262"/>
                    <a:pt x="2977" y="1893"/>
                    <a:pt x="2977" y="1488"/>
                  </a:cubicBezTo>
                  <a:cubicBezTo>
                    <a:pt x="2977" y="1084"/>
                    <a:pt x="2822" y="703"/>
                    <a:pt x="2537" y="429"/>
                  </a:cubicBezTo>
                  <a:cubicBezTo>
                    <a:pt x="2251" y="155"/>
                    <a:pt x="1882"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9" name="Google Shape;12319;p62"/>
            <p:cNvSpPr/>
            <p:nvPr/>
          </p:nvSpPr>
          <p:spPr>
            <a:xfrm>
              <a:off x="5326878" y="1980358"/>
              <a:ext cx="350332" cy="144776"/>
            </a:xfrm>
            <a:custGeom>
              <a:avLst/>
              <a:gdLst/>
              <a:ahLst/>
              <a:cxnLst/>
              <a:rect l="l" t="t" r="r" b="b"/>
              <a:pathLst>
                <a:path w="11015" h="4552" extrusionOk="0">
                  <a:moveTo>
                    <a:pt x="5144" y="420"/>
                  </a:moveTo>
                  <a:cubicBezTo>
                    <a:pt x="5454" y="420"/>
                    <a:pt x="5692" y="670"/>
                    <a:pt x="5692" y="968"/>
                  </a:cubicBezTo>
                  <a:lnTo>
                    <a:pt x="5692" y="980"/>
                  </a:lnTo>
                  <a:lnTo>
                    <a:pt x="5645" y="956"/>
                  </a:lnTo>
                  <a:cubicBezTo>
                    <a:pt x="5585" y="920"/>
                    <a:pt x="5537" y="908"/>
                    <a:pt x="5478" y="896"/>
                  </a:cubicBezTo>
                  <a:lnTo>
                    <a:pt x="5466" y="896"/>
                  </a:lnTo>
                  <a:cubicBezTo>
                    <a:pt x="5364" y="864"/>
                    <a:pt x="5257" y="848"/>
                    <a:pt x="5148" y="848"/>
                  </a:cubicBezTo>
                  <a:cubicBezTo>
                    <a:pt x="4976" y="848"/>
                    <a:pt x="4800" y="888"/>
                    <a:pt x="4633" y="968"/>
                  </a:cubicBezTo>
                  <a:lnTo>
                    <a:pt x="4585" y="992"/>
                  </a:lnTo>
                  <a:lnTo>
                    <a:pt x="4585" y="980"/>
                  </a:lnTo>
                  <a:cubicBezTo>
                    <a:pt x="4585" y="670"/>
                    <a:pt x="4823" y="420"/>
                    <a:pt x="5144" y="420"/>
                  </a:cubicBezTo>
                  <a:close/>
                  <a:moveTo>
                    <a:pt x="5129" y="1184"/>
                  </a:moveTo>
                  <a:cubicBezTo>
                    <a:pt x="5263" y="1184"/>
                    <a:pt x="5391" y="1216"/>
                    <a:pt x="5514" y="1265"/>
                  </a:cubicBezTo>
                  <a:lnTo>
                    <a:pt x="5883" y="1444"/>
                  </a:lnTo>
                  <a:cubicBezTo>
                    <a:pt x="5764" y="1706"/>
                    <a:pt x="5704" y="2004"/>
                    <a:pt x="5716" y="2301"/>
                  </a:cubicBezTo>
                  <a:lnTo>
                    <a:pt x="5645" y="2277"/>
                  </a:lnTo>
                  <a:cubicBezTo>
                    <a:pt x="5484" y="2200"/>
                    <a:pt x="5308" y="2161"/>
                    <a:pt x="5134" y="2161"/>
                  </a:cubicBezTo>
                  <a:cubicBezTo>
                    <a:pt x="4960" y="2161"/>
                    <a:pt x="4787" y="2200"/>
                    <a:pt x="4633" y="2277"/>
                  </a:cubicBezTo>
                  <a:lnTo>
                    <a:pt x="4561" y="2301"/>
                  </a:lnTo>
                  <a:cubicBezTo>
                    <a:pt x="4561" y="2004"/>
                    <a:pt x="4502" y="1706"/>
                    <a:pt x="4394" y="1432"/>
                  </a:cubicBezTo>
                  <a:lnTo>
                    <a:pt x="4525" y="1373"/>
                  </a:lnTo>
                  <a:lnTo>
                    <a:pt x="4763" y="1265"/>
                  </a:lnTo>
                  <a:cubicBezTo>
                    <a:pt x="4823" y="1230"/>
                    <a:pt x="4883" y="1218"/>
                    <a:pt x="4942" y="1206"/>
                  </a:cubicBezTo>
                  <a:cubicBezTo>
                    <a:pt x="5006" y="1191"/>
                    <a:pt x="5068" y="1184"/>
                    <a:pt x="5129" y="1184"/>
                  </a:cubicBezTo>
                  <a:close/>
                  <a:moveTo>
                    <a:pt x="10348" y="1885"/>
                  </a:moveTo>
                  <a:cubicBezTo>
                    <a:pt x="10538" y="1885"/>
                    <a:pt x="10693" y="2039"/>
                    <a:pt x="10693" y="2230"/>
                  </a:cubicBezTo>
                  <a:lnTo>
                    <a:pt x="10693" y="2301"/>
                  </a:lnTo>
                  <a:cubicBezTo>
                    <a:pt x="10693" y="2504"/>
                    <a:pt x="10538" y="2647"/>
                    <a:pt x="10348" y="2647"/>
                  </a:cubicBezTo>
                  <a:lnTo>
                    <a:pt x="10240" y="2647"/>
                  </a:lnTo>
                  <a:lnTo>
                    <a:pt x="10240" y="2599"/>
                  </a:lnTo>
                  <a:lnTo>
                    <a:pt x="10240" y="2587"/>
                  </a:lnTo>
                  <a:cubicBezTo>
                    <a:pt x="10240" y="2563"/>
                    <a:pt x="10252" y="2516"/>
                    <a:pt x="10252" y="2480"/>
                  </a:cubicBezTo>
                  <a:cubicBezTo>
                    <a:pt x="10252" y="2420"/>
                    <a:pt x="10276" y="2385"/>
                    <a:pt x="10276" y="2325"/>
                  </a:cubicBezTo>
                  <a:lnTo>
                    <a:pt x="10276" y="2218"/>
                  </a:lnTo>
                  <a:cubicBezTo>
                    <a:pt x="10276" y="2158"/>
                    <a:pt x="10276" y="2111"/>
                    <a:pt x="10252" y="2051"/>
                  </a:cubicBezTo>
                  <a:cubicBezTo>
                    <a:pt x="10252" y="2027"/>
                    <a:pt x="10252" y="1980"/>
                    <a:pt x="10240" y="1944"/>
                  </a:cubicBezTo>
                  <a:lnTo>
                    <a:pt x="10240" y="1932"/>
                  </a:lnTo>
                  <a:lnTo>
                    <a:pt x="10240" y="1885"/>
                  </a:lnTo>
                  <a:close/>
                  <a:moveTo>
                    <a:pt x="2287" y="325"/>
                  </a:moveTo>
                  <a:cubicBezTo>
                    <a:pt x="2787" y="325"/>
                    <a:pt x="3275" y="515"/>
                    <a:pt x="3668" y="896"/>
                  </a:cubicBezTo>
                  <a:cubicBezTo>
                    <a:pt x="3823" y="1051"/>
                    <a:pt x="3954" y="1230"/>
                    <a:pt x="4049" y="1432"/>
                  </a:cubicBezTo>
                  <a:cubicBezTo>
                    <a:pt x="4049" y="1444"/>
                    <a:pt x="4061" y="1456"/>
                    <a:pt x="4061" y="1456"/>
                  </a:cubicBezTo>
                  <a:cubicBezTo>
                    <a:pt x="4085" y="1468"/>
                    <a:pt x="4085" y="1504"/>
                    <a:pt x="4097" y="1515"/>
                  </a:cubicBezTo>
                  <a:lnTo>
                    <a:pt x="4097" y="1527"/>
                  </a:lnTo>
                  <a:cubicBezTo>
                    <a:pt x="4109" y="1563"/>
                    <a:pt x="4109" y="1587"/>
                    <a:pt x="4121" y="1623"/>
                  </a:cubicBezTo>
                  <a:lnTo>
                    <a:pt x="4121" y="1634"/>
                  </a:lnTo>
                  <a:cubicBezTo>
                    <a:pt x="4371" y="2325"/>
                    <a:pt x="4216" y="3123"/>
                    <a:pt x="3668" y="3659"/>
                  </a:cubicBezTo>
                  <a:cubicBezTo>
                    <a:pt x="3287" y="4040"/>
                    <a:pt x="2784" y="4230"/>
                    <a:pt x="2281" y="4230"/>
                  </a:cubicBezTo>
                  <a:cubicBezTo>
                    <a:pt x="1778" y="4230"/>
                    <a:pt x="1275" y="4040"/>
                    <a:pt x="894" y="3659"/>
                  </a:cubicBezTo>
                  <a:cubicBezTo>
                    <a:pt x="525" y="3289"/>
                    <a:pt x="311" y="2801"/>
                    <a:pt x="311" y="2277"/>
                  </a:cubicBezTo>
                  <a:cubicBezTo>
                    <a:pt x="311" y="1754"/>
                    <a:pt x="525" y="1265"/>
                    <a:pt x="894" y="896"/>
                  </a:cubicBezTo>
                  <a:cubicBezTo>
                    <a:pt x="1287" y="503"/>
                    <a:pt x="1775" y="325"/>
                    <a:pt x="2287" y="325"/>
                  </a:cubicBezTo>
                  <a:close/>
                  <a:moveTo>
                    <a:pt x="7978" y="337"/>
                  </a:moveTo>
                  <a:cubicBezTo>
                    <a:pt x="8490" y="337"/>
                    <a:pt x="8978" y="527"/>
                    <a:pt x="9371" y="908"/>
                  </a:cubicBezTo>
                  <a:cubicBezTo>
                    <a:pt x="9633" y="1170"/>
                    <a:pt x="9800" y="1480"/>
                    <a:pt x="9883" y="1825"/>
                  </a:cubicBezTo>
                  <a:cubicBezTo>
                    <a:pt x="9967" y="2123"/>
                    <a:pt x="9967" y="2444"/>
                    <a:pt x="9883" y="2754"/>
                  </a:cubicBezTo>
                  <a:cubicBezTo>
                    <a:pt x="9800" y="3099"/>
                    <a:pt x="9633" y="3409"/>
                    <a:pt x="9371" y="3670"/>
                  </a:cubicBezTo>
                  <a:cubicBezTo>
                    <a:pt x="8990" y="4051"/>
                    <a:pt x="8487" y="4242"/>
                    <a:pt x="7984" y="4242"/>
                  </a:cubicBezTo>
                  <a:cubicBezTo>
                    <a:pt x="7481" y="4242"/>
                    <a:pt x="6978" y="4051"/>
                    <a:pt x="6597" y="3670"/>
                  </a:cubicBezTo>
                  <a:cubicBezTo>
                    <a:pt x="6049" y="3123"/>
                    <a:pt x="5895" y="2337"/>
                    <a:pt x="6133" y="1646"/>
                  </a:cubicBezTo>
                  <a:lnTo>
                    <a:pt x="6133" y="1634"/>
                  </a:lnTo>
                  <a:cubicBezTo>
                    <a:pt x="6157" y="1611"/>
                    <a:pt x="6157" y="1575"/>
                    <a:pt x="6168" y="1539"/>
                  </a:cubicBezTo>
                  <a:lnTo>
                    <a:pt x="6168" y="1527"/>
                  </a:lnTo>
                  <a:cubicBezTo>
                    <a:pt x="6180" y="1515"/>
                    <a:pt x="6180" y="1480"/>
                    <a:pt x="6192" y="1468"/>
                  </a:cubicBezTo>
                  <a:cubicBezTo>
                    <a:pt x="6192" y="1456"/>
                    <a:pt x="6216" y="1444"/>
                    <a:pt x="6216" y="1444"/>
                  </a:cubicBezTo>
                  <a:cubicBezTo>
                    <a:pt x="6299" y="1242"/>
                    <a:pt x="6430" y="1063"/>
                    <a:pt x="6597" y="908"/>
                  </a:cubicBezTo>
                  <a:cubicBezTo>
                    <a:pt x="6990" y="515"/>
                    <a:pt x="7478" y="337"/>
                    <a:pt x="7978" y="337"/>
                  </a:cubicBezTo>
                  <a:close/>
                  <a:moveTo>
                    <a:pt x="2287" y="0"/>
                  </a:moveTo>
                  <a:cubicBezTo>
                    <a:pt x="1701" y="0"/>
                    <a:pt x="1114" y="224"/>
                    <a:pt x="668" y="670"/>
                  </a:cubicBezTo>
                  <a:cubicBezTo>
                    <a:pt x="239" y="1099"/>
                    <a:pt x="1" y="1670"/>
                    <a:pt x="1" y="2277"/>
                  </a:cubicBezTo>
                  <a:cubicBezTo>
                    <a:pt x="1" y="2885"/>
                    <a:pt x="239" y="3456"/>
                    <a:pt x="668" y="3885"/>
                  </a:cubicBezTo>
                  <a:cubicBezTo>
                    <a:pt x="1120" y="4325"/>
                    <a:pt x="1704" y="4552"/>
                    <a:pt x="2275" y="4552"/>
                  </a:cubicBezTo>
                  <a:cubicBezTo>
                    <a:pt x="2858" y="4552"/>
                    <a:pt x="3442" y="4325"/>
                    <a:pt x="3882" y="3885"/>
                  </a:cubicBezTo>
                  <a:cubicBezTo>
                    <a:pt x="4228" y="3539"/>
                    <a:pt x="4442" y="3111"/>
                    <a:pt x="4525" y="2658"/>
                  </a:cubicBezTo>
                  <a:lnTo>
                    <a:pt x="4763" y="2563"/>
                  </a:lnTo>
                  <a:cubicBezTo>
                    <a:pt x="4883" y="2510"/>
                    <a:pt x="5011" y="2483"/>
                    <a:pt x="5139" y="2483"/>
                  </a:cubicBezTo>
                  <a:cubicBezTo>
                    <a:pt x="5267" y="2483"/>
                    <a:pt x="5395" y="2510"/>
                    <a:pt x="5514" y="2563"/>
                  </a:cubicBezTo>
                  <a:lnTo>
                    <a:pt x="5752" y="2658"/>
                  </a:lnTo>
                  <a:cubicBezTo>
                    <a:pt x="5823" y="3111"/>
                    <a:pt x="6026" y="3539"/>
                    <a:pt x="6383" y="3885"/>
                  </a:cubicBezTo>
                  <a:cubicBezTo>
                    <a:pt x="6835" y="4325"/>
                    <a:pt x="7419" y="4552"/>
                    <a:pt x="7990" y="4552"/>
                  </a:cubicBezTo>
                  <a:cubicBezTo>
                    <a:pt x="8573" y="4552"/>
                    <a:pt x="9157" y="4325"/>
                    <a:pt x="9597" y="3885"/>
                  </a:cubicBezTo>
                  <a:cubicBezTo>
                    <a:pt x="9871" y="3611"/>
                    <a:pt x="10050" y="3301"/>
                    <a:pt x="10169" y="2956"/>
                  </a:cubicBezTo>
                  <a:lnTo>
                    <a:pt x="10348" y="2956"/>
                  </a:lnTo>
                  <a:cubicBezTo>
                    <a:pt x="10717" y="2956"/>
                    <a:pt x="11014" y="2658"/>
                    <a:pt x="11014" y="2289"/>
                  </a:cubicBezTo>
                  <a:lnTo>
                    <a:pt x="11014" y="2230"/>
                  </a:lnTo>
                  <a:cubicBezTo>
                    <a:pt x="11002" y="1885"/>
                    <a:pt x="10705" y="1587"/>
                    <a:pt x="10348" y="1587"/>
                  </a:cubicBezTo>
                  <a:lnTo>
                    <a:pt x="10169" y="1587"/>
                  </a:lnTo>
                  <a:cubicBezTo>
                    <a:pt x="10062" y="1253"/>
                    <a:pt x="9871" y="932"/>
                    <a:pt x="9609" y="670"/>
                  </a:cubicBezTo>
                  <a:cubicBezTo>
                    <a:pt x="9163" y="224"/>
                    <a:pt x="8576" y="0"/>
                    <a:pt x="7990" y="0"/>
                  </a:cubicBezTo>
                  <a:cubicBezTo>
                    <a:pt x="7404" y="0"/>
                    <a:pt x="6817" y="224"/>
                    <a:pt x="6371" y="670"/>
                  </a:cubicBezTo>
                  <a:cubicBezTo>
                    <a:pt x="6228" y="813"/>
                    <a:pt x="6109" y="968"/>
                    <a:pt x="6014" y="1134"/>
                  </a:cubicBezTo>
                  <a:lnTo>
                    <a:pt x="6002" y="1111"/>
                  </a:lnTo>
                  <a:cubicBezTo>
                    <a:pt x="6014" y="1075"/>
                    <a:pt x="6014" y="1015"/>
                    <a:pt x="6014" y="968"/>
                  </a:cubicBezTo>
                  <a:cubicBezTo>
                    <a:pt x="6014" y="491"/>
                    <a:pt x="5633" y="87"/>
                    <a:pt x="5133" y="87"/>
                  </a:cubicBezTo>
                  <a:cubicBezTo>
                    <a:pt x="4644" y="87"/>
                    <a:pt x="4263" y="480"/>
                    <a:pt x="4263" y="968"/>
                  </a:cubicBezTo>
                  <a:cubicBezTo>
                    <a:pt x="4263" y="1015"/>
                    <a:pt x="4263" y="1075"/>
                    <a:pt x="4275" y="1111"/>
                  </a:cubicBezTo>
                  <a:lnTo>
                    <a:pt x="4263" y="1134"/>
                  </a:lnTo>
                  <a:cubicBezTo>
                    <a:pt x="4156" y="968"/>
                    <a:pt x="4037" y="801"/>
                    <a:pt x="3906" y="670"/>
                  </a:cubicBezTo>
                  <a:cubicBezTo>
                    <a:pt x="3460" y="224"/>
                    <a:pt x="2873" y="0"/>
                    <a:pt x="2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0" name="Google Shape;12320;p62"/>
            <p:cNvSpPr/>
            <p:nvPr/>
          </p:nvSpPr>
          <p:spPr>
            <a:xfrm>
              <a:off x="5627181" y="2089131"/>
              <a:ext cx="42460" cy="237456"/>
            </a:xfrm>
            <a:custGeom>
              <a:avLst/>
              <a:gdLst/>
              <a:ahLst/>
              <a:cxnLst/>
              <a:rect l="l" t="t" r="r" b="b"/>
              <a:pathLst>
                <a:path w="1335" h="7466" extrusionOk="0">
                  <a:moveTo>
                    <a:pt x="834" y="3799"/>
                  </a:moveTo>
                  <a:lnTo>
                    <a:pt x="1013" y="7025"/>
                  </a:lnTo>
                  <a:cubicBezTo>
                    <a:pt x="1025" y="7073"/>
                    <a:pt x="1013" y="7097"/>
                    <a:pt x="977" y="7120"/>
                  </a:cubicBezTo>
                  <a:cubicBezTo>
                    <a:pt x="953" y="7144"/>
                    <a:pt x="917" y="7156"/>
                    <a:pt x="894" y="7156"/>
                  </a:cubicBezTo>
                  <a:lnTo>
                    <a:pt x="429" y="7156"/>
                  </a:lnTo>
                  <a:cubicBezTo>
                    <a:pt x="405" y="7156"/>
                    <a:pt x="370" y="7144"/>
                    <a:pt x="346" y="7120"/>
                  </a:cubicBezTo>
                  <a:cubicBezTo>
                    <a:pt x="310" y="7085"/>
                    <a:pt x="310" y="7061"/>
                    <a:pt x="310" y="7025"/>
                  </a:cubicBezTo>
                  <a:lnTo>
                    <a:pt x="489" y="3799"/>
                  </a:lnTo>
                  <a:close/>
                  <a:moveTo>
                    <a:pt x="1001" y="0"/>
                  </a:moveTo>
                  <a:cubicBezTo>
                    <a:pt x="906" y="0"/>
                    <a:pt x="834" y="72"/>
                    <a:pt x="834" y="167"/>
                  </a:cubicBezTo>
                  <a:lnTo>
                    <a:pt x="834" y="3489"/>
                  </a:lnTo>
                  <a:lnTo>
                    <a:pt x="501" y="3489"/>
                  </a:lnTo>
                  <a:lnTo>
                    <a:pt x="501" y="881"/>
                  </a:lnTo>
                  <a:cubicBezTo>
                    <a:pt x="501" y="786"/>
                    <a:pt x="429" y="715"/>
                    <a:pt x="346" y="715"/>
                  </a:cubicBezTo>
                  <a:cubicBezTo>
                    <a:pt x="251" y="715"/>
                    <a:pt x="179" y="786"/>
                    <a:pt x="179" y="881"/>
                  </a:cubicBezTo>
                  <a:lnTo>
                    <a:pt x="179" y="3668"/>
                  </a:lnTo>
                  <a:lnTo>
                    <a:pt x="1" y="7013"/>
                  </a:lnTo>
                  <a:cubicBezTo>
                    <a:pt x="1" y="7132"/>
                    <a:pt x="48" y="7251"/>
                    <a:pt x="120" y="7335"/>
                  </a:cubicBezTo>
                  <a:cubicBezTo>
                    <a:pt x="203" y="7430"/>
                    <a:pt x="310" y="7466"/>
                    <a:pt x="429" y="7466"/>
                  </a:cubicBezTo>
                  <a:lnTo>
                    <a:pt x="894" y="7466"/>
                  </a:lnTo>
                  <a:cubicBezTo>
                    <a:pt x="1013" y="7466"/>
                    <a:pt x="1132" y="7430"/>
                    <a:pt x="1203" y="7335"/>
                  </a:cubicBezTo>
                  <a:cubicBezTo>
                    <a:pt x="1287" y="7251"/>
                    <a:pt x="1334" y="7132"/>
                    <a:pt x="1334" y="7013"/>
                  </a:cubicBezTo>
                  <a:lnTo>
                    <a:pt x="1156" y="3632"/>
                  </a:lnTo>
                  <a:lnTo>
                    <a:pt x="1156" y="167"/>
                  </a:lnTo>
                  <a:cubicBezTo>
                    <a:pt x="1156" y="72"/>
                    <a:pt x="1084" y="0"/>
                    <a:pt x="1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21" name="Google Shape;12321;p62"/>
          <p:cNvSpPr/>
          <p:nvPr/>
        </p:nvSpPr>
        <p:spPr>
          <a:xfrm>
            <a:off x="7992774" y="1977782"/>
            <a:ext cx="330645" cy="349950"/>
          </a:xfrm>
          <a:custGeom>
            <a:avLst/>
            <a:gdLst/>
            <a:ahLst/>
            <a:cxnLst/>
            <a:rect l="l" t="t" r="r" b="b"/>
            <a:pathLst>
              <a:path w="10396" h="11003" extrusionOk="0">
                <a:moveTo>
                  <a:pt x="9740" y="2406"/>
                </a:moveTo>
                <a:cubicBezTo>
                  <a:pt x="9764" y="2418"/>
                  <a:pt x="9788" y="2442"/>
                  <a:pt x="9800" y="2466"/>
                </a:cubicBezTo>
                <a:cubicBezTo>
                  <a:pt x="9919" y="2620"/>
                  <a:pt x="9883" y="2847"/>
                  <a:pt x="9728" y="2966"/>
                </a:cubicBezTo>
                <a:lnTo>
                  <a:pt x="9740" y="2406"/>
                </a:lnTo>
                <a:close/>
                <a:moveTo>
                  <a:pt x="9728" y="3656"/>
                </a:moveTo>
                <a:cubicBezTo>
                  <a:pt x="9764" y="3680"/>
                  <a:pt x="9812" y="3716"/>
                  <a:pt x="9847" y="3751"/>
                </a:cubicBezTo>
                <a:cubicBezTo>
                  <a:pt x="9967" y="3918"/>
                  <a:pt x="9931" y="4144"/>
                  <a:pt x="9764" y="4275"/>
                </a:cubicBezTo>
                <a:lnTo>
                  <a:pt x="9705" y="4323"/>
                </a:lnTo>
                <a:lnTo>
                  <a:pt x="9728" y="3656"/>
                </a:lnTo>
                <a:close/>
                <a:moveTo>
                  <a:pt x="9705" y="4883"/>
                </a:moveTo>
                <a:cubicBezTo>
                  <a:pt x="9788" y="4906"/>
                  <a:pt x="9847" y="4942"/>
                  <a:pt x="9895" y="5025"/>
                </a:cubicBezTo>
                <a:cubicBezTo>
                  <a:pt x="9967" y="5109"/>
                  <a:pt x="9990" y="5216"/>
                  <a:pt x="9978" y="5299"/>
                </a:cubicBezTo>
                <a:cubicBezTo>
                  <a:pt x="9967" y="5406"/>
                  <a:pt x="9919" y="5478"/>
                  <a:pt x="9847" y="5537"/>
                </a:cubicBezTo>
                <a:lnTo>
                  <a:pt x="9705" y="5633"/>
                </a:lnTo>
                <a:lnTo>
                  <a:pt x="9705" y="4883"/>
                </a:lnTo>
                <a:close/>
                <a:moveTo>
                  <a:pt x="8835" y="8490"/>
                </a:moveTo>
                <a:lnTo>
                  <a:pt x="8835" y="8847"/>
                </a:lnTo>
                <a:lnTo>
                  <a:pt x="5264" y="8847"/>
                </a:lnTo>
                <a:lnTo>
                  <a:pt x="5264" y="8490"/>
                </a:lnTo>
                <a:close/>
                <a:moveTo>
                  <a:pt x="2299" y="6061"/>
                </a:moveTo>
                <a:lnTo>
                  <a:pt x="2323" y="6109"/>
                </a:lnTo>
                <a:lnTo>
                  <a:pt x="3894" y="8145"/>
                </a:lnTo>
                <a:lnTo>
                  <a:pt x="4466" y="8907"/>
                </a:lnTo>
                <a:lnTo>
                  <a:pt x="4192" y="9109"/>
                </a:lnTo>
                <a:lnTo>
                  <a:pt x="2013" y="6287"/>
                </a:lnTo>
                <a:lnTo>
                  <a:pt x="2299" y="6061"/>
                </a:lnTo>
                <a:close/>
                <a:moveTo>
                  <a:pt x="1656" y="6335"/>
                </a:moveTo>
                <a:lnTo>
                  <a:pt x="4037" y="9443"/>
                </a:lnTo>
                <a:lnTo>
                  <a:pt x="2858" y="10443"/>
                </a:lnTo>
                <a:lnTo>
                  <a:pt x="382" y="7192"/>
                </a:lnTo>
                <a:lnTo>
                  <a:pt x="1656" y="6335"/>
                </a:lnTo>
                <a:close/>
                <a:moveTo>
                  <a:pt x="8978" y="9169"/>
                </a:moveTo>
                <a:lnTo>
                  <a:pt x="9085" y="10705"/>
                </a:lnTo>
                <a:lnTo>
                  <a:pt x="5002" y="10705"/>
                </a:lnTo>
                <a:lnTo>
                  <a:pt x="5097" y="9169"/>
                </a:lnTo>
                <a:close/>
                <a:moveTo>
                  <a:pt x="6895" y="1"/>
                </a:moveTo>
                <a:cubicBezTo>
                  <a:pt x="6716" y="1"/>
                  <a:pt x="6538" y="84"/>
                  <a:pt x="6407" y="215"/>
                </a:cubicBezTo>
                <a:cubicBezTo>
                  <a:pt x="6276" y="346"/>
                  <a:pt x="6192" y="513"/>
                  <a:pt x="6192" y="703"/>
                </a:cubicBezTo>
                <a:lnTo>
                  <a:pt x="6192" y="727"/>
                </a:lnTo>
                <a:cubicBezTo>
                  <a:pt x="6073" y="656"/>
                  <a:pt x="5942" y="632"/>
                  <a:pt x="5811" y="632"/>
                </a:cubicBezTo>
                <a:cubicBezTo>
                  <a:pt x="5442" y="644"/>
                  <a:pt x="5144" y="953"/>
                  <a:pt x="5144" y="1323"/>
                </a:cubicBezTo>
                <a:lnTo>
                  <a:pt x="5144" y="3751"/>
                </a:lnTo>
                <a:lnTo>
                  <a:pt x="4680" y="4109"/>
                </a:lnTo>
                <a:lnTo>
                  <a:pt x="4811" y="3192"/>
                </a:lnTo>
                <a:cubicBezTo>
                  <a:pt x="4859" y="2811"/>
                  <a:pt x="4609" y="2466"/>
                  <a:pt x="4216" y="2418"/>
                </a:cubicBezTo>
                <a:cubicBezTo>
                  <a:pt x="4174" y="2411"/>
                  <a:pt x="4135" y="2408"/>
                  <a:pt x="4097" y="2408"/>
                </a:cubicBezTo>
                <a:cubicBezTo>
                  <a:pt x="3664" y="2408"/>
                  <a:pt x="3509" y="2823"/>
                  <a:pt x="3454" y="2966"/>
                </a:cubicBezTo>
                <a:lnTo>
                  <a:pt x="3180" y="3728"/>
                </a:lnTo>
                <a:cubicBezTo>
                  <a:pt x="3144" y="3811"/>
                  <a:pt x="3192" y="3906"/>
                  <a:pt x="3263" y="3930"/>
                </a:cubicBezTo>
                <a:cubicBezTo>
                  <a:pt x="3286" y="3938"/>
                  <a:pt x="3307" y="3942"/>
                  <a:pt x="3328" y="3942"/>
                </a:cubicBezTo>
                <a:cubicBezTo>
                  <a:pt x="3395" y="3942"/>
                  <a:pt x="3450" y="3901"/>
                  <a:pt x="3478" y="3847"/>
                </a:cubicBezTo>
                <a:lnTo>
                  <a:pt x="3751" y="3085"/>
                </a:lnTo>
                <a:cubicBezTo>
                  <a:pt x="3875" y="2775"/>
                  <a:pt x="3999" y="2725"/>
                  <a:pt x="4116" y="2725"/>
                </a:cubicBezTo>
                <a:cubicBezTo>
                  <a:pt x="4133" y="2725"/>
                  <a:pt x="4151" y="2726"/>
                  <a:pt x="4168" y="2728"/>
                </a:cubicBezTo>
                <a:cubicBezTo>
                  <a:pt x="4371" y="2751"/>
                  <a:pt x="4513" y="2930"/>
                  <a:pt x="4490" y="3144"/>
                </a:cubicBezTo>
                <a:lnTo>
                  <a:pt x="4335" y="4204"/>
                </a:lnTo>
                <a:cubicBezTo>
                  <a:pt x="4323" y="4299"/>
                  <a:pt x="4371" y="4406"/>
                  <a:pt x="4466" y="4466"/>
                </a:cubicBezTo>
                <a:cubicBezTo>
                  <a:pt x="4514" y="4493"/>
                  <a:pt x="4562" y="4505"/>
                  <a:pt x="4608" y="4505"/>
                </a:cubicBezTo>
                <a:cubicBezTo>
                  <a:pt x="4665" y="4505"/>
                  <a:pt x="4718" y="4487"/>
                  <a:pt x="4763" y="4454"/>
                </a:cubicBezTo>
                <a:lnTo>
                  <a:pt x="5144" y="4168"/>
                </a:lnTo>
                <a:lnTo>
                  <a:pt x="5144" y="5383"/>
                </a:lnTo>
                <a:lnTo>
                  <a:pt x="4490" y="4704"/>
                </a:lnTo>
                <a:cubicBezTo>
                  <a:pt x="4353" y="4573"/>
                  <a:pt x="4177" y="4507"/>
                  <a:pt x="4001" y="4507"/>
                </a:cubicBezTo>
                <a:cubicBezTo>
                  <a:pt x="3826" y="4507"/>
                  <a:pt x="3650" y="4573"/>
                  <a:pt x="3513" y="4704"/>
                </a:cubicBezTo>
                <a:lnTo>
                  <a:pt x="3490" y="4740"/>
                </a:lnTo>
                <a:cubicBezTo>
                  <a:pt x="3370" y="4871"/>
                  <a:pt x="3311" y="5014"/>
                  <a:pt x="3311" y="5204"/>
                </a:cubicBezTo>
                <a:cubicBezTo>
                  <a:pt x="3311" y="5347"/>
                  <a:pt x="3359" y="5502"/>
                  <a:pt x="3454" y="5621"/>
                </a:cubicBezTo>
                <a:cubicBezTo>
                  <a:pt x="3454" y="5633"/>
                  <a:pt x="3478" y="5633"/>
                  <a:pt x="3478" y="5645"/>
                </a:cubicBezTo>
                <a:cubicBezTo>
                  <a:pt x="3478" y="5656"/>
                  <a:pt x="3490" y="5656"/>
                  <a:pt x="3501" y="5680"/>
                </a:cubicBezTo>
                <a:lnTo>
                  <a:pt x="5025" y="8073"/>
                </a:lnTo>
                <a:lnTo>
                  <a:pt x="5037" y="8085"/>
                </a:lnTo>
                <a:cubicBezTo>
                  <a:pt x="5037" y="8097"/>
                  <a:pt x="5049" y="8121"/>
                  <a:pt x="5049" y="8133"/>
                </a:cubicBezTo>
                <a:lnTo>
                  <a:pt x="5049" y="8145"/>
                </a:lnTo>
                <a:lnTo>
                  <a:pt x="5049" y="8157"/>
                </a:lnTo>
                <a:cubicBezTo>
                  <a:pt x="5025" y="8181"/>
                  <a:pt x="4990" y="8192"/>
                  <a:pt x="4966" y="8216"/>
                </a:cubicBezTo>
                <a:cubicBezTo>
                  <a:pt x="4942" y="8240"/>
                  <a:pt x="4918" y="8264"/>
                  <a:pt x="4906" y="8300"/>
                </a:cubicBezTo>
                <a:cubicBezTo>
                  <a:pt x="4799" y="8335"/>
                  <a:pt x="4692" y="8383"/>
                  <a:pt x="4621" y="8443"/>
                </a:cubicBezTo>
                <a:lnTo>
                  <a:pt x="4537" y="8502"/>
                </a:lnTo>
                <a:lnTo>
                  <a:pt x="2870" y="6311"/>
                </a:lnTo>
                <a:lnTo>
                  <a:pt x="2608" y="5978"/>
                </a:lnTo>
                <a:cubicBezTo>
                  <a:pt x="2668" y="5895"/>
                  <a:pt x="2728" y="5811"/>
                  <a:pt x="2751" y="5740"/>
                </a:cubicBezTo>
                <a:lnTo>
                  <a:pt x="3204" y="4525"/>
                </a:lnTo>
                <a:cubicBezTo>
                  <a:pt x="3239" y="4442"/>
                  <a:pt x="3192" y="4347"/>
                  <a:pt x="3120" y="4323"/>
                </a:cubicBezTo>
                <a:cubicBezTo>
                  <a:pt x="3098" y="4315"/>
                  <a:pt x="3077" y="4311"/>
                  <a:pt x="3056" y="4311"/>
                </a:cubicBezTo>
                <a:cubicBezTo>
                  <a:pt x="2989" y="4311"/>
                  <a:pt x="2933" y="4352"/>
                  <a:pt x="2906" y="4406"/>
                </a:cubicBezTo>
                <a:lnTo>
                  <a:pt x="2454" y="5621"/>
                </a:lnTo>
                <a:lnTo>
                  <a:pt x="2454" y="5633"/>
                </a:lnTo>
                <a:cubicBezTo>
                  <a:pt x="2454" y="5645"/>
                  <a:pt x="2442" y="5680"/>
                  <a:pt x="2394" y="5716"/>
                </a:cubicBezTo>
                <a:cubicBezTo>
                  <a:pt x="2357" y="5693"/>
                  <a:pt x="2313" y="5682"/>
                  <a:pt x="2267" y="5682"/>
                </a:cubicBezTo>
                <a:cubicBezTo>
                  <a:pt x="2197" y="5682"/>
                  <a:pt x="2124" y="5708"/>
                  <a:pt x="2073" y="5752"/>
                </a:cubicBezTo>
                <a:lnTo>
                  <a:pt x="1739" y="6002"/>
                </a:lnTo>
                <a:cubicBezTo>
                  <a:pt x="1698" y="5981"/>
                  <a:pt x="1653" y="5970"/>
                  <a:pt x="1607" y="5970"/>
                </a:cubicBezTo>
                <a:cubicBezTo>
                  <a:pt x="1546" y="5970"/>
                  <a:pt x="1484" y="5990"/>
                  <a:pt x="1430" y="6037"/>
                </a:cubicBezTo>
                <a:lnTo>
                  <a:pt x="156" y="6907"/>
                </a:lnTo>
                <a:cubicBezTo>
                  <a:pt x="72" y="6954"/>
                  <a:pt x="37" y="7026"/>
                  <a:pt x="13" y="7121"/>
                </a:cubicBezTo>
                <a:cubicBezTo>
                  <a:pt x="1" y="7204"/>
                  <a:pt x="37" y="7300"/>
                  <a:pt x="72" y="7359"/>
                </a:cubicBezTo>
                <a:lnTo>
                  <a:pt x="2561" y="10621"/>
                </a:lnTo>
                <a:cubicBezTo>
                  <a:pt x="2620" y="10693"/>
                  <a:pt x="2704" y="10740"/>
                  <a:pt x="2787" y="10740"/>
                </a:cubicBezTo>
                <a:lnTo>
                  <a:pt x="2823" y="10740"/>
                </a:lnTo>
                <a:cubicBezTo>
                  <a:pt x="2894" y="10740"/>
                  <a:pt x="2966" y="10705"/>
                  <a:pt x="3025" y="10657"/>
                </a:cubicBezTo>
                <a:lnTo>
                  <a:pt x="4204" y="9645"/>
                </a:lnTo>
                <a:cubicBezTo>
                  <a:pt x="4287" y="9574"/>
                  <a:pt x="4323" y="9455"/>
                  <a:pt x="4311" y="9347"/>
                </a:cubicBezTo>
                <a:lnTo>
                  <a:pt x="4633" y="9097"/>
                </a:lnTo>
                <a:cubicBezTo>
                  <a:pt x="4692" y="9050"/>
                  <a:pt x="4740" y="8978"/>
                  <a:pt x="4752" y="8895"/>
                </a:cubicBezTo>
                <a:cubicBezTo>
                  <a:pt x="4752" y="8847"/>
                  <a:pt x="4752" y="8800"/>
                  <a:pt x="4740" y="8752"/>
                </a:cubicBezTo>
                <a:lnTo>
                  <a:pt x="4823" y="8681"/>
                </a:lnTo>
                <a:cubicBezTo>
                  <a:pt x="4847" y="8669"/>
                  <a:pt x="4859" y="8657"/>
                  <a:pt x="4883" y="8657"/>
                </a:cubicBezTo>
                <a:lnTo>
                  <a:pt x="4883" y="8847"/>
                </a:lnTo>
                <a:cubicBezTo>
                  <a:pt x="4799" y="8895"/>
                  <a:pt x="4728" y="8990"/>
                  <a:pt x="4728" y="9109"/>
                </a:cubicBezTo>
                <a:lnTo>
                  <a:pt x="4633" y="10657"/>
                </a:lnTo>
                <a:cubicBezTo>
                  <a:pt x="4633" y="10752"/>
                  <a:pt x="4668" y="10836"/>
                  <a:pt x="4728" y="10895"/>
                </a:cubicBezTo>
                <a:cubicBezTo>
                  <a:pt x="4787" y="10955"/>
                  <a:pt x="4871" y="11002"/>
                  <a:pt x="4942" y="11002"/>
                </a:cubicBezTo>
                <a:lnTo>
                  <a:pt x="9038" y="11002"/>
                </a:lnTo>
                <a:cubicBezTo>
                  <a:pt x="9133" y="11002"/>
                  <a:pt x="9205" y="10979"/>
                  <a:pt x="9264" y="10895"/>
                </a:cubicBezTo>
                <a:cubicBezTo>
                  <a:pt x="9324" y="10836"/>
                  <a:pt x="9347" y="10752"/>
                  <a:pt x="9347" y="10657"/>
                </a:cubicBezTo>
                <a:lnTo>
                  <a:pt x="9264" y="9109"/>
                </a:lnTo>
                <a:cubicBezTo>
                  <a:pt x="9264" y="8990"/>
                  <a:pt x="9193" y="8907"/>
                  <a:pt x="9097" y="8847"/>
                </a:cubicBezTo>
                <a:lnTo>
                  <a:pt x="9097" y="8431"/>
                </a:lnTo>
                <a:cubicBezTo>
                  <a:pt x="9097" y="8359"/>
                  <a:pt x="9074" y="8264"/>
                  <a:pt x="9014" y="8216"/>
                </a:cubicBezTo>
                <a:cubicBezTo>
                  <a:pt x="8978" y="8192"/>
                  <a:pt x="8931" y="8157"/>
                  <a:pt x="8907" y="8145"/>
                </a:cubicBezTo>
                <a:lnTo>
                  <a:pt x="8907" y="8026"/>
                </a:lnTo>
                <a:cubicBezTo>
                  <a:pt x="8907" y="7919"/>
                  <a:pt x="8966" y="7728"/>
                  <a:pt x="9038" y="7490"/>
                </a:cubicBezTo>
                <a:cubicBezTo>
                  <a:pt x="9074" y="7407"/>
                  <a:pt x="9026" y="7311"/>
                  <a:pt x="8954" y="7288"/>
                </a:cubicBezTo>
                <a:cubicBezTo>
                  <a:pt x="8932" y="7279"/>
                  <a:pt x="8911" y="7275"/>
                  <a:pt x="8890" y="7275"/>
                </a:cubicBezTo>
                <a:cubicBezTo>
                  <a:pt x="8823" y="7275"/>
                  <a:pt x="8768" y="7316"/>
                  <a:pt x="8740" y="7371"/>
                </a:cubicBezTo>
                <a:cubicBezTo>
                  <a:pt x="8669" y="7561"/>
                  <a:pt x="8573" y="7835"/>
                  <a:pt x="8573" y="8014"/>
                </a:cubicBezTo>
                <a:lnTo>
                  <a:pt x="8573" y="8121"/>
                </a:lnTo>
                <a:lnTo>
                  <a:pt x="5406" y="8121"/>
                </a:lnTo>
                <a:cubicBezTo>
                  <a:pt x="5395" y="8014"/>
                  <a:pt x="5347" y="7919"/>
                  <a:pt x="5323" y="7859"/>
                </a:cubicBezTo>
                <a:lnTo>
                  <a:pt x="3787" y="5454"/>
                </a:lnTo>
                <a:cubicBezTo>
                  <a:pt x="3787" y="5442"/>
                  <a:pt x="3775" y="5442"/>
                  <a:pt x="3751" y="5418"/>
                </a:cubicBezTo>
                <a:cubicBezTo>
                  <a:pt x="3609" y="5275"/>
                  <a:pt x="3609" y="5049"/>
                  <a:pt x="3751" y="4906"/>
                </a:cubicBezTo>
                <a:cubicBezTo>
                  <a:pt x="3829" y="4829"/>
                  <a:pt x="3924" y="4790"/>
                  <a:pt x="4018" y="4790"/>
                </a:cubicBezTo>
                <a:cubicBezTo>
                  <a:pt x="4112" y="4790"/>
                  <a:pt x="4204" y="4829"/>
                  <a:pt x="4275" y="4906"/>
                </a:cubicBezTo>
                <a:lnTo>
                  <a:pt x="5025" y="5656"/>
                </a:lnTo>
                <a:cubicBezTo>
                  <a:pt x="5072" y="5711"/>
                  <a:pt x="5140" y="5740"/>
                  <a:pt x="5211" y="5740"/>
                </a:cubicBezTo>
                <a:cubicBezTo>
                  <a:pt x="5248" y="5740"/>
                  <a:pt x="5286" y="5732"/>
                  <a:pt x="5323" y="5716"/>
                </a:cubicBezTo>
                <a:cubicBezTo>
                  <a:pt x="5418" y="5680"/>
                  <a:pt x="5478" y="5585"/>
                  <a:pt x="5478" y="5466"/>
                </a:cubicBezTo>
                <a:lnTo>
                  <a:pt x="5478" y="3799"/>
                </a:lnTo>
                <a:lnTo>
                  <a:pt x="5478" y="1287"/>
                </a:lnTo>
                <a:cubicBezTo>
                  <a:pt x="5478" y="1073"/>
                  <a:pt x="5645" y="918"/>
                  <a:pt x="5835" y="918"/>
                </a:cubicBezTo>
                <a:cubicBezTo>
                  <a:pt x="5942" y="918"/>
                  <a:pt x="6037" y="942"/>
                  <a:pt x="6109" y="1013"/>
                </a:cubicBezTo>
                <a:cubicBezTo>
                  <a:pt x="6180" y="1096"/>
                  <a:pt x="6216" y="1180"/>
                  <a:pt x="6216" y="1287"/>
                </a:cubicBezTo>
                <a:lnTo>
                  <a:pt x="6216" y="4454"/>
                </a:lnTo>
                <a:cubicBezTo>
                  <a:pt x="6216" y="4549"/>
                  <a:pt x="6287" y="4621"/>
                  <a:pt x="6371" y="4621"/>
                </a:cubicBezTo>
                <a:cubicBezTo>
                  <a:pt x="6466" y="4621"/>
                  <a:pt x="6538" y="4549"/>
                  <a:pt x="6538" y="4454"/>
                </a:cubicBezTo>
                <a:lnTo>
                  <a:pt x="6538" y="1287"/>
                </a:lnTo>
                <a:lnTo>
                  <a:pt x="6538" y="680"/>
                </a:lnTo>
                <a:cubicBezTo>
                  <a:pt x="6538" y="572"/>
                  <a:pt x="6585" y="477"/>
                  <a:pt x="6645" y="418"/>
                </a:cubicBezTo>
                <a:cubicBezTo>
                  <a:pt x="6716" y="346"/>
                  <a:pt x="6811" y="322"/>
                  <a:pt x="6895" y="322"/>
                </a:cubicBezTo>
                <a:cubicBezTo>
                  <a:pt x="7002" y="322"/>
                  <a:pt x="7085" y="358"/>
                  <a:pt x="7145" y="418"/>
                </a:cubicBezTo>
                <a:cubicBezTo>
                  <a:pt x="7228" y="501"/>
                  <a:pt x="7252" y="584"/>
                  <a:pt x="7252" y="680"/>
                </a:cubicBezTo>
                <a:lnTo>
                  <a:pt x="7252" y="4454"/>
                </a:lnTo>
                <a:cubicBezTo>
                  <a:pt x="7252" y="4549"/>
                  <a:pt x="7323" y="4621"/>
                  <a:pt x="7419" y="4621"/>
                </a:cubicBezTo>
                <a:cubicBezTo>
                  <a:pt x="7502" y="4621"/>
                  <a:pt x="7585" y="4549"/>
                  <a:pt x="7585" y="4454"/>
                </a:cubicBezTo>
                <a:lnTo>
                  <a:pt x="7585" y="1430"/>
                </a:lnTo>
                <a:cubicBezTo>
                  <a:pt x="7585" y="1334"/>
                  <a:pt x="7621" y="1239"/>
                  <a:pt x="7681" y="1180"/>
                </a:cubicBezTo>
                <a:cubicBezTo>
                  <a:pt x="7740" y="1120"/>
                  <a:pt x="7847" y="1073"/>
                  <a:pt x="7942" y="1073"/>
                </a:cubicBezTo>
                <a:cubicBezTo>
                  <a:pt x="8038" y="1073"/>
                  <a:pt x="8133" y="1120"/>
                  <a:pt x="8192" y="1180"/>
                </a:cubicBezTo>
                <a:cubicBezTo>
                  <a:pt x="8264" y="1251"/>
                  <a:pt x="8300" y="1346"/>
                  <a:pt x="8300" y="1430"/>
                </a:cubicBezTo>
                <a:lnTo>
                  <a:pt x="8300" y="4454"/>
                </a:lnTo>
                <a:cubicBezTo>
                  <a:pt x="8300" y="4549"/>
                  <a:pt x="8371" y="4621"/>
                  <a:pt x="8454" y="4621"/>
                </a:cubicBezTo>
                <a:cubicBezTo>
                  <a:pt x="8550" y="4621"/>
                  <a:pt x="8621" y="4549"/>
                  <a:pt x="8621" y="4454"/>
                </a:cubicBezTo>
                <a:lnTo>
                  <a:pt x="8621" y="2168"/>
                </a:lnTo>
                <a:cubicBezTo>
                  <a:pt x="8621" y="1954"/>
                  <a:pt x="8788" y="1787"/>
                  <a:pt x="8990" y="1787"/>
                </a:cubicBezTo>
                <a:cubicBezTo>
                  <a:pt x="9097" y="1787"/>
                  <a:pt x="9193" y="1835"/>
                  <a:pt x="9252" y="1894"/>
                </a:cubicBezTo>
                <a:cubicBezTo>
                  <a:pt x="9324" y="1966"/>
                  <a:pt x="9347" y="2061"/>
                  <a:pt x="9347" y="2144"/>
                </a:cubicBezTo>
                <a:lnTo>
                  <a:pt x="9324" y="5883"/>
                </a:lnTo>
                <a:lnTo>
                  <a:pt x="9324" y="5918"/>
                </a:lnTo>
                <a:cubicBezTo>
                  <a:pt x="9312" y="6180"/>
                  <a:pt x="9228" y="6430"/>
                  <a:pt x="9085" y="6657"/>
                </a:cubicBezTo>
                <a:cubicBezTo>
                  <a:pt x="9038" y="6728"/>
                  <a:pt x="9050" y="6835"/>
                  <a:pt x="9133" y="6883"/>
                </a:cubicBezTo>
                <a:cubicBezTo>
                  <a:pt x="9158" y="6900"/>
                  <a:pt x="9188" y="6908"/>
                  <a:pt x="9218" y="6908"/>
                </a:cubicBezTo>
                <a:cubicBezTo>
                  <a:pt x="9271" y="6908"/>
                  <a:pt x="9324" y="6881"/>
                  <a:pt x="9347" y="6835"/>
                </a:cubicBezTo>
                <a:cubicBezTo>
                  <a:pt x="9526" y="6585"/>
                  <a:pt x="9621" y="6299"/>
                  <a:pt x="9645" y="6002"/>
                </a:cubicBezTo>
                <a:lnTo>
                  <a:pt x="9978" y="5752"/>
                </a:lnTo>
                <a:cubicBezTo>
                  <a:pt x="10336" y="5573"/>
                  <a:pt x="10395" y="5144"/>
                  <a:pt x="10157" y="4847"/>
                </a:cubicBezTo>
                <a:cubicBezTo>
                  <a:pt x="10086" y="4740"/>
                  <a:pt x="9967" y="4668"/>
                  <a:pt x="9847" y="4621"/>
                </a:cubicBezTo>
                <a:lnTo>
                  <a:pt x="9967" y="4525"/>
                </a:lnTo>
                <a:cubicBezTo>
                  <a:pt x="10109" y="4406"/>
                  <a:pt x="10205" y="4263"/>
                  <a:pt x="10228" y="4073"/>
                </a:cubicBezTo>
                <a:cubicBezTo>
                  <a:pt x="10264" y="3894"/>
                  <a:pt x="10205" y="3716"/>
                  <a:pt x="10097" y="3561"/>
                </a:cubicBezTo>
                <a:cubicBezTo>
                  <a:pt x="10026" y="3454"/>
                  <a:pt x="9907" y="3382"/>
                  <a:pt x="9788" y="3335"/>
                </a:cubicBezTo>
                <a:lnTo>
                  <a:pt x="9919" y="3239"/>
                </a:lnTo>
                <a:cubicBezTo>
                  <a:pt x="10062" y="3120"/>
                  <a:pt x="10157" y="2966"/>
                  <a:pt x="10181" y="2775"/>
                </a:cubicBezTo>
                <a:cubicBezTo>
                  <a:pt x="10217" y="2597"/>
                  <a:pt x="10157" y="2418"/>
                  <a:pt x="10050" y="2263"/>
                </a:cubicBezTo>
                <a:cubicBezTo>
                  <a:pt x="9967" y="2144"/>
                  <a:pt x="9847" y="2073"/>
                  <a:pt x="9705" y="2025"/>
                </a:cubicBezTo>
                <a:cubicBezTo>
                  <a:pt x="9681" y="1906"/>
                  <a:pt x="9621" y="1811"/>
                  <a:pt x="9526" y="1715"/>
                </a:cubicBezTo>
                <a:cubicBezTo>
                  <a:pt x="9395" y="1585"/>
                  <a:pt x="9228" y="1513"/>
                  <a:pt x="9038" y="1513"/>
                </a:cubicBezTo>
                <a:cubicBezTo>
                  <a:pt x="8907" y="1513"/>
                  <a:pt x="8788" y="1549"/>
                  <a:pt x="8669" y="1608"/>
                </a:cubicBezTo>
                <a:lnTo>
                  <a:pt x="8669" y="1465"/>
                </a:lnTo>
                <a:cubicBezTo>
                  <a:pt x="8669" y="1287"/>
                  <a:pt x="8597" y="1108"/>
                  <a:pt x="8454" y="977"/>
                </a:cubicBezTo>
                <a:cubicBezTo>
                  <a:pt x="8323" y="834"/>
                  <a:pt x="8157" y="763"/>
                  <a:pt x="7966" y="763"/>
                </a:cubicBezTo>
                <a:cubicBezTo>
                  <a:pt x="7835" y="763"/>
                  <a:pt x="7716" y="799"/>
                  <a:pt x="7597" y="870"/>
                </a:cubicBezTo>
                <a:lnTo>
                  <a:pt x="7597" y="703"/>
                </a:lnTo>
                <a:cubicBezTo>
                  <a:pt x="7597" y="525"/>
                  <a:pt x="7526" y="346"/>
                  <a:pt x="7383" y="215"/>
                </a:cubicBezTo>
                <a:cubicBezTo>
                  <a:pt x="7252" y="84"/>
                  <a:pt x="7085" y="1"/>
                  <a:pt x="6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22" name="Google Shape;12322;p62"/>
          <p:cNvGrpSpPr/>
          <p:nvPr/>
        </p:nvGrpSpPr>
        <p:grpSpPr>
          <a:xfrm>
            <a:off x="4883835" y="1992571"/>
            <a:ext cx="350300" cy="323043"/>
            <a:chOff x="4883835" y="1992571"/>
            <a:chExt cx="350300" cy="323043"/>
          </a:xfrm>
        </p:grpSpPr>
        <p:sp>
          <p:nvSpPr>
            <p:cNvPr id="12323" name="Google Shape;12323;p62"/>
            <p:cNvSpPr/>
            <p:nvPr/>
          </p:nvSpPr>
          <p:spPr>
            <a:xfrm>
              <a:off x="4883835" y="1992571"/>
              <a:ext cx="350300" cy="123085"/>
            </a:xfrm>
            <a:custGeom>
              <a:avLst/>
              <a:gdLst/>
              <a:ahLst/>
              <a:cxnLst/>
              <a:rect l="l" t="t" r="r" b="b"/>
              <a:pathLst>
                <a:path w="11014" h="3870" extrusionOk="0">
                  <a:moveTo>
                    <a:pt x="8323" y="298"/>
                  </a:moveTo>
                  <a:cubicBezTo>
                    <a:pt x="9430" y="298"/>
                    <a:pt x="10335" y="393"/>
                    <a:pt x="10704" y="429"/>
                  </a:cubicBezTo>
                  <a:lnTo>
                    <a:pt x="10704" y="762"/>
                  </a:lnTo>
                  <a:cubicBezTo>
                    <a:pt x="10645" y="846"/>
                    <a:pt x="10562" y="1060"/>
                    <a:pt x="10562" y="1417"/>
                  </a:cubicBezTo>
                  <a:cubicBezTo>
                    <a:pt x="10562" y="2179"/>
                    <a:pt x="10419" y="2691"/>
                    <a:pt x="10145" y="3025"/>
                  </a:cubicBezTo>
                  <a:cubicBezTo>
                    <a:pt x="9930" y="3263"/>
                    <a:pt x="9621" y="3382"/>
                    <a:pt x="9395" y="3441"/>
                  </a:cubicBezTo>
                  <a:cubicBezTo>
                    <a:pt x="9097" y="3513"/>
                    <a:pt x="8787" y="3513"/>
                    <a:pt x="8490" y="3525"/>
                  </a:cubicBezTo>
                  <a:cubicBezTo>
                    <a:pt x="8097" y="3525"/>
                    <a:pt x="7728" y="3525"/>
                    <a:pt x="7406" y="3370"/>
                  </a:cubicBezTo>
                  <a:cubicBezTo>
                    <a:pt x="6990" y="3155"/>
                    <a:pt x="6728" y="2739"/>
                    <a:pt x="6537" y="2393"/>
                  </a:cubicBezTo>
                  <a:cubicBezTo>
                    <a:pt x="6430" y="2191"/>
                    <a:pt x="6347" y="1965"/>
                    <a:pt x="6275" y="1739"/>
                  </a:cubicBezTo>
                  <a:cubicBezTo>
                    <a:pt x="6180" y="1429"/>
                    <a:pt x="5894" y="1203"/>
                    <a:pt x="5573" y="1203"/>
                  </a:cubicBezTo>
                  <a:lnTo>
                    <a:pt x="5454" y="1203"/>
                  </a:lnTo>
                  <a:cubicBezTo>
                    <a:pt x="5120" y="1203"/>
                    <a:pt x="4847" y="1429"/>
                    <a:pt x="4751" y="1739"/>
                  </a:cubicBezTo>
                  <a:cubicBezTo>
                    <a:pt x="4692" y="1965"/>
                    <a:pt x="4608" y="2191"/>
                    <a:pt x="4489" y="2393"/>
                  </a:cubicBezTo>
                  <a:cubicBezTo>
                    <a:pt x="4311" y="2739"/>
                    <a:pt x="4037" y="3155"/>
                    <a:pt x="3620" y="3370"/>
                  </a:cubicBezTo>
                  <a:cubicBezTo>
                    <a:pt x="3311" y="3513"/>
                    <a:pt x="2918" y="3525"/>
                    <a:pt x="2537" y="3525"/>
                  </a:cubicBezTo>
                  <a:cubicBezTo>
                    <a:pt x="2239" y="3525"/>
                    <a:pt x="1906" y="3513"/>
                    <a:pt x="1632" y="3441"/>
                  </a:cubicBezTo>
                  <a:cubicBezTo>
                    <a:pt x="1406" y="3382"/>
                    <a:pt x="1108" y="3275"/>
                    <a:pt x="882" y="3025"/>
                  </a:cubicBezTo>
                  <a:cubicBezTo>
                    <a:pt x="596" y="2715"/>
                    <a:pt x="465" y="2179"/>
                    <a:pt x="465" y="1417"/>
                  </a:cubicBezTo>
                  <a:cubicBezTo>
                    <a:pt x="465" y="1048"/>
                    <a:pt x="382" y="846"/>
                    <a:pt x="322" y="762"/>
                  </a:cubicBezTo>
                  <a:lnTo>
                    <a:pt x="322" y="429"/>
                  </a:lnTo>
                  <a:cubicBezTo>
                    <a:pt x="691" y="393"/>
                    <a:pt x="1584" y="298"/>
                    <a:pt x="2703" y="298"/>
                  </a:cubicBezTo>
                  <a:cubicBezTo>
                    <a:pt x="3656" y="298"/>
                    <a:pt x="4323" y="572"/>
                    <a:pt x="4632" y="727"/>
                  </a:cubicBezTo>
                  <a:cubicBezTo>
                    <a:pt x="4787" y="810"/>
                    <a:pt x="4942" y="869"/>
                    <a:pt x="5108" y="893"/>
                  </a:cubicBezTo>
                  <a:cubicBezTo>
                    <a:pt x="5245" y="923"/>
                    <a:pt x="5379" y="938"/>
                    <a:pt x="5513" y="938"/>
                  </a:cubicBezTo>
                  <a:cubicBezTo>
                    <a:pt x="5647" y="938"/>
                    <a:pt x="5781" y="923"/>
                    <a:pt x="5918" y="893"/>
                  </a:cubicBezTo>
                  <a:cubicBezTo>
                    <a:pt x="6073" y="869"/>
                    <a:pt x="6240" y="810"/>
                    <a:pt x="6394" y="727"/>
                  </a:cubicBezTo>
                  <a:cubicBezTo>
                    <a:pt x="6704" y="572"/>
                    <a:pt x="7371" y="298"/>
                    <a:pt x="8323" y="298"/>
                  </a:cubicBezTo>
                  <a:close/>
                  <a:moveTo>
                    <a:pt x="2715" y="0"/>
                  </a:moveTo>
                  <a:cubicBezTo>
                    <a:pt x="1548" y="0"/>
                    <a:pt x="620" y="96"/>
                    <a:pt x="263" y="131"/>
                  </a:cubicBezTo>
                  <a:cubicBezTo>
                    <a:pt x="108" y="155"/>
                    <a:pt x="1" y="274"/>
                    <a:pt x="1" y="417"/>
                  </a:cubicBezTo>
                  <a:lnTo>
                    <a:pt x="1" y="786"/>
                  </a:lnTo>
                  <a:cubicBezTo>
                    <a:pt x="1" y="846"/>
                    <a:pt x="24" y="893"/>
                    <a:pt x="48" y="953"/>
                  </a:cubicBezTo>
                  <a:cubicBezTo>
                    <a:pt x="84" y="989"/>
                    <a:pt x="155" y="1131"/>
                    <a:pt x="155" y="1441"/>
                  </a:cubicBezTo>
                  <a:cubicBezTo>
                    <a:pt x="155" y="2298"/>
                    <a:pt x="322" y="2870"/>
                    <a:pt x="644" y="3263"/>
                  </a:cubicBezTo>
                  <a:cubicBezTo>
                    <a:pt x="858" y="3501"/>
                    <a:pt x="1167" y="3679"/>
                    <a:pt x="1548" y="3787"/>
                  </a:cubicBezTo>
                  <a:cubicBezTo>
                    <a:pt x="1882" y="3858"/>
                    <a:pt x="2227" y="3870"/>
                    <a:pt x="2537" y="3870"/>
                  </a:cubicBezTo>
                  <a:cubicBezTo>
                    <a:pt x="2953" y="3870"/>
                    <a:pt x="3382" y="3858"/>
                    <a:pt x="3763" y="3679"/>
                  </a:cubicBezTo>
                  <a:cubicBezTo>
                    <a:pt x="4263" y="3441"/>
                    <a:pt x="4573" y="2965"/>
                    <a:pt x="4763" y="2572"/>
                  </a:cubicBezTo>
                  <a:cubicBezTo>
                    <a:pt x="4882" y="2358"/>
                    <a:pt x="4989" y="2120"/>
                    <a:pt x="5049" y="1858"/>
                  </a:cubicBezTo>
                  <a:cubicBezTo>
                    <a:pt x="5097" y="1679"/>
                    <a:pt x="5263" y="1560"/>
                    <a:pt x="5430" y="1560"/>
                  </a:cubicBezTo>
                  <a:lnTo>
                    <a:pt x="5549" y="1560"/>
                  </a:lnTo>
                  <a:cubicBezTo>
                    <a:pt x="5728" y="1560"/>
                    <a:pt x="5894" y="1679"/>
                    <a:pt x="5942" y="1858"/>
                  </a:cubicBezTo>
                  <a:cubicBezTo>
                    <a:pt x="6013" y="2096"/>
                    <a:pt x="6109" y="2334"/>
                    <a:pt x="6228" y="2572"/>
                  </a:cubicBezTo>
                  <a:cubicBezTo>
                    <a:pt x="6430" y="2965"/>
                    <a:pt x="6728" y="3441"/>
                    <a:pt x="7216" y="3679"/>
                  </a:cubicBezTo>
                  <a:cubicBezTo>
                    <a:pt x="7585" y="3858"/>
                    <a:pt x="7966" y="3870"/>
                    <a:pt x="8347" y="3870"/>
                  </a:cubicBezTo>
                  <a:lnTo>
                    <a:pt x="8454" y="3870"/>
                  </a:lnTo>
                  <a:cubicBezTo>
                    <a:pt x="8764" y="3870"/>
                    <a:pt x="9109" y="3858"/>
                    <a:pt x="9442" y="3787"/>
                  </a:cubicBezTo>
                  <a:cubicBezTo>
                    <a:pt x="9811" y="3691"/>
                    <a:pt x="10121" y="3513"/>
                    <a:pt x="10347" y="3263"/>
                  </a:cubicBezTo>
                  <a:cubicBezTo>
                    <a:pt x="10669" y="2870"/>
                    <a:pt x="10835" y="2298"/>
                    <a:pt x="10835" y="1441"/>
                  </a:cubicBezTo>
                  <a:cubicBezTo>
                    <a:pt x="10835" y="1131"/>
                    <a:pt x="10907" y="1000"/>
                    <a:pt x="10943" y="953"/>
                  </a:cubicBezTo>
                  <a:cubicBezTo>
                    <a:pt x="10966" y="905"/>
                    <a:pt x="10990" y="846"/>
                    <a:pt x="10990" y="786"/>
                  </a:cubicBezTo>
                  <a:lnTo>
                    <a:pt x="10990" y="417"/>
                  </a:lnTo>
                  <a:cubicBezTo>
                    <a:pt x="11014" y="274"/>
                    <a:pt x="10919" y="155"/>
                    <a:pt x="10776" y="131"/>
                  </a:cubicBezTo>
                  <a:cubicBezTo>
                    <a:pt x="10442" y="96"/>
                    <a:pt x="9502" y="0"/>
                    <a:pt x="8323" y="0"/>
                  </a:cubicBezTo>
                  <a:cubicBezTo>
                    <a:pt x="7299" y="0"/>
                    <a:pt x="6585" y="298"/>
                    <a:pt x="6240" y="477"/>
                  </a:cubicBezTo>
                  <a:cubicBezTo>
                    <a:pt x="6120" y="536"/>
                    <a:pt x="5990" y="596"/>
                    <a:pt x="5859" y="608"/>
                  </a:cubicBezTo>
                  <a:cubicBezTo>
                    <a:pt x="5745" y="631"/>
                    <a:pt x="5632" y="643"/>
                    <a:pt x="5519" y="643"/>
                  </a:cubicBezTo>
                  <a:cubicBezTo>
                    <a:pt x="5406" y="643"/>
                    <a:pt x="5293" y="631"/>
                    <a:pt x="5180" y="608"/>
                  </a:cubicBezTo>
                  <a:cubicBezTo>
                    <a:pt x="5049" y="584"/>
                    <a:pt x="4918" y="536"/>
                    <a:pt x="4799" y="477"/>
                  </a:cubicBezTo>
                  <a:cubicBezTo>
                    <a:pt x="4454" y="298"/>
                    <a:pt x="3739" y="0"/>
                    <a:pt x="2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4" name="Google Shape;12324;p62"/>
            <p:cNvSpPr/>
            <p:nvPr/>
          </p:nvSpPr>
          <p:spPr>
            <a:xfrm>
              <a:off x="5084174" y="2009237"/>
              <a:ext cx="130655" cy="88641"/>
            </a:xfrm>
            <a:custGeom>
              <a:avLst/>
              <a:gdLst/>
              <a:ahLst/>
              <a:cxnLst/>
              <a:rect l="l" t="t" r="r" b="b"/>
              <a:pathLst>
                <a:path w="4108" h="2787" extrusionOk="0">
                  <a:moveTo>
                    <a:pt x="2036" y="345"/>
                  </a:moveTo>
                  <a:cubicBezTo>
                    <a:pt x="2750" y="345"/>
                    <a:pt x="3381" y="381"/>
                    <a:pt x="3786" y="417"/>
                  </a:cubicBezTo>
                  <a:cubicBezTo>
                    <a:pt x="3739" y="548"/>
                    <a:pt x="3727" y="715"/>
                    <a:pt x="3727" y="905"/>
                  </a:cubicBezTo>
                  <a:cubicBezTo>
                    <a:pt x="3727" y="1679"/>
                    <a:pt x="3572" y="2012"/>
                    <a:pt x="3441" y="2155"/>
                  </a:cubicBezTo>
                  <a:cubicBezTo>
                    <a:pt x="3322" y="2286"/>
                    <a:pt x="3131" y="2370"/>
                    <a:pt x="2977" y="2393"/>
                  </a:cubicBezTo>
                  <a:cubicBezTo>
                    <a:pt x="2739" y="2453"/>
                    <a:pt x="2477" y="2453"/>
                    <a:pt x="2191" y="2465"/>
                  </a:cubicBezTo>
                  <a:lnTo>
                    <a:pt x="2096" y="2465"/>
                  </a:lnTo>
                  <a:cubicBezTo>
                    <a:pt x="1786" y="2465"/>
                    <a:pt x="1536" y="2453"/>
                    <a:pt x="1357" y="2370"/>
                  </a:cubicBezTo>
                  <a:cubicBezTo>
                    <a:pt x="1143" y="2262"/>
                    <a:pt x="953" y="2036"/>
                    <a:pt x="750" y="1631"/>
                  </a:cubicBezTo>
                  <a:cubicBezTo>
                    <a:pt x="655" y="1453"/>
                    <a:pt x="583" y="1274"/>
                    <a:pt x="524" y="1084"/>
                  </a:cubicBezTo>
                  <a:cubicBezTo>
                    <a:pt x="488" y="953"/>
                    <a:pt x="429" y="834"/>
                    <a:pt x="357" y="715"/>
                  </a:cubicBezTo>
                  <a:cubicBezTo>
                    <a:pt x="631" y="584"/>
                    <a:pt x="1203" y="345"/>
                    <a:pt x="2036" y="345"/>
                  </a:cubicBezTo>
                  <a:close/>
                  <a:moveTo>
                    <a:pt x="2024" y="0"/>
                  </a:moveTo>
                  <a:cubicBezTo>
                    <a:pt x="1119" y="0"/>
                    <a:pt x="476" y="250"/>
                    <a:pt x="191" y="417"/>
                  </a:cubicBezTo>
                  <a:cubicBezTo>
                    <a:pt x="107" y="465"/>
                    <a:pt x="48" y="536"/>
                    <a:pt x="36" y="619"/>
                  </a:cubicBezTo>
                  <a:cubicBezTo>
                    <a:pt x="0" y="715"/>
                    <a:pt x="36" y="798"/>
                    <a:pt x="72" y="893"/>
                  </a:cubicBezTo>
                  <a:cubicBezTo>
                    <a:pt x="131" y="977"/>
                    <a:pt x="179" y="1072"/>
                    <a:pt x="214" y="1155"/>
                  </a:cubicBezTo>
                  <a:cubicBezTo>
                    <a:pt x="274" y="1369"/>
                    <a:pt x="357" y="1572"/>
                    <a:pt x="453" y="1774"/>
                  </a:cubicBezTo>
                  <a:cubicBezTo>
                    <a:pt x="703" y="2250"/>
                    <a:pt x="929" y="2512"/>
                    <a:pt x="1203" y="2643"/>
                  </a:cubicBezTo>
                  <a:cubicBezTo>
                    <a:pt x="1441" y="2762"/>
                    <a:pt x="1738" y="2786"/>
                    <a:pt x="2096" y="2786"/>
                  </a:cubicBezTo>
                  <a:lnTo>
                    <a:pt x="2203" y="2786"/>
                  </a:lnTo>
                  <a:cubicBezTo>
                    <a:pt x="2500" y="2786"/>
                    <a:pt x="2798" y="2762"/>
                    <a:pt x="3072" y="2703"/>
                  </a:cubicBezTo>
                  <a:cubicBezTo>
                    <a:pt x="3262" y="2667"/>
                    <a:pt x="3512" y="2560"/>
                    <a:pt x="3691" y="2370"/>
                  </a:cubicBezTo>
                  <a:cubicBezTo>
                    <a:pt x="3929" y="2084"/>
                    <a:pt x="4048" y="1608"/>
                    <a:pt x="4048" y="905"/>
                  </a:cubicBezTo>
                  <a:cubicBezTo>
                    <a:pt x="4048" y="762"/>
                    <a:pt x="4060" y="607"/>
                    <a:pt x="4096" y="476"/>
                  </a:cubicBezTo>
                  <a:cubicBezTo>
                    <a:pt x="4108" y="381"/>
                    <a:pt x="4096" y="286"/>
                    <a:pt x="4036" y="203"/>
                  </a:cubicBezTo>
                  <a:cubicBezTo>
                    <a:pt x="3977" y="131"/>
                    <a:pt x="3893" y="84"/>
                    <a:pt x="3798" y="72"/>
                  </a:cubicBezTo>
                  <a:cubicBezTo>
                    <a:pt x="3393" y="48"/>
                    <a:pt x="2750"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5" name="Google Shape;12325;p62"/>
            <p:cNvSpPr/>
            <p:nvPr/>
          </p:nvSpPr>
          <p:spPr>
            <a:xfrm>
              <a:off x="4904285" y="2009237"/>
              <a:ext cx="130687" cy="88641"/>
            </a:xfrm>
            <a:custGeom>
              <a:avLst/>
              <a:gdLst/>
              <a:ahLst/>
              <a:cxnLst/>
              <a:rect l="l" t="t" r="r" b="b"/>
              <a:pathLst>
                <a:path w="4109" h="2787" extrusionOk="0">
                  <a:moveTo>
                    <a:pt x="2084" y="310"/>
                  </a:moveTo>
                  <a:cubicBezTo>
                    <a:pt x="2918" y="322"/>
                    <a:pt x="3501" y="560"/>
                    <a:pt x="3763" y="715"/>
                  </a:cubicBezTo>
                  <a:cubicBezTo>
                    <a:pt x="3692" y="834"/>
                    <a:pt x="3632" y="953"/>
                    <a:pt x="3608" y="1072"/>
                  </a:cubicBezTo>
                  <a:cubicBezTo>
                    <a:pt x="3549" y="1262"/>
                    <a:pt x="3465" y="1441"/>
                    <a:pt x="3382" y="1619"/>
                  </a:cubicBezTo>
                  <a:cubicBezTo>
                    <a:pt x="3168" y="2024"/>
                    <a:pt x="2977" y="2239"/>
                    <a:pt x="2775" y="2346"/>
                  </a:cubicBezTo>
                  <a:cubicBezTo>
                    <a:pt x="2596" y="2441"/>
                    <a:pt x="2334" y="2453"/>
                    <a:pt x="2025" y="2453"/>
                  </a:cubicBezTo>
                  <a:lnTo>
                    <a:pt x="1941" y="2453"/>
                  </a:lnTo>
                  <a:cubicBezTo>
                    <a:pt x="1656" y="2453"/>
                    <a:pt x="1382" y="2441"/>
                    <a:pt x="1144" y="2381"/>
                  </a:cubicBezTo>
                  <a:cubicBezTo>
                    <a:pt x="1001" y="2346"/>
                    <a:pt x="810" y="2274"/>
                    <a:pt x="691" y="2143"/>
                  </a:cubicBezTo>
                  <a:cubicBezTo>
                    <a:pt x="548" y="1989"/>
                    <a:pt x="405" y="1667"/>
                    <a:pt x="405" y="893"/>
                  </a:cubicBezTo>
                  <a:cubicBezTo>
                    <a:pt x="405" y="715"/>
                    <a:pt x="394" y="548"/>
                    <a:pt x="346" y="381"/>
                  </a:cubicBezTo>
                  <a:cubicBezTo>
                    <a:pt x="751" y="357"/>
                    <a:pt x="1370" y="310"/>
                    <a:pt x="2084" y="310"/>
                  </a:cubicBezTo>
                  <a:close/>
                  <a:moveTo>
                    <a:pt x="2084" y="0"/>
                  </a:moveTo>
                  <a:cubicBezTo>
                    <a:pt x="1358" y="0"/>
                    <a:pt x="727" y="48"/>
                    <a:pt x="310" y="72"/>
                  </a:cubicBezTo>
                  <a:cubicBezTo>
                    <a:pt x="227" y="84"/>
                    <a:pt x="132" y="131"/>
                    <a:pt x="72" y="203"/>
                  </a:cubicBezTo>
                  <a:cubicBezTo>
                    <a:pt x="13" y="286"/>
                    <a:pt x="1" y="369"/>
                    <a:pt x="13" y="476"/>
                  </a:cubicBezTo>
                  <a:cubicBezTo>
                    <a:pt x="48" y="607"/>
                    <a:pt x="60" y="738"/>
                    <a:pt x="60" y="905"/>
                  </a:cubicBezTo>
                  <a:cubicBezTo>
                    <a:pt x="60" y="1608"/>
                    <a:pt x="179" y="2096"/>
                    <a:pt x="417" y="2370"/>
                  </a:cubicBezTo>
                  <a:cubicBezTo>
                    <a:pt x="596" y="2572"/>
                    <a:pt x="846" y="2667"/>
                    <a:pt x="1048" y="2703"/>
                  </a:cubicBezTo>
                  <a:cubicBezTo>
                    <a:pt x="1310" y="2762"/>
                    <a:pt x="1608" y="2786"/>
                    <a:pt x="1906" y="2786"/>
                  </a:cubicBezTo>
                  <a:lnTo>
                    <a:pt x="2013" y="2786"/>
                  </a:lnTo>
                  <a:cubicBezTo>
                    <a:pt x="2370" y="2786"/>
                    <a:pt x="2668" y="2751"/>
                    <a:pt x="2906" y="2643"/>
                  </a:cubicBezTo>
                  <a:cubicBezTo>
                    <a:pt x="3191" y="2512"/>
                    <a:pt x="3430" y="2250"/>
                    <a:pt x="3668" y="1774"/>
                  </a:cubicBezTo>
                  <a:cubicBezTo>
                    <a:pt x="3763" y="1572"/>
                    <a:pt x="3846" y="1369"/>
                    <a:pt x="3894" y="1155"/>
                  </a:cubicBezTo>
                  <a:cubicBezTo>
                    <a:pt x="3930" y="1072"/>
                    <a:pt x="3977" y="965"/>
                    <a:pt x="4013" y="893"/>
                  </a:cubicBezTo>
                  <a:cubicBezTo>
                    <a:pt x="4096" y="822"/>
                    <a:pt x="4108" y="715"/>
                    <a:pt x="4073" y="619"/>
                  </a:cubicBezTo>
                  <a:cubicBezTo>
                    <a:pt x="4049" y="536"/>
                    <a:pt x="4001" y="453"/>
                    <a:pt x="3918" y="417"/>
                  </a:cubicBezTo>
                  <a:cubicBezTo>
                    <a:pt x="3620" y="262"/>
                    <a:pt x="2989"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6" name="Google Shape;12326;p62"/>
            <p:cNvSpPr/>
            <p:nvPr/>
          </p:nvSpPr>
          <p:spPr>
            <a:xfrm>
              <a:off x="4943660" y="2123576"/>
              <a:ext cx="231413" cy="66631"/>
            </a:xfrm>
            <a:custGeom>
              <a:avLst/>
              <a:gdLst/>
              <a:ahLst/>
              <a:cxnLst/>
              <a:rect l="l" t="t" r="r" b="b"/>
              <a:pathLst>
                <a:path w="7276" h="2095" extrusionOk="0">
                  <a:moveTo>
                    <a:pt x="4549" y="346"/>
                  </a:moveTo>
                  <a:cubicBezTo>
                    <a:pt x="4942" y="346"/>
                    <a:pt x="5263" y="632"/>
                    <a:pt x="5561" y="894"/>
                  </a:cubicBezTo>
                  <a:cubicBezTo>
                    <a:pt x="5859" y="1168"/>
                    <a:pt x="6144" y="1406"/>
                    <a:pt x="6502" y="1406"/>
                  </a:cubicBezTo>
                  <a:cubicBezTo>
                    <a:pt x="6609" y="1406"/>
                    <a:pt x="6692" y="1394"/>
                    <a:pt x="6764" y="1358"/>
                  </a:cubicBezTo>
                  <a:lnTo>
                    <a:pt x="6764" y="1358"/>
                  </a:lnTo>
                  <a:cubicBezTo>
                    <a:pt x="6692" y="1489"/>
                    <a:pt x="6537" y="1596"/>
                    <a:pt x="6335" y="1668"/>
                  </a:cubicBezTo>
                  <a:cubicBezTo>
                    <a:pt x="6227" y="1713"/>
                    <a:pt x="6071" y="1756"/>
                    <a:pt x="5873" y="1756"/>
                  </a:cubicBezTo>
                  <a:cubicBezTo>
                    <a:pt x="5656" y="1756"/>
                    <a:pt x="5390" y="1704"/>
                    <a:pt x="5085" y="1549"/>
                  </a:cubicBezTo>
                  <a:cubicBezTo>
                    <a:pt x="4833" y="1423"/>
                    <a:pt x="4182" y="1131"/>
                    <a:pt x="3720" y="1131"/>
                  </a:cubicBezTo>
                  <a:cubicBezTo>
                    <a:pt x="3702" y="1131"/>
                    <a:pt x="3685" y="1131"/>
                    <a:pt x="3668" y="1132"/>
                  </a:cubicBezTo>
                  <a:lnTo>
                    <a:pt x="3597" y="1132"/>
                  </a:lnTo>
                  <a:cubicBezTo>
                    <a:pt x="3572" y="1130"/>
                    <a:pt x="3548" y="1129"/>
                    <a:pt x="3522" y="1129"/>
                  </a:cubicBezTo>
                  <a:cubicBezTo>
                    <a:pt x="3063" y="1129"/>
                    <a:pt x="2439" y="1425"/>
                    <a:pt x="2180" y="1549"/>
                  </a:cubicBezTo>
                  <a:cubicBezTo>
                    <a:pt x="1885" y="1702"/>
                    <a:pt x="1622" y="1751"/>
                    <a:pt x="1405" y="1751"/>
                  </a:cubicBezTo>
                  <a:cubicBezTo>
                    <a:pt x="1202" y="1751"/>
                    <a:pt x="1039" y="1708"/>
                    <a:pt x="930" y="1668"/>
                  </a:cubicBezTo>
                  <a:cubicBezTo>
                    <a:pt x="739" y="1596"/>
                    <a:pt x="572" y="1489"/>
                    <a:pt x="489" y="1358"/>
                  </a:cubicBezTo>
                  <a:lnTo>
                    <a:pt x="489" y="1358"/>
                  </a:lnTo>
                  <a:cubicBezTo>
                    <a:pt x="560" y="1394"/>
                    <a:pt x="656" y="1406"/>
                    <a:pt x="751" y="1406"/>
                  </a:cubicBezTo>
                  <a:cubicBezTo>
                    <a:pt x="1108" y="1406"/>
                    <a:pt x="1394" y="1156"/>
                    <a:pt x="1692" y="894"/>
                  </a:cubicBezTo>
                  <a:cubicBezTo>
                    <a:pt x="2001" y="632"/>
                    <a:pt x="2323" y="346"/>
                    <a:pt x="2704" y="346"/>
                  </a:cubicBezTo>
                  <a:cubicBezTo>
                    <a:pt x="2894" y="346"/>
                    <a:pt x="3347" y="394"/>
                    <a:pt x="3466" y="799"/>
                  </a:cubicBezTo>
                  <a:cubicBezTo>
                    <a:pt x="3477" y="870"/>
                    <a:pt x="3549" y="930"/>
                    <a:pt x="3632" y="930"/>
                  </a:cubicBezTo>
                  <a:cubicBezTo>
                    <a:pt x="3704" y="930"/>
                    <a:pt x="3775" y="882"/>
                    <a:pt x="3787" y="799"/>
                  </a:cubicBezTo>
                  <a:cubicBezTo>
                    <a:pt x="3906" y="394"/>
                    <a:pt x="4359" y="346"/>
                    <a:pt x="4549" y="346"/>
                  </a:cubicBezTo>
                  <a:close/>
                  <a:moveTo>
                    <a:pt x="4561" y="1"/>
                  </a:moveTo>
                  <a:cubicBezTo>
                    <a:pt x="4061" y="1"/>
                    <a:pt x="3787" y="215"/>
                    <a:pt x="3644" y="406"/>
                  </a:cubicBezTo>
                  <a:cubicBezTo>
                    <a:pt x="3608" y="358"/>
                    <a:pt x="3573" y="310"/>
                    <a:pt x="3513" y="275"/>
                  </a:cubicBezTo>
                  <a:cubicBezTo>
                    <a:pt x="3311" y="96"/>
                    <a:pt x="3049" y="25"/>
                    <a:pt x="2704" y="25"/>
                  </a:cubicBezTo>
                  <a:cubicBezTo>
                    <a:pt x="2180" y="25"/>
                    <a:pt x="1811" y="346"/>
                    <a:pt x="1465" y="644"/>
                  </a:cubicBezTo>
                  <a:cubicBezTo>
                    <a:pt x="1215" y="870"/>
                    <a:pt x="977" y="1072"/>
                    <a:pt x="739" y="1072"/>
                  </a:cubicBezTo>
                  <a:cubicBezTo>
                    <a:pt x="620" y="1072"/>
                    <a:pt x="549" y="1049"/>
                    <a:pt x="513" y="1013"/>
                  </a:cubicBezTo>
                  <a:cubicBezTo>
                    <a:pt x="489" y="977"/>
                    <a:pt x="489" y="882"/>
                    <a:pt x="537" y="775"/>
                  </a:cubicBezTo>
                  <a:cubicBezTo>
                    <a:pt x="560" y="703"/>
                    <a:pt x="537" y="608"/>
                    <a:pt x="453" y="572"/>
                  </a:cubicBezTo>
                  <a:cubicBezTo>
                    <a:pt x="426" y="554"/>
                    <a:pt x="396" y="545"/>
                    <a:pt x="367" y="545"/>
                  </a:cubicBezTo>
                  <a:cubicBezTo>
                    <a:pt x="321" y="545"/>
                    <a:pt x="276" y="569"/>
                    <a:pt x="239" y="620"/>
                  </a:cubicBezTo>
                  <a:cubicBezTo>
                    <a:pt x="60" y="834"/>
                    <a:pt x="1" y="1120"/>
                    <a:pt x="96" y="1358"/>
                  </a:cubicBezTo>
                  <a:cubicBezTo>
                    <a:pt x="203" y="1632"/>
                    <a:pt x="477" y="1870"/>
                    <a:pt x="810" y="1989"/>
                  </a:cubicBezTo>
                  <a:cubicBezTo>
                    <a:pt x="994" y="2060"/>
                    <a:pt x="1188" y="2095"/>
                    <a:pt x="1388" y="2095"/>
                  </a:cubicBezTo>
                  <a:cubicBezTo>
                    <a:pt x="1694" y="2095"/>
                    <a:pt x="2013" y="2012"/>
                    <a:pt x="2323" y="1846"/>
                  </a:cubicBezTo>
                  <a:cubicBezTo>
                    <a:pt x="3073" y="1465"/>
                    <a:pt x="3466" y="1465"/>
                    <a:pt x="3573" y="1465"/>
                  </a:cubicBezTo>
                  <a:lnTo>
                    <a:pt x="3692" y="1465"/>
                  </a:lnTo>
                  <a:cubicBezTo>
                    <a:pt x="3704" y="1464"/>
                    <a:pt x="3721" y="1463"/>
                    <a:pt x="3744" y="1463"/>
                  </a:cubicBezTo>
                  <a:cubicBezTo>
                    <a:pt x="3895" y="1463"/>
                    <a:pt x="4278" y="1515"/>
                    <a:pt x="4942" y="1846"/>
                  </a:cubicBezTo>
                  <a:cubicBezTo>
                    <a:pt x="5240" y="2001"/>
                    <a:pt x="5561" y="2084"/>
                    <a:pt x="5859" y="2084"/>
                  </a:cubicBezTo>
                  <a:cubicBezTo>
                    <a:pt x="6073" y="2084"/>
                    <a:pt x="6264" y="2061"/>
                    <a:pt x="6442" y="1989"/>
                  </a:cubicBezTo>
                  <a:cubicBezTo>
                    <a:pt x="6787" y="1846"/>
                    <a:pt x="7049" y="1632"/>
                    <a:pt x="7157" y="1358"/>
                  </a:cubicBezTo>
                  <a:cubicBezTo>
                    <a:pt x="7276" y="1108"/>
                    <a:pt x="7216" y="834"/>
                    <a:pt x="7037" y="596"/>
                  </a:cubicBezTo>
                  <a:cubicBezTo>
                    <a:pt x="7002" y="553"/>
                    <a:pt x="6957" y="532"/>
                    <a:pt x="6910" y="532"/>
                  </a:cubicBezTo>
                  <a:cubicBezTo>
                    <a:pt x="6878" y="532"/>
                    <a:pt x="6845" y="541"/>
                    <a:pt x="6811" y="560"/>
                  </a:cubicBezTo>
                  <a:cubicBezTo>
                    <a:pt x="6740" y="596"/>
                    <a:pt x="6704" y="691"/>
                    <a:pt x="6740" y="763"/>
                  </a:cubicBezTo>
                  <a:cubicBezTo>
                    <a:pt x="6776" y="870"/>
                    <a:pt x="6787" y="953"/>
                    <a:pt x="6752" y="1001"/>
                  </a:cubicBezTo>
                  <a:cubicBezTo>
                    <a:pt x="6728" y="1049"/>
                    <a:pt x="6645" y="1061"/>
                    <a:pt x="6525" y="1061"/>
                  </a:cubicBezTo>
                  <a:cubicBezTo>
                    <a:pt x="6299" y="1061"/>
                    <a:pt x="6049" y="858"/>
                    <a:pt x="5799" y="632"/>
                  </a:cubicBezTo>
                  <a:cubicBezTo>
                    <a:pt x="5454" y="334"/>
                    <a:pt x="5085" y="1"/>
                    <a:pt x="4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7" name="Google Shape;12327;p62"/>
            <p:cNvSpPr/>
            <p:nvPr/>
          </p:nvSpPr>
          <p:spPr>
            <a:xfrm>
              <a:off x="5142473" y="2191384"/>
              <a:ext cx="26907" cy="123467"/>
            </a:xfrm>
            <a:custGeom>
              <a:avLst/>
              <a:gdLst/>
              <a:ahLst/>
              <a:cxnLst/>
              <a:rect l="l" t="t" r="r" b="b"/>
              <a:pathLst>
                <a:path w="846" h="3882" extrusionOk="0">
                  <a:moveTo>
                    <a:pt x="501" y="2215"/>
                  </a:moveTo>
                  <a:lnTo>
                    <a:pt x="501" y="3465"/>
                  </a:lnTo>
                  <a:lnTo>
                    <a:pt x="525" y="3465"/>
                  </a:lnTo>
                  <a:cubicBezTo>
                    <a:pt x="525" y="3524"/>
                    <a:pt x="477" y="3572"/>
                    <a:pt x="417" y="3572"/>
                  </a:cubicBezTo>
                  <a:cubicBezTo>
                    <a:pt x="358" y="3572"/>
                    <a:pt x="310" y="3524"/>
                    <a:pt x="310" y="3465"/>
                  </a:cubicBezTo>
                  <a:lnTo>
                    <a:pt x="310" y="2215"/>
                  </a:lnTo>
                  <a:close/>
                  <a:moveTo>
                    <a:pt x="679" y="0"/>
                  </a:moveTo>
                  <a:cubicBezTo>
                    <a:pt x="596" y="0"/>
                    <a:pt x="525" y="72"/>
                    <a:pt x="525" y="167"/>
                  </a:cubicBezTo>
                  <a:lnTo>
                    <a:pt x="525" y="1905"/>
                  </a:lnTo>
                  <a:lnTo>
                    <a:pt x="322" y="1905"/>
                  </a:lnTo>
                  <a:lnTo>
                    <a:pt x="322" y="429"/>
                  </a:lnTo>
                  <a:cubicBezTo>
                    <a:pt x="322" y="345"/>
                    <a:pt x="251" y="274"/>
                    <a:pt x="167" y="274"/>
                  </a:cubicBezTo>
                  <a:cubicBezTo>
                    <a:pt x="72" y="274"/>
                    <a:pt x="1" y="345"/>
                    <a:pt x="1" y="429"/>
                  </a:cubicBezTo>
                  <a:lnTo>
                    <a:pt x="1" y="3465"/>
                  </a:lnTo>
                  <a:cubicBezTo>
                    <a:pt x="1" y="3703"/>
                    <a:pt x="191" y="3882"/>
                    <a:pt x="417" y="3882"/>
                  </a:cubicBezTo>
                  <a:cubicBezTo>
                    <a:pt x="655" y="3882"/>
                    <a:pt x="834" y="3691"/>
                    <a:pt x="834" y="3465"/>
                  </a:cubicBezTo>
                  <a:lnTo>
                    <a:pt x="834" y="167"/>
                  </a:lnTo>
                  <a:cubicBezTo>
                    <a:pt x="846" y="72"/>
                    <a:pt x="775"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8" name="Google Shape;12328;p62"/>
            <p:cNvSpPr/>
            <p:nvPr/>
          </p:nvSpPr>
          <p:spPr>
            <a:xfrm>
              <a:off x="5203825" y="2089513"/>
              <a:ext cx="27289" cy="226102"/>
            </a:xfrm>
            <a:custGeom>
              <a:avLst/>
              <a:gdLst/>
              <a:ahLst/>
              <a:cxnLst/>
              <a:rect l="l" t="t" r="r" b="b"/>
              <a:pathLst>
                <a:path w="858" h="7109" extrusionOk="0">
                  <a:moveTo>
                    <a:pt x="512" y="5418"/>
                  </a:moveTo>
                  <a:lnTo>
                    <a:pt x="512" y="6668"/>
                  </a:lnTo>
                  <a:lnTo>
                    <a:pt x="524" y="6668"/>
                  </a:lnTo>
                  <a:cubicBezTo>
                    <a:pt x="524" y="6727"/>
                    <a:pt x="477" y="6775"/>
                    <a:pt x="417" y="6775"/>
                  </a:cubicBezTo>
                  <a:cubicBezTo>
                    <a:pt x="358" y="6775"/>
                    <a:pt x="310" y="6727"/>
                    <a:pt x="310" y="6668"/>
                  </a:cubicBezTo>
                  <a:lnTo>
                    <a:pt x="310" y="5418"/>
                  </a:lnTo>
                  <a:close/>
                  <a:moveTo>
                    <a:pt x="691" y="0"/>
                  </a:moveTo>
                  <a:cubicBezTo>
                    <a:pt x="596" y="0"/>
                    <a:pt x="524" y="84"/>
                    <a:pt x="524" y="167"/>
                  </a:cubicBezTo>
                  <a:lnTo>
                    <a:pt x="524" y="5108"/>
                  </a:lnTo>
                  <a:lnTo>
                    <a:pt x="334" y="5108"/>
                  </a:lnTo>
                  <a:lnTo>
                    <a:pt x="334" y="703"/>
                  </a:lnTo>
                  <a:cubicBezTo>
                    <a:pt x="334" y="608"/>
                    <a:pt x="262" y="536"/>
                    <a:pt x="167" y="536"/>
                  </a:cubicBezTo>
                  <a:cubicBezTo>
                    <a:pt x="84" y="536"/>
                    <a:pt x="0" y="608"/>
                    <a:pt x="0" y="703"/>
                  </a:cubicBezTo>
                  <a:lnTo>
                    <a:pt x="0" y="6692"/>
                  </a:lnTo>
                  <a:cubicBezTo>
                    <a:pt x="0" y="6930"/>
                    <a:pt x="203" y="7108"/>
                    <a:pt x="417" y="7108"/>
                  </a:cubicBezTo>
                  <a:cubicBezTo>
                    <a:pt x="655" y="7108"/>
                    <a:pt x="834" y="6906"/>
                    <a:pt x="834" y="6692"/>
                  </a:cubicBezTo>
                  <a:lnTo>
                    <a:pt x="834" y="179"/>
                  </a:lnTo>
                  <a:cubicBezTo>
                    <a:pt x="858" y="84"/>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29" name="Google Shape;12329;p62"/>
          <p:cNvGrpSpPr/>
          <p:nvPr/>
        </p:nvGrpSpPr>
        <p:grpSpPr>
          <a:xfrm>
            <a:off x="7548967" y="1978927"/>
            <a:ext cx="333285" cy="349950"/>
            <a:chOff x="7548967" y="1978927"/>
            <a:chExt cx="333285" cy="349950"/>
          </a:xfrm>
        </p:grpSpPr>
        <p:sp>
          <p:nvSpPr>
            <p:cNvPr id="12330" name="Google Shape;12330;p62"/>
            <p:cNvSpPr/>
            <p:nvPr/>
          </p:nvSpPr>
          <p:spPr>
            <a:xfrm>
              <a:off x="7548967" y="1978927"/>
              <a:ext cx="333285" cy="234816"/>
            </a:xfrm>
            <a:custGeom>
              <a:avLst/>
              <a:gdLst/>
              <a:ahLst/>
              <a:cxnLst/>
              <a:rect l="l" t="t" r="r" b="b"/>
              <a:pathLst>
                <a:path w="10479" h="7383" extrusionOk="0">
                  <a:moveTo>
                    <a:pt x="8978" y="286"/>
                  </a:moveTo>
                  <a:cubicBezTo>
                    <a:pt x="9633" y="298"/>
                    <a:pt x="10145" y="834"/>
                    <a:pt x="10145" y="1489"/>
                  </a:cubicBezTo>
                  <a:cubicBezTo>
                    <a:pt x="10121" y="2168"/>
                    <a:pt x="9585" y="2727"/>
                    <a:pt x="8931" y="2727"/>
                  </a:cubicBezTo>
                  <a:cubicBezTo>
                    <a:pt x="8300" y="2727"/>
                    <a:pt x="7799" y="2251"/>
                    <a:pt x="7740" y="1656"/>
                  </a:cubicBezTo>
                  <a:lnTo>
                    <a:pt x="7740" y="1596"/>
                  </a:lnTo>
                  <a:lnTo>
                    <a:pt x="7740" y="1572"/>
                  </a:lnTo>
                  <a:lnTo>
                    <a:pt x="7740" y="1513"/>
                  </a:lnTo>
                  <a:cubicBezTo>
                    <a:pt x="7740" y="1429"/>
                    <a:pt x="7668" y="1358"/>
                    <a:pt x="7573" y="1358"/>
                  </a:cubicBezTo>
                  <a:lnTo>
                    <a:pt x="2882" y="1358"/>
                  </a:lnTo>
                  <a:cubicBezTo>
                    <a:pt x="2799" y="1358"/>
                    <a:pt x="2727" y="1429"/>
                    <a:pt x="2727" y="1513"/>
                  </a:cubicBezTo>
                  <a:lnTo>
                    <a:pt x="2727" y="1596"/>
                  </a:lnTo>
                  <a:lnTo>
                    <a:pt x="2727" y="1608"/>
                  </a:lnTo>
                  <a:lnTo>
                    <a:pt x="2727" y="1656"/>
                  </a:lnTo>
                  <a:lnTo>
                    <a:pt x="2727" y="1679"/>
                  </a:lnTo>
                  <a:lnTo>
                    <a:pt x="2727" y="1727"/>
                  </a:lnTo>
                  <a:lnTo>
                    <a:pt x="2727" y="1739"/>
                  </a:lnTo>
                  <a:cubicBezTo>
                    <a:pt x="2727" y="1751"/>
                    <a:pt x="2727" y="1775"/>
                    <a:pt x="2704" y="1799"/>
                  </a:cubicBezTo>
                  <a:lnTo>
                    <a:pt x="2704" y="1810"/>
                  </a:lnTo>
                  <a:cubicBezTo>
                    <a:pt x="2704" y="1834"/>
                    <a:pt x="2692" y="1858"/>
                    <a:pt x="2692" y="1870"/>
                  </a:cubicBezTo>
                  <a:cubicBezTo>
                    <a:pt x="2692" y="1894"/>
                    <a:pt x="2692" y="1894"/>
                    <a:pt x="2680" y="1906"/>
                  </a:cubicBezTo>
                  <a:cubicBezTo>
                    <a:pt x="2680" y="1918"/>
                    <a:pt x="2668" y="1930"/>
                    <a:pt x="2668" y="1930"/>
                  </a:cubicBezTo>
                  <a:cubicBezTo>
                    <a:pt x="2668" y="1953"/>
                    <a:pt x="2644" y="1953"/>
                    <a:pt x="2644" y="1965"/>
                  </a:cubicBezTo>
                  <a:cubicBezTo>
                    <a:pt x="2644" y="1977"/>
                    <a:pt x="2632" y="1977"/>
                    <a:pt x="2632" y="1989"/>
                  </a:cubicBezTo>
                  <a:cubicBezTo>
                    <a:pt x="2632" y="2013"/>
                    <a:pt x="2620" y="2025"/>
                    <a:pt x="2620" y="2025"/>
                  </a:cubicBezTo>
                  <a:cubicBezTo>
                    <a:pt x="2620" y="2025"/>
                    <a:pt x="2620" y="2037"/>
                    <a:pt x="2608" y="2037"/>
                  </a:cubicBezTo>
                  <a:cubicBezTo>
                    <a:pt x="2573" y="2084"/>
                    <a:pt x="2561" y="2132"/>
                    <a:pt x="2525" y="2168"/>
                  </a:cubicBezTo>
                  <a:cubicBezTo>
                    <a:pt x="2513" y="2191"/>
                    <a:pt x="2513" y="2203"/>
                    <a:pt x="2501" y="2215"/>
                  </a:cubicBezTo>
                  <a:cubicBezTo>
                    <a:pt x="2454" y="2275"/>
                    <a:pt x="2406" y="2334"/>
                    <a:pt x="2346" y="2382"/>
                  </a:cubicBezTo>
                  <a:cubicBezTo>
                    <a:pt x="2334" y="2394"/>
                    <a:pt x="2323" y="2394"/>
                    <a:pt x="2311" y="2406"/>
                  </a:cubicBezTo>
                  <a:lnTo>
                    <a:pt x="2287" y="2430"/>
                  </a:lnTo>
                  <a:cubicBezTo>
                    <a:pt x="2084" y="2584"/>
                    <a:pt x="1811" y="2692"/>
                    <a:pt x="1537" y="2692"/>
                  </a:cubicBezTo>
                  <a:cubicBezTo>
                    <a:pt x="882" y="2692"/>
                    <a:pt x="322" y="2156"/>
                    <a:pt x="322" y="1489"/>
                  </a:cubicBezTo>
                  <a:cubicBezTo>
                    <a:pt x="322" y="822"/>
                    <a:pt x="858" y="286"/>
                    <a:pt x="1537" y="286"/>
                  </a:cubicBezTo>
                  <a:close/>
                  <a:moveTo>
                    <a:pt x="7395" y="1668"/>
                  </a:moveTo>
                  <a:cubicBezTo>
                    <a:pt x="7442" y="2049"/>
                    <a:pt x="7633" y="2406"/>
                    <a:pt x="7930" y="2668"/>
                  </a:cubicBezTo>
                  <a:cubicBezTo>
                    <a:pt x="7823" y="2763"/>
                    <a:pt x="7692" y="2799"/>
                    <a:pt x="7549" y="2799"/>
                  </a:cubicBezTo>
                  <a:lnTo>
                    <a:pt x="2858" y="2799"/>
                  </a:lnTo>
                  <a:cubicBezTo>
                    <a:pt x="2727" y="2787"/>
                    <a:pt x="2608" y="2739"/>
                    <a:pt x="2501" y="2668"/>
                  </a:cubicBezTo>
                  <a:cubicBezTo>
                    <a:pt x="2739" y="2453"/>
                    <a:pt x="2906" y="2191"/>
                    <a:pt x="2977" y="1894"/>
                  </a:cubicBezTo>
                  <a:lnTo>
                    <a:pt x="2977" y="1870"/>
                  </a:lnTo>
                  <a:cubicBezTo>
                    <a:pt x="2977" y="1858"/>
                    <a:pt x="2989" y="1846"/>
                    <a:pt x="2989" y="1810"/>
                  </a:cubicBezTo>
                  <a:cubicBezTo>
                    <a:pt x="3001" y="1775"/>
                    <a:pt x="3001" y="1727"/>
                    <a:pt x="3001" y="1668"/>
                  </a:cubicBezTo>
                  <a:close/>
                  <a:moveTo>
                    <a:pt x="1513" y="1"/>
                  </a:moveTo>
                  <a:cubicBezTo>
                    <a:pt x="680" y="1"/>
                    <a:pt x="1" y="679"/>
                    <a:pt x="1" y="1513"/>
                  </a:cubicBezTo>
                  <a:cubicBezTo>
                    <a:pt x="1" y="2346"/>
                    <a:pt x="680" y="3037"/>
                    <a:pt x="1513" y="3037"/>
                  </a:cubicBezTo>
                  <a:cubicBezTo>
                    <a:pt x="1787" y="3037"/>
                    <a:pt x="2025" y="2977"/>
                    <a:pt x="2251" y="2858"/>
                  </a:cubicBezTo>
                  <a:cubicBezTo>
                    <a:pt x="2370" y="2977"/>
                    <a:pt x="2525" y="3049"/>
                    <a:pt x="2692" y="3096"/>
                  </a:cubicBezTo>
                  <a:lnTo>
                    <a:pt x="2692" y="7216"/>
                  </a:lnTo>
                  <a:cubicBezTo>
                    <a:pt x="2692" y="7311"/>
                    <a:pt x="2763" y="7383"/>
                    <a:pt x="2858" y="7383"/>
                  </a:cubicBezTo>
                  <a:cubicBezTo>
                    <a:pt x="2942" y="7383"/>
                    <a:pt x="3025" y="7311"/>
                    <a:pt x="3025" y="7216"/>
                  </a:cubicBezTo>
                  <a:lnTo>
                    <a:pt x="3025" y="3120"/>
                  </a:lnTo>
                  <a:lnTo>
                    <a:pt x="7454" y="3120"/>
                  </a:lnTo>
                  <a:lnTo>
                    <a:pt x="7454" y="3882"/>
                  </a:lnTo>
                  <a:cubicBezTo>
                    <a:pt x="7454" y="3977"/>
                    <a:pt x="7526" y="4049"/>
                    <a:pt x="7621" y="4049"/>
                  </a:cubicBezTo>
                  <a:cubicBezTo>
                    <a:pt x="7704" y="4049"/>
                    <a:pt x="7776" y="3977"/>
                    <a:pt x="7776" y="3882"/>
                  </a:cubicBezTo>
                  <a:lnTo>
                    <a:pt x="7776" y="3108"/>
                  </a:lnTo>
                  <a:cubicBezTo>
                    <a:pt x="7966" y="3084"/>
                    <a:pt x="8121" y="2989"/>
                    <a:pt x="8264" y="2870"/>
                  </a:cubicBezTo>
                  <a:cubicBezTo>
                    <a:pt x="8466" y="2977"/>
                    <a:pt x="8704" y="3037"/>
                    <a:pt x="8954" y="3037"/>
                  </a:cubicBezTo>
                  <a:cubicBezTo>
                    <a:pt x="9788" y="3037"/>
                    <a:pt x="10478" y="2346"/>
                    <a:pt x="10478" y="1513"/>
                  </a:cubicBezTo>
                  <a:cubicBezTo>
                    <a:pt x="10443" y="1120"/>
                    <a:pt x="10300" y="727"/>
                    <a:pt x="10014" y="441"/>
                  </a:cubicBezTo>
                  <a:cubicBezTo>
                    <a:pt x="9728" y="167"/>
                    <a:pt x="9359" y="1"/>
                    <a:pt x="89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1" name="Google Shape;12331;p62"/>
            <p:cNvSpPr/>
            <p:nvPr/>
          </p:nvSpPr>
          <p:spPr>
            <a:xfrm>
              <a:off x="7570562" y="2001667"/>
              <a:ext cx="51142" cy="51142"/>
            </a:xfrm>
            <a:custGeom>
              <a:avLst/>
              <a:gdLst/>
              <a:ahLst/>
              <a:cxnLst/>
              <a:rect l="l" t="t" r="r" b="b"/>
              <a:pathLst>
                <a:path w="1608" h="1608" extrusionOk="0">
                  <a:moveTo>
                    <a:pt x="810" y="322"/>
                  </a:moveTo>
                  <a:cubicBezTo>
                    <a:pt x="1072" y="322"/>
                    <a:pt x="1286" y="536"/>
                    <a:pt x="1286" y="798"/>
                  </a:cubicBezTo>
                  <a:cubicBezTo>
                    <a:pt x="1286" y="1060"/>
                    <a:pt x="1072" y="1274"/>
                    <a:pt x="810" y="1274"/>
                  </a:cubicBezTo>
                  <a:cubicBezTo>
                    <a:pt x="536" y="1274"/>
                    <a:pt x="334" y="1072"/>
                    <a:pt x="334" y="798"/>
                  </a:cubicBezTo>
                  <a:cubicBezTo>
                    <a:pt x="334" y="536"/>
                    <a:pt x="536" y="322"/>
                    <a:pt x="810" y="322"/>
                  </a:cubicBezTo>
                  <a:close/>
                  <a:moveTo>
                    <a:pt x="810" y="0"/>
                  </a:moveTo>
                  <a:cubicBezTo>
                    <a:pt x="358" y="0"/>
                    <a:pt x="1" y="357"/>
                    <a:pt x="1" y="798"/>
                  </a:cubicBezTo>
                  <a:cubicBezTo>
                    <a:pt x="1" y="1250"/>
                    <a:pt x="358" y="1607"/>
                    <a:pt x="810" y="1607"/>
                  </a:cubicBezTo>
                  <a:cubicBezTo>
                    <a:pt x="1251" y="1607"/>
                    <a:pt x="1608" y="1250"/>
                    <a:pt x="1608" y="798"/>
                  </a:cubicBezTo>
                  <a:cubicBezTo>
                    <a:pt x="1608" y="357"/>
                    <a:pt x="1251"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2" name="Google Shape;12332;p62"/>
            <p:cNvSpPr/>
            <p:nvPr/>
          </p:nvSpPr>
          <p:spPr>
            <a:xfrm>
              <a:off x="7807986" y="2001667"/>
              <a:ext cx="51174" cy="51142"/>
            </a:xfrm>
            <a:custGeom>
              <a:avLst/>
              <a:gdLst/>
              <a:ahLst/>
              <a:cxnLst/>
              <a:rect l="l" t="t" r="r" b="b"/>
              <a:pathLst>
                <a:path w="1609" h="1608" extrusionOk="0">
                  <a:moveTo>
                    <a:pt x="798" y="322"/>
                  </a:moveTo>
                  <a:cubicBezTo>
                    <a:pt x="1072" y="322"/>
                    <a:pt x="1275" y="536"/>
                    <a:pt x="1275" y="798"/>
                  </a:cubicBezTo>
                  <a:cubicBezTo>
                    <a:pt x="1275" y="1060"/>
                    <a:pt x="1072" y="1274"/>
                    <a:pt x="798" y="1274"/>
                  </a:cubicBezTo>
                  <a:cubicBezTo>
                    <a:pt x="537" y="1274"/>
                    <a:pt x="322" y="1072"/>
                    <a:pt x="322" y="798"/>
                  </a:cubicBezTo>
                  <a:cubicBezTo>
                    <a:pt x="322" y="536"/>
                    <a:pt x="537" y="322"/>
                    <a:pt x="798" y="322"/>
                  </a:cubicBezTo>
                  <a:close/>
                  <a:moveTo>
                    <a:pt x="798" y="0"/>
                  </a:moveTo>
                  <a:cubicBezTo>
                    <a:pt x="358" y="0"/>
                    <a:pt x="1" y="357"/>
                    <a:pt x="1" y="798"/>
                  </a:cubicBezTo>
                  <a:cubicBezTo>
                    <a:pt x="1" y="1250"/>
                    <a:pt x="358" y="1607"/>
                    <a:pt x="798" y="1607"/>
                  </a:cubicBezTo>
                  <a:cubicBezTo>
                    <a:pt x="1251" y="1607"/>
                    <a:pt x="1608" y="1250"/>
                    <a:pt x="1608" y="798"/>
                  </a:cubicBezTo>
                  <a:cubicBezTo>
                    <a:pt x="1608" y="357"/>
                    <a:pt x="1251"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3" name="Google Shape;12333;p62"/>
            <p:cNvSpPr/>
            <p:nvPr/>
          </p:nvSpPr>
          <p:spPr>
            <a:xfrm>
              <a:off x="7570180" y="2121699"/>
              <a:ext cx="288980" cy="207178"/>
            </a:xfrm>
            <a:custGeom>
              <a:avLst/>
              <a:gdLst/>
              <a:ahLst/>
              <a:cxnLst/>
              <a:rect l="l" t="t" r="r" b="b"/>
              <a:pathLst>
                <a:path w="9086" h="6514" extrusionOk="0">
                  <a:moveTo>
                    <a:pt x="7513" y="4549"/>
                  </a:moveTo>
                  <a:cubicBezTo>
                    <a:pt x="7633" y="4549"/>
                    <a:pt x="7740" y="4644"/>
                    <a:pt x="7740" y="4763"/>
                  </a:cubicBezTo>
                  <a:lnTo>
                    <a:pt x="7740" y="5203"/>
                  </a:lnTo>
                  <a:lnTo>
                    <a:pt x="1358" y="5203"/>
                  </a:lnTo>
                  <a:lnTo>
                    <a:pt x="1358" y="4763"/>
                  </a:lnTo>
                  <a:cubicBezTo>
                    <a:pt x="1358" y="4644"/>
                    <a:pt x="1465" y="4549"/>
                    <a:pt x="1584" y="4549"/>
                  </a:cubicBezTo>
                  <a:close/>
                  <a:moveTo>
                    <a:pt x="8323" y="5513"/>
                  </a:moveTo>
                  <a:cubicBezTo>
                    <a:pt x="8561" y="5513"/>
                    <a:pt x="8764" y="5703"/>
                    <a:pt x="8764" y="5953"/>
                  </a:cubicBezTo>
                  <a:lnTo>
                    <a:pt x="8764" y="6180"/>
                  </a:lnTo>
                  <a:lnTo>
                    <a:pt x="346" y="6180"/>
                  </a:lnTo>
                  <a:lnTo>
                    <a:pt x="346" y="5953"/>
                  </a:lnTo>
                  <a:cubicBezTo>
                    <a:pt x="346" y="5715"/>
                    <a:pt x="536" y="5513"/>
                    <a:pt x="786" y="5513"/>
                  </a:cubicBezTo>
                  <a:close/>
                  <a:moveTo>
                    <a:pt x="6918" y="0"/>
                  </a:moveTo>
                  <a:cubicBezTo>
                    <a:pt x="6835" y="0"/>
                    <a:pt x="6763" y="84"/>
                    <a:pt x="6763" y="167"/>
                  </a:cubicBezTo>
                  <a:lnTo>
                    <a:pt x="6763" y="4215"/>
                  </a:lnTo>
                  <a:lnTo>
                    <a:pt x="2322" y="4215"/>
                  </a:lnTo>
                  <a:lnTo>
                    <a:pt x="2322" y="3501"/>
                  </a:lnTo>
                  <a:cubicBezTo>
                    <a:pt x="2322" y="3417"/>
                    <a:pt x="2251" y="3334"/>
                    <a:pt x="2156" y="3334"/>
                  </a:cubicBezTo>
                  <a:cubicBezTo>
                    <a:pt x="2072" y="3334"/>
                    <a:pt x="2001" y="3417"/>
                    <a:pt x="2001" y="3501"/>
                  </a:cubicBezTo>
                  <a:lnTo>
                    <a:pt x="2001" y="4215"/>
                  </a:lnTo>
                  <a:lnTo>
                    <a:pt x="1560" y="4215"/>
                  </a:lnTo>
                  <a:cubicBezTo>
                    <a:pt x="1263" y="4215"/>
                    <a:pt x="1013" y="4465"/>
                    <a:pt x="1013" y="4763"/>
                  </a:cubicBezTo>
                  <a:lnTo>
                    <a:pt x="1013" y="5203"/>
                  </a:lnTo>
                  <a:lnTo>
                    <a:pt x="763" y="5203"/>
                  </a:lnTo>
                  <a:cubicBezTo>
                    <a:pt x="346" y="5203"/>
                    <a:pt x="1" y="5537"/>
                    <a:pt x="1" y="5953"/>
                  </a:cubicBezTo>
                  <a:lnTo>
                    <a:pt x="1" y="6346"/>
                  </a:lnTo>
                  <a:cubicBezTo>
                    <a:pt x="1" y="6430"/>
                    <a:pt x="72" y="6513"/>
                    <a:pt x="167" y="6513"/>
                  </a:cubicBezTo>
                  <a:lnTo>
                    <a:pt x="8906" y="6513"/>
                  </a:lnTo>
                  <a:cubicBezTo>
                    <a:pt x="8990" y="6513"/>
                    <a:pt x="9061" y="6430"/>
                    <a:pt x="9061" y="6346"/>
                  </a:cubicBezTo>
                  <a:lnTo>
                    <a:pt x="9061" y="5953"/>
                  </a:lnTo>
                  <a:cubicBezTo>
                    <a:pt x="9085" y="5537"/>
                    <a:pt x="8740" y="5203"/>
                    <a:pt x="8323" y="5203"/>
                  </a:cubicBezTo>
                  <a:lnTo>
                    <a:pt x="8073" y="5203"/>
                  </a:lnTo>
                  <a:lnTo>
                    <a:pt x="8073" y="4763"/>
                  </a:lnTo>
                  <a:cubicBezTo>
                    <a:pt x="8073" y="4465"/>
                    <a:pt x="7811" y="4215"/>
                    <a:pt x="7513" y="4215"/>
                  </a:cubicBezTo>
                  <a:lnTo>
                    <a:pt x="7085" y="4215"/>
                  </a:lnTo>
                  <a:lnTo>
                    <a:pt x="7085" y="167"/>
                  </a:lnTo>
                  <a:cubicBezTo>
                    <a:pt x="7085" y="84"/>
                    <a:pt x="7013" y="0"/>
                    <a:pt x="6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4" name="Google Shape;12334;p62"/>
            <p:cNvSpPr/>
            <p:nvPr/>
          </p:nvSpPr>
          <p:spPr>
            <a:xfrm>
              <a:off x="7658408" y="2088368"/>
              <a:ext cx="30342" cy="154922"/>
            </a:xfrm>
            <a:custGeom>
              <a:avLst/>
              <a:gdLst/>
              <a:ahLst/>
              <a:cxnLst/>
              <a:rect l="l" t="t" r="r" b="b"/>
              <a:pathLst>
                <a:path w="954" h="4871" extrusionOk="0">
                  <a:moveTo>
                    <a:pt x="453" y="310"/>
                  </a:moveTo>
                  <a:cubicBezTo>
                    <a:pt x="537" y="310"/>
                    <a:pt x="608" y="370"/>
                    <a:pt x="608" y="453"/>
                  </a:cubicBezTo>
                  <a:lnTo>
                    <a:pt x="608" y="4382"/>
                  </a:lnTo>
                  <a:cubicBezTo>
                    <a:pt x="608" y="4465"/>
                    <a:pt x="548" y="4537"/>
                    <a:pt x="453" y="4537"/>
                  </a:cubicBezTo>
                  <a:cubicBezTo>
                    <a:pt x="382" y="4537"/>
                    <a:pt x="310" y="4477"/>
                    <a:pt x="310" y="4382"/>
                  </a:cubicBezTo>
                  <a:lnTo>
                    <a:pt x="310" y="453"/>
                  </a:lnTo>
                  <a:cubicBezTo>
                    <a:pt x="310" y="382"/>
                    <a:pt x="370" y="310"/>
                    <a:pt x="453" y="310"/>
                  </a:cubicBezTo>
                  <a:close/>
                  <a:moveTo>
                    <a:pt x="477" y="1"/>
                  </a:moveTo>
                  <a:cubicBezTo>
                    <a:pt x="215" y="1"/>
                    <a:pt x="1" y="203"/>
                    <a:pt x="1" y="477"/>
                  </a:cubicBezTo>
                  <a:lnTo>
                    <a:pt x="1" y="4394"/>
                  </a:lnTo>
                  <a:cubicBezTo>
                    <a:pt x="1"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5" name="Google Shape;12335;p62"/>
            <p:cNvSpPr/>
            <p:nvPr/>
          </p:nvSpPr>
          <p:spPr>
            <a:xfrm>
              <a:off x="7700072" y="2088368"/>
              <a:ext cx="30310" cy="154922"/>
            </a:xfrm>
            <a:custGeom>
              <a:avLst/>
              <a:gdLst/>
              <a:ahLst/>
              <a:cxnLst/>
              <a:rect l="l" t="t" r="r" b="b"/>
              <a:pathLst>
                <a:path w="953" h="4871" extrusionOk="0">
                  <a:moveTo>
                    <a:pt x="453" y="310"/>
                  </a:moveTo>
                  <a:cubicBezTo>
                    <a:pt x="548" y="310"/>
                    <a:pt x="608" y="370"/>
                    <a:pt x="608" y="453"/>
                  </a:cubicBezTo>
                  <a:lnTo>
                    <a:pt x="608" y="4382"/>
                  </a:lnTo>
                  <a:cubicBezTo>
                    <a:pt x="608" y="4465"/>
                    <a:pt x="548" y="4537"/>
                    <a:pt x="453" y="4537"/>
                  </a:cubicBezTo>
                  <a:cubicBezTo>
                    <a:pt x="381" y="4537"/>
                    <a:pt x="310" y="4477"/>
                    <a:pt x="310" y="4382"/>
                  </a:cubicBezTo>
                  <a:lnTo>
                    <a:pt x="310" y="453"/>
                  </a:lnTo>
                  <a:cubicBezTo>
                    <a:pt x="310" y="382"/>
                    <a:pt x="370" y="310"/>
                    <a:pt x="453" y="310"/>
                  </a:cubicBezTo>
                  <a:close/>
                  <a:moveTo>
                    <a:pt x="477" y="1"/>
                  </a:moveTo>
                  <a:cubicBezTo>
                    <a:pt x="215" y="1"/>
                    <a:pt x="0" y="203"/>
                    <a:pt x="0" y="477"/>
                  </a:cubicBezTo>
                  <a:lnTo>
                    <a:pt x="0" y="4394"/>
                  </a:lnTo>
                  <a:cubicBezTo>
                    <a:pt x="0" y="4656"/>
                    <a:pt x="203" y="4870"/>
                    <a:pt x="477" y="4870"/>
                  </a:cubicBezTo>
                  <a:cubicBezTo>
                    <a:pt x="727" y="4870"/>
                    <a:pt x="953" y="4668"/>
                    <a:pt x="953" y="4394"/>
                  </a:cubicBezTo>
                  <a:lnTo>
                    <a:pt x="953" y="477"/>
                  </a:lnTo>
                  <a:cubicBezTo>
                    <a:pt x="929" y="203"/>
                    <a:pt x="727"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6" name="Google Shape;12336;p62"/>
            <p:cNvSpPr/>
            <p:nvPr/>
          </p:nvSpPr>
          <p:spPr>
            <a:xfrm>
              <a:off x="7741737" y="2088368"/>
              <a:ext cx="30310" cy="154922"/>
            </a:xfrm>
            <a:custGeom>
              <a:avLst/>
              <a:gdLst/>
              <a:ahLst/>
              <a:cxnLst/>
              <a:rect l="l" t="t" r="r" b="b"/>
              <a:pathLst>
                <a:path w="953" h="4871" extrusionOk="0">
                  <a:moveTo>
                    <a:pt x="453" y="310"/>
                  </a:moveTo>
                  <a:cubicBezTo>
                    <a:pt x="536" y="310"/>
                    <a:pt x="607" y="370"/>
                    <a:pt x="607" y="453"/>
                  </a:cubicBezTo>
                  <a:lnTo>
                    <a:pt x="607" y="4382"/>
                  </a:lnTo>
                  <a:cubicBezTo>
                    <a:pt x="607" y="4465"/>
                    <a:pt x="548" y="4537"/>
                    <a:pt x="453" y="4537"/>
                  </a:cubicBezTo>
                  <a:cubicBezTo>
                    <a:pt x="381" y="4537"/>
                    <a:pt x="310" y="4477"/>
                    <a:pt x="310" y="4382"/>
                  </a:cubicBezTo>
                  <a:lnTo>
                    <a:pt x="310" y="453"/>
                  </a:lnTo>
                  <a:cubicBezTo>
                    <a:pt x="310" y="382"/>
                    <a:pt x="369" y="310"/>
                    <a:pt x="453" y="310"/>
                  </a:cubicBezTo>
                  <a:close/>
                  <a:moveTo>
                    <a:pt x="476" y="1"/>
                  </a:moveTo>
                  <a:cubicBezTo>
                    <a:pt x="214" y="1"/>
                    <a:pt x="0" y="203"/>
                    <a:pt x="0" y="477"/>
                  </a:cubicBezTo>
                  <a:lnTo>
                    <a:pt x="0" y="4394"/>
                  </a:lnTo>
                  <a:cubicBezTo>
                    <a:pt x="0" y="4656"/>
                    <a:pt x="203" y="4870"/>
                    <a:pt x="476" y="4870"/>
                  </a:cubicBezTo>
                  <a:cubicBezTo>
                    <a:pt x="726" y="4870"/>
                    <a:pt x="953" y="4668"/>
                    <a:pt x="953" y="4394"/>
                  </a:cubicBezTo>
                  <a:lnTo>
                    <a:pt x="953" y="477"/>
                  </a:lnTo>
                  <a:cubicBezTo>
                    <a:pt x="929" y="203"/>
                    <a:pt x="726" y="1"/>
                    <a:pt x="4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37" name="Google Shape;12337;p62"/>
          <p:cNvGrpSpPr/>
          <p:nvPr/>
        </p:nvGrpSpPr>
        <p:grpSpPr>
          <a:xfrm>
            <a:off x="6214142" y="1978927"/>
            <a:ext cx="346515" cy="350300"/>
            <a:chOff x="6214142" y="1978927"/>
            <a:chExt cx="346515" cy="350300"/>
          </a:xfrm>
        </p:grpSpPr>
        <p:sp>
          <p:nvSpPr>
            <p:cNvPr id="12338" name="Google Shape;12338;p62"/>
            <p:cNvSpPr/>
            <p:nvPr/>
          </p:nvSpPr>
          <p:spPr>
            <a:xfrm>
              <a:off x="6289870" y="1978927"/>
              <a:ext cx="196937" cy="262073"/>
            </a:xfrm>
            <a:custGeom>
              <a:avLst/>
              <a:gdLst/>
              <a:ahLst/>
              <a:cxnLst/>
              <a:rect l="l" t="t" r="r" b="b"/>
              <a:pathLst>
                <a:path w="6192" h="8240" extrusionOk="0">
                  <a:moveTo>
                    <a:pt x="5251" y="1453"/>
                  </a:moveTo>
                  <a:lnTo>
                    <a:pt x="5811" y="2275"/>
                  </a:lnTo>
                  <a:cubicBezTo>
                    <a:pt x="5787" y="2346"/>
                    <a:pt x="5775" y="2430"/>
                    <a:pt x="5763" y="2489"/>
                  </a:cubicBezTo>
                  <a:lnTo>
                    <a:pt x="5763" y="2513"/>
                  </a:lnTo>
                  <a:cubicBezTo>
                    <a:pt x="5739" y="2572"/>
                    <a:pt x="5727" y="2644"/>
                    <a:pt x="5716" y="2703"/>
                  </a:cubicBezTo>
                  <a:lnTo>
                    <a:pt x="5311" y="2108"/>
                  </a:lnTo>
                  <a:cubicBezTo>
                    <a:pt x="5287" y="2072"/>
                    <a:pt x="5251" y="2049"/>
                    <a:pt x="5204" y="2037"/>
                  </a:cubicBezTo>
                  <a:cubicBezTo>
                    <a:pt x="5168" y="2037"/>
                    <a:pt x="5120" y="2037"/>
                    <a:pt x="5085" y="2072"/>
                  </a:cubicBezTo>
                  <a:cubicBezTo>
                    <a:pt x="4727" y="2346"/>
                    <a:pt x="4096" y="2680"/>
                    <a:pt x="3084" y="2680"/>
                  </a:cubicBezTo>
                  <a:cubicBezTo>
                    <a:pt x="2084" y="2680"/>
                    <a:pt x="1441" y="2334"/>
                    <a:pt x="1072" y="2072"/>
                  </a:cubicBezTo>
                  <a:cubicBezTo>
                    <a:pt x="1036" y="2037"/>
                    <a:pt x="1013" y="2037"/>
                    <a:pt x="965" y="2037"/>
                  </a:cubicBezTo>
                  <a:lnTo>
                    <a:pt x="929" y="2037"/>
                  </a:lnTo>
                  <a:cubicBezTo>
                    <a:pt x="894" y="2037"/>
                    <a:pt x="846" y="2072"/>
                    <a:pt x="834" y="2108"/>
                  </a:cubicBezTo>
                  <a:lnTo>
                    <a:pt x="429" y="2703"/>
                  </a:lnTo>
                  <a:cubicBezTo>
                    <a:pt x="417" y="2644"/>
                    <a:pt x="393" y="2572"/>
                    <a:pt x="382" y="2513"/>
                  </a:cubicBezTo>
                  <a:lnTo>
                    <a:pt x="382" y="2489"/>
                  </a:lnTo>
                  <a:cubicBezTo>
                    <a:pt x="370" y="2430"/>
                    <a:pt x="358" y="2346"/>
                    <a:pt x="334" y="2287"/>
                  </a:cubicBezTo>
                  <a:lnTo>
                    <a:pt x="560" y="1953"/>
                  </a:lnTo>
                  <a:lnTo>
                    <a:pt x="905" y="1453"/>
                  </a:lnTo>
                  <a:cubicBezTo>
                    <a:pt x="1025" y="1620"/>
                    <a:pt x="1227" y="1810"/>
                    <a:pt x="1525" y="1989"/>
                  </a:cubicBezTo>
                  <a:cubicBezTo>
                    <a:pt x="1667" y="2072"/>
                    <a:pt x="1810" y="2144"/>
                    <a:pt x="1965" y="2191"/>
                  </a:cubicBezTo>
                  <a:cubicBezTo>
                    <a:pt x="2287" y="2311"/>
                    <a:pt x="2679" y="2370"/>
                    <a:pt x="3084" y="2370"/>
                  </a:cubicBezTo>
                  <a:cubicBezTo>
                    <a:pt x="4239" y="2370"/>
                    <a:pt x="4870" y="1894"/>
                    <a:pt x="5168" y="1560"/>
                  </a:cubicBezTo>
                  <a:cubicBezTo>
                    <a:pt x="5192" y="1513"/>
                    <a:pt x="5227" y="1489"/>
                    <a:pt x="5251" y="1453"/>
                  </a:cubicBezTo>
                  <a:close/>
                  <a:moveTo>
                    <a:pt x="5061" y="2430"/>
                  </a:moveTo>
                  <a:lnTo>
                    <a:pt x="5549" y="3156"/>
                  </a:lnTo>
                  <a:cubicBezTo>
                    <a:pt x="5382" y="4239"/>
                    <a:pt x="5251" y="5180"/>
                    <a:pt x="5204" y="5954"/>
                  </a:cubicBezTo>
                  <a:cubicBezTo>
                    <a:pt x="5168" y="6775"/>
                    <a:pt x="5251" y="7192"/>
                    <a:pt x="5287" y="7371"/>
                  </a:cubicBezTo>
                  <a:lnTo>
                    <a:pt x="5287" y="7383"/>
                  </a:lnTo>
                  <a:lnTo>
                    <a:pt x="5287" y="7394"/>
                  </a:lnTo>
                  <a:lnTo>
                    <a:pt x="5287" y="7406"/>
                  </a:lnTo>
                  <a:cubicBezTo>
                    <a:pt x="5287" y="7454"/>
                    <a:pt x="5132" y="7609"/>
                    <a:pt x="4704" y="7728"/>
                  </a:cubicBezTo>
                  <a:cubicBezTo>
                    <a:pt x="4370" y="7811"/>
                    <a:pt x="3953" y="7871"/>
                    <a:pt x="3501" y="7906"/>
                  </a:cubicBezTo>
                  <a:cubicBezTo>
                    <a:pt x="3346" y="7918"/>
                    <a:pt x="3180" y="7918"/>
                    <a:pt x="3037" y="7918"/>
                  </a:cubicBezTo>
                  <a:lnTo>
                    <a:pt x="2799" y="7918"/>
                  </a:lnTo>
                  <a:cubicBezTo>
                    <a:pt x="2263" y="7906"/>
                    <a:pt x="1751" y="7847"/>
                    <a:pt x="1370" y="7740"/>
                  </a:cubicBezTo>
                  <a:cubicBezTo>
                    <a:pt x="917" y="7621"/>
                    <a:pt x="786" y="7466"/>
                    <a:pt x="786" y="7430"/>
                  </a:cubicBezTo>
                  <a:lnTo>
                    <a:pt x="786" y="7406"/>
                  </a:lnTo>
                  <a:lnTo>
                    <a:pt x="786" y="7394"/>
                  </a:lnTo>
                  <a:lnTo>
                    <a:pt x="786" y="7383"/>
                  </a:lnTo>
                  <a:cubicBezTo>
                    <a:pt x="822" y="7204"/>
                    <a:pt x="905" y="6787"/>
                    <a:pt x="858" y="5966"/>
                  </a:cubicBezTo>
                  <a:cubicBezTo>
                    <a:pt x="834" y="5192"/>
                    <a:pt x="703" y="4251"/>
                    <a:pt x="465" y="3156"/>
                  </a:cubicBezTo>
                  <a:lnTo>
                    <a:pt x="953" y="2430"/>
                  </a:lnTo>
                  <a:cubicBezTo>
                    <a:pt x="1370" y="2703"/>
                    <a:pt x="2037" y="3001"/>
                    <a:pt x="3001" y="3001"/>
                  </a:cubicBezTo>
                  <a:cubicBezTo>
                    <a:pt x="3977" y="3001"/>
                    <a:pt x="4644" y="2703"/>
                    <a:pt x="5061" y="2430"/>
                  </a:cubicBezTo>
                  <a:close/>
                  <a:moveTo>
                    <a:pt x="905" y="1"/>
                  </a:moveTo>
                  <a:cubicBezTo>
                    <a:pt x="822" y="1"/>
                    <a:pt x="739" y="72"/>
                    <a:pt x="739" y="167"/>
                  </a:cubicBezTo>
                  <a:lnTo>
                    <a:pt x="739" y="1156"/>
                  </a:lnTo>
                  <a:cubicBezTo>
                    <a:pt x="715" y="1179"/>
                    <a:pt x="703" y="1203"/>
                    <a:pt x="679" y="1215"/>
                  </a:cubicBezTo>
                  <a:lnTo>
                    <a:pt x="24" y="2168"/>
                  </a:lnTo>
                  <a:cubicBezTo>
                    <a:pt x="12" y="2203"/>
                    <a:pt x="1" y="2227"/>
                    <a:pt x="1" y="2263"/>
                  </a:cubicBezTo>
                  <a:lnTo>
                    <a:pt x="1" y="2287"/>
                  </a:lnTo>
                  <a:cubicBezTo>
                    <a:pt x="72" y="2572"/>
                    <a:pt x="132" y="2858"/>
                    <a:pt x="191" y="3132"/>
                  </a:cubicBezTo>
                  <a:cubicBezTo>
                    <a:pt x="572" y="5001"/>
                    <a:pt x="703" y="6394"/>
                    <a:pt x="524" y="7275"/>
                  </a:cubicBezTo>
                  <a:lnTo>
                    <a:pt x="524" y="7287"/>
                  </a:lnTo>
                  <a:lnTo>
                    <a:pt x="524" y="7311"/>
                  </a:lnTo>
                  <a:lnTo>
                    <a:pt x="524" y="7323"/>
                  </a:lnTo>
                  <a:lnTo>
                    <a:pt x="524" y="7335"/>
                  </a:lnTo>
                  <a:lnTo>
                    <a:pt x="524" y="7371"/>
                  </a:lnTo>
                  <a:lnTo>
                    <a:pt x="524" y="7383"/>
                  </a:lnTo>
                  <a:lnTo>
                    <a:pt x="524" y="7406"/>
                  </a:lnTo>
                  <a:cubicBezTo>
                    <a:pt x="524" y="7978"/>
                    <a:pt x="1858" y="8240"/>
                    <a:pt x="3096" y="8240"/>
                  </a:cubicBezTo>
                  <a:cubicBezTo>
                    <a:pt x="4323" y="8240"/>
                    <a:pt x="5668" y="7990"/>
                    <a:pt x="5668" y="7406"/>
                  </a:cubicBezTo>
                  <a:lnTo>
                    <a:pt x="5668" y="7383"/>
                  </a:lnTo>
                  <a:lnTo>
                    <a:pt x="5668" y="7371"/>
                  </a:lnTo>
                  <a:lnTo>
                    <a:pt x="5668" y="7335"/>
                  </a:lnTo>
                  <a:lnTo>
                    <a:pt x="5668" y="7323"/>
                  </a:lnTo>
                  <a:lnTo>
                    <a:pt x="5668" y="7311"/>
                  </a:lnTo>
                  <a:lnTo>
                    <a:pt x="5668" y="7287"/>
                  </a:lnTo>
                  <a:lnTo>
                    <a:pt x="5668" y="7275"/>
                  </a:lnTo>
                  <a:cubicBezTo>
                    <a:pt x="5489" y="6382"/>
                    <a:pt x="5608" y="5001"/>
                    <a:pt x="5989" y="3132"/>
                  </a:cubicBezTo>
                  <a:cubicBezTo>
                    <a:pt x="6061" y="2870"/>
                    <a:pt x="6108" y="2572"/>
                    <a:pt x="6192" y="2287"/>
                  </a:cubicBezTo>
                  <a:lnTo>
                    <a:pt x="6192" y="2263"/>
                  </a:lnTo>
                  <a:cubicBezTo>
                    <a:pt x="6144" y="2251"/>
                    <a:pt x="6132" y="2227"/>
                    <a:pt x="6132" y="2215"/>
                  </a:cubicBezTo>
                  <a:cubicBezTo>
                    <a:pt x="6132" y="2203"/>
                    <a:pt x="6120" y="2191"/>
                    <a:pt x="6120" y="2168"/>
                  </a:cubicBezTo>
                  <a:lnTo>
                    <a:pt x="5466" y="1215"/>
                  </a:lnTo>
                  <a:cubicBezTo>
                    <a:pt x="5442" y="1191"/>
                    <a:pt x="5418" y="1179"/>
                    <a:pt x="5394" y="1156"/>
                  </a:cubicBezTo>
                  <a:lnTo>
                    <a:pt x="5394" y="167"/>
                  </a:lnTo>
                  <a:cubicBezTo>
                    <a:pt x="5394" y="72"/>
                    <a:pt x="5323" y="1"/>
                    <a:pt x="5239" y="1"/>
                  </a:cubicBezTo>
                  <a:cubicBezTo>
                    <a:pt x="5144" y="1"/>
                    <a:pt x="5073" y="72"/>
                    <a:pt x="5073" y="167"/>
                  </a:cubicBezTo>
                  <a:lnTo>
                    <a:pt x="5073" y="1156"/>
                  </a:lnTo>
                  <a:lnTo>
                    <a:pt x="5085" y="1144"/>
                  </a:lnTo>
                  <a:lnTo>
                    <a:pt x="5049" y="1191"/>
                  </a:lnTo>
                  <a:lnTo>
                    <a:pt x="5025" y="1203"/>
                  </a:lnTo>
                  <a:cubicBezTo>
                    <a:pt x="5001" y="1251"/>
                    <a:pt x="4965" y="1298"/>
                    <a:pt x="4930" y="1334"/>
                  </a:cubicBezTo>
                  <a:cubicBezTo>
                    <a:pt x="4668" y="1620"/>
                    <a:pt x="4120" y="2037"/>
                    <a:pt x="3084" y="2037"/>
                  </a:cubicBezTo>
                  <a:cubicBezTo>
                    <a:pt x="1917" y="2037"/>
                    <a:pt x="1370" y="1513"/>
                    <a:pt x="1155" y="1251"/>
                  </a:cubicBezTo>
                  <a:lnTo>
                    <a:pt x="1120" y="1203"/>
                  </a:lnTo>
                  <a:lnTo>
                    <a:pt x="1072" y="1156"/>
                  </a:lnTo>
                  <a:lnTo>
                    <a:pt x="1072" y="167"/>
                  </a:lnTo>
                  <a:cubicBezTo>
                    <a:pt x="1072" y="72"/>
                    <a:pt x="1001" y="1"/>
                    <a:pt x="9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9" name="Google Shape;12339;p62"/>
            <p:cNvSpPr/>
            <p:nvPr/>
          </p:nvSpPr>
          <p:spPr>
            <a:xfrm>
              <a:off x="6214142" y="2182256"/>
              <a:ext cx="346515" cy="146971"/>
            </a:xfrm>
            <a:custGeom>
              <a:avLst/>
              <a:gdLst/>
              <a:ahLst/>
              <a:cxnLst/>
              <a:rect l="l" t="t" r="r" b="b"/>
              <a:pathLst>
                <a:path w="10895" h="4621" extrusionOk="0">
                  <a:moveTo>
                    <a:pt x="9966" y="478"/>
                  </a:moveTo>
                  <a:lnTo>
                    <a:pt x="10525" y="525"/>
                  </a:lnTo>
                  <a:cubicBezTo>
                    <a:pt x="10525" y="561"/>
                    <a:pt x="10502" y="585"/>
                    <a:pt x="10490" y="620"/>
                  </a:cubicBezTo>
                  <a:cubicBezTo>
                    <a:pt x="10323" y="835"/>
                    <a:pt x="10192" y="1216"/>
                    <a:pt x="10192" y="1466"/>
                  </a:cubicBezTo>
                  <a:lnTo>
                    <a:pt x="10192" y="1513"/>
                  </a:lnTo>
                  <a:cubicBezTo>
                    <a:pt x="10192" y="1775"/>
                    <a:pt x="10013" y="2025"/>
                    <a:pt x="9716" y="2192"/>
                  </a:cubicBezTo>
                  <a:cubicBezTo>
                    <a:pt x="9454" y="2347"/>
                    <a:pt x="9287" y="2585"/>
                    <a:pt x="9275" y="2835"/>
                  </a:cubicBezTo>
                  <a:cubicBezTo>
                    <a:pt x="9251" y="3085"/>
                    <a:pt x="8978" y="3276"/>
                    <a:pt x="8632" y="3276"/>
                  </a:cubicBezTo>
                  <a:lnTo>
                    <a:pt x="8620" y="3276"/>
                  </a:lnTo>
                  <a:cubicBezTo>
                    <a:pt x="8263" y="3311"/>
                    <a:pt x="7942" y="3478"/>
                    <a:pt x="7787" y="3716"/>
                  </a:cubicBezTo>
                  <a:cubicBezTo>
                    <a:pt x="7659" y="3898"/>
                    <a:pt x="7413" y="4011"/>
                    <a:pt x="7150" y="4011"/>
                  </a:cubicBezTo>
                  <a:cubicBezTo>
                    <a:pt x="7069" y="4011"/>
                    <a:pt x="6987" y="4000"/>
                    <a:pt x="6906" y="3978"/>
                  </a:cubicBezTo>
                  <a:cubicBezTo>
                    <a:pt x="6804" y="3957"/>
                    <a:pt x="6701" y="3946"/>
                    <a:pt x="6599" y="3946"/>
                  </a:cubicBezTo>
                  <a:cubicBezTo>
                    <a:pt x="6358" y="3946"/>
                    <a:pt x="6126" y="4007"/>
                    <a:pt x="5942" y="4133"/>
                  </a:cubicBezTo>
                  <a:cubicBezTo>
                    <a:pt x="5799" y="4216"/>
                    <a:pt x="5620" y="4264"/>
                    <a:pt x="5441" y="4264"/>
                  </a:cubicBezTo>
                  <a:cubicBezTo>
                    <a:pt x="5263" y="4264"/>
                    <a:pt x="5084" y="4216"/>
                    <a:pt x="4953" y="4133"/>
                  </a:cubicBezTo>
                  <a:cubicBezTo>
                    <a:pt x="4770" y="4008"/>
                    <a:pt x="4528" y="3941"/>
                    <a:pt x="4289" y="3941"/>
                  </a:cubicBezTo>
                  <a:cubicBezTo>
                    <a:pt x="4187" y="3941"/>
                    <a:pt x="4085" y="3953"/>
                    <a:pt x="3989" y="3978"/>
                  </a:cubicBezTo>
                  <a:cubicBezTo>
                    <a:pt x="3908" y="4000"/>
                    <a:pt x="3825" y="4011"/>
                    <a:pt x="3744" y="4011"/>
                  </a:cubicBezTo>
                  <a:cubicBezTo>
                    <a:pt x="3477" y="4011"/>
                    <a:pt x="3226" y="3898"/>
                    <a:pt x="3108" y="3716"/>
                  </a:cubicBezTo>
                  <a:cubicBezTo>
                    <a:pt x="2941" y="3454"/>
                    <a:pt x="2632" y="3299"/>
                    <a:pt x="2274" y="3276"/>
                  </a:cubicBezTo>
                  <a:lnTo>
                    <a:pt x="2263" y="3276"/>
                  </a:lnTo>
                  <a:cubicBezTo>
                    <a:pt x="1917" y="3276"/>
                    <a:pt x="1631" y="3085"/>
                    <a:pt x="1620" y="2835"/>
                  </a:cubicBezTo>
                  <a:cubicBezTo>
                    <a:pt x="1608" y="2561"/>
                    <a:pt x="1441" y="2347"/>
                    <a:pt x="1179" y="2192"/>
                  </a:cubicBezTo>
                  <a:cubicBezTo>
                    <a:pt x="881" y="2014"/>
                    <a:pt x="703" y="1775"/>
                    <a:pt x="703" y="1513"/>
                  </a:cubicBezTo>
                  <a:lnTo>
                    <a:pt x="703" y="1466"/>
                  </a:lnTo>
                  <a:cubicBezTo>
                    <a:pt x="703" y="1216"/>
                    <a:pt x="560" y="835"/>
                    <a:pt x="405" y="620"/>
                  </a:cubicBezTo>
                  <a:cubicBezTo>
                    <a:pt x="381" y="585"/>
                    <a:pt x="358" y="561"/>
                    <a:pt x="346" y="525"/>
                  </a:cubicBezTo>
                  <a:lnTo>
                    <a:pt x="893" y="478"/>
                  </a:lnTo>
                  <a:cubicBezTo>
                    <a:pt x="1012" y="1347"/>
                    <a:pt x="1501" y="2144"/>
                    <a:pt x="2310" y="2740"/>
                  </a:cubicBezTo>
                  <a:cubicBezTo>
                    <a:pt x="3155" y="3371"/>
                    <a:pt x="4275" y="3728"/>
                    <a:pt x="5430" y="3728"/>
                  </a:cubicBezTo>
                  <a:cubicBezTo>
                    <a:pt x="6596" y="3728"/>
                    <a:pt x="7704" y="3383"/>
                    <a:pt x="8561" y="2740"/>
                  </a:cubicBezTo>
                  <a:cubicBezTo>
                    <a:pt x="9359" y="2144"/>
                    <a:pt x="9871" y="1347"/>
                    <a:pt x="9966" y="478"/>
                  </a:cubicBezTo>
                  <a:close/>
                  <a:moveTo>
                    <a:pt x="2378" y="0"/>
                  </a:moveTo>
                  <a:cubicBezTo>
                    <a:pt x="2372" y="0"/>
                    <a:pt x="2365" y="0"/>
                    <a:pt x="2358" y="1"/>
                  </a:cubicBezTo>
                  <a:cubicBezTo>
                    <a:pt x="2286" y="1"/>
                    <a:pt x="2215" y="25"/>
                    <a:pt x="2143" y="25"/>
                  </a:cubicBezTo>
                  <a:lnTo>
                    <a:pt x="143" y="216"/>
                  </a:lnTo>
                  <a:cubicBezTo>
                    <a:pt x="60" y="228"/>
                    <a:pt x="0" y="287"/>
                    <a:pt x="0" y="382"/>
                  </a:cubicBezTo>
                  <a:cubicBezTo>
                    <a:pt x="0" y="525"/>
                    <a:pt x="36" y="680"/>
                    <a:pt x="143" y="811"/>
                  </a:cubicBezTo>
                  <a:cubicBezTo>
                    <a:pt x="262" y="978"/>
                    <a:pt x="369" y="1287"/>
                    <a:pt x="369" y="1466"/>
                  </a:cubicBezTo>
                  <a:lnTo>
                    <a:pt x="369" y="1513"/>
                  </a:lnTo>
                  <a:cubicBezTo>
                    <a:pt x="369" y="1894"/>
                    <a:pt x="608" y="2252"/>
                    <a:pt x="1012" y="2478"/>
                  </a:cubicBezTo>
                  <a:cubicBezTo>
                    <a:pt x="1167" y="2561"/>
                    <a:pt x="1274" y="2716"/>
                    <a:pt x="1286" y="2859"/>
                  </a:cubicBezTo>
                  <a:cubicBezTo>
                    <a:pt x="1322" y="3276"/>
                    <a:pt x="1739" y="3621"/>
                    <a:pt x="2263" y="3621"/>
                  </a:cubicBezTo>
                  <a:cubicBezTo>
                    <a:pt x="2513" y="3633"/>
                    <a:pt x="2739" y="3752"/>
                    <a:pt x="2834" y="3918"/>
                  </a:cubicBezTo>
                  <a:cubicBezTo>
                    <a:pt x="3021" y="4198"/>
                    <a:pt x="3383" y="4361"/>
                    <a:pt x="3760" y="4361"/>
                  </a:cubicBezTo>
                  <a:cubicBezTo>
                    <a:pt x="3864" y="4361"/>
                    <a:pt x="3969" y="4349"/>
                    <a:pt x="4072" y="4323"/>
                  </a:cubicBezTo>
                  <a:cubicBezTo>
                    <a:pt x="4145" y="4306"/>
                    <a:pt x="4220" y="4298"/>
                    <a:pt x="4295" y="4298"/>
                  </a:cubicBezTo>
                  <a:cubicBezTo>
                    <a:pt x="4475" y="4298"/>
                    <a:pt x="4652" y="4346"/>
                    <a:pt x="4787" y="4430"/>
                  </a:cubicBezTo>
                  <a:cubicBezTo>
                    <a:pt x="4977" y="4550"/>
                    <a:pt x="5203" y="4621"/>
                    <a:pt x="5441" y="4621"/>
                  </a:cubicBezTo>
                  <a:cubicBezTo>
                    <a:pt x="5680" y="4621"/>
                    <a:pt x="5918" y="4561"/>
                    <a:pt x="6096" y="4430"/>
                  </a:cubicBezTo>
                  <a:cubicBezTo>
                    <a:pt x="6231" y="4346"/>
                    <a:pt x="6408" y="4298"/>
                    <a:pt x="6588" y="4298"/>
                  </a:cubicBezTo>
                  <a:cubicBezTo>
                    <a:pt x="6663" y="4298"/>
                    <a:pt x="6738" y="4306"/>
                    <a:pt x="6811" y="4323"/>
                  </a:cubicBezTo>
                  <a:cubicBezTo>
                    <a:pt x="6911" y="4348"/>
                    <a:pt x="7013" y="4360"/>
                    <a:pt x="7113" y="4360"/>
                  </a:cubicBezTo>
                  <a:cubicBezTo>
                    <a:pt x="7494" y="4360"/>
                    <a:pt x="7861" y="4191"/>
                    <a:pt x="8049" y="3918"/>
                  </a:cubicBezTo>
                  <a:cubicBezTo>
                    <a:pt x="8156" y="3752"/>
                    <a:pt x="8370" y="3633"/>
                    <a:pt x="8632" y="3621"/>
                  </a:cubicBezTo>
                  <a:cubicBezTo>
                    <a:pt x="9132" y="3621"/>
                    <a:pt x="9561" y="3299"/>
                    <a:pt x="9597" y="2859"/>
                  </a:cubicBezTo>
                  <a:cubicBezTo>
                    <a:pt x="9609" y="2716"/>
                    <a:pt x="9704" y="2585"/>
                    <a:pt x="9883" y="2478"/>
                  </a:cubicBezTo>
                  <a:cubicBezTo>
                    <a:pt x="10287" y="2252"/>
                    <a:pt x="10525" y="1883"/>
                    <a:pt x="10525" y="1513"/>
                  </a:cubicBezTo>
                  <a:lnTo>
                    <a:pt x="10525" y="1466"/>
                  </a:lnTo>
                  <a:cubicBezTo>
                    <a:pt x="10525" y="1287"/>
                    <a:pt x="10621" y="966"/>
                    <a:pt x="10740" y="811"/>
                  </a:cubicBezTo>
                  <a:cubicBezTo>
                    <a:pt x="10835" y="680"/>
                    <a:pt x="10895" y="525"/>
                    <a:pt x="10895" y="382"/>
                  </a:cubicBezTo>
                  <a:cubicBezTo>
                    <a:pt x="10895" y="287"/>
                    <a:pt x="10835" y="216"/>
                    <a:pt x="10740" y="216"/>
                  </a:cubicBezTo>
                  <a:lnTo>
                    <a:pt x="8751" y="25"/>
                  </a:lnTo>
                  <a:cubicBezTo>
                    <a:pt x="8668" y="25"/>
                    <a:pt x="8585" y="1"/>
                    <a:pt x="8513" y="1"/>
                  </a:cubicBezTo>
                  <a:cubicBezTo>
                    <a:pt x="8506" y="0"/>
                    <a:pt x="8499" y="0"/>
                    <a:pt x="8493" y="0"/>
                  </a:cubicBezTo>
                  <a:cubicBezTo>
                    <a:pt x="8408" y="0"/>
                    <a:pt x="8346" y="68"/>
                    <a:pt x="8335" y="156"/>
                  </a:cubicBezTo>
                  <a:cubicBezTo>
                    <a:pt x="8323" y="239"/>
                    <a:pt x="8394" y="323"/>
                    <a:pt x="8478" y="335"/>
                  </a:cubicBezTo>
                  <a:cubicBezTo>
                    <a:pt x="8561" y="335"/>
                    <a:pt x="8644" y="347"/>
                    <a:pt x="8716" y="347"/>
                  </a:cubicBezTo>
                  <a:lnTo>
                    <a:pt x="9656" y="442"/>
                  </a:lnTo>
                  <a:cubicBezTo>
                    <a:pt x="9418" y="2109"/>
                    <a:pt x="7620" y="3383"/>
                    <a:pt x="5441" y="3383"/>
                  </a:cubicBezTo>
                  <a:cubicBezTo>
                    <a:pt x="3275" y="3383"/>
                    <a:pt x="1453" y="2109"/>
                    <a:pt x="1227" y="442"/>
                  </a:cubicBezTo>
                  <a:lnTo>
                    <a:pt x="2167" y="347"/>
                  </a:lnTo>
                  <a:cubicBezTo>
                    <a:pt x="2239" y="347"/>
                    <a:pt x="2322" y="335"/>
                    <a:pt x="2393" y="335"/>
                  </a:cubicBezTo>
                  <a:cubicBezTo>
                    <a:pt x="2477" y="311"/>
                    <a:pt x="2560" y="239"/>
                    <a:pt x="2536" y="156"/>
                  </a:cubicBezTo>
                  <a:cubicBezTo>
                    <a:pt x="2525" y="68"/>
                    <a:pt x="2463" y="0"/>
                    <a:pt x="23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40" name="Google Shape;12340;p62"/>
          <p:cNvGrpSpPr/>
          <p:nvPr/>
        </p:nvGrpSpPr>
        <p:grpSpPr>
          <a:xfrm>
            <a:off x="7105923" y="1978545"/>
            <a:ext cx="333285" cy="350682"/>
            <a:chOff x="7105923" y="1978545"/>
            <a:chExt cx="333285" cy="350682"/>
          </a:xfrm>
        </p:grpSpPr>
        <p:sp>
          <p:nvSpPr>
            <p:cNvPr id="12341" name="Google Shape;12341;p62"/>
            <p:cNvSpPr/>
            <p:nvPr/>
          </p:nvSpPr>
          <p:spPr>
            <a:xfrm>
              <a:off x="7128632" y="2237978"/>
              <a:ext cx="220059" cy="91249"/>
            </a:xfrm>
            <a:custGeom>
              <a:avLst/>
              <a:gdLst/>
              <a:ahLst/>
              <a:cxnLst/>
              <a:rect l="l" t="t" r="r" b="b"/>
              <a:pathLst>
                <a:path w="6919" h="2869" extrusionOk="0">
                  <a:moveTo>
                    <a:pt x="6271" y="1"/>
                  </a:moveTo>
                  <a:cubicBezTo>
                    <a:pt x="6254" y="1"/>
                    <a:pt x="6235" y="4"/>
                    <a:pt x="6216" y="11"/>
                  </a:cubicBezTo>
                  <a:cubicBezTo>
                    <a:pt x="6133" y="23"/>
                    <a:pt x="6073" y="107"/>
                    <a:pt x="6097" y="202"/>
                  </a:cubicBezTo>
                  <a:cubicBezTo>
                    <a:pt x="6323" y="1214"/>
                    <a:pt x="6549" y="1893"/>
                    <a:pt x="6597" y="2059"/>
                  </a:cubicBezTo>
                  <a:lnTo>
                    <a:pt x="6597" y="2083"/>
                  </a:lnTo>
                  <a:cubicBezTo>
                    <a:pt x="6549" y="2143"/>
                    <a:pt x="6335" y="2274"/>
                    <a:pt x="5668" y="2393"/>
                  </a:cubicBezTo>
                  <a:cubicBezTo>
                    <a:pt x="5073" y="2500"/>
                    <a:pt x="4287" y="2559"/>
                    <a:pt x="3466" y="2559"/>
                  </a:cubicBezTo>
                  <a:cubicBezTo>
                    <a:pt x="2644" y="2559"/>
                    <a:pt x="1870" y="2500"/>
                    <a:pt x="1263" y="2393"/>
                  </a:cubicBezTo>
                  <a:cubicBezTo>
                    <a:pt x="596" y="2274"/>
                    <a:pt x="370" y="2143"/>
                    <a:pt x="346" y="2083"/>
                  </a:cubicBezTo>
                  <a:lnTo>
                    <a:pt x="346" y="2059"/>
                  </a:lnTo>
                  <a:cubicBezTo>
                    <a:pt x="406" y="1893"/>
                    <a:pt x="620" y="1214"/>
                    <a:pt x="834" y="202"/>
                  </a:cubicBezTo>
                  <a:cubicBezTo>
                    <a:pt x="846" y="107"/>
                    <a:pt x="799" y="23"/>
                    <a:pt x="715" y="11"/>
                  </a:cubicBezTo>
                  <a:cubicBezTo>
                    <a:pt x="699" y="7"/>
                    <a:pt x="683" y="5"/>
                    <a:pt x="668" y="5"/>
                  </a:cubicBezTo>
                  <a:cubicBezTo>
                    <a:pt x="594" y="5"/>
                    <a:pt x="535" y="52"/>
                    <a:pt x="525" y="131"/>
                  </a:cubicBezTo>
                  <a:cubicBezTo>
                    <a:pt x="263" y="1250"/>
                    <a:pt x="25" y="1988"/>
                    <a:pt x="13" y="2000"/>
                  </a:cubicBezTo>
                  <a:cubicBezTo>
                    <a:pt x="1" y="2024"/>
                    <a:pt x="1" y="2047"/>
                    <a:pt x="1" y="2059"/>
                  </a:cubicBezTo>
                  <a:lnTo>
                    <a:pt x="1" y="2083"/>
                  </a:lnTo>
                  <a:cubicBezTo>
                    <a:pt x="1" y="2345"/>
                    <a:pt x="346" y="2536"/>
                    <a:pt x="1096" y="2678"/>
                  </a:cubicBezTo>
                  <a:cubicBezTo>
                    <a:pt x="1727" y="2798"/>
                    <a:pt x="2573" y="2869"/>
                    <a:pt x="3454" y="2869"/>
                  </a:cubicBezTo>
                  <a:cubicBezTo>
                    <a:pt x="4347" y="2869"/>
                    <a:pt x="5180" y="2809"/>
                    <a:pt x="5799" y="2678"/>
                  </a:cubicBezTo>
                  <a:cubicBezTo>
                    <a:pt x="6549" y="2524"/>
                    <a:pt x="6907" y="2345"/>
                    <a:pt x="6907" y="2083"/>
                  </a:cubicBezTo>
                  <a:lnTo>
                    <a:pt x="6907" y="2059"/>
                  </a:lnTo>
                  <a:cubicBezTo>
                    <a:pt x="6918" y="2036"/>
                    <a:pt x="6918" y="2000"/>
                    <a:pt x="6918" y="1988"/>
                  </a:cubicBezTo>
                  <a:cubicBezTo>
                    <a:pt x="6918" y="1988"/>
                    <a:pt x="6668" y="1250"/>
                    <a:pt x="6406" y="131"/>
                  </a:cubicBezTo>
                  <a:cubicBezTo>
                    <a:pt x="6397" y="54"/>
                    <a:pt x="6342" y="1"/>
                    <a:pt x="6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2" name="Google Shape;12342;p62"/>
            <p:cNvSpPr/>
            <p:nvPr/>
          </p:nvSpPr>
          <p:spPr>
            <a:xfrm>
              <a:off x="7105923" y="2079271"/>
              <a:ext cx="266621" cy="145063"/>
            </a:xfrm>
            <a:custGeom>
              <a:avLst/>
              <a:gdLst/>
              <a:ahLst/>
              <a:cxnLst/>
              <a:rect l="l" t="t" r="r" b="b"/>
              <a:pathLst>
                <a:path w="8383" h="4561" extrusionOk="0">
                  <a:moveTo>
                    <a:pt x="4227" y="310"/>
                  </a:moveTo>
                  <a:cubicBezTo>
                    <a:pt x="5287" y="310"/>
                    <a:pt x="6275" y="418"/>
                    <a:pt x="7037" y="596"/>
                  </a:cubicBezTo>
                  <a:cubicBezTo>
                    <a:pt x="7763" y="775"/>
                    <a:pt x="8097" y="989"/>
                    <a:pt x="8097" y="1132"/>
                  </a:cubicBezTo>
                  <a:cubicBezTo>
                    <a:pt x="8049" y="1191"/>
                    <a:pt x="7966" y="1275"/>
                    <a:pt x="7811" y="1370"/>
                  </a:cubicBezTo>
                  <a:cubicBezTo>
                    <a:pt x="7621" y="1477"/>
                    <a:pt x="7335" y="1572"/>
                    <a:pt x="6990" y="1668"/>
                  </a:cubicBezTo>
                  <a:cubicBezTo>
                    <a:pt x="6835" y="1715"/>
                    <a:pt x="6668" y="1739"/>
                    <a:pt x="6489" y="1775"/>
                  </a:cubicBezTo>
                  <a:cubicBezTo>
                    <a:pt x="6454" y="1775"/>
                    <a:pt x="6418" y="1787"/>
                    <a:pt x="6382" y="1787"/>
                  </a:cubicBezTo>
                  <a:lnTo>
                    <a:pt x="6347" y="1787"/>
                  </a:lnTo>
                  <a:cubicBezTo>
                    <a:pt x="6323" y="1787"/>
                    <a:pt x="6287" y="1799"/>
                    <a:pt x="6263" y="1799"/>
                  </a:cubicBezTo>
                  <a:lnTo>
                    <a:pt x="6228" y="1799"/>
                  </a:lnTo>
                  <a:cubicBezTo>
                    <a:pt x="6192" y="1799"/>
                    <a:pt x="6156" y="1811"/>
                    <a:pt x="6120" y="1811"/>
                  </a:cubicBezTo>
                  <a:lnTo>
                    <a:pt x="6097" y="1811"/>
                  </a:lnTo>
                  <a:cubicBezTo>
                    <a:pt x="6061" y="1811"/>
                    <a:pt x="6025" y="1834"/>
                    <a:pt x="5977" y="1834"/>
                  </a:cubicBezTo>
                  <a:lnTo>
                    <a:pt x="5942" y="1834"/>
                  </a:lnTo>
                  <a:cubicBezTo>
                    <a:pt x="5906" y="1834"/>
                    <a:pt x="5882" y="1834"/>
                    <a:pt x="5847" y="1846"/>
                  </a:cubicBezTo>
                  <a:lnTo>
                    <a:pt x="5799" y="1846"/>
                  </a:lnTo>
                  <a:cubicBezTo>
                    <a:pt x="5763" y="1846"/>
                    <a:pt x="5716" y="1858"/>
                    <a:pt x="5680" y="1858"/>
                  </a:cubicBezTo>
                  <a:lnTo>
                    <a:pt x="5668" y="1858"/>
                  </a:lnTo>
                  <a:cubicBezTo>
                    <a:pt x="5644" y="1858"/>
                    <a:pt x="5596" y="1858"/>
                    <a:pt x="5561" y="1870"/>
                  </a:cubicBezTo>
                  <a:lnTo>
                    <a:pt x="5382" y="1870"/>
                  </a:lnTo>
                  <a:cubicBezTo>
                    <a:pt x="5346" y="1870"/>
                    <a:pt x="5299" y="1870"/>
                    <a:pt x="5263" y="1894"/>
                  </a:cubicBezTo>
                  <a:lnTo>
                    <a:pt x="3156" y="1894"/>
                  </a:lnTo>
                  <a:cubicBezTo>
                    <a:pt x="3108" y="1894"/>
                    <a:pt x="3060" y="1894"/>
                    <a:pt x="3037" y="1870"/>
                  </a:cubicBezTo>
                  <a:lnTo>
                    <a:pt x="2858" y="1870"/>
                  </a:lnTo>
                  <a:cubicBezTo>
                    <a:pt x="2810" y="1870"/>
                    <a:pt x="2787" y="1870"/>
                    <a:pt x="2751" y="1858"/>
                  </a:cubicBezTo>
                  <a:lnTo>
                    <a:pt x="2739" y="1858"/>
                  </a:lnTo>
                  <a:cubicBezTo>
                    <a:pt x="2691" y="1858"/>
                    <a:pt x="2644" y="1846"/>
                    <a:pt x="2620" y="1846"/>
                  </a:cubicBezTo>
                  <a:lnTo>
                    <a:pt x="2572" y="1846"/>
                  </a:lnTo>
                  <a:cubicBezTo>
                    <a:pt x="2548" y="1846"/>
                    <a:pt x="2513" y="1846"/>
                    <a:pt x="2489" y="1834"/>
                  </a:cubicBezTo>
                  <a:lnTo>
                    <a:pt x="2441" y="1834"/>
                  </a:lnTo>
                  <a:cubicBezTo>
                    <a:pt x="2394" y="1834"/>
                    <a:pt x="2370" y="1811"/>
                    <a:pt x="2322" y="1811"/>
                  </a:cubicBezTo>
                  <a:lnTo>
                    <a:pt x="2310" y="1811"/>
                  </a:lnTo>
                  <a:cubicBezTo>
                    <a:pt x="2263" y="1811"/>
                    <a:pt x="2227" y="1799"/>
                    <a:pt x="2191" y="1799"/>
                  </a:cubicBezTo>
                  <a:lnTo>
                    <a:pt x="2156" y="1799"/>
                  </a:lnTo>
                  <a:cubicBezTo>
                    <a:pt x="2132" y="1799"/>
                    <a:pt x="2096" y="1787"/>
                    <a:pt x="2072" y="1787"/>
                  </a:cubicBezTo>
                  <a:lnTo>
                    <a:pt x="2037" y="1787"/>
                  </a:lnTo>
                  <a:cubicBezTo>
                    <a:pt x="1989" y="1787"/>
                    <a:pt x="1965" y="1775"/>
                    <a:pt x="1917" y="1775"/>
                  </a:cubicBezTo>
                  <a:cubicBezTo>
                    <a:pt x="1739" y="1739"/>
                    <a:pt x="1572" y="1715"/>
                    <a:pt x="1417" y="1668"/>
                  </a:cubicBezTo>
                  <a:cubicBezTo>
                    <a:pt x="679" y="1489"/>
                    <a:pt x="358" y="1263"/>
                    <a:pt x="358" y="1132"/>
                  </a:cubicBezTo>
                  <a:cubicBezTo>
                    <a:pt x="358" y="1072"/>
                    <a:pt x="441" y="977"/>
                    <a:pt x="596" y="894"/>
                  </a:cubicBezTo>
                  <a:cubicBezTo>
                    <a:pt x="786" y="787"/>
                    <a:pt x="1072" y="680"/>
                    <a:pt x="1417" y="596"/>
                  </a:cubicBezTo>
                  <a:cubicBezTo>
                    <a:pt x="2156" y="418"/>
                    <a:pt x="3156" y="310"/>
                    <a:pt x="4227" y="310"/>
                  </a:cubicBezTo>
                  <a:close/>
                  <a:moveTo>
                    <a:pt x="6347" y="2108"/>
                  </a:moveTo>
                  <a:lnTo>
                    <a:pt x="6347" y="2180"/>
                  </a:lnTo>
                  <a:cubicBezTo>
                    <a:pt x="6347" y="2239"/>
                    <a:pt x="6370" y="2287"/>
                    <a:pt x="6370" y="2346"/>
                  </a:cubicBezTo>
                  <a:lnTo>
                    <a:pt x="6370" y="2442"/>
                  </a:lnTo>
                  <a:cubicBezTo>
                    <a:pt x="6370" y="2513"/>
                    <a:pt x="6382" y="2608"/>
                    <a:pt x="6382" y="2680"/>
                  </a:cubicBezTo>
                  <a:lnTo>
                    <a:pt x="6382" y="2692"/>
                  </a:lnTo>
                  <a:cubicBezTo>
                    <a:pt x="6382" y="2739"/>
                    <a:pt x="6394" y="2799"/>
                    <a:pt x="6394" y="2846"/>
                  </a:cubicBezTo>
                  <a:cubicBezTo>
                    <a:pt x="5739" y="2930"/>
                    <a:pt x="4965" y="2977"/>
                    <a:pt x="4180" y="2977"/>
                  </a:cubicBezTo>
                  <a:cubicBezTo>
                    <a:pt x="3394" y="2977"/>
                    <a:pt x="2620" y="2930"/>
                    <a:pt x="1929" y="2823"/>
                  </a:cubicBezTo>
                  <a:cubicBezTo>
                    <a:pt x="1929" y="2787"/>
                    <a:pt x="1953" y="2727"/>
                    <a:pt x="1953" y="2680"/>
                  </a:cubicBezTo>
                  <a:lnTo>
                    <a:pt x="1953" y="2668"/>
                  </a:lnTo>
                  <a:cubicBezTo>
                    <a:pt x="1965" y="2585"/>
                    <a:pt x="1965" y="2501"/>
                    <a:pt x="1965" y="2418"/>
                  </a:cubicBezTo>
                  <a:cubicBezTo>
                    <a:pt x="1965" y="2394"/>
                    <a:pt x="1965" y="2370"/>
                    <a:pt x="1977" y="2334"/>
                  </a:cubicBezTo>
                  <a:cubicBezTo>
                    <a:pt x="1977" y="2287"/>
                    <a:pt x="1989" y="2227"/>
                    <a:pt x="1989" y="2180"/>
                  </a:cubicBezTo>
                  <a:lnTo>
                    <a:pt x="1989" y="2108"/>
                  </a:lnTo>
                  <a:cubicBezTo>
                    <a:pt x="2322" y="2156"/>
                    <a:pt x="2656" y="2204"/>
                    <a:pt x="3037" y="2227"/>
                  </a:cubicBezTo>
                  <a:lnTo>
                    <a:pt x="3120" y="2227"/>
                  </a:lnTo>
                  <a:cubicBezTo>
                    <a:pt x="3180" y="2227"/>
                    <a:pt x="3239" y="2227"/>
                    <a:pt x="3299" y="2251"/>
                  </a:cubicBezTo>
                  <a:lnTo>
                    <a:pt x="5037" y="2251"/>
                  </a:lnTo>
                  <a:cubicBezTo>
                    <a:pt x="5096" y="2251"/>
                    <a:pt x="5156" y="2251"/>
                    <a:pt x="5239" y="2227"/>
                  </a:cubicBezTo>
                  <a:lnTo>
                    <a:pt x="5311" y="2227"/>
                  </a:lnTo>
                  <a:cubicBezTo>
                    <a:pt x="5680" y="2204"/>
                    <a:pt x="6025" y="2168"/>
                    <a:pt x="6347" y="2108"/>
                  </a:cubicBezTo>
                  <a:close/>
                  <a:moveTo>
                    <a:pt x="4180" y="1"/>
                  </a:moveTo>
                  <a:cubicBezTo>
                    <a:pt x="3096" y="1"/>
                    <a:pt x="2060" y="108"/>
                    <a:pt x="1286" y="287"/>
                  </a:cubicBezTo>
                  <a:cubicBezTo>
                    <a:pt x="429" y="489"/>
                    <a:pt x="1" y="775"/>
                    <a:pt x="1" y="1132"/>
                  </a:cubicBezTo>
                  <a:cubicBezTo>
                    <a:pt x="1" y="1489"/>
                    <a:pt x="429" y="1775"/>
                    <a:pt x="1286" y="1977"/>
                  </a:cubicBezTo>
                  <a:cubicBezTo>
                    <a:pt x="1405" y="2001"/>
                    <a:pt x="1548" y="2037"/>
                    <a:pt x="1679" y="2073"/>
                  </a:cubicBezTo>
                  <a:cubicBezTo>
                    <a:pt x="1667" y="2287"/>
                    <a:pt x="1644" y="2501"/>
                    <a:pt x="1620" y="2715"/>
                  </a:cubicBezTo>
                  <a:lnTo>
                    <a:pt x="1620" y="2763"/>
                  </a:lnTo>
                  <a:cubicBezTo>
                    <a:pt x="1620" y="2811"/>
                    <a:pt x="1608" y="2858"/>
                    <a:pt x="1608" y="2894"/>
                  </a:cubicBezTo>
                  <a:cubicBezTo>
                    <a:pt x="1548" y="3370"/>
                    <a:pt x="1465" y="3870"/>
                    <a:pt x="1382" y="4370"/>
                  </a:cubicBezTo>
                  <a:cubicBezTo>
                    <a:pt x="1370" y="4466"/>
                    <a:pt x="1429" y="4549"/>
                    <a:pt x="1513" y="4561"/>
                  </a:cubicBezTo>
                  <a:lnTo>
                    <a:pt x="1548" y="4561"/>
                  </a:lnTo>
                  <a:cubicBezTo>
                    <a:pt x="1620" y="4561"/>
                    <a:pt x="1691" y="4501"/>
                    <a:pt x="1703" y="4430"/>
                  </a:cubicBezTo>
                  <a:cubicBezTo>
                    <a:pt x="1786" y="4001"/>
                    <a:pt x="1858" y="3585"/>
                    <a:pt x="1906" y="3156"/>
                  </a:cubicBezTo>
                  <a:cubicBezTo>
                    <a:pt x="2596" y="3239"/>
                    <a:pt x="3370" y="3299"/>
                    <a:pt x="4180" y="3299"/>
                  </a:cubicBezTo>
                  <a:cubicBezTo>
                    <a:pt x="4977" y="3299"/>
                    <a:pt x="5775" y="3251"/>
                    <a:pt x="6454" y="3156"/>
                  </a:cubicBezTo>
                  <a:cubicBezTo>
                    <a:pt x="6501" y="3573"/>
                    <a:pt x="6573" y="4001"/>
                    <a:pt x="6644" y="4418"/>
                  </a:cubicBezTo>
                  <a:cubicBezTo>
                    <a:pt x="6666" y="4494"/>
                    <a:pt x="6738" y="4551"/>
                    <a:pt x="6822" y="4551"/>
                  </a:cubicBezTo>
                  <a:cubicBezTo>
                    <a:pt x="6830" y="4551"/>
                    <a:pt x="6838" y="4550"/>
                    <a:pt x="6847" y="4549"/>
                  </a:cubicBezTo>
                  <a:cubicBezTo>
                    <a:pt x="6930" y="4537"/>
                    <a:pt x="6990" y="4442"/>
                    <a:pt x="6978" y="4359"/>
                  </a:cubicBezTo>
                  <a:cubicBezTo>
                    <a:pt x="6882" y="3870"/>
                    <a:pt x="6811" y="3370"/>
                    <a:pt x="6751" y="2882"/>
                  </a:cubicBezTo>
                  <a:cubicBezTo>
                    <a:pt x="6751" y="2835"/>
                    <a:pt x="6739" y="2799"/>
                    <a:pt x="6739" y="2751"/>
                  </a:cubicBezTo>
                  <a:lnTo>
                    <a:pt x="6739" y="2704"/>
                  </a:lnTo>
                  <a:cubicBezTo>
                    <a:pt x="6728" y="2477"/>
                    <a:pt x="6692" y="2275"/>
                    <a:pt x="6680" y="2049"/>
                  </a:cubicBezTo>
                  <a:cubicBezTo>
                    <a:pt x="6811" y="2025"/>
                    <a:pt x="6942" y="1989"/>
                    <a:pt x="7061" y="1965"/>
                  </a:cubicBezTo>
                  <a:cubicBezTo>
                    <a:pt x="7930" y="1751"/>
                    <a:pt x="8359" y="1465"/>
                    <a:pt x="8359" y="1108"/>
                  </a:cubicBezTo>
                  <a:cubicBezTo>
                    <a:pt x="8383" y="775"/>
                    <a:pt x="7930" y="489"/>
                    <a:pt x="7073" y="287"/>
                  </a:cubicBezTo>
                  <a:cubicBezTo>
                    <a:pt x="6299" y="84"/>
                    <a:pt x="5263"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3" name="Google Shape;12343;p62"/>
            <p:cNvSpPr/>
            <p:nvPr/>
          </p:nvSpPr>
          <p:spPr>
            <a:xfrm>
              <a:off x="7144184" y="2098609"/>
              <a:ext cx="190480" cy="33332"/>
            </a:xfrm>
            <a:custGeom>
              <a:avLst/>
              <a:gdLst/>
              <a:ahLst/>
              <a:cxnLst/>
              <a:rect l="l" t="t" r="r" b="b"/>
              <a:pathLst>
                <a:path w="5989" h="1048" extrusionOk="0">
                  <a:moveTo>
                    <a:pt x="2977" y="322"/>
                  </a:moveTo>
                  <a:cubicBezTo>
                    <a:pt x="3822" y="322"/>
                    <a:pt x="4655" y="405"/>
                    <a:pt x="5310" y="524"/>
                  </a:cubicBezTo>
                  <a:cubicBezTo>
                    <a:pt x="4655" y="643"/>
                    <a:pt x="3846" y="714"/>
                    <a:pt x="2977" y="714"/>
                  </a:cubicBezTo>
                  <a:cubicBezTo>
                    <a:pt x="2131" y="714"/>
                    <a:pt x="1298" y="643"/>
                    <a:pt x="643" y="524"/>
                  </a:cubicBezTo>
                  <a:cubicBezTo>
                    <a:pt x="1298" y="405"/>
                    <a:pt x="2131" y="322"/>
                    <a:pt x="2977" y="322"/>
                  </a:cubicBezTo>
                  <a:close/>
                  <a:moveTo>
                    <a:pt x="2989" y="0"/>
                  </a:moveTo>
                  <a:cubicBezTo>
                    <a:pt x="2119" y="0"/>
                    <a:pt x="1250" y="72"/>
                    <a:pt x="583" y="214"/>
                  </a:cubicBezTo>
                  <a:cubicBezTo>
                    <a:pt x="429" y="238"/>
                    <a:pt x="298" y="274"/>
                    <a:pt x="179" y="298"/>
                  </a:cubicBezTo>
                  <a:cubicBezTo>
                    <a:pt x="72" y="333"/>
                    <a:pt x="0" y="417"/>
                    <a:pt x="0" y="524"/>
                  </a:cubicBezTo>
                  <a:cubicBezTo>
                    <a:pt x="0" y="631"/>
                    <a:pt x="72" y="714"/>
                    <a:pt x="179" y="750"/>
                  </a:cubicBezTo>
                  <a:cubicBezTo>
                    <a:pt x="298" y="774"/>
                    <a:pt x="453" y="810"/>
                    <a:pt x="583" y="834"/>
                  </a:cubicBezTo>
                  <a:cubicBezTo>
                    <a:pt x="1262" y="964"/>
                    <a:pt x="2119" y="1048"/>
                    <a:pt x="2989" y="1048"/>
                  </a:cubicBezTo>
                  <a:cubicBezTo>
                    <a:pt x="3870" y="1048"/>
                    <a:pt x="4739" y="964"/>
                    <a:pt x="5406" y="834"/>
                  </a:cubicBezTo>
                  <a:cubicBezTo>
                    <a:pt x="5548" y="810"/>
                    <a:pt x="5691" y="774"/>
                    <a:pt x="5810" y="750"/>
                  </a:cubicBezTo>
                  <a:cubicBezTo>
                    <a:pt x="5906" y="714"/>
                    <a:pt x="5989" y="631"/>
                    <a:pt x="5989" y="524"/>
                  </a:cubicBezTo>
                  <a:cubicBezTo>
                    <a:pt x="5989" y="417"/>
                    <a:pt x="5906" y="333"/>
                    <a:pt x="5810" y="298"/>
                  </a:cubicBezTo>
                  <a:cubicBezTo>
                    <a:pt x="5691" y="274"/>
                    <a:pt x="5536" y="238"/>
                    <a:pt x="5406" y="214"/>
                  </a:cubicBezTo>
                  <a:cubicBezTo>
                    <a:pt x="4715" y="72"/>
                    <a:pt x="3870" y="0"/>
                    <a:pt x="2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4" name="Google Shape;12344;p62"/>
            <p:cNvSpPr/>
            <p:nvPr/>
          </p:nvSpPr>
          <p:spPr>
            <a:xfrm>
              <a:off x="7196440" y="1978927"/>
              <a:ext cx="242768" cy="96210"/>
            </a:xfrm>
            <a:custGeom>
              <a:avLst/>
              <a:gdLst/>
              <a:ahLst/>
              <a:cxnLst/>
              <a:rect l="l" t="t" r="r" b="b"/>
              <a:pathLst>
                <a:path w="7633" h="3025" extrusionOk="0">
                  <a:moveTo>
                    <a:pt x="7144" y="346"/>
                  </a:moveTo>
                  <a:cubicBezTo>
                    <a:pt x="7156" y="358"/>
                    <a:pt x="7168" y="370"/>
                    <a:pt x="7180" y="394"/>
                  </a:cubicBezTo>
                  <a:lnTo>
                    <a:pt x="7287" y="775"/>
                  </a:lnTo>
                  <a:cubicBezTo>
                    <a:pt x="7299" y="798"/>
                    <a:pt x="7299" y="834"/>
                    <a:pt x="7287" y="846"/>
                  </a:cubicBezTo>
                  <a:lnTo>
                    <a:pt x="1822" y="2322"/>
                  </a:lnTo>
                  <a:lnTo>
                    <a:pt x="1750" y="2084"/>
                  </a:lnTo>
                  <a:lnTo>
                    <a:pt x="7120" y="346"/>
                  </a:lnTo>
                  <a:close/>
                  <a:moveTo>
                    <a:pt x="1441" y="2168"/>
                  </a:moveTo>
                  <a:lnTo>
                    <a:pt x="1512" y="2394"/>
                  </a:lnTo>
                  <a:lnTo>
                    <a:pt x="429" y="2692"/>
                  </a:lnTo>
                  <a:cubicBezTo>
                    <a:pt x="417" y="2692"/>
                    <a:pt x="381" y="2680"/>
                    <a:pt x="369" y="2620"/>
                  </a:cubicBezTo>
                  <a:lnTo>
                    <a:pt x="369" y="2596"/>
                  </a:lnTo>
                  <a:cubicBezTo>
                    <a:pt x="357" y="2561"/>
                    <a:pt x="369" y="2513"/>
                    <a:pt x="381" y="2513"/>
                  </a:cubicBezTo>
                  <a:lnTo>
                    <a:pt x="1441" y="2168"/>
                  </a:lnTo>
                  <a:close/>
                  <a:moveTo>
                    <a:pt x="7111" y="1"/>
                  </a:moveTo>
                  <a:cubicBezTo>
                    <a:pt x="7082" y="1"/>
                    <a:pt x="7053" y="5"/>
                    <a:pt x="7025" y="13"/>
                  </a:cubicBezTo>
                  <a:lnTo>
                    <a:pt x="1500" y="1810"/>
                  </a:lnTo>
                  <a:lnTo>
                    <a:pt x="274" y="2215"/>
                  </a:lnTo>
                  <a:cubicBezTo>
                    <a:pt x="83" y="2275"/>
                    <a:pt x="0" y="2489"/>
                    <a:pt x="60" y="2703"/>
                  </a:cubicBezTo>
                  <a:lnTo>
                    <a:pt x="60" y="2727"/>
                  </a:lnTo>
                  <a:cubicBezTo>
                    <a:pt x="119" y="2906"/>
                    <a:pt x="262" y="3025"/>
                    <a:pt x="429" y="3025"/>
                  </a:cubicBezTo>
                  <a:cubicBezTo>
                    <a:pt x="453" y="3025"/>
                    <a:pt x="488" y="3025"/>
                    <a:pt x="512" y="3001"/>
                  </a:cubicBezTo>
                  <a:lnTo>
                    <a:pt x="7358" y="1156"/>
                  </a:lnTo>
                  <a:cubicBezTo>
                    <a:pt x="7453" y="1132"/>
                    <a:pt x="7525" y="1072"/>
                    <a:pt x="7573" y="1001"/>
                  </a:cubicBezTo>
                  <a:cubicBezTo>
                    <a:pt x="7620" y="906"/>
                    <a:pt x="7632" y="787"/>
                    <a:pt x="7596" y="667"/>
                  </a:cubicBezTo>
                  <a:lnTo>
                    <a:pt x="7501" y="298"/>
                  </a:lnTo>
                  <a:cubicBezTo>
                    <a:pt x="7465" y="179"/>
                    <a:pt x="7394" y="84"/>
                    <a:pt x="7287" y="48"/>
                  </a:cubicBezTo>
                  <a:cubicBezTo>
                    <a:pt x="7231" y="17"/>
                    <a:pt x="7170" y="1"/>
                    <a:pt x="71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5" name="Google Shape;12345;p62"/>
            <p:cNvSpPr/>
            <p:nvPr/>
          </p:nvSpPr>
          <p:spPr>
            <a:xfrm>
              <a:off x="7145297" y="2025139"/>
              <a:ext cx="32982" cy="33363"/>
            </a:xfrm>
            <a:custGeom>
              <a:avLst/>
              <a:gdLst/>
              <a:ahLst/>
              <a:cxnLst/>
              <a:rect l="l" t="t" r="r" b="b"/>
              <a:pathLst>
                <a:path w="1037" h="1049" extrusionOk="0">
                  <a:moveTo>
                    <a:pt x="513" y="0"/>
                  </a:moveTo>
                  <a:cubicBezTo>
                    <a:pt x="429" y="0"/>
                    <a:pt x="358" y="84"/>
                    <a:pt x="358" y="167"/>
                  </a:cubicBezTo>
                  <a:lnTo>
                    <a:pt x="358" y="357"/>
                  </a:lnTo>
                  <a:lnTo>
                    <a:pt x="156" y="357"/>
                  </a:lnTo>
                  <a:cubicBezTo>
                    <a:pt x="72" y="357"/>
                    <a:pt x="1" y="441"/>
                    <a:pt x="1" y="524"/>
                  </a:cubicBezTo>
                  <a:cubicBezTo>
                    <a:pt x="1" y="619"/>
                    <a:pt x="72" y="691"/>
                    <a:pt x="156" y="691"/>
                  </a:cubicBezTo>
                  <a:lnTo>
                    <a:pt x="358" y="691"/>
                  </a:lnTo>
                  <a:lnTo>
                    <a:pt x="358" y="881"/>
                  </a:lnTo>
                  <a:cubicBezTo>
                    <a:pt x="358" y="977"/>
                    <a:pt x="429" y="1048"/>
                    <a:pt x="513" y="1048"/>
                  </a:cubicBezTo>
                  <a:cubicBezTo>
                    <a:pt x="608" y="1048"/>
                    <a:pt x="679" y="977"/>
                    <a:pt x="679" y="881"/>
                  </a:cubicBezTo>
                  <a:lnTo>
                    <a:pt x="679" y="691"/>
                  </a:lnTo>
                  <a:lnTo>
                    <a:pt x="870" y="691"/>
                  </a:lnTo>
                  <a:cubicBezTo>
                    <a:pt x="965" y="691"/>
                    <a:pt x="1037" y="619"/>
                    <a:pt x="1037" y="524"/>
                  </a:cubicBezTo>
                  <a:cubicBezTo>
                    <a:pt x="1037" y="441"/>
                    <a:pt x="965" y="357"/>
                    <a:pt x="870" y="357"/>
                  </a:cubicBezTo>
                  <a:lnTo>
                    <a:pt x="679" y="357"/>
                  </a:lnTo>
                  <a:lnTo>
                    <a:pt x="679" y="167"/>
                  </a:lnTo>
                  <a:cubicBezTo>
                    <a:pt x="679" y="84"/>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6" name="Google Shape;12346;p62"/>
            <p:cNvSpPr/>
            <p:nvPr/>
          </p:nvSpPr>
          <p:spPr>
            <a:xfrm>
              <a:off x="7338417" y="2045590"/>
              <a:ext cx="32982" cy="33332"/>
            </a:xfrm>
            <a:custGeom>
              <a:avLst/>
              <a:gdLst/>
              <a:ahLst/>
              <a:cxnLst/>
              <a:rect l="l" t="t" r="r" b="b"/>
              <a:pathLst>
                <a:path w="1037" h="1048" extrusionOk="0">
                  <a:moveTo>
                    <a:pt x="513" y="0"/>
                  </a:moveTo>
                  <a:cubicBezTo>
                    <a:pt x="430" y="0"/>
                    <a:pt x="358" y="72"/>
                    <a:pt x="358" y="167"/>
                  </a:cubicBezTo>
                  <a:lnTo>
                    <a:pt x="358" y="357"/>
                  </a:lnTo>
                  <a:lnTo>
                    <a:pt x="156" y="357"/>
                  </a:lnTo>
                  <a:cubicBezTo>
                    <a:pt x="72" y="357"/>
                    <a:pt x="1" y="429"/>
                    <a:pt x="1" y="524"/>
                  </a:cubicBezTo>
                  <a:cubicBezTo>
                    <a:pt x="1" y="607"/>
                    <a:pt x="72" y="691"/>
                    <a:pt x="156" y="691"/>
                  </a:cubicBezTo>
                  <a:lnTo>
                    <a:pt x="358" y="691"/>
                  </a:lnTo>
                  <a:lnTo>
                    <a:pt x="358" y="881"/>
                  </a:lnTo>
                  <a:cubicBezTo>
                    <a:pt x="358" y="965"/>
                    <a:pt x="430" y="1048"/>
                    <a:pt x="513" y="1048"/>
                  </a:cubicBezTo>
                  <a:cubicBezTo>
                    <a:pt x="608" y="1048"/>
                    <a:pt x="680" y="965"/>
                    <a:pt x="680" y="881"/>
                  </a:cubicBezTo>
                  <a:lnTo>
                    <a:pt x="680" y="691"/>
                  </a:lnTo>
                  <a:lnTo>
                    <a:pt x="870" y="691"/>
                  </a:lnTo>
                  <a:cubicBezTo>
                    <a:pt x="965" y="691"/>
                    <a:pt x="1037" y="607"/>
                    <a:pt x="1037" y="524"/>
                  </a:cubicBezTo>
                  <a:cubicBezTo>
                    <a:pt x="1037" y="429"/>
                    <a:pt x="965" y="357"/>
                    <a:pt x="870" y="357"/>
                  </a:cubicBezTo>
                  <a:lnTo>
                    <a:pt x="680" y="357"/>
                  </a:lnTo>
                  <a:lnTo>
                    <a:pt x="680" y="167"/>
                  </a:lnTo>
                  <a:cubicBezTo>
                    <a:pt x="680" y="72"/>
                    <a:pt x="608"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7" name="Google Shape;12347;p62"/>
            <p:cNvSpPr/>
            <p:nvPr/>
          </p:nvSpPr>
          <p:spPr>
            <a:xfrm>
              <a:off x="7263453" y="1978545"/>
              <a:ext cx="33363" cy="32982"/>
            </a:xfrm>
            <a:custGeom>
              <a:avLst/>
              <a:gdLst/>
              <a:ahLst/>
              <a:cxnLst/>
              <a:rect l="l" t="t" r="r" b="b"/>
              <a:pathLst>
                <a:path w="1049" h="1037" extrusionOk="0">
                  <a:moveTo>
                    <a:pt x="524" y="1"/>
                  </a:moveTo>
                  <a:cubicBezTo>
                    <a:pt x="429" y="1"/>
                    <a:pt x="358" y="72"/>
                    <a:pt x="358" y="156"/>
                  </a:cubicBezTo>
                  <a:lnTo>
                    <a:pt x="358" y="358"/>
                  </a:lnTo>
                  <a:lnTo>
                    <a:pt x="167" y="358"/>
                  </a:lnTo>
                  <a:cubicBezTo>
                    <a:pt x="72" y="358"/>
                    <a:pt x="1" y="429"/>
                    <a:pt x="1" y="513"/>
                  </a:cubicBezTo>
                  <a:cubicBezTo>
                    <a:pt x="1" y="608"/>
                    <a:pt x="72" y="679"/>
                    <a:pt x="167" y="679"/>
                  </a:cubicBezTo>
                  <a:lnTo>
                    <a:pt x="358" y="679"/>
                  </a:lnTo>
                  <a:lnTo>
                    <a:pt x="358" y="870"/>
                  </a:lnTo>
                  <a:cubicBezTo>
                    <a:pt x="358" y="965"/>
                    <a:pt x="429" y="1037"/>
                    <a:pt x="524" y="1037"/>
                  </a:cubicBezTo>
                  <a:cubicBezTo>
                    <a:pt x="608" y="1037"/>
                    <a:pt x="691" y="965"/>
                    <a:pt x="691" y="870"/>
                  </a:cubicBezTo>
                  <a:lnTo>
                    <a:pt x="691" y="679"/>
                  </a:lnTo>
                  <a:lnTo>
                    <a:pt x="882" y="679"/>
                  </a:lnTo>
                  <a:cubicBezTo>
                    <a:pt x="965" y="679"/>
                    <a:pt x="1048" y="608"/>
                    <a:pt x="1048" y="513"/>
                  </a:cubicBezTo>
                  <a:cubicBezTo>
                    <a:pt x="1048" y="429"/>
                    <a:pt x="965" y="358"/>
                    <a:pt x="882" y="358"/>
                  </a:cubicBezTo>
                  <a:lnTo>
                    <a:pt x="691" y="358"/>
                  </a:lnTo>
                  <a:lnTo>
                    <a:pt x="691" y="156"/>
                  </a:lnTo>
                  <a:cubicBezTo>
                    <a:pt x="691" y="72"/>
                    <a:pt x="608"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48" name="Google Shape;12348;p62"/>
          <p:cNvSpPr/>
          <p:nvPr/>
        </p:nvSpPr>
        <p:spPr>
          <a:xfrm>
            <a:off x="6658713" y="1978545"/>
            <a:ext cx="342349" cy="350332"/>
          </a:xfrm>
          <a:custGeom>
            <a:avLst/>
            <a:gdLst/>
            <a:ahLst/>
            <a:cxnLst/>
            <a:rect l="l" t="t" r="r" b="b"/>
            <a:pathLst>
              <a:path w="10764" h="11015" extrusionOk="0">
                <a:moveTo>
                  <a:pt x="2179" y="8764"/>
                </a:moveTo>
                <a:lnTo>
                  <a:pt x="2179" y="9300"/>
                </a:lnTo>
                <a:lnTo>
                  <a:pt x="2167" y="9300"/>
                </a:lnTo>
                <a:cubicBezTo>
                  <a:pt x="2167" y="9347"/>
                  <a:pt x="2120" y="9383"/>
                  <a:pt x="2084" y="9383"/>
                </a:cubicBezTo>
                <a:lnTo>
                  <a:pt x="1989" y="9383"/>
                </a:lnTo>
                <a:cubicBezTo>
                  <a:pt x="1941" y="9383"/>
                  <a:pt x="1905" y="9347"/>
                  <a:pt x="1905" y="9300"/>
                </a:cubicBezTo>
                <a:lnTo>
                  <a:pt x="1905" y="8764"/>
                </a:lnTo>
                <a:close/>
                <a:moveTo>
                  <a:pt x="3870" y="8764"/>
                </a:moveTo>
                <a:lnTo>
                  <a:pt x="3870" y="9300"/>
                </a:lnTo>
                <a:lnTo>
                  <a:pt x="3846" y="9300"/>
                </a:lnTo>
                <a:cubicBezTo>
                  <a:pt x="3846" y="9347"/>
                  <a:pt x="3810" y="9383"/>
                  <a:pt x="3763" y="9383"/>
                </a:cubicBezTo>
                <a:lnTo>
                  <a:pt x="3667" y="9383"/>
                </a:lnTo>
                <a:cubicBezTo>
                  <a:pt x="3632" y="9383"/>
                  <a:pt x="3584" y="9347"/>
                  <a:pt x="3584" y="9300"/>
                </a:cubicBezTo>
                <a:lnTo>
                  <a:pt x="3584" y="8764"/>
                </a:lnTo>
                <a:close/>
                <a:moveTo>
                  <a:pt x="5537" y="8764"/>
                </a:moveTo>
                <a:lnTo>
                  <a:pt x="5537" y="9300"/>
                </a:lnTo>
                <a:lnTo>
                  <a:pt x="5513" y="9300"/>
                </a:lnTo>
                <a:cubicBezTo>
                  <a:pt x="5513" y="9347"/>
                  <a:pt x="5477" y="9383"/>
                  <a:pt x="5430" y="9383"/>
                </a:cubicBezTo>
                <a:lnTo>
                  <a:pt x="5334" y="9383"/>
                </a:lnTo>
                <a:cubicBezTo>
                  <a:pt x="5299" y="9383"/>
                  <a:pt x="5251" y="9347"/>
                  <a:pt x="5251" y="9300"/>
                </a:cubicBezTo>
                <a:lnTo>
                  <a:pt x="5251" y="8764"/>
                </a:lnTo>
                <a:close/>
                <a:moveTo>
                  <a:pt x="7215" y="8764"/>
                </a:moveTo>
                <a:lnTo>
                  <a:pt x="7215" y="9300"/>
                </a:lnTo>
                <a:lnTo>
                  <a:pt x="7204" y="9300"/>
                </a:lnTo>
                <a:cubicBezTo>
                  <a:pt x="7204" y="9347"/>
                  <a:pt x="7156" y="9383"/>
                  <a:pt x="7108" y="9383"/>
                </a:cubicBezTo>
                <a:lnTo>
                  <a:pt x="7025" y="9383"/>
                </a:lnTo>
                <a:cubicBezTo>
                  <a:pt x="6977" y="9383"/>
                  <a:pt x="6930" y="9347"/>
                  <a:pt x="6930" y="9300"/>
                </a:cubicBezTo>
                <a:lnTo>
                  <a:pt x="6930" y="8764"/>
                </a:lnTo>
                <a:close/>
                <a:moveTo>
                  <a:pt x="8894" y="8764"/>
                </a:moveTo>
                <a:lnTo>
                  <a:pt x="8894" y="9300"/>
                </a:lnTo>
                <a:lnTo>
                  <a:pt x="8882" y="9300"/>
                </a:lnTo>
                <a:cubicBezTo>
                  <a:pt x="8882" y="9347"/>
                  <a:pt x="8835" y="9383"/>
                  <a:pt x="8787" y="9383"/>
                </a:cubicBezTo>
                <a:lnTo>
                  <a:pt x="8704" y="9383"/>
                </a:lnTo>
                <a:cubicBezTo>
                  <a:pt x="8656" y="9383"/>
                  <a:pt x="8608" y="9347"/>
                  <a:pt x="8608" y="9300"/>
                </a:cubicBezTo>
                <a:lnTo>
                  <a:pt x="8608" y="8764"/>
                </a:lnTo>
                <a:close/>
                <a:moveTo>
                  <a:pt x="2703" y="8752"/>
                </a:moveTo>
                <a:lnTo>
                  <a:pt x="2703" y="10419"/>
                </a:lnTo>
                <a:lnTo>
                  <a:pt x="2179" y="10419"/>
                </a:lnTo>
                <a:lnTo>
                  <a:pt x="2179" y="9681"/>
                </a:lnTo>
                <a:cubicBezTo>
                  <a:pt x="2358" y="9645"/>
                  <a:pt x="2501" y="9478"/>
                  <a:pt x="2501" y="9288"/>
                </a:cubicBezTo>
                <a:lnTo>
                  <a:pt x="2501" y="8752"/>
                </a:lnTo>
                <a:close/>
                <a:moveTo>
                  <a:pt x="3227" y="8764"/>
                </a:moveTo>
                <a:lnTo>
                  <a:pt x="3227" y="9300"/>
                </a:lnTo>
                <a:cubicBezTo>
                  <a:pt x="3227" y="9490"/>
                  <a:pt x="3358" y="9657"/>
                  <a:pt x="3536" y="9704"/>
                </a:cubicBezTo>
                <a:lnTo>
                  <a:pt x="3536" y="10419"/>
                </a:lnTo>
                <a:lnTo>
                  <a:pt x="3013" y="10419"/>
                </a:lnTo>
                <a:lnTo>
                  <a:pt x="3013" y="8764"/>
                </a:lnTo>
                <a:close/>
                <a:moveTo>
                  <a:pt x="4370" y="8752"/>
                </a:moveTo>
                <a:lnTo>
                  <a:pt x="4370" y="10419"/>
                </a:lnTo>
                <a:lnTo>
                  <a:pt x="3846" y="10419"/>
                </a:lnTo>
                <a:lnTo>
                  <a:pt x="3846" y="9681"/>
                </a:lnTo>
                <a:cubicBezTo>
                  <a:pt x="4025" y="9645"/>
                  <a:pt x="4167" y="9478"/>
                  <a:pt x="4167" y="9288"/>
                </a:cubicBezTo>
                <a:lnTo>
                  <a:pt x="4167" y="8752"/>
                </a:lnTo>
                <a:close/>
                <a:moveTo>
                  <a:pt x="4906" y="8764"/>
                </a:moveTo>
                <a:lnTo>
                  <a:pt x="4906" y="9300"/>
                </a:lnTo>
                <a:cubicBezTo>
                  <a:pt x="4906" y="9490"/>
                  <a:pt x="5037" y="9657"/>
                  <a:pt x="5215" y="9704"/>
                </a:cubicBezTo>
                <a:lnTo>
                  <a:pt x="5215" y="10419"/>
                </a:lnTo>
                <a:lnTo>
                  <a:pt x="4703" y="10419"/>
                </a:lnTo>
                <a:lnTo>
                  <a:pt x="4703" y="8764"/>
                </a:lnTo>
                <a:close/>
                <a:moveTo>
                  <a:pt x="6049" y="8752"/>
                </a:moveTo>
                <a:lnTo>
                  <a:pt x="6049" y="10419"/>
                </a:lnTo>
                <a:lnTo>
                  <a:pt x="5537" y="10419"/>
                </a:lnTo>
                <a:lnTo>
                  <a:pt x="5537" y="9681"/>
                </a:lnTo>
                <a:cubicBezTo>
                  <a:pt x="5715" y="9645"/>
                  <a:pt x="5846" y="9478"/>
                  <a:pt x="5846" y="9288"/>
                </a:cubicBezTo>
                <a:lnTo>
                  <a:pt x="5846" y="8752"/>
                </a:lnTo>
                <a:close/>
                <a:moveTo>
                  <a:pt x="6573" y="8764"/>
                </a:moveTo>
                <a:lnTo>
                  <a:pt x="6573" y="9300"/>
                </a:lnTo>
                <a:cubicBezTo>
                  <a:pt x="6573" y="9490"/>
                  <a:pt x="6703" y="9657"/>
                  <a:pt x="6882" y="9704"/>
                </a:cubicBezTo>
                <a:lnTo>
                  <a:pt x="6882" y="10419"/>
                </a:lnTo>
                <a:lnTo>
                  <a:pt x="6370" y="10419"/>
                </a:lnTo>
                <a:lnTo>
                  <a:pt x="6370" y="8764"/>
                </a:lnTo>
                <a:close/>
                <a:moveTo>
                  <a:pt x="7739" y="8752"/>
                </a:moveTo>
                <a:lnTo>
                  <a:pt x="7739" y="10419"/>
                </a:lnTo>
                <a:lnTo>
                  <a:pt x="7215" y="10419"/>
                </a:lnTo>
                <a:lnTo>
                  <a:pt x="7215" y="9681"/>
                </a:lnTo>
                <a:cubicBezTo>
                  <a:pt x="7394" y="9645"/>
                  <a:pt x="7525" y="9478"/>
                  <a:pt x="7525" y="9288"/>
                </a:cubicBezTo>
                <a:lnTo>
                  <a:pt x="7525" y="8752"/>
                </a:lnTo>
                <a:close/>
                <a:moveTo>
                  <a:pt x="8251" y="8764"/>
                </a:moveTo>
                <a:lnTo>
                  <a:pt x="8251" y="9300"/>
                </a:lnTo>
                <a:cubicBezTo>
                  <a:pt x="8251" y="9490"/>
                  <a:pt x="8394" y="9657"/>
                  <a:pt x="8573" y="9704"/>
                </a:cubicBezTo>
                <a:lnTo>
                  <a:pt x="8573" y="10419"/>
                </a:lnTo>
                <a:lnTo>
                  <a:pt x="8049" y="10419"/>
                </a:lnTo>
                <a:lnTo>
                  <a:pt x="8049" y="8764"/>
                </a:lnTo>
                <a:close/>
                <a:moveTo>
                  <a:pt x="9406" y="8752"/>
                </a:moveTo>
                <a:lnTo>
                  <a:pt x="9406" y="10419"/>
                </a:lnTo>
                <a:lnTo>
                  <a:pt x="8882" y="10419"/>
                </a:lnTo>
                <a:lnTo>
                  <a:pt x="8882" y="9681"/>
                </a:lnTo>
                <a:cubicBezTo>
                  <a:pt x="9061" y="9645"/>
                  <a:pt x="9192" y="9478"/>
                  <a:pt x="9192" y="9288"/>
                </a:cubicBezTo>
                <a:lnTo>
                  <a:pt x="9192" y="8752"/>
                </a:lnTo>
                <a:close/>
                <a:moveTo>
                  <a:pt x="1560" y="8764"/>
                </a:moveTo>
                <a:lnTo>
                  <a:pt x="1560" y="9300"/>
                </a:lnTo>
                <a:cubicBezTo>
                  <a:pt x="1560" y="9490"/>
                  <a:pt x="1691" y="9657"/>
                  <a:pt x="1870" y="9704"/>
                </a:cubicBezTo>
                <a:lnTo>
                  <a:pt x="1870" y="10431"/>
                </a:lnTo>
                <a:lnTo>
                  <a:pt x="1346" y="10431"/>
                </a:lnTo>
                <a:lnTo>
                  <a:pt x="1346" y="10419"/>
                </a:lnTo>
                <a:lnTo>
                  <a:pt x="1346" y="8764"/>
                </a:lnTo>
                <a:close/>
                <a:moveTo>
                  <a:pt x="1024" y="8764"/>
                </a:moveTo>
                <a:lnTo>
                  <a:pt x="1024" y="10574"/>
                </a:lnTo>
                <a:lnTo>
                  <a:pt x="1024" y="10681"/>
                </a:lnTo>
                <a:lnTo>
                  <a:pt x="334" y="10681"/>
                </a:lnTo>
                <a:cubicBezTo>
                  <a:pt x="322" y="10681"/>
                  <a:pt x="322" y="10669"/>
                  <a:pt x="322" y="10669"/>
                </a:cubicBezTo>
                <a:lnTo>
                  <a:pt x="322" y="8764"/>
                </a:lnTo>
                <a:close/>
                <a:moveTo>
                  <a:pt x="10430" y="8764"/>
                </a:moveTo>
                <a:lnTo>
                  <a:pt x="10430" y="10669"/>
                </a:lnTo>
                <a:cubicBezTo>
                  <a:pt x="10430" y="10681"/>
                  <a:pt x="10418" y="10681"/>
                  <a:pt x="10418" y="10681"/>
                </a:cubicBezTo>
                <a:lnTo>
                  <a:pt x="9728" y="10681"/>
                </a:lnTo>
                <a:lnTo>
                  <a:pt x="9728" y="10574"/>
                </a:lnTo>
                <a:lnTo>
                  <a:pt x="9728" y="8764"/>
                </a:lnTo>
                <a:close/>
                <a:moveTo>
                  <a:pt x="4203" y="1"/>
                </a:moveTo>
                <a:cubicBezTo>
                  <a:pt x="1881" y="1"/>
                  <a:pt x="0" y="1882"/>
                  <a:pt x="0" y="4204"/>
                </a:cubicBezTo>
                <a:lnTo>
                  <a:pt x="0" y="10669"/>
                </a:lnTo>
                <a:cubicBezTo>
                  <a:pt x="0" y="10859"/>
                  <a:pt x="143" y="11014"/>
                  <a:pt x="334" y="11014"/>
                </a:cubicBezTo>
                <a:lnTo>
                  <a:pt x="1191" y="11014"/>
                </a:lnTo>
                <a:cubicBezTo>
                  <a:pt x="1274" y="11014"/>
                  <a:pt x="1346" y="10931"/>
                  <a:pt x="1346" y="10847"/>
                </a:cubicBezTo>
                <a:lnTo>
                  <a:pt x="1346" y="10740"/>
                </a:lnTo>
                <a:lnTo>
                  <a:pt x="9418" y="10740"/>
                </a:lnTo>
                <a:lnTo>
                  <a:pt x="9418" y="10847"/>
                </a:lnTo>
                <a:cubicBezTo>
                  <a:pt x="9418" y="10931"/>
                  <a:pt x="9490" y="11014"/>
                  <a:pt x="9573" y="11014"/>
                </a:cubicBezTo>
                <a:lnTo>
                  <a:pt x="10430" y="11014"/>
                </a:lnTo>
                <a:cubicBezTo>
                  <a:pt x="10621" y="11014"/>
                  <a:pt x="10764" y="10859"/>
                  <a:pt x="10764" y="10669"/>
                </a:cubicBezTo>
                <a:lnTo>
                  <a:pt x="10764" y="7264"/>
                </a:lnTo>
                <a:cubicBezTo>
                  <a:pt x="10752" y="6573"/>
                  <a:pt x="10204" y="6025"/>
                  <a:pt x="9525" y="6025"/>
                </a:cubicBezTo>
                <a:lnTo>
                  <a:pt x="9323" y="6025"/>
                </a:lnTo>
                <a:cubicBezTo>
                  <a:pt x="8823" y="6025"/>
                  <a:pt x="8418" y="5609"/>
                  <a:pt x="8418" y="5120"/>
                </a:cubicBezTo>
                <a:lnTo>
                  <a:pt x="8418" y="4228"/>
                </a:lnTo>
                <a:cubicBezTo>
                  <a:pt x="8418" y="3977"/>
                  <a:pt x="8406" y="3751"/>
                  <a:pt x="8358" y="3525"/>
                </a:cubicBezTo>
                <a:cubicBezTo>
                  <a:pt x="8348" y="3444"/>
                  <a:pt x="8278" y="3389"/>
                  <a:pt x="8213" y="3389"/>
                </a:cubicBezTo>
                <a:cubicBezTo>
                  <a:pt x="8202" y="3389"/>
                  <a:pt x="8191" y="3391"/>
                  <a:pt x="8180" y="3394"/>
                </a:cubicBezTo>
                <a:cubicBezTo>
                  <a:pt x="8097" y="3406"/>
                  <a:pt x="8037" y="3489"/>
                  <a:pt x="8049" y="3573"/>
                </a:cubicBezTo>
                <a:cubicBezTo>
                  <a:pt x="8073" y="3775"/>
                  <a:pt x="8108" y="4001"/>
                  <a:pt x="8108" y="4228"/>
                </a:cubicBezTo>
                <a:lnTo>
                  <a:pt x="8108" y="5120"/>
                </a:lnTo>
                <a:cubicBezTo>
                  <a:pt x="8108" y="5799"/>
                  <a:pt x="8656" y="6347"/>
                  <a:pt x="9347" y="6347"/>
                </a:cubicBezTo>
                <a:lnTo>
                  <a:pt x="9537" y="6347"/>
                </a:lnTo>
                <a:cubicBezTo>
                  <a:pt x="10037" y="6347"/>
                  <a:pt x="10442" y="6764"/>
                  <a:pt x="10442" y="7264"/>
                </a:cubicBezTo>
                <a:lnTo>
                  <a:pt x="10442" y="7657"/>
                </a:lnTo>
                <a:lnTo>
                  <a:pt x="1893" y="7657"/>
                </a:lnTo>
                <a:cubicBezTo>
                  <a:pt x="1810" y="7657"/>
                  <a:pt x="1739" y="7740"/>
                  <a:pt x="1739" y="7823"/>
                </a:cubicBezTo>
                <a:cubicBezTo>
                  <a:pt x="1739" y="7918"/>
                  <a:pt x="1810" y="7990"/>
                  <a:pt x="1893" y="7990"/>
                </a:cubicBezTo>
                <a:lnTo>
                  <a:pt x="10442" y="7990"/>
                </a:lnTo>
                <a:lnTo>
                  <a:pt x="10442" y="8454"/>
                </a:lnTo>
                <a:lnTo>
                  <a:pt x="334" y="8454"/>
                </a:lnTo>
                <a:lnTo>
                  <a:pt x="334" y="7990"/>
                </a:lnTo>
                <a:lnTo>
                  <a:pt x="1143" y="7990"/>
                </a:lnTo>
                <a:cubicBezTo>
                  <a:pt x="1227" y="7990"/>
                  <a:pt x="1310" y="7918"/>
                  <a:pt x="1310" y="7823"/>
                </a:cubicBezTo>
                <a:cubicBezTo>
                  <a:pt x="1310" y="7740"/>
                  <a:pt x="1227" y="7657"/>
                  <a:pt x="1143" y="7657"/>
                </a:cubicBezTo>
                <a:lnTo>
                  <a:pt x="334" y="7657"/>
                </a:lnTo>
                <a:lnTo>
                  <a:pt x="334" y="4204"/>
                </a:lnTo>
                <a:cubicBezTo>
                  <a:pt x="334" y="2061"/>
                  <a:pt x="2084" y="322"/>
                  <a:pt x="4215" y="322"/>
                </a:cubicBezTo>
                <a:cubicBezTo>
                  <a:pt x="5025" y="322"/>
                  <a:pt x="5799" y="560"/>
                  <a:pt x="6453" y="1037"/>
                </a:cubicBezTo>
                <a:cubicBezTo>
                  <a:pt x="7096" y="1489"/>
                  <a:pt x="7585" y="2120"/>
                  <a:pt x="7858" y="2858"/>
                </a:cubicBezTo>
                <a:cubicBezTo>
                  <a:pt x="7876" y="2920"/>
                  <a:pt x="7933" y="2955"/>
                  <a:pt x="7994" y="2955"/>
                </a:cubicBezTo>
                <a:cubicBezTo>
                  <a:pt x="8016" y="2955"/>
                  <a:pt x="8039" y="2951"/>
                  <a:pt x="8061" y="2942"/>
                </a:cubicBezTo>
                <a:cubicBezTo>
                  <a:pt x="8156" y="2918"/>
                  <a:pt x="8180" y="2823"/>
                  <a:pt x="8156" y="2739"/>
                </a:cubicBezTo>
                <a:cubicBezTo>
                  <a:pt x="7858" y="1942"/>
                  <a:pt x="7335" y="1263"/>
                  <a:pt x="6632" y="775"/>
                </a:cubicBezTo>
                <a:cubicBezTo>
                  <a:pt x="5918" y="263"/>
                  <a:pt x="5084" y="1"/>
                  <a:pt x="4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9" name="Google Shape;12349;p62"/>
          <p:cNvSpPr/>
          <p:nvPr/>
        </p:nvSpPr>
        <p:spPr>
          <a:xfrm>
            <a:off x="4104898" y="2422257"/>
            <a:ext cx="91662" cy="351541"/>
          </a:xfrm>
          <a:custGeom>
            <a:avLst/>
            <a:gdLst/>
            <a:ahLst/>
            <a:cxnLst/>
            <a:rect l="l" t="t" r="r" b="b"/>
            <a:pathLst>
              <a:path w="2882" h="11053" extrusionOk="0">
                <a:moveTo>
                  <a:pt x="2560" y="2778"/>
                </a:moveTo>
                <a:lnTo>
                  <a:pt x="2560" y="3707"/>
                </a:lnTo>
                <a:lnTo>
                  <a:pt x="1810" y="3707"/>
                </a:lnTo>
                <a:cubicBezTo>
                  <a:pt x="1727" y="3707"/>
                  <a:pt x="1655" y="3790"/>
                  <a:pt x="1655" y="3873"/>
                </a:cubicBezTo>
                <a:cubicBezTo>
                  <a:pt x="1655" y="3969"/>
                  <a:pt x="1727" y="4040"/>
                  <a:pt x="1810" y="4040"/>
                </a:cubicBezTo>
                <a:lnTo>
                  <a:pt x="2572" y="4040"/>
                </a:lnTo>
                <a:lnTo>
                  <a:pt x="2572" y="9422"/>
                </a:lnTo>
                <a:lnTo>
                  <a:pt x="346" y="9422"/>
                </a:lnTo>
                <a:lnTo>
                  <a:pt x="346" y="4040"/>
                </a:lnTo>
                <a:lnTo>
                  <a:pt x="1144" y="4040"/>
                </a:lnTo>
                <a:cubicBezTo>
                  <a:pt x="1239" y="4040"/>
                  <a:pt x="1310" y="3969"/>
                  <a:pt x="1310" y="3873"/>
                </a:cubicBezTo>
                <a:cubicBezTo>
                  <a:pt x="1310" y="3790"/>
                  <a:pt x="1239" y="3707"/>
                  <a:pt x="1144" y="3707"/>
                </a:cubicBezTo>
                <a:lnTo>
                  <a:pt x="346" y="3707"/>
                </a:lnTo>
                <a:lnTo>
                  <a:pt x="346" y="2778"/>
                </a:lnTo>
                <a:close/>
                <a:moveTo>
                  <a:pt x="1434" y="1"/>
                </a:moveTo>
                <a:cubicBezTo>
                  <a:pt x="1203" y="1"/>
                  <a:pt x="971" y="117"/>
                  <a:pt x="846" y="349"/>
                </a:cubicBezTo>
                <a:lnTo>
                  <a:pt x="548" y="1075"/>
                </a:lnTo>
                <a:cubicBezTo>
                  <a:pt x="524" y="1171"/>
                  <a:pt x="560" y="1254"/>
                  <a:pt x="655" y="1290"/>
                </a:cubicBezTo>
                <a:cubicBezTo>
                  <a:pt x="670" y="1294"/>
                  <a:pt x="685" y="1296"/>
                  <a:pt x="700" y="1296"/>
                </a:cubicBezTo>
                <a:cubicBezTo>
                  <a:pt x="770" y="1296"/>
                  <a:pt x="838" y="1251"/>
                  <a:pt x="858" y="1183"/>
                </a:cubicBezTo>
                <a:lnTo>
                  <a:pt x="1144" y="492"/>
                </a:lnTo>
                <a:cubicBezTo>
                  <a:pt x="1204" y="377"/>
                  <a:pt x="1319" y="318"/>
                  <a:pt x="1435" y="318"/>
                </a:cubicBezTo>
                <a:cubicBezTo>
                  <a:pt x="1548" y="318"/>
                  <a:pt x="1662" y="375"/>
                  <a:pt x="1727" y="492"/>
                </a:cubicBezTo>
                <a:lnTo>
                  <a:pt x="2453" y="2433"/>
                </a:lnTo>
                <a:lnTo>
                  <a:pt x="429" y="2433"/>
                </a:lnTo>
                <a:cubicBezTo>
                  <a:pt x="465" y="2349"/>
                  <a:pt x="429" y="2433"/>
                  <a:pt x="655" y="1790"/>
                </a:cubicBezTo>
                <a:cubicBezTo>
                  <a:pt x="679" y="1695"/>
                  <a:pt x="643" y="1611"/>
                  <a:pt x="548" y="1587"/>
                </a:cubicBezTo>
                <a:cubicBezTo>
                  <a:pt x="529" y="1579"/>
                  <a:pt x="509" y="1575"/>
                  <a:pt x="490" y="1575"/>
                </a:cubicBezTo>
                <a:cubicBezTo>
                  <a:pt x="425" y="1575"/>
                  <a:pt x="364" y="1618"/>
                  <a:pt x="346" y="1683"/>
                </a:cubicBezTo>
                <a:lnTo>
                  <a:pt x="120" y="2326"/>
                </a:lnTo>
                <a:cubicBezTo>
                  <a:pt x="48" y="2492"/>
                  <a:pt x="1" y="2671"/>
                  <a:pt x="1" y="2849"/>
                </a:cubicBezTo>
                <a:lnTo>
                  <a:pt x="1" y="3873"/>
                </a:lnTo>
                <a:lnTo>
                  <a:pt x="1" y="9588"/>
                </a:lnTo>
                <a:lnTo>
                  <a:pt x="1" y="10124"/>
                </a:lnTo>
                <a:cubicBezTo>
                  <a:pt x="1" y="10446"/>
                  <a:pt x="179" y="10767"/>
                  <a:pt x="465" y="10934"/>
                </a:cubicBezTo>
                <a:cubicBezTo>
                  <a:pt x="487" y="10945"/>
                  <a:pt x="513" y="10950"/>
                  <a:pt x="538" y="10950"/>
                </a:cubicBezTo>
                <a:cubicBezTo>
                  <a:pt x="596" y="10950"/>
                  <a:pt x="655" y="10924"/>
                  <a:pt x="679" y="10874"/>
                </a:cubicBezTo>
                <a:cubicBezTo>
                  <a:pt x="727" y="10791"/>
                  <a:pt x="703" y="10684"/>
                  <a:pt x="620" y="10648"/>
                </a:cubicBezTo>
                <a:cubicBezTo>
                  <a:pt x="441" y="10541"/>
                  <a:pt x="322" y="10350"/>
                  <a:pt x="322" y="10124"/>
                </a:cubicBezTo>
                <a:lnTo>
                  <a:pt x="322" y="9755"/>
                </a:lnTo>
                <a:lnTo>
                  <a:pt x="2548" y="9755"/>
                </a:lnTo>
                <a:lnTo>
                  <a:pt x="2548" y="10124"/>
                </a:lnTo>
                <a:cubicBezTo>
                  <a:pt x="2548" y="10458"/>
                  <a:pt x="2275" y="10719"/>
                  <a:pt x="1953" y="10719"/>
                </a:cubicBezTo>
                <a:lnTo>
                  <a:pt x="1191" y="10719"/>
                </a:lnTo>
                <a:cubicBezTo>
                  <a:pt x="1096" y="10719"/>
                  <a:pt x="1024" y="10791"/>
                  <a:pt x="1024" y="10886"/>
                </a:cubicBezTo>
                <a:cubicBezTo>
                  <a:pt x="1024" y="10970"/>
                  <a:pt x="1096" y="11053"/>
                  <a:pt x="1191" y="11053"/>
                </a:cubicBezTo>
                <a:lnTo>
                  <a:pt x="1953" y="11053"/>
                </a:lnTo>
                <a:cubicBezTo>
                  <a:pt x="2453" y="11053"/>
                  <a:pt x="2870" y="10636"/>
                  <a:pt x="2870" y="10124"/>
                </a:cubicBezTo>
                <a:lnTo>
                  <a:pt x="2870" y="2849"/>
                </a:lnTo>
                <a:cubicBezTo>
                  <a:pt x="2882" y="2719"/>
                  <a:pt x="2739" y="2278"/>
                  <a:pt x="2739" y="2278"/>
                </a:cubicBezTo>
                <a:lnTo>
                  <a:pt x="2013" y="349"/>
                </a:lnTo>
                <a:cubicBezTo>
                  <a:pt x="1894" y="117"/>
                  <a:pt x="1664" y="1"/>
                  <a:pt x="14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50" name="Google Shape;12350;p62"/>
          <p:cNvGrpSpPr/>
          <p:nvPr/>
        </p:nvGrpSpPr>
        <p:grpSpPr>
          <a:xfrm>
            <a:off x="3616406" y="2422352"/>
            <a:ext cx="203393" cy="351827"/>
            <a:chOff x="3616406" y="2422352"/>
            <a:chExt cx="203393" cy="351827"/>
          </a:xfrm>
        </p:grpSpPr>
        <p:sp>
          <p:nvSpPr>
            <p:cNvPr id="12351" name="Google Shape;12351;p62"/>
            <p:cNvSpPr/>
            <p:nvPr/>
          </p:nvSpPr>
          <p:spPr>
            <a:xfrm>
              <a:off x="3640641" y="2422352"/>
              <a:ext cx="154159" cy="92075"/>
            </a:xfrm>
            <a:custGeom>
              <a:avLst/>
              <a:gdLst/>
              <a:ahLst/>
              <a:cxnLst/>
              <a:rect l="l" t="t" r="r" b="b"/>
              <a:pathLst>
                <a:path w="4847" h="2895" extrusionOk="0">
                  <a:moveTo>
                    <a:pt x="1632" y="1"/>
                  </a:moveTo>
                  <a:cubicBezTo>
                    <a:pt x="727" y="1"/>
                    <a:pt x="0" y="727"/>
                    <a:pt x="0" y="1644"/>
                  </a:cubicBezTo>
                  <a:lnTo>
                    <a:pt x="0" y="2727"/>
                  </a:lnTo>
                  <a:cubicBezTo>
                    <a:pt x="0" y="2811"/>
                    <a:pt x="72" y="2894"/>
                    <a:pt x="155" y="2894"/>
                  </a:cubicBezTo>
                  <a:cubicBezTo>
                    <a:pt x="250" y="2894"/>
                    <a:pt x="322" y="2811"/>
                    <a:pt x="322" y="2727"/>
                  </a:cubicBezTo>
                  <a:lnTo>
                    <a:pt x="322" y="1644"/>
                  </a:lnTo>
                  <a:cubicBezTo>
                    <a:pt x="322" y="906"/>
                    <a:pt x="905" y="334"/>
                    <a:pt x="1632" y="334"/>
                  </a:cubicBezTo>
                  <a:lnTo>
                    <a:pt x="3239" y="334"/>
                  </a:lnTo>
                  <a:cubicBezTo>
                    <a:pt x="3846" y="334"/>
                    <a:pt x="4370" y="751"/>
                    <a:pt x="4525" y="1346"/>
                  </a:cubicBezTo>
                  <a:cubicBezTo>
                    <a:pt x="4535" y="1417"/>
                    <a:pt x="4597" y="1471"/>
                    <a:pt x="4673" y="1471"/>
                  </a:cubicBezTo>
                  <a:cubicBezTo>
                    <a:pt x="4687" y="1471"/>
                    <a:pt x="4701" y="1469"/>
                    <a:pt x="4715" y="1465"/>
                  </a:cubicBezTo>
                  <a:cubicBezTo>
                    <a:pt x="4799" y="1442"/>
                    <a:pt x="4846" y="1358"/>
                    <a:pt x="4834" y="1263"/>
                  </a:cubicBezTo>
                  <a:cubicBezTo>
                    <a:pt x="4739" y="906"/>
                    <a:pt x="4549" y="596"/>
                    <a:pt x="4263" y="358"/>
                  </a:cubicBezTo>
                  <a:cubicBezTo>
                    <a:pt x="3989" y="120"/>
                    <a:pt x="3608" y="1"/>
                    <a:pt x="3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2" name="Google Shape;12352;p62"/>
            <p:cNvSpPr/>
            <p:nvPr/>
          </p:nvSpPr>
          <p:spPr>
            <a:xfrm>
              <a:off x="3616406" y="2479156"/>
              <a:ext cx="203393" cy="295023"/>
            </a:xfrm>
            <a:custGeom>
              <a:avLst/>
              <a:gdLst/>
              <a:ahLst/>
              <a:cxnLst/>
              <a:rect l="l" t="t" r="r" b="b"/>
              <a:pathLst>
                <a:path w="6395" h="9276" extrusionOk="0">
                  <a:moveTo>
                    <a:pt x="5918" y="2346"/>
                  </a:moveTo>
                  <a:cubicBezTo>
                    <a:pt x="6001" y="2346"/>
                    <a:pt x="6073" y="2406"/>
                    <a:pt x="6073" y="2501"/>
                  </a:cubicBezTo>
                  <a:lnTo>
                    <a:pt x="6073" y="3989"/>
                  </a:lnTo>
                  <a:lnTo>
                    <a:pt x="4811" y="3989"/>
                  </a:lnTo>
                  <a:cubicBezTo>
                    <a:pt x="4715" y="3989"/>
                    <a:pt x="4644" y="4061"/>
                    <a:pt x="4644" y="4156"/>
                  </a:cubicBezTo>
                  <a:cubicBezTo>
                    <a:pt x="4644" y="4239"/>
                    <a:pt x="4715" y="4323"/>
                    <a:pt x="4811" y="4323"/>
                  </a:cubicBezTo>
                  <a:lnTo>
                    <a:pt x="6073" y="4323"/>
                  </a:lnTo>
                  <a:lnTo>
                    <a:pt x="6073" y="6966"/>
                  </a:lnTo>
                  <a:lnTo>
                    <a:pt x="2394" y="6966"/>
                  </a:lnTo>
                  <a:cubicBezTo>
                    <a:pt x="2298" y="6966"/>
                    <a:pt x="2227" y="7037"/>
                    <a:pt x="2227" y="7133"/>
                  </a:cubicBezTo>
                  <a:cubicBezTo>
                    <a:pt x="2227" y="7216"/>
                    <a:pt x="2298" y="7299"/>
                    <a:pt x="2394" y="7299"/>
                  </a:cubicBezTo>
                  <a:lnTo>
                    <a:pt x="6073" y="7299"/>
                  </a:lnTo>
                  <a:lnTo>
                    <a:pt x="6073" y="8788"/>
                  </a:lnTo>
                  <a:cubicBezTo>
                    <a:pt x="6073" y="8859"/>
                    <a:pt x="6013" y="8930"/>
                    <a:pt x="5918" y="8930"/>
                  </a:cubicBezTo>
                  <a:lnTo>
                    <a:pt x="477" y="8930"/>
                  </a:lnTo>
                  <a:cubicBezTo>
                    <a:pt x="405" y="8930"/>
                    <a:pt x="322" y="8871"/>
                    <a:pt x="322" y="8788"/>
                  </a:cubicBezTo>
                  <a:lnTo>
                    <a:pt x="322" y="7299"/>
                  </a:lnTo>
                  <a:lnTo>
                    <a:pt x="1739" y="7299"/>
                  </a:lnTo>
                  <a:cubicBezTo>
                    <a:pt x="1834" y="7299"/>
                    <a:pt x="1905" y="7216"/>
                    <a:pt x="1905" y="7133"/>
                  </a:cubicBezTo>
                  <a:cubicBezTo>
                    <a:pt x="1905" y="7037"/>
                    <a:pt x="1834" y="6966"/>
                    <a:pt x="1739" y="6966"/>
                  </a:cubicBezTo>
                  <a:lnTo>
                    <a:pt x="322" y="6966"/>
                  </a:lnTo>
                  <a:lnTo>
                    <a:pt x="322" y="4323"/>
                  </a:lnTo>
                  <a:lnTo>
                    <a:pt x="4156" y="4323"/>
                  </a:lnTo>
                  <a:cubicBezTo>
                    <a:pt x="4239" y="4323"/>
                    <a:pt x="4311" y="4239"/>
                    <a:pt x="4311" y="4156"/>
                  </a:cubicBezTo>
                  <a:cubicBezTo>
                    <a:pt x="4311" y="4061"/>
                    <a:pt x="4239" y="3989"/>
                    <a:pt x="4156" y="3989"/>
                  </a:cubicBezTo>
                  <a:lnTo>
                    <a:pt x="322" y="3989"/>
                  </a:lnTo>
                  <a:lnTo>
                    <a:pt x="322" y="2501"/>
                  </a:lnTo>
                  <a:cubicBezTo>
                    <a:pt x="322" y="2430"/>
                    <a:pt x="381" y="2346"/>
                    <a:pt x="477" y="2346"/>
                  </a:cubicBezTo>
                  <a:close/>
                  <a:moveTo>
                    <a:pt x="5477" y="1"/>
                  </a:moveTo>
                  <a:cubicBezTo>
                    <a:pt x="5382" y="1"/>
                    <a:pt x="5311" y="72"/>
                    <a:pt x="5311" y="168"/>
                  </a:cubicBezTo>
                  <a:lnTo>
                    <a:pt x="5311" y="2025"/>
                  </a:lnTo>
                  <a:lnTo>
                    <a:pt x="1084" y="2025"/>
                  </a:lnTo>
                  <a:lnTo>
                    <a:pt x="1084" y="1596"/>
                  </a:lnTo>
                  <a:cubicBezTo>
                    <a:pt x="1084" y="1501"/>
                    <a:pt x="1012" y="1430"/>
                    <a:pt x="917" y="1430"/>
                  </a:cubicBezTo>
                  <a:cubicBezTo>
                    <a:pt x="834" y="1430"/>
                    <a:pt x="762" y="1501"/>
                    <a:pt x="762" y="1596"/>
                  </a:cubicBezTo>
                  <a:lnTo>
                    <a:pt x="762" y="2025"/>
                  </a:lnTo>
                  <a:lnTo>
                    <a:pt x="477" y="2025"/>
                  </a:lnTo>
                  <a:cubicBezTo>
                    <a:pt x="215" y="2025"/>
                    <a:pt x="0" y="2239"/>
                    <a:pt x="0" y="2501"/>
                  </a:cubicBezTo>
                  <a:lnTo>
                    <a:pt x="0" y="8800"/>
                  </a:lnTo>
                  <a:cubicBezTo>
                    <a:pt x="0" y="9050"/>
                    <a:pt x="203" y="9276"/>
                    <a:pt x="477" y="9276"/>
                  </a:cubicBezTo>
                  <a:lnTo>
                    <a:pt x="5918" y="9276"/>
                  </a:lnTo>
                  <a:cubicBezTo>
                    <a:pt x="6180" y="9276"/>
                    <a:pt x="6394" y="9061"/>
                    <a:pt x="6394" y="8800"/>
                  </a:cubicBezTo>
                  <a:lnTo>
                    <a:pt x="6394" y="2501"/>
                  </a:lnTo>
                  <a:cubicBezTo>
                    <a:pt x="6394" y="2239"/>
                    <a:pt x="6192" y="2025"/>
                    <a:pt x="5918" y="2025"/>
                  </a:cubicBezTo>
                  <a:lnTo>
                    <a:pt x="5644" y="2025"/>
                  </a:lnTo>
                  <a:lnTo>
                    <a:pt x="5644" y="168"/>
                  </a:lnTo>
                  <a:cubicBezTo>
                    <a:pt x="5644" y="72"/>
                    <a:pt x="5561" y="1"/>
                    <a:pt x="5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3" name="Google Shape;12353;p62"/>
          <p:cNvGrpSpPr/>
          <p:nvPr/>
        </p:nvGrpSpPr>
        <p:grpSpPr>
          <a:xfrm>
            <a:off x="878187" y="2421970"/>
            <a:ext cx="272696" cy="351827"/>
            <a:chOff x="913012" y="2421970"/>
            <a:chExt cx="272696" cy="351827"/>
          </a:xfrm>
        </p:grpSpPr>
        <p:sp>
          <p:nvSpPr>
            <p:cNvPr id="12354" name="Google Shape;12354;p62"/>
            <p:cNvSpPr/>
            <p:nvPr/>
          </p:nvSpPr>
          <p:spPr>
            <a:xfrm>
              <a:off x="913012" y="2421970"/>
              <a:ext cx="272696" cy="351827"/>
            </a:xfrm>
            <a:custGeom>
              <a:avLst/>
              <a:gdLst/>
              <a:ahLst/>
              <a:cxnLst/>
              <a:rect l="l" t="t" r="r" b="b"/>
              <a:pathLst>
                <a:path w="8574" h="11062" extrusionOk="0">
                  <a:moveTo>
                    <a:pt x="3394" y="3656"/>
                  </a:moveTo>
                  <a:cubicBezTo>
                    <a:pt x="3454" y="3716"/>
                    <a:pt x="3525" y="3775"/>
                    <a:pt x="3608" y="3823"/>
                  </a:cubicBezTo>
                  <a:lnTo>
                    <a:pt x="1882" y="7966"/>
                  </a:lnTo>
                  <a:cubicBezTo>
                    <a:pt x="1799" y="7919"/>
                    <a:pt x="1715" y="7883"/>
                    <a:pt x="1644" y="7871"/>
                  </a:cubicBezTo>
                  <a:lnTo>
                    <a:pt x="3394" y="3656"/>
                  </a:lnTo>
                  <a:close/>
                  <a:moveTo>
                    <a:pt x="5192" y="3644"/>
                  </a:moveTo>
                  <a:lnTo>
                    <a:pt x="6954" y="7859"/>
                  </a:lnTo>
                  <a:cubicBezTo>
                    <a:pt x="6883" y="7883"/>
                    <a:pt x="6787" y="7919"/>
                    <a:pt x="6716" y="7966"/>
                  </a:cubicBezTo>
                  <a:lnTo>
                    <a:pt x="4989" y="3811"/>
                  </a:lnTo>
                  <a:cubicBezTo>
                    <a:pt x="5061" y="3763"/>
                    <a:pt x="5132" y="3704"/>
                    <a:pt x="5192" y="3644"/>
                  </a:cubicBezTo>
                  <a:close/>
                  <a:moveTo>
                    <a:pt x="1072" y="9216"/>
                  </a:moveTo>
                  <a:cubicBezTo>
                    <a:pt x="1144" y="9252"/>
                    <a:pt x="1227" y="9300"/>
                    <a:pt x="1310" y="9312"/>
                  </a:cubicBezTo>
                  <a:cubicBezTo>
                    <a:pt x="1299" y="9347"/>
                    <a:pt x="1203" y="9657"/>
                    <a:pt x="870" y="9847"/>
                  </a:cubicBezTo>
                  <a:lnTo>
                    <a:pt x="787" y="9895"/>
                  </a:lnTo>
                  <a:lnTo>
                    <a:pt x="1072" y="9216"/>
                  </a:lnTo>
                  <a:close/>
                  <a:moveTo>
                    <a:pt x="7502" y="9216"/>
                  </a:moveTo>
                  <a:lnTo>
                    <a:pt x="7787" y="9895"/>
                  </a:lnTo>
                  <a:lnTo>
                    <a:pt x="7716" y="9847"/>
                  </a:lnTo>
                  <a:cubicBezTo>
                    <a:pt x="7371" y="9657"/>
                    <a:pt x="7275" y="9335"/>
                    <a:pt x="7264" y="9312"/>
                  </a:cubicBezTo>
                  <a:cubicBezTo>
                    <a:pt x="7359" y="9300"/>
                    <a:pt x="7430" y="9252"/>
                    <a:pt x="7502" y="9216"/>
                  </a:cubicBezTo>
                  <a:close/>
                  <a:moveTo>
                    <a:pt x="4287" y="1"/>
                  </a:moveTo>
                  <a:cubicBezTo>
                    <a:pt x="3882" y="1"/>
                    <a:pt x="3549" y="322"/>
                    <a:pt x="3549" y="739"/>
                  </a:cubicBezTo>
                  <a:lnTo>
                    <a:pt x="3549" y="1620"/>
                  </a:lnTo>
                  <a:cubicBezTo>
                    <a:pt x="3442" y="1692"/>
                    <a:pt x="3346" y="1763"/>
                    <a:pt x="3275" y="1858"/>
                  </a:cubicBezTo>
                  <a:cubicBezTo>
                    <a:pt x="3215" y="1930"/>
                    <a:pt x="3227" y="2037"/>
                    <a:pt x="3287" y="2096"/>
                  </a:cubicBezTo>
                  <a:cubicBezTo>
                    <a:pt x="3324" y="2123"/>
                    <a:pt x="3364" y="2136"/>
                    <a:pt x="3402" y="2136"/>
                  </a:cubicBezTo>
                  <a:cubicBezTo>
                    <a:pt x="3449" y="2136"/>
                    <a:pt x="3492" y="2117"/>
                    <a:pt x="3525" y="2085"/>
                  </a:cubicBezTo>
                  <a:cubicBezTo>
                    <a:pt x="3730" y="1838"/>
                    <a:pt x="3998" y="1731"/>
                    <a:pt x="4262" y="1731"/>
                  </a:cubicBezTo>
                  <a:cubicBezTo>
                    <a:pt x="4842" y="1731"/>
                    <a:pt x="5403" y="2247"/>
                    <a:pt x="5239" y="2942"/>
                  </a:cubicBezTo>
                  <a:cubicBezTo>
                    <a:pt x="5130" y="3422"/>
                    <a:pt x="4708" y="3692"/>
                    <a:pt x="4281" y="3692"/>
                  </a:cubicBezTo>
                  <a:cubicBezTo>
                    <a:pt x="3967" y="3692"/>
                    <a:pt x="3650" y="3546"/>
                    <a:pt x="3454" y="3228"/>
                  </a:cubicBezTo>
                  <a:cubicBezTo>
                    <a:pt x="3334" y="3037"/>
                    <a:pt x="3287" y="2811"/>
                    <a:pt x="3323" y="2585"/>
                  </a:cubicBezTo>
                  <a:cubicBezTo>
                    <a:pt x="3334" y="2501"/>
                    <a:pt x="3263" y="2406"/>
                    <a:pt x="3168" y="2406"/>
                  </a:cubicBezTo>
                  <a:cubicBezTo>
                    <a:pt x="3162" y="2405"/>
                    <a:pt x="3155" y="2405"/>
                    <a:pt x="3149" y="2405"/>
                  </a:cubicBezTo>
                  <a:cubicBezTo>
                    <a:pt x="3071" y="2405"/>
                    <a:pt x="2989" y="2473"/>
                    <a:pt x="2989" y="2561"/>
                  </a:cubicBezTo>
                  <a:cubicBezTo>
                    <a:pt x="2965" y="2858"/>
                    <a:pt x="3025" y="3132"/>
                    <a:pt x="3156" y="3382"/>
                  </a:cubicBezTo>
                  <a:lnTo>
                    <a:pt x="1239" y="7966"/>
                  </a:lnTo>
                  <a:cubicBezTo>
                    <a:pt x="1227" y="7990"/>
                    <a:pt x="1203" y="8038"/>
                    <a:pt x="1227" y="8085"/>
                  </a:cubicBezTo>
                  <a:cubicBezTo>
                    <a:pt x="1238" y="8162"/>
                    <a:pt x="1309" y="8218"/>
                    <a:pt x="1393" y="8218"/>
                  </a:cubicBezTo>
                  <a:cubicBezTo>
                    <a:pt x="1401" y="8218"/>
                    <a:pt x="1409" y="8217"/>
                    <a:pt x="1418" y="8216"/>
                  </a:cubicBezTo>
                  <a:cubicBezTo>
                    <a:pt x="1447" y="8206"/>
                    <a:pt x="1481" y="8201"/>
                    <a:pt x="1515" y="8201"/>
                  </a:cubicBezTo>
                  <a:cubicBezTo>
                    <a:pt x="1564" y="8201"/>
                    <a:pt x="1614" y="8212"/>
                    <a:pt x="1656" y="8240"/>
                  </a:cubicBezTo>
                  <a:cubicBezTo>
                    <a:pt x="2072" y="8419"/>
                    <a:pt x="1941" y="9038"/>
                    <a:pt x="1489" y="9038"/>
                  </a:cubicBezTo>
                  <a:cubicBezTo>
                    <a:pt x="1227" y="9038"/>
                    <a:pt x="1025" y="8776"/>
                    <a:pt x="1084" y="8526"/>
                  </a:cubicBezTo>
                  <a:cubicBezTo>
                    <a:pt x="1108" y="8443"/>
                    <a:pt x="1060" y="8347"/>
                    <a:pt x="965" y="8335"/>
                  </a:cubicBezTo>
                  <a:cubicBezTo>
                    <a:pt x="951" y="8331"/>
                    <a:pt x="936" y="8329"/>
                    <a:pt x="922" y="8329"/>
                  </a:cubicBezTo>
                  <a:cubicBezTo>
                    <a:pt x="852" y="8329"/>
                    <a:pt x="784" y="8376"/>
                    <a:pt x="775" y="8454"/>
                  </a:cubicBezTo>
                  <a:cubicBezTo>
                    <a:pt x="751" y="8621"/>
                    <a:pt x="763" y="8776"/>
                    <a:pt x="834" y="8943"/>
                  </a:cubicBezTo>
                  <a:lnTo>
                    <a:pt x="298" y="10228"/>
                  </a:lnTo>
                  <a:lnTo>
                    <a:pt x="36" y="10836"/>
                  </a:lnTo>
                  <a:cubicBezTo>
                    <a:pt x="1" y="10919"/>
                    <a:pt x="36" y="11014"/>
                    <a:pt x="120" y="11038"/>
                  </a:cubicBezTo>
                  <a:cubicBezTo>
                    <a:pt x="132" y="11062"/>
                    <a:pt x="167" y="11062"/>
                    <a:pt x="179" y="11062"/>
                  </a:cubicBezTo>
                  <a:cubicBezTo>
                    <a:pt x="239" y="11062"/>
                    <a:pt x="298" y="11014"/>
                    <a:pt x="334" y="10955"/>
                  </a:cubicBezTo>
                  <a:lnTo>
                    <a:pt x="572" y="10383"/>
                  </a:lnTo>
                  <a:lnTo>
                    <a:pt x="1013" y="10133"/>
                  </a:lnTo>
                  <a:cubicBezTo>
                    <a:pt x="1501" y="9847"/>
                    <a:pt x="1608" y="9407"/>
                    <a:pt x="1656" y="9312"/>
                  </a:cubicBezTo>
                  <a:cubicBezTo>
                    <a:pt x="2144" y="9193"/>
                    <a:pt x="2382" y="8633"/>
                    <a:pt x="2120" y="8204"/>
                  </a:cubicBezTo>
                  <a:lnTo>
                    <a:pt x="3882" y="3942"/>
                  </a:lnTo>
                  <a:cubicBezTo>
                    <a:pt x="4013" y="3978"/>
                    <a:pt x="4144" y="3996"/>
                    <a:pt x="4277" y="3996"/>
                  </a:cubicBezTo>
                  <a:cubicBezTo>
                    <a:pt x="4409" y="3996"/>
                    <a:pt x="4543" y="3978"/>
                    <a:pt x="4680" y="3942"/>
                  </a:cubicBezTo>
                  <a:lnTo>
                    <a:pt x="6442" y="8204"/>
                  </a:lnTo>
                  <a:cubicBezTo>
                    <a:pt x="6382" y="8300"/>
                    <a:pt x="6347" y="8419"/>
                    <a:pt x="6347" y="8538"/>
                  </a:cubicBezTo>
                  <a:cubicBezTo>
                    <a:pt x="6347" y="8597"/>
                    <a:pt x="6371" y="8681"/>
                    <a:pt x="6430" y="8693"/>
                  </a:cubicBezTo>
                  <a:cubicBezTo>
                    <a:pt x="6457" y="8707"/>
                    <a:pt x="6484" y="8714"/>
                    <a:pt x="6511" y="8714"/>
                  </a:cubicBezTo>
                  <a:cubicBezTo>
                    <a:pt x="6594" y="8714"/>
                    <a:pt x="6668" y="8651"/>
                    <a:pt x="6668" y="8562"/>
                  </a:cubicBezTo>
                  <a:cubicBezTo>
                    <a:pt x="6680" y="8443"/>
                    <a:pt x="6740" y="8323"/>
                    <a:pt x="6835" y="8264"/>
                  </a:cubicBezTo>
                  <a:cubicBezTo>
                    <a:pt x="6915" y="8202"/>
                    <a:pt x="7000" y="8176"/>
                    <a:pt x="7081" y="8176"/>
                  </a:cubicBezTo>
                  <a:cubicBezTo>
                    <a:pt x="7359" y="8176"/>
                    <a:pt x="7590" y="8490"/>
                    <a:pt x="7442" y="8776"/>
                  </a:cubicBezTo>
                  <a:cubicBezTo>
                    <a:pt x="7365" y="8905"/>
                    <a:pt x="7232" y="9002"/>
                    <a:pt x="7079" y="9002"/>
                  </a:cubicBezTo>
                  <a:cubicBezTo>
                    <a:pt x="7020" y="9002"/>
                    <a:pt x="6958" y="8988"/>
                    <a:pt x="6894" y="8954"/>
                  </a:cubicBezTo>
                  <a:cubicBezTo>
                    <a:pt x="6894" y="8954"/>
                    <a:pt x="6856" y="8939"/>
                    <a:pt x="6811" y="8939"/>
                  </a:cubicBezTo>
                  <a:cubicBezTo>
                    <a:pt x="6799" y="8939"/>
                    <a:pt x="6787" y="8940"/>
                    <a:pt x="6775" y="8943"/>
                  </a:cubicBezTo>
                  <a:cubicBezTo>
                    <a:pt x="6644" y="8990"/>
                    <a:pt x="6597" y="9181"/>
                    <a:pt x="6763" y="9252"/>
                  </a:cubicBezTo>
                  <a:cubicBezTo>
                    <a:pt x="6823" y="9288"/>
                    <a:pt x="6883" y="9300"/>
                    <a:pt x="6942" y="9312"/>
                  </a:cubicBezTo>
                  <a:cubicBezTo>
                    <a:pt x="6978" y="9395"/>
                    <a:pt x="7085" y="9847"/>
                    <a:pt x="7573" y="10133"/>
                  </a:cubicBezTo>
                  <a:lnTo>
                    <a:pt x="8026" y="10383"/>
                  </a:lnTo>
                  <a:lnTo>
                    <a:pt x="8264" y="10955"/>
                  </a:lnTo>
                  <a:cubicBezTo>
                    <a:pt x="8281" y="11016"/>
                    <a:pt x="8344" y="11052"/>
                    <a:pt x="8405" y="11052"/>
                  </a:cubicBezTo>
                  <a:cubicBezTo>
                    <a:pt x="8426" y="11052"/>
                    <a:pt x="8447" y="11047"/>
                    <a:pt x="8466" y="11038"/>
                  </a:cubicBezTo>
                  <a:cubicBezTo>
                    <a:pt x="8549" y="11014"/>
                    <a:pt x="8573" y="10907"/>
                    <a:pt x="8549" y="10836"/>
                  </a:cubicBezTo>
                  <a:lnTo>
                    <a:pt x="8276" y="10228"/>
                  </a:lnTo>
                  <a:lnTo>
                    <a:pt x="7740" y="8943"/>
                  </a:lnTo>
                  <a:cubicBezTo>
                    <a:pt x="7930" y="8538"/>
                    <a:pt x="7740" y="8050"/>
                    <a:pt x="7311" y="7919"/>
                  </a:cubicBezTo>
                  <a:lnTo>
                    <a:pt x="5418" y="3382"/>
                  </a:lnTo>
                  <a:cubicBezTo>
                    <a:pt x="5763" y="2799"/>
                    <a:pt x="5597" y="2025"/>
                    <a:pt x="5037" y="1632"/>
                  </a:cubicBezTo>
                  <a:lnTo>
                    <a:pt x="5037" y="1323"/>
                  </a:lnTo>
                  <a:cubicBezTo>
                    <a:pt x="5037" y="1239"/>
                    <a:pt x="4954" y="1156"/>
                    <a:pt x="4870" y="1156"/>
                  </a:cubicBezTo>
                  <a:cubicBezTo>
                    <a:pt x="4775" y="1156"/>
                    <a:pt x="4704" y="1239"/>
                    <a:pt x="4704" y="1323"/>
                  </a:cubicBezTo>
                  <a:lnTo>
                    <a:pt x="4704" y="1477"/>
                  </a:lnTo>
                  <a:cubicBezTo>
                    <a:pt x="4579" y="1430"/>
                    <a:pt x="4442" y="1406"/>
                    <a:pt x="4300" y="1406"/>
                  </a:cubicBezTo>
                  <a:cubicBezTo>
                    <a:pt x="4159" y="1406"/>
                    <a:pt x="4013" y="1430"/>
                    <a:pt x="3870" y="1477"/>
                  </a:cubicBezTo>
                  <a:lnTo>
                    <a:pt x="3870" y="763"/>
                  </a:lnTo>
                  <a:cubicBezTo>
                    <a:pt x="3870" y="537"/>
                    <a:pt x="4049" y="346"/>
                    <a:pt x="4287" y="346"/>
                  </a:cubicBezTo>
                  <a:cubicBezTo>
                    <a:pt x="4477" y="346"/>
                    <a:pt x="4656" y="489"/>
                    <a:pt x="4692" y="680"/>
                  </a:cubicBezTo>
                  <a:cubicBezTo>
                    <a:pt x="4703" y="767"/>
                    <a:pt x="4783" y="824"/>
                    <a:pt x="4861" y="824"/>
                  </a:cubicBezTo>
                  <a:cubicBezTo>
                    <a:pt x="4868" y="824"/>
                    <a:pt x="4875" y="824"/>
                    <a:pt x="4882" y="823"/>
                  </a:cubicBezTo>
                  <a:cubicBezTo>
                    <a:pt x="4978" y="799"/>
                    <a:pt x="5037" y="715"/>
                    <a:pt x="5013" y="620"/>
                  </a:cubicBezTo>
                  <a:cubicBezTo>
                    <a:pt x="4954" y="263"/>
                    <a:pt x="4644" y="1"/>
                    <a:pt x="4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5" name="Google Shape;12355;p62"/>
            <p:cNvSpPr/>
            <p:nvPr/>
          </p:nvSpPr>
          <p:spPr>
            <a:xfrm>
              <a:off x="1028146" y="2491719"/>
              <a:ext cx="37880" cy="32918"/>
            </a:xfrm>
            <a:custGeom>
              <a:avLst/>
              <a:gdLst/>
              <a:ahLst/>
              <a:cxnLst/>
              <a:rect l="l" t="t" r="r" b="b"/>
              <a:pathLst>
                <a:path w="1191" h="1035" extrusionOk="0">
                  <a:moveTo>
                    <a:pt x="731" y="0"/>
                  </a:moveTo>
                  <a:cubicBezTo>
                    <a:pt x="646" y="0"/>
                    <a:pt x="578" y="41"/>
                    <a:pt x="560" y="130"/>
                  </a:cubicBezTo>
                  <a:cubicBezTo>
                    <a:pt x="548" y="213"/>
                    <a:pt x="607" y="308"/>
                    <a:pt x="703" y="320"/>
                  </a:cubicBezTo>
                  <a:cubicBezTo>
                    <a:pt x="786" y="332"/>
                    <a:pt x="857" y="415"/>
                    <a:pt x="857" y="511"/>
                  </a:cubicBezTo>
                  <a:cubicBezTo>
                    <a:pt x="857" y="618"/>
                    <a:pt x="774" y="713"/>
                    <a:pt x="667" y="713"/>
                  </a:cubicBezTo>
                  <a:cubicBezTo>
                    <a:pt x="560" y="713"/>
                    <a:pt x="488" y="630"/>
                    <a:pt x="476" y="535"/>
                  </a:cubicBezTo>
                  <a:cubicBezTo>
                    <a:pt x="454" y="446"/>
                    <a:pt x="391" y="378"/>
                    <a:pt x="316" y="378"/>
                  </a:cubicBezTo>
                  <a:cubicBezTo>
                    <a:pt x="310" y="378"/>
                    <a:pt x="304" y="379"/>
                    <a:pt x="298" y="380"/>
                  </a:cubicBezTo>
                  <a:cubicBezTo>
                    <a:pt x="0" y="415"/>
                    <a:pt x="179" y="1035"/>
                    <a:pt x="667" y="1035"/>
                  </a:cubicBezTo>
                  <a:cubicBezTo>
                    <a:pt x="953" y="1035"/>
                    <a:pt x="1191" y="796"/>
                    <a:pt x="1191" y="511"/>
                  </a:cubicBezTo>
                  <a:cubicBezTo>
                    <a:pt x="1191" y="199"/>
                    <a:pt x="920" y="0"/>
                    <a:pt x="7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6" name="Google Shape;12356;p62"/>
            <p:cNvSpPr/>
            <p:nvPr/>
          </p:nvSpPr>
          <p:spPr>
            <a:xfrm>
              <a:off x="952769" y="2687447"/>
              <a:ext cx="16316" cy="16316"/>
            </a:xfrm>
            <a:custGeom>
              <a:avLst/>
              <a:gdLst/>
              <a:ahLst/>
              <a:cxnLst/>
              <a:rect l="l" t="t" r="r" b="b"/>
              <a:pathLst>
                <a:path w="513" h="513" extrusionOk="0">
                  <a:moveTo>
                    <a:pt x="251" y="0"/>
                  </a:moveTo>
                  <a:cubicBezTo>
                    <a:pt x="120" y="0"/>
                    <a:pt x="1" y="119"/>
                    <a:pt x="1" y="250"/>
                  </a:cubicBezTo>
                  <a:cubicBezTo>
                    <a:pt x="1" y="393"/>
                    <a:pt x="120" y="512"/>
                    <a:pt x="251" y="512"/>
                  </a:cubicBezTo>
                  <a:cubicBezTo>
                    <a:pt x="394" y="512"/>
                    <a:pt x="513" y="393"/>
                    <a:pt x="513" y="250"/>
                  </a:cubicBezTo>
                  <a:cubicBezTo>
                    <a:pt x="513"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7" name="Google Shape;12357;p62"/>
            <p:cNvSpPr/>
            <p:nvPr/>
          </p:nvSpPr>
          <p:spPr>
            <a:xfrm>
              <a:off x="1130368" y="2687447"/>
              <a:ext cx="15934" cy="16316"/>
            </a:xfrm>
            <a:custGeom>
              <a:avLst/>
              <a:gdLst/>
              <a:ahLst/>
              <a:cxnLst/>
              <a:rect l="l" t="t" r="r" b="b"/>
              <a:pathLst>
                <a:path w="501" h="513" extrusionOk="0">
                  <a:moveTo>
                    <a:pt x="251" y="0"/>
                  </a:moveTo>
                  <a:cubicBezTo>
                    <a:pt x="108" y="0"/>
                    <a:pt x="1" y="119"/>
                    <a:pt x="1" y="250"/>
                  </a:cubicBezTo>
                  <a:cubicBezTo>
                    <a:pt x="1" y="393"/>
                    <a:pt x="108" y="512"/>
                    <a:pt x="251" y="512"/>
                  </a:cubicBezTo>
                  <a:cubicBezTo>
                    <a:pt x="394" y="512"/>
                    <a:pt x="501" y="393"/>
                    <a:pt x="501" y="250"/>
                  </a:cubicBezTo>
                  <a:cubicBezTo>
                    <a:pt x="501" y="119"/>
                    <a:pt x="394" y="0"/>
                    <a:pt x="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58" name="Google Shape;12358;p62"/>
          <p:cNvGrpSpPr/>
          <p:nvPr/>
        </p:nvGrpSpPr>
        <p:grpSpPr>
          <a:xfrm>
            <a:off x="2274743" y="2422352"/>
            <a:ext cx="255649" cy="351445"/>
            <a:chOff x="2274743" y="2422352"/>
            <a:chExt cx="255649" cy="351445"/>
          </a:xfrm>
        </p:grpSpPr>
        <p:sp>
          <p:nvSpPr>
            <p:cNvPr id="12359" name="Google Shape;12359;p62"/>
            <p:cNvSpPr/>
            <p:nvPr/>
          </p:nvSpPr>
          <p:spPr>
            <a:xfrm>
              <a:off x="2274743" y="2422352"/>
              <a:ext cx="255649" cy="351445"/>
            </a:xfrm>
            <a:custGeom>
              <a:avLst/>
              <a:gdLst/>
              <a:ahLst/>
              <a:cxnLst/>
              <a:rect l="l" t="t" r="r" b="b"/>
              <a:pathLst>
                <a:path w="8038" h="11050" extrusionOk="0">
                  <a:moveTo>
                    <a:pt x="5608" y="941"/>
                  </a:moveTo>
                  <a:cubicBezTo>
                    <a:pt x="6799" y="1049"/>
                    <a:pt x="7728" y="1954"/>
                    <a:pt x="7728" y="3049"/>
                  </a:cubicBezTo>
                  <a:lnTo>
                    <a:pt x="7728" y="4263"/>
                  </a:lnTo>
                  <a:cubicBezTo>
                    <a:pt x="7716" y="4454"/>
                    <a:pt x="7537" y="4621"/>
                    <a:pt x="7299" y="4621"/>
                  </a:cubicBezTo>
                  <a:lnTo>
                    <a:pt x="7073" y="4621"/>
                  </a:lnTo>
                  <a:cubicBezTo>
                    <a:pt x="7073" y="3347"/>
                    <a:pt x="7121" y="3204"/>
                    <a:pt x="6894" y="2954"/>
                  </a:cubicBezTo>
                  <a:cubicBezTo>
                    <a:pt x="6811" y="2846"/>
                    <a:pt x="6656" y="2775"/>
                    <a:pt x="6490" y="2751"/>
                  </a:cubicBezTo>
                  <a:lnTo>
                    <a:pt x="1632" y="2751"/>
                  </a:lnTo>
                  <a:cubicBezTo>
                    <a:pt x="1275" y="2751"/>
                    <a:pt x="989" y="3037"/>
                    <a:pt x="989" y="3394"/>
                  </a:cubicBezTo>
                  <a:lnTo>
                    <a:pt x="989" y="4621"/>
                  </a:lnTo>
                  <a:lnTo>
                    <a:pt x="763" y="4621"/>
                  </a:lnTo>
                  <a:cubicBezTo>
                    <a:pt x="536" y="4621"/>
                    <a:pt x="346" y="4454"/>
                    <a:pt x="346" y="4263"/>
                  </a:cubicBezTo>
                  <a:lnTo>
                    <a:pt x="346" y="3049"/>
                  </a:lnTo>
                  <a:cubicBezTo>
                    <a:pt x="346" y="1954"/>
                    <a:pt x="1263" y="1049"/>
                    <a:pt x="2453" y="941"/>
                  </a:cubicBezTo>
                  <a:lnTo>
                    <a:pt x="2453" y="1084"/>
                  </a:lnTo>
                  <a:cubicBezTo>
                    <a:pt x="2453" y="1322"/>
                    <a:pt x="2656" y="1525"/>
                    <a:pt x="2894" y="1525"/>
                  </a:cubicBezTo>
                  <a:lnTo>
                    <a:pt x="5180" y="1525"/>
                  </a:lnTo>
                  <a:cubicBezTo>
                    <a:pt x="5418" y="1525"/>
                    <a:pt x="5608" y="1322"/>
                    <a:pt x="5608" y="1084"/>
                  </a:cubicBezTo>
                  <a:lnTo>
                    <a:pt x="5608" y="941"/>
                  </a:lnTo>
                  <a:close/>
                  <a:moveTo>
                    <a:pt x="6442" y="3085"/>
                  </a:moveTo>
                  <a:cubicBezTo>
                    <a:pt x="6525" y="3085"/>
                    <a:pt x="6597" y="3108"/>
                    <a:pt x="6656" y="3180"/>
                  </a:cubicBezTo>
                  <a:cubicBezTo>
                    <a:pt x="6787" y="3335"/>
                    <a:pt x="6728" y="3454"/>
                    <a:pt x="6751" y="3942"/>
                  </a:cubicBezTo>
                  <a:cubicBezTo>
                    <a:pt x="6490" y="4025"/>
                    <a:pt x="6299" y="4263"/>
                    <a:pt x="6299" y="4525"/>
                  </a:cubicBezTo>
                  <a:lnTo>
                    <a:pt x="6299" y="5764"/>
                  </a:lnTo>
                  <a:cubicBezTo>
                    <a:pt x="6299" y="5959"/>
                    <a:pt x="6132" y="6121"/>
                    <a:pt x="5938" y="6121"/>
                  </a:cubicBezTo>
                  <a:cubicBezTo>
                    <a:pt x="5932" y="6121"/>
                    <a:pt x="5925" y="6121"/>
                    <a:pt x="5918" y="6121"/>
                  </a:cubicBezTo>
                  <a:cubicBezTo>
                    <a:pt x="5739" y="6097"/>
                    <a:pt x="5585" y="5942"/>
                    <a:pt x="5585" y="5752"/>
                  </a:cubicBezTo>
                  <a:lnTo>
                    <a:pt x="5585" y="5728"/>
                  </a:lnTo>
                  <a:cubicBezTo>
                    <a:pt x="5585" y="5644"/>
                    <a:pt x="5513" y="5561"/>
                    <a:pt x="5418" y="5561"/>
                  </a:cubicBezTo>
                  <a:cubicBezTo>
                    <a:pt x="5335" y="5561"/>
                    <a:pt x="5251" y="5644"/>
                    <a:pt x="5251" y="5728"/>
                  </a:cubicBezTo>
                  <a:lnTo>
                    <a:pt x="5251" y="5752"/>
                  </a:lnTo>
                  <a:cubicBezTo>
                    <a:pt x="5251" y="6097"/>
                    <a:pt x="5537" y="6418"/>
                    <a:pt x="5894" y="6442"/>
                  </a:cubicBezTo>
                  <a:cubicBezTo>
                    <a:pt x="5916" y="6444"/>
                    <a:pt x="5937" y="6445"/>
                    <a:pt x="5957" y="6445"/>
                  </a:cubicBezTo>
                  <a:cubicBezTo>
                    <a:pt x="6332" y="6445"/>
                    <a:pt x="6620" y="6147"/>
                    <a:pt x="6620" y="5764"/>
                  </a:cubicBezTo>
                  <a:lnTo>
                    <a:pt x="6620" y="4525"/>
                  </a:lnTo>
                  <a:cubicBezTo>
                    <a:pt x="6620" y="4430"/>
                    <a:pt x="6668" y="4347"/>
                    <a:pt x="6740" y="4299"/>
                  </a:cubicBezTo>
                  <a:lnTo>
                    <a:pt x="6740" y="9871"/>
                  </a:lnTo>
                  <a:cubicBezTo>
                    <a:pt x="6740" y="10324"/>
                    <a:pt x="6359" y="10716"/>
                    <a:pt x="5894" y="10716"/>
                  </a:cubicBezTo>
                  <a:lnTo>
                    <a:pt x="2179" y="10716"/>
                  </a:lnTo>
                  <a:cubicBezTo>
                    <a:pt x="1715" y="10716"/>
                    <a:pt x="1322" y="10324"/>
                    <a:pt x="1322" y="9871"/>
                  </a:cubicBezTo>
                  <a:lnTo>
                    <a:pt x="1322" y="4240"/>
                  </a:lnTo>
                  <a:lnTo>
                    <a:pt x="1858" y="4240"/>
                  </a:lnTo>
                  <a:cubicBezTo>
                    <a:pt x="2013" y="4240"/>
                    <a:pt x="2144" y="4359"/>
                    <a:pt x="2144" y="4525"/>
                  </a:cubicBezTo>
                  <a:lnTo>
                    <a:pt x="2144" y="5549"/>
                  </a:lnTo>
                  <a:cubicBezTo>
                    <a:pt x="2144" y="5644"/>
                    <a:pt x="2215" y="5716"/>
                    <a:pt x="2310" y="5716"/>
                  </a:cubicBezTo>
                  <a:cubicBezTo>
                    <a:pt x="2394" y="5716"/>
                    <a:pt x="2477" y="5644"/>
                    <a:pt x="2477" y="5549"/>
                  </a:cubicBezTo>
                  <a:lnTo>
                    <a:pt x="2477" y="4525"/>
                  </a:lnTo>
                  <a:cubicBezTo>
                    <a:pt x="2477" y="4180"/>
                    <a:pt x="2203" y="3918"/>
                    <a:pt x="1858" y="3918"/>
                  </a:cubicBezTo>
                  <a:lnTo>
                    <a:pt x="1322" y="3918"/>
                  </a:lnTo>
                  <a:lnTo>
                    <a:pt x="1322" y="3394"/>
                  </a:lnTo>
                  <a:cubicBezTo>
                    <a:pt x="1322" y="3216"/>
                    <a:pt x="1465" y="3085"/>
                    <a:pt x="1644" y="3085"/>
                  </a:cubicBezTo>
                  <a:close/>
                  <a:moveTo>
                    <a:pt x="2882" y="1"/>
                  </a:moveTo>
                  <a:cubicBezTo>
                    <a:pt x="2644" y="1"/>
                    <a:pt x="2441" y="191"/>
                    <a:pt x="2441" y="430"/>
                  </a:cubicBezTo>
                  <a:lnTo>
                    <a:pt x="2441" y="608"/>
                  </a:lnTo>
                  <a:cubicBezTo>
                    <a:pt x="1072" y="715"/>
                    <a:pt x="1" y="1775"/>
                    <a:pt x="1" y="3049"/>
                  </a:cubicBezTo>
                  <a:lnTo>
                    <a:pt x="1" y="4263"/>
                  </a:lnTo>
                  <a:cubicBezTo>
                    <a:pt x="1" y="4644"/>
                    <a:pt x="334" y="4942"/>
                    <a:pt x="751" y="4942"/>
                  </a:cubicBezTo>
                  <a:lnTo>
                    <a:pt x="977" y="4942"/>
                  </a:lnTo>
                  <a:lnTo>
                    <a:pt x="977" y="9871"/>
                  </a:lnTo>
                  <a:cubicBezTo>
                    <a:pt x="977" y="10526"/>
                    <a:pt x="1513" y="11050"/>
                    <a:pt x="2144" y="11050"/>
                  </a:cubicBezTo>
                  <a:lnTo>
                    <a:pt x="5870" y="11050"/>
                  </a:lnTo>
                  <a:cubicBezTo>
                    <a:pt x="6525" y="11050"/>
                    <a:pt x="7049" y="10526"/>
                    <a:pt x="7049" y="9871"/>
                  </a:cubicBezTo>
                  <a:lnTo>
                    <a:pt x="7049" y="4942"/>
                  </a:lnTo>
                  <a:lnTo>
                    <a:pt x="7263" y="4942"/>
                  </a:lnTo>
                  <a:cubicBezTo>
                    <a:pt x="7680" y="4942"/>
                    <a:pt x="8014" y="4632"/>
                    <a:pt x="8014" y="4263"/>
                  </a:cubicBezTo>
                  <a:lnTo>
                    <a:pt x="8014" y="3049"/>
                  </a:lnTo>
                  <a:cubicBezTo>
                    <a:pt x="8037" y="1775"/>
                    <a:pt x="6966" y="715"/>
                    <a:pt x="5597" y="608"/>
                  </a:cubicBezTo>
                  <a:lnTo>
                    <a:pt x="5597" y="430"/>
                  </a:lnTo>
                  <a:cubicBezTo>
                    <a:pt x="5597" y="191"/>
                    <a:pt x="5406" y="1"/>
                    <a:pt x="5168" y="1"/>
                  </a:cubicBezTo>
                  <a:lnTo>
                    <a:pt x="4037" y="1"/>
                  </a:lnTo>
                  <a:cubicBezTo>
                    <a:pt x="3953" y="1"/>
                    <a:pt x="3870" y="72"/>
                    <a:pt x="3870" y="168"/>
                  </a:cubicBezTo>
                  <a:cubicBezTo>
                    <a:pt x="3870" y="251"/>
                    <a:pt x="3953" y="334"/>
                    <a:pt x="4037" y="334"/>
                  </a:cubicBezTo>
                  <a:lnTo>
                    <a:pt x="5168" y="334"/>
                  </a:lnTo>
                  <a:cubicBezTo>
                    <a:pt x="5227" y="334"/>
                    <a:pt x="5275" y="370"/>
                    <a:pt x="5275" y="430"/>
                  </a:cubicBezTo>
                  <a:lnTo>
                    <a:pt x="5275" y="1084"/>
                  </a:lnTo>
                  <a:cubicBezTo>
                    <a:pt x="5275" y="1144"/>
                    <a:pt x="5227" y="1192"/>
                    <a:pt x="5168" y="1192"/>
                  </a:cubicBezTo>
                  <a:lnTo>
                    <a:pt x="2882" y="1192"/>
                  </a:lnTo>
                  <a:cubicBezTo>
                    <a:pt x="2822" y="1192"/>
                    <a:pt x="2775" y="1144"/>
                    <a:pt x="2775" y="1084"/>
                  </a:cubicBezTo>
                  <a:lnTo>
                    <a:pt x="2775" y="430"/>
                  </a:lnTo>
                  <a:cubicBezTo>
                    <a:pt x="2775" y="370"/>
                    <a:pt x="2822" y="334"/>
                    <a:pt x="2882" y="334"/>
                  </a:cubicBezTo>
                  <a:lnTo>
                    <a:pt x="3382" y="334"/>
                  </a:lnTo>
                  <a:cubicBezTo>
                    <a:pt x="3477" y="334"/>
                    <a:pt x="3549" y="251"/>
                    <a:pt x="3549" y="168"/>
                  </a:cubicBezTo>
                  <a:cubicBezTo>
                    <a:pt x="3549" y="72"/>
                    <a:pt x="3477" y="1"/>
                    <a:pt x="3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0" name="Google Shape;12360;p62"/>
            <p:cNvSpPr/>
            <p:nvPr/>
          </p:nvSpPr>
          <p:spPr>
            <a:xfrm>
              <a:off x="2347831" y="2600714"/>
              <a:ext cx="71975" cy="75378"/>
            </a:xfrm>
            <a:custGeom>
              <a:avLst/>
              <a:gdLst/>
              <a:ahLst/>
              <a:cxnLst/>
              <a:rect l="l" t="t" r="r" b="b"/>
              <a:pathLst>
                <a:path w="2263" h="2370" extrusionOk="0">
                  <a:moveTo>
                    <a:pt x="1036" y="1"/>
                  </a:moveTo>
                  <a:cubicBezTo>
                    <a:pt x="953" y="1"/>
                    <a:pt x="882" y="84"/>
                    <a:pt x="882" y="167"/>
                  </a:cubicBezTo>
                  <a:cubicBezTo>
                    <a:pt x="882" y="378"/>
                    <a:pt x="704" y="522"/>
                    <a:pt x="519" y="522"/>
                  </a:cubicBezTo>
                  <a:cubicBezTo>
                    <a:pt x="443" y="522"/>
                    <a:pt x="365" y="497"/>
                    <a:pt x="298" y="441"/>
                  </a:cubicBezTo>
                  <a:cubicBezTo>
                    <a:pt x="266" y="414"/>
                    <a:pt x="227" y="402"/>
                    <a:pt x="187" y="402"/>
                  </a:cubicBezTo>
                  <a:cubicBezTo>
                    <a:pt x="140" y="402"/>
                    <a:pt x="93" y="420"/>
                    <a:pt x="60" y="453"/>
                  </a:cubicBezTo>
                  <a:cubicBezTo>
                    <a:pt x="1" y="525"/>
                    <a:pt x="12" y="632"/>
                    <a:pt x="72" y="691"/>
                  </a:cubicBezTo>
                  <a:cubicBezTo>
                    <a:pt x="204" y="797"/>
                    <a:pt x="358" y="848"/>
                    <a:pt x="513" y="848"/>
                  </a:cubicBezTo>
                  <a:cubicBezTo>
                    <a:pt x="638" y="848"/>
                    <a:pt x="765" y="815"/>
                    <a:pt x="882" y="751"/>
                  </a:cubicBezTo>
                  <a:lnTo>
                    <a:pt x="882" y="1691"/>
                  </a:lnTo>
                  <a:cubicBezTo>
                    <a:pt x="882" y="2101"/>
                    <a:pt x="1212" y="2370"/>
                    <a:pt x="1559" y="2370"/>
                  </a:cubicBezTo>
                  <a:cubicBezTo>
                    <a:pt x="1726" y="2370"/>
                    <a:pt x="1897" y="2307"/>
                    <a:pt x="2036" y="2168"/>
                  </a:cubicBezTo>
                  <a:cubicBezTo>
                    <a:pt x="2144" y="2061"/>
                    <a:pt x="2215" y="1906"/>
                    <a:pt x="2227" y="1763"/>
                  </a:cubicBezTo>
                  <a:cubicBezTo>
                    <a:pt x="2263" y="1668"/>
                    <a:pt x="2191" y="1584"/>
                    <a:pt x="2096" y="1584"/>
                  </a:cubicBezTo>
                  <a:cubicBezTo>
                    <a:pt x="2089" y="1583"/>
                    <a:pt x="2082" y="1583"/>
                    <a:pt x="2075" y="1583"/>
                  </a:cubicBezTo>
                  <a:cubicBezTo>
                    <a:pt x="1997" y="1583"/>
                    <a:pt x="1917" y="1640"/>
                    <a:pt x="1917" y="1727"/>
                  </a:cubicBezTo>
                  <a:cubicBezTo>
                    <a:pt x="1906" y="1906"/>
                    <a:pt x="1739" y="2049"/>
                    <a:pt x="1560" y="2049"/>
                  </a:cubicBezTo>
                  <a:cubicBezTo>
                    <a:pt x="1370" y="2049"/>
                    <a:pt x="1203" y="1882"/>
                    <a:pt x="1203" y="1691"/>
                  </a:cubicBezTo>
                  <a:lnTo>
                    <a:pt x="1203" y="167"/>
                  </a:lnTo>
                  <a:cubicBezTo>
                    <a:pt x="1203" y="84"/>
                    <a:pt x="1132" y="1"/>
                    <a:pt x="1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1" name="Google Shape;12361;p62"/>
            <p:cNvSpPr/>
            <p:nvPr/>
          </p:nvSpPr>
          <p:spPr>
            <a:xfrm>
              <a:off x="2408801" y="2546964"/>
              <a:ext cx="43573" cy="93539"/>
            </a:xfrm>
            <a:custGeom>
              <a:avLst/>
              <a:gdLst/>
              <a:ahLst/>
              <a:cxnLst/>
              <a:rect l="l" t="t" r="r" b="b"/>
              <a:pathLst>
                <a:path w="1370" h="2941" extrusionOk="0">
                  <a:moveTo>
                    <a:pt x="608" y="0"/>
                  </a:moveTo>
                  <a:cubicBezTo>
                    <a:pt x="274" y="0"/>
                    <a:pt x="0" y="262"/>
                    <a:pt x="0" y="607"/>
                  </a:cubicBezTo>
                  <a:lnTo>
                    <a:pt x="0" y="2786"/>
                  </a:lnTo>
                  <a:cubicBezTo>
                    <a:pt x="0" y="2869"/>
                    <a:pt x="72" y="2941"/>
                    <a:pt x="167" y="2941"/>
                  </a:cubicBezTo>
                  <a:cubicBezTo>
                    <a:pt x="250" y="2941"/>
                    <a:pt x="334" y="2869"/>
                    <a:pt x="334" y="2786"/>
                  </a:cubicBezTo>
                  <a:lnTo>
                    <a:pt x="334" y="619"/>
                  </a:lnTo>
                  <a:cubicBezTo>
                    <a:pt x="334" y="476"/>
                    <a:pt x="453" y="345"/>
                    <a:pt x="608" y="345"/>
                  </a:cubicBezTo>
                  <a:lnTo>
                    <a:pt x="762" y="345"/>
                  </a:lnTo>
                  <a:cubicBezTo>
                    <a:pt x="905" y="345"/>
                    <a:pt x="1048" y="464"/>
                    <a:pt x="1048" y="619"/>
                  </a:cubicBezTo>
                  <a:lnTo>
                    <a:pt x="1048" y="1179"/>
                  </a:lnTo>
                  <a:cubicBezTo>
                    <a:pt x="1048" y="1262"/>
                    <a:pt x="1120" y="1334"/>
                    <a:pt x="1203" y="1334"/>
                  </a:cubicBezTo>
                  <a:cubicBezTo>
                    <a:pt x="1298" y="1334"/>
                    <a:pt x="1370" y="1262"/>
                    <a:pt x="1370" y="1179"/>
                  </a:cubicBezTo>
                  <a:lnTo>
                    <a:pt x="1370" y="619"/>
                  </a:lnTo>
                  <a:cubicBezTo>
                    <a:pt x="1370" y="286"/>
                    <a:pt x="1108"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2" name="Google Shape;12362;p62"/>
          <p:cNvGrpSpPr/>
          <p:nvPr/>
        </p:nvGrpSpPr>
        <p:grpSpPr>
          <a:xfrm>
            <a:off x="2708723" y="2421239"/>
            <a:ext cx="246552" cy="352558"/>
            <a:chOff x="2708723" y="2421239"/>
            <a:chExt cx="246552" cy="352558"/>
          </a:xfrm>
        </p:grpSpPr>
        <p:sp>
          <p:nvSpPr>
            <p:cNvPr id="12363" name="Google Shape;12363;p62"/>
            <p:cNvSpPr/>
            <p:nvPr/>
          </p:nvSpPr>
          <p:spPr>
            <a:xfrm>
              <a:off x="2708723" y="2421239"/>
              <a:ext cx="246552" cy="282905"/>
            </a:xfrm>
            <a:custGeom>
              <a:avLst/>
              <a:gdLst/>
              <a:ahLst/>
              <a:cxnLst/>
              <a:rect l="l" t="t" r="r" b="b"/>
              <a:pathLst>
                <a:path w="7752" h="8895" extrusionOk="0">
                  <a:moveTo>
                    <a:pt x="6973" y="1134"/>
                  </a:moveTo>
                  <a:cubicBezTo>
                    <a:pt x="7031" y="1134"/>
                    <a:pt x="7090" y="1161"/>
                    <a:pt x="7132" y="1215"/>
                  </a:cubicBezTo>
                  <a:lnTo>
                    <a:pt x="7406" y="1560"/>
                  </a:lnTo>
                  <a:cubicBezTo>
                    <a:pt x="7370" y="1643"/>
                    <a:pt x="7370" y="1655"/>
                    <a:pt x="7370" y="1691"/>
                  </a:cubicBezTo>
                  <a:cubicBezTo>
                    <a:pt x="7358" y="2179"/>
                    <a:pt x="6953" y="2572"/>
                    <a:pt x="6453" y="2572"/>
                  </a:cubicBezTo>
                  <a:lnTo>
                    <a:pt x="1953" y="2572"/>
                  </a:lnTo>
                  <a:cubicBezTo>
                    <a:pt x="1488" y="2572"/>
                    <a:pt x="1119" y="2239"/>
                    <a:pt x="1048" y="1798"/>
                  </a:cubicBezTo>
                  <a:lnTo>
                    <a:pt x="1512" y="1215"/>
                  </a:lnTo>
                  <a:cubicBezTo>
                    <a:pt x="1548" y="1161"/>
                    <a:pt x="1602" y="1134"/>
                    <a:pt x="1658" y="1134"/>
                  </a:cubicBezTo>
                  <a:cubicBezTo>
                    <a:pt x="1715" y="1134"/>
                    <a:pt x="1774" y="1161"/>
                    <a:pt x="1822" y="1215"/>
                  </a:cubicBezTo>
                  <a:lnTo>
                    <a:pt x="2191" y="1679"/>
                  </a:lnTo>
                  <a:cubicBezTo>
                    <a:pt x="2280" y="1786"/>
                    <a:pt x="2414" y="1840"/>
                    <a:pt x="2548" y="1840"/>
                  </a:cubicBezTo>
                  <a:cubicBezTo>
                    <a:pt x="2682" y="1840"/>
                    <a:pt x="2816" y="1786"/>
                    <a:pt x="2905" y="1679"/>
                  </a:cubicBezTo>
                  <a:lnTo>
                    <a:pt x="3274" y="1215"/>
                  </a:lnTo>
                  <a:cubicBezTo>
                    <a:pt x="3316" y="1161"/>
                    <a:pt x="3373" y="1134"/>
                    <a:pt x="3431" y="1134"/>
                  </a:cubicBezTo>
                  <a:cubicBezTo>
                    <a:pt x="3489" y="1134"/>
                    <a:pt x="3548" y="1161"/>
                    <a:pt x="3596" y="1215"/>
                  </a:cubicBezTo>
                  <a:lnTo>
                    <a:pt x="3965" y="1679"/>
                  </a:lnTo>
                  <a:cubicBezTo>
                    <a:pt x="4054" y="1786"/>
                    <a:pt x="4188" y="1840"/>
                    <a:pt x="4322" y="1840"/>
                  </a:cubicBezTo>
                  <a:cubicBezTo>
                    <a:pt x="4456" y="1840"/>
                    <a:pt x="4590" y="1786"/>
                    <a:pt x="4679" y="1679"/>
                  </a:cubicBezTo>
                  <a:lnTo>
                    <a:pt x="5048" y="1215"/>
                  </a:lnTo>
                  <a:cubicBezTo>
                    <a:pt x="5084" y="1161"/>
                    <a:pt x="5141" y="1134"/>
                    <a:pt x="5199" y="1134"/>
                  </a:cubicBezTo>
                  <a:cubicBezTo>
                    <a:pt x="5257" y="1134"/>
                    <a:pt x="5316" y="1161"/>
                    <a:pt x="5358" y="1215"/>
                  </a:cubicBezTo>
                  <a:lnTo>
                    <a:pt x="5739" y="1679"/>
                  </a:lnTo>
                  <a:cubicBezTo>
                    <a:pt x="5828" y="1786"/>
                    <a:pt x="5956" y="1840"/>
                    <a:pt x="6087" y="1840"/>
                  </a:cubicBezTo>
                  <a:cubicBezTo>
                    <a:pt x="6218" y="1840"/>
                    <a:pt x="6352" y="1786"/>
                    <a:pt x="6453" y="1679"/>
                  </a:cubicBezTo>
                  <a:lnTo>
                    <a:pt x="6822" y="1215"/>
                  </a:lnTo>
                  <a:cubicBezTo>
                    <a:pt x="6858" y="1161"/>
                    <a:pt x="6915" y="1134"/>
                    <a:pt x="6973" y="1134"/>
                  </a:cubicBezTo>
                  <a:close/>
                  <a:moveTo>
                    <a:pt x="1905" y="0"/>
                  </a:moveTo>
                  <a:cubicBezTo>
                    <a:pt x="1227" y="0"/>
                    <a:pt x="655" y="572"/>
                    <a:pt x="655" y="1250"/>
                  </a:cubicBezTo>
                  <a:lnTo>
                    <a:pt x="655" y="1334"/>
                  </a:lnTo>
                  <a:cubicBezTo>
                    <a:pt x="286" y="1369"/>
                    <a:pt x="0" y="1691"/>
                    <a:pt x="0" y="2060"/>
                  </a:cubicBezTo>
                  <a:lnTo>
                    <a:pt x="0" y="3262"/>
                  </a:lnTo>
                  <a:cubicBezTo>
                    <a:pt x="0" y="3560"/>
                    <a:pt x="179" y="3846"/>
                    <a:pt x="465" y="3953"/>
                  </a:cubicBezTo>
                  <a:lnTo>
                    <a:pt x="476" y="3953"/>
                  </a:lnTo>
                  <a:lnTo>
                    <a:pt x="3608" y="4858"/>
                  </a:lnTo>
                  <a:cubicBezTo>
                    <a:pt x="3834" y="4953"/>
                    <a:pt x="3965" y="5156"/>
                    <a:pt x="3965" y="5394"/>
                  </a:cubicBezTo>
                  <a:lnTo>
                    <a:pt x="3965" y="6001"/>
                  </a:lnTo>
                  <a:lnTo>
                    <a:pt x="3774" y="6001"/>
                  </a:lnTo>
                  <a:cubicBezTo>
                    <a:pt x="3477" y="6001"/>
                    <a:pt x="3215" y="6239"/>
                    <a:pt x="3215" y="6561"/>
                  </a:cubicBezTo>
                  <a:lnTo>
                    <a:pt x="3215" y="6811"/>
                  </a:lnTo>
                  <a:cubicBezTo>
                    <a:pt x="3215" y="6894"/>
                    <a:pt x="3298" y="6977"/>
                    <a:pt x="3382" y="6977"/>
                  </a:cubicBezTo>
                  <a:cubicBezTo>
                    <a:pt x="3477" y="6977"/>
                    <a:pt x="3548" y="6894"/>
                    <a:pt x="3548" y="6811"/>
                  </a:cubicBezTo>
                  <a:lnTo>
                    <a:pt x="3548" y="6561"/>
                  </a:lnTo>
                  <a:cubicBezTo>
                    <a:pt x="3548" y="6441"/>
                    <a:pt x="3655" y="6334"/>
                    <a:pt x="3774" y="6334"/>
                  </a:cubicBezTo>
                  <a:lnTo>
                    <a:pt x="4513" y="6334"/>
                  </a:lnTo>
                  <a:cubicBezTo>
                    <a:pt x="4632" y="6334"/>
                    <a:pt x="4739" y="6441"/>
                    <a:pt x="4739" y="6561"/>
                  </a:cubicBezTo>
                  <a:lnTo>
                    <a:pt x="4739" y="8727"/>
                  </a:lnTo>
                  <a:cubicBezTo>
                    <a:pt x="4739" y="8823"/>
                    <a:pt x="4810" y="8894"/>
                    <a:pt x="4906" y="8894"/>
                  </a:cubicBezTo>
                  <a:cubicBezTo>
                    <a:pt x="4989" y="8894"/>
                    <a:pt x="5072" y="8823"/>
                    <a:pt x="5072" y="8727"/>
                  </a:cubicBezTo>
                  <a:lnTo>
                    <a:pt x="5072" y="6561"/>
                  </a:lnTo>
                  <a:cubicBezTo>
                    <a:pt x="5072" y="6263"/>
                    <a:pt x="4822" y="6001"/>
                    <a:pt x="4513" y="6001"/>
                  </a:cubicBezTo>
                  <a:lnTo>
                    <a:pt x="4286" y="6001"/>
                  </a:lnTo>
                  <a:lnTo>
                    <a:pt x="4286" y="5394"/>
                  </a:lnTo>
                  <a:cubicBezTo>
                    <a:pt x="4286" y="4977"/>
                    <a:pt x="3989" y="4632"/>
                    <a:pt x="3691" y="4548"/>
                  </a:cubicBezTo>
                  <a:lnTo>
                    <a:pt x="572" y="3643"/>
                  </a:lnTo>
                  <a:cubicBezTo>
                    <a:pt x="417" y="3584"/>
                    <a:pt x="322" y="3429"/>
                    <a:pt x="322" y="3262"/>
                  </a:cubicBezTo>
                  <a:lnTo>
                    <a:pt x="322" y="2060"/>
                  </a:lnTo>
                  <a:cubicBezTo>
                    <a:pt x="322" y="1869"/>
                    <a:pt x="465" y="1691"/>
                    <a:pt x="643" y="1655"/>
                  </a:cubicBezTo>
                  <a:cubicBezTo>
                    <a:pt x="643" y="1774"/>
                    <a:pt x="679" y="1881"/>
                    <a:pt x="703" y="1989"/>
                  </a:cubicBezTo>
                  <a:cubicBezTo>
                    <a:pt x="869" y="2489"/>
                    <a:pt x="1334" y="2858"/>
                    <a:pt x="1893" y="2858"/>
                  </a:cubicBezTo>
                  <a:lnTo>
                    <a:pt x="6394" y="2858"/>
                  </a:lnTo>
                  <a:cubicBezTo>
                    <a:pt x="7061" y="2858"/>
                    <a:pt x="7608" y="2322"/>
                    <a:pt x="7644" y="1655"/>
                  </a:cubicBezTo>
                  <a:cubicBezTo>
                    <a:pt x="7704" y="1274"/>
                    <a:pt x="7751" y="941"/>
                    <a:pt x="7465" y="560"/>
                  </a:cubicBezTo>
                  <a:cubicBezTo>
                    <a:pt x="7427" y="514"/>
                    <a:pt x="7374" y="487"/>
                    <a:pt x="7321" y="487"/>
                  </a:cubicBezTo>
                  <a:cubicBezTo>
                    <a:pt x="7293" y="487"/>
                    <a:pt x="7264" y="495"/>
                    <a:pt x="7239" y="512"/>
                  </a:cubicBezTo>
                  <a:cubicBezTo>
                    <a:pt x="7168" y="572"/>
                    <a:pt x="7156" y="667"/>
                    <a:pt x="7192" y="738"/>
                  </a:cubicBezTo>
                  <a:cubicBezTo>
                    <a:pt x="7239" y="798"/>
                    <a:pt x="7287" y="869"/>
                    <a:pt x="7311" y="941"/>
                  </a:cubicBezTo>
                  <a:cubicBezTo>
                    <a:pt x="7212" y="842"/>
                    <a:pt x="7083" y="794"/>
                    <a:pt x="6953" y="794"/>
                  </a:cubicBezTo>
                  <a:cubicBezTo>
                    <a:pt x="6800" y="794"/>
                    <a:pt x="6646" y="860"/>
                    <a:pt x="6537" y="988"/>
                  </a:cubicBezTo>
                  <a:cubicBezTo>
                    <a:pt x="6156" y="1453"/>
                    <a:pt x="6168" y="1488"/>
                    <a:pt x="6060" y="1488"/>
                  </a:cubicBezTo>
                  <a:cubicBezTo>
                    <a:pt x="6037" y="1488"/>
                    <a:pt x="6001" y="1488"/>
                    <a:pt x="5953" y="1453"/>
                  </a:cubicBezTo>
                  <a:lnTo>
                    <a:pt x="5584" y="988"/>
                  </a:lnTo>
                  <a:cubicBezTo>
                    <a:pt x="5483" y="851"/>
                    <a:pt x="5331" y="783"/>
                    <a:pt x="5178" y="783"/>
                  </a:cubicBezTo>
                  <a:cubicBezTo>
                    <a:pt x="5025" y="783"/>
                    <a:pt x="4870" y="851"/>
                    <a:pt x="4763" y="988"/>
                  </a:cubicBezTo>
                  <a:lnTo>
                    <a:pt x="4394" y="1453"/>
                  </a:lnTo>
                  <a:cubicBezTo>
                    <a:pt x="4364" y="1483"/>
                    <a:pt x="4328" y="1497"/>
                    <a:pt x="4292" y="1497"/>
                  </a:cubicBezTo>
                  <a:cubicBezTo>
                    <a:pt x="4257" y="1497"/>
                    <a:pt x="4221" y="1483"/>
                    <a:pt x="4191" y="1453"/>
                  </a:cubicBezTo>
                  <a:lnTo>
                    <a:pt x="3810" y="988"/>
                  </a:lnTo>
                  <a:cubicBezTo>
                    <a:pt x="3709" y="851"/>
                    <a:pt x="3557" y="783"/>
                    <a:pt x="3405" y="783"/>
                  </a:cubicBezTo>
                  <a:cubicBezTo>
                    <a:pt x="3254" y="783"/>
                    <a:pt x="3102" y="851"/>
                    <a:pt x="3001" y="988"/>
                  </a:cubicBezTo>
                  <a:lnTo>
                    <a:pt x="2620" y="1453"/>
                  </a:lnTo>
                  <a:cubicBezTo>
                    <a:pt x="2590" y="1483"/>
                    <a:pt x="2554" y="1497"/>
                    <a:pt x="2518" y="1497"/>
                  </a:cubicBezTo>
                  <a:cubicBezTo>
                    <a:pt x="2483" y="1497"/>
                    <a:pt x="2447" y="1483"/>
                    <a:pt x="2417" y="1453"/>
                  </a:cubicBezTo>
                  <a:lnTo>
                    <a:pt x="2048" y="988"/>
                  </a:lnTo>
                  <a:cubicBezTo>
                    <a:pt x="1941" y="851"/>
                    <a:pt x="1786" y="783"/>
                    <a:pt x="1633" y="783"/>
                  </a:cubicBezTo>
                  <a:cubicBezTo>
                    <a:pt x="1480" y="783"/>
                    <a:pt x="1328" y="851"/>
                    <a:pt x="1227" y="988"/>
                  </a:cubicBezTo>
                  <a:lnTo>
                    <a:pt x="1000" y="1250"/>
                  </a:lnTo>
                  <a:cubicBezTo>
                    <a:pt x="1000" y="750"/>
                    <a:pt x="1417" y="334"/>
                    <a:pt x="1929" y="334"/>
                  </a:cubicBezTo>
                  <a:cubicBezTo>
                    <a:pt x="2408" y="335"/>
                    <a:pt x="2836" y="335"/>
                    <a:pt x="3219" y="335"/>
                  </a:cubicBezTo>
                  <a:cubicBezTo>
                    <a:pt x="4753" y="335"/>
                    <a:pt x="5570" y="328"/>
                    <a:pt x="6025" y="328"/>
                  </a:cubicBezTo>
                  <a:cubicBezTo>
                    <a:pt x="6593" y="328"/>
                    <a:pt x="6596" y="340"/>
                    <a:pt x="6727" y="393"/>
                  </a:cubicBezTo>
                  <a:cubicBezTo>
                    <a:pt x="6746" y="398"/>
                    <a:pt x="6765" y="400"/>
                    <a:pt x="6783" y="400"/>
                  </a:cubicBezTo>
                  <a:cubicBezTo>
                    <a:pt x="6854" y="400"/>
                    <a:pt x="6913" y="362"/>
                    <a:pt x="6942" y="286"/>
                  </a:cubicBezTo>
                  <a:cubicBezTo>
                    <a:pt x="6965" y="203"/>
                    <a:pt x="6930" y="107"/>
                    <a:pt x="6834" y="84"/>
                  </a:cubicBezTo>
                  <a:cubicBezTo>
                    <a:pt x="6656" y="18"/>
                    <a:pt x="6605" y="6"/>
                    <a:pt x="6008" y="6"/>
                  </a:cubicBezTo>
                  <a:cubicBezTo>
                    <a:pt x="5667" y="6"/>
                    <a:pt x="5148" y="10"/>
                    <a:pt x="4324" y="10"/>
                  </a:cubicBezTo>
                  <a:cubicBezTo>
                    <a:pt x="3707" y="10"/>
                    <a:pt x="2918" y="8"/>
                    <a:pt x="1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4" name="Google Shape;12364;p62"/>
            <p:cNvSpPr/>
            <p:nvPr/>
          </p:nvSpPr>
          <p:spPr>
            <a:xfrm>
              <a:off x="2813234" y="2654497"/>
              <a:ext cx="58712" cy="119301"/>
            </a:xfrm>
            <a:custGeom>
              <a:avLst/>
              <a:gdLst/>
              <a:ahLst/>
              <a:cxnLst/>
              <a:rect l="l" t="t" r="r" b="b"/>
              <a:pathLst>
                <a:path w="1846" h="3751" extrusionOk="0">
                  <a:moveTo>
                    <a:pt x="155" y="0"/>
                  </a:moveTo>
                  <a:cubicBezTo>
                    <a:pt x="72" y="0"/>
                    <a:pt x="0" y="72"/>
                    <a:pt x="0" y="155"/>
                  </a:cubicBezTo>
                  <a:lnTo>
                    <a:pt x="0" y="3191"/>
                  </a:lnTo>
                  <a:cubicBezTo>
                    <a:pt x="0" y="3489"/>
                    <a:pt x="238" y="3751"/>
                    <a:pt x="548" y="3751"/>
                  </a:cubicBezTo>
                  <a:lnTo>
                    <a:pt x="1286" y="3751"/>
                  </a:lnTo>
                  <a:cubicBezTo>
                    <a:pt x="1584" y="3751"/>
                    <a:pt x="1846" y="3513"/>
                    <a:pt x="1846" y="3191"/>
                  </a:cubicBezTo>
                  <a:lnTo>
                    <a:pt x="1846" y="2096"/>
                  </a:lnTo>
                  <a:cubicBezTo>
                    <a:pt x="1834" y="2001"/>
                    <a:pt x="1762" y="1929"/>
                    <a:pt x="1679" y="1929"/>
                  </a:cubicBezTo>
                  <a:cubicBezTo>
                    <a:pt x="1584" y="1929"/>
                    <a:pt x="1512" y="2001"/>
                    <a:pt x="1512" y="2096"/>
                  </a:cubicBezTo>
                  <a:lnTo>
                    <a:pt x="1512" y="3191"/>
                  </a:lnTo>
                  <a:cubicBezTo>
                    <a:pt x="1512" y="3310"/>
                    <a:pt x="1405" y="3417"/>
                    <a:pt x="1286" y="3417"/>
                  </a:cubicBezTo>
                  <a:lnTo>
                    <a:pt x="548" y="3417"/>
                  </a:lnTo>
                  <a:cubicBezTo>
                    <a:pt x="429" y="3417"/>
                    <a:pt x="322" y="3310"/>
                    <a:pt x="322" y="3191"/>
                  </a:cubicBezTo>
                  <a:lnTo>
                    <a:pt x="322" y="155"/>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65" name="Google Shape;12365;p62"/>
          <p:cNvGrpSpPr/>
          <p:nvPr/>
        </p:nvGrpSpPr>
        <p:grpSpPr>
          <a:xfrm>
            <a:off x="1835485" y="2422352"/>
            <a:ext cx="259433" cy="350714"/>
            <a:chOff x="1835485" y="2422352"/>
            <a:chExt cx="259433" cy="350714"/>
          </a:xfrm>
        </p:grpSpPr>
        <p:sp>
          <p:nvSpPr>
            <p:cNvPr id="12366" name="Google Shape;12366;p62"/>
            <p:cNvSpPr/>
            <p:nvPr/>
          </p:nvSpPr>
          <p:spPr>
            <a:xfrm>
              <a:off x="2027460" y="2437141"/>
              <a:ext cx="36767" cy="33713"/>
            </a:xfrm>
            <a:custGeom>
              <a:avLst/>
              <a:gdLst/>
              <a:ahLst/>
              <a:cxnLst/>
              <a:rect l="l" t="t" r="r" b="b"/>
              <a:pathLst>
                <a:path w="1156" h="1060" extrusionOk="0">
                  <a:moveTo>
                    <a:pt x="834" y="322"/>
                  </a:moveTo>
                  <a:lnTo>
                    <a:pt x="834" y="715"/>
                  </a:lnTo>
                  <a:lnTo>
                    <a:pt x="334" y="715"/>
                  </a:lnTo>
                  <a:lnTo>
                    <a:pt x="334" y="322"/>
                  </a:lnTo>
                  <a:close/>
                  <a:moveTo>
                    <a:pt x="263" y="0"/>
                  </a:moveTo>
                  <a:cubicBezTo>
                    <a:pt x="120" y="0"/>
                    <a:pt x="1" y="119"/>
                    <a:pt x="1" y="262"/>
                  </a:cubicBezTo>
                  <a:lnTo>
                    <a:pt x="1" y="786"/>
                  </a:lnTo>
                  <a:cubicBezTo>
                    <a:pt x="1" y="941"/>
                    <a:pt x="120" y="1060"/>
                    <a:pt x="263" y="1060"/>
                  </a:cubicBezTo>
                  <a:lnTo>
                    <a:pt x="894" y="1060"/>
                  </a:lnTo>
                  <a:cubicBezTo>
                    <a:pt x="1037" y="1060"/>
                    <a:pt x="1156" y="941"/>
                    <a:pt x="1156" y="786"/>
                  </a:cubicBezTo>
                  <a:lnTo>
                    <a:pt x="1156" y="262"/>
                  </a:lnTo>
                  <a:cubicBezTo>
                    <a:pt x="1156" y="119"/>
                    <a:pt x="1037"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7" name="Google Shape;12367;p62"/>
            <p:cNvSpPr/>
            <p:nvPr/>
          </p:nvSpPr>
          <p:spPr>
            <a:xfrm>
              <a:off x="1870693" y="2531125"/>
              <a:ext cx="33968" cy="32059"/>
            </a:xfrm>
            <a:custGeom>
              <a:avLst/>
              <a:gdLst/>
              <a:ahLst/>
              <a:cxnLst/>
              <a:rect l="l" t="t" r="r" b="b"/>
              <a:pathLst>
                <a:path w="1068" h="1008" extrusionOk="0">
                  <a:moveTo>
                    <a:pt x="453" y="1"/>
                  </a:moveTo>
                  <a:cubicBezTo>
                    <a:pt x="269" y="1"/>
                    <a:pt x="120" y="99"/>
                    <a:pt x="179" y="248"/>
                  </a:cubicBezTo>
                  <a:cubicBezTo>
                    <a:pt x="197" y="310"/>
                    <a:pt x="260" y="345"/>
                    <a:pt x="320" y="345"/>
                  </a:cubicBezTo>
                  <a:cubicBezTo>
                    <a:pt x="342" y="345"/>
                    <a:pt x="363" y="341"/>
                    <a:pt x="382" y="331"/>
                  </a:cubicBezTo>
                  <a:cubicBezTo>
                    <a:pt x="403" y="323"/>
                    <a:pt x="425" y="319"/>
                    <a:pt x="445" y="319"/>
                  </a:cubicBezTo>
                  <a:cubicBezTo>
                    <a:pt x="540" y="319"/>
                    <a:pt x="620" y="400"/>
                    <a:pt x="620" y="498"/>
                  </a:cubicBezTo>
                  <a:cubicBezTo>
                    <a:pt x="620" y="608"/>
                    <a:pt x="532" y="676"/>
                    <a:pt x="442" y="676"/>
                  </a:cubicBezTo>
                  <a:cubicBezTo>
                    <a:pt x="395" y="676"/>
                    <a:pt x="347" y="658"/>
                    <a:pt x="310" y="617"/>
                  </a:cubicBezTo>
                  <a:cubicBezTo>
                    <a:pt x="279" y="580"/>
                    <a:pt x="235" y="562"/>
                    <a:pt x="190" y="562"/>
                  </a:cubicBezTo>
                  <a:cubicBezTo>
                    <a:pt x="148" y="562"/>
                    <a:pt x="106" y="577"/>
                    <a:pt x="72" y="605"/>
                  </a:cubicBezTo>
                  <a:cubicBezTo>
                    <a:pt x="1" y="665"/>
                    <a:pt x="1" y="760"/>
                    <a:pt x="60" y="843"/>
                  </a:cubicBezTo>
                  <a:cubicBezTo>
                    <a:pt x="171" y="958"/>
                    <a:pt x="308" y="1008"/>
                    <a:pt x="441" y="1008"/>
                  </a:cubicBezTo>
                  <a:cubicBezTo>
                    <a:pt x="764" y="1008"/>
                    <a:pt x="1068" y="714"/>
                    <a:pt x="941" y="343"/>
                  </a:cubicBezTo>
                  <a:cubicBezTo>
                    <a:pt x="858" y="99"/>
                    <a:pt x="63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8" name="Google Shape;12368;p62"/>
            <p:cNvSpPr/>
            <p:nvPr/>
          </p:nvSpPr>
          <p:spPr>
            <a:xfrm>
              <a:off x="2028223" y="2531030"/>
              <a:ext cx="32218" cy="31042"/>
            </a:xfrm>
            <a:custGeom>
              <a:avLst/>
              <a:gdLst/>
              <a:ahLst/>
              <a:cxnLst/>
              <a:rect l="l" t="t" r="r" b="b"/>
              <a:pathLst>
                <a:path w="1013" h="976" extrusionOk="0">
                  <a:moveTo>
                    <a:pt x="511" y="1"/>
                  </a:moveTo>
                  <a:cubicBezTo>
                    <a:pt x="245" y="1"/>
                    <a:pt x="1" y="210"/>
                    <a:pt x="1" y="501"/>
                  </a:cubicBezTo>
                  <a:cubicBezTo>
                    <a:pt x="1" y="770"/>
                    <a:pt x="222" y="975"/>
                    <a:pt x="383" y="975"/>
                  </a:cubicBezTo>
                  <a:cubicBezTo>
                    <a:pt x="443" y="975"/>
                    <a:pt x="495" y="947"/>
                    <a:pt x="525" y="882"/>
                  </a:cubicBezTo>
                  <a:cubicBezTo>
                    <a:pt x="548" y="799"/>
                    <a:pt x="525" y="703"/>
                    <a:pt x="429" y="668"/>
                  </a:cubicBezTo>
                  <a:cubicBezTo>
                    <a:pt x="334" y="620"/>
                    <a:pt x="298" y="513"/>
                    <a:pt x="346" y="430"/>
                  </a:cubicBezTo>
                  <a:cubicBezTo>
                    <a:pt x="379" y="358"/>
                    <a:pt x="441" y="327"/>
                    <a:pt x="503" y="327"/>
                  </a:cubicBezTo>
                  <a:cubicBezTo>
                    <a:pt x="597" y="327"/>
                    <a:pt x="691" y="398"/>
                    <a:pt x="691" y="513"/>
                  </a:cubicBezTo>
                  <a:cubicBezTo>
                    <a:pt x="679" y="627"/>
                    <a:pt x="762" y="690"/>
                    <a:pt x="846" y="690"/>
                  </a:cubicBezTo>
                  <a:cubicBezTo>
                    <a:pt x="928" y="690"/>
                    <a:pt x="1013" y="630"/>
                    <a:pt x="1013" y="501"/>
                  </a:cubicBezTo>
                  <a:cubicBezTo>
                    <a:pt x="1013" y="311"/>
                    <a:pt x="894" y="144"/>
                    <a:pt x="727" y="49"/>
                  </a:cubicBezTo>
                  <a:cubicBezTo>
                    <a:pt x="656" y="16"/>
                    <a:pt x="583" y="1"/>
                    <a:pt x="5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9" name="Google Shape;12369;p62"/>
            <p:cNvSpPr/>
            <p:nvPr/>
          </p:nvSpPr>
          <p:spPr>
            <a:xfrm>
              <a:off x="1952495" y="2480714"/>
              <a:ext cx="35208" cy="29165"/>
            </a:xfrm>
            <a:custGeom>
              <a:avLst/>
              <a:gdLst/>
              <a:ahLst/>
              <a:cxnLst/>
              <a:rect l="l" t="t" r="r" b="b"/>
              <a:pathLst>
                <a:path w="1107" h="917" extrusionOk="0">
                  <a:moveTo>
                    <a:pt x="561" y="0"/>
                  </a:moveTo>
                  <a:cubicBezTo>
                    <a:pt x="450" y="0"/>
                    <a:pt x="336" y="40"/>
                    <a:pt x="239" y="130"/>
                  </a:cubicBezTo>
                  <a:cubicBezTo>
                    <a:pt x="0" y="357"/>
                    <a:pt x="48" y="738"/>
                    <a:pt x="334" y="904"/>
                  </a:cubicBezTo>
                  <a:cubicBezTo>
                    <a:pt x="358" y="916"/>
                    <a:pt x="393" y="916"/>
                    <a:pt x="405" y="916"/>
                  </a:cubicBezTo>
                  <a:cubicBezTo>
                    <a:pt x="572" y="916"/>
                    <a:pt x="631" y="702"/>
                    <a:pt x="477" y="607"/>
                  </a:cubicBezTo>
                  <a:cubicBezTo>
                    <a:pt x="346" y="535"/>
                    <a:pt x="405" y="309"/>
                    <a:pt x="548" y="309"/>
                  </a:cubicBezTo>
                  <a:cubicBezTo>
                    <a:pt x="655" y="309"/>
                    <a:pt x="727" y="404"/>
                    <a:pt x="703" y="500"/>
                  </a:cubicBezTo>
                  <a:cubicBezTo>
                    <a:pt x="691" y="595"/>
                    <a:pt x="727" y="678"/>
                    <a:pt x="822" y="702"/>
                  </a:cubicBezTo>
                  <a:cubicBezTo>
                    <a:pt x="830" y="703"/>
                    <a:pt x="839" y="704"/>
                    <a:pt x="848" y="704"/>
                  </a:cubicBezTo>
                  <a:cubicBezTo>
                    <a:pt x="924" y="704"/>
                    <a:pt x="1002" y="658"/>
                    <a:pt x="1012" y="583"/>
                  </a:cubicBezTo>
                  <a:cubicBezTo>
                    <a:pt x="1107" y="258"/>
                    <a:pt x="844"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0" name="Google Shape;12370;p62"/>
            <p:cNvSpPr/>
            <p:nvPr/>
          </p:nvSpPr>
          <p:spPr>
            <a:xfrm>
              <a:off x="1835485" y="2422352"/>
              <a:ext cx="259433" cy="350714"/>
            </a:xfrm>
            <a:custGeom>
              <a:avLst/>
              <a:gdLst/>
              <a:ahLst/>
              <a:cxnLst/>
              <a:rect l="l" t="t" r="r" b="b"/>
              <a:pathLst>
                <a:path w="8157" h="11027" extrusionOk="0">
                  <a:moveTo>
                    <a:pt x="7180" y="334"/>
                  </a:moveTo>
                  <a:cubicBezTo>
                    <a:pt x="7358" y="334"/>
                    <a:pt x="7501" y="477"/>
                    <a:pt x="7501" y="656"/>
                  </a:cubicBezTo>
                  <a:lnTo>
                    <a:pt x="7501" y="1620"/>
                  </a:lnTo>
                  <a:lnTo>
                    <a:pt x="5692" y="1620"/>
                  </a:lnTo>
                  <a:cubicBezTo>
                    <a:pt x="5382" y="1013"/>
                    <a:pt x="4751" y="632"/>
                    <a:pt x="4048" y="632"/>
                  </a:cubicBezTo>
                  <a:cubicBezTo>
                    <a:pt x="3334" y="632"/>
                    <a:pt x="2727" y="1025"/>
                    <a:pt x="2417" y="1620"/>
                  </a:cubicBezTo>
                  <a:lnTo>
                    <a:pt x="703" y="1620"/>
                  </a:lnTo>
                  <a:lnTo>
                    <a:pt x="703" y="656"/>
                  </a:lnTo>
                  <a:cubicBezTo>
                    <a:pt x="703" y="477"/>
                    <a:pt x="858" y="334"/>
                    <a:pt x="1036" y="334"/>
                  </a:cubicBezTo>
                  <a:close/>
                  <a:moveTo>
                    <a:pt x="2286" y="1965"/>
                  </a:moveTo>
                  <a:cubicBezTo>
                    <a:pt x="2191" y="2275"/>
                    <a:pt x="2179" y="2620"/>
                    <a:pt x="2263" y="2930"/>
                  </a:cubicBezTo>
                  <a:lnTo>
                    <a:pt x="703" y="2930"/>
                  </a:lnTo>
                  <a:lnTo>
                    <a:pt x="703" y="1965"/>
                  </a:lnTo>
                  <a:close/>
                  <a:moveTo>
                    <a:pt x="4072" y="965"/>
                  </a:moveTo>
                  <a:cubicBezTo>
                    <a:pt x="4584" y="965"/>
                    <a:pt x="5049" y="1227"/>
                    <a:pt x="5334" y="1644"/>
                  </a:cubicBezTo>
                  <a:cubicBezTo>
                    <a:pt x="5406" y="1739"/>
                    <a:pt x="5453" y="1858"/>
                    <a:pt x="5453" y="1858"/>
                  </a:cubicBezTo>
                  <a:cubicBezTo>
                    <a:pt x="5465" y="1894"/>
                    <a:pt x="5477" y="1942"/>
                    <a:pt x="5501" y="1954"/>
                  </a:cubicBezTo>
                  <a:cubicBezTo>
                    <a:pt x="5537" y="1995"/>
                    <a:pt x="5584" y="2013"/>
                    <a:pt x="5631" y="2013"/>
                  </a:cubicBezTo>
                  <a:cubicBezTo>
                    <a:pt x="5677" y="2013"/>
                    <a:pt x="5721" y="1995"/>
                    <a:pt x="5751" y="1965"/>
                  </a:cubicBezTo>
                  <a:lnTo>
                    <a:pt x="7525" y="1965"/>
                  </a:lnTo>
                  <a:lnTo>
                    <a:pt x="7525" y="2930"/>
                  </a:lnTo>
                  <a:lnTo>
                    <a:pt x="5870" y="2930"/>
                  </a:lnTo>
                  <a:cubicBezTo>
                    <a:pt x="5894" y="2787"/>
                    <a:pt x="5930" y="2632"/>
                    <a:pt x="5930" y="2489"/>
                  </a:cubicBezTo>
                  <a:cubicBezTo>
                    <a:pt x="5918" y="2394"/>
                    <a:pt x="5834" y="2323"/>
                    <a:pt x="5751" y="2323"/>
                  </a:cubicBezTo>
                  <a:cubicBezTo>
                    <a:pt x="5656" y="2323"/>
                    <a:pt x="5584" y="2394"/>
                    <a:pt x="5584" y="2489"/>
                  </a:cubicBezTo>
                  <a:cubicBezTo>
                    <a:pt x="5584" y="3323"/>
                    <a:pt x="4894" y="4001"/>
                    <a:pt x="4072" y="4001"/>
                  </a:cubicBezTo>
                  <a:cubicBezTo>
                    <a:pt x="2858" y="4001"/>
                    <a:pt x="2132" y="2656"/>
                    <a:pt x="2822" y="1644"/>
                  </a:cubicBezTo>
                  <a:cubicBezTo>
                    <a:pt x="3084" y="1239"/>
                    <a:pt x="3548" y="965"/>
                    <a:pt x="4072" y="965"/>
                  </a:cubicBezTo>
                  <a:close/>
                  <a:moveTo>
                    <a:pt x="7525" y="3263"/>
                  </a:moveTo>
                  <a:lnTo>
                    <a:pt x="7525" y="4680"/>
                  </a:lnTo>
                  <a:lnTo>
                    <a:pt x="715" y="4680"/>
                  </a:lnTo>
                  <a:lnTo>
                    <a:pt x="715" y="3263"/>
                  </a:lnTo>
                  <a:lnTo>
                    <a:pt x="2382" y="3263"/>
                  </a:lnTo>
                  <a:cubicBezTo>
                    <a:pt x="2679" y="3882"/>
                    <a:pt x="3322" y="4335"/>
                    <a:pt x="4072" y="4335"/>
                  </a:cubicBezTo>
                  <a:cubicBezTo>
                    <a:pt x="4810" y="4335"/>
                    <a:pt x="5453" y="3882"/>
                    <a:pt x="5751" y="3263"/>
                  </a:cubicBezTo>
                  <a:close/>
                  <a:moveTo>
                    <a:pt x="7549" y="4990"/>
                  </a:moveTo>
                  <a:lnTo>
                    <a:pt x="7775" y="6025"/>
                  </a:lnTo>
                  <a:lnTo>
                    <a:pt x="381" y="6025"/>
                  </a:lnTo>
                  <a:lnTo>
                    <a:pt x="679" y="4990"/>
                  </a:lnTo>
                  <a:close/>
                  <a:moveTo>
                    <a:pt x="7823" y="6359"/>
                  </a:moveTo>
                  <a:lnTo>
                    <a:pt x="7823" y="7776"/>
                  </a:lnTo>
                  <a:lnTo>
                    <a:pt x="6489" y="7776"/>
                  </a:lnTo>
                  <a:lnTo>
                    <a:pt x="6489" y="7216"/>
                  </a:lnTo>
                  <a:lnTo>
                    <a:pt x="7168" y="7216"/>
                  </a:lnTo>
                  <a:cubicBezTo>
                    <a:pt x="7251" y="7216"/>
                    <a:pt x="7323" y="7145"/>
                    <a:pt x="7323" y="7061"/>
                  </a:cubicBezTo>
                  <a:cubicBezTo>
                    <a:pt x="7323" y="6966"/>
                    <a:pt x="7251" y="6895"/>
                    <a:pt x="7168" y="6895"/>
                  </a:cubicBezTo>
                  <a:lnTo>
                    <a:pt x="953" y="6895"/>
                  </a:lnTo>
                  <a:cubicBezTo>
                    <a:pt x="870" y="6895"/>
                    <a:pt x="798" y="6966"/>
                    <a:pt x="798" y="7061"/>
                  </a:cubicBezTo>
                  <a:cubicBezTo>
                    <a:pt x="798" y="7145"/>
                    <a:pt x="870" y="7216"/>
                    <a:pt x="953" y="7216"/>
                  </a:cubicBezTo>
                  <a:lnTo>
                    <a:pt x="1632" y="7216"/>
                  </a:lnTo>
                  <a:lnTo>
                    <a:pt x="1632" y="7776"/>
                  </a:lnTo>
                  <a:lnTo>
                    <a:pt x="322" y="7776"/>
                  </a:lnTo>
                  <a:lnTo>
                    <a:pt x="322" y="6359"/>
                  </a:lnTo>
                  <a:close/>
                  <a:moveTo>
                    <a:pt x="6168" y="7216"/>
                  </a:moveTo>
                  <a:lnTo>
                    <a:pt x="6168" y="10716"/>
                  </a:lnTo>
                  <a:lnTo>
                    <a:pt x="1965" y="10716"/>
                  </a:lnTo>
                  <a:lnTo>
                    <a:pt x="1965" y="7216"/>
                  </a:lnTo>
                  <a:close/>
                  <a:moveTo>
                    <a:pt x="1048" y="1"/>
                  </a:moveTo>
                  <a:cubicBezTo>
                    <a:pt x="691" y="1"/>
                    <a:pt x="393" y="299"/>
                    <a:pt x="393" y="656"/>
                  </a:cubicBezTo>
                  <a:lnTo>
                    <a:pt x="393" y="4799"/>
                  </a:lnTo>
                  <a:lnTo>
                    <a:pt x="0" y="6133"/>
                  </a:lnTo>
                  <a:lnTo>
                    <a:pt x="0" y="6145"/>
                  </a:lnTo>
                  <a:lnTo>
                    <a:pt x="0" y="6168"/>
                  </a:lnTo>
                  <a:lnTo>
                    <a:pt x="0" y="6180"/>
                  </a:lnTo>
                  <a:lnTo>
                    <a:pt x="0" y="7919"/>
                  </a:lnTo>
                  <a:cubicBezTo>
                    <a:pt x="0" y="8014"/>
                    <a:pt x="84" y="8085"/>
                    <a:pt x="167" y="8085"/>
                  </a:cubicBezTo>
                  <a:lnTo>
                    <a:pt x="1655" y="8085"/>
                  </a:lnTo>
                  <a:lnTo>
                    <a:pt x="1655" y="10871"/>
                  </a:lnTo>
                  <a:cubicBezTo>
                    <a:pt x="1655" y="10955"/>
                    <a:pt x="1727" y="11026"/>
                    <a:pt x="1822" y="11026"/>
                  </a:cubicBezTo>
                  <a:lnTo>
                    <a:pt x="6346" y="11026"/>
                  </a:lnTo>
                  <a:cubicBezTo>
                    <a:pt x="6430" y="11026"/>
                    <a:pt x="6513" y="10955"/>
                    <a:pt x="6513" y="10871"/>
                  </a:cubicBezTo>
                  <a:lnTo>
                    <a:pt x="6513" y="8085"/>
                  </a:lnTo>
                  <a:lnTo>
                    <a:pt x="8001" y="8085"/>
                  </a:lnTo>
                  <a:cubicBezTo>
                    <a:pt x="8085" y="8085"/>
                    <a:pt x="8156" y="8014"/>
                    <a:pt x="8156" y="7919"/>
                  </a:cubicBezTo>
                  <a:lnTo>
                    <a:pt x="8156" y="6180"/>
                  </a:lnTo>
                  <a:cubicBezTo>
                    <a:pt x="8144" y="6180"/>
                    <a:pt x="8144" y="6180"/>
                    <a:pt x="8132" y="6168"/>
                  </a:cubicBezTo>
                  <a:lnTo>
                    <a:pt x="8132" y="6133"/>
                  </a:lnTo>
                  <a:lnTo>
                    <a:pt x="7847" y="4823"/>
                  </a:lnTo>
                  <a:lnTo>
                    <a:pt x="7847" y="656"/>
                  </a:lnTo>
                  <a:cubicBezTo>
                    <a:pt x="7847" y="299"/>
                    <a:pt x="7549" y="1"/>
                    <a:pt x="71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1" name="Google Shape;12371;p62"/>
            <p:cNvSpPr/>
            <p:nvPr/>
          </p:nvSpPr>
          <p:spPr>
            <a:xfrm>
              <a:off x="1916142" y="2464366"/>
              <a:ext cx="86001" cy="74646"/>
            </a:xfrm>
            <a:custGeom>
              <a:avLst/>
              <a:gdLst/>
              <a:ahLst/>
              <a:cxnLst/>
              <a:rect l="l" t="t" r="r" b="b"/>
              <a:pathLst>
                <a:path w="2704" h="2347" extrusionOk="0">
                  <a:moveTo>
                    <a:pt x="1345" y="0"/>
                  </a:moveTo>
                  <a:cubicBezTo>
                    <a:pt x="1338" y="0"/>
                    <a:pt x="1330" y="1"/>
                    <a:pt x="1322" y="1"/>
                  </a:cubicBezTo>
                  <a:cubicBezTo>
                    <a:pt x="358" y="180"/>
                    <a:pt x="0" y="1418"/>
                    <a:pt x="774" y="2061"/>
                  </a:cubicBezTo>
                  <a:cubicBezTo>
                    <a:pt x="1003" y="2258"/>
                    <a:pt x="1269" y="2346"/>
                    <a:pt x="1528" y="2346"/>
                  </a:cubicBezTo>
                  <a:cubicBezTo>
                    <a:pt x="2132" y="2346"/>
                    <a:pt x="2703" y="1868"/>
                    <a:pt x="2703" y="1168"/>
                  </a:cubicBezTo>
                  <a:cubicBezTo>
                    <a:pt x="2703" y="716"/>
                    <a:pt x="2453" y="323"/>
                    <a:pt x="2072" y="109"/>
                  </a:cubicBezTo>
                  <a:cubicBezTo>
                    <a:pt x="2045" y="95"/>
                    <a:pt x="2017" y="89"/>
                    <a:pt x="1991" y="89"/>
                  </a:cubicBezTo>
                  <a:cubicBezTo>
                    <a:pt x="1882" y="89"/>
                    <a:pt x="1798" y="198"/>
                    <a:pt x="1846" y="323"/>
                  </a:cubicBezTo>
                  <a:cubicBezTo>
                    <a:pt x="1846" y="323"/>
                    <a:pt x="1846" y="335"/>
                    <a:pt x="1858" y="347"/>
                  </a:cubicBezTo>
                  <a:cubicBezTo>
                    <a:pt x="1870" y="382"/>
                    <a:pt x="1905" y="394"/>
                    <a:pt x="1917" y="406"/>
                  </a:cubicBezTo>
                  <a:cubicBezTo>
                    <a:pt x="2405" y="656"/>
                    <a:pt x="2525" y="1299"/>
                    <a:pt x="2191" y="1716"/>
                  </a:cubicBezTo>
                  <a:cubicBezTo>
                    <a:pt x="2017" y="1922"/>
                    <a:pt x="1779" y="2022"/>
                    <a:pt x="1543" y="2022"/>
                  </a:cubicBezTo>
                  <a:cubicBezTo>
                    <a:pt x="1262" y="2022"/>
                    <a:pt x="984" y="1881"/>
                    <a:pt x="822" y="1609"/>
                  </a:cubicBezTo>
                  <a:cubicBezTo>
                    <a:pt x="500" y="1109"/>
                    <a:pt x="798" y="442"/>
                    <a:pt x="1382" y="335"/>
                  </a:cubicBezTo>
                  <a:cubicBezTo>
                    <a:pt x="1599" y="289"/>
                    <a:pt x="1541" y="0"/>
                    <a:pt x="134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2" name="Google Shape;12372;p62"/>
            <p:cNvSpPr/>
            <p:nvPr/>
          </p:nvSpPr>
          <p:spPr>
            <a:xfrm>
              <a:off x="1910449" y="2663211"/>
              <a:ext cx="108328" cy="89022"/>
            </a:xfrm>
            <a:custGeom>
              <a:avLst/>
              <a:gdLst/>
              <a:ahLst/>
              <a:cxnLst/>
              <a:rect l="l" t="t" r="r" b="b"/>
              <a:pathLst>
                <a:path w="3406" h="2799" extrusionOk="0">
                  <a:moveTo>
                    <a:pt x="3085" y="322"/>
                  </a:moveTo>
                  <a:lnTo>
                    <a:pt x="3085" y="2465"/>
                  </a:lnTo>
                  <a:lnTo>
                    <a:pt x="322" y="2465"/>
                  </a:lnTo>
                  <a:lnTo>
                    <a:pt x="322" y="322"/>
                  </a:lnTo>
                  <a:close/>
                  <a:moveTo>
                    <a:pt x="167" y="0"/>
                  </a:moveTo>
                  <a:cubicBezTo>
                    <a:pt x="72" y="0"/>
                    <a:pt x="1" y="84"/>
                    <a:pt x="1" y="167"/>
                  </a:cubicBezTo>
                  <a:lnTo>
                    <a:pt x="1" y="2643"/>
                  </a:lnTo>
                  <a:cubicBezTo>
                    <a:pt x="1" y="2727"/>
                    <a:pt x="72" y="2798"/>
                    <a:pt x="167" y="2798"/>
                  </a:cubicBezTo>
                  <a:lnTo>
                    <a:pt x="3239" y="2798"/>
                  </a:lnTo>
                  <a:cubicBezTo>
                    <a:pt x="3335" y="2798"/>
                    <a:pt x="3406" y="2727"/>
                    <a:pt x="3406" y="2643"/>
                  </a:cubicBezTo>
                  <a:lnTo>
                    <a:pt x="3406" y="167"/>
                  </a:lnTo>
                  <a:cubicBezTo>
                    <a:pt x="3406" y="60"/>
                    <a:pt x="3335" y="0"/>
                    <a:pt x="3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3" name="Google Shape;12373;p62"/>
          <p:cNvGrpSpPr/>
          <p:nvPr/>
        </p:nvGrpSpPr>
        <p:grpSpPr>
          <a:xfrm>
            <a:off x="3150240" y="2422352"/>
            <a:ext cx="212489" cy="351445"/>
            <a:chOff x="3150240" y="2422352"/>
            <a:chExt cx="212489" cy="351445"/>
          </a:xfrm>
        </p:grpSpPr>
        <p:sp>
          <p:nvSpPr>
            <p:cNvPr id="12374" name="Google Shape;12374;p62"/>
            <p:cNvSpPr/>
            <p:nvPr/>
          </p:nvSpPr>
          <p:spPr>
            <a:xfrm>
              <a:off x="3150240" y="2422352"/>
              <a:ext cx="212489" cy="351445"/>
            </a:xfrm>
            <a:custGeom>
              <a:avLst/>
              <a:gdLst/>
              <a:ahLst/>
              <a:cxnLst/>
              <a:rect l="l" t="t" r="r" b="b"/>
              <a:pathLst>
                <a:path w="6681" h="11050" extrusionOk="0">
                  <a:moveTo>
                    <a:pt x="4918" y="334"/>
                  </a:moveTo>
                  <a:lnTo>
                    <a:pt x="4918" y="1465"/>
                  </a:lnTo>
                  <a:lnTo>
                    <a:pt x="4954" y="1465"/>
                  </a:lnTo>
                  <a:cubicBezTo>
                    <a:pt x="4954" y="1596"/>
                    <a:pt x="4847" y="1703"/>
                    <a:pt x="4716" y="1703"/>
                  </a:cubicBezTo>
                  <a:cubicBezTo>
                    <a:pt x="4597" y="1703"/>
                    <a:pt x="4490" y="1608"/>
                    <a:pt x="4478" y="1489"/>
                  </a:cubicBezTo>
                  <a:lnTo>
                    <a:pt x="4478" y="822"/>
                  </a:lnTo>
                  <a:cubicBezTo>
                    <a:pt x="4478" y="727"/>
                    <a:pt x="4406" y="656"/>
                    <a:pt x="4311" y="656"/>
                  </a:cubicBezTo>
                  <a:cubicBezTo>
                    <a:pt x="4216" y="656"/>
                    <a:pt x="4144" y="727"/>
                    <a:pt x="4144" y="822"/>
                  </a:cubicBezTo>
                  <a:lnTo>
                    <a:pt x="4144" y="1620"/>
                  </a:lnTo>
                  <a:lnTo>
                    <a:pt x="4144" y="2263"/>
                  </a:lnTo>
                  <a:cubicBezTo>
                    <a:pt x="4144" y="2394"/>
                    <a:pt x="4037" y="2501"/>
                    <a:pt x="3906" y="2501"/>
                  </a:cubicBezTo>
                  <a:cubicBezTo>
                    <a:pt x="3775" y="2501"/>
                    <a:pt x="3668" y="2394"/>
                    <a:pt x="3668" y="2263"/>
                  </a:cubicBezTo>
                  <a:lnTo>
                    <a:pt x="3668" y="632"/>
                  </a:lnTo>
                  <a:cubicBezTo>
                    <a:pt x="3668" y="537"/>
                    <a:pt x="3597" y="465"/>
                    <a:pt x="3501" y="465"/>
                  </a:cubicBezTo>
                  <a:lnTo>
                    <a:pt x="3489" y="465"/>
                  </a:lnTo>
                  <a:cubicBezTo>
                    <a:pt x="3406" y="465"/>
                    <a:pt x="3347" y="525"/>
                    <a:pt x="3323" y="608"/>
                  </a:cubicBezTo>
                  <a:cubicBezTo>
                    <a:pt x="3311" y="727"/>
                    <a:pt x="3204" y="822"/>
                    <a:pt x="3085" y="822"/>
                  </a:cubicBezTo>
                  <a:cubicBezTo>
                    <a:pt x="2966" y="822"/>
                    <a:pt x="2870" y="727"/>
                    <a:pt x="2846" y="608"/>
                  </a:cubicBezTo>
                  <a:cubicBezTo>
                    <a:pt x="2835" y="525"/>
                    <a:pt x="2763" y="465"/>
                    <a:pt x="2668" y="465"/>
                  </a:cubicBezTo>
                  <a:cubicBezTo>
                    <a:pt x="2585" y="465"/>
                    <a:pt x="2513" y="537"/>
                    <a:pt x="2513" y="632"/>
                  </a:cubicBezTo>
                  <a:lnTo>
                    <a:pt x="2513" y="1382"/>
                  </a:lnTo>
                  <a:cubicBezTo>
                    <a:pt x="2513" y="1525"/>
                    <a:pt x="2406" y="1620"/>
                    <a:pt x="2275" y="1620"/>
                  </a:cubicBezTo>
                  <a:cubicBezTo>
                    <a:pt x="2132" y="1620"/>
                    <a:pt x="2037" y="1525"/>
                    <a:pt x="2037" y="1382"/>
                  </a:cubicBezTo>
                  <a:lnTo>
                    <a:pt x="2037" y="334"/>
                  </a:lnTo>
                  <a:close/>
                  <a:moveTo>
                    <a:pt x="5263" y="4537"/>
                  </a:moveTo>
                  <a:lnTo>
                    <a:pt x="5263" y="5406"/>
                  </a:lnTo>
                  <a:cubicBezTo>
                    <a:pt x="5263" y="5823"/>
                    <a:pt x="4918" y="6168"/>
                    <a:pt x="4501" y="6168"/>
                  </a:cubicBezTo>
                  <a:lnTo>
                    <a:pt x="2168" y="6168"/>
                  </a:lnTo>
                  <a:cubicBezTo>
                    <a:pt x="1751" y="6168"/>
                    <a:pt x="1406" y="5823"/>
                    <a:pt x="1406" y="5406"/>
                  </a:cubicBezTo>
                  <a:lnTo>
                    <a:pt x="1406" y="4537"/>
                  </a:lnTo>
                  <a:close/>
                  <a:moveTo>
                    <a:pt x="1215" y="1"/>
                  </a:moveTo>
                  <a:cubicBezTo>
                    <a:pt x="906" y="1"/>
                    <a:pt x="656" y="251"/>
                    <a:pt x="656" y="572"/>
                  </a:cubicBezTo>
                  <a:lnTo>
                    <a:pt x="656" y="1168"/>
                  </a:lnTo>
                  <a:cubicBezTo>
                    <a:pt x="656" y="1251"/>
                    <a:pt x="727" y="1322"/>
                    <a:pt x="810" y="1322"/>
                  </a:cubicBezTo>
                  <a:cubicBezTo>
                    <a:pt x="906" y="1322"/>
                    <a:pt x="977" y="1251"/>
                    <a:pt x="977" y="1168"/>
                  </a:cubicBezTo>
                  <a:lnTo>
                    <a:pt x="977" y="572"/>
                  </a:lnTo>
                  <a:cubicBezTo>
                    <a:pt x="977" y="430"/>
                    <a:pt x="1084" y="334"/>
                    <a:pt x="1215" y="334"/>
                  </a:cubicBezTo>
                  <a:lnTo>
                    <a:pt x="1739" y="334"/>
                  </a:lnTo>
                  <a:lnTo>
                    <a:pt x="1739" y="1382"/>
                  </a:lnTo>
                  <a:cubicBezTo>
                    <a:pt x="1739" y="1703"/>
                    <a:pt x="1989" y="1954"/>
                    <a:pt x="2299" y="1954"/>
                  </a:cubicBezTo>
                  <a:cubicBezTo>
                    <a:pt x="2620" y="1954"/>
                    <a:pt x="2870" y="1703"/>
                    <a:pt x="2870" y="1382"/>
                  </a:cubicBezTo>
                  <a:lnTo>
                    <a:pt x="2870" y="1108"/>
                  </a:lnTo>
                  <a:cubicBezTo>
                    <a:pt x="2942" y="1132"/>
                    <a:pt x="3013" y="1144"/>
                    <a:pt x="3108" y="1144"/>
                  </a:cubicBezTo>
                  <a:cubicBezTo>
                    <a:pt x="3192" y="1144"/>
                    <a:pt x="3275" y="1132"/>
                    <a:pt x="3347" y="1108"/>
                  </a:cubicBezTo>
                  <a:lnTo>
                    <a:pt x="3347" y="2263"/>
                  </a:lnTo>
                  <a:cubicBezTo>
                    <a:pt x="3347" y="2573"/>
                    <a:pt x="3597" y="2835"/>
                    <a:pt x="3906" y="2835"/>
                  </a:cubicBezTo>
                  <a:cubicBezTo>
                    <a:pt x="4228" y="2835"/>
                    <a:pt x="4478" y="2573"/>
                    <a:pt x="4478" y="2263"/>
                  </a:cubicBezTo>
                  <a:lnTo>
                    <a:pt x="4478" y="1977"/>
                  </a:lnTo>
                  <a:cubicBezTo>
                    <a:pt x="4549" y="2013"/>
                    <a:pt x="4620" y="2025"/>
                    <a:pt x="4716" y="2025"/>
                  </a:cubicBezTo>
                  <a:cubicBezTo>
                    <a:pt x="5025" y="2025"/>
                    <a:pt x="5275" y="1775"/>
                    <a:pt x="5275" y="1465"/>
                  </a:cubicBezTo>
                  <a:lnTo>
                    <a:pt x="5275" y="334"/>
                  </a:lnTo>
                  <a:lnTo>
                    <a:pt x="5442" y="334"/>
                  </a:lnTo>
                  <a:cubicBezTo>
                    <a:pt x="5573" y="334"/>
                    <a:pt x="5680" y="430"/>
                    <a:pt x="5680" y="572"/>
                  </a:cubicBezTo>
                  <a:lnTo>
                    <a:pt x="5680" y="2989"/>
                  </a:lnTo>
                  <a:lnTo>
                    <a:pt x="4311" y="2989"/>
                  </a:lnTo>
                  <a:cubicBezTo>
                    <a:pt x="4228" y="2989"/>
                    <a:pt x="4144" y="3073"/>
                    <a:pt x="4144" y="3156"/>
                  </a:cubicBezTo>
                  <a:cubicBezTo>
                    <a:pt x="4144" y="3251"/>
                    <a:pt x="4228" y="3323"/>
                    <a:pt x="4311" y="3323"/>
                  </a:cubicBezTo>
                  <a:lnTo>
                    <a:pt x="5906" y="3323"/>
                  </a:lnTo>
                  <a:cubicBezTo>
                    <a:pt x="5954" y="3323"/>
                    <a:pt x="5978" y="3323"/>
                    <a:pt x="6025" y="3335"/>
                  </a:cubicBezTo>
                  <a:cubicBezTo>
                    <a:pt x="6216" y="3382"/>
                    <a:pt x="6347" y="3561"/>
                    <a:pt x="6347" y="3763"/>
                  </a:cubicBezTo>
                  <a:cubicBezTo>
                    <a:pt x="6347" y="4001"/>
                    <a:pt x="6156" y="4216"/>
                    <a:pt x="5906" y="4216"/>
                  </a:cubicBezTo>
                  <a:lnTo>
                    <a:pt x="751" y="4216"/>
                  </a:lnTo>
                  <a:cubicBezTo>
                    <a:pt x="513" y="4216"/>
                    <a:pt x="310" y="4025"/>
                    <a:pt x="310" y="3763"/>
                  </a:cubicBezTo>
                  <a:cubicBezTo>
                    <a:pt x="310" y="3561"/>
                    <a:pt x="441" y="3394"/>
                    <a:pt x="632" y="3335"/>
                  </a:cubicBezTo>
                  <a:cubicBezTo>
                    <a:pt x="668" y="3323"/>
                    <a:pt x="715" y="3323"/>
                    <a:pt x="751" y="3323"/>
                  </a:cubicBezTo>
                  <a:lnTo>
                    <a:pt x="3656" y="3323"/>
                  </a:lnTo>
                  <a:cubicBezTo>
                    <a:pt x="3751" y="3323"/>
                    <a:pt x="3823" y="3251"/>
                    <a:pt x="3823" y="3156"/>
                  </a:cubicBezTo>
                  <a:cubicBezTo>
                    <a:pt x="3823" y="3073"/>
                    <a:pt x="3751" y="2989"/>
                    <a:pt x="3656" y="2989"/>
                  </a:cubicBezTo>
                  <a:lnTo>
                    <a:pt x="977" y="2989"/>
                  </a:lnTo>
                  <a:lnTo>
                    <a:pt x="977" y="1834"/>
                  </a:lnTo>
                  <a:cubicBezTo>
                    <a:pt x="977" y="1739"/>
                    <a:pt x="906" y="1668"/>
                    <a:pt x="810" y="1668"/>
                  </a:cubicBezTo>
                  <a:cubicBezTo>
                    <a:pt x="727" y="1668"/>
                    <a:pt x="656" y="1739"/>
                    <a:pt x="656" y="1834"/>
                  </a:cubicBezTo>
                  <a:lnTo>
                    <a:pt x="656" y="3013"/>
                  </a:lnTo>
                  <a:cubicBezTo>
                    <a:pt x="275" y="3073"/>
                    <a:pt x="1" y="3382"/>
                    <a:pt x="1" y="3763"/>
                  </a:cubicBezTo>
                  <a:cubicBezTo>
                    <a:pt x="1" y="4204"/>
                    <a:pt x="334" y="4537"/>
                    <a:pt x="775" y="4537"/>
                  </a:cubicBezTo>
                  <a:lnTo>
                    <a:pt x="1084" y="4537"/>
                  </a:lnTo>
                  <a:lnTo>
                    <a:pt x="1084" y="5406"/>
                  </a:lnTo>
                  <a:cubicBezTo>
                    <a:pt x="1084" y="6002"/>
                    <a:pt x="1572" y="6490"/>
                    <a:pt x="2168" y="6490"/>
                  </a:cubicBezTo>
                  <a:lnTo>
                    <a:pt x="2323" y="6490"/>
                  </a:lnTo>
                  <a:lnTo>
                    <a:pt x="2323" y="10014"/>
                  </a:lnTo>
                  <a:cubicBezTo>
                    <a:pt x="2323" y="10586"/>
                    <a:pt x="2775" y="11050"/>
                    <a:pt x="3347" y="11050"/>
                  </a:cubicBezTo>
                  <a:cubicBezTo>
                    <a:pt x="3906" y="11050"/>
                    <a:pt x="4370" y="10586"/>
                    <a:pt x="4370" y="10014"/>
                  </a:cubicBezTo>
                  <a:lnTo>
                    <a:pt x="4370" y="8633"/>
                  </a:lnTo>
                  <a:cubicBezTo>
                    <a:pt x="4370" y="8550"/>
                    <a:pt x="4299" y="8466"/>
                    <a:pt x="4204" y="8466"/>
                  </a:cubicBezTo>
                  <a:cubicBezTo>
                    <a:pt x="4120" y="8466"/>
                    <a:pt x="4049" y="8550"/>
                    <a:pt x="4049" y="8633"/>
                  </a:cubicBezTo>
                  <a:lnTo>
                    <a:pt x="4049" y="10014"/>
                  </a:lnTo>
                  <a:cubicBezTo>
                    <a:pt x="4049" y="10407"/>
                    <a:pt x="3728" y="10716"/>
                    <a:pt x="3347" y="10716"/>
                  </a:cubicBezTo>
                  <a:cubicBezTo>
                    <a:pt x="2954" y="10716"/>
                    <a:pt x="2644" y="10407"/>
                    <a:pt x="2644" y="10014"/>
                  </a:cubicBezTo>
                  <a:lnTo>
                    <a:pt x="2644" y="6490"/>
                  </a:lnTo>
                  <a:lnTo>
                    <a:pt x="4025" y="6490"/>
                  </a:lnTo>
                  <a:lnTo>
                    <a:pt x="4025" y="7978"/>
                  </a:lnTo>
                  <a:cubicBezTo>
                    <a:pt x="4025" y="8073"/>
                    <a:pt x="4097" y="8145"/>
                    <a:pt x="4192" y="8145"/>
                  </a:cubicBezTo>
                  <a:cubicBezTo>
                    <a:pt x="4275" y="8145"/>
                    <a:pt x="4359" y="8073"/>
                    <a:pt x="4359" y="7978"/>
                  </a:cubicBezTo>
                  <a:lnTo>
                    <a:pt x="4359" y="6490"/>
                  </a:lnTo>
                  <a:lnTo>
                    <a:pt x="4501" y="6490"/>
                  </a:lnTo>
                  <a:cubicBezTo>
                    <a:pt x="5097" y="6490"/>
                    <a:pt x="5585" y="6002"/>
                    <a:pt x="5585" y="5406"/>
                  </a:cubicBezTo>
                  <a:lnTo>
                    <a:pt x="5585" y="4537"/>
                  </a:lnTo>
                  <a:lnTo>
                    <a:pt x="5906" y="4537"/>
                  </a:lnTo>
                  <a:cubicBezTo>
                    <a:pt x="6335" y="4537"/>
                    <a:pt x="6680" y="4204"/>
                    <a:pt x="6680" y="3763"/>
                  </a:cubicBezTo>
                  <a:cubicBezTo>
                    <a:pt x="6680" y="3394"/>
                    <a:pt x="6395" y="3073"/>
                    <a:pt x="6014" y="3013"/>
                  </a:cubicBezTo>
                  <a:lnTo>
                    <a:pt x="6014" y="572"/>
                  </a:lnTo>
                  <a:cubicBezTo>
                    <a:pt x="6014" y="251"/>
                    <a:pt x="575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5" name="Google Shape;12375;p62"/>
            <p:cNvSpPr/>
            <p:nvPr/>
          </p:nvSpPr>
          <p:spPr>
            <a:xfrm>
              <a:off x="3239230" y="2721860"/>
              <a:ext cx="32982" cy="32250"/>
            </a:xfrm>
            <a:custGeom>
              <a:avLst/>
              <a:gdLst/>
              <a:ahLst/>
              <a:cxnLst/>
              <a:rect l="l" t="t" r="r" b="b"/>
              <a:pathLst>
                <a:path w="1037" h="1014" extrusionOk="0">
                  <a:moveTo>
                    <a:pt x="598" y="0"/>
                  </a:moveTo>
                  <a:cubicBezTo>
                    <a:pt x="521" y="0"/>
                    <a:pt x="440" y="57"/>
                    <a:pt x="429" y="145"/>
                  </a:cubicBezTo>
                  <a:cubicBezTo>
                    <a:pt x="418" y="228"/>
                    <a:pt x="477" y="323"/>
                    <a:pt x="560" y="335"/>
                  </a:cubicBezTo>
                  <a:cubicBezTo>
                    <a:pt x="656" y="347"/>
                    <a:pt x="691" y="418"/>
                    <a:pt x="691" y="514"/>
                  </a:cubicBezTo>
                  <a:cubicBezTo>
                    <a:pt x="691" y="597"/>
                    <a:pt x="620" y="692"/>
                    <a:pt x="513" y="692"/>
                  </a:cubicBezTo>
                  <a:cubicBezTo>
                    <a:pt x="429" y="692"/>
                    <a:pt x="358" y="633"/>
                    <a:pt x="334" y="537"/>
                  </a:cubicBezTo>
                  <a:cubicBezTo>
                    <a:pt x="323" y="461"/>
                    <a:pt x="243" y="405"/>
                    <a:pt x="165" y="405"/>
                  </a:cubicBezTo>
                  <a:cubicBezTo>
                    <a:pt x="158" y="405"/>
                    <a:pt x="151" y="406"/>
                    <a:pt x="144" y="407"/>
                  </a:cubicBezTo>
                  <a:cubicBezTo>
                    <a:pt x="60" y="418"/>
                    <a:pt x="1" y="514"/>
                    <a:pt x="13" y="597"/>
                  </a:cubicBezTo>
                  <a:cubicBezTo>
                    <a:pt x="60" y="835"/>
                    <a:pt x="263" y="1014"/>
                    <a:pt x="501" y="1014"/>
                  </a:cubicBezTo>
                  <a:cubicBezTo>
                    <a:pt x="787" y="1014"/>
                    <a:pt x="1013" y="799"/>
                    <a:pt x="1013" y="514"/>
                  </a:cubicBezTo>
                  <a:cubicBezTo>
                    <a:pt x="1037" y="264"/>
                    <a:pt x="858" y="49"/>
                    <a:pt x="620" y="2"/>
                  </a:cubicBezTo>
                  <a:cubicBezTo>
                    <a:pt x="613" y="1"/>
                    <a:pt x="606" y="0"/>
                    <a:pt x="5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76" name="Google Shape;12376;p62"/>
          <p:cNvGrpSpPr/>
          <p:nvPr/>
        </p:nvGrpSpPr>
        <p:grpSpPr>
          <a:xfrm>
            <a:off x="1367060" y="2422129"/>
            <a:ext cx="269261" cy="352050"/>
            <a:chOff x="1367060" y="2422129"/>
            <a:chExt cx="269261" cy="352050"/>
          </a:xfrm>
        </p:grpSpPr>
        <p:sp>
          <p:nvSpPr>
            <p:cNvPr id="12377" name="Google Shape;12377;p62"/>
            <p:cNvSpPr/>
            <p:nvPr/>
          </p:nvSpPr>
          <p:spPr>
            <a:xfrm>
              <a:off x="1392059" y="2651857"/>
              <a:ext cx="129160" cy="122322"/>
            </a:xfrm>
            <a:custGeom>
              <a:avLst/>
              <a:gdLst/>
              <a:ahLst/>
              <a:cxnLst/>
              <a:rect l="l" t="t" r="r" b="b"/>
              <a:pathLst>
                <a:path w="4061" h="3846" extrusionOk="0">
                  <a:moveTo>
                    <a:pt x="167" y="0"/>
                  </a:moveTo>
                  <a:cubicBezTo>
                    <a:pt x="72" y="0"/>
                    <a:pt x="0" y="83"/>
                    <a:pt x="0" y="167"/>
                  </a:cubicBezTo>
                  <a:cubicBezTo>
                    <a:pt x="0" y="262"/>
                    <a:pt x="72" y="333"/>
                    <a:pt x="167" y="333"/>
                  </a:cubicBezTo>
                  <a:lnTo>
                    <a:pt x="357" y="333"/>
                  </a:lnTo>
                  <a:lnTo>
                    <a:pt x="357" y="1691"/>
                  </a:lnTo>
                  <a:cubicBezTo>
                    <a:pt x="357" y="2179"/>
                    <a:pt x="762" y="2584"/>
                    <a:pt x="1250" y="2584"/>
                  </a:cubicBezTo>
                  <a:cubicBezTo>
                    <a:pt x="1286" y="2584"/>
                    <a:pt x="1226" y="2584"/>
                    <a:pt x="2310" y="2405"/>
                  </a:cubicBezTo>
                  <a:lnTo>
                    <a:pt x="2310" y="3453"/>
                  </a:lnTo>
                  <a:cubicBezTo>
                    <a:pt x="2310" y="3667"/>
                    <a:pt x="2489" y="3846"/>
                    <a:pt x="2691" y="3846"/>
                  </a:cubicBezTo>
                  <a:lnTo>
                    <a:pt x="3905" y="3846"/>
                  </a:lnTo>
                  <a:cubicBezTo>
                    <a:pt x="3989" y="3846"/>
                    <a:pt x="4060" y="3774"/>
                    <a:pt x="4060" y="3679"/>
                  </a:cubicBezTo>
                  <a:cubicBezTo>
                    <a:pt x="4060" y="3596"/>
                    <a:pt x="3989" y="3500"/>
                    <a:pt x="3893" y="3500"/>
                  </a:cubicBezTo>
                  <a:lnTo>
                    <a:pt x="2691" y="3500"/>
                  </a:lnTo>
                  <a:cubicBezTo>
                    <a:pt x="2667" y="3500"/>
                    <a:pt x="2631" y="3465"/>
                    <a:pt x="2631" y="3441"/>
                  </a:cubicBezTo>
                  <a:lnTo>
                    <a:pt x="2631" y="2191"/>
                  </a:lnTo>
                  <a:cubicBezTo>
                    <a:pt x="2631" y="2143"/>
                    <a:pt x="2620" y="2107"/>
                    <a:pt x="2572" y="2072"/>
                  </a:cubicBezTo>
                  <a:cubicBezTo>
                    <a:pt x="2555" y="2055"/>
                    <a:pt x="2520" y="2038"/>
                    <a:pt x="2485" y="2038"/>
                  </a:cubicBezTo>
                  <a:cubicBezTo>
                    <a:pt x="2470" y="2038"/>
                    <a:pt x="2455" y="2041"/>
                    <a:pt x="2441" y="2048"/>
                  </a:cubicBezTo>
                  <a:lnTo>
                    <a:pt x="1238" y="2250"/>
                  </a:lnTo>
                  <a:cubicBezTo>
                    <a:pt x="917" y="2250"/>
                    <a:pt x="691" y="2000"/>
                    <a:pt x="691" y="1691"/>
                  </a:cubicBezTo>
                  <a:lnTo>
                    <a:pt x="691" y="167"/>
                  </a:lnTo>
                  <a:cubicBezTo>
                    <a:pt x="691" y="83"/>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8" name="Google Shape;12378;p62"/>
            <p:cNvSpPr/>
            <p:nvPr/>
          </p:nvSpPr>
          <p:spPr>
            <a:xfrm>
              <a:off x="1367060" y="2441912"/>
              <a:ext cx="82184" cy="212139"/>
            </a:xfrm>
            <a:custGeom>
              <a:avLst/>
              <a:gdLst/>
              <a:ahLst/>
              <a:cxnLst/>
              <a:rect l="l" t="t" r="r" b="b"/>
              <a:pathLst>
                <a:path w="2584" h="6670" extrusionOk="0">
                  <a:moveTo>
                    <a:pt x="2415" y="1"/>
                  </a:moveTo>
                  <a:cubicBezTo>
                    <a:pt x="2382" y="1"/>
                    <a:pt x="2350" y="10"/>
                    <a:pt x="2322" y="29"/>
                  </a:cubicBezTo>
                  <a:cubicBezTo>
                    <a:pt x="1274" y="731"/>
                    <a:pt x="655" y="1898"/>
                    <a:pt x="655" y="3148"/>
                  </a:cubicBezTo>
                  <a:cubicBezTo>
                    <a:pt x="655" y="3351"/>
                    <a:pt x="667" y="3541"/>
                    <a:pt x="703" y="3732"/>
                  </a:cubicBezTo>
                  <a:cubicBezTo>
                    <a:pt x="48" y="5708"/>
                    <a:pt x="0" y="5696"/>
                    <a:pt x="0" y="5970"/>
                  </a:cubicBezTo>
                  <a:cubicBezTo>
                    <a:pt x="0" y="6208"/>
                    <a:pt x="84" y="6446"/>
                    <a:pt x="262" y="6625"/>
                  </a:cubicBezTo>
                  <a:cubicBezTo>
                    <a:pt x="295" y="6651"/>
                    <a:pt x="342" y="6670"/>
                    <a:pt x="389" y="6670"/>
                  </a:cubicBezTo>
                  <a:cubicBezTo>
                    <a:pt x="429" y="6670"/>
                    <a:pt x="468" y="6657"/>
                    <a:pt x="500" y="6625"/>
                  </a:cubicBezTo>
                  <a:cubicBezTo>
                    <a:pt x="560" y="6565"/>
                    <a:pt x="584" y="6458"/>
                    <a:pt x="500" y="6375"/>
                  </a:cubicBezTo>
                  <a:cubicBezTo>
                    <a:pt x="358" y="6220"/>
                    <a:pt x="298" y="5982"/>
                    <a:pt x="369" y="5756"/>
                  </a:cubicBezTo>
                  <a:lnTo>
                    <a:pt x="1036" y="3791"/>
                  </a:lnTo>
                  <a:cubicBezTo>
                    <a:pt x="1060" y="3767"/>
                    <a:pt x="1060" y="3732"/>
                    <a:pt x="1036" y="3720"/>
                  </a:cubicBezTo>
                  <a:cubicBezTo>
                    <a:pt x="1012" y="3517"/>
                    <a:pt x="1000" y="3327"/>
                    <a:pt x="1000" y="3148"/>
                  </a:cubicBezTo>
                  <a:cubicBezTo>
                    <a:pt x="1000" y="2005"/>
                    <a:pt x="1560" y="934"/>
                    <a:pt x="2513" y="291"/>
                  </a:cubicBezTo>
                  <a:cubicBezTo>
                    <a:pt x="2572" y="255"/>
                    <a:pt x="2584" y="148"/>
                    <a:pt x="2548" y="76"/>
                  </a:cubicBezTo>
                  <a:cubicBezTo>
                    <a:pt x="2519" y="25"/>
                    <a:pt x="2467" y="1"/>
                    <a:pt x="24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9" name="Google Shape;12379;p62"/>
            <p:cNvSpPr/>
            <p:nvPr/>
          </p:nvSpPr>
          <p:spPr>
            <a:xfrm>
              <a:off x="1456051" y="2422129"/>
              <a:ext cx="180271" cy="162937"/>
            </a:xfrm>
            <a:custGeom>
              <a:avLst/>
              <a:gdLst/>
              <a:ahLst/>
              <a:cxnLst/>
              <a:rect l="l" t="t" r="r" b="b"/>
              <a:pathLst>
                <a:path w="5668" h="5123" extrusionOk="0">
                  <a:moveTo>
                    <a:pt x="1621" y="1"/>
                  </a:moveTo>
                  <a:cubicBezTo>
                    <a:pt x="1104" y="1"/>
                    <a:pt x="591" y="107"/>
                    <a:pt x="119" y="317"/>
                  </a:cubicBezTo>
                  <a:cubicBezTo>
                    <a:pt x="24" y="353"/>
                    <a:pt x="0" y="448"/>
                    <a:pt x="24" y="544"/>
                  </a:cubicBezTo>
                  <a:cubicBezTo>
                    <a:pt x="51" y="616"/>
                    <a:pt x="113" y="648"/>
                    <a:pt x="184" y="648"/>
                  </a:cubicBezTo>
                  <a:cubicBezTo>
                    <a:pt x="205" y="648"/>
                    <a:pt x="228" y="645"/>
                    <a:pt x="250" y="639"/>
                  </a:cubicBezTo>
                  <a:cubicBezTo>
                    <a:pt x="965" y="317"/>
                    <a:pt x="1536" y="365"/>
                    <a:pt x="1643" y="353"/>
                  </a:cubicBezTo>
                  <a:cubicBezTo>
                    <a:pt x="3941" y="365"/>
                    <a:pt x="5644" y="2556"/>
                    <a:pt x="4894" y="4901"/>
                  </a:cubicBezTo>
                  <a:cubicBezTo>
                    <a:pt x="4870" y="4997"/>
                    <a:pt x="4906" y="5080"/>
                    <a:pt x="5001" y="5116"/>
                  </a:cubicBezTo>
                  <a:cubicBezTo>
                    <a:pt x="5018" y="5120"/>
                    <a:pt x="5035" y="5123"/>
                    <a:pt x="5052" y="5123"/>
                  </a:cubicBezTo>
                  <a:cubicBezTo>
                    <a:pt x="5119" y="5123"/>
                    <a:pt x="5184" y="5085"/>
                    <a:pt x="5203" y="5009"/>
                  </a:cubicBezTo>
                  <a:cubicBezTo>
                    <a:pt x="5668" y="3508"/>
                    <a:pt x="5239" y="2044"/>
                    <a:pt x="4263" y="1079"/>
                  </a:cubicBezTo>
                  <a:cubicBezTo>
                    <a:pt x="3524" y="356"/>
                    <a:pt x="2566" y="1"/>
                    <a:pt x="1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0" name="Google Shape;12380;p62"/>
            <p:cNvSpPr/>
            <p:nvPr/>
          </p:nvSpPr>
          <p:spPr>
            <a:xfrm>
              <a:off x="1532160" y="2593590"/>
              <a:ext cx="81834" cy="180207"/>
            </a:xfrm>
            <a:custGeom>
              <a:avLst/>
              <a:gdLst/>
              <a:ahLst/>
              <a:cxnLst/>
              <a:rect l="l" t="t" r="r" b="b"/>
              <a:pathLst>
                <a:path w="2573" h="5666" extrusionOk="0">
                  <a:moveTo>
                    <a:pt x="2399" y="1"/>
                  </a:moveTo>
                  <a:cubicBezTo>
                    <a:pt x="2340" y="1"/>
                    <a:pt x="2284" y="36"/>
                    <a:pt x="2251" y="94"/>
                  </a:cubicBezTo>
                  <a:cubicBezTo>
                    <a:pt x="2096" y="380"/>
                    <a:pt x="1715" y="856"/>
                    <a:pt x="1715" y="1737"/>
                  </a:cubicBezTo>
                  <a:lnTo>
                    <a:pt x="1715" y="5273"/>
                  </a:lnTo>
                  <a:cubicBezTo>
                    <a:pt x="1715" y="5309"/>
                    <a:pt x="1679" y="5332"/>
                    <a:pt x="1655" y="5332"/>
                  </a:cubicBezTo>
                  <a:lnTo>
                    <a:pt x="167" y="5332"/>
                  </a:lnTo>
                  <a:cubicBezTo>
                    <a:pt x="72" y="5332"/>
                    <a:pt x="0" y="5404"/>
                    <a:pt x="0" y="5499"/>
                  </a:cubicBezTo>
                  <a:cubicBezTo>
                    <a:pt x="0" y="5583"/>
                    <a:pt x="72" y="5666"/>
                    <a:pt x="167" y="5666"/>
                  </a:cubicBezTo>
                  <a:lnTo>
                    <a:pt x="1655" y="5666"/>
                  </a:lnTo>
                  <a:cubicBezTo>
                    <a:pt x="1858" y="5666"/>
                    <a:pt x="2036" y="5487"/>
                    <a:pt x="2036" y="5273"/>
                  </a:cubicBezTo>
                  <a:lnTo>
                    <a:pt x="2036" y="1737"/>
                  </a:lnTo>
                  <a:cubicBezTo>
                    <a:pt x="2036" y="963"/>
                    <a:pt x="2382" y="558"/>
                    <a:pt x="2548" y="249"/>
                  </a:cubicBezTo>
                  <a:cubicBezTo>
                    <a:pt x="2572" y="153"/>
                    <a:pt x="2548" y="70"/>
                    <a:pt x="2477" y="22"/>
                  </a:cubicBezTo>
                  <a:cubicBezTo>
                    <a:pt x="2451" y="8"/>
                    <a:pt x="2425" y="1"/>
                    <a:pt x="23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1" name="Google Shape;12381;p62"/>
            <p:cNvSpPr/>
            <p:nvPr/>
          </p:nvSpPr>
          <p:spPr>
            <a:xfrm>
              <a:off x="1425359" y="2572313"/>
              <a:ext cx="24267" cy="17843"/>
            </a:xfrm>
            <a:custGeom>
              <a:avLst/>
              <a:gdLst/>
              <a:ahLst/>
              <a:cxnLst/>
              <a:rect l="l" t="t" r="r" b="b"/>
              <a:pathLst>
                <a:path w="763" h="561" extrusionOk="0">
                  <a:moveTo>
                    <a:pt x="583" y="0"/>
                  </a:moveTo>
                  <a:cubicBezTo>
                    <a:pt x="554" y="0"/>
                    <a:pt x="525" y="8"/>
                    <a:pt x="501" y="25"/>
                  </a:cubicBezTo>
                  <a:lnTo>
                    <a:pt x="96" y="239"/>
                  </a:lnTo>
                  <a:cubicBezTo>
                    <a:pt x="25" y="287"/>
                    <a:pt x="1" y="394"/>
                    <a:pt x="37" y="465"/>
                  </a:cubicBezTo>
                  <a:cubicBezTo>
                    <a:pt x="72" y="525"/>
                    <a:pt x="132" y="560"/>
                    <a:pt x="191" y="560"/>
                  </a:cubicBezTo>
                  <a:cubicBezTo>
                    <a:pt x="215" y="560"/>
                    <a:pt x="251" y="560"/>
                    <a:pt x="275" y="537"/>
                  </a:cubicBezTo>
                  <a:lnTo>
                    <a:pt x="680" y="322"/>
                  </a:lnTo>
                  <a:cubicBezTo>
                    <a:pt x="739" y="263"/>
                    <a:pt x="763" y="156"/>
                    <a:pt x="727" y="84"/>
                  </a:cubicBezTo>
                  <a:cubicBezTo>
                    <a:pt x="696" y="29"/>
                    <a:pt x="639" y="0"/>
                    <a:pt x="5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2" name="Google Shape;12382;p62"/>
            <p:cNvSpPr/>
            <p:nvPr/>
          </p:nvSpPr>
          <p:spPr>
            <a:xfrm>
              <a:off x="1562820" y="2573680"/>
              <a:ext cx="26176" cy="17620"/>
            </a:xfrm>
            <a:custGeom>
              <a:avLst/>
              <a:gdLst/>
              <a:ahLst/>
              <a:cxnLst/>
              <a:rect l="l" t="t" r="r" b="b"/>
              <a:pathLst>
                <a:path w="823" h="554" extrusionOk="0">
                  <a:moveTo>
                    <a:pt x="201" y="1"/>
                  </a:moveTo>
                  <a:cubicBezTo>
                    <a:pt x="143" y="1"/>
                    <a:pt x="81" y="28"/>
                    <a:pt x="48" y="77"/>
                  </a:cubicBezTo>
                  <a:cubicBezTo>
                    <a:pt x="1" y="160"/>
                    <a:pt x="37" y="255"/>
                    <a:pt x="108" y="303"/>
                  </a:cubicBezTo>
                  <a:cubicBezTo>
                    <a:pt x="513" y="529"/>
                    <a:pt x="513" y="553"/>
                    <a:pt x="584" y="553"/>
                  </a:cubicBezTo>
                  <a:cubicBezTo>
                    <a:pt x="763" y="541"/>
                    <a:pt x="822" y="315"/>
                    <a:pt x="680" y="244"/>
                  </a:cubicBezTo>
                  <a:lnTo>
                    <a:pt x="275" y="17"/>
                  </a:lnTo>
                  <a:cubicBezTo>
                    <a:pt x="253" y="6"/>
                    <a:pt x="227" y="1"/>
                    <a:pt x="2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3" name="Google Shape;12383;p62"/>
            <p:cNvSpPr/>
            <p:nvPr/>
          </p:nvSpPr>
          <p:spPr>
            <a:xfrm>
              <a:off x="1448100" y="2481414"/>
              <a:ext cx="125375" cy="191275"/>
            </a:xfrm>
            <a:custGeom>
              <a:avLst/>
              <a:gdLst/>
              <a:ahLst/>
              <a:cxnLst/>
              <a:rect l="l" t="t" r="r" b="b"/>
              <a:pathLst>
                <a:path w="3942" h="6014" extrusionOk="0">
                  <a:moveTo>
                    <a:pt x="1280" y="1498"/>
                  </a:moveTo>
                  <a:cubicBezTo>
                    <a:pt x="1355" y="1498"/>
                    <a:pt x="1429" y="1543"/>
                    <a:pt x="1429" y="1632"/>
                  </a:cubicBezTo>
                  <a:lnTo>
                    <a:pt x="1429" y="1763"/>
                  </a:lnTo>
                  <a:lnTo>
                    <a:pt x="1262" y="1763"/>
                  </a:lnTo>
                  <a:cubicBezTo>
                    <a:pt x="1191" y="1763"/>
                    <a:pt x="1131" y="1704"/>
                    <a:pt x="1131" y="1632"/>
                  </a:cubicBezTo>
                  <a:cubicBezTo>
                    <a:pt x="1131" y="1543"/>
                    <a:pt x="1206" y="1498"/>
                    <a:pt x="1280" y="1498"/>
                  </a:cubicBezTo>
                  <a:close/>
                  <a:moveTo>
                    <a:pt x="2483" y="1498"/>
                  </a:moveTo>
                  <a:cubicBezTo>
                    <a:pt x="2557" y="1498"/>
                    <a:pt x="2632" y="1543"/>
                    <a:pt x="2632" y="1632"/>
                  </a:cubicBezTo>
                  <a:cubicBezTo>
                    <a:pt x="2632" y="1704"/>
                    <a:pt x="2572" y="1763"/>
                    <a:pt x="2501" y="1763"/>
                  </a:cubicBezTo>
                  <a:lnTo>
                    <a:pt x="2334" y="1763"/>
                  </a:lnTo>
                  <a:lnTo>
                    <a:pt x="2334" y="1632"/>
                  </a:lnTo>
                  <a:cubicBezTo>
                    <a:pt x="2334" y="1543"/>
                    <a:pt x="2408" y="1498"/>
                    <a:pt x="2483" y="1498"/>
                  </a:cubicBezTo>
                  <a:close/>
                  <a:moveTo>
                    <a:pt x="1989" y="2085"/>
                  </a:moveTo>
                  <a:lnTo>
                    <a:pt x="1989" y="3776"/>
                  </a:lnTo>
                  <a:lnTo>
                    <a:pt x="1739" y="3776"/>
                  </a:lnTo>
                  <a:lnTo>
                    <a:pt x="1739" y="2085"/>
                  </a:lnTo>
                  <a:close/>
                  <a:moveTo>
                    <a:pt x="2524" y="4097"/>
                  </a:moveTo>
                  <a:lnTo>
                    <a:pt x="2524" y="4430"/>
                  </a:lnTo>
                  <a:lnTo>
                    <a:pt x="1215" y="4430"/>
                  </a:lnTo>
                  <a:lnTo>
                    <a:pt x="1215" y="4097"/>
                  </a:lnTo>
                  <a:close/>
                  <a:moveTo>
                    <a:pt x="2512" y="4752"/>
                  </a:moveTo>
                  <a:lnTo>
                    <a:pt x="2512" y="4942"/>
                  </a:lnTo>
                  <a:lnTo>
                    <a:pt x="2524" y="4942"/>
                  </a:lnTo>
                  <a:cubicBezTo>
                    <a:pt x="2524" y="5026"/>
                    <a:pt x="2465" y="5085"/>
                    <a:pt x="2393" y="5085"/>
                  </a:cubicBezTo>
                  <a:lnTo>
                    <a:pt x="1334" y="5085"/>
                  </a:lnTo>
                  <a:cubicBezTo>
                    <a:pt x="1262" y="5085"/>
                    <a:pt x="1203" y="5026"/>
                    <a:pt x="1203" y="4942"/>
                  </a:cubicBezTo>
                  <a:lnTo>
                    <a:pt x="1203" y="4752"/>
                  </a:lnTo>
                  <a:close/>
                  <a:moveTo>
                    <a:pt x="2227" y="5395"/>
                  </a:moveTo>
                  <a:cubicBezTo>
                    <a:pt x="2203" y="5561"/>
                    <a:pt x="2048" y="5681"/>
                    <a:pt x="1870" y="5681"/>
                  </a:cubicBezTo>
                  <a:cubicBezTo>
                    <a:pt x="1691" y="5681"/>
                    <a:pt x="1548" y="5561"/>
                    <a:pt x="1500" y="5395"/>
                  </a:cubicBezTo>
                  <a:close/>
                  <a:moveTo>
                    <a:pt x="1874" y="1"/>
                  </a:moveTo>
                  <a:cubicBezTo>
                    <a:pt x="834" y="1"/>
                    <a:pt x="0" y="837"/>
                    <a:pt x="0" y="1882"/>
                  </a:cubicBezTo>
                  <a:cubicBezTo>
                    <a:pt x="0" y="2406"/>
                    <a:pt x="215" y="2906"/>
                    <a:pt x="607" y="3264"/>
                  </a:cubicBezTo>
                  <a:cubicBezTo>
                    <a:pt x="786" y="3418"/>
                    <a:pt x="869" y="3656"/>
                    <a:pt x="869" y="3895"/>
                  </a:cubicBezTo>
                  <a:lnTo>
                    <a:pt x="869" y="4942"/>
                  </a:lnTo>
                  <a:cubicBezTo>
                    <a:pt x="869" y="5145"/>
                    <a:pt x="988" y="5300"/>
                    <a:pt x="1155" y="5359"/>
                  </a:cubicBezTo>
                  <a:cubicBezTo>
                    <a:pt x="1191" y="5716"/>
                    <a:pt x="1489" y="6014"/>
                    <a:pt x="1858" y="6014"/>
                  </a:cubicBezTo>
                  <a:cubicBezTo>
                    <a:pt x="2227" y="6014"/>
                    <a:pt x="2524" y="5740"/>
                    <a:pt x="2560" y="5359"/>
                  </a:cubicBezTo>
                  <a:cubicBezTo>
                    <a:pt x="2715" y="5288"/>
                    <a:pt x="2834" y="5121"/>
                    <a:pt x="2834" y="4942"/>
                  </a:cubicBezTo>
                  <a:lnTo>
                    <a:pt x="2834" y="3871"/>
                  </a:lnTo>
                  <a:cubicBezTo>
                    <a:pt x="2834" y="3811"/>
                    <a:pt x="2834" y="3752"/>
                    <a:pt x="2858" y="3692"/>
                  </a:cubicBezTo>
                  <a:cubicBezTo>
                    <a:pt x="2870" y="3609"/>
                    <a:pt x="2822" y="3514"/>
                    <a:pt x="2727" y="3502"/>
                  </a:cubicBezTo>
                  <a:cubicBezTo>
                    <a:pt x="2718" y="3500"/>
                    <a:pt x="2710" y="3500"/>
                    <a:pt x="2701" y="3500"/>
                  </a:cubicBezTo>
                  <a:cubicBezTo>
                    <a:pt x="2627" y="3500"/>
                    <a:pt x="2558" y="3546"/>
                    <a:pt x="2536" y="3621"/>
                  </a:cubicBezTo>
                  <a:cubicBezTo>
                    <a:pt x="2524" y="3668"/>
                    <a:pt x="2524" y="3728"/>
                    <a:pt x="2512" y="3776"/>
                  </a:cubicBezTo>
                  <a:lnTo>
                    <a:pt x="2298" y="3776"/>
                  </a:lnTo>
                  <a:lnTo>
                    <a:pt x="2298" y="2085"/>
                  </a:lnTo>
                  <a:lnTo>
                    <a:pt x="2465" y="2085"/>
                  </a:lnTo>
                  <a:cubicBezTo>
                    <a:pt x="2715" y="2085"/>
                    <a:pt x="2929" y="1882"/>
                    <a:pt x="2929" y="1632"/>
                  </a:cubicBezTo>
                  <a:cubicBezTo>
                    <a:pt x="2929" y="1370"/>
                    <a:pt x="2715" y="1168"/>
                    <a:pt x="2465" y="1168"/>
                  </a:cubicBezTo>
                  <a:lnTo>
                    <a:pt x="2441" y="1168"/>
                  </a:lnTo>
                  <a:cubicBezTo>
                    <a:pt x="2179" y="1168"/>
                    <a:pt x="1977" y="1370"/>
                    <a:pt x="1977" y="1632"/>
                  </a:cubicBezTo>
                  <a:lnTo>
                    <a:pt x="1977" y="1763"/>
                  </a:lnTo>
                  <a:lnTo>
                    <a:pt x="1727" y="1763"/>
                  </a:lnTo>
                  <a:lnTo>
                    <a:pt x="1727" y="1632"/>
                  </a:lnTo>
                  <a:cubicBezTo>
                    <a:pt x="1727" y="1370"/>
                    <a:pt x="1512" y="1168"/>
                    <a:pt x="1262" y="1168"/>
                  </a:cubicBezTo>
                  <a:lnTo>
                    <a:pt x="1227" y="1168"/>
                  </a:lnTo>
                  <a:cubicBezTo>
                    <a:pt x="977" y="1168"/>
                    <a:pt x="774" y="1370"/>
                    <a:pt x="774" y="1632"/>
                  </a:cubicBezTo>
                  <a:cubicBezTo>
                    <a:pt x="774" y="1882"/>
                    <a:pt x="977" y="2085"/>
                    <a:pt x="1227" y="2085"/>
                  </a:cubicBezTo>
                  <a:lnTo>
                    <a:pt x="1393" y="2085"/>
                  </a:lnTo>
                  <a:lnTo>
                    <a:pt x="1393" y="3776"/>
                  </a:lnTo>
                  <a:lnTo>
                    <a:pt x="1191" y="3776"/>
                  </a:lnTo>
                  <a:cubicBezTo>
                    <a:pt x="1155" y="3478"/>
                    <a:pt x="1024" y="3204"/>
                    <a:pt x="810" y="3014"/>
                  </a:cubicBezTo>
                  <a:cubicBezTo>
                    <a:pt x="488" y="2716"/>
                    <a:pt x="310" y="2299"/>
                    <a:pt x="310" y="1871"/>
                  </a:cubicBezTo>
                  <a:cubicBezTo>
                    <a:pt x="310" y="1013"/>
                    <a:pt x="988" y="323"/>
                    <a:pt x="1858" y="323"/>
                  </a:cubicBezTo>
                  <a:lnTo>
                    <a:pt x="1905" y="323"/>
                  </a:lnTo>
                  <a:cubicBezTo>
                    <a:pt x="2715" y="335"/>
                    <a:pt x="3394" y="1013"/>
                    <a:pt x="3405" y="1835"/>
                  </a:cubicBezTo>
                  <a:lnTo>
                    <a:pt x="3405" y="1847"/>
                  </a:lnTo>
                  <a:cubicBezTo>
                    <a:pt x="3405" y="2287"/>
                    <a:pt x="3239" y="2668"/>
                    <a:pt x="2929" y="2966"/>
                  </a:cubicBezTo>
                  <a:cubicBezTo>
                    <a:pt x="2870" y="3025"/>
                    <a:pt x="2858" y="3133"/>
                    <a:pt x="2929" y="3204"/>
                  </a:cubicBezTo>
                  <a:cubicBezTo>
                    <a:pt x="2965" y="3240"/>
                    <a:pt x="3007" y="3258"/>
                    <a:pt x="3048" y="3258"/>
                  </a:cubicBezTo>
                  <a:cubicBezTo>
                    <a:pt x="3090" y="3258"/>
                    <a:pt x="3132" y="3240"/>
                    <a:pt x="3167" y="3204"/>
                  </a:cubicBezTo>
                  <a:cubicBezTo>
                    <a:pt x="3906" y="2502"/>
                    <a:pt x="3941" y="1299"/>
                    <a:pt x="3191" y="561"/>
                  </a:cubicBezTo>
                  <a:cubicBezTo>
                    <a:pt x="2858" y="216"/>
                    <a:pt x="2393" y="1"/>
                    <a:pt x="1917" y="1"/>
                  </a:cubicBezTo>
                  <a:cubicBezTo>
                    <a:pt x="1903" y="1"/>
                    <a:pt x="1888" y="1"/>
                    <a:pt x="18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4" name="Google Shape;12384;p62"/>
            <p:cNvSpPr/>
            <p:nvPr/>
          </p:nvSpPr>
          <p:spPr>
            <a:xfrm>
              <a:off x="1502232" y="2449259"/>
              <a:ext cx="10655" cy="25380"/>
            </a:xfrm>
            <a:custGeom>
              <a:avLst/>
              <a:gdLst/>
              <a:ahLst/>
              <a:cxnLst/>
              <a:rect l="l" t="t" r="r" b="b"/>
              <a:pathLst>
                <a:path w="335" h="798" extrusionOk="0">
                  <a:moveTo>
                    <a:pt x="168" y="0"/>
                  </a:moveTo>
                  <a:cubicBezTo>
                    <a:pt x="84" y="0"/>
                    <a:pt x="1" y="84"/>
                    <a:pt x="1" y="167"/>
                  </a:cubicBezTo>
                  <a:lnTo>
                    <a:pt x="1" y="631"/>
                  </a:lnTo>
                  <a:cubicBezTo>
                    <a:pt x="1" y="715"/>
                    <a:pt x="84" y="798"/>
                    <a:pt x="168" y="798"/>
                  </a:cubicBezTo>
                  <a:cubicBezTo>
                    <a:pt x="263" y="798"/>
                    <a:pt x="334" y="715"/>
                    <a:pt x="334" y="631"/>
                  </a:cubicBezTo>
                  <a:lnTo>
                    <a:pt x="334" y="167"/>
                  </a:lnTo>
                  <a:cubicBezTo>
                    <a:pt x="334" y="84"/>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5" name="Google Shape;12385;p62"/>
            <p:cNvSpPr/>
            <p:nvPr/>
          </p:nvSpPr>
          <p:spPr>
            <a:xfrm>
              <a:off x="1458309" y="2460582"/>
              <a:ext cx="18988" cy="23090"/>
            </a:xfrm>
            <a:custGeom>
              <a:avLst/>
              <a:gdLst/>
              <a:ahLst/>
              <a:cxnLst/>
              <a:rect l="l" t="t" r="r" b="b"/>
              <a:pathLst>
                <a:path w="597" h="726" extrusionOk="0">
                  <a:moveTo>
                    <a:pt x="190" y="1"/>
                  </a:moveTo>
                  <a:cubicBezTo>
                    <a:pt x="161" y="1"/>
                    <a:pt x="132" y="9"/>
                    <a:pt x="108" y="25"/>
                  </a:cubicBezTo>
                  <a:cubicBezTo>
                    <a:pt x="25" y="61"/>
                    <a:pt x="1" y="168"/>
                    <a:pt x="48" y="240"/>
                  </a:cubicBezTo>
                  <a:lnTo>
                    <a:pt x="275" y="644"/>
                  </a:lnTo>
                  <a:cubicBezTo>
                    <a:pt x="299" y="693"/>
                    <a:pt x="357" y="726"/>
                    <a:pt x="414" y="726"/>
                  </a:cubicBezTo>
                  <a:cubicBezTo>
                    <a:pt x="441" y="726"/>
                    <a:pt x="466" y="719"/>
                    <a:pt x="489" y="704"/>
                  </a:cubicBezTo>
                  <a:cubicBezTo>
                    <a:pt x="572" y="656"/>
                    <a:pt x="596" y="573"/>
                    <a:pt x="548" y="478"/>
                  </a:cubicBezTo>
                  <a:lnTo>
                    <a:pt x="322" y="85"/>
                  </a:lnTo>
                  <a:cubicBezTo>
                    <a:pt x="299" y="30"/>
                    <a:pt x="244"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6" name="Google Shape;12386;p62"/>
            <p:cNvSpPr/>
            <p:nvPr/>
          </p:nvSpPr>
          <p:spPr>
            <a:xfrm>
              <a:off x="1425741" y="2492768"/>
              <a:ext cx="25031" cy="17874"/>
            </a:xfrm>
            <a:custGeom>
              <a:avLst/>
              <a:gdLst/>
              <a:ahLst/>
              <a:cxnLst/>
              <a:rect l="l" t="t" r="r" b="b"/>
              <a:pathLst>
                <a:path w="787" h="562" extrusionOk="0">
                  <a:moveTo>
                    <a:pt x="181" y="1"/>
                  </a:moveTo>
                  <a:cubicBezTo>
                    <a:pt x="126" y="1"/>
                    <a:pt x="72" y="30"/>
                    <a:pt x="48" y="85"/>
                  </a:cubicBezTo>
                  <a:cubicBezTo>
                    <a:pt x="1" y="156"/>
                    <a:pt x="25" y="263"/>
                    <a:pt x="108" y="299"/>
                  </a:cubicBezTo>
                  <a:cubicBezTo>
                    <a:pt x="501" y="525"/>
                    <a:pt x="501" y="561"/>
                    <a:pt x="584" y="561"/>
                  </a:cubicBezTo>
                  <a:cubicBezTo>
                    <a:pt x="632" y="561"/>
                    <a:pt x="703" y="525"/>
                    <a:pt x="727" y="466"/>
                  </a:cubicBezTo>
                  <a:cubicBezTo>
                    <a:pt x="787" y="394"/>
                    <a:pt x="751" y="287"/>
                    <a:pt x="668" y="240"/>
                  </a:cubicBezTo>
                  <a:lnTo>
                    <a:pt x="263" y="25"/>
                  </a:lnTo>
                  <a:cubicBezTo>
                    <a:pt x="238" y="9"/>
                    <a:pt x="209"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7" name="Google Shape;12387;p62"/>
            <p:cNvSpPr/>
            <p:nvPr/>
          </p:nvSpPr>
          <p:spPr>
            <a:xfrm>
              <a:off x="1414768" y="2535959"/>
              <a:ext cx="25031" cy="10655"/>
            </a:xfrm>
            <a:custGeom>
              <a:avLst/>
              <a:gdLst/>
              <a:ahLst/>
              <a:cxnLst/>
              <a:rect l="l" t="t" r="r" b="b"/>
              <a:pathLst>
                <a:path w="787" h="335" extrusionOk="0">
                  <a:moveTo>
                    <a:pt x="167" y="1"/>
                  </a:moveTo>
                  <a:cubicBezTo>
                    <a:pt x="72" y="1"/>
                    <a:pt x="1" y="72"/>
                    <a:pt x="1" y="167"/>
                  </a:cubicBezTo>
                  <a:cubicBezTo>
                    <a:pt x="1" y="251"/>
                    <a:pt x="72" y="334"/>
                    <a:pt x="167" y="334"/>
                  </a:cubicBezTo>
                  <a:lnTo>
                    <a:pt x="632" y="334"/>
                  </a:lnTo>
                  <a:cubicBezTo>
                    <a:pt x="715" y="334"/>
                    <a:pt x="786" y="251"/>
                    <a:pt x="786" y="167"/>
                  </a:cubicBezTo>
                  <a:cubicBezTo>
                    <a:pt x="786" y="72"/>
                    <a:pt x="715" y="1"/>
                    <a:pt x="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8" name="Google Shape;12388;p62"/>
            <p:cNvSpPr/>
            <p:nvPr/>
          </p:nvSpPr>
          <p:spPr>
            <a:xfrm>
              <a:off x="1573825" y="2537104"/>
              <a:ext cx="24999" cy="10241"/>
            </a:xfrm>
            <a:custGeom>
              <a:avLst/>
              <a:gdLst/>
              <a:ahLst/>
              <a:cxnLst/>
              <a:rect l="l" t="t" r="r" b="b"/>
              <a:pathLst>
                <a:path w="786" h="322" extrusionOk="0">
                  <a:moveTo>
                    <a:pt x="167" y="0"/>
                  </a:moveTo>
                  <a:cubicBezTo>
                    <a:pt x="72" y="0"/>
                    <a:pt x="0" y="72"/>
                    <a:pt x="0" y="155"/>
                  </a:cubicBezTo>
                  <a:cubicBezTo>
                    <a:pt x="0" y="251"/>
                    <a:pt x="72" y="322"/>
                    <a:pt x="167" y="322"/>
                  </a:cubicBezTo>
                  <a:lnTo>
                    <a:pt x="631" y="322"/>
                  </a:lnTo>
                  <a:cubicBezTo>
                    <a:pt x="715" y="322"/>
                    <a:pt x="786" y="251"/>
                    <a:pt x="786" y="155"/>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9" name="Google Shape;12389;p62"/>
            <p:cNvSpPr/>
            <p:nvPr/>
          </p:nvSpPr>
          <p:spPr>
            <a:xfrm>
              <a:off x="1563965" y="2493627"/>
              <a:ext cx="24649" cy="17525"/>
            </a:xfrm>
            <a:custGeom>
              <a:avLst/>
              <a:gdLst/>
              <a:ahLst/>
              <a:cxnLst/>
              <a:rect l="l" t="t" r="r" b="b"/>
              <a:pathLst>
                <a:path w="775" h="551" extrusionOk="0">
                  <a:moveTo>
                    <a:pt x="576" y="0"/>
                  </a:moveTo>
                  <a:cubicBezTo>
                    <a:pt x="549" y="0"/>
                    <a:pt x="523" y="7"/>
                    <a:pt x="501" y="22"/>
                  </a:cubicBezTo>
                  <a:lnTo>
                    <a:pt x="108" y="248"/>
                  </a:lnTo>
                  <a:cubicBezTo>
                    <a:pt x="24" y="296"/>
                    <a:pt x="1" y="391"/>
                    <a:pt x="48" y="475"/>
                  </a:cubicBezTo>
                  <a:cubicBezTo>
                    <a:pt x="73" y="524"/>
                    <a:pt x="132" y="550"/>
                    <a:pt x="189" y="550"/>
                  </a:cubicBezTo>
                  <a:cubicBezTo>
                    <a:pt x="215" y="550"/>
                    <a:pt x="240" y="545"/>
                    <a:pt x="263" y="534"/>
                  </a:cubicBezTo>
                  <a:lnTo>
                    <a:pt x="667" y="308"/>
                  </a:lnTo>
                  <a:cubicBezTo>
                    <a:pt x="739" y="260"/>
                    <a:pt x="774" y="153"/>
                    <a:pt x="727" y="82"/>
                  </a:cubicBezTo>
                  <a:cubicBezTo>
                    <a:pt x="694" y="33"/>
                    <a:pt x="633" y="0"/>
                    <a:pt x="5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0" name="Google Shape;12390;p62"/>
            <p:cNvSpPr/>
            <p:nvPr/>
          </p:nvSpPr>
          <p:spPr>
            <a:xfrm>
              <a:off x="1537853" y="2461440"/>
              <a:ext cx="18956" cy="23090"/>
            </a:xfrm>
            <a:custGeom>
              <a:avLst/>
              <a:gdLst/>
              <a:ahLst/>
              <a:cxnLst/>
              <a:rect l="l" t="t" r="r" b="b"/>
              <a:pathLst>
                <a:path w="596" h="726" extrusionOk="0">
                  <a:moveTo>
                    <a:pt x="414" y="0"/>
                  </a:moveTo>
                  <a:cubicBezTo>
                    <a:pt x="357" y="0"/>
                    <a:pt x="298" y="33"/>
                    <a:pt x="274" y="82"/>
                  </a:cubicBezTo>
                  <a:lnTo>
                    <a:pt x="48" y="486"/>
                  </a:lnTo>
                  <a:cubicBezTo>
                    <a:pt x="0" y="558"/>
                    <a:pt x="36" y="665"/>
                    <a:pt x="107" y="701"/>
                  </a:cubicBezTo>
                  <a:cubicBezTo>
                    <a:pt x="132" y="718"/>
                    <a:pt x="162" y="725"/>
                    <a:pt x="192" y="725"/>
                  </a:cubicBezTo>
                  <a:cubicBezTo>
                    <a:pt x="247" y="725"/>
                    <a:pt x="303" y="699"/>
                    <a:pt x="333" y="653"/>
                  </a:cubicBezTo>
                  <a:lnTo>
                    <a:pt x="548" y="248"/>
                  </a:lnTo>
                  <a:cubicBezTo>
                    <a:pt x="595" y="177"/>
                    <a:pt x="572" y="70"/>
                    <a:pt x="488" y="22"/>
                  </a:cubicBezTo>
                  <a:cubicBezTo>
                    <a:pt x="466" y="7"/>
                    <a:pt x="440" y="0"/>
                    <a:pt x="41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391" name="Google Shape;12391;p62"/>
          <p:cNvSpPr/>
          <p:nvPr/>
        </p:nvSpPr>
        <p:spPr>
          <a:xfrm>
            <a:off x="7075994" y="2425914"/>
            <a:ext cx="353354" cy="351318"/>
          </a:xfrm>
          <a:custGeom>
            <a:avLst/>
            <a:gdLst/>
            <a:ahLst/>
            <a:cxnLst/>
            <a:rect l="l" t="t" r="r" b="b"/>
            <a:pathLst>
              <a:path w="11110" h="11046" extrusionOk="0">
                <a:moveTo>
                  <a:pt x="3750" y="304"/>
                </a:moveTo>
                <a:cubicBezTo>
                  <a:pt x="3766" y="304"/>
                  <a:pt x="3783" y="304"/>
                  <a:pt x="3799" y="306"/>
                </a:cubicBezTo>
                <a:cubicBezTo>
                  <a:pt x="4037" y="341"/>
                  <a:pt x="4275" y="365"/>
                  <a:pt x="4490" y="413"/>
                </a:cubicBezTo>
                <a:cubicBezTo>
                  <a:pt x="4716" y="460"/>
                  <a:pt x="4954" y="520"/>
                  <a:pt x="5180" y="579"/>
                </a:cubicBezTo>
                <a:cubicBezTo>
                  <a:pt x="5347" y="615"/>
                  <a:pt x="5478" y="734"/>
                  <a:pt x="5549" y="889"/>
                </a:cubicBezTo>
                <a:cubicBezTo>
                  <a:pt x="5561" y="913"/>
                  <a:pt x="5585" y="949"/>
                  <a:pt x="5585" y="972"/>
                </a:cubicBezTo>
                <a:cubicBezTo>
                  <a:pt x="5621" y="1115"/>
                  <a:pt x="5609" y="1246"/>
                  <a:pt x="5573" y="1377"/>
                </a:cubicBezTo>
                <a:lnTo>
                  <a:pt x="4156" y="4770"/>
                </a:lnTo>
                <a:cubicBezTo>
                  <a:pt x="3990" y="4711"/>
                  <a:pt x="3823" y="4663"/>
                  <a:pt x="3644" y="4639"/>
                </a:cubicBezTo>
                <a:cubicBezTo>
                  <a:pt x="3489" y="4604"/>
                  <a:pt x="3323" y="4592"/>
                  <a:pt x="3168" y="4580"/>
                </a:cubicBezTo>
                <a:cubicBezTo>
                  <a:pt x="3162" y="4586"/>
                  <a:pt x="3156" y="4589"/>
                  <a:pt x="3152" y="4589"/>
                </a:cubicBezTo>
                <a:cubicBezTo>
                  <a:pt x="3147" y="4589"/>
                  <a:pt x="3144" y="4586"/>
                  <a:pt x="3144" y="4580"/>
                </a:cubicBezTo>
                <a:lnTo>
                  <a:pt x="3144" y="901"/>
                </a:lnTo>
                <a:cubicBezTo>
                  <a:pt x="3144" y="722"/>
                  <a:pt x="3216" y="579"/>
                  <a:pt x="3335" y="460"/>
                </a:cubicBezTo>
                <a:cubicBezTo>
                  <a:pt x="3453" y="353"/>
                  <a:pt x="3600" y="304"/>
                  <a:pt x="3750" y="304"/>
                </a:cubicBezTo>
                <a:close/>
                <a:moveTo>
                  <a:pt x="6451" y="1138"/>
                </a:moveTo>
                <a:cubicBezTo>
                  <a:pt x="6549" y="1138"/>
                  <a:pt x="6645" y="1162"/>
                  <a:pt x="6728" y="1210"/>
                </a:cubicBezTo>
                <a:cubicBezTo>
                  <a:pt x="6918" y="1318"/>
                  <a:pt x="7121" y="1437"/>
                  <a:pt x="7311" y="1556"/>
                </a:cubicBezTo>
                <a:cubicBezTo>
                  <a:pt x="7514" y="1687"/>
                  <a:pt x="7716" y="1842"/>
                  <a:pt x="7907" y="1984"/>
                </a:cubicBezTo>
                <a:cubicBezTo>
                  <a:pt x="7954" y="2020"/>
                  <a:pt x="7978" y="2068"/>
                  <a:pt x="8014" y="2103"/>
                </a:cubicBezTo>
                <a:cubicBezTo>
                  <a:pt x="8085" y="2199"/>
                  <a:pt x="8109" y="2318"/>
                  <a:pt x="8133" y="2437"/>
                </a:cubicBezTo>
                <a:lnTo>
                  <a:pt x="8133" y="2461"/>
                </a:lnTo>
                <a:cubicBezTo>
                  <a:pt x="8133" y="2568"/>
                  <a:pt x="8097" y="2663"/>
                  <a:pt x="8050" y="2746"/>
                </a:cubicBezTo>
                <a:cubicBezTo>
                  <a:pt x="8026" y="2806"/>
                  <a:pt x="7990" y="2854"/>
                  <a:pt x="7954" y="2889"/>
                </a:cubicBezTo>
                <a:lnTo>
                  <a:pt x="5347" y="5497"/>
                </a:lnTo>
                <a:lnTo>
                  <a:pt x="5311" y="5497"/>
                </a:lnTo>
                <a:cubicBezTo>
                  <a:pt x="5192" y="5378"/>
                  <a:pt x="5049" y="5271"/>
                  <a:pt x="4918" y="5187"/>
                </a:cubicBezTo>
                <a:cubicBezTo>
                  <a:pt x="4775" y="5092"/>
                  <a:pt x="4632" y="5009"/>
                  <a:pt x="4478" y="4949"/>
                </a:cubicBezTo>
                <a:cubicBezTo>
                  <a:pt x="4466" y="4949"/>
                  <a:pt x="4466" y="4937"/>
                  <a:pt x="4466" y="4913"/>
                </a:cubicBezTo>
                <a:lnTo>
                  <a:pt x="5883" y="1508"/>
                </a:lnTo>
                <a:cubicBezTo>
                  <a:pt x="5942" y="1341"/>
                  <a:pt x="6073" y="1234"/>
                  <a:pt x="6240" y="1175"/>
                </a:cubicBezTo>
                <a:cubicBezTo>
                  <a:pt x="6309" y="1150"/>
                  <a:pt x="6381" y="1138"/>
                  <a:pt x="6451" y="1138"/>
                </a:cubicBezTo>
                <a:close/>
                <a:moveTo>
                  <a:pt x="8633" y="2937"/>
                </a:moveTo>
                <a:cubicBezTo>
                  <a:pt x="8800" y="2961"/>
                  <a:pt x="8966" y="3032"/>
                  <a:pt x="9062" y="3163"/>
                </a:cubicBezTo>
                <a:cubicBezTo>
                  <a:pt x="9228" y="3354"/>
                  <a:pt x="9383" y="3568"/>
                  <a:pt x="9514" y="3770"/>
                </a:cubicBezTo>
                <a:cubicBezTo>
                  <a:pt x="9633" y="3949"/>
                  <a:pt x="9752" y="4151"/>
                  <a:pt x="9859" y="4342"/>
                </a:cubicBezTo>
                <a:cubicBezTo>
                  <a:pt x="9883" y="4389"/>
                  <a:pt x="9895" y="4425"/>
                  <a:pt x="9919" y="4485"/>
                </a:cubicBezTo>
                <a:cubicBezTo>
                  <a:pt x="9931" y="4532"/>
                  <a:pt x="9931" y="4592"/>
                  <a:pt x="9931" y="4639"/>
                </a:cubicBezTo>
                <a:cubicBezTo>
                  <a:pt x="9931" y="4699"/>
                  <a:pt x="9919" y="4759"/>
                  <a:pt x="9895" y="4818"/>
                </a:cubicBezTo>
                <a:cubicBezTo>
                  <a:pt x="9895" y="4830"/>
                  <a:pt x="9883" y="4866"/>
                  <a:pt x="9871" y="4878"/>
                </a:cubicBezTo>
                <a:lnTo>
                  <a:pt x="9871" y="4890"/>
                </a:lnTo>
                <a:cubicBezTo>
                  <a:pt x="9859" y="4937"/>
                  <a:pt x="9824" y="4961"/>
                  <a:pt x="9800" y="4997"/>
                </a:cubicBezTo>
                <a:cubicBezTo>
                  <a:pt x="9740" y="5068"/>
                  <a:pt x="9645" y="5128"/>
                  <a:pt x="9562" y="5175"/>
                </a:cubicBezTo>
                <a:lnTo>
                  <a:pt x="6145" y="6592"/>
                </a:lnTo>
                <a:lnTo>
                  <a:pt x="6133" y="6592"/>
                </a:lnTo>
                <a:cubicBezTo>
                  <a:pt x="6133" y="6592"/>
                  <a:pt x="6121" y="6592"/>
                  <a:pt x="6121" y="6568"/>
                </a:cubicBezTo>
                <a:cubicBezTo>
                  <a:pt x="6049" y="6402"/>
                  <a:pt x="5954" y="6259"/>
                  <a:pt x="5847" y="6104"/>
                </a:cubicBezTo>
                <a:cubicBezTo>
                  <a:pt x="5764" y="5973"/>
                  <a:pt x="5668" y="5854"/>
                  <a:pt x="5573" y="5759"/>
                </a:cubicBezTo>
                <a:lnTo>
                  <a:pt x="5573" y="5723"/>
                </a:lnTo>
                <a:lnTo>
                  <a:pt x="8169" y="3115"/>
                </a:lnTo>
                <a:cubicBezTo>
                  <a:pt x="8288" y="2996"/>
                  <a:pt x="8454" y="2937"/>
                  <a:pt x="8633" y="2937"/>
                </a:cubicBezTo>
                <a:close/>
                <a:moveTo>
                  <a:pt x="2966" y="4878"/>
                </a:moveTo>
                <a:cubicBezTo>
                  <a:pt x="3013" y="4901"/>
                  <a:pt x="3073" y="4913"/>
                  <a:pt x="3132" y="4913"/>
                </a:cubicBezTo>
                <a:cubicBezTo>
                  <a:pt x="3216" y="4913"/>
                  <a:pt x="3311" y="4937"/>
                  <a:pt x="3394" y="4949"/>
                </a:cubicBezTo>
                <a:lnTo>
                  <a:pt x="2966" y="7140"/>
                </a:lnTo>
                <a:lnTo>
                  <a:pt x="2918" y="7140"/>
                </a:lnTo>
                <a:lnTo>
                  <a:pt x="2537" y="4949"/>
                </a:lnTo>
                <a:cubicBezTo>
                  <a:pt x="2620" y="4937"/>
                  <a:pt x="2727" y="4925"/>
                  <a:pt x="2811" y="4925"/>
                </a:cubicBezTo>
                <a:lnTo>
                  <a:pt x="2870" y="4925"/>
                </a:lnTo>
                <a:cubicBezTo>
                  <a:pt x="2894" y="4925"/>
                  <a:pt x="2894" y="4925"/>
                  <a:pt x="2906" y="4901"/>
                </a:cubicBezTo>
                <a:cubicBezTo>
                  <a:pt x="2918" y="4901"/>
                  <a:pt x="2918" y="4901"/>
                  <a:pt x="2930" y="4890"/>
                </a:cubicBezTo>
                <a:cubicBezTo>
                  <a:pt x="2954" y="4890"/>
                  <a:pt x="2954" y="4878"/>
                  <a:pt x="2966" y="4878"/>
                </a:cubicBezTo>
                <a:close/>
                <a:moveTo>
                  <a:pt x="3728" y="4997"/>
                </a:moveTo>
                <a:lnTo>
                  <a:pt x="4037" y="5080"/>
                </a:lnTo>
                <a:cubicBezTo>
                  <a:pt x="4049" y="5080"/>
                  <a:pt x="4049" y="5080"/>
                  <a:pt x="4061" y="5104"/>
                </a:cubicBezTo>
                <a:lnTo>
                  <a:pt x="4228" y="5104"/>
                </a:lnTo>
                <a:cubicBezTo>
                  <a:pt x="4251" y="5140"/>
                  <a:pt x="4299" y="5187"/>
                  <a:pt x="4359" y="5199"/>
                </a:cubicBezTo>
                <a:cubicBezTo>
                  <a:pt x="4418" y="5259"/>
                  <a:pt x="4502" y="5306"/>
                  <a:pt x="4585" y="5354"/>
                </a:cubicBezTo>
                <a:lnTo>
                  <a:pt x="3335" y="7199"/>
                </a:lnTo>
                <a:cubicBezTo>
                  <a:pt x="3323" y="7199"/>
                  <a:pt x="3299" y="7176"/>
                  <a:pt x="3287" y="7176"/>
                </a:cubicBezTo>
                <a:lnTo>
                  <a:pt x="3728" y="4997"/>
                </a:lnTo>
                <a:close/>
                <a:moveTo>
                  <a:pt x="4859" y="5532"/>
                </a:moveTo>
                <a:cubicBezTo>
                  <a:pt x="4942" y="5592"/>
                  <a:pt x="5013" y="5663"/>
                  <a:pt x="5097" y="5723"/>
                </a:cubicBezTo>
                <a:cubicBezTo>
                  <a:pt x="5097" y="5723"/>
                  <a:pt x="5109" y="5735"/>
                  <a:pt x="5121" y="5735"/>
                </a:cubicBezTo>
                <a:lnTo>
                  <a:pt x="5133" y="5759"/>
                </a:lnTo>
                <a:cubicBezTo>
                  <a:pt x="5156" y="5759"/>
                  <a:pt x="5156" y="5771"/>
                  <a:pt x="5168" y="5771"/>
                </a:cubicBezTo>
                <a:cubicBezTo>
                  <a:pt x="5168" y="5771"/>
                  <a:pt x="5180" y="5771"/>
                  <a:pt x="5180" y="5782"/>
                </a:cubicBezTo>
                <a:cubicBezTo>
                  <a:pt x="5192" y="5782"/>
                  <a:pt x="5192" y="5782"/>
                  <a:pt x="5216" y="5794"/>
                </a:cubicBezTo>
                <a:lnTo>
                  <a:pt x="5228" y="5794"/>
                </a:lnTo>
                <a:cubicBezTo>
                  <a:pt x="5240" y="5854"/>
                  <a:pt x="5275" y="5902"/>
                  <a:pt x="5299" y="5949"/>
                </a:cubicBezTo>
                <a:cubicBezTo>
                  <a:pt x="5359" y="6009"/>
                  <a:pt x="5418" y="6080"/>
                  <a:pt x="5466" y="6152"/>
                </a:cubicBezTo>
                <a:lnTo>
                  <a:pt x="3629" y="7396"/>
                </a:lnTo>
                <a:lnTo>
                  <a:pt x="3629" y="7396"/>
                </a:lnTo>
                <a:cubicBezTo>
                  <a:pt x="3623" y="7389"/>
                  <a:pt x="3617" y="7382"/>
                  <a:pt x="3609" y="7378"/>
                </a:cubicBezTo>
                <a:lnTo>
                  <a:pt x="4859" y="5532"/>
                </a:lnTo>
                <a:close/>
                <a:moveTo>
                  <a:pt x="5692" y="6425"/>
                </a:moveTo>
                <a:cubicBezTo>
                  <a:pt x="5752" y="6509"/>
                  <a:pt x="5787" y="6616"/>
                  <a:pt x="5835" y="6711"/>
                </a:cubicBezTo>
                <a:cubicBezTo>
                  <a:pt x="5835" y="6723"/>
                  <a:pt x="5847" y="6735"/>
                  <a:pt x="5847" y="6735"/>
                </a:cubicBezTo>
                <a:cubicBezTo>
                  <a:pt x="5847" y="6747"/>
                  <a:pt x="5871" y="6747"/>
                  <a:pt x="5883" y="6771"/>
                </a:cubicBezTo>
                <a:lnTo>
                  <a:pt x="5906" y="6795"/>
                </a:lnTo>
                <a:lnTo>
                  <a:pt x="5942" y="6830"/>
                </a:lnTo>
                <a:cubicBezTo>
                  <a:pt x="5930" y="6878"/>
                  <a:pt x="5942" y="6949"/>
                  <a:pt x="5954" y="6985"/>
                </a:cubicBezTo>
                <a:cubicBezTo>
                  <a:pt x="5990" y="7080"/>
                  <a:pt x="6014" y="7164"/>
                  <a:pt x="6026" y="7259"/>
                </a:cubicBezTo>
                <a:lnTo>
                  <a:pt x="3859" y="7723"/>
                </a:lnTo>
                <a:cubicBezTo>
                  <a:pt x="3859" y="7699"/>
                  <a:pt x="3847" y="7687"/>
                  <a:pt x="3847" y="7676"/>
                </a:cubicBezTo>
                <a:lnTo>
                  <a:pt x="5692" y="6425"/>
                </a:lnTo>
                <a:close/>
                <a:moveTo>
                  <a:pt x="9900" y="5418"/>
                </a:moveTo>
                <a:cubicBezTo>
                  <a:pt x="9989" y="5418"/>
                  <a:pt x="10076" y="5436"/>
                  <a:pt x="10157" y="5473"/>
                </a:cubicBezTo>
                <a:cubicBezTo>
                  <a:pt x="10300" y="5544"/>
                  <a:pt x="10419" y="5675"/>
                  <a:pt x="10467" y="5842"/>
                </a:cubicBezTo>
                <a:cubicBezTo>
                  <a:pt x="10598" y="6294"/>
                  <a:pt x="10693" y="6771"/>
                  <a:pt x="10728" y="7223"/>
                </a:cubicBezTo>
                <a:lnTo>
                  <a:pt x="10728" y="7283"/>
                </a:lnTo>
                <a:cubicBezTo>
                  <a:pt x="10752" y="7437"/>
                  <a:pt x="10705" y="7568"/>
                  <a:pt x="10609" y="7676"/>
                </a:cubicBezTo>
                <a:cubicBezTo>
                  <a:pt x="10598" y="7687"/>
                  <a:pt x="10598" y="7687"/>
                  <a:pt x="10598" y="7699"/>
                </a:cubicBezTo>
                <a:cubicBezTo>
                  <a:pt x="10598" y="7723"/>
                  <a:pt x="10586" y="7723"/>
                  <a:pt x="10586" y="7735"/>
                </a:cubicBezTo>
                <a:lnTo>
                  <a:pt x="10574" y="7747"/>
                </a:lnTo>
                <a:lnTo>
                  <a:pt x="10550" y="7759"/>
                </a:lnTo>
                <a:lnTo>
                  <a:pt x="10538" y="7783"/>
                </a:lnTo>
                <a:lnTo>
                  <a:pt x="10526" y="7795"/>
                </a:lnTo>
                <a:cubicBezTo>
                  <a:pt x="10526" y="7795"/>
                  <a:pt x="10514" y="7795"/>
                  <a:pt x="10514" y="7807"/>
                </a:cubicBezTo>
                <a:cubicBezTo>
                  <a:pt x="10514" y="7807"/>
                  <a:pt x="10490" y="7807"/>
                  <a:pt x="10490" y="7818"/>
                </a:cubicBezTo>
                <a:cubicBezTo>
                  <a:pt x="10490" y="7818"/>
                  <a:pt x="10478" y="7818"/>
                  <a:pt x="10478" y="7842"/>
                </a:cubicBezTo>
                <a:cubicBezTo>
                  <a:pt x="10478" y="7842"/>
                  <a:pt x="10467" y="7842"/>
                  <a:pt x="10467" y="7854"/>
                </a:cubicBezTo>
                <a:lnTo>
                  <a:pt x="10455" y="7854"/>
                </a:lnTo>
                <a:cubicBezTo>
                  <a:pt x="10455" y="7854"/>
                  <a:pt x="10431" y="7854"/>
                  <a:pt x="10431" y="7866"/>
                </a:cubicBezTo>
                <a:lnTo>
                  <a:pt x="10419" y="7866"/>
                </a:lnTo>
                <a:cubicBezTo>
                  <a:pt x="10419" y="7866"/>
                  <a:pt x="10407" y="7866"/>
                  <a:pt x="10407" y="7878"/>
                </a:cubicBezTo>
                <a:lnTo>
                  <a:pt x="10395" y="7878"/>
                </a:lnTo>
                <a:cubicBezTo>
                  <a:pt x="10395" y="7878"/>
                  <a:pt x="10371" y="7878"/>
                  <a:pt x="10371" y="7902"/>
                </a:cubicBezTo>
                <a:lnTo>
                  <a:pt x="6466" y="7902"/>
                </a:lnTo>
                <a:cubicBezTo>
                  <a:pt x="6442" y="7902"/>
                  <a:pt x="6442" y="7878"/>
                  <a:pt x="6442" y="7878"/>
                </a:cubicBezTo>
                <a:cubicBezTo>
                  <a:pt x="6430" y="7545"/>
                  <a:pt x="6359" y="7211"/>
                  <a:pt x="6252" y="6902"/>
                </a:cubicBezTo>
                <a:cubicBezTo>
                  <a:pt x="6252" y="6890"/>
                  <a:pt x="6252" y="6890"/>
                  <a:pt x="6264" y="6866"/>
                </a:cubicBezTo>
                <a:lnTo>
                  <a:pt x="9657" y="5461"/>
                </a:lnTo>
                <a:cubicBezTo>
                  <a:pt x="9736" y="5433"/>
                  <a:pt x="9819" y="5418"/>
                  <a:pt x="9900" y="5418"/>
                </a:cubicBezTo>
                <a:close/>
                <a:moveTo>
                  <a:pt x="6109" y="7604"/>
                </a:moveTo>
                <a:cubicBezTo>
                  <a:pt x="6121" y="7699"/>
                  <a:pt x="6133" y="7807"/>
                  <a:pt x="6133" y="7914"/>
                </a:cubicBezTo>
                <a:lnTo>
                  <a:pt x="6133" y="7938"/>
                </a:lnTo>
                <a:lnTo>
                  <a:pt x="6133" y="7973"/>
                </a:lnTo>
                <a:cubicBezTo>
                  <a:pt x="6133" y="7985"/>
                  <a:pt x="6133" y="7985"/>
                  <a:pt x="6145" y="7997"/>
                </a:cubicBezTo>
                <a:cubicBezTo>
                  <a:pt x="6145" y="8021"/>
                  <a:pt x="6145" y="8021"/>
                  <a:pt x="6168" y="8033"/>
                </a:cubicBezTo>
                <a:cubicBezTo>
                  <a:pt x="6168" y="8045"/>
                  <a:pt x="6180" y="8045"/>
                  <a:pt x="6180" y="8057"/>
                </a:cubicBezTo>
                <a:cubicBezTo>
                  <a:pt x="6145" y="8104"/>
                  <a:pt x="6133" y="8164"/>
                  <a:pt x="6133" y="8223"/>
                </a:cubicBezTo>
                <a:cubicBezTo>
                  <a:pt x="6133" y="8319"/>
                  <a:pt x="6121" y="8390"/>
                  <a:pt x="6109" y="8473"/>
                </a:cubicBezTo>
                <a:lnTo>
                  <a:pt x="3930" y="8092"/>
                </a:lnTo>
                <a:lnTo>
                  <a:pt x="3930" y="8033"/>
                </a:lnTo>
                <a:lnTo>
                  <a:pt x="6109" y="7604"/>
                </a:lnTo>
                <a:close/>
                <a:moveTo>
                  <a:pt x="2978" y="7437"/>
                </a:moveTo>
                <a:cubicBezTo>
                  <a:pt x="3335" y="7437"/>
                  <a:pt x="3620" y="7723"/>
                  <a:pt x="3620" y="8080"/>
                </a:cubicBezTo>
                <a:cubicBezTo>
                  <a:pt x="3609" y="8438"/>
                  <a:pt x="3323" y="8711"/>
                  <a:pt x="2978" y="8711"/>
                </a:cubicBezTo>
                <a:cubicBezTo>
                  <a:pt x="2620" y="8711"/>
                  <a:pt x="2335" y="8438"/>
                  <a:pt x="2335" y="8080"/>
                </a:cubicBezTo>
                <a:cubicBezTo>
                  <a:pt x="2335" y="7723"/>
                  <a:pt x="2620" y="7437"/>
                  <a:pt x="2978" y="7437"/>
                </a:cubicBezTo>
                <a:close/>
                <a:moveTo>
                  <a:pt x="3749" y="1"/>
                </a:moveTo>
                <a:cubicBezTo>
                  <a:pt x="3525" y="1"/>
                  <a:pt x="3308" y="92"/>
                  <a:pt x="3144" y="246"/>
                </a:cubicBezTo>
                <a:cubicBezTo>
                  <a:pt x="3085" y="294"/>
                  <a:pt x="3037" y="353"/>
                  <a:pt x="2989" y="413"/>
                </a:cubicBezTo>
                <a:cubicBezTo>
                  <a:pt x="2942" y="353"/>
                  <a:pt x="2906" y="294"/>
                  <a:pt x="2847" y="246"/>
                </a:cubicBezTo>
                <a:cubicBezTo>
                  <a:pt x="2658" y="80"/>
                  <a:pt x="2419" y="7"/>
                  <a:pt x="2185" y="7"/>
                </a:cubicBezTo>
                <a:cubicBezTo>
                  <a:pt x="2168" y="7"/>
                  <a:pt x="2150" y="7"/>
                  <a:pt x="2132" y="8"/>
                </a:cubicBezTo>
                <a:cubicBezTo>
                  <a:pt x="1632" y="56"/>
                  <a:pt x="1156" y="151"/>
                  <a:pt x="680" y="294"/>
                </a:cubicBezTo>
                <a:cubicBezTo>
                  <a:pt x="430" y="365"/>
                  <a:pt x="227" y="544"/>
                  <a:pt x="120" y="782"/>
                </a:cubicBezTo>
                <a:cubicBezTo>
                  <a:pt x="1" y="1020"/>
                  <a:pt x="1" y="1282"/>
                  <a:pt x="108" y="1520"/>
                </a:cubicBezTo>
                <a:lnTo>
                  <a:pt x="370" y="2175"/>
                </a:lnTo>
                <a:cubicBezTo>
                  <a:pt x="397" y="2248"/>
                  <a:pt x="466" y="2279"/>
                  <a:pt x="529" y="2279"/>
                </a:cubicBezTo>
                <a:cubicBezTo>
                  <a:pt x="549" y="2279"/>
                  <a:pt x="567" y="2276"/>
                  <a:pt x="584" y="2270"/>
                </a:cubicBezTo>
                <a:cubicBezTo>
                  <a:pt x="668" y="2234"/>
                  <a:pt x="703" y="2139"/>
                  <a:pt x="668" y="2056"/>
                </a:cubicBezTo>
                <a:lnTo>
                  <a:pt x="406" y="1401"/>
                </a:lnTo>
                <a:cubicBezTo>
                  <a:pt x="346" y="1246"/>
                  <a:pt x="346" y="1068"/>
                  <a:pt x="418" y="913"/>
                </a:cubicBezTo>
                <a:cubicBezTo>
                  <a:pt x="489" y="770"/>
                  <a:pt x="620" y="651"/>
                  <a:pt x="787" y="603"/>
                </a:cubicBezTo>
                <a:cubicBezTo>
                  <a:pt x="1239" y="472"/>
                  <a:pt x="1715" y="377"/>
                  <a:pt x="2168" y="329"/>
                </a:cubicBezTo>
                <a:cubicBezTo>
                  <a:pt x="2182" y="328"/>
                  <a:pt x="2196" y="328"/>
                  <a:pt x="2210" y="328"/>
                </a:cubicBezTo>
                <a:cubicBezTo>
                  <a:pt x="2364" y="328"/>
                  <a:pt x="2523" y="386"/>
                  <a:pt x="2632" y="484"/>
                </a:cubicBezTo>
                <a:cubicBezTo>
                  <a:pt x="2763" y="603"/>
                  <a:pt x="2823" y="746"/>
                  <a:pt x="2823" y="925"/>
                </a:cubicBezTo>
                <a:lnTo>
                  <a:pt x="2823" y="4604"/>
                </a:lnTo>
                <a:lnTo>
                  <a:pt x="2823" y="4616"/>
                </a:lnTo>
                <a:lnTo>
                  <a:pt x="2811" y="4639"/>
                </a:lnTo>
                <a:cubicBezTo>
                  <a:pt x="2466" y="4651"/>
                  <a:pt x="2144" y="4723"/>
                  <a:pt x="1835" y="4830"/>
                </a:cubicBezTo>
                <a:cubicBezTo>
                  <a:pt x="1811" y="4830"/>
                  <a:pt x="1811" y="4830"/>
                  <a:pt x="1799" y="4818"/>
                </a:cubicBezTo>
                <a:lnTo>
                  <a:pt x="953" y="2758"/>
                </a:lnTo>
                <a:cubicBezTo>
                  <a:pt x="927" y="2697"/>
                  <a:pt x="868" y="2661"/>
                  <a:pt x="806" y="2661"/>
                </a:cubicBezTo>
                <a:cubicBezTo>
                  <a:pt x="784" y="2661"/>
                  <a:pt x="761" y="2666"/>
                  <a:pt x="739" y="2675"/>
                </a:cubicBezTo>
                <a:cubicBezTo>
                  <a:pt x="656" y="2699"/>
                  <a:pt x="620" y="2806"/>
                  <a:pt x="656" y="2877"/>
                </a:cubicBezTo>
                <a:lnTo>
                  <a:pt x="1501" y="4937"/>
                </a:lnTo>
                <a:cubicBezTo>
                  <a:pt x="1558" y="5060"/>
                  <a:pt x="1682" y="5146"/>
                  <a:pt x="1821" y="5146"/>
                </a:cubicBezTo>
                <a:cubicBezTo>
                  <a:pt x="1856" y="5146"/>
                  <a:pt x="1893" y="5140"/>
                  <a:pt x="1930" y="5128"/>
                </a:cubicBezTo>
                <a:cubicBezTo>
                  <a:pt x="2025" y="5092"/>
                  <a:pt x="2132" y="5068"/>
                  <a:pt x="2216" y="5032"/>
                </a:cubicBezTo>
                <a:lnTo>
                  <a:pt x="2608" y="7223"/>
                </a:lnTo>
                <a:cubicBezTo>
                  <a:pt x="2251" y="7354"/>
                  <a:pt x="2013" y="7711"/>
                  <a:pt x="2013" y="8116"/>
                </a:cubicBezTo>
                <a:cubicBezTo>
                  <a:pt x="2013" y="8640"/>
                  <a:pt x="2442" y="9069"/>
                  <a:pt x="2966" y="9069"/>
                </a:cubicBezTo>
                <a:cubicBezTo>
                  <a:pt x="3382" y="9069"/>
                  <a:pt x="3740" y="8807"/>
                  <a:pt x="3870" y="8426"/>
                </a:cubicBezTo>
                <a:lnTo>
                  <a:pt x="6037" y="8819"/>
                </a:lnTo>
                <a:cubicBezTo>
                  <a:pt x="6014" y="8926"/>
                  <a:pt x="5978" y="9045"/>
                  <a:pt x="5954" y="9140"/>
                </a:cubicBezTo>
                <a:cubicBezTo>
                  <a:pt x="5895" y="9307"/>
                  <a:pt x="5978" y="9497"/>
                  <a:pt x="6145" y="9581"/>
                </a:cubicBezTo>
                <a:lnTo>
                  <a:pt x="8109" y="10390"/>
                </a:lnTo>
                <a:cubicBezTo>
                  <a:pt x="8121" y="10414"/>
                  <a:pt x="8157" y="10414"/>
                  <a:pt x="8169" y="10414"/>
                </a:cubicBezTo>
                <a:cubicBezTo>
                  <a:pt x="8228" y="10414"/>
                  <a:pt x="8288" y="10366"/>
                  <a:pt x="8323" y="10307"/>
                </a:cubicBezTo>
                <a:cubicBezTo>
                  <a:pt x="8347" y="10212"/>
                  <a:pt x="8323" y="10128"/>
                  <a:pt x="8228" y="10093"/>
                </a:cubicBezTo>
                <a:lnTo>
                  <a:pt x="6264" y="9283"/>
                </a:lnTo>
                <a:cubicBezTo>
                  <a:pt x="6252" y="9283"/>
                  <a:pt x="6252" y="9259"/>
                  <a:pt x="6252" y="9247"/>
                </a:cubicBezTo>
                <a:cubicBezTo>
                  <a:pt x="6371" y="8938"/>
                  <a:pt x="6430" y="8604"/>
                  <a:pt x="6442" y="8271"/>
                </a:cubicBezTo>
                <a:cubicBezTo>
                  <a:pt x="6442" y="8247"/>
                  <a:pt x="6466" y="8247"/>
                  <a:pt x="6466" y="8247"/>
                </a:cubicBezTo>
                <a:lnTo>
                  <a:pt x="10133" y="8247"/>
                </a:lnTo>
                <a:cubicBezTo>
                  <a:pt x="10312" y="8247"/>
                  <a:pt x="10467" y="8330"/>
                  <a:pt x="10586" y="8449"/>
                </a:cubicBezTo>
                <a:cubicBezTo>
                  <a:pt x="10705" y="8580"/>
                  <a:pt x="10740" y="8747"/>
                  <a:pt x="10728" y="8902"/>
                </a:cubicBezTo>
                <a:cubicBezTo>
                  <a:pt x="10693" y="9366"/>
                  <a:pt x="10586" y="9842"/>
                  <a:pt x="10467" y="10295"/>
                </a:cubicBezTo>
                <a:cubicBezTo>
                  <a:pt x="10419" y="10450"/>
                  <a:pt x="10300" y="10593"/>
                  <a:pt x="10157" y="10664"/>
                </a:cubicBezTo>
                <a:cubicBezTo>
                  <a:pt x="10076" y="10701"/>
                  <a:pt x="9989" y="10719"/>
                  <a:pt x="9900" y="10719"/>
                </a:cubicBezTo>
                <a:cubicBezTo>
                  <a:pt x="9819" y="10719"/>
                  <a:pt x="9736" y="10704"/>
                  <a:pt x="9657" y="10676"/>
                </a:cubicBezTo>
                <a:lnTo>
                  <a:pt x="8919" y="10366"/>
                </a:lnTo>
                <a:cubicBezTo>
                  <a:pt x="8900" y="10357"/>
                  <a:pt x="8879" y="10353"/>
                  <a:pt x="8857" y="10353"/>
                </a:cubicBezTo>
                <a:cubicBezTo>
                  <a:pt x="8796" y="10353"/>
                  <a:pt x="8731" y="10388"/>
                  <a:pt x="8704" y="10450"/>
                </a:cubicBezTo>
                <a:cubicBezTo>
                  <a:pt x="8681" y="10545"/>
                  <a:pt x="8704" y="10628"/>
                  <a:pt x="8800" y="10664"/>
                </a:cubicBezTo>
                <a:lnTo>
                  <a:pt x="9538" y="10974"/>
                </a:lnTo>
                <a:cubicBezTo>
                  <a:pt x="9657" y="11021"/>
                  <a:pt x="9776" y="11045"/>
                  <a:pt x="9895" y="11045"/>
                </a:cubicBezTo>
                <a:cubicBezTo>
                  <a:pt x="10038" y="11045"/>
                  <a:pt x="10169" y="11021"/>
                  <a:pt x="10300" y="10962"/>
                </a:cubicBezTo>
                <a:cubicBezTo>
                  <a:pt x="10538" y="10843"/>
                  <a:pt x="10717" y="10652"/>
                  <a:pt x="10788" y="10390"/>
                </a:cubicBezTo>
                <a:cubicBezTo>
                  <a:pt x="10931" y="9938"/>
                  <a:pt x="11026" y="9438"/>
                  <a:pt x="11074" y="8950"/>
                </a:cubicBezTo>
                <a:cubicBezTo>
                  <a:pt x="11109" y="8700"/>
                  <a:pt x="11014" y="8426"/>
                  <a:pt x="10836" y="8235"/>
                </a:cubicBezTo>
                <a:cubicBezTo>
                  <a:pt x="10776" y="8152"/>
                  <a:pt x="10728" y="8104"/>
                  <a:pt x="10669" y="8057"/>
                </a:cubicBezTo>
                <a:cubicBezTo>
                  <a:pt x="10693" y="8045"/>
                  <a:pt x="10705" y="8045"/>
                  <a:pt x="10705" y="8033"/>
                </a:cubicBezTo>
                <a:lnTo>
                  <a:pt x="10717" y="8021"/>
                </a:lnTo>
                <a:cubicBezTo>
                  <a:pt x="10728" y="8021"/>
                  <a:pt x="10728" y="7997"/>
                  <a:pt x="10752" y="7997"/>
                </a:cubicBezTo>
                <a:lnTo>
                  <a:pt x="10764" y="7985"/>
                </a:lnTo>
                <a:lnTo>
                  <a:pt x="10788" y="7949"/>
                </a:lnTo>
                <a:lnTo>
                  <a:pt x="10812" y="7938"/>
                </a:lnTo>
                <a:cubicBezTo>
                  <a:pt x="10824" y="7926"/>
                  <a:pt x="10836" y="7914"/>
                  <a:pt x="10836" y="7890"/>
                </a:cubicBezTo>
                <a:cubicBezTo>
                  <a:pt x="11014" y="7699"/>
                  <a:pt x="11086" y="7437"/>
                  <a:pt x="11074" y="7176"/>
                </a:cubicBezTo>
                <a:cubicBezTo>
                  <a:pt x="11026" y="6687"/>
                  <a:pt x="10931" y="6211"/>
                  <a:pt x="10788" y="5735"/>
                </a:cubicBezTo>
                <a:cubicBezTo>
                  <a:pt x="10717" y="5485"/>
                  <a:pt x="10538" y="5271"/>
                  <a:pt x="10300" y="5175"/>
                </a:cubicBezTo>
                <a:cubicBezTo>
                  <a:pt x="10228" y="5140"/>
                  <a:pt x="10169" y="5116"/>
                  <a:pt x="10086" y="5092"/>
                </a:cubicBezTo>
                <a:lnTo>
                  <a:pt x="10086" y="5080"/>
                </a:lnTo>
                <a:cubicBezTo>
                  <a:pt x="10086" y="5068"/>
                  <a:pt x="10109" y="5068"/>
                  <a:pt x="10109" y="5056"/>
                </a:cubicBezTo>
                <a:cubicBezTo>
                  <a:pt x="10109" y="5056"/>
                  <a:pt x="10109" y="5032"/>
                  <a:pt x="10121" y="5032"/>
                </a:cubicBezTo>
                <a:cubicBezTo>
                  <a:pt x="10121" y="5020"/>
                  <a:pt x="10133" y="5020"/>
                  <a:pt x="10133" y="5009"/>
                </a:cubicBezTo>
                <a:cubicBezTo>
                  <a:pt x="10133" y="5009"/>
                  <a:pt x="10133" y="4997"/>
                  <a:pt x="10145" y="4997"/>
                </a:cubicBezTo>
                <a:cubicBezTo>
                  <a:pt x="10145" y="4973"/>
                  <a:pt x="10169" y="4973"/>
                  <a:pt x="10169" y="4961"/>
                </a:cubicBezTo>
                <a:lnTo>
                  <a:pt x="10169" y="4949"/>
                </a:lnTo>
                <a:cubicBezTo>
                  <a:pt x="10169" y="4937"/>
                  <a:pt x="10181" y="4913"/>
                  <a:pt x="10181" y="4901"/>
                </a:cubicBezTo>
                <a:cubicBezTo>
                  <a:pt x="10205" y="4818"/>
                  <a:pt x="10228" y="4711"/>
                  <a:pt x="10240" y="4616"/>
                </a:cubicBezTo>
                <a:cubicBezTo>
                  <a:pt x="10240" y="4473"/>
                  <a:pt x="10205" y="4342"/>
                  <a:pt x="10145" y="4199"/>
                </a:cubicBezTo>
                <a:cubicBezTo>
                  <a:pt x="10145" y="4187"/>
                  <a:pt x="10133" y="4175"/>
                  <a:pt x="10133" y="4163"/>
                </a:cubicBezTo>
                <a:cubicBezTo>
                  <a:pt x="10026" y="3961"/>
                  <a:pt x="9907" y="3770"/>
                  <a:pt x="9776" y="3580"/>
                </a:cubicBezTo>
                <a:cubicBezTo>
                  <a:pt x="9633" y="3354"/>
                  <a:pt x="9478" y="3151"/>
                  <a:pt x="9312" y="2937"/>
                </a:cubicBezTo>
                <a:cubicBezTo>
                  <a:pt x="9157" y="2734"/>
                  <a:pt x="8919" y="2615"/>
                  <a:pt x="8645" y="2592"/>
                </a:cubicBezTo>
                <a:cubicBezTo>
                  <a:pt x="8573" y="2592"/>
                  <a:pt x="8502" y="2592"/>
                  <a:pt x="8419" y="2615"/>
                </a:cubicBezTo>
                <a:lnTo>
                  <a:pt x="8419" y="2592"/>
                </a:lnTo>
                <a:lnTo>
                  <a:pt x="8419" y="2568"/>
                </a:lnTo>
                <a:lnTo>
                  <a:pt x="8419" y="2556"/>
                </a:lnTo>
                <a:lnTo>
                  <a:pt x="8419" y="2520"/>
                </a:lnTo>
                <a:lnTo>
                  <a:pt x="8419" y="2508"/>
                </a:lnTo>
                <a:lnTo>
                  <a:pt x="8419" y="2473"/>
                </a:lnTo>
                <a:lnTo>
                  <a:pt x="8419" y="2461"/>
                </a:lnTo>
                <a:lnTo>
                  <a:pt x="8419" y="2401"/>
                </a:lnTo>
                <a:cubicBezTo>
                  <a:pt x="8419" y="2318"/>
                  <a:pt x="8395" y="2223"/>
                  <a:pt x="8359" y="2139"/>
                </a:cubicBezTo>
                <a:cubicBezTo>
                  <a:pt x="8300" y="1972"/>
                  <a:pt x="8216" y="1842"/>
                  <a:pt x="8085" y="1734"/>
                </a:cubicBezTo>
                <a:cubicBezTo>
                  <a:pt x="7883" y="1568"/>
                  <a:pt x="7680" y="1425"/>
                  <a:pt x="7454" y="1270"/>
                </a:cubicBezTo>
                <a:cubicBezTo>
                  <a:pt x="7264" y="1139"/>
                  <a:pt x="7049" y="1020"/>
                  <a:pt x="6859" y="913"/>
                </a:cubicBezTo>
                <a:cubicBezTo>
                  <a:pt x="6723" y="841"/>
                  <a:pt x="6569" y="804"/>
                  <a:pt x="6417" y="804"/>
                </a:cubicBezTo>
                <a:cubicBezTo>
                  <a:pt x="6316" y="804"/>
                  <a:pt x="6215" y="820"/>
                  <a:pt x="6121" y="853"/>
                </a:cubicBezTo>
                <a:cubicBezTo>
                  <a:pt x="6037" y="889"/>
                  <a:pt x="5978" y="913"/>
                  <a:pt x="5918" y="960"/>
                </a:cubicBezTo>
                <a:lnTo>
                  <a:pt x="5918" y="949"/>
                </a:lnTo>
                <a:cubicBezTo>
                  <a:pt x="5918" y="925"/>
                  <a:pt x="5918" y="925"/>
                  <a:pt x="5906" y="913"/>
                </a:cubicBezTo>
                <a:lnTo>
                  <a:pt x="5906" y="901"/>
                </a:lnTo>
                <a:cubicBezTo>
                  <a:pt x="5906" y="889"/>
                  <a:pt x="5906" y="889"/>
                  <a:pt x="5895" y="865"/>
                </a:cubicBezTo>
                <a:lnTo>
                  <a:pt x="5895" y="853"/>
                </a:lnTo>
                <a:cubicBezTo>
                  <a:pt x="5895" y="841"/>
                  <a:pt x="5883" y="829"/>
                  <a:pt x="5883" y="829"/>
                </a:cubicBezTo>
                <a:lnTo>
                  <a:pt x="5883" y="806"/>
                </a:lnTo>
                <a:cubicBezTo>
                  <a:pt x="5883" y="794"/>
                  <a:pt x="5859" y="782"/>
                  <a:pt x="5859" y="770"/>
                </a:cubicBezTo>
                <a:cubicBezTo>
                  <a:pt x="5799" y="627"/>
                  <a:pt x="5704" y="508"/>
                  <a:pt x="5597" y="437"/>
                </a:cubicBezTo>
                <a:cubicBezTo>
                  <a:pt x="5502" y="377"/>
                  <a:pt x="5418" y="318"/>
                  <a:pt x="5299" y="294"/>
                </a:cubicBezTo>
                <a:cubicBezTo>
                  <a:pt x="5061" y="210"/>
                  <a:pt x="4823" y="151"/>
                  <a:pt x="4585" y="115"/>
                </a:cubicBezTo>
                <a:cubicBezTo>
                  <a:pt x="4347" y="67"/>
                  <a:pt x="4097" y="20"/>
                  <a:pt x="3859" y="8"/>
                </a:cubicBezTo>
                <a:cubicBezTo>
                  <a:pt x="3822" y="3"/>
                  <a:pt x="3785" y="1"/>
                  <a:pt x="37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392" name="Google Shape;12392;p62"/>
          <p:cNvGrpSpPr/>
          <p:nvPr/>
        </p:nvGrpSpPr>
        <p:grpSpPr>
          <a:xfrm>
            <a:off x="4882690" y="2425405"/>
            <a:ext cx="274573" cy="350682"/>
            <a:chOff x="4882690" y="2425405"/>
            <a:chExt cx="274573" cy="350682"/>
          </a:xfrm>
        </p:grpSpPr>
        <p:sp>
          <p:nvSpPr>
            <p:cNvPr id="12393" name="Google Shape;12393;p62"/>
            <p:cNvSpPr/>
            <p:nvPr/>
          </p:nvSpPr>
          <p:spPr>
            <a:xfrm>
              <a:off x="4882690" y="2425405"/>
              <a:ext cx="92075" cy="350682"/>
            </a:xfrm>
            <a:custGeom>
              <a:avLst/>
              <a:gdLst/>
              <a:ahLst/>
              <a:cxnLst/>
              <a:rect l="l" t="t" r="r" b="b"/>
              <a:pathLst>
                <a:path w="2895" h="11026" extrusionOk="0">
                  <a:moveTo>
                    <a:pt x="2573" y="322"/>
                  </a:moveTo>
                  <a:cubicBezTo>
                    <a:pt x="2370" y="1441"/>
                    <a:pt x="2061" y="3167"/>
                    <a:pt x="1965" y="3751"/>
                  </a:cubicBezTo>
                  <a:cubicBezTo>
                    <a:pt x="1942" y="3846"/>
                    <a:pt x="1930" y="3905"/>
                    <a:pt x="1930" y="3929"/>
                  </a:cubicBezTo>
                  <a:cubicBezTo>
                    <a:pt x="1882" y="4179"/>
                    <a:pt x="1894" y="4525"/>
                    <a:pt x="1930" y="4906"/>
                  </a:cubicBezTo>
                  <a:cubicBezTo>
                    <a:pt x="1709" y="4950"/>
                    <a:pt x="1486" y="4966"/>
                    <a:pt x="1277" y="4966"/>
                  </a:cubicBezTo>
                  <a:cubicBezTo>
                    <a:pt x="980" y="4966"/>
                    <a:pt x="714" y="4933"/>
                    <a:pt x="525" y="4906"/>
                  </a:cubicBezTo>
                  <a:cubicBezTo>
                    <a:pt x="846" y="3036"/>
                    <a:pt x="692" y="1750"/>
                    <a:pt x="572" y="798"/>
                  </a:cubicBezTo>
                  <a:cubicBezTo>
                    <a:pt x="561" y="631"/>
                    <a:pt x="525" y="476"/>
                    <a:pt x="513" y="322"/>
                  </a:cubicBezTo>
                  <a:close/>
                  <a:moveTo>
                    <a:pt x="477" y="5215"/>
                  </a:moveTo>
                  <a:cubicBezTo>
                    <a:pt x="680" y="5251"/>
                    <a:pt x="965" y="5298"/>
                    <a:pt x="1287" y="5298"/>
                  </a:cubicBezTo>
                  <a:cubicBezTo>
                    <a:pt x="1501" y="5298"/>
                    <a:pt x="1739" y="5275"/>
                    <a:pt x="1965" y="5239"/>
                  </a:cubicBezTo>
                  <a:cubicBezTo>
                    <a:pt x="1965" y="5275"/>
                    <a:pt x="1977" y="5322"/>
                    <a:pt x="1977" y="5370"/>
                  </a:cubicBezTo>
                  <a:lnTo>
                    <a:pt x="1977" y="5429"/>
                  </a:lnTo>
                  <a:cubicBezTo>
                    <a:pt x="1823" y="5656"/>
                    <a:pt x="1573" y="6001"/>
                    <a:pt x="1215" y="6334"/>
                  </a:cubicBezTo>
                  <a:cubicBezTo>
                    <a:pt x="1084" y="6215"/>
                    <a:pt x="965" y="6084"/>
                    <a:pt x="858" y="5965"/>
                  </a:cubicBezTo>
                  <a:cubicBezTo>
                    <a:pt x="680" y="5739"/>
                    <a:pt x="549" y="5537"/>
                    <a:pt x="453" y="5370"/>
                  </a:cubicBezTo>
                  <a:cubicBezTo>
                    <a:pt x="453" y="5322"/>
                    <a:pt x="453" y="5263"/>
                    <a:pt x="477" y="5215"/>
                  </a:cubicBezTo>
                  <a:close/>
                  <a:moveTo>
                    <a:pt x="2001" y="5929"/>
                  </a:moveTo>
                  <a:cubicBezTo>
                    <a:pt x="2037" y="6263"/>
                    <a:pt x="2061" y="6572"/>
                    <a:pt x="2061" y="6858"/>
                  </a:cubicBezTo>
                  <a:lnTo>
                    <a:pt x="2061" y="6870"/>
                  </a:lnTo>
                  <a:cubicBezTo>
                    <a:pt x="1846" y="6787"/>
                    <a:pt x="1644" y="6680"/>
                    <a:pt x="1465" y="6549"/>
                  </a:cubicBezTo>
                  <a:cubicBezTo>
                    <a:pt x="1573" y="6441"/>
                    <a:pt x="1680" y="6334"/>
                    <a:pt x="1763" y="6227"/>
                  </a:cubicBezTo>
                  <a:cubicBezTo>
                    <a:pt x="1858" y="6132"/>
                    <a:pt x="1942" y="6025"/>
                    <a:pt x="2001" y="5929"/>
                  </a:cubicBezTo>
                  <a:close/>
                  <a:moveTo>
                    <a:pt x="430" y="5965"/>
                  </a:moveTo>
                  <a:cubicBezTo>
                    <a:pt x="561" y="6156"/>
                    <a:pt x="739" y="6370"/>
                    <a:pt x="965" y="6572"/>
                  </a:cubicBezTo>
                  <a:cubicBezTo>
                    <a:pt x="799" y="6703"/>
                    <a:pt x="620" y="6811"/>
                    <a:pt x="430" y="6918"/>
                  </a:cubicBezTo>
                  <a:lnTo>
                    <a:pt x="430" y="6870"/>
                  </a:lnTo>
                  <a:lnTo>
                    <a:pt x="430" y="6668"/>
                  </a:lnTo>
                  <a:lnTo>
                    <a:pt x="430" y="6334"/>
                  </a:lnTo>
                  <a:lnTo>
                    <a:pt x="430" y="5965"/>
                  </a:lnTo>
                  <a:close/>
                  <a:moveTo>
                    <a:pt x="1215" y="6763"/>
                  </a:moveTo>
                  <a:cubicBezTo>
                    <a:pt x="1454" y="6965"/>
                    <a:pt x="1739" y="7108"/>
                    <a:pt x="2061" y="7215"/>
                  </a:cubicBezTo>
                  <a:cubicBezTo>
                    <a:pt x="2061" y="7656"/>
                    <a:pt x="2037" y="8061"/>
                    <a:pt x="1942" y="8346"/>
                  </a:cubicBezTo>
                  <a:cubicBezTo>
                    <a:pt x="1823" y="8716"/>
                    <a:pt x="1620" y="8870"/>
                    <a:pt x="1251" y="8870"/>
                  </a:cubicBezTo>
                  <a:cubicBezTo>
                    <a:pt x="870" y="8870"/>
                    <a:pt x="656" y="8704"/>
                    <a:pt x="549" y="8346"/>
                  </a:cubicBezTo>
                  <a:cubicBezTo>
                    <a:pt x="453" y="8061"/>
                    <a:pt x="441" y="7680"/>
                    <a:pt x="430" y="7239"/>
                  </a:cubicBezTo>
                  <a:cubicBezTo>
                    <a:pt x="692" y="7120"/>
                    <a:pt x="965" y="6977"/>
                    <a:pt x="1215" y="6763"/>
                  </a:cubicBezTo>
                  <a:close/>
                  <a:moveTo>
                    <a:pt x="2346" y="7525"/>
                  </a:moveTo>
                  <a:cubicBezTo>
                    <a:pt x="2346" y="7727"/>
                    <a:pt x="2358" y="7954"/>
                    <a:pt x="2358" y="8192"/>
                  </a:cubicBezTo>
                  <a:cubicBezTo>
                    <a:pt x="2358" y="8954"/>
                    <a:pt x="2251" y="10704"/>
                    <a:pt x="1323" y="10704"/>
                  </a:cubicBezTo>
                  <a:cubicBezTo>
                    <a:pt x="668" y="10704"/>
                    <a:pt x="370" y="9739"/>
                    <a:pt x="287" y="8680"/>
                  </a:cubicBezTo>
                  <a:lnTo>
                    <a:pt x="287" y="8680"/>
                  </a:lnTo>
                  <a:cubicBezTo>
                    <a:pt x="311" y="8704"/>
                    <a:pt x="311" y="8716"/>
                    <a:pt x="322" y="8739"/>
                  </a:cubicBezTo>
                  <a:lnTo>
                    <a:pt x="322" y="8763"/>
                  </a:lnTo>
                  <a:cubicBezTo>
                    <a:pt x="334" y="8775"/>
                    <a:pt x="334" y="8787"/>
                    <a:pt x="346" y="8799"/>
                  </a:cubicBezTo>
                  <a:cubicBezTo>
                    <a:pt x="370" y="8823"/>
                    <a:pt x="382" y="8835"/>
                    <a:pt x="382" y="8846"/>
                  </a:cubicBezTo>
                  <a:lnTo>
                    <a:pt x="394" y="8858"/>
                  </a:lnTo>
                  <a:lnTo>
                    <a:pt x="441" y="8906"/>
                  </a:lnTo>
                  <a:lnTo>
                    <a:pt x="489" y="8954"/>
                  </a:lnTo>
                  <a:cubicBezTo>
                    <a:pt x="501" y="8966"/>
                    <a:pt x="513" y="8977"/>
                    <a:pt x="525" y="8977"/>
                  </a:cubicBezTo>
                  <a:lnTo>
                    <a:pt x="549" y="8977"/>
                  </a:lnTo>
                  <a:cubicBezTo>
                    <a:pt x="561" y="9001"/>
                    <a:pt x="572" y="9013"/>
                    <a:pt x="584" y="9013"/>
                  </a:cubicBezTo>
                  <a:cubicBezTo>
                    <a:pt x="608" y="9025"/>
                    <a:pt x="620" y="9025"/>
                    <a:pt x="632" y="9037"/>
                  </a:cubicBezTo>
                  <a:cubicBezTo>
                    <a:pt x="644" y="9061"/>
                    <a:pt x="668" y="9061"/>
                    <a:pt x="680" y="9073"/>
                  </a:cubicBezTo>
                  <a:lnTo>
                    <a:pt x="692" y="9073"/>
                  </a:lnTo>
                  <a:cubicBezTo>
                    <a:pt x="703" y="9085"/>
                    <a:pt x="727" y="9085"/>
                    <a:pt x="751" y="9096"/>
                  </a:cubicBezTo>
                  <a:cubicBezTo>
                    <a:pt x="763" y="9096"/>
                    <a:pt x="787" y="9120"/>
                    <a:pt x="811" y="9120"/>
                  </a:cubicBezTo>
                  <a:lnTo>
                    <a:pt x="822" y="9120"/>
                  </a:lnTo>
                  <a:cubicBezTo>
                    <a:pt x="846" y="9120"/>
                    <a:pt x="870" y="9132"/>
                    <a:pt x="882" y="9132"/>
                  </a:cubicBezTo>
                  <a:lnTo>
                    <a:pt x="906" y="9132"/>
                  </a:lnTo>
                  <a:cubicBezTo>
                    <a:pt x="918" y="9132"/>
                    <a:pt x="942" y="9144"/>
                    <a:pt x="965" y="9144"/>
                  </a:cubicBezTo>
                  <a:cubicBezTo>
                    <a:pt x="977" y="9144"/>
                    <a:pt x="1001" y="9144"/>
                    <a:pt x="1025" y="9156"/>
                  </a:cubicBezTo>
                  <a:lnTo>
                    <a:pt x="1334" y="9156"/>
                  </a:lnTo>
                  <a:cubicBezTo>
                    <a:pt x="1345" y="9156"/>
                    <a:pt x="1356" y="9156"/>
                    <a:pt x="1366" y="9156"/>
                  </a:cubicBezTo>
                  <a:cubicBezTo>
                    <a:pt x="1836" y="9156"/>
                    <a:pt x="2123" y="8896"/>
                    <a:pt x="2263" y="8454"/>
                  </a:cubicBezTo>
                  <a:cubicBezTo>
                    <a:pt x="2275" y="8418"/>
                    <a:pt x="2275" y="8406"/>
                    <a:pt x="2275" y="8370"/>
                  </a:cubicBezTo>
                  <a:lnTo>
                    <a:pt x="2275" y="8358"/>
                  </a:lnTo>
                  <a:cubicBezTo>
                    <a:pt x="2275" y="8335"/>
                    <a:pt x="2287" y="8311"/>
                    <a:pt x="2287" y="8287"/>
                  </a:cubicBezTo>
                  <a:lnTo>
                    <a:pt x="2287" y="8263"/>
                  </a:lnTo>
                  <a:cubicBezTo>
                    <a:pt x="2287" y="8239"/>
                    <a:pt x="2299" y="8227"/>
                    <a:pt x="2299" y="8192"/>
                  </a:cubicBezTo>
                  <a:lnTo>
                    <a:pt x="2299" y="8180"/>
                  </a:lnTo>
                  <a:cubicBezTo>
                    <a:pt x="2299" y="8144"/>
                    <a:pt x="2311" y="8132"/>
                    <a:pt x="2311" y="8108"/>
                  </a:cubicBezTo>
                  <a:lnTo>
                    <a:pt x="2311" y="8084"/>
                  </a:lnTo>
                  <a:cubicBezTo>
                    <a:pt x="2311" y="8061"/>
                    <a:pt x="2311" y="8049"/>
                    <a:pt x="2335" y="8013"/>
                  </a:cubicBezTo>
                  <a:lnTo>
                    <a:pt x="2335" y="8001"/>
                  </a:lnTo>
                  <a:cubicBezTo>
                    <a:pt x="2335" y="7965"/>
                    <a:pt x="2335" y="7954"/>
                    <a:pt x="2346" y="7930"/>
                  </a:cubicBezTo>
                  <a:lnTo>
                    <a:pt x="2346" y="7906"/>
                  </a:lnTo>
                  <a:lnTo>
                    <a:pt x="2346" y="7834"/>
                  </a:lnTo>
                  <a:lnTo>
                    <a:pt x="2346" y="7811"/>
                  </a:lnTo>
                  <a:lnTo>
                    <a:pt x="2346" y="7715"/>
                  </a:lnTo>
                  <a:lnTo>
                    <a:pt x="2346" y="7703"/>
                  </a:lnTo>
                  <a:lnTo>
                    <a:pt x="2346" y="7632"/>
                  </a:lnTo>
                  <a:lnTo>
                    <a:pt x="2346" y="7596"/>
                  </a:lnTo>
                  <a:lnTo>
                    <a:pt x="2346" y="7525"/>
                  </a:lnTo>
                  <a:close/>
                  <a:moveTo>
                    <a:pt x="334" y="0"/>
                  </a:moveTo>
                  <a:cubicBezTo>
                    <a:pt x="299" y="0"/>
                    <a:pt x="251" y="12"/>
                    <a:pt x="215" y="36"/>
                  </a:cubicBezTo>
                  <a:cubicBezTo>
                    <a:pt x="191" y="72"/>
                    <a:pt x="180" y="119"/>
                    <a:pt x="180" y="155"/>
                  </a:cubicBezTo>
                  <a:cubicBezTo>
                    <a:pt x="191" y="369"/>
                    <a:pt x="215" y="595"/>
                    <a:pt x="251" y="834"/>
                  </a:cubicBezTo>
                  <a:cubicBezTo>
                    <a:pt x="370" y="1798"/>
                    <a:pt x="513" y="3120"/>
                    <a:pt x="156" y="5084"/>
                  </a:cubicBezTo>
                  <a:cubicBezTo>
                    <a:pt x="120" y="5358"/>
                    <a:pt x="96" y="5834"/>
                    <a:pt x="96" y="6310"/>
                  </a:cubicBezTo>
                  <a:cubicBezTo>
                    <a:pt x="25" y="6787"/>
                    <a:pt x="1" y="7394"/>
                    <a:pt x="1" y="8180"/>
                  </a:cubicBezTo>
                  <a:cubicBezTo>
                    <a:pt x="1" y="8966"/>
                    <a:pt x="96" y="9656"/>
                    <a:pt x="299" y="10132"/>
                  </a:cubicBezTo>
                  <a:cubicBezTo>
                    <a:pt x="596" y="10859"/>
                    <a:pt x="1037" y="11025"/>
                    <a:pt x="1346" y="11025"/>
                  </a:cubicBezTo>
                  <a:cubicBezTo>
                    <a:pt x="2227" y="11025"/>
                    <a:pt x="2716" y="10013"/>
                    <a:pt x="2716" y="8180"/>
                  </a:cubicBezTo>
                  <a:cubicBezTo>
                    <a:pt x="2716" y="6632"/>
                    <a:pt x="2585" y="5727"/>
                    <a:pt x="2275" y="5275"/>
                  </a:cubicBezTo>
                  <a:cubicBezTo>
                    <a:pt x="2227" y="4775"/>
                    <a:pt x="2180" y="4263"/>
                    <a:pt x="2239" y="3965"/>
                  </a:cubicBezTo>
                  <a:cubicBezTo>
                    <a:pt x="2239" y="3965"/>
                    <a:pt x="2263" y="3905"/>
                    <a:pt x="2275" y="3810"/>
                  </a:cubicBezTo>
                  <a:cubicBezTo>
                    <a:pt x="2394" y="3179"/>
                    <a:pt x="2739" y="1286"/>
                    <a:pt x="2894" y="191"/>
                  </a:cubicBezTo>
                  <a:cubicBezTo>
                    <a:pt x="2894" y="143"/>
                    <a:pt x="2894" y="95"/>
                    <a:pt x="2870" y="60"/>
                  </a:cubicBezTo>
                  <a:cubicBezTo>
                    <a:pt x="2835" y="24"/>
                    <a:pt x="2799"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4" name="Google Shape;12394;p62"/>
            <p:cNvSpPr/>
            <p:nvPr/>
          </p:nvSpPr>
          <p:spPr>
            <a:xfrm>
              <a:off x="4966782" y="2429254"/>
              <a:ext cx="190480" cy="250655"/>
            </a:xfrm>
            <a:custGeom>
              <a:avLst/>
              <a:gdLst/>
              <a:ahLst/>
              <a:cxnLst/>
              <a:rect l="l" t="t" r="r" b="b"/>
              <a:pathLst>
                <a:path w="5989" h="7881" extrusionOk="0">
                  <a:moveTo>
                    <a:pt x="2000" y="2880"/>
                  </a:moveTo>
                  <a:cubicBezTo>
                    <a:pt x="2143" y="3022"/>
                    <a:pt x="2298" y="3106"/>
                    <a:pt x="2429" y="3153"/>
                  </a:cubicBezTo>
                  <a:lnTo>
                    <a:pt x="2429" y="3165"/>
                  </a:lnTo>
                  <a:lnTo>
                    <a:pt x="2429" y="3249"/>
                  </a:lnTo>
                  <a:lnTo>
                    <a:pt x="2429" y="3344"/>
                  </a:lnTo>
                  <a:lnTo>
                    <a:pt x="2429" y="3356"/>
                  </a:lnTo>
                  <a:lnTo>
                    <a:pt x="2429" y="3534"/>
                  </a:lnTo>
                  <a:lnTo>
                    <a:pt x="2429" y="3546"/>
                  </a:lnTo>
                  <a:lnTo>
                    <a:pt x="2429" y="3725"/>
                  </a:lnTo>
                  <a:lnTo>
                    <a:pt x="2429" y="3749"/>
                  </a:lnTo>
                  <a:cubicBezTo>
                    <a:pt x="2429" y="3808"/>
                    <a:pt x="2429" y="3868"/>
                    <a:pt x="2441" y="3927"/>
                  </a:cubicBezTo>
                  <a:lnTo>
                    <a:pt x="2441" y="3939"/>
                  </a:lnTo>
                  <a:cubicBezTo>
                    <a:pt x="2441" y="3999"/>
                    <a:pt x="2453" y="4058"/>
                    <a:pt x="2453" y="4118"/>
                  </a:cubicBezTo>
                  <a:lnTo>
                    <a:pt x="2453" y="4130"/>
                  </a:lnTo>
                  <a:cubicBezTo>
                    <a:pt x="2453" y="4177"/>
                    <a:pt x="2453" y="4201"/>
                    <a:pt x="2465" y="4237"/>
                  </a:cubicBezTo>
                  <a:cubicBezTo>
                    <a:pt x="2310" y="4463"/>
                    <a:pt x="2036" y="4761"/>
                    <a:pt x="1631" y="4915"/>
                  </a:cubicBezTo>
                  <a:cubicBezTo>
                    <a:pt x="1584" y="4856"/>
                    <a:pt x="1441" y="4677"/>
                    <a:pt x="1215" y="4380"/>
                  </a:cubicBezTo>
                  <a:cubicBezTo>
                    <a:pt x="1548" y="3963"/>
                    <a:pt x="1834" y="3296"/>
                    <a:pt x="2000" y="2880"/>
                  </a:cubicBezTo>
                  <a:close/>
                  <a:moveTo>
                    <a:pt x="2524" y="4713"/>
                  </a:moveTo>
                  <a:cubicBezTo>
                    <a:pt x="2524" y="4761"/>
                    <a:pt x="2548" y="4796"/>
                    <a:pt x="2548" y="4832"/>
                  </a:cubicBezTo>
                  <a:cubicBezTo>
                    <a:pt x="2560" y="4892"/>
                    <a:pt x="2560" y="4939"/>
                    <a:pt x="2572" y="4975"/>
                  </a:cubicBezTo>
                  <a:cubicBezTo>
                    <a:pt x="2584" y="5023"/>
                    <a:pt x="2584" y="5082"/>
                    <a:pt x="2608" y="5130"/>
                  </a:cubicBezTo>
                  <a:cubicBezTo>
                    <a:pt x="2608" y="5154"/>
                    <a:pt x="2620" y="5177"/>
                    <a:pt x="2620" y="5201"/>
                  </a:cubicBezTo>
                  <a:cubicBezTo>
                    <a:pt x="2620" y="5237"/>
                    <a:pt x="2631" y="5249"/>
                    <a:pt x="2631" y="5273"/>
                  </a:cubicBezTo>
                  <a:cubicBezTo>
                    <a:pt x="2631" y="5308"/>
                    <a:pt x="2643" y="5320"/>
                    <a:pt x="2643" y="5356"/>
                  </a:cubicBezTo>
                  <a:cubicBezTo>
                    <a:pt x="2643" y="5368"/>
                    <a:pt x="2667" y="5392"/>
                    <a:pt x="2667" y="5416"/>
                  </a:cubicBezTo>
                  <a:cubicBezTo>
                    <a:pt x="2667" y="5427"/>
                    <a:pt x="2679" y="5451"/>
                    <a:pt x="2679" y="5475"/>
                  </a:cubicBezTo>
                  <a:cubicBezTo>
                    <a:pt x="2679" y="5487"/>
                    <a:pt x="2691" y="5511"/>
                    <a:pt x="2691" y="5535"/>
                  </a:cubicBezTo>
                  <a:cubicBezTo>
                    <a:pt x="2691" y="5547"/>
                    <a:pt x="2703" y="5570"/>
                    <a:pt x="2703" y="5582"/>
                  </a:cubicBezTo>
                  <a:cubicBezTo>
                    <a:pt x="2703" y="5606"/>
                    <a:pt x="2727" y="5618"/>
                    <a:pt x="2727" y="5630"/>
                  </a:cubicBezTo>
                  <a:cubicBezTo>
                    <a:pt x="2727" y="5654"/>
                    <a:pt x="2739" y="5666"/>
                    <a:pt x="2739" y="5677"/>
                  </a:cubicBezTo>
                  <a:lnTo>
                    <a:pt x="2739" y="5689"/>
                  </a:lnTo>
                  <a:cubicBezTo>
                    <a:pt x="2739" y="5713"/>
                    <a:pt x="2739" y="5725"/>
                    <a:pt x="2750" y="5737"/>
                  </a:cubicBezTo>
                  <a:cubicBezTo>
                    <a:pt x="2381" y="5558"/>
                    <a:pt x="2096" y="5356"/>
                    <a:pt x="1893" y="5189"/>
                  </a:cubicBezTo>
                  <a:cubicBezTo>
                    <a:pt x="2155" y="5070"/>
                    <a:pt x="2369" y="4892"/>
                    <a:pt x="2524" y="4713"/>
                  </a:cubicBezTo>
                  <a:close/>
                  <a:moveTo>
                    <a:pt x="3763" y="2927"/>
                  </a:moveTo>
                  <a:cubicBezTo>
                    <a:pt x="3798" y="2927"/>
                    <a:pt x="3822" y="2939"/>
                    <a:pt x="3846" y="2951"/>
                  </a:cubicBezTo>
                  <a:cubicBezTo>
                    <a:pt x="3858" y="2963"/>
                    <a:pt x="3870" y="2987"/>
                    <a:pt x="3870" y="3022"/>
                  </a:cubicBezTo>
                  <a:cubicBezTo>
                    <a:pt x="3810" y="3582"/>
                    <a:pt x="3905" y="4392"/>
                    <a:pt x="4334" y="5035"/>
                  </a:cubicBezTo>
                  <a:cubicBezTo>
                    <a:pt x="4655" y="5547"/>
                    <a:pt x="5060" y="5999"/>
                    <a:pt x="5370" y="6380"/>
                  </a:cubicBezTo>
                  <a:cubicBezTo>
                    <a:pt x="5513" y="6523"/>
                    <a:pt x="5632" y="6654"/>
                    <a:pt x="5715" y="6773"/>
                  </a:cubicBezTo>
                  <a:cubicBezTo>
                    <a:pt x="5632" y="7035"/>
                    <a:pt x="5644" y="7142"/>
                    <a:pt x="5632" y="7237"/>
                  </a:cubicBezTo>
                  <a:cubicBezTo>
                    <a:pt x="5608" y="7344"/>
                    <a:pt x="5548" y="7440"/>
                    <a:pt x="5465" y="7499"/>
                  </a:cubicBezTo>
                  <a:cubicBezTo>
                    <a:pt x="5410" y="7532"/>
                    <a:pt x="5342" y="7550"/>
                    <a:pt x="5273" y="7550"/>
                  </a:cubicBezTo>
                  <a:cubicBezTo>
                    <a:pt x="5193" y="7550"/>
                    <a:pt x="5112" y="7526"/>
                    <a:pt x="5048" y="7475"/>
                  </a:cubicBezTo>
                  <a:lnTo>
                    <a:pt x="3191" y="6130"/>
                  </a:lnTo>
                  <a:lnTo>
                    <a:pt x="3143" y="6082"/>
                  </a:lnTo>
                  <a:lnTo>
                    <a:pt x="3143" y="6058"/>
                  </a:lnTo>
                  <a:lnTo>
                    <a:pt x="3143" y="6047"/>
                  </a:lnTo>
                  <a:cubicBezTo>
                    <a:pt x="3108" y="5928"/>
                    <a:pt x="3048" y="5737"/>
                    <a:pt x="2989" y="5451"/>
                  </a:cubicBezTo>
                  <a:cubicBezTo>
                    <a:pt x="2989" y="5439"/>
                    <a:pt x="2989" y="5427"/>
                    <a:pt x="2977" y="5404"/>
                  </a:cubicBezTo>
                  <a:cubicBezTo>
                    <a:pt x="2977" y="5392"/>
                    <a:pt x="2977" y="5380"/>
                    <a:pt x="2965" y="5368"/>
                  </a:cubicBezTo>
                  <a:cubicBezTo>
                    <a:pt x="2965" y="5344"/>
                    <a:pt x="2965" y="5332"/>
                    <a:pt x="2953" y="5320"/>
                  </a:cubicBezTo>
                  <a:cubicBezTo>
                    <a:pt x="2953" y="5308"/>
                    <a:pt x="2953" y="5285"/>
                    <a:pt x="2929" y="5273"/>
                  </a:cubicBezTo>
                  <a:cubicBezTo>
                    <a:pt x="2929" y="5261"/>
                    <a:pt x="2929" y="5249"/>
                    <a:pt x="2917" y="5225"/>
                  </a:cubicBezTo>
                  <a:cubicBezTo>
                    <a:pt x="2917" y="5213"/>
                    <a:pt x="2917" y="5201"/>
                    <a:pt x="2905" y="5189"/>
                  </a:cubicBezTo>
                  <a:lnTo>
                    <a:pt x="2905" y="5142"/>
                  </a:lnTo>
                  <a:lnTo>
                    <a:pt x="2905" y="5130"/>
                  </a:lnTo>
                  <a:lnTo>
                    <a:pt x="2905" y="5082"/>
                  </a:lnTo>
                  <a:lnTo>
                    <a:pt x="2905" y="5035"/>
                  </a:lnTo>
                  <a:lnTo>
                    <a:pt x="2905" y="4987"/>
                  </a:lnTo>
                  <a:lnTo>
                    <a:pt x="2905" y="4975"/>
                  </a:lnTo>
                  <a:lnTo>
                    <a:pt x="2905" y="4927"/>
                  </a:lnTo>
                  <a:lnTo>
                    <a:pt x="2905" y="4915"/>
                  </a:lnTo>
                  <a:lnTo>
                    <a:pt x="2905" y="4868"/>
                  </a:lnTo>
                  <a:lnTo>
                    <a:pt x="2905" y="4856"/>
                  </a:lnTo>
                  <a:lnTo>
                    <a:pt x="2905" y="4808"/>
                  </a:lnTo>
                  <a:lnTo>
                    <a:pt x="2905" y="4796"/>
                  </a:lnTo>
                  <a:lnTo>
                    <a:pt x="2905" y="4749"/>
                  </a:lnTo>
                  <a:lnTo>
                    <a:pt x="2905" y="4737"/>
                  </a:lnTo>
                  <a:lnTo>
                    <a:pt x="2905" y="4689"/>
                  </a:lnTo>
                  <a:lnTo>
                    <a:pt x="2905" y="4677"/>
                  </a:lnTo>
                  <a:lnTo>
                    <a:pt x="2905" y="4630"/>
                  </a:lnTo>
                  <a:lnTo>
                    <a:pt x="2905" y="4618"/>
                  </a:lnTo>
                  <a:lnTo>
                    <a:pt x="2905" y="4570"/>
                  </a:lnTo>
                  <a:lnTo>
                    <a:pt x="2905" y="4558"/>
                  </a:lnTo>
                  <a:lnTo>
                    <a:pt x="2905" y="4511"/>
                  </a:lnTo>
                  <a:lnTo>
                    <a:pt x="2905" y="4499"/>
                  </a:lnTo>
                  <a:lnTo>
                    <a:pt x="2905" y="4451"/>
                  </a:lnTo>
                  <a:lnTo>
                    <a:pt x="2905" y="4439"/>
                  </a:lnTo>
                  <a:lnTo>
                    <a:pt x="2905" y="4392"/>
                  </a:lnTo>
                  <a:lnTo>
                    <a:pt x="2905" y="4380"/>
                  </a:lnTo>
                  <a:lnTo>
                    <a:pt x="2905" y="4332"/>
                  </a:lnTo>
                  <a:lnTo>
                    <a:pt x="2905" y="4320"/>
                  </a:lnTo>
                  <a:lnTo>
                    <a:pt x="2905" y="4273"/>
                  </a:lnTo>
                  <a:lnTo>
                    <a:pt x="2905" y="4261"/>
                  </a:lnTo>
                  <a:lnTo>
                    <a:pt x="2905" y="4213"/>
                  </a:lnTo>
                  <a:lnTo>
                    <a:pt x="2905" y="4201"/>
                  </a:lnTo>
                  <a:lnTo>
                    <a:pt x="2905" y="4153"/>
                  </a:lnTo>
                  <a:lnTo>
                    <a:pt x="2905" y="4142"/>
                  </a:lnTo>
                  <a:lnTo>
                    <a:pt x="2905" y="4094"/>
                  </a:lnTo>
                  <a:lnTo>
                    <a:pt x="2905" y="4082"/>
                  </a:lnTo>
                  <a:lnTo>
                    <a:pt x="2905" y="4034"/>
                  </a:lnTo>
                  <a:lnTo>
                    <a:pt x="2905" y="4023"/>
                  </a:lnTo>
                  <a:lnTo>
                    <a:pt x="2905" y="3975"/>
                  </a:lnTo>
                  <a:lnTo>
                    <a:pt x="2905" y="3963"/>
                  </a:lnTo>
                  <a:lnTo>
                    <a:pt x="2905" y="3915"/>
                  </a:lnTo>
                  <a:lnTo>
                    <a:pt x="2905" y="3903"/>
                  </a:lnTo>
                  <a:lnTo>
                    <a:pt x="2905" y="3856"/>
                  </a:lnTo>
                  <a:lnTo>
                    <a:pt x="2905" y="3844"/>
                  </a:lnTo>
                  <a:lnTo>
                    <a:pt x="2905" y="3796"/>
                  </a:lnTo>
                  <a:lnTo>
                    <a:pt x="2905" y="3784"/>
                  </a:lnTo>
                  <a:lnTo>
                    <a:pt x="2905" y="3737"/>
                  </a:lnTo>
                  <a:lnTo>
                    <a:pt x="2905" y="3725"/>
                  </a:lnTo>
                  <a:lnTo>
                    <a:pt x="2905" y="3677"/>
                  </a:lnTo>
                  <a:lnTo>
                    <a:pt x="2905" y="3665"/>
                  </a:lnTo>
                  <a:lnTo>
                    <a:pt x="2905" y="3618"/>
                  </a:lnTo>
                  <a:lnTo>
                    <a:pt x="2905" y="3606"/>
                  </a:lnTo>
                  <a:lnTo>
                    <a:pt x="2905" y="3558"/>
                  </a:lnTo>
                  <a:lnTo>
                    <a:pt x="2905" y="3546"/>
                  </a:lnTo>
                  <a:lnTo>
                    <a:pt x="2905" y="3499"/>
                  </a:lnTo>
                  <a:lnTo>
                    <a:pt x="2905" y="3475"/>
                  </a:lnTo>
                  <a:lnTo>
                    <a:pt x="2905" y="3427"/>
                  </a:lnTo>
                  <a:lnTo>
                    <a:pt x="2905" y="3403"/>
                  </a:lnTo>
                  <a:lnTo>
                    <a:pt x="2905" y="3356"/>
                  </a:lnTo>
                  <a:lnTo>
                    <a:pt x="2905" y="3320"/>
                  </a:lnTo>
                  <a:lnTo>
                    <a:pt x="2905" y="3284"/>
                  </a:lnTo>
                  <a:lnTo>
                    <a:pt x="2905" y="3249"/>
                  </a:lnTo>
                  <a:lnTo>
                    <a:pt x="2905" y="3201"/>
                  </a:lnTo>
                  <a:lnTo>
                    <a:pt x="2905" y="3177"/>
                  </a:lnTo>
                  <a:lnTo>
                    <a:pt x="2905" y="3130"/>
                  </a:lnTo>
                  <a:lnTo>
                    <a:pt x="2905" y="3106"/>
                  </a:lnTo>
                  <a:lnTo>
                    <a:pt x="2905" y="3070"/>
                  </a:lnTo>
                  <a:lnTo>
                    <a:pt x="2905" y="3046"/>
                  </a:lnTo>
                  <a:lnTo>
                    <a:pt x="2905" y="3010"/>
                  </a:lnTo>
                  <a:lnTo>
                    <a:pt x="2905" y="2987"/>
                  </a:lnTo>
                  <a:lnTo>
                    <a:pt x="2905" y="2951"/>
                  </a:lnTo>
                  <a:lnTo>
                    <a:pt x="2905" y="2939"/>
                  </a:lnTo>
                  <a:lnTo>
                    <a:pt x="3763" y="2927"/>
                  </a:lnTo>
                  <a:close/>
                  <a:moveTo>
                    <a:pt x="740" y="0"/>
                  </a:moveTo>
                  <a:cubicBezTo>
                    <a:pt x="714" y="0"/>
                    <a:pt x="685" y="7"/>
                    <a:pt x="655" y="22"/>
                  </a:cubicBezTo>
                  <a:cubicBezTo>
                    <a:pt x="584" y="70"/>
                    <a:pt x="548" y="153"/>
                    <a:pt x="595" y="248"/>
                  </a:cubicBezTo>
                  <a:lnTo>
                    <a:pt x="643" y="320"/>
                  </a:lnTo>
                  <a:cubicBezTo>
                    <a:pt x="1167" y="1284"/>
                    <a:pt x="1488" y="1963"/>
                    <a:pt x="1596" y="2225"/>
                  </a:cubicBezTo>
                  <a:cubicBezTo>
                    <a:pt x="1655" y="2356"/>
                    <a:pt x="1703" y="2475"/>
                    <a:pt x="1774" y="2582"/>
                  </a:cubicBezTo>
                  <a:cubicBezTo>
                    <a:pt x="1715" y="2737"/>
                    <a:pt x="1619" y="2951"/>
                    <a:pt x="1524" y="3213"/>
                  </a:cubicBezTo>
                  <a:cubicBezTo>
                    <a:pt x="1357" y="3594"/>
                    <a:pt x="1179" y="3903"/>
                    <a:pt x="1024" y="4118"/>
                  </a:cubicBezTo>
                  <a:cubicBezTo>
                    <a:pt x="834" y="3868"/>
                    <a:pt x="595" y="3546"/>
                    <a:pt x="310" y="3165"/>
                  </a:cubicBezTo>
                  <a:cubicBezTo>
                    <a:pt x="273" y="3122"/>
                    <a:pt x="228" y="3096"/>
                    <a:pt x="182" y="3096"/>
                  </a:cubicBezTo>
                  <a:cubicBezTo>
                    <a:pt x="153" y="3096"/>
                    <a:pt x="123" y="3106"/>
                    <a:pt x="95" y="3130"/>
                  </a:cubicBezTo>
                  <a:cubicBezTo>
                    <a:pt x="12" y="3189"/>
                    <a:pt x="0" y="3284"/>
                    <a:pt x="60" y="3356"/>
                  </a:cubicBezTo>
                  <a:cubicBezTo>
                    <a:pt x="869" y="4427"/>
                    <a:pt x="1286" y="4975"/>
                    <a:pt x="1405" y="5142"/>
                  </a:cubicBezTo>
                  <a:cubicBezTo>
                    <a:pt x="1584" y="5392"/>
                    <a:pt x="2084" y="5773"/>
                    <a:pt x="2917" y="6273"/>
                  </a:cubicBezTo>
                  <a:cubicBezTo>
                    <a:pt x="2953" y="6320"/>
                    <a:pt x="2989" y="6368"/>
                    <a:pt x="3036" y="6392"/>
                  </a:cubicBezTo>
                  <a:lnTo>
                    <a:pt x="4894" y="7749"/>
                  </a:lnTo>
                  <a:cubicBezTo>
                    <a:pt x="5013" y="7833"/>
                    <a:pt x="5167" y="7880"/>
                    <a:pt x="5298" y="7880"/>
                  </a:cubicBezTo>
                  <a:cubicBezTo>
                    <a:pt x="5429" y="7880"/>
                    <a:pt x="5548" y="7856"/>
                    <a:pt x="5668" y="7773"/>
                  </a:cubicBezTo>
                  <a:cubicBezTo>
                    <a:pt x="5834" y="7678"/>
                    <a:pt x="5941" y="7499"/>
                    <a:pt x="5989" y="7321"/>
                  </a:cubicBezTo>
                  <a:cubicBezTo>
                    <a:pt x="5977" y="7106"/>
                    <a:pt x="5929" y="6904"/>
                    <a:pt x="5810" y="6749"/>
                  </a:cubicBezTo>
                  <a:cubicBezTo>
                    <a:pt x="5703" y="6630"/>
                    <a:pt x="5584" y="6487"/>
                    <a:pt x="5453" y="6332"/>
                  </a:cubicBezTo>
                  <a:cubicBezTo>
                    <a:pt x="5132" y="5975"/>
                    <a:pt x="4751" y="5511"/>
                    <a:pt x="4441" y="5035"/>
                  </a:cubicBezTo>
                  <a:cubicBezTo>
                    <a:pt x="4048" y="4463"/>
                    <a:pt x="3977" y="3701"/>
                    <a:pt x="4036" y="3237"/>
                  </a:cubicBezTo>
                  <a:cubicBezTo>
                    <a:pt x="4048" y="3118"/>
                    <a:pt x="4001" y="2999"/>
                    <a:pt x="3929" y="2915"/>
                  </a:cubicBezTo>
                  <a:cubicBezTo>
                    <a:pt x="3858" y="2820"/>
                    <a:pt x="3739" y="2772"/>
                    <a:pt x="3620" y="2772"/>
                  </a:cubicBezTo>
                  <a:lnTo>
                    <a:pt x="2715" y="2796"/>
                  </a:lnTo>
                  <a:cubicBezTo>
                    <a:pt x="2655" y="2796"/>
                    <a:pt x="2572" y="2820"/>
                    <a:pt x="2536" y="2856"/>
                  </a:cubicBezTo>
                  <a:cubicBezTo>
                    <a:pt x="2358" y="2796"/>
                    <a:pt x="2084" y="2629"/>
                    <a:pt x="1893" y="2106"/>
                  </a:cubicBezTo>
                  <a:cubicBezTo>
                    <a:pt x="1786" y="1820"/>
                    <a:pt x="1441" y="1165"/>
                    <a:pt x="929" y="153"/>
                  </a:cubicBezTo>
                  <a:lnTo>
                    <a:pt x="881" y="82"/>
                  </a:lnTo>
                  <a:cubicBezTo>
                    <a:pt x="849" y="33"/>
                    <a:pt x="799"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5" name="Google Shape;12395;p62"/>
          <p:cNvGrpSpPr/>
          <p:nvPr/>
        </p:nvGrpSpPr>
        <p:grpSpPr>
          <a:xfrm>
            <a:off x="6627639" y="2443884"/>
            <a:ext cx="355993" cy="313247"/>
            <a:chOff x="6627639" y="2443884"/>
            <a:chExt cx="355993" cy="313247"/>
          </a:xfrm>
        </p:grpSpPr>
        <p:sp>
          <p:nvSpPr>
            <p:cNvPr id="12396" name="Google Shape;12396;p62"/>
            <p:cNvSpPr/>
            <p:nvPr/>
          </p:nvSpPr>
          <p:spPr>
            <a:xfrm>
              <a:off x="6627639" y="2444266"/>
              <a:ext cx="92807" cy="87941"/>
            </a:xfrm>
            <a:custGeom>
              <a:avLst/>
              <a:gdLst/>
              <a:ahLst/>
              <a:cxnLst/>
              <a:rect l="l" t="t" r="r" b="b"/>
              <a:pathLst>
                <a:path w="2918" h="2765" extrusionOk="0">
                  <a:moveTo>
                    <a:pt x="977" y="324"/>
                  </a:moveTo>
                  <a:cubicBezTo>
                    <a:pt x="1037" y="336"/>
                    <a:pt x="1073" y="372"/>
                    <a:pt x="1108" y="419"/>
                  </a:cubicBezTo>
                  <a:lnTo>
                    <a:pt x="1608" y="1193"/>
                  </a:lnTo>
                  <a:lnTo>
                    <a:pt x="953" y="1622"/>
                  </a:lnTo>
                  <a:lnTo>
                    <a:pt x="441" y="848"/>
                  </a:lnTo>
                  <a:cubicBezTo>
                    <a:pt x="382" y="753"/>
                    <a:pt x="406" y="622"/>
                    <a:pt x="501" y="562"/>
                  </a:cubicBezTo>
                  <a:lnTo>
                    <a:pt x="811" y="360"/>
                  </a:lnTo>
                  <a:cubicBezTo>
                    <a:pt x="834" y="324"/>
                    <a:pt x="882" y="324"/>
                    <a:pt x="930" y="324"/>
                  </a:cubicBezTo>
                  <a:close/>
                  <a:moveTo>
                    <a:pt x="1965" y="1336"/>
                  </a:moveTo>
                  <a:lnTo>
                    <a:pt x="2227" y="1526"/>
                  </a:lnTo>
                  <a:lnTo>
                    <a:pt x="1013" y="2336"/>
                  </a:lnTo>
                  <a:lnTo>
                    <a:pt x="942" y="2027"/>
                  </a:lnTo>
                  <a:lnTo>
                    <a:pt x="1965" y="1336"/>
                  </a:lnTo>
                  <a:close/>
                  <a:moveTo>
                    <a:pt x="922" y="0"/>
                  </a:moveTo>
                  <a:cubicBezTo>
                    <a:pt x="819" y="0"/>
                    <a:pt x="719" y="34"/>
                    <a:pt x="632" y="86"/>
                  </a:cubicBezTo>
                  <a:lnTo>
                    <a:pt x="322" y="300"/>
                  </a:lnTo>
                  <a:cubicBezTo>
                    <a:pt x="84" y="455"/>
                    <a:pt x="1" y="788"/>
                    <a:pt x="168" y="1026"/>
                  </a:cubicBezTo>
                  <a:lnTo>
                    <a:pt x="692" y="1812"/>
                  </a:lnTo>
                  <a:lnTo>
                    <a:pt x="680" y="1812"/>
                  </a:lnTo>
                  <a:lnTo>
                    <a:pt x="632" y="1860"/>
                  </a:lnTo>
                  <a:lnTo>
                    <a:pt x="215" y="2515"/>
                  </a:lnTo>
                  <a:cubicBezTo>
                    <a:pt x="168" y="2586"/>
                    <a:pt x="180" y="2693"/>
                    <a:pt x="263" y="2741"/>
                  </a:cubicBezTo>
                  <a:cubicBezTo>
                    <a:pt x="287" y="2753"/>
                    <a:pt x="322" y="2765"/>
                    <a:pt x="346" y="2765"/>
                  </a:cubicBezTo>
                  <a:cubicBezTo>
                    <a:pt x="406" y="2765"/>
                    <a:pt x="453" y="2741"/>
                    <a:pt x="477" y="2693"/>
                  </a:cubicBezTo>
                  <a:lnTo>
                    <a:pt x="692" y="2360"/>
                  </a:lnTo>
                  <a:lnTo>
                    <a:pt x="739" y="2538"/>
                  </a:lnTo>
                  <a:cubicBezTo>
                    <a:pt x="751" y="2622"/>
                    <a:pt x="811" y="2681"/>
                    <a:pt x="870" y="2705"/>
                  </a:cubicBezTo>
                  <a:cubicBezTo>
                    <a:pt x="894" y="2717"/>
                    <a:pt x="930" y="2717"/>
                    <a:pt x="953" y="2717"/>
                  </a:cubicBezTo>
                  <a:cubicBezTo>
                    <a:pt x="1001" y="2717"/>
                    <a:pt x="1049" y="2705"/>
                    <a:pt x="1073" y="2693"/>
                  </a:cubicBezTo>
                  <a:lnTo>
                    <a:pt x="2525" y="1741"/>
                  </a:lnTo>
                  <a:cubicBezTo>
                    <a:pt x="2585" y="1693"/>
                    <a:pt x="2620" y="1634"/>
                    <a:pt x="2620" y="1562"/>
                  </a:cubicBezTo>
                  <a:cubicBezTo>
                    <a:pt x="2620" y="1491"/>
                    <a:pt x="2597" y="1407"/>
                    <a:pt x="2537" y="1372"/>
                  </a:cubicBezTo>
                  <a:lnTo>
                    <a:pt x="2382" y="1253"/>
                  </a:lnTo>
                  <a:lnTo>
                    <a:pt x="2775" y="1193"/>
                  </a:lnTo>
                  <a:cubicBezTo>
                    <a:pt x="2847" y="1169"/>
                    <a:pt x="2918" y="1086"/>
                    <a:pt x="2906" y="991"/>
                  </a:cubicBezTo>
                  <a:cubicBezTo>
                    <a:pt x="2895" y="914"/>
                    <a:pt x="2835" y="858"/>
                    <a:pt x="2751" y="858"/>
                  </a:cubicBezTo>
                  <a:cubicBezTo>
                    <a:pt x="2744" y="858"/>
                    <a:pt x="2736" y="859"/>
                    <a:pt x="2727" y="860"/>
                  </a:cubicBezTo>
                  <a:lnTo>
                    <a:pt x="1965" y="979"/>
                  </a:lnTo>
                  <a:cubicBezTo>
                    <a:pt x="1942" y="979"/>
                    <a:pt x="1930" y="991"/>
                    <a:pt x="1906" y="1014"/>
                  </a:cubicBezTo>
                  <a:lnTo>
                    <a:pt x="1894" y="1026"/>
                  </a:lnTo>
                  <a:lnTo>
                    <a:pt x="1370" y="241"/>
                  </a:lnTo>
                  <a:cubicBezTo>
                    <a:pt x="1299" y="122"/>
                    <a:pt x="1180" y="38"/>
                    <a:pt x="1037" y="14"/>
                  </a:cubicBezTo>
                  <a:cubicBezTo>
                    <a:pt x="999" y="5"/>
                    <a:pt x="960" y="0"/>
                    <a:pt x="9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7" name="Google Shape;12397;p62"/>
            <p:cNvSpPr/>
            <p:nvPr/>
          </p:nvSpPr>
          <p:spPr>
            <a:xfrm>
              <a:off x="6891589" y="2443884"/>
              <a:ext cx="92044" cy="86446"/>
            </a:xfrm>
            <a:custGeom>
              <a:avLst/>
              <a:gdLst/>
              <a:ahLst/>
              <a:cxnLst/>
              <a:rect l="l" t="t" r="r" b="b"/>
              <a:pathLst>
                <a:path w="2894" h="2718" extrusionOk="0">
                  <a:moveTo>
                    <a:pt x="1984" y="331"/>
                  </a:moveTo>
                  <a:cubicBezTo>
                    <a:pt x="2025" y="331"/>
                    <a:pt x="2060" y="345"/>
                    <a:pt x="2096" y="372"/>
                  </a:cubicBezTo>
                  <a:lnTo>
                    <a:pt x="2406" y="574"/>
                  </a:lnTo>
                  <a:cubicBezTo>
                    <a:pt x="2513" y="634"/>
                    <a:pt x="2525" y="753"/>
                    <a:pt x="2465" y="860"/>
                  </a:cubicBezTo>
                  <a:lnTo>
                    <a:pt x="1953" y="1634"/>
                  </a:lnTo>
                  <a:lnTo>
                    <a:pt x="1298" y="1205"/>
                  </a:lnTo>
                  <a:lnTo>
                    <a:pt x="1810" y="431"/>
                  </a:lnTo>
                  <a:cubicBezTo>
                    <a:pt x="1846" y="384"/>
                    <a:pt x="1882" y="348"/>
                    <a:pt x="1941" y="336"/>
                  </a:cubicBezTo>
                  <a:cubicBezTo>
                    <a:pt x="1956" y="333"/>
                    <a:pt x="1970" y="331"/>
                    <a:pt x="1984" y="331"/>
                  </a:cubicBezTo>
                  <a:close/>
                  <a:moveTo>
                    <a:pt x="917" y="1348"/>
                  </a:moveTo>
                  <a:lnTo>
                    <a:pt x="977" y="1384"/>
                  </a:lnTo>
                  <a:lnTo>
                    <a:pt x="1941" y="2015"/>
                  </a:lnTo>
                  <a:lnTo>
                    <a:pt x="1882" y="2348"/>
                  </a:lnTo>
                  <a:lnTo>
                    <a:pt x="667" y="1538"/>
                  </a:lnTo>
                  <a:lnTo>
                    <a:pt x="917" y="1348"/>
                  </a:lnTo>
                  <a:close/>
                  <a:moveTo>
                    <a:pt x="1989" y="0"/>
                  </a:moveTo>
                  <a:cubicBezTo>
                    <a:pt x="1951" y="0"/>
                    <a:pt x="1911" y="5"/>
                    <a:pt x="1870" y="14"/>
                  </a:cubicBezTo>
                  <a:cubicBezTo>
                    <a:pt x="1739" y="38"/>
                    <a:pt x="1620" y="110"/>
                    <a:pt x="1525" y="229"/>
                  </a:cubicBezTo>
                  <a:lnTo>
                    <a:pt x="1025" y="1003"/>
                  </a:lnTo>
                  <a:lnTo>
                    <a:pt x="1013" y="991"/>
                  </a:lnTo>
                  <a:cubicBezTo>
                    <a:pt x="989" y="979"/>
                    <a:pt x="965" y="979"/>
                    <a:pt x="953" y="967"/>
                  </a:cubicBezTo>
                  <a:lnTo>
                    <a:pt x="191" y="848"/>
                  </a:lnTo>
                  <a:cubicBezTo>
                    <a:pt x="177" y="844"/>
                    <a:pt x="163" y="843"/>
                    <a:pt x="150" y="843"/>
                  </a:cubicBezTo>
                  <a:cubicBezTo>
                    <a:pt x="76" y="843"/>
                    <a:pt x="23" y="898"/>
                    <a:pt x="13" y="979"/>
                  </a:cubicBezTo>
                  <a:cubicBezTo>
                    <a:pt x="1" y="1062"/>
                    <a:pt x="60" y="1146"/>
                    <a:pt x="143" y="1157"/>
                  </a:cubicBezTo>
                  <a:lnTo>
                    <a:pt x="536" y="1217"/>
                  </a:lnTo>
                  <a:lnTo>
                    <a:pt x="382" y="1336"/>
                  </a:lnTo>
                  <a:cubicBezTo>
                    <a:pt x="322" y="1372"/>
                    <a:pt x="298" y="1455"/>
                    <a:pt x="298" y="1527"/>
                  </a:cubicBezTo>
                  <a:cubicBezTo>
                    <a:pt x="298" y="1598"/>
                    <a:pt x="334" y="1658"/>
                    <a:pt x="394" y="1705"/>
                  </a:cubicBezTo>
                  <a:lnTo>
                    <a:pt x="1846" y="2658"/>
                  </a:lnTo>
                  <a:cubicBezTo>
                    <a:pt x="1870" y="2681"/>
                    <a:pt x="1918" y="2681"/>
                    <a:pt x="1965" y="2681"/>
                  </a:cubicBezTo>
                  <a:cubicBezTo>
                    <a:pt x="1989" y="2681"/>
                    <a:pt x="2025" y="2681"/>
                    <a:pt x="2048" y="2670"/>
                  </a:cubicBezTo>
                  <a:cubicBezTo>
                    <a:pt x="2120" y="2646"/>
                    <a:pt x="2168" y="2586"/>
                    <a:pt x="2179" y="2503"/>
                  </a:cubicBezTo>
                  <a:lnTo>
                    <a:pt x="2227" y="2312"/>
                  </a:lnTo>
                  <a:lnTo>
                    <a:pt x="2441" y="2646"/>
                  </a:lnTo>
                  <a:cubicBezTo>
                    <a:pt x="2465" y="2681"/>
                    <a:pt x="2525" y="2717"/>
                    <a:pt x="2572" y="2717"/>
                  </a:cubicBezTo>
                  <a:cubicBezTo>
                    <a:pt x="2596" y="2717"/>
                    <a:pt x="2632" y="2705"/>
                    <a:pt x="2656" y="2681"/>
                  </a:cubicBezTo>
                  <a:cubicBezTo>
                    <a:pt x="2739" y="2646"/>
                    <a:pt x="2763" y="2539"/>
                    <a:pt x="2703" y="2467"/>
                  </a:cubicBezTo>
                  <a:lnTo>
                    <a:pt x="2287" y="1812"/>
                  </a:lnTo>
                  <a:lnTo>
                    <a:pt x="2239" y="1765"/>
                  </a:lnTo>
                  <a:lnTo>
                    <a:pt x="2227" y="1753"/>
                  </a:lnTo>
                  <a:lnTo>
                    <a:pt x="2739" y="979"/>
                  </a:lnTo>
                  <a:cubicBezTo>
                    <a:pt x="2894" y="788"/>
                    <a:pt x="2834" y="455"/>
                    <a:pt x="2584" y="288"/>
                  </a:cubicBezTo>
                  <a:lnTo>
                    <a:pt x="2275" y="86"/>
                  </a:lnTo>
                  <a:cubicBezTo>
                    <a:pt x="2188" y="34"/>
                    <a:pt x="2094"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98" name="Google Shape;12398;p62"/>
            <p:cNvSpPr/>
            <p:nvPr/>
          </p:nvSpPr>
          <p:spPr>
            <a:xfrm>
              <a:off x="6662498" y="2512201"/>
              <a:ext cx="288185" cy="244930"/>
            </a:xfrm>
            <a:custGeom>
              <a:avLst/>
              <a:gdLst/>
              <a:ahLst/>
              <a:cxnLst/>
              <a:rect l="l" t="t" r="r" b="b"/>
              <a:pathLst>
                <a:path w="9061" h="7701" extrusionOk="0">
                  <a:moveTo>
                    <a:pt x="4501" y="3379"/>
                  </a:moveTo>
                  <a:lnTo>
                    <a:pt x="7025" y="5975"/>
                  </a:lnTo>
                  <a:lnTo>
                    <a:pt x="6989" y="5975"/>
                  </a:lnTo>
                  <a:cubicBezTo>
                    <a:pt x="6977" y="5975"/>
                    <a:pt x="6965" y="5951"/>
                    <a:pt x="6942" y="5951"/>
                  </a:cubicBezTo>
                  <a:lnTo>
                    <a:pt x="6930" y="5951"/>
                  </a:lnTo>
                  <a:cubicBezTo>
                    <a:pt x="6918" y="5951"/>
                    <a:pt x="6906" y="5939"/>
                    <a:pt x="6870" y="5939"/>
                  </a:cubicBezTo>
                  <a:lnTo>
                    <a:pt x="6858" y="5939"/>
                  </a:lnTo>
                  <a:cubicBezTo>
                    <a:pt x="6846" y="5939"/>
                    <a:pt x="6823" y="5927"/>
                    <a:pt x="6799" y="5927"/>
                  </a:cubicBezTo>
                  <a:lnTo>
                    <a:pt x="6787" y="5927"/>
                  </a:lnTo>
                  <a:cubicBezTo>
                    <a:pt x="6763" y="5927"/>
                    <a:pt x="6751" y="5927"/>
                    <a:pt x="6739" y="5915"/>
                  </a:cubicBezTo>
                  <a:lnTo>
                    <a:pt x="6727" y="5915"/>
                  </a:lnTo>
                  <a:cubicBezTo>
                    <a:pt x="6704" y="5915"/>
                    <a:pt x="6692" y="5915"/>
                    <a:pt x="6680" y="5891"/>
                  </a:cubicBezTo>
                  <a:lnTo>
                    <a:pt x="6549" y="5891"/>
                  </a:lnTo>
                  <a:cubicBezTo>
                    <a:pt x="6525" y="5891"/>
                    <a:pt x="6513" y="5891"/>
                    <a:pt x="6501" y="5879"/>
                  </a:cubicBezTo>
                  <a:lnTo>
                    <a:pt x="6489" y="5879"/>
                  </a:lnTo>
                  <a:cubicBezTo>
                    <a:pt x="6465" y="5879"/>
                    <a:pt x="6442" y="5879"/>
                    <a:pt x="6430" y="5867"/>
                  </a:cubicBezTo>
                  <a:lnTo>
                    <a:pt x="6406" y="5867"/>
                  </a:lnTo>
                  <a:cubicBezTo>
                    <a:pt x="6025" y="5808"/>
                    <a:pt x="5572" y="5760"/>
                    <a:pt x="5120" y="5748"/>
                  </a:cubicBezTo>
                  <a:cubicBezTo>
                    <a:pt x="5037" y="5748"/>
                    <a:pt x="4953" y="5748"/>
                    <a:pt x="4882" y="5736"/>
                  </a:cubicBezTo>
                  <a:lnTo>
                    <a:pt x="4168" y="5736"/>
                  </a:lnTo>
                  <a:cubicBezTo>
                    <a:pt x="4025" y="5736"/>
                    <a:pt x="3882" y="5748"/>
                    <a:pt x="3751" y="5748"/>
                  </a:cubicBezTo>
                  <a:cubicBezTo>
                    <a:pt x="3346" y="5760"/>
                    <a:pt x="2953" y="5808"/>
                    <a:pt x="2620" y="5867"/>
                  </a:cubicBezTo>
                  <a:lnTo>
                    <a:pt x="2596" y="5867"/>
                  </a:lnTo>
                  <a:cubicBezTo>
                    <a:pt x="2584" y="5867"/>
                    <a:pt x="2560" y="5867"/>
                    <a:pt x="2536" y="5879"/>
                  </a:cubicBezTo>
                  <a:lnTo>
                    <a:pt x="2524" y="5879"/>
                  </a:lnTo>
                  <a:cubicBezTo>
                    <a:pt x="2513" y="5879"/>
                    <a:pt x="2501" y="5879"/>
                    <a:pt x="2477" y="5891"/>
                  </a:cubicBezTo>
                  <a:lnTo>
                    <a:pt x="2346" y="5891"/>
                  </a:lnTo>
                  <a:cubicBezTo>
                    <a:pt x="2334" y="5891"/>
                    <a:pt x="2322" y="5891"/>
                    <a:pt x="2298" y="5915"/>
                  </a:cubicBezTo>
                  <a:lnTo>
                    <a:pt x="2286" y="5915"/>
                  </a:lnTo>
                  <a:cubicBezTo>
                    <a:pt x="2274" y="5915"/>
                    <a:pt x="2263" y="5915"/>
                    <a:pt x="2239" y="5927"/>
                  </a:cubicBezTo>
                  <a:lnTo>
                    <a:pt x="2227" y="5927"/>
                  </a:lnTo>
                  <a:cubicBezTo>
                    <a:pt x="2215" y="5927"/>
                    <a:pt x="2203" y="5939"/>
                    <a:pt x="2167" y="5939"/>
                  </a:cubicBezTo>
                  <a:lnTo>
                    <a:pt x="2155" y="5939"/>
                  </a:lnTo>
                  <a:cubicBezTo>
                    <a:pt x="2143" y="5939"/>
                    <a:pt x="2120" y="5951"/>
                    <a:pt x="2096" y="5951"/>
                  </a:cubicBezTo>
                  <a:lnTo>
                    <a:pt x="2084" y="5951"/>
                  </a:lnTo>
                  <a:cubicBezTo>
                    <a:pt x="2060" y="5951"/>
                    <a:pt x="2048" y="5975"/>
                    <a:pt x="2036" y="5975"/>
                  </a:cubicBezTo>
                  <a:lnTo>
                    <a:pt x="2001" y="5975"/>
                  </a:lnTo>
                  <a:lnTo>
                    <a:pt x="4501" y="3379"/>
                  </a:lnTo>
                  <a:close/>
                  <a:moveTo>
                    <a:pt x="4620" y="6046"/>
                  </a:moveTo>
                  <a:cubicBezTo>
                    <a:pt x="5525" y="6058"/>
                    <a:pt x="6382" y="6153"/>
                    <a:pt x="6989" y="6320"/>
                  </a:cubicBezTo>
                  <a:lnTo>
                    <a:pt x="7001" y="6320"/>
                  </a:lnTo>
                  <a:cubicBezTo>
                    <a:pt x="7013" y="6320"/>
                    <a:pt x="7049" y="6332"/>
                    <a:pt x="7061" y="6332"/>
                  </a:cubicBezTo>
                  <a:lnTo>
                    <a:pt x="7073" y="6332"/>
                  </a:lnTo>
                  <a:lnTo>
                    <a:pt x="7216" y="6379"/>
                  </a:lnTo>
                  <a:cubicBezTo>
                    <a:pt x="7335" y="6415"/>
                    <a:pt x="7442" y="6451"/>
                    <a:pt x="7525" y="6498"/>
                  </a:cubicBezTo>
                  <a:cubicBezTo>
                    <a:pt x="7739" y="6594"/>
                    <a:pt x="7787" y="6689"/>
                    <a:pt x="7787" y="6713"/>
                  </a:cubicBezTo>
                  <a:cubicBezTo>
                    <a:pt x="7799" y="6772"/>
                    <a:pt x="7632" y="6975"/>
                    <a:pt x="6918" y="7153"/>
                  </a:cubicBezTo>
                  <a:cubicBezTo>
                    <a:pt x="6275" y="7296"/>
                    <a:pt x="5430" y="7391"/>
                    <a:pt x="4525" y="7391"/>
                  </a:cubicBezTo>
                  <a:cubicBezTo>
                    <a:pt x="3608" y="7391"/>
                    <a:pt x="2763" y="7296"/>
                    <a:pt x="2120" y="7153"/>
                  </a:cubicBezTo>
                  <a:cubicBezTo>
                    <a:pt x="1393" y="6975"/>
                    <a:pt x="1227" y="6772"/>
                    <a:pt x="1227" y="6713"/>
                  </a:cubicBezTo>
                  <a:cubicBezTo>
                    <a:pt x="1227" y="6689"/>
                    <a:pt x="1286" y="6594"/>
                    <a:pt x="1501" y="6498"/>
                  </a:cubicBezTo>
                  <a:cubicBezTo>
                    <a:pt x="1584" y="6451"/>
                    <a:pt x="1691" y="6403"/>
                    <a:pt x="1810" y="6379"/>
                  </a:cubicBezTo>
                  <a:lnTo>
                    <a:pt x="1941" y="6332"/>
                  </a:lnTo>
                  <a:lnTo>
                    <a:pt x="1965" y="6332"/>
                  </a:lnTo>
                  <a:cubicBezTo>
                    <a:pt x="1977" y="6332"/>
                    <a:pt x="2001" y="6320"/>
                    <a:pt x="2024" y="6320"/>
                  </a:cubicBezTo>
                  <a:lnTo>
                    <a:pt x="2036" y="6320"/>
                  </a:lnTo>
                  <a:cubicBezTo>
                    <a:pt x="2632" y="6165"/>
                    <a:pt x="3489" y="6058"/>
                    <a:pt x="4382" y="6046"/>
                  </a:cubicBezTo>
                  <a:close/>
                  <a:moveTo>
                    <a:pt x="1637" y="1"/>
                  </a:moveTo>
                  <a:cubicBezTo>
                    <a:pt x="1596" y="1"/>
                    <a:pt x="1554" y="16"/>
                    <a:pt x="1524" y="45"/>
                  </a:cubicBezTo>
                  <a:cubicBezTo>
                    <a:pt x="1465" y="105"/>
                    <a:pt x="1465" y="212"/>
                    <a:pt x="1524" y="272"/>
                  </a:cubicBezTo>
                  <a:lnTo>
                    <a:pt x="4298" y="3129"/>
                  </a:lnTo>
                  <a:lnTo>
                    <a:pt x="1334" y="6189"/>
                  </a:lnTo>
                  <a:lnTo>
                    <a:pt x="1322" y="6189"/>
                  </a:lnTo>
                  <a:cubicBezTo>
                    <a:pt x="1310" y="6189"/>
                    <a:pt x="1310" y="6213"/>
                    <a:pt x="1286" y="6213"/>
                  </a:cubicBezTo>
                  <a:cubicBezTo>
                    <a:pt x="1286" y="6213"/>
                    <a:pt x="1274" y="6213"/>
                    <a:pt x="1274" y="6225"/>
                  </a:cubicBezTo>
                  <a:cubicBezTo>
                    <a:pt x="1262" y="6225"/>
                    <a:pt x="1262" y="6237"/>
                    <a:pt x="1250" y="6237"/>
                  </a:cubicBezTo>
                  <a:cubicBezTo>
                    <a:pt x="1250" y="6237"/>
                    <a:pt x="1227" y="6237"/>
                    <a:pt x="1227" y="6248"/>
                  </a:cubicBezTo>
                  <a:lnTo>
                    <a:pt x="1215" y="6272"/>
                  </a:lnTo>
                  <a:cubicBezTo>
                    <a:pt x="1215" y="6272"/>
                    <a:pt x="1203" y="6272"/>
                    <a:pt x="1203" y="6284"/>
                  </a:cubicBezTo>
                  <a:lnTo>
                    <a:pt x="1191" y="6296"/>
                  </a:lnTo>
                  <a:lnTo>
                    <a:pt x="1167" y="6296"/>
                  </a:lnTo>
                  <a:lnTo>
                    <a:pt x="322" y="1105"/>
                  </a:lnTo>
                  <a:cubicBezTo>
                    <a:pt x="311" y="1019"/>
                    <a:pt x="233" y="972"/>
                    <a:pt x="165" y="972"/>
                  </a:cubicBezTo>
                  <a:cubicBezTo>
                    <a:pt x="158" y="972"/>
                    <a:pt x="150" y="973"/>
                    <a:pt x="143" y="974"/>
                  </a:cubicBezTo>
                  <a:cubicBezTo>
                    <a:pt x="60" y="986"/>
                    <a:pt x="0" y="1081"/>
                    <a:pt x="12" y="1153"/>
                  </a:cubicBezTo>
                  <a:lnTo>
                    <a:pt x="917" y="6713"/>
                  </a:lnTo>
                  <a:cubicBezTo>
                    <a:pt x="929" y="7034"/>
                    <a:pt x="1322" y="7260"/>
                    <a:pt x="2048" y="7439"/>
                  </a:cubicBezTo>
                  <a:cubicBezTo>
                    <a:pt x="2715" y="7606"/>
                    <a:pt x="3596" y="7701"/>
                    <a:pt x="4537" y="7701"/>
                  </a:cubicBezTo>
                  <a:cubicBezTo>
                    <a:pt x="5477" y="7701"/>
                    <a:pt x="6346" y="7606"/>
                    <a:pt x="7025" y="7439"/>
                  </a:cubicBezTo>
                  <a:cubicBezTo>
                    <a:pt x="7763" y="7260"/>
                    <a:pt x="8132" y="7022"/>
                    <a:pt x="8156" y="6713"/>
                  </a:cubicBezTo>
                  <a:lnTo>
                    <a:pt x="9061" y="1153"/>
                  </a:lnTo>
                  <a:cubicBezTo>
                    <a:pt x="9049" y="1081"/>
                    <a:pt x="8990" y="998"/>
                    <a:pt x="8894" y="986"/>
                  </a:cubicBezTo>
                  <a:cubicBezTo>
                    <a:pt x="8887" y="985"/>
                    <a:pt x="8880" y="984"/>
                    <a:pt x="8873" y="984"/>
                  </a:cubicBezTo>
                  <a:cubicBezTo>
                    <a:pt x="8795" y="984"/>
                    <a:pt x="8716" y="1041"/>
                    <a:pt x="8716" y="1117"/>
                  </a:cubicBezTo>
                  <a:lnTo>
                    <a:pt x="7870" y="6320"/>
                  </a:lnTo>
                  <a:lnTo>
                    <a:pt x="7858" y="6320"/>
                  </a:lnTo>
                  <a:lnTo>
                    <a:pt x="7835" y="6296"/>
                  </a:lnTo>
                  <a:cubicBezTo>
                    <a:pt x="7835" y="6296"/>
                    <a:pt x="7823" y="6296"/>
                    <a:pt x="7823" y="6284"/>
                  </a:cubicBezTo>
                  <a:lnTo>
                    <a:pt x="7811" y="6272"/>
                  </a:lnTo>
                  <a:cubicBezTo>
                    <a:pt x="7811" y="6272"/>
                    <a:pt x="7799" y="6272"/>
                    <a:pt x="7799" y="6248"/>
                  </a:cubicBezTo>
                  <a:cubicBezTo>
                    <a:pt x="7799" y="6248"/>
                    <a:pt x="7775" y="6237"/>
                    <a:pt x="7763" y="6237"/>
                  </a:cubicBezTo>
                  <a:cubicBezTo>
                    <a:pt x="7763" y="6237"/>
                    <a:pt x="7751" y="6237"/>
                    <a:pt x="7751" y="6225"/>
                  </a:cubicBezTo>
                  <a:cubicBezTo>
                    <a:pt x="7739" y="6225"/>
                    <a:pt x="7739" y="6213"/>
                    <a:pt x="7716" y="6213"/>
                  </a:cubicBezTo>
                  <a:lnTo>
                    <a:pt x="7704" y="6213"/>
                  </a:lnTo>
                  <a:lnTo>
                    <a:pt x="4739" y="3141"/>
                  </a:lnTo>
                  <a:lnTo>
                    <a:pt x="7513" y="272"/>
                  </a:lnTo>
                  <a:cubicBezTo>
                    <a:pt x="7573" y="212"/>
                    <a:pt x="7573" y="105"/>
                    <a:pt x="7513" y="45"/>
                  </a:cubicBezTo>
                  <a:cubicBezTo>
                    <a:pt x="7483" y="16"/>
                    <a:pt x="7442" y="1"/>
                    <a:pt x="7400" y="1"/>
                  </a:cubicBezTo>
                  <a:cubicBezTo>
                    <a:pt x="7358" y="1"/>
                    <a:pt x="7317" y="16"/>
                    <a:pt x="7287" y="45"/>
                  </a:cubicBezTo>
                  <a:lnTo>
                    <a:pt x="4525" y="2903"/>
                  </a:lnTo>
                  <a:lnTo>
                    <a:pt x="1751" y="45"/>
                  </a:lnTo>
                  <a:cubicBezTo>
                    <a:pt x="1721" y="16"/>
                    <a:pt x="1679" y="1"/>
                    <a:pt x="1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9" name="Google Shape;12399;p62"/>
          <p:cNvGrpSpPr/>
          <p:nvPr/>
        </p:nvGrpSpPr>
        <p:grpSpPr>
          <a:xfrm>
            <a:off x="6183451" y="2462140"/>
            <a:ext cx="351445" cy="277976"/>
            <a:chOff x="6183451" y="2462140"/>
            <a:chExt cx="351445" cy="277976"/>
          </a:xfrm>
        </p:grpSpPr>
        <p:sp>
          <p:nvSpPr>
            <p:cNvPr id="12400" name="Google Shape;12400;p62"/>
            <p:cNvSpPr/>
            <p:nvPr/>
          </p:nvSpPr>
          <p:spPr>
            <a:xfrm>
              <a:off x="6315251" y="2514777"/>
              <a:ext cx="120446" cy="10241"/>
            </a:xfrm>
            <a:custGeom>
              <a:avLst/>
              <a:gdLst/>
              <a:ahLst/>
              <a:cxnLst/>
              <a:rect l="l" t="t" r="r" b="b"/>
              <a:pathLst>
                <a:path w="3787" h="322" extrusionOk="0">
                  <a:moveTo>
                    <a:pt x="167" y="0"/>
                  </a:moveTo>
                  <a:cubicBezTo>
                    <a:pt x="84" y="0"/>
                    <a:pt x="0" y="71"/>
                    <a:pt x="0" y="167"/>
                  </a:cubicBezTo>
                  <a:cubicBezTo>
                    <a:pt x="0" y="250"/>
                    <a:pt x="84" y="321"/>
                    <a:pt x="167" y="321"/>
                  </a:cubicBezTo>
                  <a:lnTo>
                    <a:pt x="3620" y="321"/>
                  </a:lnTo>
                  <a:cubicBezTo>
                    <a:pt x="3703" y="321"/>
                    <a:pt x="3786" y="250"/>
                    <a:pt x="3786" y="167"/>
                  </a:cubicBezTo>
                  <a:cubicBezTo>
                    <a:pt x="3786" y="71"/>
                    <a:pt x="3715" y="0"/>
                    <a:pt x="3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1" name="Google Shape;12401;p62"/>
            <p:cNvSpPr/>
            <p:nvPr/>
          </p:nvSpPr>
          <p:spPr>
            <a:xfrm>
              <a:off x="6274349" y="2514777"/>
              <a:ext cx="27670" cy="10241"/>
            </a:xfrm>
            <a:custGeom>
              <a:avLst/>
              <a:gdLst/>
              <a:ahLst/>
              <a:cxnLst/>
              <a:rect l="l" t="t" r="r" b="b"/>
              <a:pathLst>
                <a:path w="870" h="322" extrusionOk="0">
                  <a:moveTo>
                    <a:pt x="155" y="0"/>
                  </a:moveTo>
                  <a:cubicBezTo>
                    <a:pt x="72" y="0"/>
                    <a:pt x="0" y="71"/>
                    <a:pt x="0" y="167"/>
                  </a:cubicBezTo>
                  <a:cubicBezTo>
                    <a:pt x="0" y="250"/>
                    <a:pt x="72" y="321"/>
                    <a:pt x="155" y="321"/>
                  </a:cubicBezTo>
                  <a:lnTo>
                    <a:pt x="715" y="321"/>
                  </a:lnTo>
                  <a:cubicBezTo>
                    <a:pt x="798" y="321"/>
                    <a:pt x="870" y="250"/>
                    <a:pt x="870" y="167"/>
                  </a:cubicBezTo>
                  <a:cubicBezTo>
                    <a:pt x="870" y="71"/>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2" name="Google Shape;12402;p62"/>
            <p:cNvSpPr/>
            <p:nvPr/>
          </p:nvSpPr>
          <p:spPr>
            <a:xfrm>
              <a:off x="6274349" y="2672307"/>
              <a:ext cx="64405" cy="10623"/>
            </a:xfrm>
            <a:custGeom>
              <a:avLst/>
              <a:gdLst/>
              <a:ahLst/>
              <a:cxnLst/>
              <a:rect l="l" t="t" r="r" b="b"/>
              <a:pathLst>
                <a:path w="2025" h="334" extrusionOk="0">
                  <a:moveTo>
                    <a:pt x="155" y="0"/>
                  </a:moveTo>
                  <a:cubicBezTo>
                    <a:pt x="72" y="0"/>
                    <a:pt x="0" y="71"/>
                    <a:pt x="0" y="167"/>
                  </a:cubicBezTo>
                  <a:cubicBezTo>
                    <a:pt x="0" y="250"/>
                    <a:pt x="72" y="333"/>
                    <a:pt x="155" y="333"/>
                  </a:cubicBezTo>
                  <a:lnTo>
                    <a:pt x="1858" y="333"/>
                  </a:lnTo>
                  <a:cubicBezTo>
                    <a:pt x="1941" y="333"/>
                    <a:pt x="2013" y="250"/>
                    <a:pt x="2013" y="167"/>
                  </a:cubicBezTo>
                  <a:cubicBezTo>
                    <a:pt x="2024" y="71"/>
                    <a:pt x="1941" y="0"/>
                    <a:pt x="18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3" name="Google Shape;12403;p62"/>
            <p:cNvSpPr/>
            <p:nvPr/>
          </p:nvSpPr>
          <p:spPr>
            <a:xfrm>
              <a:off x="6274731" y="2619670"/>
              <a:ext cx="85619" cy="10623"/>
            </a:xfrm>
            <a:custGeom>
              <a:avLst/>
              <a:gdLst/>
              <a:ahLst/>
              <a:cxnLst/>
              <a:rect l="l" t="t" r="r" b="b"/>
              <a:pathLst>
                <a:path w="2692" h="334" extrusionOk="0">
                  <a:moveTo>
                    <a:pt x="167" y="0"/>
                  </a:moveTo>
                  <a:cubicBezTo>
                    <a:pt x="72" y="0"/>
                    <a:pt x="0" y="83"/>
                    <a:pt x="0" y="167"/>
                  </a:cubicBezTo>
                  <a:cubicBezTo>
                    <a:pt x="0" y="262"/>
                    <a:pt x="72" y="333"/>
                    <a:pt x="167" y="333"/>
                  </a:cubicBezTo>
                  <a:lnTo>
                    <a:pt x="2524" y="333"/>
                  </a:lnTo>
                  <a:cubicBezTo>
                    <a:pt x="2620" y="333"/>
                    <a:pt x="2691" y="262"/>
                    <a:pt x="2691" y="167"/>
                  </a:cubicBezTo>
                  <a:cubicBezTo>
                    <a:pt x="2691" y="83"/>
                    <a:pt x="2620" y="0"/>
                    <a:pt x="2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4" name="Google Shape;12404;p62"/>
            <p:cNvSpPr/>
            <p:nvPr/>
          </p:nvSpPr>
          <p:spPr>
            <a:xfrm>
              <a:off x="6274731" y="2567383"/>
              <a:ext cx="122704" cy="10273"/>
            </a:xfrm>
            <a:custGeom>
              <a:avLst/>
              <a:gdLst/>
              <a:ahLst/>
              <a:cxnLst/>
              <a:rect l="l" t="t" r="r" b="b"/>
              <a:pathLst>
                <a:path w="3858" h="323" extrusionOk="0">
                  <a:moveTo>
                    <a:pt x="167" y="1"/>
                  </a:moveTo>
                  <a:cubicBezTo>
                    <a:pt x="72" y="1"/>
                    <a:pt x="0" y="72"/>
                    <a:pt x="0" y="156"/>
                  </a:cubicBezTo>
                  <a:cubicBezTo>
                    <a:pt x="0" y="251"/>
                    <a:pt x="72" y="322"/>
                    <a:pt x="167" y="322"/>
                  </a:cubicBezTo>
                  <a:lnTo>
                    <a:pt x="3691" y="322"/>
                  </a:lnTo>
                  <a:cubicBezTo>
                    <a:pt x="3775" y="322"/>
                    <a:pt x="3858" y="251"/>
                    <a:pt x="3858" y="156"/>
                  </a:cubicBezTo>
                  <a:cubicBezTo>
                    <a:pt x="3858" y="72"/>
                    <a:pt x="3775" y="1"/>
                    <a:pt x="3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5" name="Google Shape;12405;p62"/>
            <p:cNvSpPr/>
            <p:nvPr/>
          </p:nvSpPr>
          <p:spPr>
            <a:xfrm>
              <a:off x="6183451" y="2462140"/>
              <a:ext cx="339709" cy="277976"/>
            </a:xfrm>
            <a:custGeom>
              <a:avLst/>
              <a:gdLst/>
              <a:ahLst/>
              <a:cxnLst/>
              <a:rect l="l" t="t" r="r" b="b"/>
              <a:pathLst>
                <a:path w="10681" h="8740" extrusionOk="0">
                  <a:moveTo>
                    <a:pt x="9514" y="405"/>
                  </a:moveTo>
                  <a:cubicBezTo>
                    <a:pt x="9895" y="405"/>
                    <a:pt x="10193" y="667"/>
                    <a:pt x="10252" y="1036"/>
                  </a:cubicBezTo>
                  <a:lnTo>
                    <a:pt x="8883" y="1036"/>
                  </a:lnTo>
                  <a:lnTo>
                    <a:pt x="8883" y="964"/>
                  </a:lnTo>
                  <a:lnTo>
                    <a:pt x="8883" y="953"/>
                  </a:lnTo>
                  <a:lnTo>
                    <a:pt x="8883" y="941"/>
                  </a:lnTo>
                  <a:lnTo>
                    <a:pt x="8883" y="917"/>
                  </a:lnTo>
                  <a:lnTo>
                    <a:pt x="8883" y="905"/>
                  </a:lnTo>
                  <a:lnTo>
                    <a:pt x="8883" y="893"/>
                  </a:lnTo>
                  <a:lnTo>
                    <a:pt x="8883" y="881"/>
                  </a:lnTo>
                  <a:lnTo>
                    <a:pt x="8883" y="857"/>
                  </a:lnTo>
                  <a:lnTo>
                    <a:pt x="8883" y="845"/>
                  </a:lnTo>
                  <a:lnTo>
                    <a:pt x="8883" y="833"/>
                  </a:lnTo>
                  <a:lnTo>
                    <a:pt x="8883" y="822"/>
                  </a:lnTo>
                  <a:lnTo>
                    <a:pt x="8883" y="798"/>
                  </a:lnTo>
                  <a:lnTo>
                    <a:pt x="8883" y="786"/>
                  </a:lnTo>
                  <a:cubicBezTo>
                    <a:pt x="8883" y="786"/>
                    <a:pt x="8883" y="774"/>
                    <a:pt x="8895" y="774"/>
                  </a:cubicBezTo>
                  <a:lnTo>
                    <a:pt x="8895" y="762"/>
                  </a:lnTo>
                  <a:cubicBezTo>
                    <a:pt x="8895" y="762"/>
                    <a:pt x="8895" y="738"/>
                    <a:pt x="8907" y="738"/>
                  </a:cubicBezTo>
                  <a:cubicBezTo>
                    <a:pt x="8919" y="714"/>
                    <a:pt x="8943" y="703"/>
                    <a:pt x="8954" y="667"/>
                  </a:cubicBezTo>
                  <a:cubicBezTo>
                    <a:pt x="8954" y="655"/>
                    <a:pt x="8966" y="655"/>
                    <a:pt x="8966" y="643"/>
                  </a:cubicBezTo>
                  <a:lnTo>
                    <a:pt x="8978" y="619"/>
                  </a:lnTo>
                  <a:lnTo>
                    <a:pt x="9002" y="607"/>
                  </a:lnTo>
                  <a:lnTo>
                    <a:pt x="9014" y="595"/>
                  </a:lnTo>
                  <a:cubicBezTo>
                    <a:pt x="9026" y="595"/>
                    <a:pt x="9026" y="583"/>
                    <a:pt x="9038" y="583"/>
                  </a:cubicBezTo>
                  <a:cubicBezTo>
                    <a:pt x="9145" y="488"/>
                    <a:pt x="9264" y="429"/>
                    <a:pt x="9395" y="405"/>
                  </a:cubicBezTo>
                  <a:close/>
                  <a:moveTo>
                    <a:pt x="6704" y="7775"/>
                  </a:moveTo>
                  <a:cubicBezTo>
                    <a:pt x="6704" y="7787"/>
                    <a:pt x="6704" y="7799"/>
                    <a:pt x="6728" y="7811"/>
                  </a:cubicBezTo>
                  <a:lnTo>
                    <a:pt x="6728" y="7834"/>
                  </a:lnTo>
                  <a:lnTo>
                    <a:pt x="6728" y="7858"/>
                  </a:lnTo>
                  <a:lnTo>
                    <a:pt x="6728" y="7870"/>
                  </a:lnTo>
                  <a:lnTo>
                    <a:pt x="6728" y="7906"/>
                  </a:lnTo>
                  <a:lnTo>
                    <a:pt x="6728" y="7918"/>
                  </a:lnTo>
                  <a:cubicBezTo>
                    <a:pt x="6728" y="7930"/>
                    <a:pt x="6728" y="7930"/>
                    <a:pt x="6740" y="7953"/>
                  </a:cubicBezTo>
                  <a:lnTo>
                    <a:pt x="6740" y="7965"/>
                  </a:lnTo>
                  <a:cubicBezTo>
                    <a:pt x="6740" y="7977"/>
                    <a:pt x="6740" y="7977"/>
                    <a:pt x="6752" y="7989"/>
                  </a:cubicBezTo>
                  <a:lnTo>
                    <a:pt x="6752" y="8013"/>
                  </a:lnTo>
                  <a:cubicBezTo>
                    <a:pt x="6752" y="8025"/>
                    <a:pt x="6752" y="8025"/>
                    <a:pt x="6764" y="8037"/>
                  </a:cubicBezTo>
                  <a:cubicBezTo>
                    <a:pt x="6764" y="8037"/>
                    <a:pt x="6764" y="8049"/>
                    <a:pt x="6776" y="8049"/>
                  </a:cubicBezTo>
                  <a:cubicBezTo>
                    <a:pt x="6776" y="8072"/>
                    <a:pt x="6776" y="8072"/>
                    <a:pt x="6799" y="8084"/>
                  </a:cubicBezTo>
                  <a:cubicBezTo>
                    <a:pt x="6799" y="8084"/>
                    <a:pt x="6799" y="8096"/>
                    <a:pt x="6811" y="8096"/>
                  </a:cubicBezTo>
                  <a:cubicBezTo>
                    <a:pt x="6811" y="8108"/>
                    <a:pt x="6823" y="8108"/>
                    <a:pt x="6823" y="8132"/>
                  </a:cubicBezTo>
                  <a:cubicBezTo>
                    <a:pt x="6823" y="8132"/>
                    <a:pt x="6823" y="8144"/>
                    <a:pt x="6835" y="8144"/>
                  </a:cubicBezTo>
                  <a:cubicBezTo>
                    <a:pt x="6835" y="8156"/>
                    <a:pt x="6859" y="8156"/>
                    <a:pt x="6859" y="8168"/>
                  </a:cubicBezTo>
                  <a:lnTo>
                    <a:pt x="6859" y="8192"/>
                  </a:lnTo>
                  <a:cubicBezTo>
                    <a:pt x="6871" y="8203"/>
                    <a:pt x="6871" y="8215"/>
                    <a:pt x="6883" y="8227"/>
                  </a:cubicBezTo>
                  <a:lnTo>
                    <a:pt x="6883" y="8251"/>
                  </a:lnTo>
                  <a:cubicBezTo>
                    <a:pt x="6883" y="8263"/>
                    <a:pt x="6895" y="8263"/>
                    <a:pt x="6895" y="8275"/>
                  </a:cubicBezTo>
                  <a:cubicBezTo>
                    <a:pt x="6895" y="8275"/>
                    <a:pt x="6895" y="8287"/>
                    <a:pt x="6918" y="8287"/>
                  </a:cubicBezTo>
                  <a:cubicBezTo>
                    <a:pt x="6918" y="8311"/>
                    <a:pt x="6930" y="8311"/>
                    <a:pt x="6930" y="8322"/>
                  </a:cubicBezTo>
                  <a:cubicBezTo>
                    <a:pt x="6930" y="8322"/>
                    <a:pt x="6930" y="8334"/>
                    <a:pt x="6942" y="8334"/>
                  </a:cubicBezTo>
                  <a:lnTo>
                    <a:pt x="6954" y="8346"/>
                  </a:lnTo>
                  <a:lnTo>
                    <a:pt x="6978" y="8370"/>
                  </a:lnTo>
                  <a:lnTo>
                    <a:pt x="6990" y="8382"/>
                  </a:lnTo>
                  <a:lnTo>
                    <a:pt x="7002" y="8394"/>
                  </a:lnTo>
                  <a:lnTo>
                    <a:pt x="7014" y="8406"/>
                  </a:lnTo>
                  <a:lnTo>
                    <a:pt x="1096" y="8406"/>
                  </a:lnTo>
                  <a:cubicBezTo>
                    <a:pt x="727" y="8406"/>
                    <a:pt x="430" y="8144"/>
                    <a:pt x="370" y="7775"/>
                  </a:cubicBezTo>
                  <a:close/>
                  <a:moveTo>
                    <a:pt x="2918" y="0"/>
                  </a:moveTo>
                  <a:cubicBezTo>
                    <a:pt x="2323" y="0"/>
                    <a:pt x="1846" y="476"/>
                    <a:pt x="1846" y="1072"/>
                  </a:cubicBezTo>
                  <a:lnTo>
                    <a:pt x="1846" y="7441"/>
                  </a:lnTo>
                  <a:lnTo>
                    <a:pt x="156" y="7441"/>
                  </a:lnTo>
                  <a:cubicBezTo>
                    <a:pt x="120" y="7441"/>
                    <a:pt x="72" y="7453"/>
                    <a:pt x="37" y="7489"/>
                  </a:cubicBezTo>
                  <a:cubicBezTo>
                    <a:pt x="13" y="7513"/>
                    <a:pt x="1" y="7561"/>
                    <a:pt x="1" y="7608"/>
                  </a:cubicBezTo>
                  <a:cubicBezTo>
                    <a:pt x="1" y="8251"/>
                    <a:pt x="453" y="8739"/>
                    <a:pt x="1072" y="8739"/>
                  </a:cubicBezTo>
                  <a:lnTo>
                    <a:pt x="7776" y="8739"/>
                  </a:lnTo>
                  <a:cubicBezTo>
                    <a:pt x="8371" y="8739"/>
                    <a:pt x="8847" y="8263"/>
                    <a:pt x="8847" y="7668"/>
                  </a:cubicBezTo>
                  <a:lnTo>
                    <a:pt x="8847" y="5703"/>
                  </a:lnTo>
                  <a:cubicBezTo>
                    <a:pt x="8847" y="5608"/>
                    <a:pt x="8776" y="5536"/>
                    <a:pt x="8692" y="5536"/>
                  </a:cubicBezTo>
                  <a:cubicBezTo>
                    <a:pt x="8597" y="5536"/>
                    <a:pt x="8526" y="5608"/>
                    <a:pt x="8526" y="5703"/>
                  </a:cubicBezTo>
                  <a:lnTo>
                    <a:pt x="8526" y="7668"/>
                  </a:lnTo>
                  <a:cubicBezTo>
                    <a:pt x="8526" y="8084"/>
                    <a:pt x="8181" y="8406"/>
                    <a:pt x="7776" y="8406"/>
                  </a:cubicBezTo>
                  <a:lnTo>
                    <a:pt x="7764" y="8406"/>
                  </a:lnTo>
                  <a:cubicBezTo>
                    <a:pt x="7347" y="8406"/>
                    <a:pt x="7026" y="8072"/>
                    <a:pt x="7026" y="7608"/>
                  </a:cubicBezTo>
                  <a:cubicBezTo>
                    <a:pt x="7026" y="7513"/>
                    <a:pt x="6942" y="7441"/>
                    <a:pt x="6859" y="7441"/>
                  </a:cubicBezTo>
                  <a:lnTo>
                    <a:pt x="2168" y="7441"/>
                  </a:lnTo>
                  <a:lnTo>
                    <a:pt x="2168" y="1072"/>
                  </a:lnTo>
                  <a:cubicBezTo>
                    <a:pt x="2168" y="655"/>
                    <a:pt x="2513" y="333"/>
                    <a:pt x="2918" y="333"/>
                  </a:cubicBezTo>
                  <a:lnTo>
                    <a:pt x="8835" y="333"/>
                  </a:lnTo>
                  <a:lnTo>
                    <a:pt x="8823" y="345"/>
                  </a:lnTo>
                  <a:lnTo>
                    <a:pt x="8812" y="357"/>
                  </a:lnTo>
                  <a:lnTo>
                    <a:pt x="8788" y="369"/>
                  </a:lnTo>
                  <a:lnTo>
                    <a:pt x="8776" y="393"/>
                  </a:lnTo>
                  <a:lnTo>
                    <a:pt x="8764" y="405"/>
                  </a:lnTo>
                  <a:lnTo>
                    <a:pt x="8752" y="417"/>
                  </a:lnTo>
                  <a:lnTo>
                    <a:pt x="8728" y="429"/>
                  </a:lnTo>
                  <a:lnTo>
                    <a:pt x="8716" y="452"/>
                  </a:lnTo>
                  <a:lnTo>
                    <a:pt x="8704" y="464"/>
                  </a:lnTo>
                  <a:lnTo>
                    <a:pt x="8692" y="476"/>
                  </a:lnTo>
                  <a:cubicBezTo>
                    <a:pt x="8692" y="476"/>
                    <a:pt x="8669" y="488"/>
                    <a:pt x="8669" y="512"/>
                  </a:cubicBezTo>
                  <a:cubicBezTo>
                    <a:pt x="8669" y="524"/>
                    <a:pt x="8657" y="524"/>
                    <a:pt x="8657" y="536"/>
                  </a:cubicBezTo>
                  <a:cubicBezTo>
                    <a:pt x="8657" y="548"/>
                    <a:pt x="8645" y="548"/>
                    <a:pt x="8645" y="572"/>
                  </a:cubicBezTo>
                  <a:cubicBezTo>
                    <a:pt x="8645" y="583"/>
                    <a:pt x="8633" y="583"/>
                    <a:pt x="8633" y="595"/>
                  </a:cubicBezTo>
                  <a:cubicBezTo>
                    <a:pt x="8633" y="607"/>
                    <a:pt x="8633" y="607"/>
                    <a:pt x="8609" y="631"/>
                  </a:cubicBezTo>
                  <a:cubicBezTo>
                    <a:pt x="8609" y="643"/>
                    <a:pt x="8609" y="643"/>
                    <a:pt x="8597" y="655"/>
                  </a:cubicBezTo>
                  <a:cubicBezTo>
                    <a:pt x="8597" y="667"/>
                    <a:pt x="8597" y="667"/>
                    <a:pt x="8585" y="691"/>
                  </a:cubicBezTo>
                  <a:cubicBezTo>
                    <a:pt x="8585" y="703"/>
                    <a:pt x="8585" y="703"/>
                    <a:pt x="8573" y="714"/>
                  </a:cubicBezTo>
                  <a:cubicBezTo>
                    <a:pt x="8573" y="726"/>
                    <a:pt x="8573" y="726"/>
                    <a:pt x="8550" y="750"/>
                  </a:cubicBezTo>
                  <a:cubicBezTo>
                    <a:pt x="8550" y="762"/>
                    <a:pt x="8550" y="762"/>
                    <a:pt x="8538" y="774"/>
                  </a:cubicBezTo>
                  <a:cubicBezTo>
                    <a:pt x="8538" y="786"/>
                    <a:pt x="8538" y="786"/>
                    <a:pt x="8526" y="810"/>
                  </a:cubicBezTo>
                  <a:lnTo>
                    <a:pt x="8526" y="833"/>
                  </a:lnTo>
                  <a:lnTo>
                    <a:pt x="8526" y="869"/>
                  </a:lnTo>
                  <a:lnTo>
                    <a:pt x="8526" y="893"/>
                  </a:lnTo>
                  <a:lnTo>
                    <a:pt x="8526" y="929"/>
                  </a:lnTo>
                  <a:lnTo>
                    <a:pt x="8526" y="953"/>
                  </a:lnTo>
                  <a:lnTo>
                    <a:pt x="8526" y="988"/>
                  </a:lnTo>
                  <a:lnTo>
                    <a:pt x="8526" y="1012"/>
                  </a:lnTo>
                  <a:lnTo>
                    <a:pt x="8526" y="1048"/>
                  </a:lnTo>
                  <a:lnTo>
                    <a:pt x="8526" y="1060"/>
                  </a:lnTo>
                  <a:lnTo>
                    <a:pt x="8526" y="1119"/>
                  </a:lnTo>
                  <a:lnTo>
                    <a:pt x="8526" y="1179"/>
                  </a:lnTo>
                  <a:lnTo>
                    <a:pt x="8526" y="2560"/>
                  </a:lnTo>
                  <a:cubicBezTo>
                    <a:pt x="8526" y="2655"/>
                    <a:pt x="8597" y="2727"/>
                    <a:pt x="8692" y="2727"/>
                  </a:cubicBezTo>
                  <a:cubicBezTo>
                    <a:pt x="8776" y="2727"/>
                    <a:pt x="8847" y="2655"/>
                    <a:pt x="8847" y="2560"/>
                  </a:cubicBezTo>
                  <a:lnTo>
                    <a:pt x="8847" y="1286"/>
                  </a:lnTo>
                  <a:lnTo>
                    <a:pt x="10514" y="1286"/>
                  </a:lnTo>
                  <a:cubicBezTo>
                    <a:pt x="10562" y="1286"/>
                    <a:pt x="10609" y="1262"/>
                    <a:pt x="10633" y="1238"/>
                  </a:cubicBezTo>
                  <a:cubicBezTo>
                    <a:pt x="10669" y="1203"/>
                    <a:pt x="10681" y="1167"/>
                    <a:pt x="10681" y="1119"/>
                  </a:cubicBezTo>
                  <a:cubicBezTo>
                    <a:pt x="10681" y="476"/>
                    <a:pt x="10216" y="0"/>
                    <a:pt x="9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6" name="Google Shape;12406;p62"/>
            <p:cNvSpPr/>
            <p:nvPr/>
          </p:nvSpPr>
          <p:spPr>
            <a:xfrm>
              <a:off x="6367888" y="2552562"/>
              <a:ext cx="167008" cy="132627"/>
            </a:xfrm>
            <a:custGeom>
              <a:avLst/>
              <a:gdLst/>
              <a:ahLst/>
              <a:cxnLst/>
              <a:rect l="l" t="t" r="r" b="b"/>
              <a:pathLst>
                <a:path w="5251" h="4170" extrusionOk="0">
                  <a:moveTo>
                    <a:pt x="3679" y="407"/>
                  </a:moveTo>
                  <a:cubicBezTo>
                    <a:pt x="3108" y="669"/>
                    <a:pt x="2560" y="1027"/>
                    <a:pt x="2262" y="1217"/>
                  </a:cubicBezTo>
                  <a:cubicBezTo>
                    <a:pt x="1774" y="1550"/>
                    <a:pt x="1250" y="1955"/>
                    <a:pt x="858" y="2289"/>
                  </a:cubicBezTo>
                  <a:cubicBezTo>
                    <a:pt x="988" y="1991"/>
                    <a:pt x="1119" y="1729"/>
                    <a:pt x="1322" y="1503"/>
                  </a:cubicBezTo>
                  <a:cubicBezTo>
                    <a:pt x="1703" y="1074"/>
                    <a:pt x="2274" y="741"/>
                    <a:pt x="3036" y="538"/>
                  </a:cubicBezTo>
                  <a:cubicBezTo>
                    <a:pt x="3251" y="479"/>
                    <a:pt x="3453" y="431"/>
                    <a:pt x="3679" y="407"/>
                  </a:cubicBezTo>
                  <a:close/>
                  <a:moveTo>
                    <a:pt x="4548" y="372"/>
                  </a:moveTo>
                  <a:lnTo>
                    <a:pt x="4548" y="372"/>
                  </a:lnTo>
                  <a:cubicBezTo>
                    <a:pt x="4322" y="610"/>
                    <a:pt x="4084" y="836"/>
                    <a:pt x="3822" y="1122"/>
                  </a:cubicBezTo>
                  <a:cubicBezTo>
                    <a:pt x="3382" y="1598"/>
                    <a:pt x="2417" y="2217"/>
                    <a:pt x="2001" y="2348"/>
                  </a:cubicBezTo>
                  <a:cubicBezTo>
                    <a:pt x="1762" y="2432"/>
                    <a:pt x="1560" y="2467"/>
                    <a:pt x="1381" y="2527"/>
                  </a:cubicBezTo>
                  <a:cubicBezTo>
                    <a:pt x="1239" y="2574"/>
                    <a:pt x="1084" y="2610"/>
                    <a:pt x="953" y="2646"/>
                  </a:cubicBezTo>
                  <a:cubicBezTo>
                    <a:pt x="1012" y="2586"/>
                    <a:pt x="1084" y="2515"/>
                    <a:pt x="1179" y="2443"/>
                  </a:cubicBezTo>
                  <a:cubicBezTo>
                    <a:pt x="1524" y="2146"/>
                    <a:pt x="1977" y="1800"/>
                    <a:pt x="2453" y="1479"/>
                  </a:cubicBezTo>
                  <a:cubicBezTo>
                    <a:pt x="3274" y="919"/>
                    <a:pt x="4025" y="550"/>
                    <a:pt x="4548" y="372"/>
                  </a:cubicBezTo>
                  <a:close/>
                  <a:moveTo>
                    <a:pt x="4912" y="0"/>
                  </a:moveTo>
                  <a:cubicBezTo>
                    <a:pt x="3584" y="0"/>
                    <a:pt x="1934" y="348"/>
                    <a:pt x="1084" y="1312"/>
                  </a:cubicBezTo>
                  <a:cubicBezTo>
                    <a:pt x="703" y="1753"/>
                    <a:pt x="524" y="2324"/>
                    <a:pt x="346" y="2872"/>
                  </a:cubicBezTo>
                  <a:lnTo>
                    <a:pt x="298" y="3003"/>
                  </a:lnTo>
                  <a:lnTo>
                    <a:pt x="36" y="3967"/>
                  </a:lnTo>
                  <a:cubicBezTo>
                    <a:pt x="0" y="4063"/>
                    <a:pt x="60" y="4146"/>
                    <a:pt x="155" y="4170"/>
                  </a:cubicBezTo>
                  <a:lnTo>
                    <a:pt x="191" y="4170"/>
                  </a:lnTo>
                  <a:cubicBezTo>
                    <a:pt x="274" y="4170"/>
                    <a:pt x="334" y="4122"/>
                    <a:pt x="346" y="4051"/>
                  </a:cubicBezTo>
                  <a:lnTo>
                    <a:pt x="596" y="3134"/>
                  </a:lnTo>
                  <a:cubicBezTo>
                    <a:pt x="905" y="2991"/>
                    <a:pt x="1167" y="2932"/>
                    <a:pt x="1489" y="2824"/>
                  </a:cubicBezTo>
                  <a:cubicBezTo>
                    <a:pt x="1667" y="2777"/>
                    <a:pt x="1858" y="2717"/>
                    <a:pt x="2096" y="2646"/>
                  </a:cubicBezTo>
                  <a:cubicBezTo>
                    <a:pt x="2620" y="2479"/>
                    <a:pt x="3620" y="1812"/>
                    <a:pt x="4084" y="1324"/>
                  </a:cubicBezTo>
                  <a:cubicBezTo>
                    <a:pt x="4477" y="896"/>
                    <a:pt x="4822" y="562"/>
                    <a:pt x="5215" y="253"/>
                  </a:cubicBezTo>
                  <a:lnTo>
                    <a:pt x="5227" y="241"/>
                  </a:lnTo>
                  <a:lnTo>
                    <a:pt x="5239" y="217"/>
                  </a:lnTo>
                  <a:cubicBezTo>
                    <a:pt x="5251" y="205"/>
                    <a:pt x="5251" y="193"/>
                    <a:pt x="5251" y="181"/>
                  </a:cubicBezTo>
                  <a:lnTo>
                    <a:pt x="5251" y="157"/>
                  </a:lnTo>
                  <a:lnTo>
                    <a:pt x="5251" y="134"/>
                  </a:lnTo>
                  <a:cubicBezTo>
                    <a:pt x="5251" y="122"/>
                    <a:pt x="5251" y="110"/>
                    <a:pt x="5239" y="86"/>
                  </a:cubicBezTo>
                  <a:cubicBezTo>
                    <a:pt x="5239" y="86"/>
                    <a:pt x="5239" y="74"/>
                    <a:pt x="5227" y="74"/>
                  </a:cubicBezTo>
                  <a:cubicBezTo>
                    <a:pt x="5227" y="74"/>
                    <a:pt x="5227" y="62"/>
                    <a:pt x="5215" y="62"/>
                  </a:cubicBezTo>
                  <a:lnTo>
                    <a:pt x="5191" y="38"/>
                  </a:lnTo>
                  <a:lnTo>
                    <a:pt x="5179" y="26"/>
                  </a:lnTo>
                  <a:lnTo>
                    <a:pt x="5168" y="15"/>
                  </a:lnTo>
                  <a:cubicBezTo>
                    <a:pt x="5168" y="15"/>
                    <a:pt x="5156" y="15"/>
                    <a:pt x="5156" y="3"/>
                  </a:cubicBezTo>
                  <a:lnTo>
                    <a:pt x="5108" y="3"/>
                  </a:lnTo>
                  <a:cubicBezTo>
                    <a:pt x="5044" y="1"/>
                    <a:pt x="4978" y="0"/>
                    <a:pt x="49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07" name="Google Shape;12407;p62"/>
          <p:cNvGrpSpPr/>
          <p:nvPr/>
        </p:nvGrpSpPr>
        <p:grpSpPr>
          <a:xfrm>
            <a:off x="5735477" y="2429858"/>
            <a:ext cx="353354" cy="341299"/>
            <a:chOff x="5735477" y="2429858"/>
            <a:chExt cx="353354" cy="341299"/>
          </a:xfrm>
        </p:grpSpPr>
        <p:sp>
          <p:nvSpPr>
            <p:cNvPr id="12408" name="Google Shape;12408;p62"/>
            <p:cNvSpPr/>
            <p:nvPr/>
          </p:nvSpPr>
          <p:spPr>
            <a:xfrm>
              <a:off x="5824468" y="2594703"/>
              <a:ext cx="176359" cy="76968"/>
            </a:xfrm>
            <a:custGeom>
              <a:avLst/>
              <a:gdLst/>
              <a:ahLst/>
              <a:cxnLst/>
              <a:rect l="l" t="t" r="r" b="b"/>
              <a:pathLst>
                <a:path w="5545" h="2420" extrusionOk="0">
                  <a:moveTo>
                    <a:pt x="3427" y="340"/>
                  </a:moveTo>
                  <a:cubicBezTo>
                    <a:pt x="3652" y="340"/>
                    <a:pt x="3900" y="416"/>
                    <a:pt x="4108" y="630"/>
                  </a:cubicBezTo>
                  <a:cubicBezTo>
                    <a:pt x="4335" y="845"/>
                    <a:pt x="4537" y="999"/>
                    <a:pt x="4739" y="1107"/>
                  </a:cubicBezTo>
                  <a:cubicBezTo>
                    <a:pt x="4510" y="1133"/>
                    <a:pt x="4229" y="1154"/>
                    <a:pt x="3943" y="1154"/>
                  </a:cubicBezTo>
                  <a:cubicBezTo>
                    <a:pt x="3575" y="1154"/>
                    <a:pt x="3199" y="1118"/>
                    <a:pt x="2918" y="1011"/>
                  </a:cubicBezTo>
                  <a:lnTo>
                    <a:pt x="2834" y="987"/>
                  </a:lnTo>
                  <a:cubicBezTo>
                    <a:pt x="2811" y="976"/>
                    <a:pt x="2787" y="970"/>
                    <a:pt x="2766" y="970"/>
                  </a:cubicBezTo>
                  <a:cubicBezTo>
                    <a:pt x="2745" y="970"/>
                    <a:pt x="2727" y="976"/>
                    <a:pt x="2715" y="987"/>
                  </a:cubicBezTo>
                  <a:lnTo>
                    <a:pt x="2620" y="1011"/>
                  </a:lnTo>
                  <a:cubicBezTo>
                    <a:pt x="2325" y="1118"/>
                    <a:pt x="1951" y="1154"/>
                    <a:pt x="1583" y="1154"/>
                  </a:cubicBezTo>
                  <a:cubicBezTo>
                    <a:pt x="1297" y="1154"/>
                    <a:pt x="1014" y="1133"/>
                    <a:pt x="775" y="1107"/>
                  </a:cubicBezTo>
                  <a:cubicBezTo>
                    <a:pt x="965" y="999"/>
                    <a:pt x="1180" y="845"/>
                    <a:pt x="1406" y="630"/>
                  </a:cubicBezTo>
                  <a:cubicBezTo>
                    <a:pt x="1614" y="416"/>
                    <a:pt x="1862" y="340"/>
                    <a:pt x="2087" y="340"/>
                  </a:cubicBezTo>
                  <a:cubicBezTo>
                    <a:pt x="2326" y="340"/>
                    <a:pt x="2540" y="425"/>
                    <a:pt x="2656" y="523"/>
                  </a:cubicBezTo>
                  <a:cubicBezTo>
                    <a:pt x="2686" y="553"/>
                    <a:pt x="2721" y="568"/>
                    <a:pt x="2757" y="568"/>
                  </a:cubicBezTo>
                  <a:cubicBezTo>
                    <a:pt x="2793" y="568"/>
                    <a:pt x="2829" y="553"/>
                    <a:pt x="2858" y="523"/>
                  </a:cubicBezTo>
                  <a:cubicBezTo>
                    <a:pt x="2975" y="425"/>
                    <a:pt x="3188" y="340"/>
                    <a:pt x="3427" y="340"/>
                  </a:cubicBezTo>
                  <a:close/>
                  <a:moveTo>
                    <a:pt x="2727" y="1309"/>
                  </a:moveTo>
                  <a:lnTo>
                    <a:pt x="2751" y="1321"/>
                  </a:lnTo>
                  <a:cubicBezTo>
                    <a:pt x="3111" y="1433"/>
                    <a:pt x="3533" y="1470"/>
                    <a:pt x="3932" y="1470"/>
                  </a:cubicBezTo>
                  <a:cubicBezTo>
                    <a:pt x="4167" y="1470"/>
                    <a:pt x="4394" y="1458"/>
                    <a:pt x="4597" y="1440"/>
                  </a:cubicBezTo>
                  <a:lnTo>
                    <a:pt x="4597" y="1440"/>
                  </a:lnTo>
                  <a:cubicBezTo>
                    <a:pt x="4585" y="1464"/>
                    <a:pt x="4561" y="1476"/>
                    <a:pt x="4537" y="1488"/>
                  </a:cubicBezTo>
                  <a:cubicBezTo>
                    <a:pt x="4525" y="1499"/>
                    <a:pt x="4501" y="1523"/>
                    <a:pt x="4478" y="1535"/>
                  </a:cubicBezTo>
                  <a:lnTo>
                    <a:pt x="4466" y="1547"/>
                  </a:lnTo>
                  <a:cubicBezTo>
                    <a:pt x="4454" y="1559"/>
                    <a:pt x="4430" y="1583"/>
                    <a:pt x="4418" y="1583"/>
                  </a:cubicBezTo>
                  <a:cubicBezTo>
                    <a:pt x="4406" y="1583"/>
                    <a:pt x="4406" y="1595"/>
                    <a:pt x="4394" y="1595"/>
                  </a:cubicBezTo>
                  <a:cubicBezTo>
                    <a:pt x="4382" y="1607"/>
                    <a:pt x="4358" y="1607"/>
                    <a:pt x="4347" y="1618"/>
                  </a:cubicBezTo>
                  <a:cubicBezTo>
                    <a:pt x="4335" y="1618"/>
                    <a:pt x="4335" y="1642"/>
                    <a:pt x="4311" y="1642"/>
                  </a:cubicBezTo>
                  <a:cubicBezTo>
                    <a:pt x="4299" y="1654"/>
                    <a:pt x="4287" y="1654"/>
                    <a:pt x="4275" y="1666"/>
                  </a:cubicBezTo>
                  <a:cubicBezTo>
                    <a:pt x="4263" y="1666"/>
                    <a:pt x="4263" y="1678"/>
                    <a:pt x="4239" y="1678"/>
                  </a:cubicBezTo>
                  <a:cubicBezTo>
                    <a:pt x="4228" y="1702"/>
                    <a:pt x="4216" y="1714"/>
                    <a:pt x="4204" y="1714"/>
                  </a:cubicBezTo>
                  <a:cubicBezTo>
                    <a:pt x="4180" y="1714"/>
                    <a:pt x="4180" y="1726"/>
                    <a:pt x="4168" y="1726"/>
                  </a:cubicBezTo>
                  <a:lnTo>
                    <a:pt x="4120" y="1773"/>
                  </a:lnTo>
                  <a:lnTo>
                    <a:pt x="4108" y="1785"/>
                  </a:lnTo>
                  <a:lnTo>
                    <a:pt x="4049" y="1845"/>
                  </a:lnTo>
                  <a:cubicBezTo>
                    <a:pt x="3930" y="1964"/>
                    <a:pt x="3668" y="2059"/>
                    <a:pt x="3311" y="2095"/>
                  </a:cubicBezTo>
                  <a:cubicBezTo>
                    <a:pt x="3013" y="2130"/>
                    <a:pt x="2751" y="2130"/>
                    <a:pt x="2751" y="2130"/>
                  </a:cubicBezTo>
                  <a:lnTo>
                    <a:pt x="2727" y="2130"/>
                  </a:lnTo>
                  <a:cubicBezTo>
                    <a:pt x="2644" y="2130"/>
                    <a:pt x="2430" y="2130"/>
                    <a:pt x="2203" y="2095"/>
                  </a:cubicBezTo>
                  <a:cubicBezTo>
                    <a:pt x="1846" y="2059"/>
                    <a:pt x="1572" y="1964"/>
                    <a:pt x="1453" y="1845"/>
                  </a:cubicBezTo>
                  <a:lnTo>
                    <a:pt x="1394" y="1785"/>
                  </a:lnTo>
                  <a:lnTo>
                    <a:pt x="1382" y="1773"/>
                  </a:lnTo>
                  <a:lnTo>
                    <a:pt x="1334" y="1726"/>
                  </a:lnTo>
                  <a:cubicBezTo>
                    <a:pt x="1322" y="1726"/>
                    <a:pt x="1322" y="1714"/>
                    <a:pt x="1310" y="1714"/>
                  </a:cubicBezTo>
                  <a:cubicBezTo>
                    <a:pt x="1299" y="1702"/>
                    <a:pt x="1275" y="1678"/>
                    <a:pt x="1263" y="1678"/>
                  </a:cubicBezTo>
                  <a:cubicBezTo>
                    <a:pt x="1251" y="1678"/>
                    <a:pt x="1251" y="1666"/>
                    <a:pt x="1239" y="1666"/>
                  </a:cubicBezTo>
                  <a:cubicBezTo>
                    <a:pt x="1227" y="1654"/>
                    <a:pt x="1203" y="1654"/>
                    <a:pt x="1191" y="1642"/>
                  </a:cubicBezTo>
                  <a:cubicBezTo>
                    <a:pt x="1180" y="1642"/>
                    <a:pt x="1180" y="1618"/>
                    <a:pt x="1156" y="1618"/>
                  </a:cubicBezTo>
                  <a:cubicBezTo>
                    <a:pt x="1144" y="1607"/>
                    <a:pt x="1132" y="1607"/>
                    <a:pt x="1120" y="1595"/>
                  </a:cubicBezTo>
                  <a:cubicBezTo>
                    <a:pt x="1108" y="1595"/>
                    <a:pt x="1108" y="1583"/>
                    <a:pt x="1084" y="1583"/>
                  </a:cubicBezTo>
                  <a:cubicBezTo>
                    <a:pt x="1072" y="1559"/>
                    <a:pt x="1060" y="1559"/>
                    <a:pt x="1037" y="1547"/>
                  </a:cubicBezTo>
                  <a:lnTo>
                    <a:pt x="1025" y="1535"/>
                  </a:lnTo>
                  <a:cubicBezTo>
                    <a:pt x="1013" y="1523"/>
                    <a:pt x="989" y="1499"/>
                    <a:pt x="965" y="1488"/>
                  </a:cubicBezTo>
                  <a:lnTo>
                    <a:pt x="953" y="1488"/>
                  </a:lnTo>
                  <a:cubicBezTo>
                    <a:pt x="941" y="1476"/>
                    <a:pt x="929" y="1464"/>
                    <a:pt x="894" y="1440"/>
                  </a:cubicBezTo>
                  <a:lnTo>
                    <a:pt x="894" y="1440"/>
                  </a:lnTo>
                  <a:cubicBezTo>
                    <a:pt x="1114" y="1464"/>
                    <a:pt x="1367" y="1482"/>
                    <a:pt x="1623" y="1482"/>
                  </a:cubicBezTo>
                  <a:cubicBezTo>
                    <a:pt x="2004" y="1482"/>
                    <a:pt x="2393" y="1442"/>
                    <a:pt x="2692" y="1321"/>
                  </a:cubicBezTo>
                  <a:lnTo>
                    <a:pt x="2727" y="1309"/>
                  </a:lnTo>
                  <a:close/>
                  <a:moveTo>
                    <a:pt x="2093" y="1"/>
                  </a:moveTo>
                  <a:cubicBezTo>
                    <a:pt x="1780" y="1"/>
                    <a:pt x="1439" y="109"/>
                    <a:pt x="1156" y="392"/>
                  </a:cubicBezTo>
                  <a:cubicBezTo>
                    <a:pt x="632" y="928"/>
                    <a:pt x="132" y="999"/>
                    <a:pt x="120" y="999"/>
                  </a:cubicBezTo>
                  <a:lnTo>
                    <a:pt x="84" y="999"/>
                  </a:lnTo>
                  <a:cubicBezTo>
                    <a:pt x="84" y="999"/>
                    <a:pt x="72" y="999"/>
                    <a:pt x="72" y="1011"/>
                  </a:cubicBezTo>
                  <a:cubicBezTo>
                    <a:pt x="72" y="1011"/>
                    <a:pt x="60" y="1011"/>
                    <a:pt x="60" y="1023"/>
                  </a:cubicBezTo>
                  <a:lnTo>
                    <a:pt x="48" y="1047"/>
                  </a:lnTo>
                  <a:lnTo>
                    <a:pt x="37" y="1059"/>
                  </a:lnTo>
                  <a:lnTo>
                    <a:pt x="13" y="1071"/>
                  </a:lnTo>
                  <a:cubicBezTo>
                    <a:pt x="13" y="1071"/>
                    <a:pt x="13" y="1083"/>
                    <a:pt x="1" y="1083"/>
                  </a:cubicBezTo>
                  <a:lnTo>
                    <a:pt x="1" y="1107"/>
                  </a:lnTo>
                  <a:lnTo>
                    <a:pt x="1" y="1130"/>
                  </a:lnTo>
                  <a:lnTo>
                    <a:pt x="1" y="1142"/>
                  </a:lnTo>
                  <a:lnTo>
                    <a:pt x="1" y="1166"/>
                  </a:lnTo>
                  <a:cubicBezTo>
                    <a:pt x="1" y="1166"/>
                    <a:pt x="1" y="1178"/>
                    <a:pt x="13" y="1178"/>
                  </a:cubicBezTo>
                  <a:lnTo>
                    <a:pt x="37" y="1190"/>
                  </a:lnTo>
                  <a:lnTo>
                    <a:pt x="48" y="1202"/>
                  </a:lnTo>
                  <a:lnTo>
                    <a:pt x="60" y="1226"/>
                  </a:lnTo>
                  <a:lnTo>
                    <a:pt x="72" y="1237"/>
                  </a:lnTo>
                  <a:cubicBezTo>
                    <a:pt x="72" y="1237"/>
                    <a:pt x="727" y="1559"/>
                    <a:pt x="1203" y="2035"/>
                  </a:cubicBezTo>
                  <a:cubicBezTo>
                    <a:pt x="1538" y="2370"/>
                    <a:pt x="2322" y="2419"/>
                    <a:pt x="2628" y="2419"/>
                  </a:cubicBezTo>
                  <a:cubicBezTo>
                    <a:pt x="2681" y="2419"/>
                    <a:pt x="2720" y="2418"/>
                    <a:pt x="2739" y="2416"/>
                  </a:cubicBezTo>
                  <a:lnTo>
                    <a:pt x="2799" y="2416"/>
                  </a:lnTo>
                  <a:cubicBezTo>
                    <a:pt x="3061" y="2416"/>
                    <a:pt x="3918" y="2380"/>
                    <a:pt x="4275" y="2035"/>
                  </a:cubicBezTo>
                  <a:cubicBezTo>
                    <a:pt x="4751" y="1559"/>
                    <a:pt x="5406" y="1237"/>
                    <a:pt x="5406" y="1237"/>
                  </a:cubicBezTo>
                  <a:lnTo>
                    <a:pt x="5418" y="1226"/>
                  </a:lnTo>
                  <a:lnTo>
                    <a:pt x="5430" y="1202"/>
                  </a:lnTo>
                  <a:cubicBezTo>
                    <a:pt x="5450" y="1208"/>
                    <a:pt x="5467" y="1211"/>
                    <a:pt x="5480" y="1211"/>
                  </a:cubicBezTo>
                  <a:cubicBezTo>
                    <a:pt x="5540" y="1211"/>
                    <a:pt x="5545" y="1155"/>
                    <a:pt x="5525" y="1107"/>
                  </a:cubicBezTo>
                  <a:cubicBezTo>
                    <a:pt x="5513" y="1059"/>
                    <a:pt x="5466" y="1011"/>
                    <a:pt x="5418" y="999"/>
                  </a:cubicBezTo>
                  <a:lnTo>
                    <a:pt x="5394" y="999"/>
                  </a:lnTo>
                  <a:cubicBezTo>
                    <a:pt x="5394" y="999"/>
                    <a:pt x="4882" y="904"/>
                    <a:pt x="4347" y="392"/>
                  </a:cubicBezTo>
                  <a:cubicBezTo>
                    <a:pt x="4063" y="109"/>
                    <a:pt x="3726" y="1"/>
                    <a:pt x="3414" y="1"/>
                  </a:cubicBezTo>
                  <a:cubicBezTo>
                    <a:pt x="3162" y="1"/>
                    <a:pt x="2927" y="71"/>
                    <a:pt x="2751" y="178"/>
                  </a:cubicBezTo>
                  <a:cubicBezTo>
                    <a:pt x="2581" y="71"/>
                    <a:pt x="2346" y="1"/>
                    <a:pt x="20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09" name="Google Shape;12409;p62"/>
            <p:cNvSpPr/>
            <p:nvPr/>
          </p:nvSpPr>
          <p:spPr>
            <a:xfrm>
              <a:off x="5735477" y="2429858"/>
              <a:ext cx="353354" cy="126202"/>
            </a:xfrm>
            <a:custGeom>
              <a:avLst/>
              <a:gdLst/>
              <a:ahLst/>
              <a:cxnLst/>
              <a:rect l="l" t="t" r="r" b="b"/>
              <a:pathLst>
                <a:path w="11110" h="3968" extrusionOk="0">
                  <a:moveTo>
                    <a:pt x="10764" y="324"/>
                  </a:moveTo>
                  <a:cubicBezTo>
                    <a:pt x="10776" y="324"/>
                    <a:pt x="10776" y="324"/>
                    <a:pt x="10776" y="348"/>
                  </a:cubicBezTo>
                  <a:cubicBezTo>
                    <a:pt x="10764" y="348"/>
                    <a:pt x="10764" y="360"/>
                    <a:pt x="10764" y="360"/>
                  </a:cubicBezTo>
                  <a:cubicBezTo>
                    <a:pt x="10669" y="1015"/>
                    <a:pt x="10312" y="2599"/>
                    <a:pt x="9014" y="3325"/>
                  </a:cubicBezTo>
                  <a:cubicBezTo>
                    <a:pt x="8645" y="3527"/>
                    <a:pt x="8240" y="3634"/>
                    <a:pt x="7847" y="3634"/>
                  </a:cubicBezTo>
                  <a:lnTo>
                    <a:pt x="7680" y="3634"/>
                  </a:lnTo>
                  <a:cubicBezTo>
                    <a:pt x="6835" y="3575"/>
                    <a:pt x="6121" y="3087"/>
                    <a:pt x="5763" y="2801"/>
                  </a:cubicBezTo>
                  <a:cubicBezTo>
                    <a:pt x="5704" y="2753"/>
                    <a:pt x="5644" y="2730"/>
                    <a:pt x="5561" y="2730"/>
                  </a:cubicBezTo>
                  <a:cubicBezTo>
                    <a:pt x="5490" y="2730"/>
                    <a:pt x="5418" y="2753"/>
                    <a:pt x="5371" y="2801"/>
                  </a:cubicBezTo>
                  <a:cubicBezTo>
                    <a:pt x="5025" y="3087"/>
                    <a:pt x="4323" y="3575"/>
                    <a:pt x="3454" y="3634"/>
                  </a:cubicBezTo>
                  <a:lnTo>
                    <a:pt x="3287" y="3634"/>
                  </a:lnTo>
                  <a:cubicBezTo>
                    <a:pt x="2870" y="3634"/>
                    <a:pt x="2489" y="3527"/>
                    <a:pt x="2108" y="3325"/>
                  </a:cubicBezTo>
                  <a:cubicBezTo>
                    <a:pt x="822" y="2599"/>
                    <a:pt x="465" y="1015"/>
                    <a:pt x="370" y="360"/>
                  </a:cubicBezTo>
                  <a:lnTo>
                    <a:pt x="370" y="348"/>
                  </a:lnTo>
                  <a:cubicBezTo>
                    <a:pt x="370" y="348"/>
                    <a:pt x="382" y="324"/>
                    <a:pt x="406" y="324"/>
                  </a:cubicBezTo>
                  <a:cubicBezTo>
                    <a:pt x="418" y="324"/>
                    <a:pt x="418" y="324"/>
                    <a:pt x="418" y="348"/>
                  </a:cubicBezTo>
                  <a:cubicBezTo>
                    <a:pt x="1025" y="920"/>
                    <a:pt x="2084" y="1063"/>
                    <a:pt x="2668" y="1086"/>
                  </a:cubicBezTo>
                  <a:cubicBezTo>
                    <a:pt x="3644" y="1134"/>
                    <a:pt x="4406" y="1563"/>
                    <a:pt x="4870" y="1908"/>
                  </a:cubicBezTo>
                  <a:cubicBezTo>
                    <a:pt x="4894" y="1944"/>
                    <a:pt x="4930" y="1956"/>
                    <a:pt x="4954" y="1979"/>
                  </a:cubicBezTo>
                  <a:cubicBezTo>
                    <a:pt x="5132" y="2110"/>
                    <a:pt x="5359" y="2194"/>
                    <a:pt x="5585" y="2194"/>
                  </a:cubicBezTo>
                  <a:cubicBezTo>
                    <a:pt x="5799" y="2194"/>
                    <a:pt x="6025" y="2110"/>
                    <a:pt x="6204" y="1979"/>
                  </a:cubicBezTo>
                  <a:cubicBezTo>
                    <a:pt x="6240" y="1956"/>
                    <a:pt x="6264" y="1944"/>
                    <a:pt x="6299" y="1908"/>
                  </a:cubicBezTo>
                  <a:cubicBezTo>
                    <a:pt x="6752" y="1563"/>
                    <a:pt x="7514" y="1134"/>
                    <a:pt x="8502" y="1086"/>
                  </a:cubicBezTo>
                  <a:cubicBezTo>
                    <a:pt x="9061" y="1063"/>
                    <a:pt x="10121" y="920"/>
                    <a:pt x="10740" y="348"/>
                  </a:cubicBezTo>
                  <a:lnTo>
                    <a:pt x="10764" y="324"/>
                  </a:lnTo>
                  <a:close/>
                  <a:moveTo>
                    <a:pt x="395" y="0"/>
                  </a:moveTo>
                  <a:cubicBezTo>
                    <a:pt x="379" y="0"/>
                    <a:pt x="363" y="1"/>
                    <a:pt x="346" y="3"/>
                  </a:cubicBezTo>
                  <a:cubicBezTo>
                    <a:pt x="239" y="3"/>
                    <a:pt x="156" y="63"/>
                    <a:pt x="84" y="134"/>
                  </a:cubicBezTo>
                  <a:cubicBezTo>
                    <a:pt x="25" y="217"/>
                    <a:pt x="1" y="313"/>
                    <a:pt x="13" y="408"/>
                  </a:cubicBezTo>
                  <a:cubicBezTo>
                    <a:pt x="120" y="1110"/>
                    <a:pt x="489" y="2801"/>
                    <a:pt x="1918" y="3611"/>
                  </a:cubicBezTo>
                  <a:cubicBezTo>
                    <a:pt x="2334" y="3849"/>
                    <a:pt x="2799" y="3968"/>
                    <a:pt x="3263" y="3968"/>
                  </a:cubicBezTo>
                  <a:lnTo>
                    <a:pt x="3454" y="3968"/>
                  </a:lnTo>
                  <a:cubicBezTo>
                    <a:pt x="4394" y="3908"/>
                    <a:pt x="5168" y="3372"/>
                    <a:pt x="5537" y="3075"/>
                  </a:cubicBezTo>
                  <a:cubicBezTo>
                    <a:pt x="5918" y="3384"/>
                    <a:pt x="6692" y="3908"/>
                    <a:pt x="7633" y="3968"/>
                  </a:cubicBezTo>
                  <a:lnTo>
                    <a:pt x="7823" y="3968"/>
                  </a:lnTo>
                  <a:cubicBezTo>
                    <a:pt x="8288" y="3968"/>
                    <a:pt x="8752" y="3849"/>
                    <a:pt x="9169" y="3611"/>
                  </a:cubicBezTo>
                  <a:cubicBezTo>
                    <a:pt x="10585" y="2801"/>
                    <a:pt x="10966" y="1110"/>
                    <a:pt x="11074" y="408"/>
                  </a:cubicBezTo>
                  <a:cubicBezTo>
                    <a:pt x="11109" y="313"/>
                    <a:pt x="11074" y="217"/>
                    <a:pt x="11014" y="134"/>
                  </a:cubicBezTo>
                  <a:cubicBezTo>
                    <a:pt x="10955" y="63"/>
                    <a:pt x="10871" y="15"/>
                    <a:pt x="10764" y="3"/>
                  </a:cubicBezTo>
                  <a:cubicBezTo>
                    <a:pt x="10657" y="3"/>
                    <a:pt x="10574" y="39"/>
                    <a:pt x="10490" y="98"/>
                  </a:cubicBezTo>
                  <a:cubicBezTo>
                    <a:pt x="10252" y="313"/>
                    <a:pt x="9693" y="694"/>
                    <a:pt x="8454" y="753"/>
                  </a:cubicBezTo>
                  <a:cubicBezTo>
                    <a:pt x="7395" y="813"/>
                    <a:pt x="6585" y="1253"/>
                    <a:pt x="6073" y="1622"/>
                  </a:cubicBezTo>
                  <a:cubicBezTo>
                    <a:pt x="6037" y="1658"/>
                    <a:pt x="6002" y="1670"/>
                    <a:pt x="5966" y="1706"/>
                  </a:cubicBezTo>
                  <a:cubicBezTo>
                    <a:pt x="5847" y="1789"/>
                    <a:pt x="5704" y="1848"/>
                    <a:pt x="5549" y="1848"/>
                  </a:cubicBezTo>
                  <a:cubicBezTo>
                    <a:pt x="5406" y="1848"/>
                    <a:pt x="5251" y="1801"/>
                    <a:pt x="5132" y="1706"/>
                  </a:cubicBezTo>
                  <a:cubicBezTo>
                    <a:pt x="5109" y="1670"/>
                    <a:pt x="5073" y="1658"/>
                    <a:pt x="5025" y="1622"/>
                  </a:cubicBezTo>
                  <a:cubicBezTo>
                    <a:pt x="4537" y="1253"/>
                    <a:pt x="3727" y="789"/>
                    <a:pt x="2644" y="753"/>
                  </a:cubicBezTo>
                  <a:cubicBezTo>
                    <a:pt x="1418" y="694"/>
                    <a:pt x="846" y="313"/>
                    <a:pt x="608" y="98"/>
                  </a:cubicBezTo>
                  <a:cubicBezTo>
                    <a:pt x="548" y="28"/>
                    <a:pt x="479" y="0"/>
                    <a:pt x="3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0" name="Google Shape;12410;p62"/>
            <p:cNvSpPr/>
            <p:nvPr/>
          </p:nvSpPr>
          <p:spPr>
            <a:xfrm>
              <a:off x="5762384" y="2464271"/>
              <a:ext cx="134440" cy="72102"/>
            </a:xfrm>
            <a:custGeom>
              <a:avLst/>
              <a:gdLst/>
              <a:ahLst/>
              <a:cxnLst/>
              <a:rect l="l" t="t" r="r" b="b"/>
              <a:pathLst>
                <a:path w="4227" h="2267" extrusionOk="0">
                  <a:moveTo>
                    <a:pt x="476" y="397"/>
                  </a:moveTo>
                  <a:lnTo>
                    <a:pt x="560" y="409"/>
                  </a:lnTo>
                  <a:cubicBezTo>
                    <a:pt x="929" y="505"/>
                    <a:pt x="1334" y="564"/>
                    <a:pt x="1774" y="588"/>
                  </a:cubicBezTo>
                  <a:cubicBezTo>
                    <a:pt x="2667" y="636"/>
                    <a:pt x="3358" y="1052"/>
                    <a:pt x="3774" y="1386"/>
                  </a:cubicBezTo>
                  <a:lnTo>
                    <a:pt x="3810" y="1421"/>
                  </a:lnTo>
                  <a:lnTo>
                    <a:pt x="3751" y="1469"/>
                  </a:lnTo>
                  <a:cubicBezTo>
                    <a:pt x="3477" y="1648"/>
                    <a:pt x="3024" y="1874"/>
                    <a:pt x="2548" y="1909"/>
                  </a:cubicBezTo>
                  <a:cubicBezTo>
                    <a:pt x="2490" y="1915"/>
                    <a:pt x="2432" y="1918"/>
                    <a:pt x="2376" y="1918"/>
                  </a:cubicBezTo>
                  <a:cubicBezTo>
                    <a:pt x="2089" y="1918"/>
                    <a:pt x="1827" y="1841"/>
                    <a:pt x="1548" y="1671"/>
                  </a:cubicBezTo>
                  <a:cubicBezTo>
                    <a:pt x="1119" y="1421"/>
                    <a:pt x="762" y="1017"/>
                    <a:pt x="512" y="469"/>
                  </a:cubicBezTo>
                  <a:lnTo>
                    <a:pt x="476" y="397"/>
                  </a:lnTo>
                  <a:close/>
                  <a:moveTo>
                    <a:pt x="174" y="0"/>
                  </a:moveTo>
                  <a:cubicBezTo>
                    <a:pt x="129" y="0"/>
                    <a:pt x="85" y="18"/>
                    <a:pt x="48" y="64"/>
                  </a:cubicBezTo>
                  <a:cubicBezTo>
                    <a:pt x="0" y="112"/>
                    <a:pt x="0" y="183"/>
                    <a:pt x="36" y="243"/>
                  </a:cubicBezTo>
                  <a:lnTo>
                    <a:pt x="214" y="636"/>
                  </a:lnTo>
                  <a:cubicBezTo>
                    <a:pt x="500" y="1243"/>
                    <a:pt x="893" y="1707"/>
                    <a:pt x="1393" y="1993"/>
                  </a:cubicBezTo>
                  <a:cubicBezTo>
                    <a:pt x="1715" y="2183"/>
                    <a:pt x="2060" y="2267"/>
                    <a:pt x="2417" y="2267"/>
                  </a:cubicBezTo>
                  <a:lnTo>
                    <a:pt x="2560" y="2267"/>
                  </a:lnTo>
                  <a:cubicBezTo>
                    <a:pt x="3120" y="2231"/>
                    <a:pt x="3608" y="1993"/>
                    <a:pt x="3917" y="1779"/>
                  </a:cubicBezTo>
                  <a:lnTo>
                    <a:pt x="4155" y="1636"/>
                  </a:lnTo>
                  <a:cubicBezTo>
                    <a:pt x="4203" y="1600"/>
                    <a:pt x="4227" y="1552"/>
                    <a:pt x="4227" y="1493"/>
                  </a:cubicBezTo>
                  <a:cubicBezTo>
                    <a:pt x="4227" y="1421"/>
                    <a:pt x="4215" y="1362"/>
                    <a:pt x="4167" y="1338"/>
                  </a:cubicBezTo>
                  <a:lnTo>
                    <a:pt x="3965" y="1159"/>
                  </a:lnTo>
                  <a:cubicBezTo>
                    <a:pt x="3501" y="778"/>
                    <a:pt x="2762" y="326"/>
                    <a:pt x="1774" y="278"/>
                  </a:cubicBezTo>
                  <a:cubicBezTo>
                    <a:pt x="1357" y="266"/>
                    <a:pt x="965" y="207"/>
                    <a:pt x="631" y="112"/>
                  </a:cubicBezTo>
                  <a:lnTo>
                    <a:pt x="214" y="4"/>
                  </a:lnTo>
                  <a:cubicBezTo>
                    <a:pt x="201" y="2"/>
                    <a:pt x="188" y="0"/>
                    <a:pt x="1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1" name="Google Shape;12411;p62"/>
            <p:cNvSpPr/>
            <p:nvPr/>
          </p:nvSpPr>
          <p:spPr>
            <a:xfrm>
              <a:off x="5928247" y="2463921"/>
              <a:ext cx="134821" cy="70957"/>
            </a:xfrm>
            <a:custGeom>
              <a:avLst/>
              <a:gdLst/>
              <a:ahLst/>
              <a:cxnLst/>
              <a:rect l="l" t="t" r="r" b="b"/>
              <a:pathLst>
                <a:path w="4239" h="2231" extrusionOk="0">
                  <a:moveTo>
                    <a:pt x="3774" y="420"/>
                  </a:moveTo>
                  <a:lnTo>
                    <a:pt x="3727" y="480"/>
                  </a:lnTo>
                  <a:cubicBezTo>
                    <a:pt x="3477" y="1028"/>
                    <a:pt x="3120" y="1432"/>
                    <a:pt x="2691" y="1682"/>
                  </a:cubicBezTo>
                  <a:cubicBezTo>
                    <a:pt x="2416" y="1841"/>
                    <a:pt x="2122" y="1924"/>
                    <a:pt x="1810" y="1924"/>
                  </a:cubicBezTo>
                  <a:cubicBezTo>
                    <a:pt x="1770" y="1924"/>
                    <a:pt x="1731" y="1923"/>
                    <a:pt x="1691" y="1920"/>
                  </a:cubicBezTo>
                  <a:cubicBezTo>
                    <a:pt x="1215" y="1897"/>
                    <a:pt x="774" y="1670"/>
                    <a:pt x="488" y="1480"/>
                  </a:cubicBezTo>
                  <a:lnTo>
                    <a:pt x="441" y="1444"/>
                  </a:lnTo>
                  <a:lnTo>
                    <a:pt x="488" y="1420"/>
                  </a:lnTo>
                  <a:cubicBezTo>
                    <a:pt x="905" y="1075"/>
                    <a:pt x="1596" y="658"/>
                    <a:pt x="2489" y="611"/>
                  </a:cubicBezTo>
                  <a:cubicBezTo>
                    <a:pt x="2929" y="587"/>
                    <a:pt x="3334" y="527"/>
                    <a:pt x="3703" y="432"/>
                  </a:cubicBezTo>
                  <a:lnTo>
                    <a:pt x="3774" y="420"/>
                  </a:lnTo>
                  <a:close/>
                  <a:moveTo>
                    <a:pt x="4043" y="1"/>
                  </a:moveTo>
                  <a:cubicBezTo>
                    <a:pt x="4033" y="1"/>
                    <a:pt x="4023" y="2"/>
                    <a:pt x="4013" y="4"/>
                  </a:cubicBezTo>
                  <a:lnTo>
                    <a:pt x="3596" y="111"/>
                  </a:lnTo>
                  <a:cubicBezTo>
                    <a:pt x="3262" y="194"/>
                    <a:pt x="2870" y="254"/>
                    <a:pt x="2453" y="277"/>
                  </a:cubicBezTo>
                  <a:cubicBezTo>
                    <a:pt x="1476" y="313"/>
                    <a:pt x="726" y="777"/>
                    <a:pt x="262" y="1147"/>
                  </a:cubicBezTo>
                  <a:lnTo>
                    <a:pt x="60" y="1325"/>
                  </a:lnTo>
                  <a:cubicBezTo>
                    <a:pt x="12" y="1361"/>
                    <a:pt x="0" y="1420"/>
                    <a:pt x="0" y="1468"/>
                  </a:cubicBezTo>
                  <a:cubicBezTo>
                    <a:pt x="0" y="1504"/>
                    <a:pt x="24" y="1563"/>
                    <a:pt x="72" y="1599"/>
                  </a:cubicBezTo>
                  <a:lnTo>
                    <a:pt x="310" y="1742"/>
                  </a:lnTo>
                  <a:cubicBezTo>
                    <a:pt x="619" y="1956"/>
                    <a:pt x="1107" y="2194"/>
                    <a:pt x="1667" y="2230"/>
                  </a:cubicBezTo>
                  <a:lnTo>
                    <a:pt x="1810" y="2230"/>
                  </a:lnTo>
                  <a:cubicBezTo>
                    <a:pt x="2167" y="2230"/>
                    <a:pt x="2512" y="2147"/>
                    <a:pt x="2834" y="1956"/>
                  </a:cubicBezTo>
                  <a:cubicBezTo>
                    <a:pt x="3334" y="1670"/>
                    <a:pt x="3727" y="1230"/>
                    <a:pt x="4013" y="599"/>
                  </a:cubicBezTo>
                  <a:lnTo>
                    <a:pt x="4191" y="206"/>
                  </a:lnTo>
                  <a:cubicBezTo>
                    <a:pt x="4239" y="182"/>
                    <a:pt x="4227" y="111"/>
                    <a:pt x="4179" y="63"/>
                  </a:cubicBezTo>
                  <a:cubicBezTo>
                    <a:pt x="4140" y="24"/>
                    <a:pt x="4092" y="1"/>
                    <a:pt x="40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2" name="Google Shape;12412;p62"/>
            <p:cNvSpPr/>
            <p:nvPr/>
          </p:nvSpPr>
          <p:spPr>
            <a:xfrm>
              <a:off x="5966859" y="2655642"/>
              <a:ext cx="28434" cy="113258"/>
            </a:xfrm>
            <a:custGeom>
              <a:avLst/>
              <a:gdLst/>
              <a:ahLst/>
              <a:cxnLst/>
              <a:rect l="l" t="t" r="r" b="b"/>
              <a:pathLst>
                <a:path w="894" h="3561" extrusionOk="0">
                  <a:moveTo>
                    <a:pt x="560" y="1893"/>
                  </a:moveTo>
                  <a:lnTo>
                    <a:pt x="560" y="3120"/>
                  </a:lnTo>
                  <a:lnTo>
                    <a:pt x="572" y="3120"/>
                  </a:lnTo>
                  <a:cubicBezTo>
                    <a:pt x="572" y="3179"/>
                    <a:pt x="524" y="3239"/>
                    <a:pt x="453" y="3239"/>
                  </a:cubicBezTo>
                  <a:cubicBezTo>
                    <a:pt x="382" y="3239"/>
                    <a:pt x="334" y="3191"/>
                    <a:pt x="334" y="3120"/>
                  </a:cubicBezTo>
                  <a:lnTo>
                    <a:pt x="334" y="1893"/>
                  </a:lnTo>
                  <a:close/>
                  <a:moveTo>
                    <a:pt x="715" y="0"/>
                  </a:moveTo>
                  <a:cubicBezTo>
                    <a:pt x="632" y="0"/>
                    <a:pt x="560" y="83"/>
                    <a:pt x="560" y="167"/>
                  </a:cubicBezTo>
                  <a:lnTo>
                    <a:pt x="560" y="1572"/>
                  </a:lnTo>
                  <a:lnTo>
                    <a:pt x="334" y="1572"/>
                  </a:lnTo>
                  <a:lnTo>
                    <a:pt x="334" y="381"/>
                  </a:lnTo>
                  <a:cubicBezTo>
                    <a:pt x="334" y="286"/>
                    <a:pt x="262" y="214"/>
                    <a:pt x="167" y="214"/>
                  </a:cubicBezTo>
                  <a:cubicBezTo>
                    <a:pt x="84" y="214"/>
                    <a:pt x="1" y="286"/>
                    <a:pt x="1" y="381"/>
                  </a:cubicBezTo>
                  <a:lnTo>
                    <a:pt x="1" y="3120"/>
                  </a:lnTo>
                  <a:cubicBezTo>
                    <a:pt x="1" y="3358"/>
                    <a:pt x="203" y="3560"/>
                    <a:pt x="453" y="3560"/>
                  </a:cubicBezTo>
                  <a:cubicBezTo>
                    <a:pt x="703" y="3560"/>
                    <a:pt x="894" y="3370"/>
                    <a:pt x="894" y="3120"/>
                  </a:cubicBezTo>
                  <a:lnTo>
                    <a:pt x="894" y="167"/>
                  </a:lnTo>
                  <a:cubicBezTo>
                    <a:pt x="882" y="83"/>
                    <a:pt x="810"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3" name="Google Shape;12413;p62"/>
            <p:cNvSpPr/>
            <p:nvPr/>
          </p:nvSpPr>
          <p:spPr>
            <a:xfrm>
              <a:off x="6054704" y="2499988"/>
              <a:ext cx="27670" cy="271169"/>
            </a:xfrm>
            <a:custGeom>
              <a:avLst/>
              <a:gdLst/>
              <a:ahLst/>
              <a:cxnLst/>
              <a:rect l="l" t="t" r="r" b="b"/>
              <a:pathLst>
                <a:path w="870" h="8526" extrusionOk="0">
                  <a:moveTo>
                    <a:pt x="548" y="6775"/>
                  </a:moveTo>
                  <a:lnTo>
                    <a:pt x="548" y="8097"/>
                  </a:lnTo>
                  <a:lnTo>
                    <a:pt x="560" y="8097"/>
                  </a:lnTo>
                  <a:cubicBezTo>
                    <a:pt x="560" y="8156"/>
                    <a:pt x="513" y="8216"/>
                    <a:pt x="441" y="8216"/>
                  </a:cubicBezTo>
                  <a:cubicBezTo>
                    <a:pt x="370" y="8216"/>
                    <a:pt x="322" y="8168"/>
                    <a:pt x="322" y="8097"/>
                  </a:cubicBezTo>
                  <a:lnTo>
                    <a:pt x="322" y="6775"/>
                  </a:lnTo>
                  <a:close/>
                  <a:moveTo>
                    <a:pt x="715" y="1"/>
                  </a:moveTo>
                  <a:cubicBezTo>
                    <a:pt x="620" y="1"/>
                    <a:pt x="548" y="72"/>
                    <a:pt x="548" y="167"/>
                  </a:cubicBezTo>
                  <a:lnTo>
                    <a:pt x="548" y="6442"/>
                  </a:lnTo>
                  <a:lnTo>
                    <a:pt x="322" y="6442"/>
                  </a:lnTo>
                  <a:lnTo>
                    <a:pt x="322" y="1167"/>
                  </a:lnTo>
                  <a:cubicBezTo>
                    <a:pt x="322" y="1072"/>
                    <a:pt x="251" y="1001"/>
                    <a:pt x="156" y="1001"/>
                  </a:cubicBezTo>
                  <a:cubicBezTo>
                    <a:pt x="72" y="1001"/>
                    <a:pt x="1" y="1072"/>
                    <a:pt x="1" y="1167"/>
                  </a:cubicBezTo>
                  <a:lnTo>
                    <a:pt x="1" y="8097"/>
                  </a:lnTo>
                  <a:cubicBezTo>
                    <a:pt x="1" y="8335"/>
                    <a:pt x="191" y="8526"/>
                    <a:pt x="441" y="8526"/>
                  </a:cubicBezTo>
                  <a:cubicBezTo>
                    <a:pt x="679" y="8526"/>
                    <a:pt x="870" y="8335"/>
                    <a:pt x="870" y="8097"/>
                  </a:cubicBezTo>
                  <a:lnTo>
                    <a:pt x="870" y="167"/>
                  </a:lnTo>
                  <a:cubicBezTo>
                    <a:pt x="870" y="72"/>
                    <a:pt x="810" y="1"/>
                    <a:pt x="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14" name="Google Shape;12414;p62"/>
          <p:cNvGrpSpPr/>
          <p:nvPr/>
        </p:nvGrpSpPr>
        <p:grpSpPr>
          <a:xfrm>
            <a:off x="5243735" y="2446973"/>
            <a:ext cx="405255" cy="275499"/>
            <a:chOff x="5283337" y="2478774"/>
            <a:chExt cx="358633" cy="243913"/>
          </a:xfrm>
        </p:grpSpPr>
        <p:sp>
          <p:nvSpPr>
            <p:cNvPr id="12415" name="Google Shape;12415;p62"/>
            <p:cNvSpPr/>
            <p:nvPr/>
          </p:nvSpPr>
          <p:spPr>
            <a:xfrm>
              <a:off x="5386735" y="2511056"/>
              <a:ext cx="21596" cy="20387"/>
            </a:xfrm>
            <a:custGeom>
              <a:avLst/>
              <a:gdLst/>
              <a:ahLst/>
              <a:cxnLst/>
              <a:rect l="l" t="t" r="r" b="b"/>
              <a:pathLst>
                <a:path w="679" h="641" extrusionOk="0">
                  <a:moveTo>
                    <a:pt x="494" y="1"/>
                  </a:moveTo>
                  <a:cubicBezTo>
                    <a:pt x="453" y="1"/>
                    <a:pt x="411" y="16"/>
                    <a:pt x="381" y="46"/>
                  </a:cubicBezTo>
                  <a:lnTo>
                    <a:pt x="60" y="367"/>
                  </a:lnTo>
                  <a:cubicBezTo>
                    <a:pt x="0" y="427"/>
                    <a:pt x="0" y="534"/>
                    <a:pt x="60" y="593"/>
                  </a:cubicBezTo>
                  <a:cubicBezTo>
                    <a:pt x="84" y="617"/>
                    <a:pt x="131" y="641"/>
                    <a:pt x="179" y="641"/>
                  </a:cubicBezTo>
                  <a:cubicBezTo>
                    <a:pt x="214" y="641"/>
                    <a:pt x="262" y="617"/>
                    <a:pt x="298" y="593"/>
                  </a:cubicBezTo>
                  <a:lnTo>
                    <a:pt x="619" y="260"/>
                  </a:lnTo>
                  <a:cubicBezTo>
                    <a:pt x="679" y="200"/>
                    <a:pt x="679" y="105"/>
                    <a:pt x="607" y="46"/>
                  </a:cubicBezTo>
                  <a:cubicBezTo>
                    <a:pt x="578" y="16"/>
                    <a:pt x="536" y="1"/>
                    <a:pt x="4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6" name="Google Shape;12416;p62"/>
            <p:cNvSpPr/>
            <p:nvPr/>
          </p:nvSpPr>
          <p:spPr>
            <a:xfrm>
              <a:off x="5321599" y="2575811"/>
              <a:ext cx="21977" cy="20387"/>
            </a:xfrm>
            <a:custGeom>
              <a:avLst/>
              <a:gdLst/>
              <a:ahLst/>
              <a:cxnLst/>
              <a:rect l="l" t="t" r="r" b="b"/>
              <a:pathLst>
                <a:path w="691" h="641" extrusionOk="0">
                  <a:moveTo>
                    <a:pt x="506" y="1"/>
                  </a:moveTo>
                  <a:cubicBezTo>
                    <a:pt x="465" y="1"/>
                    <a:pt x="423" y="16"/>
                    <a:pt x="393" y="46"/>
                  </a:cubicBezTo>
                  <a:lnTo>
                    <a:pt x="72" y="367"/>
                  </a:lnTo>
                  <a:cubicBezTo>
                    <a:pt x="0" y="427"/>
                    <a:pt x="0" y="534"/>
                    <a:pt x="72" y="593"/>
                  </a:cubicBezTo>
                  <a:cubicBezTo>
                    <a:pt x="96" y="629"/>
                    <a:pt x="143" y="641"/>
                    <a:pt x="179" y="641"/>
                  </a:cubicBezTo>
                  <a:cubicBezTo>
                    <a:pt x="227" y="641"/>
                    <a:pt x="274" y="629"/>
                    <a:pt x="298" y="593"/>
                  </a:cubicBezTo>
                  <a:lnTo>
                    <a:pt x="631" y="272"/>
                  </a:lnTo>
                  <a:cubicBezTo>
                    <a:pt x="691" y="212"/>
                    <a:pt x="691" y="105"/>
                    <a:pt x="619" y="46"/>
                  </a:cubicBezTo>
                  <a:cubicBezTo>
                    <a:pt x="590" y="16"/>
                    <a:pt x="548" y="1"/>
                    <a:pt x="5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7" name="Google Shape;12417;p62"/>
            <p:cNvSpPr/>
            <p:nvPr/>
          </p:nvSpPr>
          <p:spPr>
            <a:xfrm>
              <a:off x="5386735" y="2575811"/>
              <a:ext cx="21596" cy="20387"/>
            </a:xfrm>
            <a:custGeom>
              <a:avLst/>
              <a:gdLst/>
              <a:ahLst/>
              <a:cxnLst/>
              <a:rect l="l" t="t" r="r" b="b"/>
              <a:pathLst>
                <a:path w="679" h="641" extrusionOk="0">
                  <a:moveTo>
                    <a:pt x="168" y="1"/>
                  </a:moveTo>
                  <a:cubicBezTo>
                    <a:pt x="128" y="1"/>
                    <a:pt x="89" y="16"/>
                    <a:pt x="60" y="46"/>
                  </a:cubicBezTo>
                  <a:cubicBezTo>
                    <a:pt x="0" y="105"/>
                    <a:pt x="0" y="212"/>
                    <a:pt x="60" y="272"/>
                  </a:cubicBezTo>
                  <a:lnTo>
                    <a:pt x="381" y="593"/>
                  </a:lnTo>
                  <a:cubicBezTo>
                    <a:pt x="417" y="629"/>
                    <a:pt x="465" y="641"/>
                    <a:pt x="500" y="641"/>
                  </a:cubicBezTo>
                  <a:cubicBezTo>
                    <a:pt x="548" y="641"/>
                    <a:pt x="595" y="629"/>
                    <a:pt x="619" y="593"/>
                  </a:cubicBezTo>
                  <a:cubicBezTo>
                    <a:pt x="679" y="534"/>
                    <a:pt x="679" y="427"/>
                    <a:pt x="607" y="367"/>
                  </a:cubicBezTo>
                  <a:lnTo>
                    <a:pt x="286" y="46"/>
                  </a:lnTo>
                  <a:cubicBezTo>
                    <a:pt x="250" y="16"/>
                    <a:pt x="209"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8" name="Google Shape;12418;p62"/>
            <p:cNvSpPr/>
            <p:nvPr/>
          </p:nvSpPr>
          <p:spPr>
            <a:xfrm>
              <a:off x="5321599" y="2511056"/>
              <a:ext cx="21977" cy="20387"/>
            </a:xfrm>
            <a:custGeom>
              <a:avLst/>
              <a:gdLst/>
              <a:ahLst/>
              <a:cxnLst/>
              <a:rect l="l" t="t" r="r" b="b"/>
              <a:pathLst>
                <a:path w="691" h="641" extrusionOk="0">
                  <a:moveTo>
                    <a:pt x="179" y="1"/>
                  </a:moveTo>
                  <a:cubicBezTo>
                    <a:pt x="140" y="1"/>
                    <a:pt x="101" y="16"/>
                    <a:pt x="72" y="46"/>
                  </a:cubicBezTo>
                  <a:cubicBezTo>
                    <a:pt x="0" y="105"/>
                    <a:pt x="0" y="200"/>
                    <a:pt x="72" y="260"/>
                  </a:cubicBezTo>
                  <a:lnTo>
                    <a:pt x="393" y="593"/>
                  </a:lnTo>
                  <a:cubicBezTo>
                    <a:pt x="429" y="617"/>
                    <a:pt x="465" y="641"/>
                    <a:pt x="512" y="641"/>
                  </a:cubicBezTo>
                  <a:cubicBezTo>
                    <a:pt x="560" y="641"/>
                    <a:pt x="596" y="617"/>
                    <a:pt x="631" y="593"/>
                  </a:cubicBezTo>
                  <a:cubicBezTo>
                    <a:pt x="691" y="534"/>
                    <a:pt x="691" y="427"/>
                    <a:pt x="619" y="367"/>
                  </a:cubicBezTo>
                  <a:lnTo>
                    <a:pt x="286" y="46"/>
                  </a:lnTo>
                  <a:cubicBezTo>
                    <a:pt x="256" y="16"/>
                    <a:pt x="218"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9" name="Google Shape;12419;p62"/>
            <p:cNvSpPr/>
            <p:nvPr/>
          </p:nvSpPr>
          <p:spPr>
            <a:xfrm>
              <a:off x="5522670" y="2520916"/>
              <a:ext cx="17079" cy="15457"/>
            </a:xfrm>
            <a:custGeom>
              <a:avLst/>
              <a:gdLst/>
              <a:ahLst/>
              <a:cxnLst/>
              <a:rect l="l" t="t" r="r" b="b"/>
              <a:pathLst>
                <a:path w="537" h="486" extrusionOk="0">
                  <a:moveTo>
                    <a:pt x="346" y="0"/>
                  </a:moveTo>
                  <a:cubicBezTo>
                    <a:pt x="307" y="0"/>
                    <a:pt x="268" y="15"/>
                    <a:pt x="239" y="45"/>
                  </a:cubicBezTo>
                  <a:lnTo>
                    <a:pt x="60" y="224"/>
                  </a:lnTo>
                  <a:cubicBezTo>
                    <a:pt x="1" y="283"/>
                    <a:pt x="1" y="390"/>
                    <a:pt x="60" y="450"/>
                  </a:cubicBezTo>
                  <a:cubicBezTo>
                    <a:pt x="84" y="474"/>
                    <a:pt x="131" y="486"/>
                    <a:pt x="179" y="486"/>
                  </a:cubicBezTo>
                  <a:cubicBezTo>
                    <a:pt x="215" y="486"/>
                    <a:pt x="262" y="474"/>
                    <a:pt x="298" y="450"/>
                  </a:cubicBezTo>
                  <a:lnTo>
                    <a:pt x="477" y="271"/>
                  </a:lnTo>
                  <a:cubicBezTo>
                    <a:pt x="536" y="212"/>
                    <a:pt x="536" y="105"/>
                    <a:pt x="453" y="45"/>
                  </a:cubicBezTo>
                  <a:cubicBezTo>
                    <a:pt x="423" y="15"/>
                    <a:pt x="384"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0" name="Google Shape;12420;p62"/>
            <p:cNvSpPr/>
            <p:nvPr/>
          </p:nvSpPr>
          <p:spPr>
            <a:xfrm>
              <a:off x="5473054" y="2570531"/>
              <a:ext cx="16698" cy="15839"/>
            </a:xfrm>
            <a:custGeom>
              <a:avLst/>
              <a:gdLst/>
              <a:ahLst/>
              <a:cxnLst/>
              <a:rect l="l" t="t" r="r" b="b"/>
              <a:pathLst>
                <a:path w="525" h="498" extrusionOk="0">
                  <a:moveTo>
                    <a:pt x="358" y="0"/>
                  </a:moveTo>
                  <a:cubicBezTo>
                    <a:pt x="319" y="0"/>
                    <a:pt x="281" y="15"/>
                    <a:pt x="251" y="45"/>
                  </a:cubicBezTo>
                  <a:lnTo>
                    <a:pt x="72" y="223"/>
                  </a:lnTo>
                  <a:cubicBezTo>
                    <a:pt x="1" y="283"/>
                    <a:pt x="1" y="390"/>
                    <a:pt x="72" y="450"/>
                  </a:cubicBezTo>
                  <a:cubicBezTo>
                    <a:pt x="96" y="473"/>
                    <a:pt x="144" y="497"/>
                    <a:pt x="179" y="497"/>
                  </a:cubicBezTo>
                  <a:cubicBezTo>
                    <a:pt x="227" y="497"/>
                    <a:pt x="275" y="473"/>
                    <a:pt x="298" y="450"/>
                  </a:cubicBezTo>
                  <a:lnTo>
                    <a:pt x="477" y="271"/>
                  </a:lnTo>
                  <a:cubicBezTo>
                    <a:pt x="525" y="212"/>
                    <a:pt x="525" y="104"/>
                    <a:pt x="465" y="45"/>
                  </a:cubicBezTo>
                  <a:cubicBezTo>
                    <a:pt x="435" y="15"/>
                    <a:pt x="397"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1" name="Google Shape;12421;p62"/>
            <p:cNvSpPr/>
            <p:nvPr/>
          </p:nvSpPr>
          <p:spPr>
            <a:xfrm>
              <a:off x="5522670" y="2570531"/>
              <a:ext cx="17079" cy="15839"/>
            </a:xfrm>
            <a:custGeom>
              <a:avLst/>
              <a:gdLst/>
              <a:ahLst/>
              <a:cxnLst/>
              <a:rect l="l" t="t" r="r" b="b"/>
              <a:pathLst>
                <a:path w="537" h="498" extrusionOk="0">
                  <a:moveTo>
                    <a:pt x="167" y="0"/>
                  </a:moveTo>
                  <a:cubicBezTo>
                    <a:pt x="129" y="0"/>
                    <a:pt x="90" y="15"/>
                    <a:pt x="60" y="45"/>
                  </a:cubicBezTo>
                  <a:cubicBezTo>
                    <a:pt x="1" y="104"/>
                    <a:pt x="1" y="212"/>
                    <a:pt x="60" y="271"/>
                  </a:cubicBezTo>
                  <a:lnTo>
                    <a:pt x="239" y="450"/>
                  </a:lnTo>
                  <a:cubicBezTo>
                    <a:pt x="262" y="473"/>
                    <a:pt x="310" y="497"/>
                    <a:pt x="358" y="497"/>
                  </a:cubicBezTo>
                  <a:cubicBezTo>
                    <a:pt x="393" y="497"/>
                    <a:pt x="441" y="473"/>
                    <a:pt x="477" y="450"/>
                  </a:cubicBezTo>
                  <a:cubicBezTo>
                    <a:pt x="536" y="390"/>
                    <a:pt x="536" y="283"/>
                    <a:pt x="453" y="223"/>
                  </a:cubicBezTo>
                  <a:lnTo>
                    <a:pt x="274" y="45"/>
                  </a:lnTo>
                  <a:cubicBezTo>
                    <a:pt x="245" y="15"/>
                    <a:pt x="206"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2" name="Google Shape;12422;p62"/>
            <p:cNvSpPr/>
            <p:nvPr/>
          </p:nvSpPr>
          <p:spPr>
            <a:xfrm>
              <a:off x="5473054" y="2520916"/>
              <a:ext cx="16698" cy="15457"/>
            </a:xfrm>
            <a:custGeom>
              <a:avLst/>
              <a:gdLst/>
              <a:ahLst/>
              <a:cxnLst/>
              <a:rect l="l" t="t" r="r" b="b"/>
              <a:pathLst>
                <a:path w="525" h="486" extrusionOk="0">
                  <a:moveTo>
                    <a:pt x="179" y="0"/>
                  </a:moveTo>
                  <a:cubicBezTo>
                    <a:pt x="141" y="0"/>
                    <a:pt x="102" y="15"/>
                    <a:pt x="72" y="45"/>
                  </a:cubicBezTo>
                  <a:cubicBezTo>
                    <a:pt x="1" y="105"/>
                    <a:pt x="1" y="212"/>
                    <a:pt x="72" y="271"/>
                  </a:cubicBezTo>
                  <a:lnTo>
                    <a:pt x="251" y="450"/>
                  </a:lnTo>
                  <a:cubicBezTo>
                    <a:pt x="275" y="474"/>
                    <a:pt x="322" y="486"/>
                    <a:pt x="370" y="486"/>
                  </a:cubicBezTo>
                  <a:cubicBezTo>
                    <a:pt x="406" y="486"/>
                    <a:pt x="453" y="474"/>
                    <a:pt x="477" y="450"/>
                  </a:cubicBezTo>
                  <a:cubicBezTo>
                    <a:pt x="525" y="390"/>
                    <a:pt x="525" y="283"/>
                    <a:pt x="465" y="224"/>
                  </a:cubicBezTo>
                  <a:lnTo>
                    <a:pt x="287" y="45"/>
                  </a:lnTo>
                  <a:cubicBezTo>
                    <a:pt x="257" y="15"/>
                    <a:pt x="218"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3" name="Google Shape;12423;p62"/>
            <p:cNvSpPr/>
            <p:nvPr/>
          </p:nvSpPr>
          <p:spPr>
            <a:xfrm>
              <a:off x="5343926" y="2638594"/>
              <a:ext cx="95860" cy="10623"/>
            </a:xfrm>
            <a:custGeom>
              <a:avLst/>
              <a:gdLst/>
              <a:ahLst/>
              <a:cxnLst/>
              <a:rect l="l" t="t" r="r" b="b"/>
              <a:pathLst>
                <a:path w="3014" h="334" extrusionOk="0">
                  <a:moveTo>
                    <a:pt x="167" y="0"/>
                  </a:moveTo>
                  <a:cubicBezTo>
                    <a:pt x="84" y="0"/>
                    <a:pt x="1" y="84"/>
                    <a:pt x="1" y="167"/>
                  </a:cubicBezTo>
                  <a:cubicBezTo>
                    <a:pt x="1" y="262"/>
                    <a:pt x="84" y="334"/>
                    <a:pt x="167" y="334"/>
                  </a:cubicBezTo>
                  <a:lnTo>
                    <a:pt x="2846" y="334"/>
                  </a:lnTo>
                  <a:cubicBezTo>
                    <a:pt x="2942" y="334"/>
                    <a:pt x="3013" y="262"/>
                    <a:pt x="3013" y="167"/>
                  </a:cubicBezTo>
                  <a:cubicBezTo>
                    <a:pt x="3013" y="84"/>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4" name="Google Shape;12424;p62"/>
            <p:cNvSpPr/>
            <p:nvPr/>
          </p:nvSpPr>
          <p:spPr>
            <a:xfrm>
              <a:off x="5343926" y="2689323"/>
              <a:ext cx="20482" cy="10655"/>
            </a:xfrm>
            <a:custGeom>
              <a:avLst/>
              <a:gdLst/>
              <a:ahLst/>
              <a:cxnLst/>
              <a:rect l="l" t="t" r="r" b="b"/>
              <a:pathLst>
                <a:path w="644" h="335" extrusionOk="0">
                  <a:moveTo>
                    <a:pt x="167" y="1"/>
                  </a:moveTo>
                  <a:cubicBezTo>
                    <a:pt x="84" y="1"/>
                    <a:pt x="1" y="72"/>
                    <a:pt x="1" y="167"/>
                  </a:cubicBezTo>
                  <a:cubicBezTo>
                    <a:pt x="1" y="251"/>
                    <a:pt x="84" y="334"/>
                    <a:pt x="167" y="334"/>
                  </a:cubicBezTo>
                  <a:lnTo>
                    <a:pt x="477" y="334"/>
                  </a:lnTo>
                  <a:cubicBezTo>
                    <a:pt x="572" y="334"/>
                    <a:pt x="644" y="251"/>
                    <a:pt x="644" y="167"/>
                  </a:cubicBez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5" name="Google Shape;12425;p62"/>
            <p:cNvSpPr/>
            <p:nvPr/>
          </p:nvSpPr>
          <p:spPr>
            <a:xfrm>
              <a:off x="5378021" y="2689323"/>
              <a:ext cx="61765" cy="10655"/>
            </a:xfrm>
            <a:custGeom>
              <a:avLst/>
              <a:gdLst/>
              <a:ahLst/>
              <a:cxnLst/>
              <a:rect l="l" t="t" r="r" b="b"/>
              <a:pathLst>
                <a:path w="1942" h="335" extrusionOk="0">
                  <a:moveTo>
                    <a:pt x="167" y="1"/>
                  </a:moveTo>
                  <a:cubicBezTo>
                    <a:pt x="84" y="1"/>
                    <a:pt x="0" y="72"/>
                    <a:pt x="0" y="167"/>
                  </a:cubicBezTo>
                  <a:cubicBezTo>
                    <a:pt x="0" y="251"/>
                    <a:pt x="84" y="334"/>
                    <a:pt x="167" y="334"/>
                  </a:cubicBezTo>
                  <a:lnTo>
                    <a:pt x="1774" y="334"/>
                  </a:lnTo>
                  <a:cubicBezTo>
                    <a:pt x="1870" y="334"/>
                    <a:pt x="1941" y="251"/>
                    <a:pt x="1941" y="167"/>
                  </a:cubicBezTo>
                  <a:cubicBezTo>
                    <a:pt x="1941" y="72"/>
                    <a:pt x="1870" y="1"/>
                    <a:pt x="1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6" name="Google Shape;12426;p62"/>
            <p:cNvSpPr/>
            <p:nvPr/>
          </p:nvSpPr>
          <p:spPr>
            <a:xfrm>
              <a:off x="5343926" y="2663975"/>
              <a:ext cx="95860" cy="10241"/>
            </a:xfrm>
            <a:custGeom>
              <a:avLst/>
              <a:gdLst/>
              <a:ahLst/>
              <a:cxnLst/>
              <a:rect l="l" t="t" r="r" b="b"/>
              <a:pathLst>
                <a:path w="3014" h="322" extrusionOk="0">
                  <a:moveTo>
                    <a:pt x="167" y="0"/>
                  </a:moveTo>
                  <a:cubicBezTo>
                    <a:pt x="84" y="0"/>
                    <a:pt x="1" y="72"/>
                    <a:pt x="1" y="155"/>
                  </a:cubicBezTo>
                  <a:cubicBezTo>
                    <a:pt x="1" y="250"/>
                    <a:pt x="84" y="322"/>
                    <a:pt x="167" y="322"/>
                  </a:cubicBezTo>
                  <a:lnTo>
                    <a:pt x="2846" y="322"/>
                  </a:lnTo>
                  <a:cubicBezTo>
                    <a:pt x="2942" y="322"/>
                    <a:pt x="3013" y="250"/>
                    <a:pt x="3013" y="155"/>
                  </a:cubicBezTo>
                  <a:cubicBezTo>
                    <a:pt x="3013" y="72"/>
                    <a:pt x="2942" y="0"/>
                    <a:pt x="2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7" name="Google Shape;12427;p62"/>
            <p:cNvSpPr/>
            <p:nvPr/>
          </p:nvSpPr>
          <p:spPr>
            <a:xfrm>
              <a:off x="5283337" y="2478774"/>
              <a:ext cx="287072" cy="149229"/>
            </a:xfrm>
            <a:custGeom>
              <a:avLst/>
              <a:gdLst/>
              <a:ahLst/>
              <a:cxnLst/>
              <a:rect l="l" t="t" r="r" b="b"/>
              <a:pathLst>
                <a:path w="9026" h="4692" extrusionOk="0">
                  <a:moveTo>
                    <a:pt x="7002" y="834"/>
                  </a:moveTo>
                  <a:cubicBezTo>
                    <a:pt x="7383" y="834"/>
                    <a:pt x="7776" y="977"/>
                    <a:pt x="8073" y="1275"/>
                  </a:cubicBezTo>
                  <a:cubicBezTo>
                    <a:pt x="8669" y="1870"/>
                    <a:pt x="8669" y="2823"/>
                    <a:pt x="8073" y="3418"/>
                  </a:cubicBezTo>
                  <a:cubicBezTo>
                    <a:pt x="7776" y="3716"/>
                    <a:pt x="7389" y="3864"/>
                    <a:pt x="7002" y="3864"/>
                  </a:cubicBezTo>
                  <a:cubicBezTo>
                    <a:pt x="6615" y="3864"/>
                    <a:pt x="6228" y="3716"/>
                    <a:pt x="5930" y="3418"/>
                  </a:cubicBezTo>
                  <a:cubicBezTo>
                    <a:pt x="5335" y="2823"/>
                    <a:pt x="5335" y="1870"/>
                    <a:pt x="5930" y="1275"/>
                  </a:cubicBezTo>
                  <a:cubicBezTo>
                    <a:pt x="6228" y="977"/>
                    <a:pt x="6609" y="834"/>
                    <a:pt x="7002" y="834"/>
                  </a:cubicBezTo>
                  <a:close/>
                  <a:moveTo>
                    <a:pt x="2561" y="322"/>
                  </a:moveTo>
                  <a:cubicBezTo>
                    <a:pt x="3084" y="322"/>
                    <a:pt x="3608" y="525"/>
                    <a:pt x="3989" y="918"/>
                  </a:cubicBezTo>
                  <a:cubicBezTo>
                    <a:pt x="4787" y="1715"/>
                    <a:pt x="4787" y="2989"/>
                    <a:pt x="3989" y="3775"/>
                  </a:cubicBezTo>
                  <a:cubicBezTo>
                    <a:pt x="3596" y="4174"/>
                    <a:pt x="3079" y="4373"/>
                    <a:pt x="2561" y="4373"/>
                  </a:cubicBezTo>
                  <a:cubicBezTo>
                    <a:pt x="2043" y="4373"/>
                    <a:pt x="1525" y="4174"/>
                    <a:pt x="1132" y="3775"/>
                  </a:cubicBezTo>
                  <a:cubicBezTo>
                    <a:pt x="346" y="2989"/>
                    <a:pt x="346" y="1715"/>
                    <a:pt x="1132" y="918"/>
                  </a:cubicBezTo>
                  <a:cubicBezTo>
                    <a:pt x="1525" y="537"/>
                    <a:pt x="2037" y="322"/>
                    <a:pt x="2561" y="322"/>
                  </a:cubicBezTo>
                  <a:close/>
                  <a:moveTo>
                    <a:pt x="2575" y="1"/>
                  </a:moveTo>
                  <a:cubicBezTo>
                    <a:pt x="1974" y="1"/>
                    <a:pt x="1370" y="227"/>
                    <a:pt x="906" y="680"/>
                  </a:cubicBezTo>
                  <a:cubicBezTo>
                    <a:pt x="1" y="1596"/>
                    <a:pt x="1" y="3085"/>
                    <a:pt x="906" y="4001"/>
                  </a:cubicBezTo>
                  <a:cubicBezTo>
                    <a:pt x="1370" y="4466"/>
                    <a:pt x="1965" y="4692"/>
                    <a:pt x="2561" y="4692"/>
                  </a:cubicBezTo>
                  <a:cubicBezTo>
                    <a:pt x="3156" y="4692"/>
                    <a:pt x="3763" y="4466"/>
                    <a:pt x="4216" y="4001"/>
                  </a:cubicBezTo>
                  <a:cubicBezTo>
                    <a:pt x="4525" y="3692"/>
                    <a:pt x="4739" y="3299"/>
                    <a:pt x="4835" y="2882"/>
                  </a:cubicBezTo>
                  <a:lnTo>
                    <a:pt x="5240" y="2882"/>
                  </a:lnTo>
                  <a:cubicBezTo>
                    <a:pt x="5335" y="3156"/>
                    <a:pt x="5478" y="3418"/>
                    <a:pt x="5704" y="3632"/>
                  </a:cubicBezTo>
                  <a:cubicBezTo>
                    <a:pt x="6061" y="3990"/>
                    <a:pt x="6537" y="4168"/>
                    <a:pt x="7002" y="4168"/>
                  </a:cubicBezTo>
                  <a:cubicBezTo>
                    <a:pt x="7454" y="4168"/>
                    <a:pt x="7930" y="3990"/>
                    <a:pt x="8288" y="3632"/>
                  </a:cubicBezTo>
                  <a:cubicBezTo>
                    <a:pt x="9026" y="2930"/>
                    <a:pt x="9026" y="1775"/>
                    <a:pt x="8311" y="1061"/>
                  </a:cubicBezTo>
                  <a:cubicBezTo>
                    <a:pt x="7954" y="703"/>
                    <a:pt x="7481" y="525"/>
                    <a:pt x="7008" y="525"/>
                  </a:cubicBezTo>
                  <a:cubicBezTo>
                    <a:pt x="6534" y="525"/>
                    <a:pt x="6061" y="703"/>
                    <a:pt x="5704" y="1061"/>
                  </a:cubicBezTo>
                  <a:cubicBezTo>
                    <a:pt x="5287" y="1477"/>
                    <a:pt x="5109" y="2037"/>
                    <a:pt x="5180" y="2573"/>
                  </a:cubicBezTo>
                  <a:lnTo>
                    <a:pt x="4894" y="2573"/>
                  </a:lnTo>
                  <a:cubicBezTo>
                    <a:pt x="4954" y="1906"/>
                    <a:pt x="4739" y="1203"/>
                    <a:pt x="4227" y="680"/>
                  </a:cubicBezTo>
                  <a:cubicBezTo>
                    <a:pt x="3775" y="227"/>
                    <a:pt x="3177" y="1"/>
                    <a:pt x="25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8" name="Google Shape;12428;p62"/>
            <p:cNvSpPr/>
            <p:nvPr/>
          </p:nvSpPr>
          <p:spPr>
            <a:xfrm>
              <a:off x="5336356" y="2524987"/>
              <a:ext cx="56836" cy="56836"/>
            </a:xfrm>
            <a:custGeom>
              <a:avLst/>
              <a:gdLst/>
              <a:ahLst/>
              <a:cxnLst/>
              <a:rect l="l" t="t" r="r" b="b"/>
              <a:pathLst>
                <a:path w="1787" h="1787" extrusionOk="0">
                  <a:moveTo>
                    <a:pt x="894" y="334"/>
                  </a:moveTo>
                  <a:cubicBezTo>
                    <a:pt x="1203" y="334"/>
                    <a:pt x="1465" y="584"/>
                    <a:pt x="1465" y="893"/>
                  </a:cubicBezTo>
                  <a:cubicBezTo>
                    <a:pt x="1465" y="1215"/>
                    <a:pt x="1203" y="1465"/>
                    <a:pt x="894" y="1465"/>
                  </a:cubicBezTo>
                  <a:cubicBezTo>
                    <a:pt x="584" y="1465"/>
                    <a:pt x="334" y="1215"/>
                    <a:pt x="334" y="893"/>
                  </a:cubicBezTo>
                  <a:cubicBezTo>
                    <a:pt x="334" y="584"/>
                    <a:pt x="584" y="334"/>
                    <a:pt x="894" y="334"/>
                  </a:cubicBezTo>
                  <a:close/>
                  <a:moveTo>
                    <a:pt x="894" y="0"/>
                  </a:moveTo>
                  <a:cubicBezTo>
                    <a:pt x="405" y="0"/>
                    <a:pt x="1" y="405"/>
                    <a:pt x="1" y="893"/>
                  </a:cubicBezTo>
                  <a:cubicBezTo>
                    <a:pt x="1" y="1394"/>
                    <a:pt x="405" y="1786"/>
                    <a:pt x="894" y="1786"/>
                  </a:cubicBezTo>
                  <a:cubicBezTo>
                    <a:pt x="1394" y="1786"/>
                    <a:pt x="1787" y="1394"/>
                    <a:pt x="1787" y="893"/>
                  </a:cubicBezTo>
                  <a:cubicBezTo>
                    <a:pt x="1787"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9" name="Google Shape;12429;p62"/>
            <p:cNvSpPr/>
            <p:nvPr/>
          </p:nvSpPr>
          <p:spPr>
            <a:xfrm>
              <a:off x="5486699" y="2534083"/>
              <a:ext cx="38643" cy="39025"/>
            </a:xfrm>
            <a:custGeom>
              <a:avLst/>
              <a:gdLst/>
              <a:ahLst/>
              <a:cxnLst/>
              <a:rect l="l" t="t" r="r" b="b"/>
              <a:pathLst>
                <a:path w="1215" h="1227" extrusionOk="0">
                  <a:moveTo>
                    <a:pt x="608" y="334"/>
                  </a:moveTo>
                  <a:cubicBezTo>
                    <a:pt x="762" y="334"/>
                    <a:pt x="893" y="465"/>
                    <a:pt x="893" y="607"/>
                  </a:cubicBezTo>
                  <a:cubicBezTo>
                    <a:pt x="905" y="774"/>
                    <a:pt x="774" y="893"/>
                    <a:pt x="608" y="893"/>
                  </a:cubicBezTo>
                  <a:cubicBezTo>
                    <a:pt x="441" y="893"/>
                    <a:pt x="322" y="762"/>
                    <a:pt x="322" y="607"/>
                  </a:cubicBezTo>
                  <a:cubicBezTo>
                    <a:pt x="322" y="465"/>
                    <a:pt x="453" y="334"/>
                    <a:pt x="608" y="334"/>
                  </a:cubicBezTo>
                  <a:close/>
                  <a:moveTo>
                    <a:pt x="608" y="0"/>
                  </a:moveTo>
                  <a:cubicBezTo>
                    <a:pt x="262" y="0"/>
                    <a:pt x="0" y="274"/>
                    <a:pt x="0" y="607"/>
                  </a:cubicBezTo>
                  <a:cubicBezTo>
                    <a:pt x="0" y="953"/>
                    <a:pt x="262" y="1227"/>
                    <a:pt x="608" y="1227"/>
                  </a:cubicBezTo>
                  <a:cubicBezTo>
                    <a:pt x="941" y="1227"/>
                    <a:pt x="1215" y="953"/>
                    <a:pt x="1215" y="607"/>
                  </a:cubicBezTo>
                  <a:cubicBezTo>
                    <a:pt x="1215" y="274"/>
                    <a:pt x="941" y="0"/>
                    <a:pt x="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0" name="Google Shape;12430;p62"/>
            <p:cNvSpPr/>
            <p:nvPr/>
          </p:nvSpPr>
          <p:spPr>
            <a:xfrm>
              <a:off x="5466248" y="2638594"/>
              <a:ext cx="61384" cy="61765"/>
            </a:xfrm>
            <a:custGeom>
              <a:avLst/>
              <a:gdLst/>
              <a:ahLst/>
              <a:cxnLst/>
              <a:rect l="l" t="t" r="r" b="b"/>
              <a:pathLst>
                <a:path w="1930" h="1942" extrusionOk="0">
                  <a:moveTo>
                    <a:pt x="1608" y="310"/>
                  </a:moveTo>
                  <a:lnTo>
                    <a:pt x="1608" y="1596"/>
                  </a:lnTo>
                  <a:lnTo>
                    <a:pt x="322" y="1596"/>
                  </a:lnTo>
                  <a:lnTo>
                    <a:pt x="322" y="310"/>
                  </a:lnTo>
                  <a:close/>
                  <a:moveTo>
                    <a:pt x="239" y="0"/>
                  </a:moveTo>
                  <a:cubicBezTo>
                    <a:pt x="96" y="0"/>
                    <a:pt x="0" y="108"/>
                    <a:pt x="0" y="238"/>
                  </a:cubicBezTo>
                  <a:lnTo>
                    <a:pt x="0" y="1703"/>
                  </a:lnTo>
                  <a:cubicBezTo>
                    <a:pt x="0" y="1834"/>
                    <a:pt x="108" y="1941"/>
                    <a:pt x="239" y="1941"/>
                  </a:cubicBezTo>
                  <a:lnTo>
                    <a:pt x="1691" y="1941"/>
                  </a:lnTo>
                  <a:cubicBezTo>
                    <a:pt x="1834" y="1941"/>
                    <a:pt x="1929" y="1834"/>
                    <a:pt x="1929" y="1703"/>
                  </a:cubicBezTo>
                  <a:lnTo>
                    <a:pt x="1929" y="238"/>
                  </a:lnTo>
                  <a:cubicBezTo>
                    <a:pt x="1929" y="108"/>
                    <a:pt x="1834"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1" name="Google Shape;12431;p62"/>
            <p:cNvSpPr/>
            <p:nvPr/>
          </p:nvSpPr>
          <p:spPr>
            <a:xfrm>
              <a:off x="5316287" y="2582458"/>
              <a:ext cx="325683" cy="140228"/>
            </a:xfrm>
            <a:custGeom>
              <a:avLst/>
              <a:gdLst/>
              <a:ahLst/>
              <a:cxnLst/>
              <a:rect l="l" t="t" r="r" b="b"/>
              <a:pathLst>
                <a:path w="10240" h="4409" extrusionOk="0">
                  <a:moveTo>
                    <a:pt x="8311" y="1289"/>
                  </a:moveTo>
                  <a:lnTo>
                    <a:pt x="8311" y="2420"/>
                  </a:lnTo>
                  <a:lnTo>
                    <a:pt x="7633" y="2420"/>
                  </a:lnTo>
                  <a:lnTo>
                    <a:pt x="7633" y="1289"/>
                  </a:lnTo>
                  <a:close/>
                  <a:moveTo>
                    <a:pt x="9907" y="325"/>
                  </a:moveTo>
                  <a:lnTo>
                    <a:pt x="9907" y="337"/>
                  </a:lnTo>
                  <a:lnTo>
                    <a:pt x="9907" y="3397"/>
                  </a:lnTo>
                  <a:lnTo>
                    <a:pt x="9895" y="3408"/>
                  </a:lnTo>
                  <a:lnTo>
                    <a:pt x="8656" y="3063"/>
                  </a:lnTo>
                  <a:cubicBezTo>
                    <a:pt x="8656" y="3063"/>
                    <a:pt x="8645" y="3063"/>
                    <a:pt x="8645" y="3051"/>
                  </a:cubicBezTo>
                  <a:lnTo>
                    <a:pt x="8645" y="2587"/>
                  </a:lnTo>
                  <a:lnTo>
                    <a:pt x="8645" y="1146"/>
                  </a:lnTo>
                  <a:lnTo>
                    <a:pt x="8645" y="682"/>
                  </a:lnTo>
                  <a:cubicBezTo>
                    <a:pt x="8645" y="682"/>
                    <a:pt x="8645" y="670"/>
                    <a:pt x="8656" y="670"/>
                  </a:cubicBezTo>
                  <a:lnTo>
                    <a:pt x="9895" y="325"/>
                  </a:lnTo>
                  <a:close/>
                  <a:moveTo>
                    <a:pt x="9887" y="1"/>
                  </a:moveTo>
                  <a:cubicBezTo>
                    <a:pt x="9858" y="1"/>
                    <a:pt x="9829" y="5"/>
                    <a:pt x="9799" y="15"/>
                  </a:cubicBezTo>
                  <a:lnTo>
                    <a:pt x="8573" y="360"/>
                  </a:lnTo>
                  <a:cubicBezTo>
                    <a:pt x="8418" y="396"/>
                    <a:pt x="8311" y="539"/>
                    <a:pt x="8311" y="682"/>
                  </a:cubicBezTo>
                  <a:lnTo>
                    <a:pt x="8311" y="980"/>
                  </a:lnTo>
                  <a:lnTo>
                    <a:pt x="7633" y="980"/>
                  </a:lnTo>
                  <a:lnTo>
                    <a:pt x="7633" y="741"/>
                  </a:lnTo>
                  <a:cubicBezTo>
                    <a:pt x="7633" y="658"/>
                    <a:pt x="7561" y="575"/>
                    <a:pt x="7466" y="575"/>
                  </a:cubicBezTo>
                  <a:cubicBezTo>
                    <a:pt x="7382" y="575"/>
                    <a:pt x="7299" y="658"/>
                    <a:pt x="7299" y="741"/>
                  </a:cubicBezTo>
                  <a:lnTo>
                    <a:pt x="7299" y="1146"/>
                  </a:lnTo>
                  <a:lnTo>
                    <a:pt x="7299" y="2587"/>
                  </a:lnTo>
                  <a:lnTo>
                    <a:pt x="7299" y="4004"/>
                  </a:lnTo>
                  <a:cubicBezTo>
                    <a:pt x="7299" y="4051"/>
                    <a:pt x="7263" y="4087"/>
                    <a:pt x="7216" y="4087"/>
                  </a:cubicBezTo>
                  <a:lnTo>
                    <a:pt x="417" y="4087"/>
                  </a:lnTo>
                  <a:cubicBezTo>
                    <a:pt x="370" y="4087"/>
                    <a:pt x="322" y="4051"/>
                    <a:pt x="322" y="4004"/>
                  </a:cubicBezTo>
                  <a:lnTo>
                    <a:pt x="322" y="1503"/>
                  </a:lnTo>
                  <a:cubicBezTo>
                    <a:pt x="322" y="1408"/>
                    <a:pt x="251" y="1337"/>
                    <a:pt x="155" y="1337"/>
                  </a:cubicBezTo>
                  <a:cubicBezTo>
                    <a:pt x="72" y="1337"/>
                    <a:pt x="1" y="1408"/>
                    <a:pt x="1" y="1503"/>
                  </a:cubicBezTo>
                  <a:lnTo>
                    <a:pt x="1" y="4004"/>
                  </a:lnTo>
                  <a:cubicBezTo>
                    <a:pt x="1" y="4230"/>
                    <a:pt x="179" y="4409"/>
                    <a:pt x="394" y="4409"/>
                  </a:cubicBezTo>
                  <a:lnTo>
                    <a:pt x="7216" y="4409"/>
                  </a:lnTo>
                  <a:cubicBezTo>
                    <a:pt x="7442" y="4409"/>
                    <a:pt x="7621" y="4230"/>
                    <a:pt x="7621" y="4004"/>
                  </a:cubicBezTo>
                  <a:lnTo>
                    <a:pt x="7621" y="2754"/>
                  </a:lnTo>
                  <a:lnTo>
                    <a:pt x="8299" y="2754"/>
                  </a:lnTo>
                  <a:lnTo>
                    <a:pt x="8299" y="3051"/>
                  </a:lnTo>
                  <a:cubicBezTo>
                    <a:pt x="8299" y="3194"/>
                    <a:pt x="8406" y="3337"/>
                    <a:pt x="8549" y="3373"/>
                  </a:cubicBezTo>
                  <a:lnTo>
                    <a:pt x="9788" y="3718"/>
                  </a:lnTo>
                  <a:cubicBezTo>
                    <a:pt x="9823" y="3730"/>
                    <a:pt x="9847" y="3730"/>
                    <a:pt x="9883" y="3730"/>
                  </a:cubicBezTo>
                  <a:cubicBezTo>
                    <a:pt x="9954" y="3730"/>
                    <a:pt x="10026" y="3706"/>
                    <a:pt x="10085" y="3658"/>
                  </a:cubicBezTo>
                  <a:cubicBezTo>
                    <a:pt x="10180" y="3599"/>
                    <a:pt x="10216" y="3492"/>
                    <a:pt x="10216" y="3397"/>
                  </a:cubicBezTo>
                  <a:lnTo>
                    <a:pt x="10216" y="337"/>
                  </a:lnTo>
                  <a:cubicBezTo>
                    <a:pt x="10240" y="241"/>
                    <a:pt x="10169" y="134"/>
                    <a:pt x="10097" y="75"/>
                  </a:cubicBezTo>
                  <a:cubicBezTo>
                    <a:pt x="10037" y="32"/>
                    <a:pt x="9964" y="1"/>
                    <a:pt x="98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2" name="Google Shape;12432;p62"/>
          <p:cNvGrpSpPr/>
          <p:nvPr/>
        </p:nvGrpSpPr>
        <p:grpSpPr>
          <a:xfrm>
            <a:off x="7964753" y="2470823"/>
            <a:ext cx="362068" cy="258670"/>
            <a:chOff x="7964753" y="2470823"/>
            <a:chExt cx="362068" cy="258670"/>
          </a:xfrm>
        </p:grpSpPr>
        <p:sp>
          <p:nvSpPr>
            <p:cNvPr id="12433" name="Google Shape;12433;p62"/>
            <p:cNvSpPr/>
            <p:nvPr/>
          </p:nvSpPr>
          <p:spPr>
            <a:xfrm>
              <a:off x="8196898" y="2562358"/>
              <a:ext cx="33363" cy="49012"/>
            </a:xfrm>
            <a:custGeom>
              <a:avLst/>
              <a:gdLst/>
              <a:ahLst/>
              <a:cxnLst/>
              <a:rect l="l" t="t" r="r" b="b"/>
              <a:pathLst>
                <a:path w="1049" h="1541" extrusionOk="0">
                  <a:moveTo>
                    <a:pt x="864" y="1"/>
                  </a:moveTo>
                  <a:cubicBezTo>
                    <a:pt x="823" y="1"/>
                    <a:pt x="783" y="19"/>
                    <a:pt x="751" y="52"/>
                  </a:cubicBezTo>
                  <a:lnTo>
                    <a:pt x="108" y="814"/>
                  </a:lnTo>
                  <a:cubicBezTo>
                    <a:pt x="36" y="897"/>
                    <a:pt x="0" y="1016"/>
                    <a:pt x="36" y="1135"/>
                  </a:cubicBezTo>
                  <a:cubicBezTo>
                    <a:pt x="60" y="1254"/>
                    <a:pt x="155" y="1350"/>
                    <a:pt x="274" y="1373"/>
                  </a:cubicBezTo>
                  <a:lnTo>
                    <a:pt x="691" y="1528"/>
                  </a:lnTo>
                  <a:cubicBezTo>
                    <a:pt x="703" y="1528"/>
                    <a:pt x="715" y="1540"/>
                    <a:pt x="751" y="1540"/>
                  </a:cubicBezTo>
                  <a:cubicBezTo>
                    <a:pt x="822" y="1540"/>
                    <a:pt x="882" y="1492"/>
                    <a:pt x="893" y="1433"/>
                  </a:cubicBezTo>
                  <a:cubicBezTo>
                    <a:pt x="929" y="1350"/>
                    <a:pt x="882" y="1254"/>
                    <a:pt x="786" y="1231"/>
                  </a:cubicBezTo>
                  <a:lnTo>
                    <a:pt x="370" y="1076"/>
                  </a:lnTo>
                  <a:cubicBezTo>
                    <a:pt x="358" y="1076"/>
                    <a:pt x="358" y="1064"/>
                    <a:pt x="346" y="1052"/>
                  </a:cubicBezTo>
                  <a:lnTo>
                    <a:pt x="346" y="1016"/>
                  </a:lnTo>
                  <a:lnTo>
                    <a:pt x="989" y="254"/>
                  </a:lnTo>
                  <a:cubicBezTo>
                    <a:pt x="1048" y="183"/>
                    <a:pt x="1024" y="99"/>
                    <a:pt x="965" y="40"/>
                  </a:cubicBezTo>
                  <a:cubicBezTo>
                    <a:pt x="933" y="13"/>
                    <a:pt x="898" y="1"/>
                    <a:pt x="8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4" name="Google Shape;12434;p62"/>
            <p:cNvSpPr/>
            <p:nvPr/>
          </p:nvSpPr>
          <p:spPr>
            <a:xfrm>
              <a:off x="8162421" y="2529471"/>
              <a:ext cx="51174" cy="21309"/>
            </a:xfrm>
            <a:custGeom>
              <a:avLst/>
              <a:gdLst/>
              <a:ahLst/>
              <a:cxnLst/>
              <a:rect l="l" t="t" r="r" b="b"/>
              <a:pathLst>
                <a:path w="1609" h="670" extrusionOk="0">
                  <a:moveTo>
                    <a:pt x="786" y="1"/>
                  </a:moveTo>
                  <a:cubicBezTo>
                    <a:pt x="759" y="1"/>
                    <a:pt x="732" y="1"/>
                    <a:pt x="703" y="2"/>
                  </a:cubicBezTo>
                  <a:cubicBezTo>
                    <a:pt x="406" y="14"/>
                    <a:pt x="144" y="86"/>
                    <a:pt x="132" y="86"/>
                  </a:cubicBezTo>
                  <a:cubicBezTo>
                    <a:pt x="49" y="121"/>
                    <a:pt x="1" y="205"/>
                    <a:pt x="25" y="300"/>
                  </a:cubicBezTo>
                  <a:cubicBezTo>
                    <a:pt x="52" y="364"/>
                    <a:pt x="108" y="407"/>
                    <a:pt x="176" y="407"/>
                  </a:cubicBezTo>
                  <a:cubicBezTo>
                    <a:pt x="196" y="407"/>
                    <a:pt x="217" y="403"/>
                    <a:pt x="239" y="395"/>
                  </a:cubicBezTo>
                  <a:cubicBezTo>
                    <a:pt x="239" y="395"/>
                    <a:pt x="477" y="324"/>
                    <a:pt x="727" y="324"/>
                  </a:cubicBezTo>
                  <a:cubicBezTo>
                    <a:pt x="754" y="322"/>
                    <a:pt x="782" y="321"/>
                    <a:pt x="811" y="321"/>
                  </a:cubicBezTo>
                  <a:cubicBezTo>
                    <a:pt x="980" y="321"/>
                    <a:pt x="1159" y="356"/>
                    <a:pt x="1251" y="479"/>
                  </a:cubicBezTo>
                  <a:cubicBezTo>
                    <a:pt x="1251" y="502"/>
                    <a:pt x="1251" y="550"/>
                    <a:pt x="1263" y="574"/>
                  </a:cubicBezTo>
                  <a:cubicBezTo>
                    <a:pt x="1299" y="633"/>
                    <a:pt x="1358" y="669"/>
                    <a:pt x="1418" y="669"/>
                  </a:cubicBezTo>
                  <a:cubicBezTo>
                    <a:pt x="1442" y="669"/>
                    <a:pt x="1454" y="669"/>
                    <a:pt x="1489" y="657"/>
                  </a:cubicBezTo>
                  <a:cubicBezTo>
                    <a:pt x="1573" y="574"/>
                    <a:pt x="1608" y="455"/>
                    <a:pt x="1561" y="371"/>
                  </a:cubicBezTo>
                  <a:cubicBezTo>
                    <a:pt x="1482" y="202"/>
                    <a:pt x="1274" y="1"/>
                    <a:pt x="7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5" name="Google Shape;12435;p62"/>
            <p:cNvSpPr/>
            <p:nvPr/>
          </p:nvSpPr>
          <p:spPr>
            <a:xfrm>
              <a:off x="8241966" y="2551258"/>
              <a:ext cx="47739" cy="30565"/>
            </a:xfrm>
            <a:custGeom>
              <a:avLst/>
              <a:gdLst/>
              <a:ahLst/>
              <a:cxnLst/>
              <a:rect l="l" t="t" r="r" b="b"/>
              <a:pathLst>
                <a:path w="1501" h="961" extrusionOk="0">
                  <a:moveTo>
                    <a:pt x="410" y="0"/>
                  </a:moveTo>
                  <a:cubicBezTo>
                    <a:pt x="307" y="0"/>
                    <a:pt x="219" y="25"/>
                    <a:pt x="143" y="56"/>
                  </a:cubicBezTo>
                  <a:cubicBezTo>
                    <a:pt x="48" y="103"/>
                    <a:pt x="0" y="222"/>
                    <a:pt x="48" y="329"/>
                  </a:cubicBezTo>
                  <a:cubicBezTo>
                    <a:pt x="74" y="381"/>
                    <a:pt x="130" y="420"/>
                    <a:pt x="187" y="420"/>
                  </a:cubicBezTo>
                  <a:cubicBezTo>
                    <a:pt x="209" y="420"/>
                    <a:pt x="230" y="414"/>
                    <a:pt x="250" y="401"/>
                  </a:cubicBezTo>
                  <a:cubicBezTo>
                    <a:pt x="286" y="377"/>
                    <a:pt x="310" y="353"/>
                    <a:pt x="322" y="329"/>
                  </a:cubicBezTo>
                  <a:cubicBezTo>
                    <a:pt x="346" y="323"/>
                    <a:pt x="371" y="319"/>
                    <a:pt x="396" y="319"/>
                  </a:cubicBezTo>
                  <a:cubicBezTo>
                    <a:pt x="685" y="319"/>
                    <a:pt x="1046" y="725"/>
                    <a:pt x="1155" y="889"/>
                  </a:cubicBezTo>
                  <a:cubicBezTo>
                    <a:pt x="1191" y="937"/>
                    <a:pt x="1239" y="960"/>
                    <a:pt x="1298" y="960"/>
                  </a:cubicBezTo>
                  <a:cubicBezTo>
                    <a:pt x="1322" y="960"/>
                    <a:pt x="1358" y="949"/>
                    <a:pt x="1381" y="937"/>
                  </a:cubicBezTo>
                  <a:cubicBezTo>
                    <a:pt x="1489" y="877"/>
                    <a:pt x="1500" y="770"/>
                    <a:pt x="1441" y="710"/>
                  </a:cubicBezTo>
                  <a:cubicBezTo>
                    <a:pt x="1441" y="698"/>
                    <a:pt x="1274" y="484"/>
                    <a:pt x="1060" y="294"/>
                  </a:cubicBezTo>
                  <a:cubicBezTo>
                    <a:pt x="798" y="69"/>
                    <a:pt x="584" y="0"/>
                    <a:pt x="4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6" name="Google Shape;12436;p62"/>
            <p:cNvSpPr/>
            <p:nvPr/>
          </p:nvSpPr>
          <p:spPr>
            <a:xfrm>
              <a:off x="8060582" y="2586720"/>
              <a:ext cx="33713" cy="48884"/>
            </a:xfrm>
            <a:custGeom>
              <a:avLst/>
              <a:gdLst/>
              <a:ahLst/>
              <a:cxnLst/>
              <a:rect l="l" t="t" r="r" b="b"/>
              <a:pathLst>
                <a:path w="1060" h="1537" extrusionOk="0">
                  <a:moveTo>
                    <a:pt x="274" y="0"/>
                  </a:moveTo>
                  <a:cubicBezTo>
                    <a:pt x="179" y="0"/>
                    <a:pt x="107" y="60"/>
                    <a:pt x="95" y="143"/>
                  </a:cubicBezTo>
                  <a:lnTo>
                    <a:pt x="12" y="1143"/>
                  </a:lnTo>
                  <a:cubicBezTo>
                    <a:pt x="0" y="1262"/>
                    <a:pt x="60" y="1381"/>
                    <a:pt x="155" y="1453"/>
                  </a:cubicBezTo>
                  <a:cubicBezTo>
                    <a:pt x="215" y="1500"/>
                    <a:pt x="298" y="1536"/>
                    <a:pt x="369" y="1536"/>
                  </a:cubicBezTo>
                  <a:cubicBezTo>
                    <a:pt x="405" y="1536"/>
                    <a:pt x="453" y="1536"/>
                    <a:pt x="476" y="1512"/>
                  </a:cubicBezTo>
                  <a:lnTo>
                    <a:pt x="905" y="1381"/>
                  </a:lnTo>
                  <a:cubicBezTo>
                    <a:pt x="1012" y="1358"/>
                    <a:pt x="1060" y="1262"/>
                    <a:pt x="1024" y="1179"/>
                  </a:cubicBezTo>
                  <a:cubicBezTo>
                    <a:pt x="1006" y="1105"/>
                    <a:pt x="944" y="1060"/>
                    <a:pt x="879" y="1060"/>
                  </a:cubicBezTo>
                  <a:cubicBezTo>
                    <a:pt x="860" y="1060"/>
                    <a:pt x="840" y="1064"/>
                    <a:pt x="822" y="1072"/>
                  </a:cubicBezTo>
                  <a:lnTo>
                    <a:pt x="393" y="1203"/>
                  </a:lnTo>
                  <a:lnTo>
                    <a:pt x="357" y="1203"/>
                  </a:lnTo>
                  <a:cubicBezTo>
                    <a:pt x="357" y="1203"/>
                    <a:pt x="345" y="1191"/>
                    <a:pt x="345" y="1179"/>
                  </a:cubicBezTo>
                  <a:lnTo>
                    <a:pt x="417" y="179"/>
                  </a:lnTo>
                  <a:cubicBezTo>
                    <a:pt x="417" y="84"/>
                    <a:pt x="357" y="12"/>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7" name="Google Shape;12437;p62"/>
            <p:cNvSpPr/>
            <p:nvPr/>
          </p:nvSpPr>
          <p:spPr>
            <a:xfrm>
              <a:off x="7999612" y="2581568"/>
              <a:ext cx="49266" cy="22582"/>
            </a:xfrm>
            <a:custGeom>
              <a:avLst/>
              <a:gdLst/>
              <a:ahLst/>
              <a:cxnLst/>
              <a:rect l="l" t="t" r="r" b="b"/>
              <a:pathLst>
                <a:path w="1549" h="710" extrusionOk="0">
                  <a:moveTo>
                    <a:pt x="1126" y="1"/>
                  </a:moveTo>
                  <a:cubicBezTo>
                    <a:pt x="602" y="1"/>
                    <a:pt x="114" y="370"/>
                    <a:pt x="84" y="400"/>
                  </a:cubicBezTo>
                  <a:cubicBezTo>
                    <a:pt x="12" y="460"/>
                    <a:pt x="0" y="567"/>
                    <a:pt x="60" y="615"/>
                  </a:cubicBezTo>
                  <a:cubicBezTo>
                    <a:pt x="95" y="663"/>
                    <a:pt x="145" y="688"/>
                    <a:pt x="194" y="688"/>
                  </a:cubicBezTo>
                  <a:cubicBezTo>
                    <a:pt x="228" y="688"/>
                    <a:pt x="261" y="675"/>
                    <a:pt x="286" y="650"/>
                  </a:cubicBezTo>
                  <a:cubicBezTo>
                    <a:pt x="286" y="650"/>
                    <a:pt x="429" y="531"/>
                    <a:pt x="643" y="448"/>
                  </a:cubicBezTo>
                  <a:cubicBezTo>
                    <a:pt x="766" y="392"/>
                    <a:pt x="940" y="316"/>
                    <a:pt x="1118" y="316"/>
                  </a:cubicBezTo>
                  <a:cubicBezTo>
                    <a:pt x="1130" y="316"/>
                    <a:pt x="1143" y="316"/>
                    <a:pt x="1155" y="317"/>
                  </a:cubicBezTo>
                  <a:lnTo>
                    <a:pt x="1084" y="472"/>
                  </a:lnTo>
                  <a:cubicBezTo>
                    <a:pt x="1036" y="543"/>
                    <a:pt x="1072" y="650"/>
                    <a:pt x="1155" y="698"/>
                  </a:cubicBezTo>
                  <a:cubicBezTo>
                    <a:pt x="1191" y="710"/>
                    <a:pt x="1203" y="710"/>
                    <a:pt x="1239" y="710"/>
                  </a:cubicBezTo>
                  <a:cubicBezTo>
                    <a:pt x="1298" y="710"/>
                    <a:pt x="1358" y="686"/>
                    <a:pt x="1381" y="615"/>
                  </a:cubicBezTo>
                  <a:lnTo>
                    <a:pt x="1536" y="317"/>
                  </a:lnTo>
                  <a:cubicBezTo>
                    <a:pt x="1548" y="281"/>
                    <a:pt x="1548" y="222"/>
                    <a:pt x="1536" y="162"/>
                  </a:cubicBezTo>
                  <a:cubicBezTo>
                    <a:pt x="1500" y="103"/>
                    <a:pt x="1453" y="67"/>
                    <a:pt x="1417" y="43"/>
                  </a:cubicBezTo>
                  <a:cubicBezTo>
                    <a:pt x="1321" y="13"/>
                    <a:pt x="1222" y="1"/>
                    <a:pt x="11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8" name="Google Shape;12438;p62"/>
            <p:cNvSpPr/>
            <p:nvPr/>
          </p:nvSpPr>
          <p:spPr>
            <a:xfrm>
              <a:off x="8080651" y="2557873"/>
              <a:ext cx="48121" cy="28879"/>
            </a:xfrm>
            <a:custGeom>
              <a:avLst/>
              <a:gdLst/>
              <a:ahLst/>
              <a:cxnLst/>
              <a:rect l="l" t="t" r="r" b="b"/>
              <a:pathLst>
                <a:path w="1513" h="908" extrusionOk="0">
                  <a:moveTo>
                    <a:pt x="1263" y="0"/>
                  </a:moveTo>
                  <a:cubicBezTo>
                    <a:pt x="1014" y="0"/>
                    <a:pt x="395" y="39"/>
                    <a:pt x="60" y="431"/>
                  </a:cubicBezTo>
                  <a:cubicBezTo>
                    <a:pt x="24" y="479"/>
                    <a:pt x="0" y="538"/>
                    <a:pt x="12" y="598"/>
                  </a:cubicBezTo>
                  <a:cubicBezTo>
                    <a:pt x="24" y="657"/>
                    <a:pt x="60" y="693"/>
                    <a:pt x="119" y="729"/>
                  </a:cubicBezTo>
                  <a:lnTo>
                    <a:pt x="417" y="895"/>
                  </a:lnTo>
                  <a:cubicBezTo>
                    <a:pt x="441" y="907"/>
                    <a:pt x="476" y="907"/>
                    <a:pt x="488" y="907"/>
                  </a:cubicBezTo>
                  <a:cubicBezTo>
                    <a:pt x="548" y="907"/>
                    <a:pt x="596" y="871"/>
                    <a:pt x="619" y="812"/>
                  </a:cubicBezTo>
                  <a:cubicBezTo>
                    <a:pt x="667" y="741"/>
                    <a:pt x="631" y="633"/>
                    <a:pt x="560" y="598"/>
                  </a:cubicBezTo>
                  <a:lnTo>
                    <a:pt x="417" y="514"/>
                  </a:lnTo>
                  <a:cubicBezTo>
                    <a:pt x="658" y="333"/>
                    <a:pt x="1025" y="308"/>
                    <a:pt x="1213" y="308"/>
                  </a:cubicBezTo>
                  <a:cubicBezTo>
                    <a:pt x="1285" y="308"/>
                    <a:pt x="1330" y="312"/>
                    <a:pt x="1334" y="312"/>
                  </a:cubicBezTo>
                  <a:cubicBezTo>
                    <a:pt x="1429" y="312"/>
                    <a:pt x="1500" y="252"/>
                    <a:pt x="1512" y="157"/>
                  </a:cubicBezTo>
                  <a:cubicBezTo>
                    <a:pt x="1512" y="86"/>
                    <a:pt x="1453" y="2"/>
                    <a:pt x="1369" y="2"/>
                  </a:cubicBezTo>
                  <a:cubicBezTo>
                    <a:pt x="1362" y="2"/>
                    <a:pt x="1324" y="0"/>
                    <a:pt x="1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9" name="Google Shape;12439;p62"/>
            <p:cNvSpPr/>
            <p:nvPr/>
          </p:nvSpPr>
          <p:spPr>
            <a:xfrm>
              <a:off x="7964753" y="2497698"/>
              <a:ext cx="269675" cy="231795"/>
            </a:xfrm>
            <a:custGeom>
              <a:avLst/>
              <a:gdLst/>
              <a:ahLst/>
              <a:cxnLst/>
              <a:rect l="l" t="t" r="r" b="b"/>
              <a:pathLst>
                <a:path w="8479" h="7288" extrusionOk="0">
                  <a:moveTo>
                    <a:pt x="7176" y="3986"/>
                  </a:moveTo>
                  <a:cubicBezTo>
                    <a:pt x="7277" y="3986"/>
                    <a:pt x="7379" y="4003"/>
                    <a:pt x="7478" y="4037"/>
                  </a:cubicBezTo>
                  <a:cubicBezTo>
                    <a:pt x="7716" y="4109"/>
                    <a:pt x="7907" y="4287"/>
                    <a:pt x="8014" y="4514"/>
                  </a:cubicBezTo>
                  <a:cubicBezTo>
                    <a:pt x="8073" y="4645"/>
                    <a:pt x="8121" y="4788"/>
                    <a:pt x="8097" y="4930"/>
                  </a:cubicBezTo>
                  <a:cubicBezTo>
                    <a:pt x="7704" y="4538"/>
                    <a:pt x="7168" y="4335"/>
                    <a:pt x="6621" y="4335"/>
                  </a:cubicBezTo>
                  <a:cubicBezTo>
                    <a:pt x="6561" y="4335"/>
                    <a:pt x="6502" y="4335"/>
                    <a:pt x="6442" y="4347"/>
                  </a:cubicBezTo>
                  <a:cubicBezTo>
                    <a:pt x="6526" y="4228"/>
                    <a:pt x="6633" y="4133"/>
                    <a:pt x="6764" y="4073"/>
                  </a:cubicBezTo>
                  <a:cubicBezTo>
                    <a:pt x="6895" y="4018"/>
                    <a:pt x="7035" y="3986"/>
                    <a:pt x="7176" y="3986"/>
                  </a:cubicBezTo>
                  <a:close/>
                  <a:moveTo>
                    <a:pt x="4156" y="311"/>
                  </a:moveTo>
                  <a:cubicBezTo>
                    <a:pt x="4728" y="311"/>
                    <a:pt x="5204" y="716"/>
                    <a:pt x="5311" y="1275"/>
                  </a:cubicBezTo>
                  <a:lnTo>
                    <a:pt x="5383" y="1716"/>
                  </a:lnTo>
                  <a:cubicBezTo>
                    <a:pt x="5418" y="1990"/>
                    <a:pt x="5525" y="2252"/>
                    <a:pt x="5692" y="2490"/>
                  </a:cubicBezTo>
                  <a:cubicBezTo>
                    <a:pt x="5978" y="2918"/>
                    <a:pt x="6049" y="3454"/>
                    <a:pt x="5930" y="3942"/>
                  </a:cubicBezTo>
                  <a:lnTo>
                    <a:pt x="5525" y="5823"/>
                  </a:lnTo>
                  <a:cubicBezTo>
                    <a:pt x="5442" y="6252"/>
                    <a:pt x="5109" y="6609"/>
                    <a:pt x="4680" y="6740"/>
                  </a:cubicBezTo>
                  <a:lnTo>
                    <a:pt x="4120" y="6907"/>
                  </a:lnTo>
                  <a:cubicBezTo>
                    <a:pt x="4001" y="6942"/>
                    <a:pt x="3881" y="6959"/>
                    <a:pt x="3763" y="6959"/>
                  </a:cubicBezTo>
                  <a:cubicBezTo>
                    <a:pt x="3444" y="6959"/>
                    <a:pt x="3137" y="6835"/>
                    <a:pt x="2894" y="6609"/>
                  </a:cubicBezTo>
                  <a:lnTo>
                    <a:pt x="1525" y="5264"/>
                  </a:lnTo>
                  <a:cubicBezTo>
                    <a:pt x="1156" y="4930"/>
                    <a:pt x="930" y="4430"/>
                    <a:pt x="930" y="3930"/>
                  </a:cubicBezTo>
                  <a:cubicBezTo>
                    <a:pt x="930" y="3645"/>
                    <a:pt x="870" y="3359"/>
                    <a:pt x="751" y="3109"/>
                  </a:cubicBezTo>
                  <a:lnTo>
                    <a:pt x="572" y="2692"/>
                  </a:lnTo>
                  <a:cubicBezTo>
                    <a:pt x="346" y="2168"/>
                    <a:pt x="525" y="1573"/>
                    <a:pt x="1001" y="1263"/>
                  </a:cubicBezTo>
                  <a:cubicBezTo>
                    <a:pt x="1930" y="644"/>
                    <a:pt x="3001" y="311"/>
                    <a:pt x="4120" y="311"/>
                  </a:cubicBezTo>
                  <a:close/>
                  <a:moveTo>
                    <a:pt x="4099" y="1"/>
                  </a:moveTo>
                  <a:cubicBezTo>
                    <a:pt x="2929" y="1"/>
                    <a:pt x="1806" y="357"/>
                    <a:pt x="822" y="1001"/>
                  </a:cubicBezTo>
                  <a:cubicBezTo>
                    <a:pt x="227" y="1394"/>
                    <a:pt x="1" y="2168"/>
                    <a:pt x="275" y="2823"/>
                  </a:cubicBezTo>
                  <a:lnTo>
                    <a:pt x="453" y="3240"/>
                  </a:lnTo>
                  <a:cubicBezTo>
                    <a:pt x="537" y="3466"/>
                    <a:pt x="596" y="3704"/>
                    <a:pt x="596" y="3942"/>
                  </a:cubicBezTo>
                  <a:cubicBezTo>
                    <a:pt x="596" y="4538"/>
                    <a:pt x="870" y="5109"/>
                    <a:pt x="1299" y="5502"/>
                  </a:cubicBezTo>
                  <a:lnTo>
                    <a:pt x="2668" y="6847"/>
                  </a:lnTo>
                  <a:cubicBezTo>
                    <a:pt x="2966" y="7133"/>
                    <a:pt x="3358" y="7288"/>
                    <a:pt x="3751" y="7288"/>
                  </a:cubicBezTo>
                  <a:cubicBezTo>
                    <a:pt x="3906" y="7288"/>
                    <a:pt x="4049" y="7276"/>
                    <a:pt x="4204" y="7228"/>
                  </a:cubicBezTo>
                  <a:lnTo>
                    <a:pt x="4763" y="7074"/>
                  </a:lnTo>
                  <a:cubicBezTo>
                    <a:pt x="5299" y="6907"/>
                    <a:pt x="5716" y="6454"/>
                    <a:pt x="5835" y="5907"/>
                  </a:cubicBezTo>
                  <a:lnTo>
                    <a:pt x="6097" y="4752"/>
                  </a:lnTo>
                  <a:lnTo>
                    <a:pt x="6168" y="4752"/>
                  </a:lnTo>
                  <a:cubicBezTo>
                    <a:pt x="6317" y="4715"/>
                    <a:pt x="6466" y="4698"/>
                    <a:pt x="6614" y="4698"/>
                  </a:cubicBezTo>
                  <a:cubicBezTo>
                    <a:pt x="7143" y="4698"/>
                    <a:pt x="7651" y="4923"/>
                    <a:pt x="8014" y="5323"/>
                  </a:cubicBezTo>
                  <a:lnTo>
                    <a:pt x="8073" y="5407"/>
                  </a:lnTo>
                  <a:cubicBezTo>
                    <a:pt x="8109" y="5430"/>
                    <a:pt x="8145" y="5466"/>
                    <a:pt x="8192" y="5466"/>
                  </a:cubicBezTo>
                  <a:lnTo>
                    <a:pt x="8228" y="5466"/>
                  </a:lnTo>
                  <a:cubicBezTo>
                    <a:pt x="8288" y="5442"/>
                    <a:pt x="8323" y="5419"/>
                    <a:pt x="8347" y="5359"/>
                  </a:cubicBezTo>
                  <a:cubicBezTo>
                    <a:pt x="8478" y="5002"/>
                    <a:pt x="8442" y="4657"/>
                    <a:pt x="8311" y="4359"/>
                  </a:cubicBezTo>
                  <a:cubicBezTo>
                    <a:pt x="8169" y="4061"/>
                    <a:pt x="7907" y="3835"/>
                    <a:pt x="7585" y="3716"/>
                  </a:cubicBezTo>
                  <a:cubicBezTo>
                    <a:pt x="7454" y="3676"/>
                    <a:pt x="7316" y="3654"/>
                    <a:pt x="7176" y="3654"/>
                  </a:cubicBezTo>
                  <a:cubicBezTo>
                    <a:pt x="6987" y="3654"/>
                    <a:pt x="6794" y="3693"/>
                    <a:pt x="6609" y="3776"/>
                  </a:cubicBezTo>
                  <a:cubicBezTo>
                    <a:pt x="6466" y="3847"/>
                    <a:pt x="6335" y="3954"/>
                    <a:pt x="6228" y="4073"/>
                  </a:cubicBezTo>
                  <a:lnTo>
                    <a:pt x="6240" y="4014"/>
                  </a:lnTo>
                  <a:cubicBezTo>
                    <a:pt x="6395" y="3442"/>
                    <a:pt x="6287" y="2823"/>
                    <a:pt x="5954" y="2323"/>
                  </a:cubicBezTo>
                  <a:cubicBezTo>
                    <a:pt x="5823" y="2109"/>
                    <a:pt x="5740" y="1894"/>
                    <a:pt x="5692" y="1656"/>
                  </a:cubicBezTo>
                  <a:lnTo>
                    <a:pt x="5621" y="1216"/>
                  </a:lnTo>
                  <a:cubicBezTo>
                    <a:pt x="5478" y="525"/>
                    <a:pt x="4871" y="1"/>
                    <a:pt x="4156" y="1"/>
                  </a:cubicBezTo>
                  <a:cubicBezTo>
                    <a:pt x="4137" y="1"/>
                    <a:pt x="4118" y="1"/>
                    <a:pt x="40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0" name="Google Shape;12440;p62"/>
            <p:cNvSpPr/>
            <p:nvPr/>
          </p:nvSpPr>
          <p:spPr>
            <a:xfrm>
              <a:off x="8045792" y="2634650"/>
              <a:ext cx="84124" cy="55850"/>
            </a:xfrm>
            <a:custGeom>
              <a:avLst/>
              <a:gdLst/>
              <a:ahLst/>
              <a:cxnLst/>
              <a:rect l="l" t="t" r="r" b="b"/>
              <a:pathLst>
                <a:path w="2645" h="1756" extrusionOk="0">
                  <a:moveTo>
                    <a:pt x="2168" y="517"/>
                  </a:moveTo>
                  <a:cubicBezTo>
                    <a:pt x="2168" y="898"/>
                    <a:pt x="1906" y="1255"/>
                    <a:pt x="1513" y="1375"/>
                  </a:cubicBezTo>
                  <a:cubicBezTo>
                    <a:pt x="1425" y="1405"/>
                    <a:pt x="1333" y="1420"/>
                    <a:pt x="1242" y="1420"/>
                  </a:cubicBezTo>
                  <a:cubicBezTo>
                    <a:pt x="1087" y="1420"/>
                    <a:pt x="933" y="1378"/>
                    <a:pt x="799" y="1303"/>
                  </a:cubicBezTo>
                  <a:cubicBezTo>
                    <a:pt x="656" y="1232"/>
                    <a:pt x="560" y="1136"/>
                    <a:pt x="465" y="1017"/>
                  </a:cubicBezTo>
                  <a:lnTo>
                    <a:pt x="465" y="1017"/>
                  </a:lnTo>
                  <a:cubicBezTo>
                    <a:pt x="563" y="1031"/>
                    <a:pt x="661" y="1037"/>
                    <a:pt x="759" y="1037"/>
                  </a:cubicBezTo>
                  <a:cubicBezTo>
                    <a:pt x="1271" y="1037"/>
                    <a:pt x="1778" y="857"/>
                    <a:pt x="2168" y="517"/>
                  </a:cubicBezTo>
                  <a:close/>
                  <a:moveTo>
                    <a:pt x="2281" y="1"/>
                  </a:moveTo>
                  <a:cubicBezTo>
                    <a:pt x="2237" y="1"/>
                    <a:pt x="2198" y="17"/>
                    <a:pt x="2180" y="53"/>
                  </a:cubicBezTo>
                  <a:lnTo>
                    <a:pt x="2108" y="124"/>
                  </a:lnTo>
                  <a:cubicBezTo>
                    <a:pt x="1749" y="510"/>
                    <a:pt x="1241" y="714"/>
                    <a:pt x="727" y="714"/>
                  </a:cubicBezTo>
                  <a:cubicBezTo>
                    <a:pt x="559" y="714"/>
                    <a:pt x="391" y="692"/>
                    <a:pt x="227" y="648"/>
                  </a:cubicBezTo>
                  <a:cubicBezTo>
                    <a:pt x="213" y="645"/>
                    <a:pt x="199" y="644"/>
                    <a:pt x="185" y="644"/>
                  </a:cubicBezTo>
                  <a:cubicBezTo>
                    <a:pt x="140" y="644"/>
                    <a:pt x="97" y="659"/>
                    <a:pt x="60" y="696"/>
                  </a:cubicBezTo>
                  <a:cubicBezTo>
                    <a:pt x="25" y="743"/>
                    <a:pt x="1" y="803"/>
                    <a:pt x="25" y="863"/>
                  </a:cubicBezTo>
                  <a:cubicBezTo>
                    <a:pt x="179" y="1410"/>
                    <a:pt x="691" y="1756"/>
                    <a:pt x="1227" y="1756"/>
                  </a:cubicBezTo>
                  <a:cubicBezTo>
                    <a:pt x="1346" y="1756"/>
                    <a:pt x="1465" y="1732"/>
                    <a:pt x="1584" y="1696"/>
                  </a:cubicBezTo>
                  <a:cubicBezTo>
                    <a:pt x="2263" y="1482"/>
                    <a:pt x="2644" y="779"/>
                    <a:pt x="2442" y="112"/>
                  </a:cubicBezTo>
                  <a:cubicBezTo>
                    <a:pt x="2430" y="53"/>
                    <a:pt x="2382" y="5"/>
                    <a:pt x="2323" y="5"/>
                  </a:cubicBezTo>
                  <a:cubicBezTo>
                    <a:pt x="2309" y="2"/>
                    <a:pt x="2294" y="1"/>
                    <a:pt x="22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1" name="Google Shape;12441;p62"/>
            <p:cNvSpPr/>
            <p:nvPr/>
          </p:nvSpPr>
          <p:spPr>
            <a:xfrm>
              <a:off x="8145787" y="2470823"/>
              <a:ext cx="181034" cy="231795"/>
            </a:xfrm>
            <a:custGeom>
              <a:avLst/>
              <a:gdLst/>
              <a:ahLst/>
              <a:cxnLst/>
              <a:rect l="l" t="t" r="r" b="b"/>
              <a:pathLst>
                <a:path w="5692" h="7288" extrusionOk="0">
                  <a:moveTo>
                    <a:pt x="1559" y="0"/>
                  </a:moveTo>
                  <a:cubicBezTo>
                    <a:pt x="864" y="0"/>
                    <a:pt x="247" y="493"/>
                    <a:pt x="107" y="1168"/>
                  </a:cubicBezTo>
                  <a:lnTo>
                    <a:pt x="12" y="1573"/>
                  </a:lnTo>
                  <a:cubicBezTo>
                    <a:pt x="0" y="1668"/>
                    <a:pt x="48" y="1751"/>
                    <a:pt x="131" y="1763"/>
                  </a:cubicBezTo>
                  <a:cubicBezTo>
                    <a:pt x="147" y="1767"/>
                    <a:pt x="163" y="1769"/>
                    <a:pt x="179" y="1769"/>
                  </a:cubicBezTo>
                  <a:cubicBezTo>
                    <a:pt x="253" y="1769"/>
                    <a:pt x="314" y="1723"/>
                    <a:pt x="333" y="1644"/>
                  </a:cubicBezTo>
                  <a:lnTo>
                    <a:pt x="417" y="1251"/>
                  </a:lnTo>
                  <a:cubicBezTo>
                    <a:pt x="534" y="700"/>
                    <a:pt x="1032" y="322"/>
                    <a:pt x="1571" y="322"/>
                  </a:cubicBezTo>
                  <a:cubicBezTo>
                    <a:pt x="1579" y="322"/>
                    <a:pt x="1587" y="322"/>
                    <a:pt x="1596" y="322"/>
                  </a:cubicBezTo>
                  <a:cubicBezTo>
                    <a:pt x="2727" y="358"/>
                    <a:pt x="3798" y="727"/>
                    <a:pt x="4703" y="1382"/>
                  </a:cubicBezTo>
                  <a:cubicBezTo>
                    <a:pt x="5167" y="1703"/>
                    <a:pt x="5310" y="2323"/>
                    <a:pt x="5072" y="2823"/>
                  </a:cubicBezTo>
                  <a:lnTo>
                    <a:pt x="4882" y="3227"/>
                  </a:lnTo>
                  <a:cubicBezTo>
                    <a:pt x="4763" y="3478"/>
                    <a:pt x="4691" y="3763"/>
                    <a:pt x="4679" y="4049"/>
                  </a:cubicBezTo>
                  <a:cubicBezTo>
                    <a:pt x="4644" y="4549"/>
                    <a:pt x="4417" y="5025"/>
                    <a:pt x="4036" y="5359"/>
                  </a:cubicBezTo>
                  <a:lnTo>
                    <a:pt x="2619" y="6633"/>
                  </a:lnTo>
                  <a:cubicBezTo>
                    <a:pt x="2397" y="6839"/>
                    <a:pt x="2101" y="6953"/>
                    <a:pt x="1801" y="6953"/>
                  </a:cubicBezTo>
                  <a:cubicBezTo>
                    <a:pt x="1668" y="6953"/>
                    <a:pt x="1534" y="6930"/>
                    <a:pt x="1405" y="6883"/>
                  </a:cubicBezTo>
                  <a:lnTo>
                    <a:pt x="845" y="6692"/>
                  </a:lnTo>
                  <a:cubicBezTo>
                    <a:pt x="834" y="6692"/>
                    <a:pt x="822" y="6680"/>
                    <a:pt x="786" y="6680"/>
                  </a:cubicBezTo>
                  <a:cubicBezTo>
                    <a:pt x="766" y="6672"/>
                    <a:pt x="746" y="6668"/>
                    <a:pt x="727" y="6668"/>
                  </a:cubicBezTo>
                  <a:cubicBezTo>
                    <a:pt x="662" y="6668"/>
                    <a:pt x="602" y="6709"/>
                    <a:pt x="584" y="6764"/>
                  </a:cubicBezTo>
                  <a:cubicBezTo>
                    <a:pt x="548" y="6859"/>
                    <a:pt x="595" y="6942"/>
                    <a:pt x="667" y="6978"/>
                  </a:cubicBezTo>
                  <a:cubicBezTo>
                    <a:pt x="691" y="6990"/>
                    <a:pt x="714" y="6990"/>
                    <a:pt x="726" y="7002"/>
                  </a:cubicBezTo>
                  <a:lnTo>
                    <a:pt x="1286" y="7204"/>
                  </a:lnTo>
                  <a:cubicBezTo>
                    <a:pt x="1441" y="7252"/>
                    <a:pt x="1607" y="7288"/>
                    <a:pt x="1786" y="7288"/>
                  </a:cubicBezTo>
                  <a:cubicBezTo>
                    <a:pt x="2179" y="7288"/>
                    <a:pt x="2548" y="7157"/>
                    <a:pt x="2834" y="6883"/>
                  </a:cubicBezTo>
                  <a:lnTo>
                    <a:pt x="4239" y="5609"/>
                  </a:lnTo>
                  <a:cubicBezTo>
                    <a:pt x="4691" y="5216"/>
                    <a:pt x="4977" y="4656"/>
                    <a:pt x="5001" y="4061"/>
                  </a:cubicBezTo>
                  <a:cubicBezTo>
                    <a:pt x="5013" y="3823"/>
                    <a:pt x="5072" y="3585"/>
                    <a:pt x="5179" y="3358"/>
                  </a:cubicBezTo>
                  <a:lnTo>
                    <a:pt x="5370" y="2954"/>
                  </a:lnTo>
                  <a:cubicBezTo>
                    <a:pt x="5691" y="2335"/>
                    <a:pt x="5477" y="1549"/>
                    <a:pt x="4894" y="1132"/>
                  </a:cubicBezTo>
                  <a:cubicBezTo>
                    <a:pt x="3929" y="430"/>
                    <a:pt x="2798" y="37"/>
                    <a:pt x="1607" y="1"/>
                  </a:cubicBezTo>
                  <a:cubicBezTo>
                    <a:pt x="1591" y="0"/>
                    <a:pt x="1575" y="0"/>
                    <a:pt x="155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2" name="Google Shape;12442;p62"/>
          <p:cNvGrpSpPr/>
          <p:nvPr/>
        </p:nvGrpSpPr>
        <p:grpSpPr>
          <a:xfrm>
            <a:off x="7524349" y="2456447"/>
            <a:ext cx="350332" cy="288948"/>
            <a:chOff x="7524349" y="2456447"/>
            <a:chExt cx="350332" cy="288948"/>
          </a:xfrm>
        </p:grpSpPr>
        <p:sp>
          <p:nvSpPr>
            <p:cNvPr id="12443" name="Google Shape;12443;p62"/>
            <p:cNvSpPr/>
            <p:nvPr/>
          </p:nvSpPr>
          <p:spPr>
            <a:xfrm>
              <a:off x="7693647" y="2566651"/>
              <a:ext cx="10623" cy="67045"/>
            </a:xfrm>
            <a:custGeom>
              <a:avLst/>
              <a:gdLst/>
              <a:ahLst/>
              <a:cxnLst/>
              <a:rect l="l" t="t" r="r" b="b"/>
              <a:pathLst>
                <a:path w="334" h="2108" extrusionOk="0">
                  <a:moveTo>
                    <a:pt x="167" y="0"/>
                  </a:moveTo>
                  <a:cubicBezTo>
                    <a:pt x="83" y="0"/>
                    <a:pt x="0" y="84"/>
                    <a:pt x="0" y="167"/>
                  </a:cubicBezTo>
                  <a:lnTo>
                    <a:pt x="0" y="1941"/>
                  </a:lnTo>
                  <a:cubicBezTo>
                    <a:pt x="0" y="2024"/>
                    <a:pt x="83" y="2108"/>
                    <a:pt x="167" y="2108"/>
                  </a:cubicBezTo>
                  <a:cubicBezTo>
                    <a:pt x="250" y="2108"/>
                    <a:pt x="333" y="2024"/>
                    <a:pt x="333" y="1941"/>
                  </a:cubicBezTo>
                  <a:lnTo>
                    <a:pt x="333" y="167"/>
                  </a:lnTo>
                  <a:cubicBezTo>
                    <a:pt x="333"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4" name="Google Shape;12444;p62"/>
            <p:cNvSpPr/>
            <p:nvPr/>
          </p:nvSpPr>
          <p:spPr>
            <a:xfrm>
              <a:off x="7524349" y="2545151"/>
              <a:ext cx="350332" cy="200244"/>
            </a:xfrm>
            <a:custGeom>
              <a:avLst/>
              <a:gdLst/>
              <a:ahLst/>
              <a:cxnLst/>
              <a:rect l="l" t="t" r="r" b="b"/>
              <a:pathLst>
                <a:path w="11015" h="6296" extrusionOk="0">
                  <a:moveTo>
                    <a:pt x="322" y="1736"/>
                  </a:moveTo>
                  <a:lnTo>
                    <a:pt x="620" y="2033"/>
                  </a:lnTo>
                  <a:cubicBezTo>
                    <a:pt x="930" y="2343"/>
                    <a:pt x="1299" y="2534"/>
                    <a:pt x="1680" y="2605"/>
                  </a:cubicBezTo>
                  <a:lnTo>
                    <a:pt x="2858" y="2784"/>
                  </a:lnTo>
                  <a:cubicBezTo>
                    <a:pt x="3835" y="2986"/>
                    <a:pt x="4490" y="3760"/>
                    <a:pt x="4871" y="4415"/>
                  </a:cubicBezTo>
                  <a:lnTo>
                    <a:pt x="4847" y="4415"/>
                  </a:lnTo>
                  <a:lnTo>
                    <a:pt x="4835" y="4427"/>
                  </a:lnTo>
                  <a:lnTo>
                    <a:pt x="4823" y="4450"/>
                  </a:lnTo>
                  <a:lnTo>
                    <a:pt x="4811" y="4462"/>
                  </a:lnTo>
                  <a:lnTo>
                    <a:pt x="4787" y="4474"/>
                  </a:lnTo>
                  <a:lnTo>
                    <a:pt x="4775" y="4486"/>
                  </a:lnTo>
                  <a:cubicBezTo>
                    <a:pt x="4775" y="4486"/>
                    <a:pt x="4775" y="4510"/>
                    <a:pt x="4763" y="4510"/>
                  </a:cubicBezTo>
                  <a:lnTo>
                    <a:pt x="4752" y="4522"/>
                  </a:lnTo>
                  <a:cubicBezTo>
                    <a:pt x="4752" y="4522"/>
                    <a:pt x="4752" y="4534"/>
                    <a:pt x="4728" y="4534"/>
                  </a:cubicBezTo>
                  <a:cubicBezTo>
                    <a:pt x="4728" y="4534"/>
                    <a:pt x="4728" y="4546"/>
                    <a:pt x="4716" y="4546"/>
                  </a:cubicBezTo>
                  <a:lnTo>
                    <a:pt x="4716" y="4570"/>
                  </a:lnTo>
                  <a:cubicBezTo>
                    <a:pt x="4716" y="4570"/>
                    <a:pt x="4716" y="4581"/>
                    <a:pt x="4704" y="4581"/>
                  </a:cubicBezTo>
                  <a:lnTo>
                    <a:pt x="4704" y="4593"/>
                  </a:lnTo>
                  <a:lnTo>
                    <a:pt x="4704" y="4605"/>
                  </a:lnTo>
                  <a:lnTo>
                    <a:pt x="4704" y="4629"/>
                  </a:lnTo>
                  <a:lnTo>
                    <a:pt x="4704" y="4641"/>
                  </a:lnTo>
                  <a:lnTo>
                    <a:pt x="4704" y="4653"/>
                  </a:lnTo>
                  <a:lnTo>
                    <a:pt x="4704" y="4665"/>
                  </a:lnTo>
                  <a:lnTo>
                    <a:pt x="4704" y="4689"/>
                  </a:lnTo>
                  <a:lnTo>
                    <a:pt x="4704" y="4700"/>
                  </a:lnTo>
                  <a:lnTo>
                    <a:pt x="4704" y="4712"/>
                  </a:lnTo>
                  <a:lnTo>
                    <a:pt x="4704" y="4724"/>
                  </a:lnTo>
                  <a:lnTo>
                    <a:pt x="4704" y="4748"/>
                  </a:lnTo>
                  <a:lnTo>
                    <a:pt x="4704" y="4760"/>
                  </a:lnTo>
                  <a:lnTo>
                    <a:pt x="4704" y="4772"/>
                  </a:lnTo>
                  <a:lnTo>
                    <a:pt x="4704" y="4784"/>
                  </a:lnTo>
                  <a:lnTo>
                    <a:pt x="4704" y="4808"/>
                  </a:lnTo>
                  <a:lnTo>
                    <a:pt x="4704" y="4820"/>
                  </a:lnTo>
                  <a:lnTo>
                    <a:pt x="4704" y="4831"/>
                  </a:lnTo>
                  <a:cubicBezTo>
                    <a:pt x="4704" y="4843"/>
                    <a:pt x="4704" y="4843"/>
                    <a:pt x="4716" y="4867"/>
                  </a:cubicBezTo>
                  <a:lnTo>
                    <a:pt x="4871" y="5224"/>
                  </a:lnTo>
                  <a:cubicBezTo>
                    <a:pt x="4394" y="5224"/>
                    <a:pt x="4061" y="5236"/>
                    <a:pt x="3894" y="5296"/>
                  </a:cubicBezTo>
                  <a:cubicBezTo>
                    <a:pt x="3435" y="5449"/>
                    <a:pt x="3020" y="5525"/>
                    <a:pt x="2647" y="5525"/>
                  </a:cubicBezTo>
                  <a:cubicBezTo>
                    <a:pt x="2150" y="5525"/>
                    <a:pt x="1729" y="5389"/>
                    <a:pt x="1382" y="5117"/>
                  </a:cubicBezTo>
                  <a:cubicBezTo>
                    <a:pt x="1180" y="4951"/>
                    <a:pt x="1001" y="4748"/>
                    <a:pt x="846" y="4474"/>
                  </a:cubicBezTo>
                  <a:cubicBezTo>
                    <a:pt x="894" y="4450"/>
                    <a:pt x="1001" y="4403"/>
                    <a:pt x="1084" y="4391"/>
                  </a:cubicBezTo>
                  <a:cubicBezTo>
                    <a:pt x="1132" y="4367"/>
                    <a:pt x="1180" y="4343"/>
                    <a:pt x="1192" y="4308"/>
                  </a:cubicBezTo>
                  <a:cubicBezTo>
                    <a:pt x="1215" y="4272"/>
                    <a:pt x="1215" y="4224"/>
                    <a:pt x="1203" y="4177"/>
                  </a:cubicBezTo>
                  <a:cubicBezTo>
                    <a:pt x="1156" y="4046"/>
                    <a:pt x="1013" y="3891"/>
                    <a:pt x="775" y="3653"/>
                  </a:cubicBezTo>
                  <a:cubicBezTo>
                    <a:pt x="656" y="3534"/>
                    <a:pt x="441" y="3331"/>
                    <a:pt x="406" y="3236"/>
                  </a:cubicBezTo>
                  <a:cubicBezTo>
                    <a:pt x="441" y="3212"/>
                    <a:pt x="584" y="3200"/>
                    <a:pt x="668" y="3200"/>
                  </a:cubicBezTo>
                  <a:cubicBezTo>
                    <a:pt x="727" y="3200"/>
                    <a:pt x="787" y="3165"/>
                    <a:pt x="811" y="3105"/>
                  </a:cubicBezTo>
                  <a:cubicBezTo>
                    <a:pt x="846" y="3046"/>
                    <a:pt x="834" y="2974"/>
                    <a:pt x="787" y="2926"/>
                  </a:cubicBezTo>
                  <a:cubicBezTo>
                    <a:pt x="537" y="2641"/>
                    <a:pt x="406" y="2129"/>
                    <a:pt x="322" y="1736"/>
                  </a:cubicBezTo>
                  <a:close/>
                  <a:moveTo>
                    <a:pt x="10621" y="1736"/>
                  </a:moveTo>
                  <a:lnTo>
                    <a:pt x="10621" y="1736"/>
                  </a:lnTo>
                  <a:cubicBezTo>
                    <a:pt x="10550" y="2117"/>
                    <a:pt x="10419" y="2641"/>
                    <a:pt x="10169" y="2926"/>
                  </a:cubicBezTo>
                  <a:cubicBezTo>
                    <a:pt x="10121" y="2974"/>
                    <a:pt x="10109" y="3046"/>
                    <a:pt x="10133" y="3105"/>
                  </a:cubicBezTo>
                  <a:cubicBezTo>
                    <a:pt x="10169" y="3165"/>
                    <a:pt x="10228" y="3188"/>
                    <a:pt x="10288" y="3188"/>
                  </a:cubicBezTo>
                  <a:cubicBezTo>
                    <a:pt x="10383" y="3188"/>
                    <a:pt x="10502" y="3212"/>
                    <a:pt x="10550" y="3236"/>
                  </a:cubicBezTo>
                  <a:cubicBezTo>
                    <a:pt x="10526" y="3331"/>
                    <a:pt x="10324" y="3522"/>
                    <a:pt x="10205" y="3653"/>
                  </a:cubicBezTo>
                  <a:cubicBezTo>
                    <a:pt x="9966" y="3891"/>
                    <a:pt x="9824" y="4058"/>
                    <a:pt x="9776" y="4177"/>
                  </a:cubicBezTo>
                  <a:cubicBezTo>
                    <a:pt x="9764" y="4224"/>
                    <a:pt x="9764" y="4272"/>
                    <a:pt x="9788" y="4308"/>
                  </a:cubicBezTo>
                  <a:cubicBezTo>
                    <a:pt x="9824" y="4355"/>
                    <a:pt x="9847" y="4391"/>
                    <a:pt x="9895" y="4391"/>
                  </a:cubicBezTo>
                  <a:cubicBezTo>
                    <a:pt x="9978" y="4403"/>
                    <a:pt x="10086" y="4439"/>
                    <a:pt x="10133" y="4474"/>
                  </a:cubicBezTo>
                  <a:cubicBezTo>
                    <a:pt x="9978" y="4724"/>
                    <a:pt x="9800" y="4951"/>
                    <a:pt x="9597" y="5117"/>
                  </a:cubicBezTo>
                  <a:cubicBezTo>
                    <a:pt x="9257" y="5389"/>
                    <a:pt x="8835" y="5525"/>
                    <a:pt x="8336" y="5525"/>
                  </a:cubicBezTo>
                  <a:cubicBezTo>
                    <a:pt x="7962" y="5525"/>
                    <a:pt x="7544" y="5449"/>
                    <a:pt x="7085" y="5296"/>
                  </a:cubicBezTo>
                  <a:cubicBezTo>
                    <a:pt x="6930" y="5248"/>
                    <a:pt x="6633" y="5224"/>
                    <a:pt x="6204" y="5224"/>
                  </a:cubicBezTo>
                  <a:lnTo>
                    <a:pt x="6085" y="5224"/>
                  </a:lnTo>
                  <a:lnTo>
                    <a:pt x="6228" y="4867"/>
                  </a:lnTo>
                  <a:cubicBezTo>
                    <a:pt x="6228" y="4843"/>
                    <a:pt x="6228" y="4843"/>
                    <a:pt x="6252" y="4831"/>
                  </a:cubicBezTo>
                  <a:lnTo>
                    <a:pt x="6252" y="4820"/>
                  </a:lnTo>
                  <a:lnTo>
                    <a:pt x="6252" y="4808"/>
                  </a:lnTo>
                  <a:lnTo>
                    <a:pt x="6252" y="4784"/>
                  </a:lnTo>
                  <a:lnTo>
                    <a:pt x="6252" y="4772"/>
                  </a:lnTo>
                  <a:lnTo>
                    <a:pt x="6252" y="4760"/>
                  </a:lnTo>
                  <a:lnTo>
                    <a:pt x="6252" y="4736"/>
                  </a:lnTo>
                  <a:lnTo>
                    <a:pt x="6252" y="4724"/>
                  </a:lnTo>
                  <a:lnTo>
                    <a:pt x="6252" y="4712"/>
                  </a:lnTo>
                  <a:lnTo>
                    <a:pt x="6252" y="4700"/>
                  </a:lnTo>
                  <a:lnTo>
                    <a:pt x="6252" y="4677"/>
                  </a:lnTo>
                  <a:lnTo>
                    <a:pt x="6252" y="4665"/>
                  </a:lnTo>
                  <a:lnTo>
                    <a:pt x="6252" y="4653"/>
                  </a:lnTo>
                  <a:lnTo>
                    <a:pt x="6252" y="4641"/>
                  </a:lnTo>
                  <a:lnTo>
                    <a:pt x="6252" y="4617"/>
                  </a:lnTo>
                  <a:lnTo>
                    <a:pt x="6252" y="4605"/>
                  </a:lnTo>
                  <a:lnTo>
                    <a:pt x="6252" y="4593"/>
                  </a:lnTo>
                  <a:lnTo>
                    <a:pt x="6252" y="4581"/>
                  </a:lnTo>
                  <a:cubicBezTo>
                    <a:pt x="6252" y="4581"/>
                    <a:pt x="6252" y="4558"/>
                    <a:pt x="6228" y="4558"/>
                  </a:cubicBezTo>
                  <a:lnTo>
                    <a:pt x="6228" y="4546"/>
                  </a:lnTo>
                  <a:cubicBezTo>
                    <a:pt x="6228" y="4546"/>
                    <a:pt x="6228" y="4534"/>
                    <a:pt x="6216" y="4534"/>
                  </a:cubicBezTo>
                  <a:cubicBezTo>
                    <a:pt x="6216" y="4534"/>
                    <a:pt x="6216" y="4522"/>
                    <a:pt x="6204" y="4522"/>
                  </a:cubicBezTo>
                  <a:lnTo>
                    <a:pt x="6192" y="4498"/>
                  </a:lnTo>
                  <a:lnTo>
                    <a:pt x="6180" y="4486"/>
                  </a:lnTo>
                  <a:lnTo>
                    <a:pt x="6156" y="4474"/>
                  </a:lnTo>
                  <a:lnTo>
                    <a:pt x="6145" y="4462"/>
                  </a:lnTo>
                  <a:lnTo>
                    <a:pt x="6133" y="4439"/>
                  </a:lnTo>
                  <a:lnTo>
                    <a:pt x="6121" y="4427"/>
                  </a:lnTo>
                  <a:lnTo>
                    <a:pt x="6097" y="4415"/>
                  </a:lnTo>
                  <a:lnTo>
                    <a:pt x="6085" y="4415"/>
                  </a:lnTo>
                  <a:cubicBezTo>
                    <a:pt x="6478" y="3760"/>
                    <a:pt x="7109" y="2986"/>
                    <a:pt x="8097" y="2772"/>
                  </a:cubicBezTo>
                  <a:lnTo>
                    <a:pt x="9276" y="2593"/>
                  </a:lnTo>
                  <a:cubicBezTo>
                    <a:pt x="9657" y="2534"/>
                    <a:pt x="10014" y="2343"/>
                    <a:pt x="10324" y="2033"/>
                  </a:cubicBezTo>
                  <a:lnTo>
                    <a:pt x="10621" y="1736"/>
                  </a:lnTo>
                  <a:close/>
                  <a:moveTo>
                    <a:pt x="5525" y="4474"/>
                  </a:moveTo>
                  <a:lnTo>
                    <a:pt x="5918" y="4689"/>
                  </a:lnTo>
                  <a:cubicBezTo>
                    <a:pt x="5954" y="4712"/>
                    <a:pt x="5954" y="4724"/>
                    <a:pt x="5942" y="4748"/>
                  </a:cubicBezTo>
                  <a:lnTo>
                    <a:pt x="5490" y="5832"/>
                  </a:lnTo>
                  <a:lnTo>
                    <a:pt x="5049" y="4748"/>
                  </a:lnTo>
                  <a:lnTo>
                    <a:pt x="5049" y="4700"/>
                  </a:lnTo>
                  <a:lnTo>
                    <a:pt x="5061" y="4689"/>
                  </a:lnTo>
                  <a:lnTo>
                    <a:pt x="5466" y="4474"/>
                  </a:lnTo>
                  <a:close/>
                  <a:moveTo>
                    <a:pt x="1758" y="1"/>
                  </a:moveTo>
                  <a:cubicBezTo>
                    <a:pt x="1565" y="1"/>
                    <a:pt x="1375" y="19"/>
                    <a:pt x="1192" y="57"/>
                  </a:cubicBezTo>
                  <a:cubicBezTo>
                    <a:pt x="1132" y="69"/>
                    <a:pt x="1084" y="117"/>
                    <a:pt x="1073" y="176"/>
                  </a:cubicBezTo>
                  <a:cubicBezTo>
                    <a:pt x="1061" y="236"/>
                    <a:pt x="1073" y="295"/>
                    <a:pt x="1120" y="331"/>
                  </a:cubicBezTo>
                  <a:cubicBezTo>
                    <a:pt x="1382" y="605"/>
                    <a:pt x="1537" y="890"/>
                    <a:pt x="1680" y="1164"/>
                  </a:cubicBezTo>
                  <a:cubicBezTo>
                    <a:pt x="1894" y="1569"/>
                    <a:pt x="2108" y="1974"/>
                    <a:pt x="2608" y="2260"/>
                  </a:cubicBezTo>
                  <a:cubicBezTo>
                    <a:pt x="2631" y="2271"/>
                    <a:pt x="2656" y="2276"/>
                    <a:pt x="2682" y="2276"/>
                  </a:cubicBezTo>
                  <a:cubicBezTo>
                    <a:pt x="2739" y="2276"/>
                    <a:pt x="2798" y="2249"/>
                    <a:pt x="2823" y="2200"/>
                  </a:cubicBezTo>
                  <a:cubicBezTo>
                    <a:pt x="2870" y="2117"/>
                    <a:pt x="2847" y="2022"/>
                    <a:pt x="2763" y="1974"/>
                  </a:cubicBezTo>
                  <a:cubicBezTo>
                    <a:pt x="2346" y="1736"/>
                    <a:pt x="2168" y="1391"/>
                    <a:pt x="1965" y="1010"/>
                  </a:cubicBezTo>
                  <a:cubicBezTo>
                    <a:pt x="1846" y="783"/>
                    <a:pt x="1727" y="545"/>
                    <a:pt x="1549" y="319"/>
                  </a:cubicBezTo>
                  <a:cubicBezTo>
                    <a:pt x="1611" y="315"/>
                    <a:pt x="1675" y="312"/>
                    <a:pt x="1738" y="312"/>
                  </a:cubicBezTo>
                  <a:cubicBezTo>
                    <a:pt x="2531" y="312"/>
                    <a:pt x="3376" y="653"/>
                    <a:pt x="4037" y="1260"/>
                  </a:cubicBezTo>
                  <a:cubicBezTo>
                    <a:pt x="4573" y="1748"/>
                    <a:pt x="5002" y="2629"/>
                    <a:pt x="5228" y="3629"/>
                  </a:cubicBezTo>
                  <a:cubicBezTo>
                    <a:pt x="5002" y="3165"/>
                    <a:pt x="4704" y="2700"/>
                    <a:pt x="4359" y="2260"/>
                  </a:cubicBezTo>
                  <a:cubicBezTo>
                    <a:pt x="4324" y="2211"/>
                    <a:pt x="4281" y="2187"/>
                    <a:pt x="4235" y="2187"/>
                  </a:cubicBezTo>
                  <a:cubicBezTo>
                    <a:pt x="4202" y="2187"/>
                    <a:pt x="4167" y="2199"/>
                    <a:pt x="4132" y="2224"/>
                  </a:cubicBezTo>
                  <a:cubicBezTo>
                    <a:pt x="4061" y="2284"/>
                    <a:pt x="4049" y="2379"/>
                    <a:pt x="4109" y="2450"/>
                  </a:cubicBezTo>
                  <a:cubicBezTo>
                    <a:pt x="4490" y="2950"/>
                    <a:pt x="4835" y="3522"/>
                    <a:pt x="5061" y="4022"/>
                  </a:cubicBezTo>
                  <a:cubicBezTo>
                    <a:pt x="4632" y="3355"/>
                    <a:pt x="3954" y="2653"/>
                    <a:pt x="2966" y="2450"/>
                  </a:cubicBezTo>
                  <a:lnTo>
                    <a:pt x="2942" y="2450"/>
                  </a:lnTo>
                  <a:lnTo>
                    <a:pt x="1775" y="2272"/>
                  </a:lnTo>
                  <a:cubicBezTo>
                    <a:pt x="1454" y="2224"/>
                    <a:pt x="1156" y="2057"/>
                    <a:pt x="906" y="1795"/>
                  </a:cubicBezTo>
                  <a:lnTo>
                    <a:pt x="287" y="1141"/>
                  </a:lnTo>
                  <a:cubicBezTo>
                    <a:pt x="255" y="1109"/>
                    <a:pt x="213" y="1093"/>
                    <a:pt x="170" y="1093"/>
                  </a:cubicBezTo>
                  <a:cubicBezTo>
                    <a:pt x="149" y="1093"/>
                    <a:pt x="128" y="1097"/>
                    <a:pt x="108" y="1105"/>
                  </a:cubicBezTo>
                  <a:cubicBezTo>
                    <a:pt x="49" y="1141"/>
                    <a:pt x="1" y="1200"/>
                    <a:pt x="13" y="1271"/>
                  </a:cubicBezTo>
                  <a:cubicBezTo>
                    <a:pt x="13" y="1319"/>
                    <a:pt x="84" y="2272"/>
                    <a:pt x="441" y="2891"/>
                  </a:cubicBezTo>
                  <a:cubicBezTo>
                    <a:pt x="358" y="2926"/>
                    <a:pt x="251" y="2950"/>
                    <a:pt x="191" y="3034"/>
                  </a:cubicBezTo>
                  <a:cubicBezTo>
                    <a:pt x="132" y="3093"/>
                    <a:pt x="120" y="3176"/>
                    <a:pt x="132" y="3272"/>
                  </a:cubicBezTo>
                  <a:cubicBezTo>
                    <a:pt x="168" y="3415"/>
                    <a:pt x="322" y="3593"/>
                    <a:pt x="596" y="3879"/>
                  </a:cubicBezTo>
                  <a:cubicBezTo>
                    <a:pt x="668" y="3950"/>
                    <a:pt x="775" y="4058"/>
                    <a:pt x="846" y="4141"/>
                  </a:cubicBezTo>
                  <a:cubicBezTo>
                    <a:pt x="739" y="4189"/>
                    <a:pt x="620" y="4272"/>
                    <a:pt x="584" y="4367"/>
                  </a:cubicBezTo>
                  <a:cubicBezTo>
                    <a:pt x="537" y="4462"/>
                    <a:pt x="549" y="4546"/>
                    <a:pt x="596" y="4617"/>
                  </a:cubicBezTo>
                  <a:cubicBezTo>
                    <a:pt x="775" y="4939"/>
                    <a:pt x="977" y="5189"/>
                    <a:pt x="1215" y="5379"/>
                  </a:cubicBezTo>
                  <a:cubicBezTo>
                    <a:pt x="1620" y="5712"/>
                    <a:pt x="2108" y="5855"/>
                    <a:pt x="2680" y="5855"/>
                  </a:cubicBezTo>
                  <a:cubicBezTo>
                    <a:pt x="3097" y="5855"/>
                    <a:pt x="3537" y="5772"/>
                    <a:pt x="4037" y="5605"/>
                  </a:cubicBezTo>
                  <a:cubicBezTo>
                    <a:pt x="4146" y="5566"/>
                    <a:pt x="4418" y="5543"/>
                    <a:pt x="4806" y="5543"/>
                  </a:cubicBezTo>
                  <a:cubicBezTo>
                    <a:pt x="4886" y="5543"/>
                    <a:pt x="4971" y="5544"/>
                    <a:pt x="5061" y="5546"/>
                  </a:cubicBezTo>
                  <a:lnTo>
                    <a:pt x="5311" y="6141"/>
                  </a:lnTo>
                  <a:cubicBezTo>
                    <a:pt x="5347" y="6236"/>
                    <a:pt x="5430" y="6296"/>
                    <a:pt x="5537" y="6296"/>
                  </a:cubicBezTo>
                  <a:cubicBezTo>
                    <a:pt x="5621" y="6296"/>
                    <a:pt x="5716" y="6236"/>
                    <a:pt x="5764" y="6141"/>
                  </a:cubicBezTo>
                  <a:lnTo>
                    <a:pt x="6014" y="5546"/>
                  </a:lnTo>
                  <a:cubicBezTo>
                    <a:pt x="6103" y="5544"/>
                    <a:pt x="6189" y="5543"/>
                    <a:pt x="6269" y="5543"/>
                  </a:cubicBezTo>
                  <a:cubicBezTo>
                    <a:pt x="6657" y="5543"/>
                    <a:pt x="6929" y="5566"/>
                    <a:pt x="7038" y="5605"/>
                  </a:cubicBezTo>
                  <a:cubicBezTo>
                    <a:pt x="7526" y="5772"/>
                    <a:pt x="7990" y="5855"/>
                    <a:pt x="8395" y="5855"/>
                  </a:cubicBezTo>
                  <a:cubicBezTo>
                    <a:pt x="8954" y="5855"/>
                    <a:pt x="9455" y="5689"/>
                    <a:pt x="9847" y="5379"/>
                  </a:cubicBezTo>
                  <a:cubicBezTo>
                    <a:pt x="10086" y="5189"/>
                    <a:pt x="10300" y="4939"/>
                    <a:pt x="10478" y="4617"/>
                  </a:cubicBezTo>
                  <a:cubicBezTo>
                    <a:pt x="10526" y="4534"/>
                    <a:pt x="10538" y="4439"/>
                    <a:pt x="10490" y="4367"/>
                  </a:cubicBezTo>
                  <a:cubicBezTo>
                    <a:pt x="10443" y="4272"/>
                    <a:pt x="10324" y="4189"/>
                    <a:pt x="10228" y="4141"/>
                  </a:cubicBezTo>
                  <a:cubicBezTo>
                    <a:pt x="10300" y="4058"/>
                    <a:pt x="10407" y="3974"/>
                    <a:pt x="10478" y="3879"/>
                  </a:cubicBezTo>
                  <a:cubicBezTo>
                    <a:pt x="10740" y="3593"/>
                    <a:pt x="10907" y="3415"/>
                    <a:pt x="10943" y="3272"/>
                  </a:cubicBezTo>
                  <a:cubicBezTo>
                    <a:pt x="10955" y="3176"/>
                    <a:pt x="10943" y="3093"/>
                    <a:pt x="10883" y="3034"/>
                  </a:cubicBezTo>
                  <a:cubicBezTo>
                    <a:pt x="10776" y="2962"/>
                    <a:pt x="10681" y="2926"/>
                    <a:pt x="10586" y="2903"/>
                  </a:cubicBezTo>
                  <a:cubicBezTo>
                    <a:pt x="10943" y="2272"/>
                    <a:pt x="11014" y="1319"/>
                    <a:pt x="11014" y="1271"/>
                  </a:cubicBezTo>
                  <a:cubicBezTo>
                    <a:pt x="11014" y="1200"/>
                    <a:pt x="10979" y="1141"/>
                    <a:pt x="10919" y="1117"/>
                  </a:cubicBezTo>
                  <a:cubicBezTo>
                    <a:pt x="10895" y="1103"/>
                    <a:pt x="10870" y="1096"/>
                    <a:pt x="10845" y="1096"/>
                  </a:cubicBezTo>
                  <a:cubicBezTo>
                    <a:pt x="10807" y="1096"/>
                    <a:pt x="10769" y="1112"/>
                    <a:pt x="10740" y="1141"/>
                  </a:cubicBezTo>
                  <a:lnTo>
                    <a:pt x="10121" y="1795"/>
                  </a:lnTo>
                  <a:cubicBezTo>
                    <a:pt x="9871" y="2057"/>
                    <a:pt x="9574" y="2224"/>
                    <a:pt x="9252" y="2272"/>
                  </a:cubicBezTo>
                  <a:lnTo>
                    <a:pt x="8085" y="2450"/>
                  </a:lnTo>
                  <a:lnTo>
                    <a:pt x="8061" y="2450"/>
                  </a:lnTo>
                  <a:cubicBezTo>
                    <a:pt x="7038" y="2653"/>
                    <a:pt x="6359" y="3403"/>
                    <a:pt x="5918" y="4081"/>
                  </a:cubicBezTo>
                  <a:cubicBezTo>
                    <a:pt x="6145" y="3546"/>
                    <a:pt x="6502" y="2986"/>
                    <a:pt x="6918" y="2450"/>
                  </a:cubicBezTo>
                  <a:cubicBezTo>
                    <a:pt x="6978" y="2379"/>
                    <a:pt x="6966" y="2272"/>
                    <a:pt x="6895" y="2224"/>
                  </a:cubicBezTo>
                  <a:cubicBezTo>
                    <a:pt x="6859" y="2203"/>
                    <a:pt x="6821" y="2192"/>
                    <a:pt x="6785" y="2192"/>
                  </a:cubicBezTo>
                  <a:cubicBezTo>
                    <a:pt x="6738" y="2192"/>
                    <a:pt x="6696" y="2212"/>
                    <a:pt x="6668" y="2260"/>
                  </a:cubicBezTo>
                  <a:cubicBezTo>
                    <a:pt x="6323" y="2688"/>
                    <a:pt x="6026" y="3129"/>
                    <a:pt x="5799" y="3581"/>
                  </a:cubicBezTo>
                  <a:cubicBezTo>
                    <a:pt x="6026" y="2593"/>
                    <a:pt x="6454" y="1736"/>
                    <a:pt x="6978" y="1260"/>
                  </a:cubicBezTo>
                  <a:cubicBezTo>
                    <a:pt x="7639" y="653"/>
                    <a:pt x="8495" y="312"/>
                    <a:pt x="9279" y="312"/>
                  </a:cubicBezTo>
                  <a:cubicBezTo>
                    <a:pt x="9342" y="312"/>
                    <a:pt x="9405" y="315"/>
                    <a:pt x="9466" y="319"/>
                  </a:cubicBezTo>
                  <a:cubicBezTo>
                    <a:pt x="9288" y="545"/>
                    <a:pt x="9169" y="783"/>
                    <a:pt x="9050" y="1010"/>
                  </a:cubicBezTo>
                  <a:cubicBezTo>
                    <a:pt x="8835" y="1391"/>
                    <a:pt x="8657" y="1736"/>
                    <a:pt x="8240" y="1974"/>
                  </a:cubicBezTo>
                  <a:cubicBezTo>
                    <a:pt x="8169" y="2022"/>
                    <a:pt x="8145" y="2117"/>
                    <a:pt x="8181" y="2200"/>
                  </a:cubicBezTo>
                  <a:cubicBezTo>
                    <a:pt x="8213" y="2249"/>
                    <a:pt x="8275" y="2276"/>
                    <a:pt x="8333" y="2276"/>
                  </a:cubicBezTo>
                  <a:cubicBezTo>
                    <a:pt x="8359" y="2276"/>
                    <a:pt x="8385" y="2271"/>
                    <a:pt x="8407" y="2260"/>
                  </a:cubicBezTo>
                  <a:cubicBezTo>
                    <a:pt x="8895" y="1974"/>
                    <a:pt x="9121" y="1557"/>
                    <a:pt x="9335" y="1164"/>
                  </a:cubicBezTo>
                  <a:cubicBezTo>
                    <a:pt x="9478" y="890"/>
                    <a:pt x="9645" y="593"/>
                    <a:pt x="9895" y="331"/>
                  </a:cubicBezTo>
                  <a:cubicBezTo>
                    <a:pt x="9943" y="295"/>
                    <a:pt x="9955" y="236"/>
                    <a:pt x="9943" y="176"/>
                  </a:cubicBezTo>
                  <a:cubicBezTo>
                    <a:pt x="9931" y="117"/>
                    <a:pt x="9883" y="69"/>
                    <a:pt x="9824" y="57"/>
                  </a:cubicBezTo>
                  <a:cubicBezTo>
                    <a:pt x="9647" y="21"/>
                    <a:pt x="9463" y="4"/>
                    <a:pt x="9276" y="4"/>
                  </a:cubicBezTo>
                  <a:cubicBezTo>
                    <a:pt x="8910" y="4"/>
                    <a:pt x="8531" y="70"/>
                    <a:pt x="8169" y="188"/>
                  </a:cubicBezTo>
                  <a:cubicBezTo>
                    <a:pt x="7669" y="367"/>
                    <a:pt x="7169" y="652"/>
                    <a:pt x="6776" y="1021"/>
                  </a:cubicBezTo>
                  <a:cubicBezTo>
                    <a:pt x="6395" y="1367"/>
                    <a:pt x="6073" y="1867"/>
                    <a:pt x="5823" y="2474"/>
                  </a:cubicBezTo>
                  <a:cubicBezTo>
                    <a:pt x="5680" y="2795"/>
                    <a:pt x="5585" y="3117"/>
                    <a:pt x="5502" y="3462"/>
                  </a:cubicBezTo>
                  <a:cubicBezTo>
                    <a:pt x="5430" y="3117"/>
                    <a:pt x="5323" y="2795"/>
                    <a:pt x="5192" y="2474"/>
                  </a:cubicBezTo>
                  <a:cubicBezTo>
                    <a:pt x="4942" y="1867"/>
                    <a:pt x="4609" y="1367"/>
                    <a:pt x="4240" y="1021"/>
                  </a:cubicBezTo>
                  <a:cubicBezTo>
                    <a:pt x="3835" y="652"/>
                    <a:pt x="3347" y="367"/>
                    <a:pt x="2847" y="188"/>
                  </a:cubicBezTo>
                  <a:cubicBezTo>
                    <a:pt x="2483" y="64"/>
                    <a:pt x="2115" y="1"/>
                    <a:pt x="17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5" name="Google Shape;12445;p62"/>
            <p:cNvSpPr/>
            <p:nvPr/>
          </p:nvSpPr>
          <p:spPr>
            <a:xfrm>
              <a:off x="7582298" y="2650998"/>
              <a:ext cx="86764" cy="50093"/>
            </a:xfrm>
            <a:custGeom>
              <a:avLst/>
              <a:gdLst/>
              <a:ahLst/>
              <a:cxnLst/>
              <a:rect l="l" t="t" r="r" b="b"/>
              <a:pathLst>
                <a:path w="2728" h="1575" extrusionOk="0">
                  <a:moveTo>
                    <a:pt x="1043" y="321"/>
                  </a:moveTo>
                  <a:cubicBezTo>
                    <a:pt x="1160" y="321"/>
                    <a:pt x="1280" y="339"/>
                    <a:pt x="1394" y="384"/>
                  </a:cubicBezTo>
                  <a:cubicBezTo>
                    <a:pt x="1763" y="539"/>
                    <a:pt x="2025" y="896"/>
                    <a:pt x="2168" y="1087"/>
                  </a:cubicBezTo>
                  <a:cubicBezTo>
                    <a:pt x="2017" y="1150"/>
                    <a:pt x="1771" y="1224"/>
                    <a:pt x="1518" y="1224"/>
                  </a:cubicBezTo>
                  <a:cubicBezTo>
                    <a:pt x="1391" y="1224"/>
                    <a:pt x="1263" y="1206"/>
                    <a:pt x="1144" y="1158"/>
                  </a:cubicBezTo>
                  <a:cubicBezTo>
                    <a:pt x="763" y="1015"/>
                    <a:pt x="524" y="658"/>
                    <a:pt x="405" y="468"/>
                  </a:cubicBezTo>
                  <a:cubicBezTo>
                    <a:pt x="552" y="403"/>
                    <a:pt x="792" y="321"/>
                    <a:pt x="1043" y="321"/>
                  </a:cubicBezTo>
                  <a:close/>
                  <a:moveTo>
                    <a:pt x="1055" y="0"/>
                  </a:moveTo>
                  <a:cubicBezTo>
                    <a:pt x="563" y="0"/>
                    <a:pt x="135" y="244"/>
                    <a:pt x="108" y="253"/>
                  </a:cubicBezTo>
                  <a:cubicBezTo>
                    <a:pt x="36" y="301"/>
                    <a:pt x="1" y="384"/>
                    <a:pt x="36" y="468"/>
                  </a:cubicBezTo>
                  <a:cubicBezTo>
                    <a:pt x="48" y="491"/>
                    <a:pt x="382" y="1206"/>
                    <a:pt x="1013" y="1480"/>
                  </a:cubicBezTo>
                  <a:cubicBezTo>
                    <a:pt x="1179" y="1539"/>
                    <a:pt x="1346" y="1563"/>
                    <a:pt x="1513" y="1563"/>
                  </a:cubicBezTo>
                  <a:cubicBezTo>
                    <a:pt x="1846" y="1563"/>
                    <a:pt x="2168" y="1456"/>
                    <a:pt x="2322" y="1384"/>
                  </a:cubicBezTo>
                  <a:lnTo>
                    <a:pt x="2406" y="1503"/>
                  </a:lnTo>
                  <a:cubicBezTo>
                    <a:pt x="2429" y="1551"/>
                    <a:pt x="2489" y="1575"/>
                    <a:pt x="2537" y="1575"/>
                  </a:cubicBezTo>
                  <a:cubicBezTo>
                    <a:pt x="2560" y="1575"/>
                    <a:pt x="2596" y="1575"/>
                    <a:pt x="2620" y="1551"/>
                  </a:cubicBezTo>
                  <a:cubicBezTo>
                    <a:pt x="2703" y="1492"/>
                    <a:pt x="2727" y="1396"/>
                    <a:pt x="2691" y="1325"/>
                  </a:cubicBezTo>
                  <a:lnTo>
                    <a:pt x="2549" y="1087"/>
                  </a:lnTo>
                  <a:cubicBezTo>
                    <a:pt x="2525" y="1015"/>
                    <a:pt x="2156" y="349"/>
                    <a:pt x="1525" y="87"/>
                  </a:cubicBezTo>
                  <a:cubicBezTo>
                    <a:pt x="1369" y="24"/>
                    <a:pt x="1208" y="0"/>
                    <a:pt x="10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6" name="Google Shape;12446;p62"/>
            <p:cNvSpPr/>
            <p:nvPr/>
          </p:nvSpPr>
          <p:spPr>
            <a:xfrm>
              <a:off x="7729237" y="2650553"/>
              <a:ext cx="86732" cy="50156"/>
            </a:xfrm>
            <a:custGeom>
              <a:avLst/>
              <a:gdLst/>
              <a:ahLst/>
              <a:cxnLst/>
              <a:rect l="l" t="t" r="r" b="b"/>
              <a:pathLst>
                <a:path w="2727" h="1577" extrusionOk="0">
                  <a:moveTo>
                    <a:pt x="1672" y="335"/>
                  </a:moveTo>
                  <a:cubicBezTo>
                    <a:pt x="1924" y="335"/>
                    <a:pt x="2164" y="417"/>
                    <a:pt x="2310" y="482"/>
                  </a:cubicBezTo>
                  <a:cubicBezTo>
                    <a:pt x="2203" y="672"/>
                    <a:pt x="1953" y="1029"/>
                    <a:pt x="1584" y="1172"/>
                  </a:cubicBezTo>
                  <a:cubicBezTo>
                    <a:pt x="1461" y="1224"/>
                    <a:pt x="1330" y="1244"/>
                    <a:pt x="1201" y="1244"/>
                  </a:cubicBezTo>
                  <a:cubicBezTo>
                    <a:pt x="945" y="1244"/>
                    <a:pt x="699" y="1164"/>
                    <a:pt x="548" y="1101"/>
                  </a:cubicBezTo>
                  <a:cubicBezTo>
                    <a:pt x="691" y="898"/>
                    <a:pt x="953" y="553"/>
                    <a:pt x="1322" y="398"/>
                  </a:cubicBezTo>
                  <a:cubicBezTo>
                    <a:pt x="1435" y="353"/>
                    <a:pt x="1555" y="335"/>
                    <a:pt x="1672" y="335"/>
                  </a:cubicBezTo>
                  <a:close/>
                  <a:moveTo>
                    <a:pt x="1683" y="1"/>
                  </a:moveTo>
                  <a:cubicBezTo>
                    <a:pt x="1526" y="1"/>
                    <a:pt x="1362" y="25"/>
                    <a:pt x="1203" y="89"/>
                  </a:cubicBezTo>
                  <a:cubicBezTo>
                    <a:pt x="584" y="339"/>
                    <a:pt x="215" y="1029"/>
                    <a:pt x="179" y="1089"/>
                  </a:cubicBezTo>
                  <a:lnTo>
                    <a:pt x="48" y="1327"/>
                  </a:lnTo>
                  <a:cubicBezTo>
                    <a:pt x="0" y="1398"/>
                    <a:pt x="24" y="1506"/>
                    <a:pt x="107" y="1553"/>
                  </a:cubicBezTo>
                  <a:cubicBezTo>
                    <a:pt x="131" y="1565"/>
                    <a:pt x="167" y="1577"/>
                    <a:pt x="191" y="1577"/>
                  </a:cubicBezTo>
                  <a:cubicBezTo>
                    <a:pt x="250" y="1577"/>
                    <a:pt x="298" y="1553"/>
                    <a:pt x="322" y="1506"/>
                  </a:cubicBezTo>
                  <a:lnTo>
                    <a:pt x="405" y="1386"/>
                  </a:lnTo>
                  <a:cubicBezTo>
                    <a:pt x="584" y="1458"/>
                    <a:pt x="893" y="1565"/>
                    <a:pt x="1215" y="1565"/>
                  </a:cubicBezTo>
                  <a:cubicBezTo>
                    <a:pt x="1381" y="1565"/>
                    <a:pt x="1548" y="1529"/>
                    <a:pt x="1715" y="1470"/>
                  </a:cubicBezTo>
                  <a:cubicBezTo>
                    <a:pt x="2346" y="1220"/>
                    <a:pt x="2679" y="494"/>
                    <a:pt x="2691" y="458"/>
                  </a:cubicBezTo>
                  <a:cubicBezTo>
                    <a:pt x="2727" y="386"/>
                    <a:pt x="2691" y="303"/>
                    <a:pt x="2620" y="255"/>
                  </a:cubicBezTo>
                  <a:cubicBezTo>
                    <a:pt x="2602" y="237"/>
                    <a:pt x="2174" y="1"/>
                    <a:pt x="16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7" name="Google Shape;12447;p62"/>
            <p:cNvSpPr/>
            <p:nvPr/>
          </p:nvSpPr>
          <p:spPr>
            <a:xfrm>
              <a:off x="7667885" y="2456447"/>
              <a:ext cx="62147" cy="121209"/>
            </a:xfrm>
            <a:custGeom>
              <a:avLst/>
              <a:gdLst/>
              <a:ahLst/>
              <a:cxnLst/>
              <a:rect l="l" t="t" r="r" b="b"/>
              <a:pathLst>
                <a:path w="1954" h="3811" extrusionOk="0">
                  <a:moveTo>
                    <a:pt x="977" y="0"/>
                  </a:moveTo>
                  <a:cubicBezTo>
                    <a:pt x="917" y="0"/>
                    <a:pt x="858" y="48"/>
                    <a:pt x="834" y="108"/>
                  </a:cubicBezTo>
                  <a:cubicBezTo>
                    <a:pt x="798" y="179"/>
                    <a:pt x="36" y="1941"/>
                    <a:pt x="0" y="3632"/>
                  </a:cubicBezTo>
                  <a:cubicBezTo>
                    <a:pt x="0" y="3727"/>
                    <a:pt x="72" y="3799"/>
                    <a:pt x="155" y="3799"/>
                  </a:cubicBezTo>
                  <a:cubicBezTo>
                    <a:pt x="250" y="3799"/>
                    <a:pt x="322" y="3727"/>
                    <a:pt x="322" y="3632"/>
                  </a:cubicBezTo>
                  <a:cubicBezTo>
                    <a:pt x="358" y="2453"/>
                    <a:pt x="751" y="1203"/>
                    <a:pt x="977" y="596"/>
                  </a:cubicBezTo>
                  <a:cubicBezTo>
                    <a:pt x="1203" y="1203"/>
                    <a:pt x="1620" y="2453"/>
                    <a:pt x="1632" y="3644"/>
                  </a:cubicBezTo>
                  <a:cubicBezTo>
                    <a:pt x="1632" y="3739"/>
                    <a:pt x="1703" y="3810"/>
                    <a:pt x="1798" y="3810"/>
                  </a:cubicBezTo>
                  <a:cubicBezTo>
                    <a:pt x="1882" y="3810"/>
                    <a:pt x="1953" y="3739"/>
                    <a:pt x="1953" y="3644"/>
                  </a:cubicBezTo>
                  <a:cubicBezTo>
                    <a:pt x="1929" y="1953"/>
                    <a:pt x="1155" y="179"/>
                    <a:pt x="1132" y="108"/>
                  </a:cubicBezTo>
                  <a:cubicBezTo>
                    <a:pt x="1096" y="48"/>
                    <a:pt x="1036"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48" name="Google Shape;12448;p62"/>
          <p:cNvGrpSpPr/>
          <p:nvPr/>
        </p:nvGrpSpPr>
        <p:grpSpPr>
          <a:xfrm>
            <a:off x="3972749" y="2894211"/>
            <a:ext cx="355230" cy="356725"/>
            <a:chOff x="3972749" y="2894211"/>
            <a:chExt cx="355230" cy="356725"/>
          </a:xfrm>
        </p:grpSpPr>
        <p:sp>
          <p:nvSpPr>
            <p:cNvPr id="12449" name="Google Shape;12449;p62"/>
            <p:cNvSpPr/>
            <p:nvPr/>
          </p:nvSpPr>
          <p:spPr>
            <a:xfrm>
              <a:off x="3973512" y="3208508"/>
              <a:ext cx="351795" cy="10623"/>
            </a:xfrm>
            <a:custGeom>
              <a:avLst/>
              <a:gdLst/>
              <a:ahLst/>
              <a:cxnLst/>
              <a:rect l="l" t="t" r="r" b="b"/>
              <a:pathLst>
                <a:path w="11061" h="334" extrusionOk="0">
                  <a:moveTo>
                    <a:pt x="167" y="0"/>
                  </a:moveTo>
                  <a:cubicBezTo>
                    <a:pt x="83" y="0"/>
                    <a:pt x="0" y="84"/>
                    <a:pt x="0" y="167"/>
                  </a:cubicBezTo>
                  <a:cubicBezTo>
                    <a:pt x="0" y="262"/>
                    <a:pt x="83" y="334"/>
                    <a:pt x="167" y="334"/>
                  </a:cubicBezTo>
                  <a:lnTo>
                    <a:pt x="10906" y="334"/>
                  </a:lnTo>
                  <a:cubicBezTo>
                    <a:pt x="10990" y="334"/>
                    <a:pt x="11061" y="262"/>
                    <a:pt x="11061" y="167"/>
                  </a:cubicBezTo>
                  <a:cubicBezTo>
                    <a:pt x="11061" y="84"/>
                    <a:pt x="10990" y="0"/>
                    <a:pt x="10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0" name="Google Shape;12450;p62"/>
            <p:cNvSpPr/>
            <p:nvPr/>
          </p:nvSpPr>
          <p:spPr>
            <a:xfrm>
              <a:off x="4116253" y="3052091"/>
              <a:ext cx="142804" cy="140546"/>
            </a:xfrm>
            <a:custGeom>
              <a:avLst/>
              <a:gdLst/>
              <a:ahLst/>
              <a:cxnLst/>
              <a:rect l="l" t="t" r="r" b="b"/>
              <a:pathLst>
                <a:path w="4490" h="4419" extrusionOk="0">
                  <a:moveTo>
                    <a:pt x="3799" y="322"/>
                  </a:moveTo>
                  <a:cubicBezTo>
                    <a:pt x="3882" y="322"/>
                    <a:pt x="3977" y="358"/>
                    <a:pt x="4049" y="430"/>
                  </a:cubicBezTo>
                  <a:cubicBezTo>
                    <a:pt x="4120" y="501"/>
                    <a:pt x="4156" y="596"/>
                    <a:pt x="4156" y="692"/>
                  </a:cubicBezTo>
                  <a:cubicBezTo>
                    <a:pt x="4156" y="727"/>
                    <a:pt x="4156" y="751"/>
                    <a:pt x="4132" y="799"/>
                  </a:cubicBezTo>
                  <a:lnTo>
                    <a:pt x="3680" y="334"/>
                  </a:lnTo>
                  <a:cubicBezTo>
                    <a:pt x="3704" y="322"/>
                    <a:pt x="3751" y="322"/>
                    <a:pt x="3799" y="322"/>
                  </a:cubicBezTo>
                  <a:close/>
                  <a:moveTo>
                    <a:pt x="3406" y="549"/>
                  </a:moveTo>
                  <a:lnTo>
                    <a:pt x="3930" y="1061"/>
                  </a:lnTo>
                  <a:lnTo>
                    <a:pt x="3823" y="1168"/>
                  </a:lnTo>
                  <a:lnTo>
                    <a:pt x="3299" y="656"/>
                  </a:lnTo>
                  <a:lnTo>
                    <a:pt x="3406" y="549"/>
                  </a:lnTo>
                  <a:close/>
                  <a:moveTo>
                    <a:pt x="584" y="3489"/>
                  </a:moveTo>
                  <a:lnTo>
                    <a:pt x="953" y="3870"/>
                  </a:lnTo>
                  <a:lnTo>
                    <a:pt x="417" y="4025"/>
                  </a:lnTo>
                  <a:lnTo>
                    <a:pt x="417" y="4025"/>
                  </a:lnTo>
                  <a:lnTo>
                    <a:pt x="584" y="3489"/>
                  </a:lnTo>
                  <a:close/>
                  <a:moveTo>
                    <a:pt x="3799" y="1"/>
                  </a:moveTo>
                  <a:cubicBezTo>
                    <a:pt x="3608" y="1"/>
                    <a:pt x="3442" y="72"/>
                    <a:pt x="3299" y="191"/>
                  </a:cubicBezTo>
                  <a:lnTo>
                    <a:pt x="477" y="2989"/>
                  </a:lnTo>
                  <a:cubicBezTo>
                    <a:pt x="441" y="3013"/>
                    <a:pt x="417" y="3049"/>
                    <a:pt x="406" y="3073"/>
                  </a:cubicBezTo>
                  <a:cubicBezTo>
                    <a:pt x="382" y="3085"/>
                    <a:pt x="382" y="3108"/>
                    <a:pt x="370" y="3108"/>
                  </a:cubicBezTo>
                  <a:cubicBezTo>
                    <a:pt x="334" y="3144"/>
                    <a:pt x="322" y="3192"/>
                    <a:pt x="310" y="3228"/>
                  </a:cubicBezTo>
                  <a:lnTo>
                    <a:pt x="13" y="4204"/>
                  </a:lnTo>
                  <a:cubicBezTo>
                    <a:pt x="1" y="4263"/>
                    <a:pt x="13" y="4323"/>
                    <a:pt x="60" y="4371"/>
                  </a:cubicBezTo>
                  <a:cubicBezTo>
                    <a:pt x="84" y="4406"/>
                    <a:pt x="132" y="4418"/>
                    <a:pt x="179" y="4418"/>
                  </a:cubicBezTo>
                  <a:lnTo>
                    <a:pt x="215" y="4418"/>
                  </a:lnTo>
                  <a:lnTo>
                    <a:pt x="1203" y="4120"/>
                  </a:lnTo>
                  <a:cubicBezTo>
                    <a:pt x="1287" y="4085"/>
                    <a:pt x="1382" y="4025"/>
                    <a:pt x="1453" y="3966"/>
                  </a:cubicBezTo>
                  <a:lnTo>
                    <a:pt x="2953" y="2477"/>
                  </a:lnTo>
                  <a:cubicBezTo>
                    <a:pt x="3013" y="2418"/>
                    <a:pt x="3013" y="2311"/>
                    <a:pt x="2953" y="2239"/>
                  </a:cubicBezTo>
                  <a:cubicBezTo>
                    <a:pt x="2930" y="2210"/>
                    <a:pt x="2891" y="2195"/>
                    <a:pt x="2848" y="2195"/>
                  </a:cubicBezTo>
                  <a:cubicBezTo>
                    <a:pt x="2805" y="2195"/>
                    <a:pt x="2757" y="2210"/>
                    <a:pt x="2715" y="2239"/>
                  </a:cubicBezTo>
                  <a:lnTo>
                    <a:pt x="1263" y="3680"/>
                  </a:lnTo>
                  <a:lnTo>
                    <a:pt x="739" y="3168"/>
                  </a:lnTo>
                  <a:lnTo>
                    <a:pt x="3061" y="870"/>
                  </a:lnTo>
                  <a:lnTo>
                    <a:pt x="3584" y="1394"/>
                  </a:lnTo>
                  <a:lnTo>
                    <a:pt x="3180" y="1787"/>
                  </a:lnTo>
                  <a:cubicBezTo>
                    <a:pt x="3120" y="1846"/>
                    <a:pt x="3120" y="1942"/>
                    <a:pt x="3180" y="2025"/>
                  </a:cubicBezTo>
                  <a:cubicBezTo>
                    <a:pt x="3209" y="2055"/>
                    <a:pt x="3251" y="2070"/>
                    <a:pt x="3294" y="2070"/>
                  </a:cubicBezTo>
                  <a:cubicBezTo>
                    <a:pt x="3337" y="2070"/>
                    <a:pt x="3382" y="2055"/>
                    <a:pt x="3418" y="2025"/>
                  </a:cubicBezTo>
                  <a:lnTo>
                    <a:pt x="3906" y="1525"/>
                  </a:lnTo>
                  <a:cubicBezTo>
                    <a:pt x="3930" y="1525"/>
                    <a:pt x="3930" y="1513"/>
                    <a:pt x="3942" y="1513"/>
                  </a:cubicBezTo>
                  <a:cubicBezTo>
                    <a:pt x="3954" y="1501"/>
                    <a:pt x="3954" y="1501"/>
                    <a:pt x="3954" y="1489"/>
                  </a:cubicBezTo>
                  <a:lnTo>
                    <a:pt x="4287" y="1168"/>
                  </a:lnTo>
                  <a:cubicBezTo>
                    <a:pt x="4418" y="1037"/>
                    <a:pt x="4489" y="858"/>
                    <a:pt x="4489" y="680"/>
                  </a:cubicBezTo>
                  <a:cubicBezTo>
                    <a:pt x="4477" y="489"/>
                    <a:pt x="4406" y="322"/>
                    <a:pt x="4275" y="191"/>
                  </a:cubicBezTo>
                  <a:cubicBezTo>
                    <a:pt x="4132" y="72"/>
                    <a:pt x="3977" y="1"/>
                    <a:pt x="3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1" name="Google Shape;12451;p62"/>
            <p:cNvSpPr/>
            <p:nvPr/>
          </p:nvSpPr>
          <p:spPr>
            <a:xfrm>
              <a:off x="3995839" y="2992647"/>
              <a:ext cx="54927" cy="37148"/>
            </a:xfrm>
            <a:custGeom>
              <a:avLst/>
              <a:gdLst/>
              <a:ahLst/>
              <a:cxnLst/>
              <a:rect l="l" t="t" r="r" b="b"/>
              <a:pathLst>
                <a:path w="1727" h="1168" extrusionOk="0">
                  <a:moveTo>
                    <a:pt x="1394" y="346"/>
                  </a:moveTo>
                  <a:lnTo>
                    <a:pt x="1394" y="834"/>
                  </a:lnTo>
                  <a:lnTo>
                    <a:pt x="334" y="834"/>
                  </a:lnTo>
                  <a:lnTo>
                    <a:pt x="334" y="346"/>
                  </a:lnTo>
                  <a:close/>
                  <a:moveTo>
                    <a:pt x="286" y="1"/>
                  </a:moveTo>
                  <a:cubicBezTo>
                    <a:pt x="143" y="1"/>
                    <a:pt x="1" y="144"/>
                    <a:pt x="1" y="286"/>
                  </a:cubicBezTo>
                  <a:lnTo>
                    <a:pt x="1" y="882"/>
                  </a:lnTo>
                  <a:cubicBezTo>
                    <a:pt x="1" y="1037"/>
                    <a:pt x="143"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2" name="Google Shape;12452;p62"/>
            <p:cNvSpPr/>
            <p:nvPr/>
          </p:nvSpPr>
          <p:spPr>
            <a:xfrm>
              <a:off x="4249548" y="2992647"/>
              <a:ext cx="54959" cy="37148"/>
            </a:xfrm>
            <a:custGeom>
              <a:avLst/>
              <a:gdLst/>
              <a:ahLst/>
              <a:cxnLst/>
              <a:rect l="l" t="t" r="r" b="b"/>
              <a:pathLst>
                <a:path w="1728" h="1168" extrusionOk="0">
                  <a:moveTo>
                    <a:pt x="1394" y="346"/>
                  </a:moveTo>
                  <a:lnTo>
                    <a:pt x="1394" y="834"/>
                  </a:lnTo>
                  <a:lnTo>
                    <a:pt x="334" y="834"/>
                  </a:lnTo>
                  <a:lnTo>
                    <a:pt x="334" y="346"/>
                  </a:lnTo>
                  <a:close/>
                  <a:moveTo>
                    <a:pt x="286" y="1"/>
                  </a:moveTo>
                  <a:cubicBezTo>
                    <a:pt x="144" y="1"/>
                    <a:pt x="1" y="144"/>
                    <a:pt x="1" y="286"/>
                  </a:cubicBezTo>
                  <a:lnTo>
                    <a:pt x="1" y="882"/>
                  </a:lnTo>
                  <a:cubicBezTo>
                    <a:pt x="1" y="1037"/>
                    <a:pt x="144" y="1167"/>
                    <a:pt x="286" y="1167"/>
                  </a:cubicBezTo>
                  <a:lnTo>
                    <a:pt x="1453" y="1167"/>
                  </a:lnTo>
                  <a:cubicBezTo>
                    <a:pt x="1596" y="1167"/>
                    <a:pt x="1727" y="1037"/>
                    <a:pt x="1727" y="882"/>
                  </a:cubicBezTo>
                  <a:lnTo>
                    <a:pt x="1727" y="286"/>
                  </a:lnTo>
                  <a:cubicBezTo>
                    <a:pt x="1727" y="144"/>
                    <a:pt x="1596" y="1"/>
                    <a:pt x="1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3" name="Google Shape;12453;p62"/>
            <p:cNvSpPr/>
            <p:nvPr/>
          </p:nvSpPr>
          <p:spPr>
            <a:xfrm>
              <a:off x="3972749" y="2894211"/>
              <a:ext cx="355230" cy="356725"/>
            </a:xfrm>
            <a:custGeom>
              <a:avLst/>
              <a:gdLst/>
              <a:ahLst/>
              <a:cxnLst/>
              <a:rect l="l" t="t" r="r" b="b"/>
              <a:pathLst>
                <a:path w="11169" h="11216" extrusionOk="0">
                  <a:moveTo>
                    <a:pt x="9775" y="0"/>
                  </a:moveTo>
                  <a:cubicBezTo>
                    <a:pt x="9692" y="0"/>
                    <a:pt x="9620" y="83"/>
                    <a:pt x="9620" y="167"/>
                  </a:cubicBezTo>
                  <a:lnTo>
                    <a:pt x="9620" y="560"/>
                  </a:lnTo>
                  <a:cubicBezTo>
                    <a:pt x="9620" y="881"/>
                    <a:pt x="9347" y="1155"/>
                    <a:pt x="9025" y="1155"/>
                  </a:cubicBezTo>
                  <a:lnTo>
                    <a:pt x="6382" y="1155"/>
                  </a:lnTo>
                  <a:cubicBezTo>
                    <a:pt x="5882" y="1155"/>
                    <a:pt x="5453" y="1572"/>
                    <a:pt x="5453" y="2084"/>
                  </a:cubicBezTo>
                  <a:lnTo>
                    <a:pt x="5453" y="2369"/>
                  </a:lnTo>
                  <a:lnTo>
                    <a:pt x="750" y="2369"/>
                  </a:lnTo>
                  <a:cubicBezTo>
                    <a:pt x="346" y="2369"/>
                    <a:pt x="12" y="2703"/>
                    <a:pt x="12" y="3096"/>
                  </a:cubicBezTo>
                  <a:lnTo>
                    <a:pt x="12" y="7596"/>
                  </a:lnTo>
                  <a:cubicBezTo>
                    <a:pt x="12" y="7680"/>
                    <a:pt x="95" y="7763"/>
                    <a:pt x="179" y="7763"/>
                  </a:cubicBezTo>
                  <a:cubicBezTo>
                    <a:pt x="274" y="7763"/>
                    <a:pt x="346" y="7680"/>
                    <a:pt x="346" y="7596"/>
                  </a:cubicBezTo>
                  <a:lnTo>
                    <a:pt x="346" y="4822"/>
                  </a:lnTo>
                  <a:lnTo>
                    <a:pt x="10835" y="4822"/>
                  </a:lnTo>
                  <a:lnTo>
                    <a:pt x="10835" y="10478"/>
                  </a:lnTo>
                  <a:cubicBezTo>
                    <a:pt x="10835" y="10704"/>
                    <a:pt x="10656" y="10882"/>
                    <a:pt x="10430" y="10882"/>
                  </a:cubicBezTo>
                  <a:lnTo>
                    <a:pt x="727" y="10882"/>
                  </a:lnTo>
                  <a:cubicBezTo>
                    <a:pt x="512" y="10882"/>
                    <a:pt x="322" y="10704"/>
                    <a:pt x="322" y="10478"/>
                  </a:cubicBezTo>
                  <a:lnTo>
                    <a:pt x="322" y="8263"/>
                  </a:lnTo>
                  <a:cubicBezTo>
                    <a:pt x="322" y="8180"/>
                    <a:pt x="250" y="8096"/>
                    <a:pt x="167" y="8096"/>
                  </a:cubicBezTo>
                  <a:cubicBezTo>
                    <a:pt x="72" y="8096"/>
                    <a:pt x="0" y="8180"/>
                    <a:pt x="0" y="8263"/>
                  </a:cubicBezTo>
                  <a:lnTo>
                    <a:pt x="0" y="10478"/>
                  </a:lnTo>
                  <a:cubicBezTo>
                    <a:pt x="0" y="10882"/>
                    <a:pt x="322" y="11216"/>
                    <a:pt x="727" y="11216"/>
                  </a:cubicBezTo>
                  <a:lnTo>
                    <a:pt x="10418" y="11216"/>
                  </a:lnTo>
                  <a:cubicBezTo>
                    <a:pt x="10823" y="11216"/>
                    <a:pt x="11144" y="10882"/>
                    <a:pt x="11144" y="10478"/>
                  </a:cubicBezTo>
                  <a:lnTo>
                    <a:pt x="11144" y="3096"/>
                  </a:lnTo>
                  <a:cubicBezTo>
                    <a:pt x="11168" y="2691"/>
                    <a:pt x="10835" y="2369"/>
                    <a:pt x="10430" y="2369"/>
                  </a:cubicBezTo>
                  <a:lnTo>
                    <a:pt x="8823" y="2369"/>
                  </a:lnTo>
                  <a:cubicBezTo>
                    <a:pt x="8739" y="2369"/>
                    <a:pt x="8668" y="2441"/>
                    <a:pt x="8668" y="2536"/>
                  </a:cubicBezTo>
                  <a:cubicBezTo>
                    <a:pt x="8668" y="2619"/>
                    <a:pt x="8739" y="2703"/>
                    <a:pt x="8823" y="2703"/>
                  </a:cubicBezTo>
                  <a:lnTo>
                    <a:pt x="10430" y="2703"/>
                  </a:lnTo>
                  <a:cubicBezTo>
                    <a:pt x="10656" y="2703"/>
                    <a:pt x="10835" y="2881"/>
                    <a:pt x="10835" y="3096"/>
                  </a:cubicBezTo>
                  <a:lnTo>
                    <a:pt x="10835" y="4501"/>
                  </a:lnTo>
                  <a:lnTo>
                    <a:pt x="346" y="4501"/>
                  </a:lnTo>
                  <a:lnTo>
                    <a:pt x="346" y="3096"/>
                  </a:lnTo>
                  <a:cubicBezTo>
                    <a:pt x="346" y="2881"/>
                    <a:pt x="524" y="2703"/>
                    <a:pt x="750" y="2703"/>
                  </a:cubicBezTo>
                  <a:lnTo>
                    <a:pt x="8168" y="2703"/>
                  </a:lnTo>
                  <a:cubicBezTo>
                    <a:pt x="8263" y="2703"/>
                    <a:pt x="8335" y="2619"/>
                    <a:pt x="8335" y="2536"/>
                  </a:cubicBezTo>
                  <a:cubicBezTo>
                    <a:pt x="8335" y="2441"/>
                    <a:pt x="8263" y="2369"/>
                    <a:pt x="8168" y="2369"/>
                  </a:cubicBezTo>
                  <a:lnTo>
                    <a:pt x="5775" y="2369"/>
                  </a:lnTo>
                  <a:lnTo>
                    <a:pt x="5775" y="2084"/>
                  </a:lnTo>
                  <a:cubicBezTo>
                    <a:pt x="5775" y="1762"/>
                    <a:pt x="6049" y="1488"/>
                    <a:pt x="6370" y="1488"/>
                  </a:cubicBezTo>
                  <a:lnTo>
                    <a:pt x="9001" y="1488"/>
                  </a:lnTo>
                  <a:cubicBezTo>
                    <a:pt x="9513" y="1488"/>
                    <a:pt x="9942" y="1072"/>
                    <a:pt x="9942" y="560"/>
                  </a:cubicBezTo>
                  <a:lnTo>
                    <a:pt x="9942" y="167"/>
                  </a:lnTo>
                  <a:cubicBezTo>
                    <a:pt x="9942" y="83"/>
                    <a:pt x="9871" y="0"/>
                    <a:pt x="9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54" name="Google Shape;12454;p62"/>
          <p:cNvGrpSpPr/>
          <p:nvPr/>
        </p:nvGrpSpPr>
        <p:grpSpPr>
          <a:xfrm>
            <a:off x="3527797" y="2918796"/>
            <a:ext cx="355993" cy="307904"/>
            <a:chOff x="3527797" y="2918796"/>
            <a:chExt cx="355993" cy="307904"/>
          </a:xfrm>
        </p:grpSpPr>
        <p:sp>
          <p:nvSpPr>
            <p:cNvPr id="12455" name="Google Shape;12455;p62"/>
            <p:cNvSpPr/>
            <p:nvPr/>
          </p:nvSpPr>
          <p:spPr>
            <a:xfrm>
              <a:off x="3527797" y="2918796"/>
              <a:ext cx="355993" cy="307904"/>
            </a:xfrm>
            <a:custGeom>
              <a:avLst/>
              <a:gdLst/>
              <a:ahLst/>
              <a:cxnLst/>
              <a:rect l="l" t="t" r="r" b="b"/>
              <a:pathLst>
                <a:path w="11193" h="9681" extrusionOk="0">
                  <a:moveTo>
                    <a:pt x="6966" y="3597"/>
                  </a:moveTo>
                  <a:lnTo>
                    <a:pt x="7692" y="4216"/>
                  </a:lnTo>
                  <a:cubicBezTo>
                    <a:pt x="7620" y="4311"/>
                    <a:pt x="7525" y="4382"/>
                    <a:pt x="7454" y="4466"/>
                  </a:cubicBezTo>
                  <a:cubicBezTo>
                    <a:pt x="7335" y="4371"/>
                    <a:pt x="6799" y="3906"/>
                    <a:pt x="6763" y="3870"/>
                  </a:cubicBezTo>
                  <a:cubicBezTo>
                    <a:pt x="6858" y="3740"/>
                    <a:pt x="6966" y="3609"/>
                    <a:pt x="6966" y="3597"/>
                  </a:cubicBezTo>
                  <a:close/>
                  <a:moveTo>
                    <a:pt x="10549" y="322"/>
                  </a:moveTo>
                  <a:cubicBezTo>
                    <a:pt x="10716" y="322"/>
                    <a:pt x="10871" y="453"/>
                    <a:pt x="10871" y="632"/>
                  </a:cubicBezTo>
                  <a:lnTo>
                    <a:pt x="10871" y="4347"/>
                  </a:lnTo>
                  <a:cubicBezTo>
                    <a:pt x="10871" y="4513"/>
                    <a:pt x="10728" y="4668"/>
                    <a:pt x="10549" y="4668"/>
                  </a:cubicBezTo>
                  <a:lnTo>
                    <a:pt x="7716" y="4668"/>
                  </a:lnTo>
                  <a:cubicBezTo>
                    <a:pt x="7716" y="4668"/>
                    <a:pt x="7811" y="4561"/>
                    <a:pt x="7870" y="4490"/>
                  </a:cubicBezTo>
                  <a:cubicBezTo>
                    <a:pt x="7894" y="4454"/>
                    <a:pt x="9383" y="3073"/>
                    <a:pt x="9835" y="1227"/>
                  </a:cubicBezTo>
                  <a:cubicBezTo>
                    <a:pt x="9874" y="1091"/>
                    <a:pt x="9769" y="970"/>
                    <a:pt x="9645" y="970"/>
                  </a:cubicBezTo>
                  <a:cubicBezTo>
                    <a:pt x="9618" y="970"/>
                    <a:pt x="9589" y="976"/>
                    <a:pt x="9561" y="989"/>
                  </a:cubicBezTo>
                  <a:cubicBezTo>
                    <a:pt x="8930" y="1251"/>
                    <a:pt x="8311" y="1668"/>
                    <a:pt x="7716" y="2239"/>
                  </a:cubicBezTo>
                  <a:cubicBezTo>
                    <a:pt x="7656" y="2299"/>
                    <a:pt x="7632" y="2406"/>
                    <a:pt x="7716" y="2477"/>
                  </a:cubicBezTo>
                  <a:cubicBezTo>
                    <a:pt x="7747" y="2509"/>
                    <a:pt x="7788" y="2527"/>
                    <a:pt x="7831" y="2527"/>
                  </a:cubicBezTo>
                  <a:cubicBezTo>
                    <a:pt x="7871" y="2527"/>
                    <a:pt x="7914" y="2512"/>
                    <a:pt x="7954" y="2477"/>
                  </a:cubicBezTo>
                  <a:cubicBezTo>
                    <a:pt x="8442" y="2013"/>
                    <a:pt x="8930" y="1656"/>
                    <a:pt x="9454" y="1406"/>
                  </a:cubicBezTo>
                  <a:lnTo>
                    <a:pt x="9454" y="1406"/>
                  </a:lnTo>
                  <a:cubicBezTo>
                    <a:pt x="9180" y="2251"/>
                    <a:pt x="8668" y="3097"/>
                    <a:pt x="7918" y="3954"/>
                  </a:cubicBezTo>
                  <a:lnTo>
                    <a:pt x="7180" y="3311"/>
                  </a:lnTo>
                  <a:cubicBezTo>
                    <a:pt x="7275" y="3180"/>
                    <a:pt x="7382" y="3061"/>
                    <a:pt x="7501" y="2942"/>
                  </a:cubicBezTo>
                  <a:cubicBezTo>
                    <a:pt x="7561" y="2858"/>
                    <a:pt x="7561" y="2763"/>
                    <a:pt x="7489" y="2704"/>
                  </a:cubicBezTo>
                  <a:cubicBezTo>
                    <a:pt x="7455" y="2675"/>
                    <a:pt x="7413" y="2660"/>
                    <a:pt x="7372" y="2660"/>
                  </a:cubicBezTo>
                  <a:cubicBezTo>
                    <a:pt x="7327" y="2660"/>
                    <a:pt x="7282" y="2678"/>
                    <a:pt x="7251" y="2716"/>
                  </a:cubicBezTo>
                  <a:cubicBezTo>
                    <a:pt x="7013" y="2966"/>
                    <a:pt x="6775" y="3263"/>
                    <a:pt x="6549" y="3561"/>
                  </a:cubicBezTo>
                  <a:cubicBezTo>
                    <a:pt x="6549" y="3573"/>
                    <a:pt x="6346" y="3835"/>
                    <a:pt x="6025" y="4335"/>
                  </a:cubicBezTo>
                  <a:cubicBezTo>
                    <a:pt x="5998" y="4333"/>
                    <a:pt x="5970" y="4332"/>
                    <a:pt x="5943" y="4332"/>
                  </a:cubicBezTo>
                  <a:cubicBezTo>
                    <a:pt x="5648" y="4332"/>
                    <a:pt x="5352" y="4447"/>
                    <a:pt x="5156" y="4632"/>
                  </a:cubicBezTo>
                  <a:lnTo>
                    <a:pt x="643" y="4632"/>
                  </a:lnTo>
                  <a:cubicBezTo>
                    <a:pt x="477" y="4632"/>
                    <a:pt x="334" y="4502"/>
                    <a:pt x="334" y="4323"/>
                  </a:cubicBezTo>
                  <a:lnTo>
                    <a:pt x="334" y="632"/>
                  </a:lnTo>
                  <a:cubicBezTo>
                    <a:pt x="334" y="465"/>
                    <a:pt x="465" y="322"/>
                    <a:pt x="643" y="322"/>
                  </a:cubicBezTo>
                  <a:close/>
                  <a:moveTo>
                    <a:pt x="6585" y="4132"/>
                  </a:moveTo>
                  <a:lnTo>
                    <a:pt x="7216" y="4692"/>
                  </a:lnTo>
                  <a:cubicBezTo>
                    <a:pt x="7192" y="4728"/>
                    <a:pt x="7085" y="4811"/>
                    <a:pt x="6954" y="4930"/>
                  </a:cubicBezTo>
                  <a:cubicBezTo>
                    <a:pt x="6894" y="4823"/>
                    <a:pt x="6823" y="4740"/>
                    <a:pt x="6727" y="4668"/>
                  </a:cubicBezTo>
                  <a:cubicBezTo>
                    <a:pt x="6620" y="4573"/>
                    <a:pt x="6537" y="4502"/>
                    <a:pt x="6382" y="4442"/>
                  </a:cubicBezTo>
                  <a:cubicBezTo>
                    <a:pt x="6489" y="4275"/>
                    <a:pt x="6561" y="4156"/>
                    <a:pt x="6585" y="4132"/>
                  </a:cubicBezTo>
                  <a:close/>
                  <a:moveTo>
                    <a:pt x="3598" y="5673"/>
                  </a:moveTo>
                  <a:cubicBezTo>
                    <a:pt x="3791" y="5673"/>
                    <a:pt x="3971" y="5794"/>
                    <a:pt x="4049" y="5978"/>
                  </a:cubicBezTo>
                  <a:cubicBezTo>
                    <a:pt x="3941" y="6002"/>
                    <a:pt x="3703" y="6061"/>
                    <a:pt x="3584" y="6085"/>
                  </a:cubicBezTo>
                  <a:cubicBezTo>
                    <a:pt x="3382" y="6121"/>
                    <a:pt x="3310" y="6407"/>
                    <a:pt x="3453" y="6549"/>
                  </a:cubicBezTo>
                  <a:cubicBezTo>
                    <a:pt x="3501" y="6597"/>
                    <a:pt x="3548" y="6633"/>
                    <a:pt x="3584" y="6657"/>
                  </a:cubicBezTo>
                  <a:cubicBezTo>
                    <a:pt x="3382" y="6657"/>
                    <a:pt x="3191" y="6514"/>
                    <a:pt x="3132" y="6299"/>
                  </a:cubicBezTo>
                  <a:cubicBezTo>
                    <a:pt x="3048" y="6037"/>
                    <a:pt x="3203" y="5764"/>
                    <a:pt x="3465" y="5692"/>
                  </a:cubicBezTo>
                  <a:cubicBezTo>
                    <a:pt x="3509" y="5679"/>
                    <a:pt x="3554" y="5673"/>
                    <a:pt x="3598" y="5673"/>
                  </a:cubicBezTo>
                  <a:close/>
                  <a:moveTo>
                    <a:pt x="5952" y="4675"/>
                  </a:moveTo>
                  <a:cubicBezTo>
                    <a:pt x="6182" y="4675"/>
                    <a:pt x="6411" y="4777"/>
                    <a:pt x="6596" y="4990"/>
                  </a:cubicBezTo>
                  <a:cubicBezTo>
                    <a:pt x="6954" y="5406"/>
                    <a:pt x="6799" y="6061"/>
                    <a:pt x="6275" y="6383"/>
                  </a:cubicBezTo>
                  <a:cubicBezTo>
                    <a:pt x="6275" y="6383"/>
                    <a:pt x="5930" y="6609"/>
                    <a:pt x="5430" y="6716"/>
                  </a:cubicBezTo>
                  <a:cubicBezTo>
                    <a:pt x="5346" y="6728"/>
                    <a:pt x="5287" y="6823"/>
                    <a:pt x="5299" y="6907"/>
                  </a:cubicBezTo>
                  <a:cubicBezTo>
                    <a:pt x="5309" y="6988"/>
                    <a:pt x="5379" y="7043"/>
                    <a:pt x="5451" y="7043"/>
                  </a:cubicBezTo>
                  <a:cubicBezTo>
                    <a:pt x="5464" y="7043"/>
                    <a:pt x="5477" y="7041"/>
                    <a:pt x="5489" y="7038"/>
                  </a:cubicBezTo>
                  <a:cubicBezTo>
                    <a:pt x="6037" y="6918"/>
                    <a:pt x="6430" y="6668"/>
                    <a:pt x="6442" y="6668"/>
                  </a:cubicBezTo>
                  <a:cubicBezTo>
                    <a:pt x="6573" y="6585"/>
                    <a:pt x="6692" y="6478"/>
                    <a:pt x="6799" y="6359"/>
                  </a:cubicBezTo>
                  <a:cubicBezTo>
                    <a:pt x="6894" y="6716"/>
                    <a:pt x="7216" y="6966"/>
                    <a:pt x="7585" y="6966"/>
                  </a:cubicBezTo>
                  <a:cubicBezTo>
                    <a:pt x="7644" y="6966"/>
                    <a:pt x="7728" y="6954"/>
                    <a:pt x="7787" y="6942"/>
                  </a:cubicBezTo>
                  <a:cubicBezTo>
                    <a:pt x="7870" y="6918"/>
                    <a:pt x="7930" y="6835"/>
                    <a:pt x="7906" y="6740"/>
                  </a:cubicBezTo>
                  <a:cubicBezTo>
                    <a:pt x="7886" y="6669"/>
                    <a:pt x="7823" y="6616"/>
                    <a:pt x="7746" y="6616"/>
                  </a:cubicBezTo>
                  <a:cubicBezTo>
                    <a:pt x="7732" y="6616"/>
                    <a:pt x="7718" y="6617"/>
                    <a:pt x="7704" y="6621"/>
                  </a:cubicBezTo>
                  <a:cubicBezTo>
                    <a:pt x="7661" y="6632"/>
                    <a:pt x="7619" y="6638"/>
                    <a:pt x="7578" y="6638"/>
                  </a:cubicBezTo>
                  <a:cubicBezTo>
                    <a:pt x="7318" y="6638"/>
                    <a:pt x="7097" y="6422"/>
                    <a:pt x="7097" y="6145"/>
                  </a:cubicBezTo>
                  <a:cubicBezTo>
                    <a:pt x="7097" y="5883"/>
                    <a:pt x="7323" y="5656"/>
                    <a:pt x="7585" y="5656"/>
                  </a:cubicBezTo>
                  <a:cubicBezTo>
                    <a:pt x="7930" y="5656"/>
                    <a:pt x="8168" y="5990"/>
                    <a:pt x="8049" y="6311"/>
                  </a:cubicBezTo>
                  <a:cubicBezTo>
                    <a:pt x="8025" y="6407"/>
                    <a:pt x="8061" y="6490"/>
                    <a:pt x="8156" y="6526"/>
                  </a:cubicBezTo>
                  <a:cubicBezTo>
                    <a:pt x="8171" y="6530"/>
                    <a:pt x="8186" y="6532"/>
                    <a:pt x="8200" y="6532"/>
                  </a:cubicBezTo>
                  <a:cubicBezTo>
                    <a:pt x="8271" y="6532"/>
                    <a:pt x="8339" y="6487"/>
                    <a:pt x="8359" y="6418"/>
                  </a:cubicBezTo>
                  <a:cubicBezTo>
                    <a:pt x="8569" y="5825"/>
                    <a:pt x="8085" y="5329"/>
                    <a:pt x="7564" y="5329"/>
                  </a:cubicBezTo>
                  <a:cubicBezTo>
                    <a:pt x="7406" y="5329"/>
                    <a:pt x="7244" y="5375"/>
                    <a:pt x="7097" y="5478"/>
                  </a:cubicBezTo>
                  <a:cubicBezTo>
                    <a:pt x="7097" y="5406"/>
                    <a:pt x="7085" y="5311"/>
                    <a:pt x="7073" y="5240"/>
                  </a:cubicBezTo>
                  <a:cubicBezTo>
                    <a:pt x="7156" y="5168"/>
                    <a:pt x="7263" y="5073"/>
                    <a:pt x="7347" y="4990"/>
                  </a:cubicBezTo>
                  <a:lnTo>
                    <a:pt x="10537" y="4990"/>
                  </a:lnTo>
                  <a:cubicBezTo>
                    <a:pt x="10704" y="4990"/>
                    <a:pt x="10847" y="5121"/>
                    <a:pt x="10847" y="5299"/>
                  </a:cubicBezTo>
                  <a:lnTo>
                    <a:pt x="10847" y="9038"/>
                  </a:lnTo>
                  <a:lnTo>
                    <a:pt x="10871" y="9038"/>
                  </a:lnTo>
                  <a:cubicBezTo>
                    <a:pt x="10871" y="9204"/>
                    <a:pt x="10728" y="9347"/>
                    <a:pt x="10549" y="9347"/>
                  </a:cubicBezTo>
                  <a:lnTo>
                    <a:pt x="643" y="9347"/>
                  </a:lnTo>
                  <a:cubicBezTo>
                    <a:pt x="477" y="9347"/>
                    <a:pt x="322" y="9216"/>
                    <a:pt x="322" y="9038"/>
                  </a:cubicBezTo>
                  <a:lnTo>
                    <a:pt x="322" y="5323"/>
                  </a:lnTo>
                  <a:cubicBezTo>
                    <a:pt x="322" y="5156"/>
                    <a:pt x="465" y="5002"/>
                    <a:pt x="643" y="5002"/>
                  </a:cubicBezTo>
                  <a:lnTo>
                    <a:pt x="4882" y="5002"/>
                  </a:lnTo>
                  <a:cubicBezTo>
                    <a:pt x="4703" y="5335"/>
                    <a:pt x="4822" y="5525"/>
                    <a:pt x="4358" y="5835"/>
                  </a:cubicBezTo>
                  <a:cubicBezTo>
                    <a:pt x="4224" y="5538"/>
                    <a:pt x="3935" y="5348"/>
                    <a:pt x="3616" y="5348"/>
                  </a:cubicBezTo>
                  <a:cubicBezTo>
                    <a:pt x="3539" y="5348"/>
                    <a:pt x="3460" y="5359"/>
                    <a:pt x="3382" y="5383"/>
                  </a:cubicBezTo>
                  <a:cubicBezTo>
                    <a:pt x="2953" y="5490"/>
                    <a:pt x="2691" y="5954"/>
                    <a:pt x="2810" y="6383"/>
                  </a:cubicBezTo>
                  <a:cubicBezTo>
                    <a:pt x="2916" y="6753"/>
                    <a:pt x="3250" y="6986"/>
                    <a:pt x="3604" y="6986"/>
                  </a:cubicBezTo>
                  <a:cubicBezTo>
                    <a:pt x="3729" y="6986"/>
                    <a:pt x="3856" y="6957"/>
                    <a:pt x="3977" y="6895"/>
                  </a:cubicBezTo>
                  <a:cubicBezTo>
                    <a:pt x="4227" y="7014"/>
                    <a:pt x="4489" y="7085"/>
                    <a:pt x="4775" y="7097"/>
                  </a:cubicBezTo>
                  <a:lnTo>
                    <a:pt x="4787" y="7097"/>
                  </a:lnTo>
                  <a:cubicBezTo>
                    <a:pt x="4882" y="7097"/>
                    <a:pt x="4953" y="7026"/>
                    <a:pt x="4953" y="6954"/>
                  </a:cubicBezTo>
                  <a:cubicBezTo>
                    <a:pt x="4953" y="6859"/>
                    <a:pt x="4894" y="6788"/>
                    <a:pt x="4811" y="6776"/>
                  </a:cubicBezTo>
                  <a:cubicBezTo>
                    <a:pt x="4441" y="6740"/>
                    <a:pt x="4096" y="6609"/>
                    <a:pt x="3798" y="6371"/>
                  </a:cubicBezTo>
                  <a:cubicBezTo>
                    <a:pt x="4287" y="6252"/>
                    <a:pt x="4715" y="6121"/>
                    <a:pt x="4989" y="5668"/>
                  </a:cubicBezTo>
                  <a:cubicBezTo>
                    <a:pt x="5049" y="5573"/>
                    <a:pt x="5072" y="5466"/>
                    <a:pt x="5108" y="5359"/>
                  </a:cubicBezTo>
                  <a:cubicBezTo>
                    <a:pt x="5168" y="5156"/>
                    <a:pt x="5192" y="5121"/>
                    <a:pt x="5299" y="4990"/>
                  </a:cubicBezTo>
                  <a:cubicBezTo>
                    <a:pt x="5346" y="4930"/>
                    <a:pt x="5406" y="4883"/>
                    <a:pt x="5465" y="4835"/>
                  </a:cubicBezTo>
                  <a:cubicBezTo>
                    <a:pt x="5616" y="4729"/>
                    <a:pt x="5784" y="4675"/>
                    <a:pt x="5952" y="4675"/>
                  </a:cubicBezTo>
                  <a:close/>
                  <a:moveTo>
                    <a:pt x="643" y="1"/>
                  </a:moveTo>
                  <a:cubicBezTo>
                    <a:pt x="286" y="1"/>
                    <a:pt x="0" y="287"/>
                    <a:pt x="0" y="644"/>
                  </a:cubicBezTo>
                  <a:lnTo>
                    <a:pt x="0" y="4359"/>
                  </a:lnTo>
                  <a:cubicBezTo>
                    <a:pt x="0" y="4561"/>
                    <a:pt x="72" y="4716"/>
                    <a:pt x="215" y="4847"/>
                  </a:cubicBezTo>
                  <a:cubicBezTo>
                    <a:pt x="72" y="4954"/>
                    <a:pt x="0" y="5121"/>
                    <a:pt x="0" y="5323"/>
                  </a:cubicBezTo>
                  <a:lnTo>
                    <a:pt x="0" y="9038"/>
                  </a:lnTo>
                  <a:cubicBezTo>
                    <a:pt x="0" y="9395"/>
                    <a:pt x="286" y="9681"/>
                    <a:pt x="643" y="9681"/>
                  </a:cubicBezTo>
                  <a:lnTo>
                    <a:pt x="10549" y="9681"/>
                  </a:lnTo>
                  <a:cubicBezTo>
                    <a:pt x="10907" y="9681"/>
                    <a:pt x="11192" y="9395"/>
                    <a:pt x="11192" y="9038"/>
                  </a:cubicBezTo>
                  <a:lnTo>
                    <a:pt x="11192" y="5323"/>
                  </a:lnTo>
                  <a:cubicBezTo>
                    <a:pt x="11192" y="5121"/>
                    <a:pt x="11121" y="4966"/>
                    <a:pt x="10990" y="4847"/>
                  </a:cubicBezTo>
                  <a:cubicBezTo>
                    <a:pt x="11121" y="4728"/>
                    <a:pt x="11192" y="4561"/>
                    <a:pt x="11192" y="4359"/>
                  </a:cubicBezTo>
                  <a:lnTo>
                    <a:pt x="11192" y="644"/>
                  </a:lnTo>
                  <a:cubicBezTo>
                    <a:pt x="11192" y="287"/>
                    <a:pt x="10907" y="1"/>
                    <a:pt x="10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6" name="Google Shape;12456;p62"/>
            <p:cNvSpPr/>
            <p:nvPr/>
          </p:nvSpPr>
          <p:spPr>
            <a:xfrm>
              <a:off x="3552414" y="3088826"/>
              <a:ext cx="52669" cy="52224"/>
            </a:xfrm>
            <a:custGeom>
              <a:avLst/>
              <a:gdLst/>
              <a:ahLst/>
              <a:cxnLst/>
              <a:rect l="l" t="t" r="r" b="b"/>
              <a:pathLst>
                <a:path w="1656" h="1642"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1"/>
                    <a:pt x="1066" y="1304"/>
                    <a:pt x="996" y="1304"/>
                  </a:cubicBezTo>
                  <a:cubicBezTo>
                    <a:pt x="982" y="1304"/>
                    <a:pt x="967" y="1306"/>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7" name="Google Shape;12457;p62"/>
            <p:cNvSpPr/>
            <p:nvPr/>
          </p:nvSpPr>
          <p:spPr>
            <a:xfrm>
              <a:off x="3552414" y="3153199"/>
              <a:ext cx="52669" cy="52256"/>
            </a:xfrm>
            <a:custGeom>
              <a:avLst/>
              <a:gdLst/>
              <a:ahLst/>
              <a:cxnLst/>
              <a:rect l="l" t="t" r="r" b="b"/>
              <a:pathLst>
                <a:path w="1656" h="1643" extrusionOk="0">
                  <a:moveTo>
                    <a:pt x="834" y="1"/>
                  </a:moveTo>
                  <a:cubicBezTo>
                    <a:pt x="369" y="1"/>
                    <a:pt x="0" y="370"/>
                    <a:pt x="0" y="822"/>
                  </a:cubicBezTo>
                  <a:cubicBezTo>
                    <a:pt x="0" y="1292"/>
                    <a:pt x="375" y="1642"/>
                    <a:pt x="827" y="1642"/>
                  </a:cubicBezTo>
                  <a:cubicBezTo>
                    <a:pt x="892" y="1642"/>
                    <a:pt x="958" y="1635"/>
                    <a:pt x="1024" y="1620"/>
                  </a:cubicBezTo>
                  <a:cubicBezTo>
                    <a:pt x="1119" y="1608"/>
                    <a:pt x="1179" y="1513"/>
                    <a:pt x="1143" y="1430"/>
                  </a:cubicBezTo>
                  <a:cubicBezTo>
                    <a:pt x="1133" y="1359"/>
                    <a:pt x="1063" y="1305"/>
                    <a:pt x="991" y="1305"/>
                  </a:cubicBezTo>
                  <a:cubicBezTo>
                    <a:pt x="978" y="1305"/>
                    <a:pt x="965" y="1307"/>
                    <a:pt x="953" y="1311"/>
                  </a:cubicBezTo>
                  <a:cubicBezTo>
                    <a:pt x="915" y="1319"/>
                    <a:pt x="878" y="1323"/>
                    <a:pt x="841" y="1323"/>
                  </a:cubicBezTo>
                  <a:cubicBezTo>
                    <a:pt x="576" y="1323"/>
                    <a:pt x="346" y="1106"/>
                    <a:pt x="346" y="834"/>
                  </a:cubicBezTo>
                  <a:cubicBezTo>
                    <a:pt x="346" y="572"/>
                    <a:pt x="572" y="346"/>
                    <a:pt x="834" y="346"/>
                  </a:cubicBezTo>
                  <a:cubicBezTo>
                    <a:pt x="1179" y="346"/>
                    <a:pt x="1417" y="668"/>
                    <a:pt x="1298" y="1001"/>
                  </a:cubicBezTo>
                  <a:cubicBezTo>
                    <a:pt x="1262" y="1084"/>
                    <a:pt x="1310" y="1180"/>
                    <a:pt x="1405" y="1203"/>
                  </a:cubicBezTo>
                  <a:cubicBezTo>
                    <a:pt x="1424" y="1211"/>
                    <a:pt x="1443" y="1215"/>
                    <a:pt x="1462" y="1215"/>
                  </a:cubicBezTo>
                  <a:cubicBezTo>
                    <a:pt x="1528" y="1215"/>
                    <a:pt x="1589" y="1170"/>
                    <a:pt x="1608" y="1096"/>
                  </a:cubicBezTo>
                  <a:cubicBezTo>
                    <a:pt x="1643" y="1013"/>
                    <a:pt x="1655" y="918"/>
                    <a:pt x="1655" y="834"/>
                  </a:cubicBezTo>
                  <a:cubicBezTo>
                    <a:pt x="1655" y="358"/>
                    <a:pt x="128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8" name="Google Shape;12458;p62"/>
            <p:cNvSpPr/>
            <p:nvPr/>
          </p:nvSpPr>
          <p:spPr>
            <a:xfrm>
              <a:off x="3616024" y="3153199"/>
              <a:ext cx="52287" cy="52256"/>
            </a:xfrm>
            <a:custGeom>
              <a:avLst/>
              <a:gdLst/>
              <a:ahLst/>
              <a:cxnLst/>
              <a:rect l="l" t="t" r="r" b="b"/>
              <a:pathLst>
                <a:path w="1644" h="1643" extrusionOk="0">
                  <a:moveTo>
                    <a:pt x="834" y="1"/>
                  </a:moveTo>
                  <a:cubicBezTo>
                    <a:pt x="370" y="1"/>
                    <a:pt x="1" y="370"/>
                    <a:pt x="1" y="822"/>
                  </a:cubicBezTo>
                  <a:cubicBezTo>
                    <a:pt x="1" y="1292"/>
                    <a:pt x="375" y="1642"/>
                    <a:pt x="828" y="1642"/>
                  </a:cubicBezTo>
                  <a:cubicBezTo>
                    <a:pt x="892" y="1642"/>
                    <a:pt x="958" y="1635"/>
                    <a:pt x="1024" y="1620"/>
                  </a:cubicBezTo>
                  <a:cubicBezTo>
                    <a:pt x="1108" y="1608"/>
                    <a:pt x="1167" y="1513"/>
                    <a:pt x="1144" y="1430"/>
                  </a:cubicBezTo>
                  <a:cubicBezTo>
                    <a:pt x="1123" y="1359"/>
                    <a:pt x="1060" y="1305"/>
                    <a:pt x="991" y="1305"/>
                  </a:cubicBezTo>
                  <a:cubicBezTo>
                    <a:pt x="978" y="1305"/>
                    <a:pt x="966" y="1307"/>
                    <a:pt x="953" y="1311"/>
                  </a:cubicBezTo>
                  <a:cubicBezTo>
                    <a:pt x="914" y="1319"/>
                    <a:pt x="876" y="1323"/>
                    <a:pt x="838" y="1323"/>
                  </a:cubicBezTo>
                  <a:cubicBezTo>
                    <a:pt x="564" y="1323"/>
                    <a:pt x="334" y="1106"/>
                    <a:pt x="334" y="834"/>
                  </a:cubicBezTo>
                  <a:cubicBezTo>
                    <a:pt x="334" y="572"/>
                    <a:pt x="560" y="346"/>
                    <a:pt x="822" y="346"/>
                  </a:cubicBezTo>
                  <a:cubicBezTo>
                    <a:pt x="1167" y="346"/>
                    <a:pt x="1405" y="668"/>
                    <a:pt x="1286" y="1001"/>
                  </a:cubicBezTo>
                  <a:cubicBezTo>
                    <a:pt x="1263" y="1084"/>
                    <a:pt x="1310" y="1180"/>
                    <a:pt x="1394" y="1203"/>
                  </a:cubicBezTo>
                  <a:cubicBezTo>
                    <a:pt x="1415" y="1211"/>
                    <a:pt x="1436" y="1215"/>
                    <a:pt x="1456" y="1215"/>
                  </a:cubicBezTo>
                  <a:cubicBezTo>
                    <a:pt x="1524" y="1215"/>
                    <a:pt x="1580" y="1170"/>
                    <a:pt x="1608" y="1096"/>
                  </a:cubicBezTo>
                  <a:cubicBezTo>
                    <a:pt x="1632" y="1013"/>
                    <a:pt x="1644" y="918"/>
                    <a:pt x="1644" y="834"/>
                  </a:cubicBezTo>
                  <a:cubicBezTo>
                    <a:pt x="1644" y="358"/>
                    <a:pt x="127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9" name="Google Shape;12459;p62"/>
            <p:cNvSpPr/>
            <p:nvPr/>
          </p:nvSpPr>
          <p:spPr>
            <a:xfrm>
              <a:off x="3679252" y="3153199"/>
              <a:ext cx="57217" cy="52256"/>
            </a:xfrm>
            <a:custGeom>
              <a:avLst/>
              <a:gdLst/>
              <a:ahLst/>
              <a:cxnLst/>
              <a:rect l="l" t="t" r="r" b="b"/>
              <a:pathLst>
                <a:path w="1799" h="1643" extrusionOk="0">
                  <a:moveTo>
                    <a:pt x="834" y="1"/>
                  </a:moveTo>
                  <a:cubicBezTo>
                    <a:pt x="370" y="1"/>
                    <a:pt x="1" y="370"/>
                    <a:pt x="1" y="822"/>
                  </a:cubicBezTo>
                  <a:cubicBezTo>
                    <a:pt x="1" y="1292"/>
                    <a:pt x="375" y="1642"/>
                    <a:pt x="828" y="1642"/>
                  </a:cubicBezTo>
                  <a:cubicBezTo>
                    <a:pt x="892" y="1642"/>
                    <a:pt x="958" y="1635"/>
                    <a:pt x="1025" y="1620"/>
                  </a:cubicBezTo>
                  <a:cubicBezTo>
                    <a:pt x="1120" y="1608"/>
                    <a:pt x="1180" y="1513"/>
                    <a:pt x="1144" y="1430"/>
                  </a:cubicBezTo>
                  <a:cubicBezTo>
                    <a:pt x="1134" y="1359"/>
                    <a:pt x="1064" y="1305"/>
                    <a:pt x="992" y="1305"/>
                  </a:cubicBezTo>
                  <a:cubicBezTo>
                    <a:pt x="979" y="1305"/>
                    <a:pt x="966" y="1307"/>
                    <a:pt x="953" y="1311"/>
                  </a:cubicBezTo>
                  <a:cubicBezTo>
                    <a:pt x="916" y="1319"/>
                    <a:pt x="879" y="1323"/>
                    <a:pt x="842" y="1323"/>
                  </a:cubicBezTo>
                  <a:cubicBezTo>
                    <a:pt x="576" y="1323"/>
                    <a:pt x="346" y="1106"/>
                    <a:pt x="346" y="834"/>
                  </a:cubicBezTo>
                  <a:cubicBezTo>
                    <a:pt x="346" y="572"/>
                    <a:pt x="572" y="346"/>
                    <a:pt x="834" y="346"/>
                  </a:cubicBezTo>
                  <a:cubicBezTo>
                    <a:pt x="1180" y="346"/>
                    <a:pt x="1418" y="668"/>
                    <a:pt x="1299" y="1001"/>
                  </a:cubicBezTo>
                  <a:cubicBezTo>
                    <a:pt x="1263" y="1084"/>
                    <a:pt x="1311" y="1180"/>
                    <a:pt x="1406" y="1203"/>
                  </a:cubicBezTo>
                  <a:cubicBezTo>
                    <a:pt x="1425" y="1211"/>
                    <a:pt x="1444" y="1215"/>
                    <a:pt x="1463" y="1215"/>
                  </a:cubicBezTo>
                  <a:cubicBezTo>
                    <a:pt x="1528" y="1215"/>
                    <a:pt x="1590" y="1170"/>
                    <a:pt x="1608" y="1096"/>
                  </a:cubicBezTo>
                  <a:cubicBezTo>
                    <a:pt x="1799" y="549"/>
                    <a:pt x="1406"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0" name="Google Shape;12460;p62"/>
            <p:cNvSpPr/>
            <p:nvPr/>
          </p:nvSpPr>
          <p:spPr>
            <a:xfrm>
              <a:off x="3742894" y="3153199"/>
              <a:ext cx="57185" cy="52256"/>
            </a:xfrm>
            <a:custGeom>
              <a:avLst/>
              <a:gdLst/>
              <a:ahLst/>
              <a:cxnLst/>
              <a:rect l="l" t="t" r="r" b="b"/>
              <a:pathLst>
                <a:path w="1798" h="1643" extrusionOk="0">
                  <a:moveTo>
                    <a:pt x="834" y="1"/>
                  </a:moveTo>
                  <a:cubicBezTo>
                    <a:pt x="369" y="1"/>
                    <a:pt x="0" y="370"/>
                    <a:pt x="0" y="822"/>
                  </a:cubicBezTo>
                  <a:cubicBezTo>
                    <a:pt x="0" y="1292"/>
                    <a:pt x="374" y="1642"/>
                    <a:pt x="827" y="1642"/>
                  </a:cubicBezTo>
                  <a:cubicBezTo>
                    <a:pt x="892" y="1642"/>
                    <a:pt x="957" y="1635"/>
                    <a:pt x="1024" y="1620"/>
                  </a:cubicBezTo>
                  <a:cubicBezTo>
                    <a:pt x="1107" y="1608"/>
                    <a:pt x="1167" y="1513"/>
                    <a:pt x="1143" y="1430"/>
                  </a:cubicBezTo>
                  <a:cubicBezTo>
                    <a:pt x="1123" y="1359"/>
                    <a:pt x="1060" y="1305"/>
                    <a:pt x="990" y="1305"/>
                  </a:cubicBezTo>
                  <a:cubicBezTo>
                    <a:pt x="978" y="1305"/>
                    <a:pt x="965" y="1307"/>
                    <a:pt x="953" y="1311"/>
                  </a:cubicBezTo>
                  <a:cubicBezTo>
                    <a:pt x="914" y="1319"/>
                    <a:pt x="875" y="1323"/>
                    <a:pt x="837" y="1323"/>
                  </a:cubicBezTo>
                  <a:cubicBezTo>
                    <a:pt x="563" y="1323"/>
                    <a:pt x="334" y="1106"/>
                    <a:pt x="334" y="834"/>
                  </a:cubicBezTo>
                  <a:cubicBezTo>
                    <a:pt x="334" y="572"/>
                    <a:pt x="560" y="346"/>
                    <a:pt x="822" y="346"/>
                  </a:cubicBezTo>
                  <a:cubicBezTo>
                    <a:pt x="1167" y="346"/>
                    <a:pt x="1405" y="668"/>
                    <a:pt x="1286" y="1001"/>
                  </a:cubicBezTo>
                  <a:cubicBezTo>
                    <a:pt x="1262" y="1084"/>
                    <a:pt x="1298" y="1180"/>
                    <a:pt x="1393" y="1203"/>
                  </a:cubicBezTo>
                  <a:cubicBezTo>
                    <a:pt x="1415" y="1211"/>
                    <a:pt x="1435" y="1215"/>
                    <a:pt x="1455" y="1215"/>
                  </a:cubicBezTo>
                  <a:cubicBezTo>
                    <a:pt x="1523" y="1215"/>
                    <a:pt x="1577" y="1170"/>
                    <a:pt x="1596" y="1096"/>
                  </a:cubicBezTo>
                  <a:cubicBezTo>
                    <a:pt x="1798" y="549"/>
                    <a:pt x="1393"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1" name="Google Shape;12461;p62"/>
            <p:cNvSpPr/>
            <p:nvPr/>
          </p:nvSpPr>
          <p:spPr>
            <a:xfrm>
              <a:off x="3806122" y="3088826"/>
              <a:ext cx="57217" cy="52224"/>
            </a:xfrm>
            <a:custGeom>
              <a:avLst/>
              <a:gdLst/>
              <a:ahLst/>
              <a:cxnLst/>
              <a:rect l="l" t="t" r="r" b="b"/>
              <a:pathLst>
                <a:path w="1799" h="1642"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4" y="1351"/>
                    <a:pt x="1067" y="1304"/>
                    <a:pt x="996" y="1304"/>
                  </a:cubicBezTo>
                  <a:cubicBezTo>
                    <a:pt x="982" y="1304"/>
                    <a:pt x="967" y="1306"/>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2" name="Google Shape;12462;p62"/>
            <p:cNvSpPr/>
            <p:nvPr/>
          </p:nvSpPr>
          <p:spPr>
            <a:xfrm>
              <a:off x="3806122" y="3153199"/>
              <a:ext cx="57217" cy="52256"/>
            </a:xfrm>
            <a:custGeom>
              <a:avLst/>
              <a:gdLst/>
              <a:ahLst/>
              <a:cxnLst/>
              <a:rect l="l" t="t" r="r" b="b"/>
              <a:pathLst>
                <a:path w="1799" h="1643" extrusionOk="0">
                  <a:moveTo>
                    <a:pt x="834" y="1"/>
                  </a:moveTo>
                  <a:cubicBezTo>
                    <a:pt x="370" y="1"/>
                    <a:pt x="0" y="370"/>
                    <a:pt x="0" y="822"/>
                  </a:cubicBezTo>
                  <a:cubicBezTo>
                    <a:pt x="0" y="1292"/>
                    <a:pt x="375" y="1642"/>
                    <a:pt x="828" y="1642"/>
                  </a:cubicBezTo>
                  <a:cubicBezTo>
                    <a:pt x="892" y="1642"/>
                    <a:pt x="958" y="1635"/>
                    <a:pt x="1024" y="1620"/>
                  </a:cubicBezTo>
                  <a:cubicBezTo>
                    <a:pt x="1120" y="1608"/>
                    <a:pt x="1179" y="1513"/>
                    <a:pt x="1143" y="1430"/>
                  </a:cubicBezTo>
                  <a:cubicBezTo>
                    <a:pt x="1133" y="1359"/>
                    <a:pt x="1063" y="1305"/>
                    <a:pt x="991" y="1305"/>
                  </a:cubicBezTo>
                  <a:cubicBezTo>
                    <a:pt x="978" y="1305"/>
                    <a:pt x="966" y="1307"/>
                    <a:pt x="953" y="1311"/>
                  </a:cubicBezTo>
                  <a:cubicBezTo>
                    <a:pt x="916" y="1319"/>
                    <a:pt x="878" y="1323"/>
                    <a:pt x="842" y="1323"/>
                  </a:cubicBezTo>
                  <a:cubicBezTo>
                    <a:pt x="576" y="1323"/>
                    <a:pt x="346" y="1106"/>
                    <a:pt x="346" y="834"/>
                  </a:cubicBezTo>
                  <a:cubicBezTo>
                    <a:pt x="346" y="572"/>
                    <a:pt x="560" y="346"/>
                    <a:pt x="834" y="346"/>
                  </a:cubicBezTo>
                  <a:cubicBezTo>
                    <a:pt x="1179" y="346"/>
                    <a:pt x="1417" y="668"/>
                    <a:pt x="1298" y="1001"/>
                  </a:cubicBezTo>
                  <a:cubicBezTo>
                    <a:pt x="1263" y="1084"/>
                    <a:pt x="1310" y="1180"/>
                    <a:pt x="1394" y="1203"/>
                  </a:cubicBezTo>
                  <a:cubicBezTo>
                    <a:pt x="1415" y="1211"/>
                    <a:pt x="1436" y="1215"/>
                    <a:pt x="1457" y="1215"/>
                  </a:cubicBezTo>
                  <a:cubicBezTo>
                    <a:pt x="1528" y="1215"/>
                    <a:pt x="1589" y="1170"/>
                    <a:pt x="1608" y="1096"/>
                  </a:cubicBezTo>
                  <a:cubicBezTo>
                    <a:pt x="1798" y="549"/>
                    <a:pt x="1405"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3" name="Google Shape;12463;p62"/>
            <p:cNvSpPr/>
            <p:nvPr/>
          </p:nvSpPr>
          <p:spPr>
            <a:xfrm>
              <a:off x="3549742" y="2940392"/>
              <a:ext cx="107215" cy="72420"/>
            </a:xfrm>
            <a:custGeom>
              <a:avLst/>
              <a:gdLst/>
              <a:ahLst/>
              <a:cxnLst/>
              <a:rect l="l" t="t" r="r" b="b"/>
              <a:pathLst>
                <a:path w="3371" h="2277" extrusionOk="0">
                  <a:moveTo>
                    <a:pt x="1573" y="1"/>
                  </a:moveTo>
                  <a:cubicBezTo>
                    <a:pt x="1311" y="1"/>
                    <a:pt x="1084" y="215"/>
                    <a:pt x="1084" y="489"/>
                  </a:cubicBezTo>
                  <a:lnTo>
                    <a:pt x="1084" y="548"/>
                  </a:lnTo>
                  <a:cubicBezTo>
                    <a:pt x="1084" y="608"/>
                    <a:pt x="1037" y="644"/>
                    <a:pt x="977" y="644"/>
                  </a:cubicBezTo>
                  <a:cubicBezTo>
                    <a:pt x="715" y="644"/>
                    <a:pt x="489" y="870"/>
                    <a:pt x="489" y="1144"/>
                  </a:cubicBezTo>
                  <a:cubicBezTo>
                    <a:pt x="489" y="1167"/>
                    <a:pt x="489" y="1203"/>
                    <a:pt x="501" y="1227"/>
                  </a:cubicBezTo>
                  <a:cubicBezTo>
                    <a:pt x="501" y="1227"/>
                    <a:pt x="501" y="1239"/>
                    <a:pt x="489" y="1239"/>
                  </a:cubicBezTo>
                  <a:cubicBezTo>
                    <a:pt x="215" y="1239"/>
                    <a:pt x="1" y="1465"/>
                    <a:pt x="1" y="1739"/>
                  </a:cubicBezTo>
                  <a:lnTo>
                    <a:pt x="1" y="1775"/>
                  </a:lnTo>
                  <a:cubicBezTo>
                    <a:pt x="1" y="2013"/>
                    <a:pt x="180" y="2227"/>
                    <a:pt x="418" y="2275"/>
                  </a:cubicBezTo>
                  <a:cubicBezTo>
                    <a:pt x="425" y="2276"/>
                    <a:pt x="432" y="2276"/>
                    <a:pt x="439" y="2276"/>
                  </a:cubicBezTo>
                  <a:cubicBezTo>
                    <a:pt x="517" y="2276"/>
                    <a:pt x="597" y="2219"/>
                    <a:pt x="608" y="2132"/>
                  </a:cubicBezTo>
                  <a:cubicBezTo>
                    <a:pt x="620" y="2048"/>
                    <a:pt x="561" y="1953"/>
                    <a:pt x="477" y="1941"/>
                  </a:cubicBezTo>
                  <a:cubicBezTo>
                    <a:pt x="394" y="1929"/>
                    <a:pt x="334" y="1870"/>
                    <a:pt x="334" y="1775"/>
                  </a:cubicBezTo>
                  <a:lnTo>
                    <a:pt x="334" y="1727"/>
                  </a:lnTo>
                  <a:cubicBezTo>
                    <a:pt x="334" y="1632"/>
                    <a:pt x="418" y="1560"/>
                    <a:pt x="501" y="1560"/>
                  </a:cubicBezTo>
                  <a:cubicBezTo>
                    <a:pt x="715" y="1560"/>
                    <a:pt x="894" y="1370"/>
                    <a:pt x="846" y="1144"/>
                  </a:cubicBezTo>
                  <a:cubicBezTo>
                    <a:pt x="822" y="1036"/>
                    <a:pt x="906" y="953"/>
                    <a:pt x="1013" y="953"/>
                  </a:cubicBezTo>
                  <a:cubicBezTo>
                    <a:pt x="1263" y="953"/>
                    <a:pt x="1465" y="739"/>
                    <a:pt x="1454" y="489"/>
                  </a:cubicBezTo>
                  <a:cubicBezTo>
                    <a:pt x="1442" y="370"/>
                    <a:pt x="1525" y="298"/>
                    <a:pt x="1620" y="298"/>
                  </a:cubicBezTo>
                  <a:lnTo>
                    <a:pt x="2382" y="298"/>
                  </a:lnTo>
                  <a:cubicBezTo>
                    <a:pt x="2466" y="298"/>
                    <a:pt x="2537" y="370"/>
                    <a:pt x="2537" y="453"/>
                  </a:cubicBezTo>
                  <a:lnTo>
                    <a:pt x="2537" y="489"/>
                  </a:lnTo>
                  <a:cubicBezTo>
                    <a:pt x="2537" y="513"/>
                    <a:pt x="2525" y="548"/>
                    <a:pt x="2525" y="608"/>
                  </a:cubicBezTo>
                  <a:cubicBezTo>
                    <a:pt x="2525" y="798"/>
                    <a:pt x="2692" y="965"/>
                    <a:pt x="2882" y="965"/>
                  </a:cubicBezTo>
                  <a:cubicBezTo>
                    <a:pt x="2978" y="965"/>
                    <a:pt x="3049" y="1036"/>
                    <a:pt x="3049" y="1132"/>
                  </a:cubicBezTo>
                  <a:cubicBezTo>
                    <a:pt x="3049" y="1215"/>
                    <a:pt x="2978" y="1286"/>
                    <a:pt x="2882" y="1286"/>
                  </a:cubicBezTo>
                  <a:lnTo>
                    <a:pt x="2275" y="1286"/>
                  </a:lnTo>
                  <a:cubicBezTo>
                    <a:pt x="2037" y="1286"/>
                    <a:pt x="1846" y="1489"/>
                    <a:pt x="1846" y="1727"/>
                  </a:cubicBezTo>
                  <a:lnTo>
                    <a:pt x="1846" y="1787"/>
                  </a:lnTo>
                  <a:cubicBezTo>
                    <a:pt x="1846" y="1870"/>
                    <a:pt x="1763" y="1941"/>
                    <a:pt x="1680" y="1941"/>
                  </a:cubicBezTo>
                  <a:lnTo>
                    <a:pt x="1120" y="1941"/>
                  </a:lnTo>
                  <a:cubicBezTo>
                    <a:pt x="1037" y="1941"/>
                    <a:pt x="965" y="2025"/>
                    <a:pt x="965" y="2108"/>
                  </a:cubicBezTo>
                  <a:cubicBezTo>
                    <a:pt x="965" y="2203"/>
                    <a:pt x="1037" y="2275"/>
                    <a:pt x="1120" y="2275"/>
                  </a:cubicBezTo>
                  <a:lnTo>
                    <a:pt x="1680" y="2275"/>
                  </a:lnTo>
                  <a:cubicBezTo>
                    <a:pt x="1942" y="2275"/>
                    <a:pt x="2168" y="2048"/>
                    <a:pt x="2168" y="1787"/>
                  </a:cubicBezTo>
                  <a:lnTo>
                    <a:pt x="2168" y="1727"/>
                  </a:lnTo>
                  <a:cubicBezTo>
                    <a:pt x="2168" y="1667"/>
                    <a:pt x="2216" y="1620"/>
                    <a:pt x="2275" y="1620"/>
                  </a:cubicBezTo>
                  <a:lnTo>
                    <a:pt x="2882" y="1620"/>
                  </a:lnTo>
                  <a:cubicBezTo>
                    <a:pt x="3156" y="1620"/>
                    <a:pt x="3370" y="1394"/>
                    <a:pt x="3370" y="1132"/>
                  </a:cubicBezTo>
                  <a:cubicBezTo>
                    <a:pt x="3311" y="858"/>
                    <a:pt x="3097" y="632"/>
                    <a:pt x="2823" y="632"/>
                  </a:cubicBezTo>
                  <a:cubicBezTo>
                    <a:pt x="2811" y="632"/>
                    <a:pt x="2799" y="620"/>
                    <a:pt x="2811" y="620"/>
                  </a:cubicBezTo>
                  <a:cubicBezTo>
                    <a:pt x="2882" y="298"/>
                    <a:pt x="2644" y="1"/>
                    <a:pt x="2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4" name="Google Shape;12464;p62"/>
            <p:cNvSpPr/>
            <p:nvPr/>
          </p:nvSpPr>
          <p:spPr>
            <a:xfrm>
              <a:off x="3630050" y="2983551"/>
              <a:ext cx="93539" cy="73120"/>
            </a:xfrm>
            <a:custGeom>
              <a:avLst/>
              <a:gdLst/>
              <a:ahLst/>
              <a:cxnLst/>
              <a:rect l="l" t="t" r="r" b="b"/>
              <a:pathLst>
                <a:path w="2941" h="2299" extrusionOk="0">
                  <a:moveTo>
                    <a:pt x="1703" y="1"/>
                  </a:moveTo>
                  <a:cubicBezTo>
                    <a:pt x="1429" y="1"/>
                    <a:pt x="1203" y="227"/>
                    <a:pt x="1203" y="501"/>
                  </a:cubicBezTo>
                  <a:lnTo>
                    <a:pt x="1203" y="561"/>
                  </a:lnTo>
                  <a:cubicBezTo>
                    <a:pt x="1203" y="620"/>
                    <a:pt x="1167" y="656"/>
                    <a:pt x="1107" y="656"/>
                  </a:cubicBezTo>
                  <a:lnTo>
                    <a:pt x="488" y="656"/>
                  </a:lnTo>
                  <a:cubicBezTo>
                    <a:pt x="226" y="656"/>
                    <a:pt x="0" y="882"/>
                    <a:pt x="0" y="1156"/>
                  </a:cubicBezTo>
                  <a:cubicBezTo>
                    <a:pt x="0" y="1418"/>
                    <a:pt x="226" y="1644"/>
                    <a:pt x="488" y="1644"/>
                  </a:cubicBezTo>
                  <a:cubicBezTo>
                    <a:pt x="512" y="1644"/>
                    <a:pt x="512" y="1656"/>
                    <a:pt x="512" y="1656"/>
                  </a:cubicBezTo>
                  <a:cubicBezTo>
                    <a:pt x="512" y="1656"/>
                    <a:pt x="488" y="1704"/>
                    <a:pt x="488" y="1775"/>
                  </a:cubicBezTo>
                  <a:lnTo>
                    <a:pt x="488" y="1811"/>
                  </a:lnTo>
                  <a:cubicBezTo>
                    <a:pt x="488" y="2073"/>
                    <a:pt x="714" y="2299"/>
                    <a:pt x="988" y="2299"/>
                  </a:cubicBezTo>
                  <a:lnTo>
                    <a:pt x="1322" y="2299"/>
                  </a:lnTo>
                  <a:cubicBezTo>
                    <a:pt x="1596" y="2299"/>
                    <a:pt x="1834" y="2085"/>
                    <a:pt x="1822" y="1751"/>
                  </a:cubicBezTo>
                  <a:cubicBezTo>
                    <a:pt x="1822" y="1692"/>
                    <a:pt x="1857" y="1644"/>
                    <a:pt x="1917" y="1644"/>
                  </a:cubicBezTo>
                  <a:cubicBezTo>
                    <a:pt x="2238" y="1644"/>
                    <a:pt x="2453" y="1358"/>
                    <a:pt x="2417" y="1061"/>
                  </a:cubicBezTo>
                  <a:cubicBezTo>
                    <a:pt x="2417" y="1049"/>
                    <a:pt x="2417" y="1037"/>
                    <a:pt x="2429" y="1037"/>
                  </a:cubicBezTo>
                  <a:cubicBezTo>
                    <a:pt x="2691" y="1037"/>
                    <a:pt x="2917" y="811"/>
                    <a:pt x="2917" y="537"/>
                  </a:cubicBezTo>
                  <a:lnTo>
                    <a:pt x="2917" y="501"/>
                  </a:lnTo>
                  <a:cubicBezTo>
                    <a:pt x="2941" y="201"/>
                    <a:pt x="2687" y="16"/>
                    <a:pt x="2503" y="16"/>
                  </a:cubicBezTo>
                  <a:cubicBezTo>
                    <a:pt x="2409" y="16"/>
                    <a:pt x="2334" y="63"/>
                    <a:pt x="2322" y="168"/>
                  </a:cubicBezTo>
                  <a:cubicBezTo>
                    <a:pt x="2310" y="263"/>
                    <a:pt x="2381" y="346"/>
                    <a:pt x="2477" y="346"/>
                  </a:cubicBezTo>
                  <a:cubicBezTo>
                    <a:pt x="2548" y="346"/>
                    <a:pt x="2619" y="430"/>
                    <a:pt x="2619" y="513"/>
                  </a:cubicBezTo>
                  <a:lnTo>
                    <a:pt x="2619" y="561"/>
                  </a:lnTo>
                  <a:cubicBezTo>
                    <a:pt x="2619" y="644"/>
                    <a:pt x="2548" y="727"/>
                    <a:pt x="2453" y="727"/>
                  </a:cubicBezTo>
                  <a:cubicBezTo>
                    <a:pt x="2250" y="727"/>
                    <a:pt x="2072" y="918"/>
                    <a:pt x="2119" y="1144"/>
                  </a:cubicBezTo>
                  <a:cubicBezTo>
                    <a:pt x="2131" y="1239"/>
                    <a:pt x="2060" y="1334"/>
                    <a:pt x="1953" y="1334"/>
                  </a:cubicBezTo>
                  <a:cubicBezTo>
                    <a:pt x="1703" y="1334"/>
                    <a:pt x="1488" y="1537"/>
                    <a:pt x="1500" y="1799"/>
                  </a:cubicBezTo>
                  <a:cubicBezTo>
                    <a:pt x="1524" y="1918"/>
                    <a:pt x="1429" y="1989"/>
                    <a:pt x="1345" y="1989"/>
                  </a:cubicBezTo>
                  <a:lnTo>
                    <a:pt x="1000" y="1989"/>
                  </a:lnTo>
                  <a:cubicBezTo>
                    <a:pt x="905" y="1989"/>
                    <a:pt x="834" y="1918"/>
                    <a:pt x="834" y="1823"/>
                  </a:cubicBezTo>
                  <a:lnTo>
                    <a:pt x="834" y="1787"/>
                  </a:lnTo>
                  <a:cubicBezTo>
                    <a:pt x="834" y="1751"/>
                    <a:pt x="845" y="1727"/>
                    <a:pt x="845" y="1668"/>
                  </a:cubicBezTo>
                  <a:cubicBezTo>
                    <a:pt x="845" y="1477"/>
                    <a:pt x="691" y="1323"/>
                    <a:pt x="488" y="1323"/>
                  </a:cubicBezTo>
                  <a:cubicBezTo>
                    <a:pt x="405" y="1323"/>
                    <a:pt x="333" y="1239"/>
                    <a:pt x="333" y="1156"/>
                  </a:cubicBezTo>
                  <a:cubicBezTo>
                    <a:pt x="333" y="1061"/>
                    <a:pt x="405" y="989"/>
                    <a:pt x="488" y="989"/>
                  </a:cubicBezTo>
                  <a:lnTo>
                    <a:pt x="1107" y="989"/>
                  </a:lnTo>
                  <a:cubicBezTo>
                    <a:pt x="1345" y="989"/>
                    <a:pt x="1536" y="799"/>
                    <a:pt x="1536" y="561"/>
                  </a:cubicBezTo>
                  <a:lnTo>
                    <a:pt x="1536" y="501"/>
                  </a:lnTo>
                  <a:cubicBezTo>
                    <a:pt x="1536" y="406"/>
                    <a:pt x="1607" y="334"/>
                    <a:pt x="1703" y="334"/>
                  </a:cubicBezTo>
                  <a:lnTo>
                    <a:pt x="1798" y="334"/>
                  </a:lnTo>
                  <a:cubicBezTo>
                    <a:pt x="1893" y="334"/>
                    <a:pt x="1965" y="263"/>
                    <a:pt x="1965" y="168"/>
                  </a:cubicBezTo>
                  <a:cubicBezTo>
                    <a:pt x="1965" y="84"/>
                    <a:pt x="1893" y="1"/>
                    <a:pt x="1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5" name="Google Shape;12465;p62"/>
          <p:cNvGrpSpPr/>
          <p:nvPr/>
        </p:nvGrpSpPr>
        <p:grpSpPr>
          <a:xfrm>
            <a:off x="3082845" y="2920959"/>
            <a:ext cx="356375" cy="302338"/>
            <a:chOff x="3082845" y="2920959"/>
            <a:chExt cx="356375" cy="302338"/>
          </a:xfrm>
        </p:grpSpPr>
        <p:sp>
          <p:nvSpPr>
            <p:cNvPr id="12466" name="Google Shape;12466;p62"/>
            <p:cNvSpPr/>
            <p:nvPr/>
          </p:nvSpPr>
          <p:spPr>
            <a:xfrm>
              <a:off x="3082845" y="2920959"/>
              <a:ext cx="217769" cy="130432"/>
            </a:xfrm>
            <a:custGeom>
              <a:avLst/>
              <a:gdLst/>
              <a:ahLst/>
              <a:cxnLst/>
              <a:rect l="l" t="t" r="r" b="b"/>
              <a:pathLst>
                <a:path w="6847" h="4101" extrusionOk="0">
                  <a:moveTo>
                    <a:pt x="2394" y="2767"/>
                  </a:moveTo>
                  <a:lnTo>
                    <a:pt x="2394" y="3779"/>
                  </a:lnTo>
                  <a:cubicBezTo>
                    <a:pt x="2156" y="3743"/>
                    <a:pt x="2060" y="3683"/>
                    <a:pt x="1477" y="3469"/>
                  </a:cubicBezTo>
                  <a:cubicBezTo>
                    <a:pt x="1358" y="3374"/>
                    <a:pt x="1370" y="3231"/>
                    <a:pt x="1453" y="3136"/>
                  </a:cubicBezTo>
                  <a:cubicBezTo>
                    <a:pt x="2025" y="2874"/>
                    <a:pt x="2132" y="2790"/>
                    <a:pt x="2394" y="2767"/>
                  </a:cubicBezTo>
                  <a:close/>
                  <a:moveTo>
                    <a:pt x="3696" y="1"/>
                  </a:moveTo>
                  <a:cubicBezTo>
                    <a:pt x="3572" y="1"/>
                    <a:pt x="3447" y="74"/>
                    <a:pt x="3394" y="207"/>
                  </a:cubicBezTo>
                  <a:lnTo>
                    <a:pt x="2799" y="1600"/>
                  </a:lnTo>
                  <a:cubicBezTo>
                    <a:pt x="2727" y="1767"/>
                    <a:pt x="2691" y="1933"/>
                    <a:pt x="2691" y="2100"/>
                  </a:cubicBezTo>
                  <a:cubicBezTo>
                    <a:pt x="2691" y="2195"/>
                    <a:pt x="2715" y="2290"/>
                    <a:pt x="2727" y="2398"/>
                  </a:cubicBezTo>
                  <a:lnTo>
                    <a:pt x="2572" y="2398"/>
                  </a:lnTo>
                  <a:cubicBezTo>
                    <a:pt x="2060" y="2398"/>
                    <a:pt x="1798" y="2588"/>
                    <a:pt x="1286" y="2826"/>
                  </a:cubicBezTo>
                  <a:cubicBezTo>
                    <a:pt x="1227" y="2850"/>
                    <a:pt x="1120" y="2957"/>
                    <a:pt x="1072" y="3088"/>
                  </a:cubicBezTo>
                  <a:lnTo>
                    <a:pt x="167" y="3088"/>
                  </a:lnTo>
                  <a:cubicBezTo>
                    <a:pt x="72" y="3088"/>
                    <a:pt x="1" y="3160"/>
                    <a:pt x="1" y="3255"/>
                  </a:cubicBezTo>
                  <a:cubicBezTo>
                    <a:pt x="1" y="3338"/>
                    <a:pt x="72" y="3421"/>
                    <a:pt x="167" y="3421"/>
                  </a:cubicBezTo>
                  <a:lnTo>
                    <a:pt x="1060" y="3421"/>
                  </a:lnTo>
                  <a:cubicBezTo>
                    <a:pt x="1096" y="3588"/>
                    <a:pt x="1227" y="3719"/>
                    <a:pt x="1310" y="3743"/>
                  </a:cubicBezTo>
                  <a:cubicBezTo>
                    <a:pt x="1906" y="3981"/>
                    <a:pt x="2120" y="4100"/>
                    <a:pt x="2537" y="4100"/>
                  </a:cubicBezTo>
                  <a:lnTo>
                    <a:pt x="5061" y="4100"/>
                  </a:lnTo>
                  <a:cubicBezTo>
                    <a:pt x="5156" y="4100"/>
                    <a:pt x="5227" y="4029"/>
                    <a:pt x="5227" y="3933"/>
                  </a:cubicBezTo>
                  <a:cubicBezTo>
                    <a:pt x="5227" y="3850"/>
                    <a:pt x="5156" y="3779"/>
                    <a:pt x="5061" y="3779"/>
                  </a:cubicBezTo>
                  <a:lnTo>
                    <a:pt x="2715" y="3779"/>
                  </a:lnTo>
                  <a:lnTo>
                    <a:pt x="2715" y="2731"/>
                  </a:lnTo>
                  <a:lnTo>
                    <a:pt x="6668" y="2731"/>
                  </a:lnTo>
                  <a:cubicBezTo>
                    <a:pt x="6763" y="2731"/>
                    <a:pt x="6835" y="2659"/>
                    <a:pt x="6835" y="2564"/>
                  </a:cubicBezTo>
                  <a:cubicBezTo>
                    <a:pt x="6847" y="2481"/>
                    <a:pt x="6775" y="2409"/>
                    <a:pt x="6680" y="2409"/>
                  </a:cubicBezTo>
                  <a:lnTo>
                    <a:pt x="5239" y="2409"/>
                  </a:lnTo>
                  <a:cubicBezTo>
                    <a:pt x="5763" y="1159"/>
                    <a:pt x="5775" y="1207"/>
                    <a:pt x="5775" y="1088"/>
                  </a:cubicBezTo>
                  <a:cubicBezTo>
                    <a:pt x="5775" y="945"/>
                    <a:pt x="5704" y="826"/>
                    <a:pt x="5573" y="766"/>
                  </a:cubicBezTo>
                  <a:lnTo>
                    <a:pt x="5358" y="683"/>
                  </a:lnTo>
                  <a:cubicBezTo>
                    <a:pt x="5337" y="674"/>
                    <a:pt x="5314" y="669"/>
                    <a:pt x="5292" y="669"/>
                  </a:cubicBezTo>
                  <a:cubicBezTo>
                    <a:pt x="5228" y="669"/>
                    <a:pt x="5167" y="705"/>
                    <a:pt x="5132" y="766"/>
                  </a:cubicBezTo>
                  <a:cubicBezTo>
                    <a:pt x="5108" y="862"/>
                    <a:pt x="5132" y="945"/>
                    <a:pt x="5227" y="993"/>
                  </a:cubicBezTo>
                  <a:lnTo>
                    <a:pt x="5430" y="1088"/>
                  </a:lnTo>
                  <a:lnTo>
                    <a:pt x="4870" y="2409"/>
                  </a:lnTo>
                  <a:lnTo>
                    <a:pt x="3072" y="2409"/>
                  </a:lnTo>
                  <a:cubicBezTo>
                    <a:pt x="3037" y="2314"/>
                    <a:pt x="3025" y="2219"/>
                    <a:pt x="3025" y="2112"/>
                  </a:cubicBezTo>
                  <a:cubicBezTo>
                    <a:pt x="3025" y="1993"/>
                    <a:pt x="3049" y="1850"/>
                    <a:pt x="3096" y="1743"/>
                  </a:cubicBezTo>
                  <a:lnTo>
                    <a:pt x="3691" y="338"/>
                  </a:lnTo>
                  <a:lnTo>
                    <a:pt x="4596" y="731"/>
                  </a:lnTo>
                  <a:cubicBezTo>
                    <a:pt x="4619" y="736"/>
                    <a:pt x="4641" y="739"/>
                    <a:pt x="4662" y="739"/>
                  </a:cubicBezTo>
                  <a:cubicBezTo>
                    <a:pt x="4729" y="739"/>
                    <a:pt x="4786" y="708"/>
                    <a:pt x="4823" y="635"/>
                  </a:cubicBezTo>
                  <a:cubicBezTo>
                    <a:pt x="4858" y="552"/>
                    <a:pt x="4823" y="457"/>
                    <a:pt x="4739" y="409"/>
                  </a:cubicBezTo>
                  <a:lnTo>
                    <a:pt x="3822" y="28"/>
                  </a:lnTo>
                  <a:cubicBezTo>
                    <a:pt x="3782" y="10"/>
                    <a:pt x="3739" y="1"/>
                    <a:pt x="36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7" name="Google Shape;12467;p62"/>
            <p:cNvSpPr/>
            <p:nvPr/>
          </p:nvSpPr>
          <p:spPr>
            <a:xfrm>
              <a:off x="3260444" y="2997577"/>
              <a:ext cx="178776" cy="225720"/>
            </a:xfrm>
            <a:custGeom>
              <a:avLst/>
              <a:gdLst/>
              <a:ahLst/>
              <a:cxnLst/>
              <a:rect l="l" t="t" r="r" b="b"/>
              <a:pathLst>
                <a:path w="5621" h="7097" extrusionOk="0">
                  <a:moveTo>
                    <a:pt x="4775" y="334"/>
                  </a:moveTo>
                  <a:cubicBezTo>
                    <a:pt x="5061" y="334"/>
                    <a:pt x="5299" y="584"/>
                    <a:pt x="5299" y="858"/>
                  </a:cubicBezTo>
                  <a:cubicBezTo>
                    <a:pt x="5299" y="1143"/>
                    <a:pt x="5061" y="1382"/>
                    <a:pt x="4775" y="1382"/>
                  </a:cubicBezTo>
                  <a:lnTo>
                    <a:pt x="4358" y="1382"/>
                  </a:lnTo>
                  <a:lnTo>
                    <a:pt x="4358" y="334"/>
                  </a:lnTo>
                  <a:close/>
                  <a:moveTo>
                    <a:pt x="1751" y="0"/>
                  </a:moveTo>
                  <a:cubicBezTo>
                    <a:pt x="1667" y="0"/>
                    <a:pt x="1584" y="72"/>
                    <a:pt x="1584" y="167"/>
                  </a:cubicBezTo>
                  <a:cubicBezTo>
                    <a:pt x="1584" y="250"/>
                    <a:pt x="1667" y="322"/>
                    <a:pt x="1751" y="322"/>
                  </a:cubicBezTo>
                  <a:lnTo>
                    <a:pt x="4037" y="322"/>
                  </a:lnTo>
                  <a:lnTo>
                    <a:pt x="4037" y="1370"/>
                  </a:lnTo>
                  <a:lnTo>
                    <a:pt x="167" y="1370"/>
                  </a:lnTo>
                  <a:cubicBezTo>
                    <a:pt x="72" y="1370"/>
                    <a:pt x="1" y="1441"/>
                    <a:pt x="1" y="1536"/>
                  </a:cubicBezTo>
                  <a:cubicBezTo>
                    <a:pt x="1" y="1620"/>
                    <a:pt x="72" y="1691"/>
                    <a:pt x="167" y="1691"/>
                  </a:cubicBezTo>
                  <a:lnTo>
                    <a:pt x="774" y="1691"/>
                  </a:lnTo>
                  <a:lnTo>
                    <a:pt x="774" y="2025"/>
                  </a:lnTo>
                  <a:cubicBezTo>
                    <a:pt x="774" y="2465"/>
                    <a:pt x="1144" y="2846"/>
                    <a:pt x="1596" y="2846"/>
                  </a:cubicBezTo>
                  <a:lnTo>
                    <a:pt x="1834" y="2846"/>
                  </a:lnTo>
                  <a:lnTo>
                    <a:pt x="1834" y="3477"/>
                  </a:lnTo>
                  <a:cubicBezTo>
                    <a:pt x="1834" y="4072"/>
                    <a:pt x="2310" y="4549"/>
                    <a:pt x="2906" y="4549"/>
                  </a:cubicBezTo>
                  <a:lnTo>
                    <a:pt x="3060" y="4549"/>
                  </a:lnTo>
                  <a:cubicBezTo>
                    <a:pt x="3561" y="4549"/>
                    <a:pt x="3953" y="4953"/>
                    <a:pt x="3953" y="5442"/>
                  </a:cubicBezTo>
                  <a:lnTo>
                    <a:pt x="3953" y="6930"/>
                  </a:lnTo>
                  <a:cubicBezTo>
                    <a:pt x="3953" y="7025"/>
                    <a:pt x="4037" y="7097"/>
                    <a:pt x="4120" y="7097"/>
                  </a:cubicBezTo>
                  <a:cubicBezTo>
                    <a:pt x="4215" y="7097"/>
                    <a:pt x="4287" y="7025"/>
                    <a:pt x="4287" y="6930"/>
                  </a:cubicBezTo>
                  <a:lnTo>
                    <a:pt x="4287" y="5442"/>
                  </a:lnTo>
                  <a:cubicBezTo>
                    <a:pt x="4287" y="4775"/>
                    <a:pt x="3739" y="4227"/>
                    <a:pt x="3060" y="4227"/>
                  </a:cubicBezTo>
                  <a:lnTo>
                    <a:pt x="2906" y="4227"/>
                  </a:lnTo>
                  <a:cubicBezTo>
                    <a:pt x="2501" y="4227"/>
                    <a:pt x="2156" y="3894"/>
                    <a:pt x="2156" y="3477"/>
                  </a:cubicBezTo>
                  <a:lnTo>
                    <a:pt x="2156" y="2846"/>
                  </a:lnTo>
                  <a:cubicBezTo>
                    <a:pt x="2176" y="2846"/>
                    <a:pt x="2207" y="2848"/>
                    <a:pt x="2246" y="2848"/>
                  </a:cubicBezTo>
                  <a:cubicBezTo>
                    <a:pt x="2344" y="2848"/>
                    <a:pt x="2491" y="2836"/>
                    <a:pt x="2644" y="2751"/>
                  </a:cubicBezTo>
                  <a:cubicBezTo>
                    <a:pt x="2739" y="2703"/>
                    <a:pt x="2763" y="2620"/>
                    <a:pt x="2727" y="2525"/>
                  </a:cubicBezTo>
                  <a:cubicBezTo>
                    <a:pt x="2694" y="2467"/>
                    <a:pt x="2638" y="2432"/>
                    <a:pt x="2579" y="2432"/>
                  </a:cubicBezTo>
                  <a:cubicBezTo>
                    <a:pt x="2553" y="2432"/>
                    <a:pt x="2526" y="2439"/>
                    <a:pt x="2501" y="2453"/>
                  </a:cubicBezTo>
                  <a:cubicBezTo>
                    <a:pt x="2422" y="2496"/>
                    <a:pt x="2374" y="2505"/>
                    <a:pt x="2191" y="2505"/>
                  </a:cubicBezTo>
                  <a:cubicBezTo>
                    <a:pt x="2068" y="2505"/>
                    <a:pt x="1887" y="2501"/>
                    <a:pt x="1596" y="2501"/>
                  </a:cubicBezTo>
                  <a:cubicBezTo>
                    <a:pt x="1322" y="2501"/>
                    <a:pt x="1096" y="2275"/>
                    <a:pt x="1096" y="2013"/>
                  </a:cubicBezTo>
                  <a:lnTo>
                    <a:pt x="1096" y="1715"/>
                  </a:lnTo>
                  <a:lnTo>
                    <a:pt x="2763" y="1715"/>
                  </a:lnTo>
                  <a:lnTo>
                    <a:pt x="2763" y="2084"/>
                  </a:lnTo>
                  <a:cubicBezTo>
                    <a:pt x="2751" y="2191"/>
                    <a:pt x="2846" y="2263"/>
                    <a:pt x="2930" y="2263"/>
                  </a:cubicBezTo>
                  <a:cubicBezTo>
                    <a:pt x="3025" y="2263"/>
                    <a:pt x="3096" y="2203"/>
                    <a:pt x="3096" y="2108"/>
                  </a:cubicBezTo>
                  <a:lnTo>
                    <a:pt x="3096" y="2036"/>
                  </a:lnTo>
                  <a:lnTo>
                    <a:pt x="3096" y="1715"/>
                  </a:lnTo>
                  <a:lnTo>
                    <a:pt x="4775" y="1715"/>
                  </a:lnTo>
                  <a:cubicBezTo>
                    <a:pt x="5251" y="1715"/>
                    <a:pt x="5620" y="1322"/>
                    <a:pt x="5620" y="858"/>
                  </a:cubicBezTo>
                  <a:cubicBezTo>
                    <a:pt x="5620" y="620"/>
                    <a:pt x="5537" y="417"/>
                    <a:pt x="5370" y="250"/>
                  </a:cubicBezTo>
                  <a:cubicBezTo>
                    <a:pt x="5204" y="84"/>
                    <a:pt x="5001" y="0"/>
                    <a:pt x="4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68" name="Google Shape;12468;p62"/>
          <p:cNvGrpSpPr/>
          <p:nvPr/>
        </p:nvGrpSpPr>
        <p:grpSpPr>
          <a:xfrm>
            <a:off x="2639038" y="2894942"/>
            <a:ext cx="355612" cy="355612"/>
            <a:chOff x="2639038" y="2894942"/>
            <a:chExt cx="355612" cy="355612"/>
          </a:xfrm>
        </p:grpSpPr>
        <p:sp>
          <p:nvSpPr>
            <p:cNvPr id="12469" name="Google Shape;12469;p62"/>
            <p:cNvSpPr/>
            <p:nvPr/>
          </p:nvSpPr>
          <p:spPr>
            <a:xfrm>
              <a:off x="2748479" y="2894942"/>
              <a:ext cx="246171" cy="304119"/>
            </a:xfrm>
            <a:custGeom>
              <a:avLst/>
              <a:gdLst/>
              <a:ahLst/>
              <a:cxnLst/>
              <a:rect l="l" t="t" r="r" b="b"/>
              <a:pathLst>
                <a:path w="7740" h="9562" extrusionOk="0">
                  <a:moveTo>
                    <a:pt x="7168" y="1930"/>
                  </a:moveTo>
                  <a:cubicBezTo>
                    <a:pt x="7299" y="1930"/>
                    <a:pt x="7406" y="2037"/>
                    <a:pt x="7406" y="2168"/>
                  </a:cubicBezTo>
                  <a:lnTo>
                    <a:pt x="7418" y="3156"/>
                  </a:lnTo>
                  <a:cubicBezTo>
                    <a:pt x="7418" y="3287"/>
                    <a:pt x="7311" y="3394"/>
                    <a:pt x="7180" y="3394"/>
                  </a:cubicBezTo>
                  <a:lnTo>
                    <a:pt x="6882" y="3394"/>
                  </a:lnTo>
                  <a:lnTo>
                    <a:pt x="6882" y="2715"/>
                  </a:lnTo>
                  <a:cubicBezTo>
                    <a:pt x="6882" y="2632"/>
                    <a:pt x="6811" y="2561"/>
                    <a:pt x="6715" y="2561"/>
                  </a:cubicBezTo>
                  <a:cubicBezTo>
                    <a:pt x="6632" y="2561"/>
                    <a:pt x="6549" y="2632"/>
                    <a:pt x="6549" y="2715"/>
                  </a:cubicBezTo>
                  <a:lnTo>
                    <a:pt x="6549" y="3394"/>
                  </a:lnTo>
                  <a:lnTo>
                    <a:pt x="6096" y="3394"/>
                  </a:lnTo>
                  <a:lnTo>
                    <a:pt x="6096" y="1930"/>
                  </a:lnTo>
                  <a:close/>
                  <a:moveTo>
                    <a:pt x="4549" y="1"/>
                  </a:moveTo>
                  <a:cubicBezTo>
                    <a:pt x="4227" y="1"/>
                    <a:pt x="3965" y="251"/>
                    <a:pt x="3965" y="572"/>
                  </a:cubicBezTo>
                  <a:lnTo>
                    <a:pt x="3965" y="1608"/>
                  </a:lnTo>
                  <a:lnTo>
                    <a:pt x="3239" y="1608"/>
                  </a:lnTo>
                  <a:cubicBezTo>
                    <a:pt x="3144" y="1608"/>
                    <a:pt x="3072" y="1680"/>
                    <a:pt x="3072" y="1763"/>
                  </a:cubicBezTo>
                  <a:cubicBezTo>
                    <a:pt x="3072" y="1858"/>
                    <a:pt x="3144" y="1930"/>
                    <a:pt x="3239" y="1930"/>
                  </a:cubicBezTo>
                  <a:lnTo>
                    <a:pt x="3965" y="1930"/>
                  </a:lnTo>
                  <a:lnTo>
                    <a:pt x="3965" y="3394"/>
                  </a:lnTo>
                  <a:lnTo>
                    <a:pt x="3417" y="3394"/>
                  </a:lnTo>
                  <a:lnTo>
                    <a:pt x="3417" y="3013"/>
                  </a:lnTo>
                  <a:cubicBezTo>
                    <a:pt x="3417" y="2930"/>
                    <a:pt x="3334" y="2858"/>
                    <a:pt x="3251" y="2858"/>
                  </a:cubicBezTo>
                  <a:cubicBezTo>
                    <a:pt x="3155" y="2858"/>
                    <a:pt x="3084" y="2930"/>
                    <a:pt x="3084" y="3013"/>
                  </a:cubicBezTo>
                  <a:lnTo>
                    <a:pt x="3084" y="3394"/>
                  </a:lnTo>
                  <a:lnTo>
                    <a:pt x="2382" y="3394"/>
                  </a:lnTo>
                  <a:lnTo>
                    <a:pt x="2382" y="2715"/>
                  </a:lnTo>
                  <a:cubicBezTo>
                    <a:pt x="2382" y="2632"/>
                    <a:pt x="2310" y="2561"/>
                    <a:pt x="2227" y="2561"/>
                  </a:cubicBezTo>
                  <a:cubicBezTo>
                    <a:pt x="2132" y="2561"/>
                    <a:pt x="2060" y="2632"/>
                    <a:pt x="2060" y="2715"/>
                  </a:cubicBezTo>
                  <a:lnTo>
                    <a:pt x="2060" y="3394"/>
                  </a:lnTo>
                  <a:lnTo>
                    <a:pt x="1358" y="3394"/>
                  </a:lnTo>
                  <a:lnTo>
                    <a:pt x="1358" y="3013"/>
                  </a:lnTo>
                  <a:cubicBezTo>
                    <a:pt x="1358" y="2930"/>
                    <a:pt x="1286" y="2858"/>
                    <a:pt x="1191" y="2858"/>
                  </a:cubicBezTo>
                  <a:cubicBezTo>
                    <a:pt x="1108" y="2858"/>
                    <a:pt x="1036" y="2930"/>
                    <a:pt x="1036" y="3013"/>
                  </a:cubicBezTo>
                  <a:lnTo>
                    <a:pt x="1036" y="3394"/>
                  </a:lnTo>
                  <a:lnTo>
                    <a:pt x="334" y="3394"/>
                  </a:lnTo>
                  <a:lnTo>
                    <a:pt x="334" y="2715"/>
                  </a:lnTo>
                  <a:cubicBezTo>
                    <a:pt x="334" y="2632"/>
                    <a:pt x="262" y="2561"/>
                    <a:pt x="167" y="2561"/>
                  </a:cubicBezTo>
                  <a:cubicBezTo>
                    <a:pt x="84" y="2561"/>
                    <a:pt x="0" y="2632"/>
                    <a:pt x="0" y="2715"/>
                  </a:cubicBezTo>
                  <a:lnTo>
                    <a:pt x="0" y="3549"/>
                  </a:lnTo>
                  <a:lnTo>
                    <a:pt x="0" y="4799"/>
                  </a:lnTo>
                  <a:cubicBezTo>
                    <a:pt x="0" y="4894"/>
                    <a:pt x="84" y="4966"/>
                    <a:pt x="167" y="4966"/>
                  </a:cubicBezTo>
                  <a:cubicBezTo>
                    <a:pt x="262" y="4966"/>
                    <a:pt x="334" y="4894"/>
                    <a:pt x="334" y="4799"/>
                  </a:cubicBezTo>
                  <a:lnTo>
                    <a:pt x="334" y="3716"/>
                  </a:lnTo>
                  <a:lnTo>
                    <a:pt x="3977" y="3716"/>
                  </a:lnTo>
                  <a:lnTo>
                    <a:pt x="3977" y="5692"/>
                  </a:lnTo>
                  <a:cubicBezTo>
                    <a:pt x="3977" y="5787"/>
                    <a:pt x="4048" y="5859"/>
                    <a:pt x="4144" y="5859"/>
                  </a:cubicBezTo>
                  <a:cubicBezTo>
                    <a:pt x="4227" y="5859"/>
                    <a:pt x="4310" y="5787"/>
                    <a:pt x="4310" y="5692"/>
                  </a:cubicBezTo>
                  <a:lnTo>
                    <a:pt x="4310" y="560"/>
                  </a:lnTo>
                  <a:cubicBezTo>
                    <a:pt x="4310" y="429"/>
                    <a:pt x="4406" y="322"/>
                    <a:pt x="4549" y="322"/>
                  </a:cubicBezTo>
                  <a:lnTo>
                    <a:pt x="5525" y="322"/>
                  </a:lnTo>
                  <a:cubicBezTo>
                    <a:pt x="5656" y="322"/>
                    <a:pt x="5763" y="429"/>
                    <a:pt x="5763" y="560"/>
                  </a:cubicBezTo>
                  <a:lnTo>
                    <a:pt x="5763" y="8871"/>
                  </a:lnTo>
                  <a:cubicBezTo>
                    <a:pt x="5763" y="9073"/>
                    <a:pt x="5596" y="9240"/>
                    <a:pt x="5394" y="9240"/>
                  </a:cubicBezTo>
                  <a:lnTo>
                    <a:pt x="1727" y="9240"/>
                  </a:lnTo>
                  <a:cubicBezTo>
                    <a:pt x="1643" y="9240"/>
                    <a:pt x="1572" y="9312"/>
                    <a:pt x="1572" y="9407"/>
                  </a:cubicBezTo>
                  <a:cubicBezTo>
                    <a:pt x="1572" y="9490"/>
                    <a:pt x="1643" y="9562"/>
                    <a:pt x="1727" y="9562"/>
                  </a:cubicBezTo>
                  <a:lnTo>
                    <a:pt x="5394" y="9562"/>
                  </a:lnTo>
                  <a:cubicBezTo>
                    <a:pt x="5787" y="9562"/>
                    <a:pt x="6108" y="9252"/>
                    <a:pt x="6108" y="8847"/>
                  </a:cubicBezTo>
                  <a:lnTo>
                    <a:pt x="6108" y="3704"/>
                  </a:lnTo>
                  <a:lnTo>
                    <a:pt x="7180" y="3704"/>
                  </a:lnTo>
                  <a:cubicBezTo>
                    <a:pt x="7489" y="3704"/>
                    <a:pt x="7739" y="3454"/>
                    <a:pt x="7739" y="3120"/>
                  </a:cubicBezTo>
                  <a:lnTo>
                    <a:pt x="7739" y="2144"/>
                  </a:lnTo>
                  <a:cubicBezTo>
                    <a:pt x="7739" y="1858"/>
                    <a:pt x="7489" y="1608"/>
                    <a:pt x="7180" y="1608"/>
                  </a:cubicBezTo>
                  <a:lnTo>
                    <a:pt x="6108" y="1608"/>
                  </a:lnTo>
                  <a:lnTo>
                    <a:pt x="6108" y="572"/>
                  </a:lnTo>
                  <a:cubicBezTo>
                    <a:pt x="6108" y="263"/>
                    <a:pt x="5858" y="1"/>
                    <a:pt x="5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0" name="Google Shape;12470;p62"/>
            <p:cNvSpPr/>
            <p:nvPr/>
          </p:nvSpPr>
          <p:spPr>
            <a:xfrm>
              <a:off x="2639038" y="2945703"/>
              <a:ext cx="246552" cy="304851"/>
            </a:xfrm>
            <a:custGeom>
              <a:avLst/>
              <a:gdLst/>
              <a:ahLst/>
              <a:cxnLst/>
              <a:rect l="l" t="t" r="r" b="b"/>
              <a:pathLst>
                <a:path w="7752" h="9585" extrusionOk="0">
                  <a:moveTo>
                    <a:pt x="3429" y="7989"/>
                  </a:moveTo>
                  <a:lnTo>
                    <a:pt x="3429" y="9013"/>
                  </a:lnTo>
                  <a:cubicBezTo>
                    <a:pt x="3429" y="9144"/>
                    <a:pt x="3322" y="9251"/>
                    <a:pt x="3191" y="9251"/>
                  </a:cubicBezTo>
                  <a:lnTo>
                    <a:pt x="2215" y="9251"/>
                  </a:lnTo>
                  <a:cubicBezTo>
                    <a:pt x="2072" y="9251"/>
                    <a:pt x="1977" y="9144"/>
                    <a:pt x="1977" y="9013"/>
                  </a:cubicBezTo>
                  <a:lnTo>
                    <a:pt x="1977" y="7989"/>
                  </a:lnTo>
                  <a:close/>
                  <a:moveTo>
                    <a:pt x="2358" y="0"/>
                  </a:moveTo>
                  <a:cubicBezTo>
                    <a:pt x="1977" y="0"/>
                    <a:pt x="1643" y="322"/>
                    <a:pt x="1643" y="715"/>
                  </a:cubicBezTo>
                  <a:lnTo>
                    <a:pt x="1643" y="5870"/>
                  </a:lnTo>
                  <a:lnTo>
                    <a:pt x="572" y="5870"/>
                  </a:lnTo>
                  <a:cubicBezTo>
                    <a:pt x="262" y="5870"/>
                    <a:pt x="0" y="6120"/>
                    <a:pt x="0" y="6430"/>
                  </a:cubicBezTo>
                  <a:lnTo>
                    <a:pt x="0" y="7418"/>
                  </a:lnTo>
                  <a:cubicBezTo>
                    <a:pt x="0" y="7727"/>
                    <a:pt x="250" y="7977"/>
                    <a:pt x="572" y="7977"/>
                  </a:cubicBezTo>
                  <a:lnTo>
                    <a:pt x="1643" y="7977"/>
                  </a:lnTo>
                  <a:lnTo>
                    <a:pt x="1643" y="9013"/>
                  </a:lnTo>
                  <a:cubicBezTo>
                    <a:pt x="1643" y="9323"/>
                    <a:pt x="1905" y="9585"/>
                    <a:pt x="2215" y="9585"/>
                  </a:cubicBezTo>
                  <a:lnTo>
                    <a:pt x="3191" y="9585"/>
                  </a:lnTo>
                  <a:cubicBezTo>
                    <a:pt x="3513" y="9585"/>
                    <a:pt x="3763" y="9335"/>
                    <a:pt x="3763" y="9013"/>
                  </a:cubicBezTo>
                  <a:lnTo>
                    <a:pt x="3763" y="7977"/>
                  </a:lnTo>
                  <a:lnTo>
                    <a:pt x="4489" y="7977"/>
                  </a:lnTo>
                  <a:cubicBezTo>
                    <a:pt x="4584" y="7977"/>
                    <a:pt x="4656" y="7906"/>
                    <a:pt x="4656" y="7823"/>
                  </a:cubicBezTo>
                  <a:cubicBezTo>
                    <a:pt x="4656" y="7727"/>
                    <a:pt x="4584" y="7656"/>
                    <a:pt x="4489" y="7656"/>
                  </a:cubicBezTo>
                  <a:lnTo>
                    <a:pt x="560" y="7656"/>
                  </a:lnTo>
                  <a:cubicBezTo>
                    <a:pt x="429" y="7656"/>
                    <a:pt x="322" y="7549"/>
                    <a:pt x="322" y="7418"/>
                  </a:cubicBezTo>
                  <a:lnTo>
                    <a:pt x="322" y="6430"/>
                  </a:lnTo>
                  <a:cubicBezTo>
                    <a:pt x="322" y="6299"/>
                    <a:pt x="429" y="6192"/>
                    <a:pt x="560" y="6192"/>
                  </a:cubicBezTo>
                  <a:lnTo>
                    <a:pt x="1120" y="6192"/>
                  </a:lnTo>
                  <a:lnTo>
                    <a:pt x="1120" y="6870"/>
                  </a:lnTo>
                  <a:cubicBezTo>
                    <a:pt x="1120" y="6954"/>
                    <a:pt x="1203" y="7025"/>
                    <a:pt x="1286" y="7025"/>
                  </a:cubicBezTo>
                  <a:cubicBezTo>
                    <a:pt x="1382" y="7025"/>
                    <a:pt x="1453" y="6954"/>
                    <a:pt x="1453" y="6870"/>
                  </a:cubicBezTo>
                  <a:lnTo>
                    <a:pt x="1453" y="6192"/>
                  </a:lnTo>
                  <a:lnTo>
                    <a:pt x="2155" y="6192"/>
                  </a:lnTo>
                  <a:lnTo>
                    <a:pt x="2155" y="6608"/>
                  </a:lnTo>
                  <a:cubicBezTo>
                    <a:pt x="2155" y="6704"/>
                    <a:pt x="2227" y="6775"/>
                    <a:pt x="2322" y="6775"/>
                  </a:cubicBezTo>
                  <a:cubicBezTo>
                    <a:pt x="2405" y="6775"/>
                    <a:pt x="2477" y="6704"/>
                    <a:pt x="2477" y="6608"/>
                  </a:cubicBezTo>
                  <a:lnTo>
                    <a:pt x="2477" y="6192"/>
                  </a:lnTo>
                  <a:lnTo>
                    <a:pt x="3179" y="6192"/>
                  </a:lnTo>
                  <a:lnTo>
                    <a:pt x="3179" y="6870"/>
                  </a:lnTo>
                  <a:cubicBezTo>
                    <a:pt x="3179" y="6954"/>
                    <a:pt x="3239" y="7013"/>
                    <a:pt x="3334" y="7025"/>
                  </a:cubicBezTo>
                  <a:lnTo>
                    <a:pt x="3358" y="7025"/>
                  </a:lnTo>
                  <a:cubicBezTo>
                    <a:pt x="3453" y="7025"/>
                    <a:pt x="3525" y="6954"/>
                    <a:pt x="3525" y="6870"/>
                  </a:cubicBezTo>
                  <a:lnTo>
                    <a:pt x="3525" y="6192"/>
                  </a:lnTo>
                  <a:lnTo>
                    <a:pt x="4227" y="6192"/>
                  </a:lnTo>
                  <a:lnTo>
                    <a:pt x="4227" y="6608"/>
                  </a:lnTo>
                  <a:cubicBezTo>
                    <a:pt x="4227" y="6704"/>
                    <a:pt x="4299" y="6775"/>
                    <a:pt x="4382" y="6775"/>
                  </a:cubicBezTo>
                  <a:cubicBezTo>
                    <a:pt x="4477" y="6775"/>
                    <a:pt x="4549" y="6704"/>
                    <a:pt x="4549" y="6608"/>
                  </a:cubicBezTo>
                  <a:lnTo>
                    <a:pt x="4549" y="6192"/>
                  </a:lnTo>
                  <a:lnTo>
                    <a:pt x="5251" y="6192"/>
                  </a:lnTo>
                  <a:lnTo>
                    <a:pt x="5251" y="6870"/>
                  </a:lnTo>
                  <a:cubicBezTo>
                    <a:pt x="5251" y="6954"/>
                    <a:pt x="5323" y="7025"/>
                    <a:pt x="5418" y="7025"/>
                  </a:cubicBezTo>
                  <a:cubicBezTo>
                    <a:pt x="5501" y="7025"/>
                    <a:pt x="5573" y="6954"/>
                    <a:pt x="5573" y="6870"/>
                  </a:cubicBezTo>
                  <a:lnTo>
                    <a:pt x="5573" y="6192"/>
                  </a:lnTo>
                  <a:lnTo>
                    <a:pt x="6275" y="6192"/>
                  </a:lnTo>
                  <a:lnTo>
                    <a:pt x="6275" y="6608"/>
                  </a:lnTo>
                  <a:cubicBezTo>
                    <a:pt x="6275" y="6704"/>
                    <a:pt x="6346" y="6775"/>
                    <a:pt x="6442" y="6775"/>
                  </a:cubicBezTo>
                  <a:cubicBezTo>
                    <a:pt x="6525" y="6775"/>
                    <a:pt x="6608" y="6704"/>
                    <a:pt x="6608" y="6608"/>
                  </a:cubicBezTo>
                  <a:lnTo>
                    <a:pt x="6608" y="6192"/>
                  </a:lnTo>
                  <a:lnTo>
                    <a:pt x="7418" y="6192"/>
                  </a:lnTo>
                  <a:lnTo>
                    <a:pt x="7418" y="6870"/>
                  </a:lnTo>
                  <a:cubicBezTo>
                    <a:pt x="7418" y="6954"/>
                    <a:pt x="7501" y="7025"/>
                    <a:pt x="7585" y="7025"/>
                  </a:cubicBezTo>
                  <a:cubicBezTo>
                    <a:pt x="7680" y="7025"/>
                    <a:pt x="7751" y="6954"/>
                    <a:pt x="7751" y="6870"/>
                  </a:cubicBezTo>
                  <a:lnTo>
                    <a:pt x="7751" y="5965"/>
                  </a:lnTo>
                  <a:lnTo>
                    <a:pt x="7751" y="4775"/>
                  </a:lnTo>
                  <a:cubicBezTo>
                    <a:pt x="7751" y="4679"/>
                    <a:pt x="7680" y="4608"/>
                    <a:pt x="7585" y="4608"/>
                  </a:cubicBezTo>
                  <a:cubicBezTo>
                    <a:pt x="7501" y="4608"/>
                    <a:pt x="7418" y="4679"/>
                    <a:pt x="7418" y="4775"/>
                  </a:cubicBezTo>
                  <a:lnTo>
                    <a:pt x="7418" y="5858"/>
                  </a:lnTo>
                  <a:lnTo>
                    <a:pt x="3775" y="5858"/>
                  </a:lnTo>
                  <a:lnTo>
                    <a:pt x="3775" y="3882"/>
                  </a:lnTo>
                  <a:cubicBezTo>
                    <a:pt x="3775" y="3786"/>
                    <a:pt x="3703" y="3715"/>
                    <a:pt x="3608" y="3715"/>
                  </a:cubicBezTo>
                  <a:cubicBezTo>
                    <a:pt x="3525" y="3715"/>
                    <a:pt x="3441" y="3786"/>
                    <a:pt x="3441" y="3882"/>
                  </a:cubicBezTo>
                  <a:lnTo>
                    <a:pt x="3441" y="5858"/>
                  </a:lnTo>
                  <a:lnTo>
                    <a:pt x="1989" y="5858"/>
                  </a:lnTo>
                  <a:lnTo>
                    <a:pt x="1989" y="703"/>
                  </a:lnTo>
                  <a:cubicBezTo>
                    <a:pt x="1989" y="500"/>
                    <a:pt x="2155" y="334"/>
                    <a:pt x="2358" y="334"/>
                  </a:cubicBezTo>
                  <a:lnTo>
                    <a:pt x="6025" y="334"/>
                  </a:lnTo>
                  <a:cubicBezTo>
                    <a:pt x="6108" y="334"/>
                    <a:pt x="6192" y="262"/>
                    <a:pt x="6192" y="167"/>
                  </a:cubicBezTo>
                  <a:cubicBezTo>
                    <a:pt x="6192" y="84"/>
                    <a:pt x="6108" y="0"/>
                    <a:pt x="6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71" name="Google Shape;12471;p62"/>
          <p:cNvGrpSpPr/>
          <p:nvPr/>
        </p:nvGrpSpPr>
        <p:grpSpPr>
          <a:xfrm>
            <a:off x="2194468" y="2938865"/>
            <a:ext cx="355993" cy="267766"/>
            <a:chOff x="2194468" y="2938865"/>
            <a:chExt cx="355993" cy="267766"/>
          </a:xfrm>
        </p:grpSpPr>
        <p:sp>
          <p:nvSpPr>
            <p:cNvPr id="12472" name="Google Shape;12472;p62"/>
            <p:cNvSpPr/>
            <p:nvPr/>
          </p:nvSpPr>
          <p:spPr>
            <a:xfrm>
              <a:off x="2194468" y="2938865"/>
              <a:ext cx="355993" cy="267766"/>
            </a:xfrm>
            <a:custGeom>
              <a:avLst/>
              <a:gdLst/>
              <a:ahLst/>
              <a:cxnLst/>
              <a:rect l="l" t="t" r="r" b="b"/>
              <a:pathLst>
                <a:path w="11193" h="8419" extrusionOk="0">
                  <a:moveTo>
                    <a:pt x="10859" y="1727"/>
                  </a:moveTo>
                  <a:lnTo>
                    <a:pt x="10859" y="7692"/>
                  </a:lnTo>
                  <a:cubicBezTo>
                    <a:pt x="10859" y="7919"/>
                    <a:pt x="10680" y="8097"/>
                    <a:pt x="10466" y="8097"/>
                  </a:cubicBezTo>
                  <a:lnTo>
                    <a:pt x="727" y="8097"/>
                  </a:lnTo>
                  <a:cubicBezTo>
                    <a:pt x="501" y="8097"/>
                    <a:pt x="322" y="7919"/>
                    <a:pt x="322" y="7692"/>
                  </a:cubicBezTo>
                  <a:lnTo>
                    <a:pt x="322" y="1727"/>
                  </a:lnTo>
                  <a:close/>
                  <a:moveTo>
                    <a:pt x="727" y="1"/>
                  </a:moveTo>
                  <a:cubicBezTo>
                    <a:pt x="322" y="1"/>
                    <a:pt x="0" y="322"/>
                    <a:pt x="0" y="727"/>
                  </a:cubicBezTo>
                  <a:lnTo>
                    <a:pt x="0" y="7692"/>
                  </a:lnTo>
                  <a:cubicBezTo>
                    <a:pt x="0" y="8097"/>
                    <a:pt x="322" y="8419"/>
                    <a:pt x="727" y="8419"/>
                  </a:cubicBezTo>
                  <a:lnTo>
                    <a:pt x="10466" y="8419"/>
                  </a:lnTo>
                  <a:cubicBezTo>
                    <a:pt x="10859" y="8419"/>
                    <a:pt x="11192" y="8097"/>
                    <a:pt x="11192" y="7692"/>
                  </a:cubicBezTo>
                  <a:lnTo>
                    <a:pt x="11192" y="727"/>
                  </a:lnTo>
                  <a:cubicBezTo>
                    <a:pt x="11192" y="322"/>
                    <a:pt x="10859" y="1"/>
                    <a:pt x="10466" y="1"/>
                  </a:cubicBezTo>
                  <a:lnTo>
                    <a:pt x="3644" y="1"/>
                  </a:lnTo>
                  <a:cubicBezTo>
                    <a:pt x="3560" y="1"/>
                    <a:pt x="3477" y="72"/>
                    <a:pt x="3477" y="168"/>
                  </a:cubicBezTo>
                  <a:cubicBezTo>
                    <a:pt x="3477" y="251"/>
                    <a:pt x="3560" y="322"/>
                    <a:pt x="3644" y="322"/>
                  </a:cubicBezTo>
                  <a:lnTo>
                    <a:pt x="10466" y="322"/>
                  </a:lnTo>
                  <a:cubicBezTo>
                    <a:pt x="10680" y="322"/>
                    <a:pt x="10859" y="501"/>
                    <a:pt x="10859" y="727"/>
                  </a:cubicBezTo>
                  <a:lnTo>
                    <a:pt x="10859" y="1394"/>
                  </a:lnTo>
                  <a:lnTo>
                    <a:pt x="322" y="1394"/>
                  </a:lnTo>
                  <a:lnTo>
                    <a:pt x="322" y="727"/>
                  </a:lnTo>
                  <a:cubicBezTo>
                    <a:pt x="322" y="501"/>
                    <a:pt x="501" y="322"/>
                    <a:pt x="727" y="322"/>
                  </a:cubicBezTo>
                  <a:lnTo>
                    <a:pt x="2989" y="322"/>
                  </a:lnTo>
                  <a:cubicBezTo>
                    <a:pt x="3084" y="322"/>
                    <a:pt x="3156" y="251"/>
                    <a:pt x="3156" y="156"/>
                  </a:cubicBezTo>
                  <a:cubicBezTo>
                    <a:pt x="3156" y="72"/>
                    <a:pt x="3084" y="1"/>
                    <a:pt x="2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3" name="Google Shape;12473;p62"/>
            <p:cNvSpPr/>
            <p:nvPr/>
          </p:nvSpPr>
          <p:spPr>
            <a:xfrm>
              <a:off x="2217940"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6" y="334"/>
                    <a:pt x="1227" y="251"/>
                    <a:pt x="1227" y="167"/>
                  </a:cubicBezTo>
                  <a:cubicBezTo>
                    <a:pt x="1227" y="72"/>
                    <a:pt x="1156"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4" name="Google Shape;12474;p62"/>
            <p:cNvSpPr/>
            <p:nvPr/>
          </p:nvSpPr>
          <p:spPr>
            <a:xfrm>
              <a:off x="2270959" y="3005528"/>
              <a:ext cx="39025" cy="10623"/>
            </a:xfrm>
            <a:custGeom>
              <a:avLst/>
              <a:gdLst/>
              <a:ahLst/>
              <a:cxnLst/>
              <a:rect l="l" t="t" r="r" b="b"/>
              <a:pathLst>
                <a:path w="1227" h="334" extrusionOk="0">
                  <a:moveTo>
                    <a:pt x="167" y="0"/>
                  </a:moveTo>
                  <a:cubicBezTo>
                    <a:pt x="84" y="0"/>
                    <a:pt x="1" y="72"/>
                    <a:pt x="1" y="167"/>
                  </a:cubicBezTo>
                  <a:cubicBezTo>
                    <a:pt x="1"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5" name="Google Shape;12475;p62"/>
            <p:cNvSpPr/>
            <p:nvPr/>
          </p:nvSpPr>
          <p:spPr>
            <a:xfrm>
              <a:off x="2323978" y="3005528"/>
              <a:ext cx="39025" cy="10623"/>
            </a:xfrm>
            <a:custGeom>
              <a:avLst/>
              <a:gdLst/>
              <a:ahLst/>
              <a:cxnLst/>
              <a:rect l="l" t="t" r="r" b="b"/>
              <a:pathLst>
                <a:path w="1227" h="334" extrusionOk="0">
                  <a:moveTo>
                    <a:pt x="167" y="0"/>
                  </a:moveTo>
                  <a:cubicBezTo>
                    <a:pt x="84" y="0"/>
                    <a:pt x="0" y="72"/>
                    <a:pt x="0" y="167"/>
                  </a:cubicBezTo>
                  <a:cubicBezTo>
                    <a:pt x="0" y="251"/>
                    <a:pt x="84"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6" name="Google Shape;12476;p62"/>
            <p:cNvSpPr/>
            <p:nvPr/>
          </p:nvSpPr>
          <p:spPr>
            <a:xfrm>
              <a:off x="2376996"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55" y="334"/>
                    <a:pt x="1227" y="251"/>
                    <a:pt x="1227" y="167"/>
                  </a:cubicBezTo>
                  <a:cubicBezTo>
                    <a:pt x="1227" y="72"/>
                    <a:pt x="1155"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7" name="Google Shape;12477;p62"/>
            <p:cNvSpPr/>
            <p:nvPr/>
          </p:nvSpPr>
          <p:spPr>
            <a:xfrm>
              <a:off x="2429634"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7" y="251"/>
                    <a:pt x="1227" y="167"/>
                  </a:cubicBezTo>
                  <a:cubicBezTo>
                    <a:pt x="1227"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8" name="Google Shape;12478;p62"/>
            <p:cNvSpPr/>
            <p:nvPr/>
          </p:nvSpPr>
          <p:spPr>
            <a:xfrm>
              <a:off x="2482653" y="3005528"/>
              <a:ext cx="39025" cy="10623"/>
            </a:xfrm>
            <a:custGeom>
              <a:avLst/>
              <a:gdLst/>
              <a:ahLst/>
              <a:cxnLst/>
              <a:rect l="l" t="t" r="r" b="b"/>
              <a:pathLst>
                <a:path w="1227" h="334" extrusionOk="0">
                  <a:moveTo>
                    <a:pt x="167" y="0"/>
                  </a:moveTo>
                  <a:cubicBezTo>
                    <a:pt x="72" y="0"/>
                    <a:pt x="0" y="72"/>
                    <a:pt x="0" y="167"/>
                  </a:cubicBezTo>
                  <a:cubicBezTo>
                    <a:pt x="0" y="251"/>
                    <a:pt x="72" y="334"/>
                    <a:pt x="167" y="334"/>
                  </a:cubicBezTo>
                  <a:lnTo>
                    <a:pt x="1060" y="334"/>
                  </a:lnTo>
                  <a:cubicBezTo>
                    <a:pt x="1143" y="334"/>
                    <a:pt x="1226" y="251"/>
                    <a:pt x="1226" y="167"/>
                  </a:cubicBezTo>
                  <a:cubicBezTo>
                    <a:pt x="1215" y="72"/>
                    <a:pt x="1143"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9" name="Google Shape;12479;p62"/>
            <p:cNvSpPr/>
            <p:nvPr/>
          </p:nvSpPr>
          <p:spPr>
            <a:xfrm>
              <a:off x="2223251" y="2962369"/>
              <a:ext cx="259433" cy="10623"/>
            </a:xfrm>
            <a:custGeom>
              <a:avLst/>
              <a:gdLst/>
              <a:ahLst/>
              <a:cxnLst/>
              <a:rect l="l" t="t" r="r" b="b"/>
              <a:pathLst>
                <a:path w="8157" h="334" extrusionOk="0">
                  <a:moveTo>
                    <a:pt x="167" y="0"/>
                  </a:moveTo>
                  <a:cubicBezTo>
                    <a:pt x="72" y="0"/>
                    <a:pt x="0" y="84"/>
                    <a:pt x="0" y="167"/>
                  </a:cubicBezTo>
                  <a:cubicBezTo>
                    <a:pt x="0" y="262"/>
                    <a:pt x="72" y="334"/>
                    <a:pt x="167" y="334"/>
                  </a:cubicBezTo>
                  <a:lnTo>
                    <a:pt x="7989" y="334"/>
                  </a:lnTo>
                  <a:cubicBezTo>
                    <a:pt x="8085" y="334"/>
                    <a:pt x="8156" y="262"/>
                    <a:pt x="8156" y="167"/>
                  </a:cubicBezTo>
                  <a:cubicBezTo>
                    <a:pt x="8156" y="84"/>
                    <a:pt x="8085" y="0"/>
                    <a:pt x="7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0" name="Google Shape;12480;p62"/>
            <p:cNvSpPr/>
            <p:nvPr/>
          </p:nvSpPr>
          <p:spPr>
            <a:xfrm>
              <a:off x="2502340" y="2954927"/>
              <a:ext cx="30692" cy="25635"/>
            </a:xfrm>
            <a:custGeom>
              <a:avLst/>
              <a:gdLst/>
              <a:ahLst/>
              <a:cxnLst/>
              <a:rect l="l" t="t" r="r" b="b"/>
              <a:pathLst>
                <a:path w="965" h="806" extrusionOk="0">
                  <a:moveTo>
                    <a:pt x="228" y="0"/>
                  </a:moveTo>
                  <a:cubicBezTo>
                    <a:pt x="183" y="0"/>
                    <a:pt x="139" y="18"/>
                    <a:pt x="107" y="56"/>
                  </a:cubicBezTo>
                  <a:cubicBezTo>
                    <a:pt x="48" y="139"/>
                    <a:pt x="48" y="234"/>
                    <a:pt x="119" y="294"/>
                  </a:cubicBezTo>
                  <a:lnTo>
                    <a:pt x="238" y="401"/>
                  </a:lnTo>
                  <a:lnTo>
                    <a:pt x="119" y="508"/>
                  </a:lnTo>
                  <a:cubicBezTo>
                    <a:pt x="0" y="615"/>
                    <a:pt x="84" y="806"/>
                    <a:pt x="226" y="806"/>
                  </a:cubicBezTo>
                  <a:cubicBezTo>
                    <a:pt x="334" y="806"/>
                    <a:pt x="357" y="734"/>
                    <a:pt x="488" y="627"/>
                  </a:cubicBezTo>
                  <a:cubicBezTo>
                    <a:pt x="596" y="734"/>
                    <a:pt x="643" y="806"/>
                    <a:pt x="738" y="806"/>
                  </a:cubicBezTo>
                  <a:cubicBezTo>
                    <a:pt x="881" y="806"/>
                    <a:pt x="965" y="615"/>
                    <a:pt x="846" y="508"/>
                  </a:cubicBezTo>
                  <a:lnTo>
                    <a:pt x="750" y="401"/>
                  </a:lnTo>
                  <a:lnTo>
                    <a:pt x="869" y="294"/>
                  </a:lnTo>
                  <a:cubicBezTo>
                    <a:pt x="941" y="234"/>
                    <a:pt x="941" y="139"/>
                    <a:pt x="881" y="56"/>
                  </a:cubicBezTo>
                  <a:cubicBezTo>
                    <a:pt x="850" y="18"/>
                    <a:pt x="806" y="0"/>
                    <a:pt x="761" y="0"/>
                  </a:cubicBezTo>
                  <a:cubicBezTo>
                    <a:pt x="720" y="0"/>
                    <a:pt x="677" y="15"/>
                    <a:pt x="643" y="44"/>
                  </a:cubicBezTo>
                  <a:lnTo>
                    <a:pt x="500" y="175"/>
                  </a:lnTo>
                  <a:lnTo>
                    <a:pt x="346" y="44"/>
                  </a:lnTo>
                  <a:cubicBezTo>
                    <a:pt x="311" y="15"/>
                    <a:pt x="269" y="0"/>
                    <a:pt x="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1" name="Google Shape;12481;p62"/>
            <p:cNvSpPr/>
            <p:nvPr/>
          </p:nvSpPr>
          <p:spPr>
            <a:xfrm>
              <a:off x="2217940" y="3032404"/>
              <a:ext cx="101140" cy="83361"/>
            </a:xfrm>
            <a:custGeom>
              <a:avLst/>
              <a:gdLst/>
              <a:ahLst/>
              <a:cxnLst/>
              <a:rect l="l" t="t" r="r" b="b"/>
              <a:pathLst>
                <a:path w="3180" h="2621" extrusionOk="0">
                  <a:moveTo>
                    <a:pt x="525" y="1"/>
                  </a:moveTo>
                  <a:cubicBezTo>
                    <a:pt x="227" y="1"/>
                    <a:pt x="1" y="239"/>
                    <a:pt x="1" y="525"/>
                  </a:cubicBezTo>
                  <a:lnTo>
                    <a:pt x="1" y="2465"/>
                  </a:lnTo>
                  <a:cubicBezTo>
                    <a:pt x="1" y="2549"/>
                    <a:pt x="84" y="2620"/>
                    <a:pt x="167" y="2620"/>
                  </a:cubicBezTo>
                  <a:cubicBezTo>
                    <a:pt x="263" y="2620"/>
                    <a:pt x="334" y="2549"/>
                    <a:pt x="334" y="2465"/>
                  </a:cubicBezTo>
                  <a:lnTo>
                    <a:pt x="334" y="525"/>
                  </a:lnTo>
                  <a:cubicBezTo>
                    <a:pt x="334" y="418"/>
                    <a:pt x="417" y="334"/>
                    <a:pt x="525" y="334"/>
                  </a:cubicBezTo>
                  <a:lnTo>
                    <a:pt x="3013" y="334"/>
                  </a:lnTo>
                  <a:cubicBezTo>
                    <a:pt x="3096" y="334"/>
                    <a:pt x="3180" y="263"/>
                    <a:pt x="3180" y="168"/>
                  </a:cubicBezTo>
                  <a:cubicBezTo>
                    <a:pt x="3180" y="84"/>
                    <a:pt x="3096"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2" name="Google Shape;12482;p62"/>
            <p:cNvSpPr/>
            <p:nvPr/>
          </p:nvSpPr>
          <p:spPr>
            <a:xfrm>
              <a:off x="2217558" y="3082401"/>
              <a:ext cx="133708" cy="96592"/>
            </a:xfrm>
            <a:custGeom>
              <a:avLst/>
              <a:gdLst/>
              <a:ahLst/>
              <a:cxnLst/>
              <a:rect l="l" t="t" r="r" b="b"/>
              <a:pathLst>
                <a:path w="4204" h="3037" extrusionOk="0">
                  <a:moveTo>
                    <a:pt x="1918" y="322"/>
                  </a:moveTo>
                  <a:cubicBezTo>
                    <a:pt x="2061" y="322"/>
                    <a:pt x="2180" y="393"/>
                    <a:pt x="2239" y="512"/>
                  </a:cubicBezTo>
                  <a:lnTo>
                    <a:pt x="2549" y="1143"/>
                  </a:lnTo>
                  <a:cubicBezTo>
                    <a:pt x="2382" y="1322"/>
                    <a:pt x="2156" y="1405"/>
                    <a:pt x="1918" y="1405"/>
                  </a:cubicBezTo>
                  <a:cubicBezTo>
                    <a:pt x="1680" y="1405"/>
                    <a:pt x="1465" y="1298"/>
                    <a:pt x="1299" y="1143"/>
                  </a:cubicBezTo>
                  <a:lnTo>
                    <a:pt x="1608" y="512"/>
                  </a:lnTo>
                  <a:cubicBezTo>
                    <a:pt x="1668" y="393"/>
                    <a:pt x="1787" y="322"/>
                    <a:pt x="1918" y="322"/>
                  </a:cubicBezTo>
                  <a:close/>
                  <a:moveTo>
                    <a:pt x="2727" y="1453"/>
                  </a:moveTo>
                  <a:lnTo>
                    <a:pt x="3346" y="2691"/>
                  </a:lnTo>
                  <a:lnTo>
                    <a:pt x="525" y="2691"/>
                  </a:lnTo>
                  <a:lnTo>
                    <a:pt x="1144" y="1453"/>
                  </a:lnTo>
                  <a:cubicBezTo>
                    <a:pt x="1370" y="1644"/>
                    <a:pt x="1644" y="1751"/>
                    <a:pt x="1941" y="1751"/>
                  </a:cubicBezTo>
                  <a:cubicBezTo>
                    <a:pt x="2239" y="1751"/>
                    <a:pt x="2501" y="1644"/>
                    <a:pt x="2727" y="1453"/>
                  </a:cubicBezTo>
                  <a:close/>
                  <a:moveTo>
                    <a:pt x="1918" y="0"/>
                  </a:moveTo>
                  <a:cubicBezTo>
                    <a:pt x="1668" y="0"/>
                    <a:pt x="1430" y="143"/>
                    <a:pt x="1310" y="370"/>
                  </a:cubicBezTo>
                  <a:lnTo>
                    <a:pt x="941" y="1084"/>
                  </a:lnTo>
                  <a:lnTo>
                    <a:pt x="322" y="2275"/>
                  </a:lnTo>
                  <a:lnTo>
                    <a:pt x="322" y="1572"/>
                  </a:lnTo>
                  <a:cubicBezTo>
                    <a:pt x="322" y="1489"/>
                    <a:pt x="251" y="1405"/>
                    <a:pt x="167" y="1405"/>
                  </a:cubicBezTo>
                  <a:cubicBezTo>
                    <a:pt x="72" y="1405"/>
                    <a:pt x="1" y="1489"/>
                    <a:pt x="1" y="1572"/>
                  </a:cubicBezTo>
                  <a:lnTo>
                    <a:pt x="1" y="2501"/>
                  </a:lnTo>
                  <a:cubicBezTo>
                    <a:pt x="1" y="2644"/>
                    <a:pt x="60" y="2775"/>
                    <a:pt x="167" y="2882"/>
                  </a:cubicBezTo>
                  <a:cubicBezTo>
                    <a:pt x="263" y="2977"/>
                    <a:pt x="382" y="3037"/>
                    <a:pt x="525" y="3037"/>
                  </a:cubicBezTo>
                  <a:lnTo>
                    <a:pt x="4001" y="3037"/>
                  </a:lnTo>
                  <a:cubicBezTo>
                    <a:pt x="4097" y="3037"/>
                    <a:pt x="4168" y="2953"/>
                    <a:pt x="4168" y="2870"/>
                  </a:cubicBezTo>
                  <a:cubicBezTo>
                    <a:pt x="4204" y="2763"/>
                    <a:pt x="4120" y="2691"/>
                    <a:pt x="4037" y="2691"/>
                  </a:cubicBezTo>
                  <a:lnTo>
                    <a:pt x="3704" y="2691"/>
                  </a:lnTo>
                  <a:lnTo>
                    <a:pt x="2537" y="370"/>
                  </a:lnTo>
                  <a:cubicBezTo>
                    <a:pt x="2418" y="131"/>
                    <a:pt x="2180"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3" name="Google Shape;12483;p62"/>
            <p:cNvSpPr/>
            <p:nvPr/>
          </p:nvSpPr>
          <p:spPr>
            <a:xfrm>
              <a:off x="2329671" y="3032404"/>
              <a:ext cx="82566" cy="145444"/>
            </a:xfrm>
            <a:custGeom>
              <a:avLst/>
              <a:gdLst/>
              <a:ahLst/>
              <a:cxnLst/>
              <a:rect l="l" t="t" r="r" b="b"/>
              <a:pathLst>
                <a:path w="2596" h="4573" extrusionOk="0">
                  <a:moveTo>
                    <a:pt x="167" y="1"/>
                  </a:moveTo>
                  <a:cubicBezTo>
                    <a:pt x="71" y="1"/>
                    <a:pt x="0" y="84"/>
                    <a:pt x="0" y="168"/>
                  </a:cubicBezTo>
                  <a:cubicBezTo>
                    <a:pt x="0" y="263"/>
                    <a:pt x="71" y="334"/>
                    <a:pt x="167" y="334"/>
                  </a:cubicBezTo>
                  <a:lnTo>
                    <a:pt x="2072" y="334"/>
                  </a:lnTo>
                  <a:cubicBezTo>
                    <a:pt x="2179" y="334"/>
                    <a:pt x="2262" y="418"/>
                    <a:pt x="2262" y="525"/>
                  </a:cubicBezTo>
                  <a:lnTo>
                    <a:pt x="2262" y="4049"/>
                  </a:lnTo>
                  <a:cubicBezTo>
                    <a:pt x="2262" y="4156"/>
                    <a:pt x="2179" y="4251"/>
                    <a:pt x="2072" y="4251"/>
                  </a:cubicBezTo>
                  <a:lnTo>
                    <a:pt x="1179" y="4251"/>
                  </a:lnTo>
                  <a:cubicBezTo>
                    <a:pt x="1095" y="4251"/>
                    <a:pt x="1012" y="4323"/>
                    <a:pt x="1012" y="4406"/>
                  </a:cubicBezTo>
                  <a:cubicBezTo>
                    <a:pt x="1012" y="4501"/>
                    <a:pt x="1095" y="4573"/>
                    <a:pt x="1179" y="4573"/>
                  </a:cubicBezTo>
                  <a:lnTo>
                    <a:pt x="2072" y="4573"/>
                  </a:lnTo>
                  <a:cubicBezTo>
                    <a:pt x="2369" y="4573"/>
                    <a:pt x="2596" y="4335"/>
                    <a:pt x="2596" y="4049"/>
                  </a:cubicBezTo>
                  <a:lnTo>
                    <a:pt x="2596" y="525"/>
                  </a:lnTo>
                  <a:cubicBezTo>
                    <a:pt x="2596" y="239"/>
                    <a:pt x="2357"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4" name="Google Shape;12484;p62"/>
            <p:cNvSpPr/>
            <p:nvPr/>
          </p:nvSpPr>
          <p:spPr>
            <a:xfrm>
              <a:off x="2437585" y="3032404"/>
              <a:ext cx="84092" cy="10655"/>
            </a:xfrm>
            <a:custGeom>
              <a:avLst/>
              <a:gdLst/>
              <a:ahLst/>
              <a:cxnLst/>
              <a:rect l="l" t="t" r="r" b="b"/>
              <a:pathLst>
                <a:path w="2644" h="335" extrusionOk="0">
                  <a:moveTo>
                    <a:pt x="167" y="1"/>
                  </a:moveTo>
                  <a:cubicBezTo>
                    <a:pt x="84" y="1"/>
                    <a:pt x="0" y="84"/>
                    <a:pt x="0" y="168"/>
                  </a:cubicBezTo>
                  <a:cubicBezTo>
                    <a:pt x="0" y="263"/>
                    <a:pt x="84" y="334"/>
                    <a:pt x="167" y="334"/>
                  </a:cubicBezTo>
                  <a:lnTo>
                    <a:pt x="2477" y="334"/>
                  </a:lnTo>
                  <a:cubicBezTo>
                    <a:pt x="2560" y="334"/>
                    <a:pt x="2643" y="263"/>
                    <a:pt x="2643" y="168"/>
                  </a:cubicBezTo>
                  <a:cubicBezTo>
                    <a:pt x="2632" y="84"/>
                    <a:pt x="2560"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5" name="Google Shape;12485;p62"/>
            <p:cNvSpPr/>
            <p:nvPr/>
          </p:nvSpPr>
          <p:spPr>
            <a:xfrm>
              <a:off x="2427344" y="3055144"/>
              <a:ext cx="94334" cy="10623"/>
            </a:xfrm>
            <a:custGeom>
              <a:avLst/>
              <a:gdLst/>
              <a:ahLst/>
              <a:cxnLst/>
              <a:rect l="l" t="t" r="r" b="b"/>
              <a:pathLst>
                <a:path w="2966" h="334" extrusionOk="0">
                  <a:moveTo>
                    <a:pt x="168" y="0"/>
                  </a:moveTo>
                  <a:cubicBezTo>
                    <a:pt x="72" y="0"/>
                    <a:pt x="1" y="84"/>
                    <a:pt x="1" y="167"/>
                  </a:cubicBezTo>
                  <a:cubicBezTo>
                    <a:pt x="1" y="262"/>
                    <a:pt x="72" y="334"/>
                    <a:pt x="168" y="334"/>
                  </a:cubicBezTo>
                  <a:lnTo>
                    <a:pt x="2799" y="334"/>
                  </a:lnTo>
                  <a:cubicBezTo>
                    <a:pt x="2882" y="334"/>
                    <a:pt x="2965" y="262"/>
                    <a:pt x="2965" y="167"/>
                  </a:cubicBezTo>
                  <a:cubicBezTo>
                    <a:pt x="2954" y="84"/>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6" name="Google Shape;12486;p62"/>
            <p:cNvSpPr/>
            <p:nvPr/>
          </p:nvSpPr>
          <p:spPr>
            <a:xfrm>
              <a:off x="2427344" y="3077853"/>
              <a:ext cx="94334" cy="10623"/>
            </a:xfrm>
            <a:custGeom>
              <a:avLst/>
              <a:gdLst/>
              <a:ahLst/>
              <a:cxnLst/>
              <a:rect l="l" t="t" r="r" b="b"/>
              <a:pathLst>
                <a:path w="2966" h="334" extrusionOk="0">
                  <a:moveTo>
                    <a:pt x="168" y="1"/>
                  </a:moveTo>
                  <a:cubicBezTo>
                    <a:pt x="72" y="1"/>
                    <a:pt x="1" y="84"/>
                    <a:pt x="1" y="167"/>
                  </a:cubicBezTo>
                  <a:cubicBezTo>
                    <a:pt x="1" y="263"/>
                    <a:pt x="72" y="334"/>
                    <a:pt x="168" y="334"/>
                  </a:cubicBezTo>
                  <a:lnTo>
                    <a:pt x="2799" y="334"/>
                  </a:lnTo>
                  <a:cubicBezTo>
                    <a:pt x="2882" y="334"/>
                    <a:pt x="2965" y="263"/>
                    <a:pt x="2965" y="167"/>
                  </a:cubicBezTo>
                  <a:cubicBezTo>
                    <a:pt x="2954" y="84"/>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7" name="Google Shape;12487;p62"/>
            <p:cNvSpPr/>
            <p:nvPr/>
          </p:nvSpPr>
          <p:spPr>
            <a:xfrm>
              <a:off x="2427344" y="3100212"/>
              <a:ext cx="94334" cy="10623"/>
            </a:xfrm>
            <a:custGeom>
              <a:avLst/>
              <a:gdLst/>
              <a:ahLst/>
              <a:cxnLst/>
              <a:rect l="l" t="t" r="r" b="b"/>
              <a:pathLst>
                <a:path w="2966" h="334" extrusionOk="0">
                  <a:moveTo>
                    <a:pt x="168" y="0"/>
                  </a:moveTo>
                  <a:cubicBezTo>
                    <a:pt x="72" y="0"/>
                    <a:pt x="1" y="71"/>
                    <a:pt x="1" y="167"/>
                  </a:cubicBezTo>
                  <a:cubicBezTo>
                    <a:pt x="1" y="250"/>
                    <a:pt x="72" y="333"/>
                    <a:pt x="168" y="333"/>
                  </a:cubicBezTo>
                  <a:lnTo>
                    <a:pt x="2799" y="333"/>
                  </a:lnTo>
                  <a:cubicBezTo>
                    <a:pt x="2882" y="333"/>
                    <a:pt x="2965" y="250"/>
                    <a:pt x="2965" y="167"/>
                  </a:cubicBezTo>
                  <a:cubicBezTo>
                    <a:pt x="2965" y="71"/>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8" name="Google Shape;12488;p62"/>
            <p:cNvSpPr/>
            <p:nvPr/>
          </p:nvSpPr>
          <p:spPr>
            <a:xfrm>
              <a:off x="2427344" y="3122921"/>
              <a:ext cx="94334" cy="10623"/>
            </a:xfrm>
            <a:custGeom>
              <a:avLst/>
              <a:gdLst/>
              <a:ahLst/>
              <a:cxnLst/>
              <a:rect l="l" t="t" r="r" b="b"/>
              <a:pathLst>
                <a:path w="2966" h="334" extrusionOk="0">
                  <a:moveTo>
                    <a:pt x="168" y="0"/>
                  </a:moveTo>
                  <a:cubicBezTo>
                    <a:pt x="72" y="0"/>
                    <a:pt x="1" y="72"/>
                    <a:pt x="1" y="167"/>
                  </a:cubicBezTo>
                  <a:cubicBezTo>
                    <a:pt x="1" y="250"/>
                    <a:pt x="72" y="334"/>
                    <a:pt x="168" y="334"/>
                  </a:cubicBezTo>
                  <a:lnTo>
                    <a:pt x="2799" y="334"/>
                  </a:lnTo>
                  <a:cubicBezTo>
                    <a:pt x="2882" y="334"/>
                    <a:pt x="2965" y="250"/>
                    <a:pt x="2965" y="167"/>
                  </a:cubicBezTo>
                  <a:cubicBezTo>
                    <a:pt x="2954" y="72"/>
                    <a:pt x="288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9" name="Google Shape;12489;p62"/>
            <p:cNvSpPr/>
            <p:nvPr/>
          </p:nvSpPr>
          <p:spPr>
            <a:xfrm>
              <a:off x="2427344" y="3145629"/>
              <a:ext cx="94334" cy="10655"/>
            </a:xfrm>
            <a:custGeom>
              <a:avLst/>
              <a:gdLst/>
              <a:ahLst/>
              <a:cxnLst/>
              <a:rect l="l" t="t" r="r" b="b"/>
              <a:pathLst>
                <a:path w="2966" h="335" extrusionOk="0">
                  <a:moveTo>
                    <a:pt x="168" y="1"/>
                  </a:moveTo>
                  <a:cubicBezTo>
                    <a:pt x="72" y="1"/>
                    <a:pt x="1" y="72"/>
                    <a:pt x="1" y="167"/>
                  </a:cubicBezTo>
                  <a:cubicBezTo>
                    <a:pt x="1" y="251"/>
                    <a:pt x="72" y="334"/>
                    <a:pt x="168" y="334"/>
                  </a:cubicBezTo>
                  <a:lnTo>
                    <a:pt x="2799" y="334"/>
                  </a:lnTo>
                  <a:cubicBezTo>
                    <a:pt x="2882" y="334"/>
                    <a:pt x="2965" y="251"/>
                    <a:pt x="2965" y="167"/>
                  </a:cubicBezTo>
                  <a:cubicBezTo>
                    <a:pt x="2954" y="72"/>
                    <a:pt x="288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0" name="Google Shape;12490;p62"/>
            <p:cNvSpPr/>
            <p:nvPr/>
          </p:nvSpPr>
          <p:spPr>
            <a:xfrm>
              <a:off x="2427344" y="3167988"/>
              <a:ext cx="68953" cy="10241"/>
            </a:xfrm>
            <a:custGeom>
              <a:avLst/>
              <a:gdLst/>
              <a:ahLst/>
              <a:cxnLst/>
              <a:rect l="l" t="t" r="r" b="b"/>
              <a:pathLst>
                <a:path w="2168" h="322" extrusionOk="0">
                  <a:moveTo>
                    <a:pt x="168" y="0"/>
                  </a:moveTo>
                  <a:cubicBezTo>
                    <a:pt x="72" y="0"/>
                    <a:pt x="1" y="72"/>
                    <a:pt x="1" y="167"/>
                  </a:cubicBezTo>
                  <a:cubicBezTo>
                    <a:pt x="1" y="250"/>
                    <a:pt x="72" y="322"/>
                    <a:pt x="168" y="322"/>
                  </a:cubicBezTo>
                  <a:lnTo>
                    <a:pt x="1989" y="322"/>
                  </a:lnTo>
                  <a:cubicBezTo>
                    <a:pt x="2084" y="322"/>
                    <a:pt x="2156" y="250"/>
                    <a:pt x="2156" y="167"/>
                  </a:cubicBezTo>
                  <a:cubicBezTo>
                    <a:pt x="2168" y="72"/>
                    <a:pt x="2096" y="0"/>
                    <a:pt x="19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1" name="Google Shape;12491;p62"/>
            <p:cNvSpPr/>
            <p:nvPr/>
          </p:nvSpPr>
          <p:spPr>
            <a:xfrm>
              <a:off x="2323214" y="3050882"/>
              <a:ext cx="66695" cy="69780"/>
            </a:xfrm>
            <a:custGeom>
              <a:avLst/>
              <a:gdLst/>
              <a:ahLst/>
              <a:cxnLst/>
              <a:rect l="l" t="t" r="r" b="b"/>
              <a:pathLst>
                <a:path w="2097" h="2194" extrusionOk="0">
                  <a:moveTo>
                    <a:pt x="715" y="408"/>
                  </a:moveTo>
                  <a:lnTo>
                    <a:pt x="715" y="527"/>
                  </a:lnTo>
                  <a:cubicBezTo>
                    <a:pt x="715" y="1075"/>
                    <a:pt x="1120" y="1527"/>
                    <a:pt x="1632" y="1611"/>
                  </a:cubicBezTo>
                  <a:cubicBezTo>
                    <a:pt x="1477" y="1742"/>
                    <a:pt x="1275" y="1837"/>
                    <a:pt x="1072" y="1837"/>
                  </a:cubicBezTo>
                  <a:cubicBezTo>
                    <a:pt x="655" y="1837"/>
                    <a:pt x="310" y="1492"/>
                    <a:pt x="310" y="1075"/>
                  </a:cubicBezTo>
                  <a:cubicBezTo>
                    <a:pt x="310" y="789"/>
                    <a:pt x="477" y="539"/>
                    <a:pt x="715" y="408"/>
                  </a:cubicBezTo>
                  <a:close/>
                  <a:moveTo>
                    <a:pt x="960" y="0"/>
                  </a:moveTo>
                  <a:cubicBezTo>
                    <a:pt x="950" y="0"/>
                    <a:pt x="939" y="1"/>
                    <a:pt x="929" y="3"/>
                  </a:cubicBezTo>
                  <a:cubicBezTo>
                    <a:pt x="394" y="75"/>
                    <a:pt x="1" y="539"/>
                    <a:pt x="1" y="1087"/>
                  </a:cubicBezTo>
                  <a:cubicBezTo>
                    <a:pt x="1" y="1694"/>
                    <a:pt x="489" y="2194"/>
                    <a:pt x="1096" y="2194"/>
                  </a:cubicBezTo>
                  <a:cubicBezTo>
                    <a:pt x="1525" y="2194"/>
                    <a:pt x="1929" y="1932"/>
                    <a:pt x="2096" y="1539"/>
                  </a:cubicBezTo>
                  <a:cubicBezTo>
                    <a:pt x="2096" y="1444"/>
                    <a:pt x="2084" y="1384"/>
                    <a:pt x="2048" y="1337"/>
                  </a:cubicBezTo>
                  <a:cubicBezTo>
                    <a:pt x="2030" y="1309"/>
                    <a:pt x="1990" y="1281"/>
                    <a:pt x="1945" y="1281"/>
                  </a:cubicBezTo>
                  <a:cubicBezTo>
                    <a:pt x="1932" y="1281"/>
                    <a:pt x="1919" y="1284"/>
                    <a:pt x="1906" y="1289"/>
                  </a:cubicBezTo>
                  <a:lnTo>
                    <a:pt x="1798" y="1289"/>
                  </a:lnTo>
                  <a:cubicBezTo>
                    <a:pt x="1382" y="1289"/>
                    <a:pt x="1036" y="944"/>
                    <a:pt x="1036" y="527"/>
                  </a:cubicBezTo>
                  <a:cubicBezTo>
                    <a:pt x="1036" y="420"/>
                    <a:pt x="1060" y="313"/>
                    <a:pt x="1096" y="229"/>
                  </a:cubicBezTo>
                  <a:cubicBezTo>
                    <a:pt x="1132" y="170"/>
                    <a:pt x="1120" y="110"/>
                    <a:pt x="1084" y="63"/>
                  </a:cubicBezTo>
                  <a:cubicBezTo>
                    <a:pt x="1054" y="23"/>
                    <a:pt x="1009" y="0"/>
                    <a:pt x="9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92" name="Google Shape;12492;p62"/>
          <p:cNvGrpSpPr/>
          <p:nvPr/>
        </p:nvGrpSpPr>
        <p:grpSpPr>
          <a:xfrm>
            <a:off x="1749897" y="2894561"/>
            <a:ext cx="355993" cy="355612"/>
            <a:chOff x="1749897" y="2894561"/>
            <a:chExt cx="355993" cy="355612"/>
          </a:xfrm>
        </p:grpSpPr>
        <p:sp>
          <p:nvSpPr>
            <p:cNvPr id="12493" name="Google Shape;12493;p62"/>
            <p:cNvSpPr/>
            <p:nvPr/>
          </p:nvSpPr>
          <p:spPr>
            <a:xfrm>
              <a:off x="1899858" y="2895324"/>
              <a:ext cx="206033" cy="161728"/>
            </a:xfrm>
            <a:custGeom>
              <a:avLst/>
              <a:gdLst/>
              <a:ahLst/>
              <a:cxnLst/>
              <a:rect l="l" t="t" r="r" b="b"/>
              <a:pathLst>
                <a:path w="6478" h="5085" extrusionOk="0">
                  <a:moveTo>
                    <a:pt x="6156" y="322"/>
                  </a:moveTo>
                  <a:lnTo>
                    <a:pt x="6156" y="4763"/>
                  </a:lnTo>
                  <a:lnTo>
                    <a:pt x="334" y="4763"/>
                  </a:lnTo>
                  <a:lnTo>
                    <a:pt x="334" y="322"/>
                  </a:lnTo>
                  <a:close/>
                  <a:moveTo>
                    <a:pt x="167" y="1"/>
                  </a:moveTo>
                  <a:cubicBezTo>
                    <a:pt x="72" y="1"/>
                    <a:pt x="0" y="72"/>
                    <a:pt x="0" y="167"/>
                  </a:cubicBezTo>
                  <a:lnTo>
                    <a:pt x="0" y="4930"/>
                  </a:lnTo>
                  <a:cubicBezTo>
                    <a:pt x="0" y="5013"/>
                    <a:pt x="72" y="5085"/>
                    <a:pt x="167" y="5085"/>
                  </a:cubicBezTo>
                  <a:lnTo>
                    <a:pt x="6311" y="5085"/>
                  </a:lnTo>
                  <a:cubicBezTo>
                    <a:pt x="6406" y="5085"/>
                    <a:pt x="6477" y="5013"/>
                    <a:pt x="6477" y="4930"/>
                  </a:cubicBezTo>
                  <a:lnTo>
                    <a:pt x="6477" y="167"/>
                  </a:lnTo>
                  <a:cubicBezTo>
                    <a:pt x="6477" y="72"/>
                    <a:pt x="6406" y="1"/>
                    <a:pt x="6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4" name="Google Shape;12494;p62"/>
            <p:cNvSpPr/>
            <p:nvPr/>
          </p:nvSpPr>
          <p:spPr>
            <a:xfrm>
              <a:off x="1751424" y="2894561"/>
              <a:ext cx="135585" cy="161379"/>
            </a:xfrm>
            <a:custGeom>
              <a:avLst/>
              <a:gdLst/>
              <a:ahLst/>
              <a:cxnLst/>
              <a:rect l="l" t="t" r="r" b="b"/>
              <a:pathLst>
                <a:path w="4263" h="5074" extrusionOk="0">
                  <a:moveTo>
                    <a:pt x="3643" y="334"/>
                  </a:moveTo>
                  <a:lnTo>
                    <a:pt x="2048" y="2227"/>
                  </a:lnTo>
                  <a:lnTo>
                    <a:pt x="476" y="334"/>
                  </a:lnTo>
                  <a:close/>
                  <a:moveTo>
                    <a:pt x="286" y="632"/>
                  </a:moveTo>
                  <a:lnTo>
                    <a:pt x="1846" y="2489"/>
                  </a:lnTo>
                  <a:lnTo>
                    <a:pt x="286" y="4359"/>
                  </a:lnTo>
                  <a:lnTo>
                    <a:pt x="286" y="632"/>
                  </a:lnTo>
                  <a:close/>
                  <a:moveTo>
                    <a:pt x="3894" y="561"/>
                  </a:moveTo>
                  <a:lnTo>
                    <a:pt x="3894" y="4430"/>
                  </a:lnTo>
                  <a:lnTo>
                    <a:pt x="2274" y="2489"/>
                  </a:lnTo>
                  <a:lnTo>
                    <a:pt x="3894" y="561"/>
                  </a:lnTo>
                  <a:close/>
                  <a:moveTo>
                    <a:pt x="2072" y="2739"/>
                  </a:moveTo>
                  <a:lnTo>
                    <a:pt x="3763" y="4763"/>
                  </a:lnTo>
                  <a:lnTo>
                    <a:pt x="369" y="4763"/>
                  </a:lnTo>
                  <a:lnTo>
                    <a:pt x="2072" y="2739"/>
                  </a:lnTo>
                  <a:close/>
                  <a:moveTo>
                    <a:pt x="36" y="1"/>
                  </a:moveTo>
                  <a:cubicBezTo>
                    <a:pt x="36" y="1"/>
                    <a:pt x="24" y="1"/>
                    <a:pt x="24" y="25"/>
                  </a:cubicBezTo>
                  <a:cubicBezTo>
                    <a:pt x="24" y="25"/>
                    <a:pt x="12" y="25"/>
                    <a:pt x="12" y="37"/>
                  </a:cubicBezTo>
                  <a:lnTo>
                    <a:pt x="0" y="49"/>
                  </a:lnTo>
                  <a:lnTo>
                    <a:pt x="0" y="72"/>
                  </a:lnTo>
                  <a:lnTo>
                    <a:pt x="0" y="84"/>
                  </a:lnTo>
                  <a:lnTo>
                    <a:pt x="0" y="96"/>
                  </a:lnTo>
                  <a:lnTo>
                    <a:pt x="0" y="108"/>
                  </a:lnTo>
                  <a:lnTo>
                    <a:pt x="0" y="132"/>
                  </a:lnTo>
                  <a:lnTo>
                    <a:pt x="0" y="144"/>
                  </a:lnTo>
                  <a:lnTo>
                    <a:pt x="0" y="4906"/>
                  </a:lnTo>
                  <a:cubicBezTo>
                    <a:pt x="0" y="4990"/>
                    <a:pt x="72" y="5073"/>
                    <a:pt x="155" y="5073"/>
                  </a:cubicBezTo>
                  <a:lnTo>
                    <a:pt x="4108" y="5073"/>
                  </a:lnTo>
                  <a:cubicBezTo>
                    <a:pt x="4191" y="5073"/>
                    <a:pt x="4263" y="4990"/>
                    <a:pt x="4263" y="4906"/>
                  </a:cubicBezTo>
                  <a:lnTo>
                    <a:pt x="4263" y="144"/>
                  </a:lnTo>
                  <a:cubicBezTo>
                    <a:pt x="4239" y="84"/>
                    <a:pt x="4167"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5" name="Google Shape;12495;p62"/>
            <p:cNvSpPr/>
            <p:nvPr/>
          </p:nvSpPr>
          <p:spPr>
            <a:xfrm>
              <a:off x="1931663" y="2921468"/>
              <a:ext cx="64787" cy="10241"/>
            </a:xfrm>
            <a:custGeom>
              <a:avLst/>
              <a:gdLst/>
              <a:ahLst/>
              <a:cxnLst/>
              <a:rect l="l" t="t" r="r" b="b"/>
              <a:pathLst>
                <a:path w="2037" h="322" extrusionOk="0">
                  <a:moveTo>
                    <a:pt x="167" y="0"/>
                  </a:moveTo>
                  <a:cubicBezTo>
                    <a:pt x="72" y="0"/>
                    <a:pt x="1" y="72"/>
                    <a:pt x="1" y="155"/>
                  </a:cubicBezTo>
                  <a:cubicBezTo>
                    <a:pt x="1" y="250"/>
                    <a:pt x="72" y="322"/>
                    <a:pt x="167" y="322"/>
                  </a:cubicBezTo>
                  <a:lnTo>
                    <a:pt x="1882" y="322"/>
                  </a:lnTo>
                  <a:cubicBezTo>
                    <a:pt x="1965" y="322"/>
                    <a:pt x="2037" y="250"/>
                    <a:pt x="2037" y="155"/>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6" name="Google Shape;12496;p62"/>
            <p:cNvSpPr/>
            <p:nvPr/>
          </p:nvSpPr>
          <p:spPr>
            <a:xfrm>
              <a:off x="2009681" y="2921468"/>
              <a:ext cx="65168" cy="10241"/>
            </a:xfrm>
            <a:custGeom>
              <a:avLst/>
              <a:gdLst/>
              <a:ahLst/>
              <a:cxnLst/>
              <a:rect l="l" t="t" r="r" b="b"/>
              <a:pathLst>
                <a:path w="2049" h="322" extrusionOk="0">
                  <a:moveTo>
                    <a:pt x="167" y="0"/>
                  </a:moveTo>
                  <a:cubicBezTo>
                    <a:pt x="84" y="0"/>
                    <a:pt x="0" y="72"/>
                    <a:pt x="0" y="155"/>
                  </a:cubicBezTo>
                  <a:cubicBezTo>
                    <a:pt x="0" y="250"/>
                    <a:pt x="84" y="322"/>
                    <a:pt x="167" y="322"/>
                  </a:cubicBezTo>
                  <a:lnTo>
                    <a:pt x="1881" y="322"/>
                  </a:lnTo>
                  <a:cubicBezTo>
                    <a:pt x="1965" y="322"/>
                    <a:pt x="2048" y="250"/>
                    <a:pt x="2048" y="155"/>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7" name="Google Shape;12497;p62"/>
            <p:cNvSpPr/>
            <p:nvPr/>
          </p:nvSpPr>
          <p:spPr>
            <a:xfrm>
              <a:off x="1931663" y="2954418"/>
              <a:ext cx="64787" cy="10623"/>
            </a:xfrm>
            <a:custGeom>
              <a:avLst/>
              <a:gdLst/>
              <a:ahLst/>
              <a:cxnLst/>
              <a:rect l="l" t="t" r="r" b="b"/>
              <a:pathLst>
                <a:path w="2037" h="334" extrusionOk="0">
                  <a:moveTo>
                    <a:pt x="167" y="0"/>
                  </a:moveTo>
                  <a:cubicBezTo>
                    <a:pt x="72" y="0"/>
                    <a:pt x="1" y="72"/>
                    <a:pt x="1" y="167"/>
                  </a:cubicBezTo>
                  <a:cubicBezTo>
                    <a:pt x="1" y="250"/>
                    <a:pt x="72" y="334"/>
                    <a:pt x="167" y="334"/>
                  </a:cubicBezTo>
                  <a:lnTo>
                    <a:pt x="1882" y="334"/>
                  </a:lnTo>
                  <a:cubicBezTo>
                    <a:pt x="1965" y="334"/>
                    <a:pt x="2037" y="250"/>
                    <a:pt x="2037" y="167"/>
                  </a:cubicBezTo>
                  <a:cubicBezTo>
                    <a:pt x="2037" y="72"/>
                    <a:pt x="1965" y="0"/>
                    <a:pt x="1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8" name="Google Shape;12498;p62"/>
            <p:cNvSpPr/>
            <p:nvPr/>
          </p:nvSpPr>
          <p:spPr>
            <a:xfrm>
              <a:off x="2009681" y="2954418"/>
              <a:ext cx="65168" cy="10623"/>
            </a:xfrm>
            <a:custGeom>
              <a:avLst/>
              <a:gdLst/>
              <a:ahLst/>
              <a:cxnLst/>
              <a:rect l="l" t="t" r="r" b="b"/>
              <a:pathLst>
                <a:path w="2049" h="334" extrusionOk="0">
                  <a:moveTo>
                    <a:pt x="167" y="0"/>
                  </a:moveTo>
                  <a:cubicBezTo>
                    <a:pt x="84" y="0"/>
                    <a:pt x="0" y="72"/>
                    <a:pt x="0" y="167"/>
                  </a:cubicBezTo>
                  <a:cubicBezTo>
                    <a:pt x="0" y="250"/>
                    <a:pt x="84" y="334"/>
                    <a:pt x="167" y="334"/>
                  </a:cubicBezTo>
                  <a:lnTo>
                    <a:pt x="1881" y="334"/>
                  </a:lnTo>
                  <a:cubicBezTo>
                    <a:pt x="1965" y="334"/>
                    <a:pt x="2048" y="250"/>
                    <a:pt x="2048" y="167"/>
                  </a:cubicBezTo>
                  <a:cubicBezTo>
                    <a:pt x="2048" y="72"/>
                    <a:pt x="1965" y="0"/>
                    <a:pt x="1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9" name="Google Shape;12499;p62"/>
            <p:cNvSpPr/>
            <p:nvPr/>
          </p:nvSpPr>
          <p:spPr>
            <a:xfrm>
              <a:off x="1931663" y="2987718"/>
              <a:ext cx="64787" cy="10273"/>
            </a:xfrm>
            <a:custGeom>
              <a:avLst/>
              <a:gdLst/>
              <a:ahLst/>
              <a:cxnLst/>
              <a:rect l="l" t="t" r="r" b="b"/>
              <a:pathLst>
                <a:path w="2037" h="323" extrusionOk="0">
                  <a:moveTo>
                    <a:pt x="167" y="1"/>
                  </a:moveTo>
                  <a:cubicBezTo>
                    <a:pt x="72" y="1"/>
                    <a:pt x="1" y="72"/>
                    <a:pt x="1" y="156"/>
                  </a:cubicBezTo>
                  <a:cubicBezTo>
                    <a:pt x="1" y="251"/>
                    <a:pt x="72" y="322"/>
                    <a:pt x="167" y="322"/>
                  </a:cubicBezTo>
                  <a:lnTo>
                    <a:pt x="1882" y="322"/>
                  </a:lnTo>
                  <a:cubicBezTo>
                    <a:pt x="1965" y="322"/>
                    <a:pt x="2037" y="251"/>
                    <a:pt x="2037" y="156"/>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0" name="Google Shape;12500;p62"/>
            <p:cNvSpPr/>
            <p:nvPr/>
          </p:nvSpPr>
          <p:spPr>
            <a:xfrm>
              <a:off x="2009681" y="2987718"/>
              <a:ext cx="65168" cy="10273"/>
            </a:xfrm>
            <a:custGeom>
              <a:avLst/>
              <a:gdLst/>
              <a:ahLst/>
              <a:cxnLst/>
              <a:rect l="l" t="t" r="r" b="b"/>
              <a:pathLst>
                <a:path w="2049" h="323" extrusionOk="0">
                  <a:moveTo>
                    <a:pt x="167" y="1"/>
                  </a:moveTo>
                  <a:cubicBezTo>
                    <a:pt x="84" y="1"/>
                    <a:pt x="0" y="72"/>
                    <a:pt x="0" y="156"/>
                  </a:cubicBezTo>
                  <a:cubicBezTo>
                    <a:pt x="0" y="251"/>
                    <a:pt x="84" y="322"/>
                    <a:pt x="167" y="322"/>
                  </a:cubicBezTo>
                  <a:lnTo>
                    <a:pt x="1881" y="322"/>
                  </a:lnTo>
                  <a:cubicBezTo>
                    <a:pt x="1965" y="322"/>
                    <a:pt x="2048" y="251"/>
                    <a:pt x="2048" y="156"/>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1" name="Google Shape;12501;p62"/>
            <p:cNvSpPr/>
            <p:nvPr/>
          </p:nvSpPr>
          <p:spPr>
            <a:xfrm>
              <a:off x="1931663" y="3020668"/>
              <a:ext cx="64787" cy="10655"/>
            </a:xfrm>
            <a:custGeom>
              <a:avLst/>
              <a:gdLst/>
              <a:ahLst/>
              <a:cxnLst/>
              <a:rect l="l" t="t" r="r" b="b"/>
              <a:pathLst>
                <a:path w="2037" h="335" extrusionOk="0">
                  <a:moveTo>
                    <a:pt x="167" y="1"/>
                  </a:moveTo>
                  <a:cubicBezTo>
                    <a:pt x="72" y="1"/>
                    <a:pt x="1" y="72"/>
                    <a:pt x="1" y="167"/>
                  </a:cubicBezTo>
                  <a:cubicBezTo>
                    <a:pt x="1" y="251"/>
                    <a:pt x="72" y="334"/>
                    <a:pt x="167" y="334"/>
                  </a:cubicBezTo>
                  <a:lnTo>
                    <a:pt x="1882" y="334"/>
                  </a:lnTo>
                  <a:cubicBezTo>
                    <a:pt x="1965" y="334"/>
                    <a:pt x="2037" y="251"/>
                    <a:pt x="2037" y="167"/>
                  </a:cubicBezTo>
                  <a:cubicBezTo>
                    <a:pt x="2037" y="72"/>
                    <a:pt x="1965" y="1"/>
                    <a:pt x="1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2" name="Google Shape;12502;p62"/>
            <p:cNvSpPr/>
            <p:nvPr/>
          </p:nvSpPr>
          <p:spPr>
            <a:xfrm>
              <a:off x="2009681" y="3020668"/>
              <a:ext cx="65168" cy="10655"/>
            </a:xfrm>
            <a:custGeom>
              <a:avLst/>
              <a:gdLst/>
              <a:ahLst/>
              <a:cxnLst/>
              <a:rect l="l" t="t" r="r" b="b"/>
              <a:pathLst>
                <a:path w="2049" h="335" extrusionOk="0">
                  <a:moveTo>
                    <a:pt x="167" y="1"/>
                  </a:moveTo>
                  <a:cubicBezTo>
                    <a:pt x="84" y="1"/>
                    <a:pt x="0" y="72"/>
                    <a:pt x="0" y="167"/>
                  </a:cubicBezTo>
                  <a:cubicBezTo>
                    <a:pt x="0" y="251"/>
                    <a:pt x="84" y="334"/>
                    <a:pt x="167" y="334"/>
                  </a:cubicBezTo>
                  <a:lnTo>
                    <a:pt x="1881" y="334"/>
                  </a:lnTo>
                  <a:cubicBezTo>
                    <a:pt x="1965" y="334"/>
                    <a:pt x="2048" y="251"/>
                    <a:pt x="2048" y="167"/>
                  </a:cubicBezTo>
                  <a:cubicBezTo>
                    <a:pt x="2048" y="72"/>
                    <a:pt x="1965" y="1"/>
                    <a:pt x="1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3" name="Google Shape;12503;p62"/>
            <p:cNvSpPr/>
            <p:nvPr/>
          </p:nvSpPr>
          <p:spPr>
            <a:xfrm>
              <a:off x="1749897" y="3069138"/>
              <a:ext cx="355993" cy="181034"/>
            </a:xfrm>
            <a:custGeom>
              <a:avLst/>
              <a:gdLst/>
              <a:ahLst/>
              <a:cxnLst/>
              <a:rect l="l" t="t" r="r" b="b"/>
              <a:pathLst>
                <a:path w="11193" h="5692" extrusionOk="0">
                  <a:moveTo>
                    <a:pt x="9859" y="322"/>
                  </a:moveTo>
                  <a:lnTo>
                    <a:pt x="5596" y="1477"/>
                  </a:lnTo>
                  <a:lnTo>
                    <a:pt x="1334" y="322"/>
                  </a:lnTo>
                  <a:close/>
                  <a:moveTo>
                    <a:pt x="334" y="394"/>
                  </a:moveTo>
                  <a:lnTo>
                    <a:pt x="4954" y="1644"/>
                  </a:lnTo>
                  <a:lnTo>
                    <a:pt x="334" y="2894"/>
                  </a:lnTo>
                  <a:lnTo>
                    <a:pt x="334" y="394"/>
                  </a:lnTo>
                  <a:close/>
                  <a:moveTo>
                    <a:pt x="10871" y="417"/>
                  </a:moveTo>
                  <a:lnTo>
                    <a:pt x="10871" y="2918"/>
                  </a:lnTo>
                  <a:lnTo>
                    <a:pt x="6239" y="1668"/>
                  </a:lnTo>
                  <a:lnTo>
                    <a:pt x="10871" y="417"/>
                  </a:lnTo>
                  <a:close/>
                  <a:moveTo>
                    <a:pt x="5596" y="1822"/>
                  </a:moveTo>
                  <a:lnTo>
                    <a:pt x="10252" y="3096"/>
                  </a:lnTo>
                  <a:lnTo>
                    <a:pt x="941" y="3096"/>
                  </a:lnTo>
                  <a:lnTo>
                    <a:pt x="5596" y="1822"/>
                  </a:lnTo>
                  <a:close/>
                  <a:moveTo>
                    <a:pt x="9132" y="3425"/>
                  </a:moveTo>
                  <a:cubicBezTo>
                    <a:pt x="9140" y="3425"/>
                    <a:pt x="9148" y="3427"/>
                    <a:pt x="9156" y="3430"/>
                  </a:cubicBezTo>
                  <a:lnTo>
                    <a:pt x="10669" y="4477"/>
                  </a:lnTo>
                  <a:cubicBezTo>
                    <a:pt x="10692" y="4489"/>
                    <a:pt x="10704" y="4501"/>
                    <a:pt x="10692" y="4537"/>
                  </a:cubicBezTo>
                  <a:cubicBezTo>
                    <a:pt x="10692" y="4549"/>
                    <a:pt x="10669" y="4561"/>
                    <a:pt x="10645" y="4561"/>
                  </a:cubicBezTo>
                  <a:lnTo>
                    <a:pt x="9871" y="4525"/>
                  </a:lnTo>
                  <a:cubicBezTo>
                    <a:pt x="9856" y="4522"/>
                    <a:pt x="9840" y="4521"/>
                    <a:pt x="9825" y="4521"/>
                  </a:cubicBezTo>
                  <a:cubicBezTo>
                    <a:pt x="9708" y="4521"/>
                    <a:pt x="9589" y="4598"/>
                    <a:pt x="9526" y="4704"/>
                  </a:cubicBezTo>
                  <a:cubicBezTo>
                    <a:pt x="9097" y="5382"/>
                    <a:pt x="9121" y="5382"/>
                    <a:pt x="9085" y="5382"/>
                  </a:cubicBezTo>
                  <a:cubicBezTo>
                    <a:pt x="9049" y="5382"/>
                    <a:pt x="9037" y="5370"/>
                    <a:pt x="9037" y="5335"/>
                  </a:cubicBezTo>
                  <a:lnTo>
                    <a:pt x="9085" y="3477"/>
                  </a:lnTo>
                  <a:cubicBezTo>
                    <a:pt x="9085" y="3441"/>
                    <a:pt x="9106" y="3425"/>
                    <a:pt x="9132" y="3425"/>
                  </a:cubicBezTo>
                  <a:close/>
                  <a:moveTo>
                    <a:pt x="334" y="1"/>
                  </a:moveTo>
                  <a:cubicBezTo>
                    <a:pt x="286" y="1"/>
                    <a:pt x="239" y="13"/>
                    <a:pt x="215" y="25"/>
                  </a:cubicBezTo>
                  <a:cubicBezTo>
                    <a:pt x="96" y="72"/>
                    <a:pt x="12" y="191"/>
                    <a:pt x="1" y="310"/>
                  </a:cubicBezTo>
                  <a:lnTo>
                    <a:pt x="1" y="322"/>
                  </a:lnTo>
                  <a:lnTo>
                    <a:pt x="1" y="3096"/>
                  </a:lnTo>
                  <a:cubicBezTo>
                    <a:pt x="1" y="3275"/>
                    <a:pt x="155" y="3418"/>
                    <a:pt x="334" y="3418"/>
                  </a:cubicBezTo>
                  <a:lnTo>
                    <a:pt x="8728" y="3418"/>
                  </a:lnTo>
                  <a:cubicBezTo>
                    <a:pt x="8728" y="3465"/>
                    <a:pt x="8728" y="3346"/>
                    <a:pt x="8680" y="5311"/>
                  </a:cubicBezTo>
                  <a:cubicBezTo>
                    <a:pt x="8680" y="5418"/>
                    <a:pt x="8704" y="5513"/>
                    <a:pt x="8775" y="5573"/>
                  </a:cubicBezTo>
                  <a:cubicBezTo>
                    <a:pt x="8859" y="5656"/>
                    <a:pt x="8954" y="5692"/>
                    <a:pt x="9061" y="5692"/>
                  </a:cubicBezTo>
                  <a:cubicBezTo>
                    <a:pt x="9192" y="5692"/>
                    <a:pt x="9311" y="5620"/>
                    <a:pt x="9395" y="5513"/>
                  </a:cubicBezTo>
                  <a:cubicBezTo>
                    <a:pt x="9823" y="4847"/>
                    <a:pt x="9787" y="4835"/>
                    <a:pt x="9835" y="4835"/>
                  </a:cubicBezTo>
                  <a:cubicBezTo>
                    <a:pt x="10764" y="4882"/>
                    <a:pt x="10621" y="4882"/>
                    <a:pt x="10645" y="4882"/>
                  </a:cubicBezTo>
                  <a:cubicBezTo>
                    <a:pt x="10800" y="4882"/>
                    <a:pt x="10954" y="4775"/>
                    <a:pt x="11002" y="4608"/>
                  </a:cubicBezTo>
                  <a:cubicBezTo>
                    <a:pt x="11038" y="4442"/>
                    <a:pt x="10978" y="4287"/>
                    <a:pt x="10847" y="4180"/>
                  </a:cubicBezTo>
                  <a:lnTo>
                    <a:pt x="9704" y="3406"/>
                  </a:lnTo>
                  <a:lnTo>
                    <a:pt x="10847" y="3406"/>
                  </a:lnTo>
                  <a:cubicBezTo>
                    <a:pt x="11026" y="3406"/>
                    <a:pt x="11181" y="3251"/>
                    <a:pt x="11181" y="3073"/>
                  </a:cubicBezTo>
                  <a:cubicBezTo>
                    <a:pt x="11192" y="2739"/>
                    <a:pt x="11192" y="620"/>
                    <a:pt x="11192" y="310"/>
                  </a:cubicBezTo>
                  <a:cubicBezTo>
                    <a:pt x="11192" y="179"/>
                    <a:pt x="11109" y="72"/>
                    <a:pt x="10990" y="25"/>
                  </a:cubicBezTo>
                  <a:cubicBezTo>
                    <a:pt x="10942" y="13"/>
                    <a:pt x="10907" y="1"/>
                    <a:pt x="108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04" name="Google Shape;12504;p62"/>
          <p:cNvGrpSpPr/>
          <p:nvPr/>
        </p:nvGrpSpPr>
        <p:grpSpPr>
          <a:xfrm>
            <a:off x="1305327" y="2894211"/>
            <a:ext cx="357520" cy="357488"/>
            <a:chOff x="1305327" y="2894211"/>
            <a:chExt cx="357520" cy="357488"/>
          </a:xfrm>
        </p:grpSpPr>
        <p:sp>
          <p:nvSpPr>
            <p:cNvPr id="12505" name="Google Shape;12505;p62"/>
            <p:cNvSpPr/>
            <p:nvPr/>
          </p:nvSpPr>
          <p:spPr>
            <a:xfrm>
              <a:off x="1305709" y="2975600"/>
              <a:ext cx="281379" cy="275336"/>
            </a:xfrm>
            <a:custGeom>
              <a:avLst/>
              <a:gdLst/>
              <a:ahLst/>
              <a:cxnLst/>
              <a:rect l="l" t="t" r="r" b="b"/>
              <a:pathLst>
                <a:path w="8847" h="8657" extrusionOk="0">
                  <a:moveTo>
                    <a:pt x="167" y="1"/>
                  </a:moveTo>
                  <a:cubicBezTo>
                    <a:pt x="84" y="1"/>
                    <a:pt x="1" y="84"/>
                    <a:pt x="1" y="168"/>
                  </a:cubicBezTo>
                  <a:lnTo>
                    <a:pt x="1" y="8085"/>
                  </a:lnTo>
                  <a:cubicBezTo>
                    <a:pt x="1" y="8395"/>
                    <a:pt x="262" y="8657"/>
                    <a:pt x="572" y="8657"/>
                  </a:cubicBezTo>
                  <a:lnTo>
                    <a:pt x="8680" y="8657"/>
                  </a:lnTo>
                  <a:cubicBezTo>
                    <a:pt x="8775" y="8657"/>
                    <a:pt x="8847" y="8573"/>
                    <a:pt x="8847" y="8490"/>
                  </a:cubicBezTo>
                  <a:cubicBezTo>
                    <a:pt x="8835" y="8395"/>
                    <a:pt x="8764" y="8323"/>
                    <a:pt x="8668" y="8323"/>
                  </a:cubicBezTo>
                  <a:lnTo>
                    <a:pt x="560" y="8323"/>
                  </a:lnTo>
                  <a:cubicBezTo>
                    <a:pt x="429" y="8323"/>
                    <a:pt x="334" y="8216"/>
                    <a:pt x="334" y="8097"/>
                  </a:cubicBezTo>
                  <a:lnTo>
                    <a:pt x="334" y="168"/>
                  </a:ln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6" name="Google Shape;12506;p62"/>
            <p:cNvSpPr/>
            <p:nvPr/>
          </p:nvSpPr>
          <p:spPr>
            <a:xfrm>
              <a:off x="1305327" y="2894211"/>
              <a:ext cx="357520" cy="357488"/>
            </a:xfrm>
            <a:custGeom>
              <a:avLst/>
              <a:gdLst/>
              <a:ahLst/>
              <a:cxnLst/>
              <a:rect l="l" t="t" r="r" b="b"/>
              <a:pathLst>
                <a:path w="11241" h="11240" extrusionOk="0">
                  <a:moveTo>
                    <a:pt x="572" y="0"/>
                  </a:moveTo>
                  <a:cubicBezTo>
                    <a:pt x="251" y="0"/>
                    <a:pt x="1" y="262"/>
                    <a:pt x="1" y="572"/>
                  </a:cubicBezTo>
                  <a:lnTo>
                    <a:pt x="1" y="2060"/>
                  </a:lnTo>
                  <a:cubicBezTo>
                    <a:pt x="1" y="2143"/>
                    <a:pt x="72" y="2215"/>
                    <a:pt x="167" y="2215"/>
                  </a:cubicBezTo>
                  <a:cubicBezTo>
                    <a:pt x="263" y="2215"/>
                    <a:pt x="334" y="2143"/>
                    <a:pt x="334" y="2060"/>
                  </a:cubicBezTo>
                  <a:lnTo>
                    <a:pt x="334" y="572"/>
                  </a:lnTo>
                  <a:cubicBezTo>
                    <a:pt x="334" y="417"/>
                    <a:pt x="453" y="333"/>
                    <a:pt x="572" y="333"/>
                  </a:cubicBezTo>
                  <a:cubicBezTo>
                    <a:pt x="620" y="333"/>
                    <a:pt x="679" y="345"/>
                    <a:pt x="739" y="405"/>
                  </a:cubicBezTo>
                  <a:lnTo>
                    <a:pt x="1048" y="714"/>
                  </a:lnTo>
                  <a:lnTo>
                    <a:pt x="596" y="1167"/>
                  </a:lnTo>
                  <a:cubicBezTo>
                    <a:pt x="501" y="1262"/>
                    <a:pt x="572" y="1441"/>
                    <a:pt x="715" y="1441"/>
                  </a:cubicBezTo>
                  <a:cubicBezTo>
                    <a:pt x="834" y="1441"/>
                    <a:pt x="858" y="1357"/>
                    <a:pt x="1286" y="953"/>
                  </a:cubicBezTo>
                  <a:lnTo>
                    <a:pt x="1822" y="1488"/>
                  </a:lnTo>
                  <a:lnTo>
                    <a:pt x="1644" y="1667"/>
                  </a:lnTo>
                  <a:cubicBezTo>
                    <a:pt x="1584" y="1726"/>
                    <a:pt x="1584" y="1834"/>
                    <a:pt x="1644" y="1905"/>
                  </a:cubicBezTo>
                  <a:cubicBezTo>
                    <a:pt x="1673" y="1935"/>
                    <a:pt x="1715" y="1950"/>
                    <a:pt x="1758" y="1950"/>
                  </a:cubicBezTo>
                  <a:cubicBezTo>
                    <a:pt x="1801" y="1950"/>
                    <a:pt x="1846" y="1935"/>
                    <a:pt x="1882" y="1905"/>
                  </a:cubicBezTo>
                  <a:lnTo>
                    <a:pt x="2060" y="1726"/>
                  </a:lnTo>
                  <a:lnTo>
                    <a:pt x="2596" y="2262"/>
                  </a:lnTo>
                  <a:lnTo>
                    <a:pt x="2144" y="2715"/>
                  </a:lnTo>
                  <a:cubicBezTo>
                    <a:pt x="2084" y="2774"/>
                    <a:pt x="2084" y="2881"/>
                    <a:pt x="2144" y="2953"/>
                  </a:cubicBezTo>
                  <a:cubicBezTo>
                    <a:pt x="2173" y="2983"/>
                    <a:pt x="2215" y="2997"/>
                    <a:pt x="2258" y="2997"/>
                  </a:cubicBezTo>
                  <a:cubicBezTo>
                    <a:pt x="2301" y="2997"/>
                    <a:pt x="2346" y="2983"/>
                    <a:pt x="2382" y="2953"/>
                  </a:cubicBezTo>
                  <a:lnTo>
                    <a:pt x="2834" y="2500"/>
                  </a:lnTo>
                  <a:lnTo>
                    <a:pt x="3370" y="3036"/>
                  </a:lnTo>
                  <a:lnTo>
                    <a:pt x="3191" y="3215"/>
                  </a:lnTo>
                  <a:cubicBezTo>
                    <a:pt x="3132" y="3274"/>
                    <a:pt x="3132" y="3381"/>
                    <a:pt x="3191" y="3453"/>
                  </a:cubicBezTo>
                  <a:cubicBezTo>
                    <a:pt x="3221" y="3483"/>
                    <a:pt x="3263" y="3498"/>
                    <a:pt x="3306" y="3498"/>
                  </a:cubicBezTo>
                  <a:cubicBezTo>
                    <a:pt x="3349" y="3498"/>
                    <a:pt x="3394" y="3483"/>
                    <a:pt x="3430" y="3453"/>
                  </a:cubicBezTo>
                  <a:lnTo>
                    <a:pt x="3608" y="3274"/>
                  </a:lnTo>
                  <a:lnTo>
                    <a:pt x="4144" y="3810"/>
                  </a:lnTo>
                  <a:lnTo>
                    <a:pt x="3692" y="4262"/>
                  </a:lnTo>
                  <a:cubicBezTo>
                    <a:pt x="3632" y="4322"/>
                    <a:pt x="3632" y="4429"/>
                    <a:pt x="3692" y="4501"/>
                  </a:cubicBezTo>
                  <a:cubicBezTo>
                    <a:pt x="3721" y="4530"/>
                    <a:pt x="3763" y="4545"/>
                    <a:pt x="3806" y="4545"/>
                  </a:cubicBezTo>
                  <a:cubicBezTo>
                    <a:pt x="3849" y="4545"/>
                    <a:pt x="3894" y="4530"/>
                    <a:pt x="3930" y="4501"/>
                  </a:cubicBezTo>
                  <a:lnTo>
                    <a:pt x="4382" y="4048"/>
                  </a:lnTo>
                  <a:lnTo>
                    <a:pt x="4918" y="4584"/>
                  </a:lnTo>
                  <a:lnTo>
                    <a:pt x="4739" y="4763"/>
                  </a:lnTo>
                  <a:cubicBezTo>
                    <a:pt x="4680" y="4822"/>
                    <a:pt x="4680" y="4929"/>
                    <a:pt x="4739" y="5001"/>
                  </a:cubicBezTo>
                  <a:cubicBezTo>
                    <a:pt x="4769" y="5030"/>
                    <a:pt x="4811" y="5045"/>
                    <a:pt x="4854" y="5045"/>
                  </a:cubicBezTo>
                  <a:cubicBezTo>
                    <a:pt x="4897" y="5045"/>
                    <a:pt x="4942" y="5030"/>
                    <a:pt x="4977" y="5001"/>
                  </a:cubicBezTo>
                  <a:lnTo>
                    <a:pt x="5156" y="4822"/>
                  </a:lnTo>
                  <a:lnTo>
                    <a:pt x="5692" y="5358"/>
                  </a:lnTo>
                  <a:lnTo>
                    <a:pt x="5239" y="5810"/>
                  </a:lnTo>
                  <a:cubicBezTo>
                    <a:pt x="5180" y="5870"/>
                    <a:pt x="5180" y="5977"/>
                    <a:pt x="5239" y="6048"/>
                  </a:cubicBezTo>
                  <a:cubicBezTo>
                    <a:pt x="5269" y="6078"/>
                    <a:pt x="5311" y="6093"/>
                    <a:pt x="5354" y="6093"/>
                  </a:cubicBezTo>
                  <a:cubicBezTo>
                    <a:pt x="5397" y="6093"/>
                    <a:pt x="5442" y="6078"/>
                    <a:pt x="5477" y="6048"/>
                  </a:cubicBezTo>
                  <a:lnTo>
                    <a:pt x="5930" y="5596"/>
                  </a:lnTo>
                  <a:lnTo>
                    <a:pt x="6466" y="6132"/>
                  </a:lnTo>
                  <a:lnTo>
                    <a:pt x="6287" y="6310"/>
                  </a:lnTo>
                  <a:cubicBezTo>
                    <a:pt x="6228" y="6370"/>
                    <a:pt x="6228" y="6477"/>
                    <a:pt x="6287" y="6548"/>
                  </a:cubicBezTo>
                  <a:cubicBezTo>
                    <a:pt x="6317" y="6578"/>
                    <a:pt x="6359" y="6593"/>
                    <a:pt x="6402" y="6593"/>
                  </a:cubicBezTo>
                  <a:cubicBezTo>
                    <a:pt x="6445" y="6593"/>
                    <a:pt x="6490" y="6578"/>
                    <a:pt x="6525" y="6548"/>
                  </a:cubicBezTo>
                  <a:lnTo>
                    <a:pt x="6704" y="6370"/>
                  </a:lnTo>
                  <a:lnTo>
                    <a:pt x="7240" y="6906"/>
                  </a:lnTo>
                  <a:lnTo>
                    <a:pt x="6787" y="7358"/>
                  </a:lnTo>
                  <a:cubicBezTo>
                    <a:pt x="6728" y="7418"/>
                    <a:pt x="6728" y="7525"/>
                    <a:pt x="6787" y="7596"/>
                  </a:cubicBezTo>
                  <a:cubicBezTo>
                    <a:pt x="6817" y="7626"/>
                    <a:pt x="6859" y="7641"/>
                    <a:pt x="6902" y="7641"/>
                  </a:cubicBezTo>
                  <a:cubicBezTo>
                    <a:pt x="6945" y="7641"/>
                    <a:pt x="6990" y="7626"/>
                    <a:pt x="7025" y="7596"/>
                  </a:cubicBezTo>
                  <a:lnTo>
                    <a:pt x="7478" y="7144"/>
                  </a:lnTo>
                  <a:lnTo>
                    <a:pt x="8014" y="7680"/>
                  </a:lnTo>
                  <a:lnTo>
                    <a:pt x="7763" y="7787"/>
                  </a:lnTo>
                  <a:cubicBezTo>
                    <a:pt x="7704" y="7846"/>
                    <a:pt x="7704" y="7953"/>
                    <a:pt x="7763" y="8025"/>
                  </a:cubicBezTo>
                  <a:cubicBezTo>
                    <a:pt x="7787" y="8055"/>
                    <a:pt x="7826" y="8069"/>
                    <a:pt x="7869" y="8069"/>
                  </a:cubicBezTo>
                  <a:cubicBezTo>
                    <a:pt x="7912" y="8069"/>
                    <a:pt x="7960" y="8055"/>
                    <a:pt x="8002" y="8025"/>
                  </a:cubicBezTo>
                  <a:lnTo>
                    <a:pt x="8180" y="7846"/>
                  </a:lnTo>
                  <a:lnTo>
                    <a:pt x="8716" y="8382"/>
                  </a:lnTo>
                  <a:lnTo>
                    <a:pt x="8264" y="8834"/>
                  </a:lnTo>
                  <a:cubicBezTo>
                    <a:pt x="8204" y="8894"/>
                    <a:pt x="8204" y="8989"/>
                    <a:pt x="8264" y="9073"/>
                  </a:cubicBezTo>
                  <a:cubicBezTo>
                    <a:pt x="8293" y="9102"/>
                    <a:pt x="8335" y="9117"/>
                    <a:pt x="8378" y="9117"/>
                  </a:cubicBezTo>
                  <a:cubicBezTo>
                    <a:pt x="8421" y="9117"/>
                    <a:pt x="8466" y="9102"/>
                    <a:pt x="8502" y="9073"/>
                  </a:cubicBezTo>
                  <a:lnTo>
                    <a:pt x="8954" y="8620"/>
                  </a:lnTo>
                  <a:lnTo>
                    <a:pt x="9490" y="9156"/>
                  </a:lnTo>
                  <a:lnTo>
                    <a:pt x="9311" y="9335"/>
                  </a:lnTo>
                  <a:cubicBezTo>
                    <a:pt x="9252" y="9394"/>
                    <a:pt x="9252" y="9501"/>
                    <a:pt x="9311" y="9573"/>
                  </a:cubicBezTo>
                  <a:cubicBezTo>
                    <a:pt x="9335" y="9608"/>
                    <a:pt x="9383" y="9620"/>
                    <a:pt x="9430" y="9620"/>
                  </a:cubicBezTo>
                  <a:cubicBezTo>
                    <a:pt x="9466" y="9620"/>
                    <a:pt x="9514" y="9608"/>
                    <a:pt x="9549" y="9573"/>
                  </a:cubicBezTo>
                  <a:lnTo>
                    <a:pt x="9728" y="9394"/>
                  </a:lnTo>
                  <a:lnTo>
                    <a:pt x="10264" y="9930"/>
                  </a:lnTo>
                  <a:lnTo>
                    <a:pt x="9811" y="10382"/>
                  </a:lnTo>
                  <a:cubicBezTo>
                    <a:pt x="9752" y="10442"/>
                    <a:pt x="9752" y="10537"/>
                    <a:pt x="9811" y="10620"/>
                  </a:cubicBezTo>
                  <a:cubicBezTo>
                    <a:pt x="9847" y="10644"/>
                    <a:pt x="9883" y="10656"/>
                    <a:pt x="9930" y="10656"/>
                  </a:cubicBezTo>
                  <a:cubicBezTo>
                    <a:pt x="9978" y="10656"/>
                    <a:pt x="10026" y="10644"/>
                    <a:pt x="10049" y="10620"/>
                  </a:cubicBezTo>
                  <a:lnTo>
                    <a:pt x="10502" y="10168"/>
                  </a:lnTo>
                  <a:lnTo>
                    <a:pt x="10835" y="10513"/>
                  </a:lnTo>
                  <a:cubicBezTo>
                    <a:pt x="10895" y="10573"/>
                    <a:pt x="10919" y="10632"/>
                    <a:pt x="10919" y="10680"/>
                  </a:cubicBezTo>
                  <a:cubicBezTo>
                    <a:pt x="10919" y="10799"/>
                    <a:pt x="10823" y="10918"/>
                    <a:pt x="10681" y="10918"/>
                  </a:cubicBezTo>
                  <a:lnTo>
                    <a:pt x="9395" y="10918"/>
                  </a:lnTo>
                  <a:cubicBezTo>
                    <a:pt x="9311" y="10918"/>
                    <a:pt x="9228" y="10989"/>
                    <a:pt x="9228" y="11073"/>
                  </a:cubicBezTo>
                  <a:cubicBezTo>
                    <a:pt x="9228" y="11168"/>
                    <a:pt x="9311" y="11240"/>
                    <a:pt x="9395" y="11240"/>
                  </a:cubicBezTo>
                  <a:lnTo>
                    <a:pt x="10681" y="11240"/>
                  </a:lnTo>
                  <a:cubicBezTo>
                    <a:pt x="10990" y="11240"/>
                    <a:pt x="11240" y="10989"/>
                    <a:pt x="11240" y="10680"/>
                  </a:cubicBezTo>
                  <a:cubicBezTo>
                    <a:pt x="11192" y="10501"/>
                    <a:pt x="11133" y="10358"/>
                    <a:pt x="11038" y="10239"/>
                  </a:cubicBezTo>
                  <a:lnTo>
                    <a:pt x="965" y="167"/>
                  </a:lnTo>
                  <a:cubicBezTo>
                    <a:pt x="870" y="60"/>
                    <a:pt x="715" y="0"/>
                    <a:pt x="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7" name="Google Shape;12507;p62"/>
            <p:cNvSpPr/>
            <p:nvPr/>
          </p:nvSpPr>
          <p:spPr>
            <a:xfrm>
              <a:off x="1366679" y="3029191"/>
              <a:ext cx="57981" cy="70289"/>
            </a:xfrm>
            <a:custGeom>
              <a:avLst/>
              <a:gdLst/>
              <a:ahLst/>
              <a:cxnLst/>
              <a:rect l="l" t="t" r="r" b="b"/>
              <a:pathLst>
                <a:path w="1823" h="2210" extrusionOk="0">
                  <a:moveTo>
                    <a:pt x="164" y="1"/>
                  </a:moveTo>
                  <a:cubicBezTo>
                    <a:pt x="140" y="1"/>
                    <a:pt x="116" y="6"/>
                    <a:pt x="96" y="18"/>
                  </a:cubicBezTo>
                  <a:cubicBezTo>
                    <a:pt x="36" y="42"/>
                    <a:pt x="0" y="102"/>
                    <a:pt x="0" y="161"/>
                  </a:cubicBezTo>
                  <a:lnTo>
                    <a:pt x="0" y="2043"/>
                  </a:lnTo>
                  <a:cubicBezTo>
                    <a:pt x="0" y="2126"/>
                    <a:pt x="72" y="2209"/>
                    <a:pt x="155" y="2209"/>
                  </a:cubicBezTo>
                  <a:cubicBezTo>
                    <a:pt x="250" y="2209"/>
                    <a:pt x="322" y="2126"/>
                    <a:pt x="322" y="2043"/>
                  </a:cubicBezTo>
                  <a:lnTo>
                    <a:pt x="322" y="566"/>
                  </a:lnTo>
                  <a:lnTo>
                    <a:pt x="1513" y="1757"/>
                  </a:lnTo>
                  <a:cubicBezTo>
                    <a:pt x="1542" y="1787"/>
                    <a:pt x="1584" y="1801"/>
                    <a:pt x="1627" y="1801"/>
                  </a:cubicBezTo>
                  <a:cubicBezTo>
                    <a:pt x="1670" y="1801"/>
                    <a:pt x="1715" y="1787"/>
                    <a:pt x="1751" y="1757"/>
                  </a:cubicBezTo>
                  <a:cubicBezTo>
                    <a:pt x="1822" y="1697"/>
                    <a:pt x="1810" y="1590"/>
                    <a:pt x="1751" y="1519"/>
                  </a:cubicBezTo>
                  <a:lnTo>
                    <a:pt x="274" y="42"/>
                  </a:lnTo>
                  <a:cubicBezTo>
                    <a:pt x="251" y="19"/>
                    <a:pt x="208" y="1"/>
                    <a:pt x="1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8" name="Google Shape;12508;p62"/>
            <p:cNvSpPr/>
            <p:nvPr/>
          </p:nvSpPr>
          <p:spPr>
            <a:xfrm>
              <a:off x="1428031" y="3091211"/>
              <a:ext cx="100377" cy="99518"/>
            </a:xfrm>
            <a:custGeom>
              <a:avLst/>
              <a:gdLst/>
              <a:ahLst/>
              <a:cxnLst/>
              <a:rect l="l" t="t" r="r" b="b"/>
              <a:pathLst>
                <a:path w="3156" h="3129" extrusionOk="0">
                  <a:moveTo>
                    <a:pt x="183" y="0"/>
                  </a:moveTo>
                  <a:cubicBezTo>
                    <a:pt x="140" y="0"/>
                    <a:pt x="95" y="15"/>
                    <a:pt x="60" y="45"/>
                  </a:cubicBezTo>
                  <a:cubicBezTo>
                    <a:pt x="0" y="104"/>
                    <a:pt x="0" y="212"/>
                    <a:pt x="60" y="283"/>
                  </a:cubicBezTo>
                  <a:lnTo>
                    <a:pt x="2572" y="2795"/>
                  </a:lnTo>
                  <a:lnTo>
                    <a:pt x="655" y="2795"/>
                  </a:lnTo>
                  <a:cubicBezTo>
                    <a:pt x="560" y="2795"/>
                    <a:pt x="488" y="2879"/>
                    <a:pt x="488" y="2962"/>
                  </a:cubicBezTo>
                  <a:cubicBezTo>
                    <a:pt x="488" y="3057"/>
                    <a:pt x="560" y="3129"/>
                    <a:pt x="655" y="3129"/>
                  </a:cubicBezTo>
                  <a:lnTo>
                    <a:pt x="2977" y="3129"/>
                  </a:lnTo>
                  <a:cubicBezTo>
                    <a:pt x="3048" y="3129"/>
                    <a:pt x="3108" y="3081"/>
                    <a:pt x="3132" y="3021"/>
                  </a:cubicBezTo>
                  <a:cubicBezTo>
                    <a:pt x="3155" y="2962"/>
                    <a:pt x="3143" y="2902"/>
                    <a:pt x="3096" y="2843"/>
                  </a:cubicBezTo>
                  <a:lnTo>
                    <a:pt x="298" y="45"/>
                  </a:lnTo>
                  <a:cubicBezTo>
                    <a:pt x="268" y="15"/>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9" name="Google Shape;12509;p62"/>
            <p:cNvSpPr/>
            <p:nvPr/>
          </p:nvSpPr>
          <p:spPr>
            <a:xfrm>
              <a:off x="1366297" y="3110040"/>
              <a:ext cx="66663" cy="80689"/>
            </a:xfrm>
            <a:custGeom>
              <a:avLst/>
              <a:gdLst/>
              <a:ahLst/>
              <a:cxnLst/>
              <a:rect l="l" t="t" r="r" b="b"/>
              <a:pathLst>
                <a:path w="2096" h="2537" extrusionOk="0">
                  <a:moveTo>
                    <a:pt x="167" y="1"/>
                  </a:moveTo>
                  <a:cubicBezTo>
                    <a:pt x="84" y="1"/>
                    <a:pt x="1" y="72"/>
                    <a:pt x="1" y="167"/>
                  </a:cubicBezTo>
                  <a:lnTo>
                    <a:pt x="1" y="2370"/>
                  </a:lnTo>
                  <a:cubicBezTo>
                    <a:pt x="1" y="2418"/>
                    <a:pt x="24" y="2453"/>
                    <a:pt x="48" y="2489"/>
                  </a:cubicBezTo>
                  <a:cubicBezTo>
                    <a:pt x="84" y="2513"/>
                    <a:pt x="120" y="2537"/>
                    <a:pt x="167" y="2537"/>
                  </a:cubicBezTo>
                  <a:lnTo>
                    <a:pt x="1929" y="2537"/>
                  </a:lnTo>
                  <a:cubicBezTo>
                    <a:pt x="2013" y="2537"/>
                    <a:pt x="2096" y="2453"/>
                    <a:pt x="2096" y="2370"/>
                  </a:cubicBezTo>
                  <a:cubicBezTo>
                    <a:pt x="2096" y="2287"/>
                    <a:pt x="2013" y="2203"/>
                    <a:pt x="1929" y="2203"/>
                  </a:cubicBezTo>
                  <a:lnTo>
                    <a:pt x="334" y="2203"/>
                  </a:ln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0" name="Google Shape;12510;p62"/>
          <p:cNvGrpSpPr/>
          <p:nvPr/>
        </p:nvGrpSpPr>
        <p:grpSpPr>
          <a:xfrm>
            <a:off x="853950" y="2894720"/>
            <a:ext cx="364104" cy="353290"/>
            <a:chOff x="853950" y="2894720"/>
            <a:chExt cx="364104" cy="353290"/>
          </a:xfrm>
        </p:grpSpPr>
        <p:sp>
          <p:nvSpPr>
            <p:cNvPr id="12511" name="Google Shape;12511;p62"/>
            <p:cNvSpPr/>
            <p:nvPr/>
          </p:nvSpPr>
          <p:spPr>
            <a:xfrm>
              <a:off x="1056167" y="3155298"/>
              <a:ext cx="57472" cy="57662"/>
            </a:xfrm>
            <a:custGeom>
              <a:avLst/>
              <a:gdLst/>
              <a:ahLst/>
              <a:cxnLst/>
              <a:rect l="l" t="t" r="r" b="b"/>
              <a:pathLst>
                <a:path w="1807" h="1813" extrusionOk="0">
                  <a:moveTo>
                    <a:pt x="907" y="0"/>
                  </a:moveTo>
                  <a:cubicBezTo>
                    <a:pt x="686" y="0"/>
                    <a:pt x="459" y="83"/>
                    <a:pt x="274" y="268"/>
                  </a:cubicBezTo>
                  <a:cubicBezTo>
                    <a:pt x="215" y="328"/>
                    <a:pt x="215" y="423"/>
                    <a:pt x="274" y="506"/>
                  </a:cubicBezTo>
                  <a:cubicBezTo>
                    <a:pt x="304" y="536"/>
                    <a:pt x="346" y="551"/>
                    <a:pt x="389" y="551"/>
                  </a:cubicBezTo>
                  <a:cubicBezTo>
                    <a:pt x="432" y="551"/>
                    <a:pt x="477" y="536"/>
                    <a:pt x="512" y="506"/>
                  </a:cubicBezTo>
                  <a:cubicBezTo>
                    <a:pt x="625" y="394"/>
                    <a:pt x="767" y="336"/>
                    <a:pt x="908" y="336"/>
                  </a:cubicBezTo>
                  <a:cubicBezTo>
                    <a:pt x="1020" y="336"/>
                    <a:pt x="1132" y="373"/>
                    <a:pt x="1227" y="447"/>
                  </a:cubicBezTo>
                  <a:cubicBezTo>
                    <a:pt x="1489" y="625"/>
                    <a:pt x="1560" y="983"/>
                    <a:pt x="1381" y="1233"/>
                  </a:cubicBezTo>
                  <a:cubicBezTo>
                    <a:pt x="1265" y="1401"/>
                    <a:pt x="1087" y="1477"/>
                    <a:pt x="911" y="1477"/>
                  </a:cubicBezTo>
                  <a:cubicBezTo>
                    <a:pt x="639" y="1477"/>
                    <a:pt x="370" y="1294"/>
                    <a:pt x="334" y="983"/>
                  </a:cubicBezTo>
                  <a:cubicBezTo>
                    <a:pt x="323" y="894"/>
                    <a:pt x="260" y="827"/>
                    <a:pt x="176" y="827"/>
                  </a:cubicBezTo>
                  <a:cubicBezTo>
                    <a:pt x="169" y="827"/>
                    <a:pt x="162" y="827"/>
                    <a:pt x="155" y="828"/>
                  </a:cubicBezTo>
                  <a:cubicBezTo>
                    <a:pt x="72" y="840"/>
                    <a:pt x="0" y="923"/>
                    <a:pt x="12" y="1006"/>
                  </a:cubicBezTo>
                  <a:cubicBezTo>
                    <a:pt x="63" y="1513"/>
                    <a:pt x="487" y="1812"/>
                    <a:pt x="913" y="1812"/>
                  </a:cubicBezTo>
                  <a:cubicBezTo>
                    <a:pt x="1189" y="1812"/>
                    <a:pt x="1466" y="1687"/>
                    <a:pt x="1643" y="1411"/>
                  </a:cubicBezTo>
                  <a:cubicBezTo>
                    <a:pt x="1751" y="1256"/>
                    <a:pt x="1798" y="1078"/>
                    <a:pt x="1798" y="899"/>
                  </a:cubicBezTo>
                  <a:cubicBezTo>
                    <a:pt x="1806" y="360"/>
                    <a:pt x="1368" y="0"/>
                    <a:pt x="90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2" name="Google Shape;12512;p62"/>
            <p:cNvSpPr/>
            <p:nvPr/>
          </p:nvSpPr>
          <p:spPr>
            <a:xfrm>
              <a:off x="868326" y="2975027"/>
              <a:ext cx="192802" cy="82025"/>
            </a:xfrm>
            <a:custGeom>
              <a:avLst/>
              <a:gdLst/>
              <a:ahLst/>
              <a:cxnLst/>
              <a:rect l="l" t="t" r="r" b="b"/>
              <a:pathLst>
                <a:path w="6062" h="2579" extrusionOk="0">
                  <a:moveTo>
                    <a:pt x="3619" y="1"/>
                  </a:moveTo>
                  <a:cubicBezTo>
                    <a:pt x="2165" y="1"/>
                    <a:pt x="686" y="811"/>
                    <a:pt x="48" y="2364"/>
                  </a:cubicBezTo>
                  <a:cubicBezTo>
                    <a:pt x="1" y="2460"/>
                    <a:pt x="84" y="2579"/>
                    <a:pt x="203" y="2579"/>
                  </a:cubicBezTo>
                  <a:cubicBezTo>
                    <a:pt x="263" y="2579"/>
                    <a:pt x="334" y="2543"/>
                    <a:pt x="346" y="2483"/>
                  </a:cubicBezTo>
                  <a:cubicBezTo>
                    <a:pt x="909" y="1104"/>
                    <a:pt x="2222" y="332"/>
                    <a:pt x="3567" y="332"/>
                  </a:cubicBezTo>
                  <a:cubicBezTo>
                    <a:pt x="4242" y="332"/>
                    <a:pt x="4925" y="526"/>
                    <a:pt x="5525" y="936"/>
                  </a:cubicBezTo>
                  <a:cubicBezTo>
                    <a:pt x="5609" y="995"/>
                    <a:pt x="5680" y="1031"/>
                    <a:pt x="5752" y="1114"/>
                  </a:cubicBezTo>
                  <a:cubicBezTo>
                    <a:pt x="5784" y="1142"/>
                    <a:pt x="5824" y="1156"/>
                    <a:pt x="5864" y="1156"/>
                  </a:cubicBezTo>
                  <a:cubicBezTo>
                    <a:pt x="5911" y="1156"/>
                    <a:pt x="5957" y="1136"/>
                    <a:pt x="5990" y="1090"/>
                  </a:cubicBezTo>
                  <a:cubicBezTo>
                    <a:pt x="6061" y="1019"/>
                    <a:pt x="6049" y="912"/>
                    <a:pt x="5978" y="852"/>
                  </a:cubicBezTo>
                  <a:cubicBezTo>
                    <a:pt x="5317" y="280"/>
                    <a:pt x="4473" y="1"/>
                    <a:pt x="361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3" name="Google Shape;12513;p62"/>
            <p:cNvSpPr/>
            <p:nvPr/>
          </p:nvSpPr>
          <p:spPr>
            <a:xfrm>
              <a:off x="853950" y="3067580"/>
              <a:ext cx="137875" cy="168598"/>
            </a:xfrm>
            <a:custGeom>
              <a:avLst/>
              <a:gdLst/>
              <a:ahLst/>
              <a:cxnLst/>
              <a:rect l="l" t="t" r="r" b="b"/>
              <a:pathLst>
                <a:path w="4335" h="5301" extrusionOk="0">
                  <a:moveTo>
                    <a:pt x="479" y="1"/>
                  </a:moveTo>
                  <a:cubicBezTo>
                    <a:pt x="401" y="1"/>
                    <a:pt x="321" y="57"/>
                    <a:pt x="310" y="133"/>
                  </a:cubicBezTo>
                  <a:cubicBezTo>
                    <a:pt x="0" y="1633"/>
                    <a:pt x="608" y="3217"/>
                    <a:pt x="1893" y="4074"/>
                  </a:cubicBezTo>
                  <a:cubicBezTo>
                    <a:pt x="1965" y="4134"/>
                    <a:pt x="2858" y="4788"/>
                    <a:pt x="4072" y="5288"/>
                  </a:cubicBezTo>
                  <a:cubicBezTo>
                    <a:pt x="4084" y="5300"/>
                    <a:pt x="4120" y="5300"/>
                    <a:pt x="4132" y="5300"/>
                  </a:cubicBezTo>
                  <a:cubicBezTo>
                    <a:pt x="4191" y="5300"/>
                    <a:pt x="4275" y="5253"/>
                    <a:pt x="4287" y="5193"/>
                  </a:cubicBezTo>
                  <a:cubicBezTo>
                    <a:pt x="4334" y="5074"/>
                    <a:pt x="4287" y="4979"/>
                    <a:pt x="4191" y="4955"/>
                  </a:cubicBezTo>
                  <a:cubicBezTo>
                    <a:pt x="2989" y="4479"/>
                    <a:pt x="2084" y="3800"/>
                    <a:pt x="2084" y="3800"/>
                  </a:cubicBezTo>
                  <a:cubicBezTo>
                    <a:pt x="905" y="3002"/>
                    <a:pt x="346" y="1562"/>
                    <a:pt x="643" y="193"/>
                  </a:cubicBezTo>
                  <a:cubicBezTo>
                    <a:pt x="655" y="109"/>
                    <a:pt x="596" y="14"/>
                    <a:pt x="500" y="2"/>
                  </a:cubicBezTo>
                  <a:cubicBezTo>
                    <a:pt x="493" y="1"/>
                    <a:pt x="486" y="1"/>
                    <a:pt x="4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4" name="Google Shape;12514;p62"/>
            <p:cNvSpPr/>
            <p:nvPr/>
          </p:nvSpPr>
          <p:spPr>
            <a:xfrm>
              <a:off x="937248" y="3014975"/>
              <a:ext cx="87877" cy="57217"/>
            </a:xfrm>
            <a:custGeom>
              <a:avLst/>
              <a:gdLst/>
              <a:ahLst/>
              <a:cxnLst/>
              <a:rect l="l" t="t" r="r" b="b"/>
              <a:pathLst>
                <a:path w="2763" h="1799" extrusionOk="0">
                  <a:moveTo>
                    <a:pt x="2225" y="1"/>
                  </a:moveTo>
                  <a:cubicBezTo>
                    <a:pt x="2218" y="1"/>
                    <a:pt x="2211" y="1"/>
                    <a:pt x="2203" y="1"/>
                  </a:cubicBezTo>
                  <a:lnTo>
                    <a:pt x="941" y="61"/>
                  </a:lnTo>
                  <a:cubicBezTo>
                    <a:pt x="584" y="73"/>
                    <a:pt x="346" y="430"/>
                    <a:pt x="477" y="763"/>
                  </a:cubicBezTo>
                  <a:cubicBezTo>
                    <a:pt x="203" y="787"/>
                    <a:pt x="1" y="1025"/>
                    <a:pt x="13" y="1311"/>
                  </a:cubicBezTo>
                  <a:cubicBezTo>
                    <a:pt x="25" y="1597"/>
                    <a:pt x="263" y="1799"/>
                    <a:pt x="537" y="1799"/>
                  </a:cubicBezTo>
                  <a:cubicBezTo>
                    <a:pt x="560" y="1799"/>
                    <a:pt x="548" y="1799"/>
                    <a:pt x="953" y="1787"/>
                  </a:cubicBezTo>
                  <a:cubicBezTo>
                    <a:pt x="1037" y="1787"/>
                    <a:pt x="1120" y="1704"/>
                    <a:pt x="1120" y="1608"/>
                  </a:cubicBezTo>
                  <a:cubicBezTo>
                    <a:pt x="1120" y="1525"/>
                    <a:pt x="1025" y="1442"/>
                    <a:pt x="941" y="1442"/>
                  </a:cubicBezTo>
                  <a:lnTo>
                    <a:pt x="548" y="1466"/>
                  </a:lnTo>
                  <a:cubicBezTo>
                    <a:pt x="441" y="1466"/>
                    <a:pt x="346" y="1370"/>
                    <a:pt x="346" y="1263"/>
                  </a:cubicBezTo>
                  <a:cubicBezTo>
                    <a:pt x="346" y="1168"/>
                    <a:pt x="429" y="1073"/>
                    <a:pt x="537" y="1073"/>
                  </a:cubicBezTo>
                  <a:lnTo>
                    <a:pt x="667" y="1073"/>
                  </a:lnTo>
                  <a:cubicBezTo>
                    <a:pt x="858" y="1061"/>
                    <a:pt x="953" y="835"/>
                    <a:pt x="834" y="704"/>
                  </a:cubicBezTo>
                  <a:cubicBezTo>
                    <a:pt x="727" y="585"/>
                    <a:pt x="798" y="394"/>
                    <a:pt x="965" y="370"/>
                  </a:cubicBezTo>
                  <a:lnTo>
                    <a:pt x="2227" y="311"/>
                  </a:lnTo>
                  <a:cubicBezTo>
                    <a:pt x="2334" y="311"/>
                    <a:pt x="2442" y="406"/>
                    <a:pt x="2442" y="513"/>
                  </a:cubicBezTo>
                  <a:cubicBezTo>
                    <a:pt x="2442" y="608"/>
                    <a:pt x="2346" y="704"/>
                    <a:pt x="2263" y="704"/>
                  </a:cubicBezTo>
                  <a:lnTo>
                    <a:pt x="2144" y="704"/>
                  </a:lnTo>
                  <a:cubicBezTo>
                    <a:pt x="1953" y="716"/>
                    <a:pt x="1858" y="942"/>
                    <a:pt x="1977" y="1085"/>
                  </a:cubicBezTo>
                  <a:cubicBezTo>
                    <a:pt x="2084" y="1204"/>
                    <a:pt x="1989" y="1406"/>
                    <a:pt x="1834" y="1406"/>
                  </a:cubicBezTo>
                  <a:lnTo>
                    <a:pt x="1620" y="1418"/>
                  </a:lnTo>
                  <a:cubicBezTo>
                    <a:pt x="1537" y="1418"/>
                    <a:pt x="1453" y="1501"/>
                    <a:pt x="1453" y="1597"/>
                  </a:cubicBezTo>
                  <a:cubicBezTo>
                    <a:pt x="1453" y="1680"/>
                    <a:pt x="1549" y="1763"/>
                    <a:pt x="1632" y="1763"/>
                  </a:cubicBezTo>
                  <a:lnTo>
                    <a:pt x="1846" y="1739"/>
                  </a:lnTo>
                  <a:cubicBezTo>
                    <a:pt x="2203" y="1728"/>
                    <a:pt x="2442" y="1370"/>
                    <a:pt x="2322" y="1049"/>
                  </a:cubicBezTo>
                  <a:cubicBezTo>
                    <a:pt x="2561" y="1013"/>
                    <a:pt x="2763" y="775"/>
                    <a:pt x="2751" y="489"/>
                  </a:cubicBezTo>
                  <a:cubicBezTo>
                    <a:pt x="2739" y="222"/>
                    <a:pt x="2502" y="1"/>
                    <a:pt x="22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5" name="Google Shape;12515;p62"/>
            <p:cNvSpPr/>
            <p:nvPr/>
          </p:nvSpPr>
          <p:spPr>
            <a:xfrm>
              <a:off x="978912" y="3095664"/>
              <a:ext cx="78399" cy="79290"/>
            </a:xfrm>
            <a:custGeom>
              <a:avLst/>
              <a:gdLst/>
              <a:ahLst/>
              <a:cxnLst/>
              <a:rect l="l" t="t" r="r" b="b"/>
              <a:pathLst>
                <a:path w="2465" h="2493" extrusionOk="0">
                  <a:moveTo>
                    <a:pt x="1751" y="0"/>
                  </a:moveTo>
                  <a:cubicBezTo>
                    <a:pt x="1513" y="0"/>
                    <a:pt x="1477" y="95"/>
                    <a:pt x="381" y="691"/>
                  </a:cubicBezTo>
                  <a:cubicBezTo>
                    <a:pt x="72" y="869"/>
                    <a:pt x="24" y="1286"/>
                    <a:pt x="286" y="1524"/>
                  </a:cubicBezTo>
                  <a:cubicBezTo>
                    <a:pt x="84" y="1667"/>
                    <a:pt x="0" y="1929"/>
                    <a:pt x="72" y="2155"/>
                  </a:cubicBezTo>
                  <a:cubicBezTo>
                    <a:pt x="154" y="2370"/>
                    <a:pt x="351" y="2493"/>
                    <a:pt x="555" y="2493"/>
                  </a:cubicBezTo>
                  <a:cubicBezTo>
                    <a:pt x="646" y="2493"/>
                    <a:pt x="738" y="2468"/>
                    <a:pt x="822" y="2417"/>
                  </a:cubicBezTo>
                  <a:lnTo>
                    <a:pt x="1096" y="2262"/>
                  </a:lnTo>
                  <a:cubicBezTo>
                    <a:pt x="1179" y="2215"/>
                    <a:pt x="1203" y="2108"/>
                    <a:pt x="1155" y="2036"/>
                  </a:cubicBezTo>
                  <a:cubicBezTo>
                    <a:pt x="1131" y="1987"/>
                    <a:pt x="1073" y="1955"/>
                    <a:pt x="1016" y="1955"/>
                  </a:cubicBezTo>
                  <a:cubicBezTo>
                    <a:pt x="989" y="1955"/>
                    <a:pt x="963" y="1962"/>
                    <a:pt x="941" y="1977"/>
                  </a:cubicBezTo>
                  <a:lnTo>
                    <a:pt x="655" y="2143"/>
                  </a:lnTo>
                  <a:cubicBezTo>
                    <a:pt x="624" y="2161"/>
                    <a:pt x="591" y="2169"/>
                    <a:pt x="558" y="2169"/>
                  </a:cubicBezTo>
                  <a:cubicBezTo>
                    <a:pt x="479" y="2169"/>
                    <a:pt x="403" y="2120"/>
                    <a:pt x="370" y="2036"/>
                  </a:cubicBezTo>
                  <a:cubicBezTo>
                    <a:pt x="346" y="1965"/>
                    <a:pt x="381" y="1846"/>
                    <a:pt x="465" y="1798"/>
                  </a:cubicBezTo>
                  <a:cubicBezTo>
                    <a:pt x="643" y="1691"/>
                    <a:pt x="667" y="1441"/>
                    <a:pt x="489" y="1310"/>
                  </a:cubicBezTo>
                  <a:cubicBezTo>
                    <a:pt x="381" y="1215"/>
                    <a:pt x="405" y="1048"/>
                    <a:pt x="512" y="976"/>
                  </a:cubicBezTo>
                  <a:cubicBezTo>
                    <a:pt x="1691" y="322"/>
                    <a:pt x="1632" y="322"/>
                    <a:pt x="1727" y="322"/>
                  </a:cubicBezTo>
                  <a:cubicBezTo>
                    <a:pt x="1822" y="322"/>
                    <a:pt x="1917" y="417"/>
                    <a:pt x="1917" y="512"/>
                  </a:cubicBezTo>
                  <a:cubicBezTo>
                    <a:pt x="1917" y="679"/>
                    <a:pt x="1751" y="715"/>
                    <a:pt x="1691" y="750"/>
                  </a:cubicBezTo>
                  <a:cubicBezTo>
                    <a:pt x="1536" y="846"/>
                    <a:pt x="1548" y="1084"/>
                    <a:pt x="1727" y="1155"/>
                  </a:cubicBezTo>
                  <a:cubicBezTo>
                    <a:pt x="1882" y="1215"/>
                    <a:pt x="1882" y="1429"/>
                    <a:pt x="1739" y="1512"/>
                  </a:cubicBezTo>
                  <a:lnTo>
                    <a:pt x="1501" y="1643"/>
                  </a:lnTo>
                  <a:cubicBezTo>
                    <a:pt x="1429" y="1691"/>
                    <a:pt x="1393" y="1798"/>
                    <a:pt x="1441" y="1869"/>
                  </a:cubicBezTo>
                  <a:cubicBezTo>
                    <a:pt x="1474" y="1918"/>
                    <a:pt x="1529" y="1951"/>
                    <a:pt x="1587" y="1951"/>
                  </a:cubicBezTo>
                  <a:cubicBezTo>
                    <a:pt x="1614" y="1951"/>
                    <a:pt x="1641" y="1944"/>
                    <a:pt x="1667" y="1929"/>
                  </a:cubicBezTo>
                  <a:lnTo>
                    <a:pt x="1905" y="1798"/>
                  </a:lnTo>
                  <a:cubicBezTo>
                    <a:pt x="2215" y="1619"/>
                    <a:pt x="2275" y="1203"/>
                    <a:pt x="2001" y="953"/>
                  </a:cubicBezTo>
                  <a:cubicBezTo>
                    <a:pt x="2465" y="679"/>
                    <a:pt x="2275"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6" name="Google Shape;12516;p62"/>
            <p:cNvSpPr/>
            <p:nvPr/>
          </p:nvSpPr>
          <p:spPr>
            <a:xfrm>
              <a:off x="891067" y="3070697"/>
              <a:ext cx="74615" cy="77477"/>
            </a:xfrm>
            <a:custGeom>
              <a:avLst/>
              <a:gdLst/>
              <a:ahLst/>
              <a:cxnLst/>
              <a:rect l="l" t="t" r="r" b="b"/>
              <a:pathLst>
                <a:path w="2346" h="2436" extrusionOk="0">
                  <a:moveTo>
                    <a:pt x="534" y="1"/>
                  </a:moveTo>
                  <a:cubicBezTo>
                    <a:pt x="499" y="1"/>
                    <a:pt x="464" y="4"/>
                    <a:pt x="429" y="11"/>
                  </a:cubicBezTo>
                  <a:cubicBezTo>
                    <a:pt x="191" y="71"/>
                    <a:pt x="0" y="273"/>
                    <a:pt x="0" y="523"/>
                  </a:cubicBezTo>
                  <a:cubicBezTo>
                    <a:pt x="0" y="690"/>
                    <a:pt x="72" y="749"/>
                    <a:pt x="203" y="1107"/>
                  </a:cubicBezTo>
                  <a:cubicBezTo>
                    <a:pt x="220" y="1178"/>
                    <a:pt x="284" y="1215"/>
                    <a:pt x="345" y="1215"/>
                  </a:cubicBezTo>
                  <a:cubicBezTo>
                    <a:pt x="366" y="1215"/>
                    <a:pt x="387" y="1211"/>
                    <a:pt x="405" y="1202"/>
                  </a:cubicBezTo>
                  <a:cubicBezTo>
                    <a:pt x="500" y="1166"/>
                    <a:pt x="548" y="1059"/>
                    <a:pt x="500" y="988"/>
                  </a:cubicBezTo>
                  <a:cubicBezTo>
                    <a:pt x="345" y="583"/>
                    <a:pt x="334" y="583"/>
                    <a:pt x="334" y="523"/>
                  </a:cubicBezTo>
                  <a:cubicBezTo>
                    <a:pt x="334" y="416"/>
                    <a:pt x="429" y="333"/>
                    <a:pt x="512" y="333"/>
                  </a:cubicBezTo>
                  <a:cubicBezTo>
                    <a:pt x="584" y="333"/>
                    <a:pt x="679" y="392"/>
                    <a:pt x="703" y="464"/>
                  </a:cubicBezTo>
                  <a:cubicBezTo>
                    <a:pt x="738" y="511"/>
                    <a:pt x="750" y="738"/>
                    <a:pt x="965" y="738"/>
                  </a:cubicBezTo>
                  <a:cubicBezTo>
                    <a:pt x="1036" y="738"/>
                    <a:pt x="1107" y="690"/>
                    <a:pt x="1155" y="618"/>
                  </a:cubicBezTo>
                  <a:cubicBezTo>
                    <a:pt x="1188" y="557"/>
                    <a:pt x="1253" y="527"/>
                    <a:pt x="1318" y="527"/>
                  </a:cubicBezTo>
                  <a:cubicBezTo>
                    <a:pt x="1393" y="527"/>
                    <a:pt x="1469" y="566"/>
                    <a:pt x="1500" y="642"/>
                  </a:cubicBezTo>
                  <a:cubicBezTo>
                    <a:pt x="1977" y="1881"/>
                    <a:pt x="1977" y="1833"/>
                    <a:pt x="1977" y="1892"/>
                  </a:cubicBezTo>
                  <a:cubicBezTo>
                    <a:pt x="1977" y="2018"/>
                    <a:pt x="1874" y="2091"/>
                    <a:pt x="1773" y="2091"/>
                  </a:cubicBezTo>
                  <a:cubicBezTo>
                    <a:pt x="1701" y="2091"/>
                    <a:pt x="1630" y="2055"/>
                    <a:pt x="1596" y="1976"/>
                  </a:cubicBezTo>
                  <a:lnTo>
                    <a:pt x="1536" y="1833"/>
                  </a:lnTo>
                  <a:cubicBezTo>
                    <a:pt x="1498" y="1739"/>
                    <a:pt x="1415" y="1691"/>
                    <a:pt x="1332" y="1691"/>
                  </a:cubicBezTo>
                  <a:cubicBezTo>
                    <a:pt x="1257" y="1691"/>
                    <a:pt x="1183" y="1730"/>
                    <a:pt x="1143" y="1809"/>
                  </a:cubicBezTo>
                  <a:cubicBezTo>
                    <a:pt x="1105" y="1875"/>
                    <a:pt x="1041" y="1908"/>
                    <a:pt x="976" y="1908"/>
                  </a:cubicBezTo>
                  <a:cubicBezTo>
                    <a:pt x="901" y="1908"/>
                    <a:pt x="824" y="1863"/>
                    <a:pt x="786" y="1773"/>
                  </a:cubicBezTo>
                  <a:lnTo>
                    <a:pt x="726" y="1607"/>
                  </a:lnTo>
                  <a:cubicBezTo>
                    <a:pt x="700" y="1546"/>
                    <a:pt x="637" y="1504"/>
                    <a:pt x="577" y="1504"/>
                  </a:cubicBezTo>
                  <a:cubicBezTo>
                    <a:pt x="554" y="1504"/>
                    <a:pt x="532" y="1510"/>
                    <a:pt x="512" y="1523"/>
                  </a:cubicBezTo>
                  <a:cubicBezTo>
                    <a:pt x="429" y="1559"/>
                    <a:pt x="381" y="1654"/>
                    <a:pt x="429" y="1726"/>
                  </a:cubicBezTo>
                  <a:lnTo>
                    <a:pt x="488" y="1892"/>
                  </a:lnTo>
                  <a:cubicBezTo>
                    <a:pt x="574" y="2112"/>
                    <a:pt x="779" y="2244"/>
                    <a:pt x="987" y="2244"/>
                  </a:cubicBezTo>
                  <a:cubicBezTo>
                    <a:pt x="1095" y="2244"/>
                    <a:pt x="1204" y="2208"/>
                    <a:pt x="1298" y="2131"/>
                  </a:cubicBezTo>
                  <a:cubicBezTo>
                    <a:pt x="1390" y="2315"/>
                    <a:pt x="1583" y="2436"/>
                    <a:pt x="1793" y="2436"/>
                  </a:cubicBezTo>
                  <a:cubicBezTo>
                    <a:pt x="1853" y="2436"/>
                    <a:pt x="1915" y="2426"/>
                    <a:pt x="1977" y="2404"/>
                  </a:cubicBezTo>
                  <a:cubicBezTo>
                    <a:pt x="2179" y="2321"/>
                    <a:pt x="2310" y="2119"/>
                    <a:pt x="2310" y="1904"/>
                  </a:cubicBezTo>
                  <a:cubicBezTo>
                    <a:pt x="2346" y="1738"/>
                    <a:pt x="2298" y="1738"/>
                    <a:pt x="1834" y="523"/>
                  </a:cubicBezTo>
                  <a:cubicBezTo>
                    <a:pt x="1757" y="315"/>
                    <a:pt x="1555" y="192"/>
                    <a:pt x="1349" y="192"/>
                  </a:cubicBezTo>
                  <a:cubicBezTo>
                    <a:pt x="1236" y="192"/>
                    <a:pt x="1121" y="229"/>
                    <a:pt x="1024" y="309"/>
                  </a:cubicBezTo>
                  <a:cubicBezTo>
                    <a:pt x="933" y="116"/>
                    <a:pt x="737" y="1"/>
                    <a:pt x="5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17" name="Google Shape;12517;p62"/>
            <p:cNvSpPr/>
            <p:nvPr/>
          </p:nvSpPr>
          <p:spPr>
            <a:xfrm>
              <a:off x="999745" y="2894720"/>
              <a:ext cx="218310" cy="353290"/>
            </a:xfrm>
            <a:custGeom>
              <a:avLst/>
              <a:gdLst/>
              <a:ahLst/>
              <a:cxnLst/>
              <a:rect l="l" t="t" r="r" b="b"/>
              <a:pathLst>
                <a:path w="6864" h="11108" extrusionOk="0">
                  <a:moveTo>
                    <a:pt x="6633" y="1"/>
                  </a:moveTo>
                  <a:cubicBezTo>
                    <a:pt x="6605" y="1"/>
                    <a:pt x="6577" y="7"/>
                    <a:pt x="6549" y="20"/>
                  </a:cubicBezTo>
                  <a:cubicBezTo>
                    <a:pt x="5918" y="282"/>
                    <a:pt x="5299" y="698"/>
                    <a:pt x="4703" y="1246"/>
                  </a:cubicBezTo>
                  <a:cubicBezTo>
                    <a:pt x="4644" y="1306"/>
                    <a:pt x="4620" y="1413"/>
                    <a:pt x="4703" y="1484"/>
                  </a:cubicBezTo>
                  <a:cubicBezTo>
                    <a:pt x="4735" y="1516"/>
                    <a:pt x="4778" y="1538"/>
                    <a:pt x="4824" y="1538"/>
                  </a:cubicBezTo>
                  <a:cubicBezTo>
                    <a:pt x="4862" y="1538"/>
                    <a:pt x="4903" y="1523"/>
                    <a:pt x="4941" y="1484"/>
                  </a:cubicBezTo>
                  <a:cubicBezTo>
                    <a:pt x="5430" y="1032"/>
                    <a:pt x="5918" y="675"/>
                    <a:pt x="6442" y="413"/>
                  </a:cubicBezTo>
                  <a:lnTo>
                    <a:pt x="6442" y="413"/>
                  </a:lnTo>
                  <a:cubicBezTo>
                    <a:pt x="6084" y="1579"/>
                    <a:pt x="5299" y="2603"/>
                    <a:pt x="4429" y="3449"/>
                  </a:cubicBezTo>
                  <a:cubicBezTo>
                    <a:pt x="4413" y="3444"/>
                    <a:pt x="4397" y="3442"/>
                    <a:pt x="4382" y="3442"/>
                  </a:cubicBezTo>
                  <a:cubicBezTo>
                    <a:pt x="4269" y="3442"/>
                    <a:pt x="4172" y="3548"/>
                    <a:pt x="4203" y="3663"/>
                  </a:cubicBezTo>
                  <a:cubicBezTo>
                    <a:pt x="4108" y="3746"/>
                    <a:pt x="4013" y="3842"/>
                    <a:pt x="3929" y="3913"/>
                  </a:cubicBezTo>
                  <a:cubicBezTo>
                    <a:pt x="3786" y="3711"/>
                    <a:pt x="3572" y="3508"/>
                    <a:pt x="3358" y="3425"/>
                  </a:cubicBezTo>
                  <a:cubicBezTo>
                    <a:pt x="3417" y="3330"/>
                    <a:pt x="3489" y="3234"/>
                    <a:pt x="3548" y="3115"/>
                  </a:cubicBezTo>
                  <a:cubicBezTo>
                    <a:pt x="3727" y="3258"/>
                    <a:pt x="3763" y="3318"/>
                    <a:pt x="3870" y="3318"/>
                  </a:cubicBezTo>
                  <a:cubicBezTo>
                    <a:pt x="4013" y="3318"/>
                    <a:pt x="4084" y="3127"/>
                    <a:pt x="3965" y="3020"/>
                  </a:cubicBezTo>
                  <a:lnTo>
                    <a:pt x="3751" y="2830"/>
                  </a:lnTo>
                  <a:cubicBezTo>
                    <a:pt x="3786" y="2758"/>
                    <a:pt x="3775" y="2782"/>
                    <a:pt x="3810" y="2734"/>
                  </a:cubicBezTo>
                  <a:cubicBezTo>
                    <a:pt x="3810" y="2734"/>
                    <a:pt x="3941" y="2544"/>
                    <a:pt x="3953" y="2544"/>
                  </a:cubicBezTo>
                  <a:lnTo>
                    <a:pt x="4358" y="2889"/>
                  </a:lnTo>
                  <a:cubicBezTo>
                    <a:pt x="4390" y="2916"/>
                    <a:pt x="4430" y="2928"/>
                    <a:pt x="4469" y="2928"/>
                  </a:cubicBezTo>
                  <a:cubicBezTo>
                    <a:pt x="4516" y="2928"/>
                    <a:pt x="4563" y="2910"/>
                    <a:pt x="4596" y="2877"/>
                  </a:cubicBezTo>
                  <a:cubicBezTo>
                    <a:pt x="4656" y="2794"/>
                    <a:pt x="4644" y="2699"/>
                    <a:pt x="4584" y="2639"/>
                  </a:cubicBezTo>
                  <a:lnTo>
                    <a:pt x="4167" y="2282"/>
                  </a:lnTo>
                  <a:cubicBezTo>
                    <a:pt x="4263" y="2139"/>
                    <a:pt x="4370" y="2020"/>
                    <a:pt x="4489" y="1901"/>
                  </a:cubicBezTo>
                  <a:cubicBezTo>
                    <a:pt x="4548" y="1830"/>
                    <a:pt x="4548" y="1722"/>
                    <a:pt x="4477" y="1663"/>
                  </a:cubicBezTo>
                  <a:cubicBezTo>
                    <a:pt x="4444" y="1636"/>
                    <a:pt x="4404" y="1621"/>
                    <a:pt x="4364" y="1621"/>
                  </a:cubicBezTo>
                  <a:cubicBezTo>
                    <a:pt x="4317" y="1621"/>
                    <a:pt x="4271" y="1641"/>
                    <a:pt x="4239" y="1687"/>
                  </a:cubicBezTo>
                  <a:cubicBezTo>
                    <a:pt x="4001" y="1937"/>
                    <a:pt x="3775" y="2222"/>
                    <a:pt x="3536" y="2532"/>
                  </a:cubicBezTo>
                  <a:cubicBezTo>
                    <a:pt x="3536" y="2532"/>
                    <a:pt x="3310" y="2830"/>
                    <a:pt x="3013" y="3306"/>
                  </a:cubicBezTo>
                  <a:cubicBezTo>
                    <a:pt x="2985" y="3304"/>
                    <a:pt x="2957" y="3303"/>
                    <a:pt x="2929" y="3303"/>
                  </a:cubicBezTo>
                  <a:cubicBezTo>
                    <a:pt x="2484" y="3303"/>
                    <a:pt x="2071" y="3569"/>
                    <a:pt x="1858" y="3973"/>
                  </a:cubicBezTo>
                  <a:cubicBezTo>
                    <a:pt x="1762" y="4151"/>
                    <a:pt x="1750" y="4330"/>
                    <a:pt x="1679" y="4449"/>
                  </a:cubicBezTo>
                  <a:cubicBezTo>
                    <a:pt x="1608" y="4568"/>
                    <a:pt x="1500" y="4687"/>
                    <a:pt x="1346" y="4770"/>
                  </a:cubicBezTo>
                  <a:cubicBezTo>
                    <a:pt x="1191" y="4866"/>
                    <a:pt x="1024" y="4913"/>
                    <a:pt x="846" y="4961"/>
                  </a:cubicBezTo>
                  <a:cubicBezTo>
                    <a:pt x="786" y="4973"/>
                    <a:pt x="679" y="5008"/>
                    <a:pt x="572" y="5020"/>
                  </a:cubicBezTo>
                  <a:cubicBezTo>
                    <a:pt x="369" y="5056"/>
                    <a:pt x="274" y="5330"/>
                    <a:pt x="441" y="5485"/>
                  </a:cubicBezTo>
                  <a:cubicBezTo>
                    <a:pt x="560" y="5580"/>
                    <a:pt x="679" y="5687"/>
                    <a:pt x="810" y="5759"/>
                  </a:cubicBezTo>
                  <a:cubicBezTo>
                    <a:pt x="838" y="5775"/>
                    <a:pt x="868" y="5783"/>
                    <a:pt x="897" y="5783"/>
                  </a:cubicBezTo>
                  <a:cubicBezTo>
                    <a:pt x="953" y="5783"/>
                    <a:pt x="1005" y="5754"/>
                    <a:pt x="1036" y="5699"/>
                  </a:cubicBezTo>
                  <a:cubicBezTo>
                    <a:pt x="1084" y="5628"/>
                    <a:pt x="1048" y="5520"/>
                    <a:pt x="977" y="5485"/>
                  </a:cubicBezTo>
                  <a:cubicBezTo>
                    <a:pt x="905" y="5437"/>
                    <a:pt x="834" y="5378"/>
                    <a:pt x="750" y="5318"/>
                  </a:cubicBezTo>
                  <a:cubicBezTo>
                    <a:pt x="1250" y="5199"/>
                    <a:pt x="1679" y="5044"/>
                    <a:pt x="1941" y="4616"/>
                  </a:cubicBezTo>
                  <a:cubicBezTo>
                    <a:pt x="2048" y="4437"/>
                    <a:pt x="2084" y="4246"/>
                    <a:pt x="2143" y="4116"/>
                  </a:cubicBezTo>
                  <a:cubicBezTo>
                    <a:pt x="2278" y="3831"/>
                    <a:pt x="2583" y="3626"/>
                    <a:pt x="2911" y="3626"/>
                  </a:cubicBezTo>
                  <a:cubicBezTo>
                    <a:pt x="3105" y="3626"/>
                    <a:pt x="3308" y="3698"/>
                    <a:pt x="3489" y="3865"/>
                  </a:cubicBezTo>
                  <a:cubicBezTo>
                    <a:pt x="3929" y="4270"/>
                    <a:pt x="3786" y="4985"/>
                    <a:pt x="3239" y="5330"/>
                  </a:cubicBezTo>
                  <a:cubicBezTo>
                    <a:pt x="2867" y="5559"/>
                    <a:pt x="2374" y="5719"/>
                    <a:pt x="1899" y="5719"/>
                  </a:cubicBezTo>
                  <a:cubicBezTo>
                    <a:pt x="1780" y="5719"/>
                    <a:pt x="1662" y="5709"/>
                    <a:pt x="1548" y="5687"/>
                  </a:cubicBezTo>
                  <a:cubicBezTo>
                    <a:pt x="1540" y="5686"/>
                    <a:pt x="1532" y="5686"/>
                    <a:pt x="1524" y="5686"/>
                  </a:cubicBezTo>
                  <a:cubicBezTo>
                    <a:pt x="1439" y="5686"/>
                    <a:pt x="1367" y="5742"/>
                    <a:pt x="1346" y="5818"/>
                  </a:cubicBezTo>
                  <a:cubicBezTo>
                    <a:pt x="1334" y="5913"/>
                    <a:pt x="1393" y="5997"/>
                    <a:pt x="1489" y="6009"/>
                  </a:cubicBezTo>
                  <a:cubicBezTo>
                    <a:pt x="1628" y="6035"/>
                    <a:pt x="1767" y="6048"/>
                    <a:pt x="1907" y="6048"/>
                  </a:cubicBezTo>
                  <a:cubicBezTo>
                    <a:pt x="2077" y="6048"/>
                    <a:pt x="2247" y="6029"/>
                    <a:pt x="2417" y="5997"/>
                  </a:cubicBezTo>
                  <a:cubicBezTo>
                    <a:pt x="2465" y="6937"/>
                    <a:pt x="3096" y="7675"/>
                    <a:pt x="3906" y="8033"/>
                  </a:cubicBezTo>
                  <a:cubicBezTo>
                    <a:pt x="4298" y="8199"/>
                    <a:pt x="4548" y="8592"/>
                    <a:pt x="4548" y="9009"/>
                  </a:cubicBezTo>
                  <a:cubicBezTo>
                    <a:pt x="4548" y="9342"/>
                    <a:pt x="4370" y="9580"/>
                    <a:pt x="4370" y="9580"/>
                  </a:cubicBezTo>
                  <a:cubicBezTo>
                    <a:pt x="3673" y="10434"/>
                    <a:pt x="2786" y="10777"/>
                    <a:pt x="1813" y="10777"/>
                  </a:cubicBezTo>
                  <a:cubicBezTo>
                    <a:pt x="1307" y="10777"/>
                    <a:pt x="777" y="10684"/>
                    <a:pt x="238" y="10521"/>
                  </a:cubicBezTo>
                  <a:cubicBezTo>
                    <a:pt x="224" y="10517"/>
                    <a:pt x="210" y="10516"/>
                    <a:pt x="196" y="10516"/>
                  </a:cubicBezTo>
                  <a:cubicBezTo>
                    <a:pt x="119" y="10516"/>
                    <a:pt x="54" y="10568"/>
                    <a:pt x="24" y="10628"/>
                  </a:cubicBezTo>
                  <a:cubicBezTo>
                    <a:pt x="0" y="10712"/>
                    <a:pt x="60" y="10807"/>
                    <a:pt x="131" y="10831"/>
                  </a:cubicBezTo>
                  <a:cubicBezTo>
                    <a:pt x="707" y="11009"/>
                    <a:pt x="1272" y="11107"/>
                    <a:pt x="1811" y="11107"/>
                  </a:cubicBezTo>
                  <a:cubicBezTo>
                    <a:pt x="2890" y="11107"/>
                    <a:pt x="3866" y="10716"/>
                    <a:pt x="4620" y="9795"/>
                  </a:cubicBezTo>
                  <a:cubicBezTo>
                    <a:pt x="4620" y="9783"/>
                    <a:pt x="4644" y="9783"/>
                    <a:pt x="4644" y="9759"/>
                  </a:cubicBezTo>
                  <a:cubicBezTo>
                    <a:pt x="5120" y="9045"/>
                    <a:pt x="4834" y="8068"/>
                    <a:pt x="4048" y="7723"/>
                  </a:cubicBezTo>
                  <a:cubicBezTo>
                    <a:pt x="3310" y="7414"/>
                    <a:pt x="2763" y="6747"/>
                    <a:pt x="2751" y="5913"/>
                  </a:cubicBezTo>
                  <a:cubicBezTo>
                    <a:pt x="3132" y="5794"/>
                    <a:pt x="3405" y="5628"/>
                    <a:pt x="3417" y="5616"/>
                  </a:cubicBezTo>
                  <a:cubicBezTo>
                    <a:pt x="3953" y="5282"/>
                    <a:pt x="4179" y="4687"/>
                    <a:pt x="4060" y="4187"/>
                  </a:cubicBezTo>
                  <a:cubicBezTo>
                    <a:pt x="5251" y="3234"/>
                    <a:pt x="6430" y="1818"/>
                    <a:pt x="6834" y="258"/>
                  </a:cubicBezTo>
                  <a:cubicBezTo>
                    <a:pt x="6864" y="121"/>
                    <a:pt x="6757" y="1"/>
                    <a:pt x="663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8" name="Google Shape;12518;p62"/>
          <p:cNvGrpSpPr/>
          <p:nvPr/>
        </p:nvGrpSpPr>
        <p:grpSpPr>
          <a:xfrm>
            <a:off x="7066548" y="2912594"/>
            <a:ext cx="352209" cy="334938"/>
            <a:chOff x="7066548" y="2912594"/>
            <a:chExt cx="352209" cy="334938"/>
          </a:xfrm>
        </p:grpSpPr>
        <p:sp>
          <p:nvSpPr>
            <p:cNvPr id="12519" name="Google Shape;12519;p62"/>
            <p:cNvSpPr/>
            <p:nvPr/>
          </p:nvSpPr>
          <p:spPr>
            <a:xfrm>
              <a:off x="7066548" y="2912594"/>
              <a:ext cx="219264" cy="266399"/>
            </a:xfrm>
            <a:custGeom>
              <a:avLst/>
              <a:gdLst/>
              <a:ahLst/>
              <a:cxnLst/>
              <a:rect l="l" t="t" r="r" b="b"/>
              <a:pathLst>
                <a:path w="6894" h="8376" extrusionOk="0">
                  <a:moveTo>
                    <a:pt x="6584" y="363"/>
                  </a:moveTo>
                  <a:lnTo>
                    <a:pt x="6584" y="1839"/>
                  </a:lnTo>
                  <a:lnTo>
                    <a:pt x="1774" y="2911"/>
                  </a:lnTo>
                  <a:lnTo>
                    <a:pt x="1774" y="1434"/>
                  </a:lnTo>
                  <a:lnTo>
                    <a:pt x="6584" y="363"/>
                  </a:lnTo>
                  <a:close/>
                  <a:moveTo>
                    <a:pt x="6584" y="2137"/>
                  </a:moveTo>
                  <a:lnTo>
                    <a:pt x="6584" y="6078"/>
                  </a:lnTo>
                  <a:cubicBezTo>
                    <a:pt x="6584" y="6209"/>
                    <a:pt x="6525" y="6423"/>
                    <a:pt x="6346" y="6578"/>
                  </a:cubicBezTo>
                  <a:cubicBezTo>
                    <a:pt x="6203" y="6721"/>
                    <a:pt x="5989" y="6863"/>
                    <a:pt x="5596" y="6863"/>
                  </a:cubicBezTo>
                  <a:cubicBezTo>
                    <a:pt x="5191" y="6863"/>
                    <a:pt x="4882" y="6625"/>
                    <a:pt x="4882" y="6328"/>
                  </a:cubicBezTo>
                  <a:cubicBezTo>
                    <a:pt x="4882" y="6030"/>
                    <a:pt x="5215" y="5792"/>
                    <a:pt x="5596" y="5792"/>
                  </a:cubicBezTo>
                  <a:cubicBezTo>
                    <a:pt x="5751" y="5792"/>
                    <a:pt x="5906" y="5840"/>
                    <a:pt x="6084" y="5899"/>
                  </a:cubicBezTo>
                  <a:cubicBezTo>
                    <a:pt x="6104" y="5904"/>
                    <a:pt x="6126" y="5907"/>
                    <a:pt x="6148" y="5907"/>
                  </a:cubicBezTo>
                  <a:cubicBezTo>
                    <a:pt x="6179" y="5907"/>
                    <a:pt x="6211" y="5901"/>
                    <a:pt x="6239" y="5887"/>
                  </a:cubicBezTo>
                  <a:cubicBezTo>
                    <a:pt x="6287" y="5851"/>
                    <a:pt x="6311" y="5804"/>
                    <a:pt x="6311" y="5744"/>
                  </a:cubicBezTo>
                  <a:lnTo>
                    <a:pt x="6311" y="2196"/>
                  </a:lnTo>
                  <a:lnTo>
                    <a:pt x="6584" y="2137"/>
                  </a:lnTo>
                  <a:close/>
                  <a:moveTo>
                    <a:pt x="6735" y="1"/>
                  </a:moveTo>
                  <a:cubicBezTo>
                    <a:pt x="6724" y="1"/>
                    <a:pt x="6713" y="2"/>
                    <a:pt x="6704" y="5"/>
                  </a:cubicBezTo>
                  <a:lnTo>
                    <a:pt x="1560" y="1137"/>
                  </a:lnTo>
                  <a:cubicBezTo>
                    <a:pt x="1489" y="1148"/>
                    <a:pt x="1429" y="1220"/>
                    <a:pt x="1429" y="1303"/>
                  </a:cubicBezTo>
                  <a:lnTo>
                    <a:pt x="1429" y="3101"/>
                  </a:lnTo>
                  <a:lnTo>
                    <a:pt x="1429" y="4030"/>
                  </a:lnTo>
                  <a:cubicBezTo>
                    <a:pt x="1429" y="4113"/>
                    <a:pt x="1500" y="4185"/>
                    <a:pt x="1596" y="4185"/>
                  </a:cubicBezTo>
                  <a:cubicBezTo>
                    <a:pt x="1679" y="4185"/>
                    <a:pt x="1751" y="4113"/>
                    <a:pt x="1751" y="4030"/>
                  </a:cubicBezTo>
                  <a:lnTo>
                    <a:pt x="1751" y="3232"/>
                  </a:lnTo>
                  <a:lnTo>
                    <a:pt x="2024" y="3173"/>
                  </a:lnTo>
                  <a:lnTo>
                    <a:pt x="2024" y="7304"/>
                  </a:lnTo>
                  <a:cubicBezTo>
                    <a:pt x="2024" y="7459"/>
                    <a:pt x="1858" y="8078"/>
                    <a:pt x="1036" y="8078"/>
                  </a:cubicBezTo>
                  <a:cubicBezTo>
                    <a:pt x="643" y="8078"/>
                    <a:pt x="322" y="7840"/>
                    <a:pt x="322" y="7542"/>
                  </a:cubicBezTo>
                  <a:cubicBezTo>
                    <a:pt x="322" y="7244"/>
                    <a:pt x="655" y="7006"/>
                    <a:pt x="1036" y="7006"/>
                  </a:cubicBezTo>
                  <a:cubicBezTo>
                    <a:pt x="1191" y="7006"/>
                    <a:pt x="1358" y="7042"/>
                    <a:pt x="1536" y="7102"/>
                  </a:cubicBezTo>
                  <a:cubicBezTo>
                    <a:pt x="1552" y="7112"/>
                    <a:pt x="1573" y="7118"/>
                    <a:pt x="1596" y="7118"/>
                  </a:cubicBezTo>
                  <a:cubicBezTo>
                    <a:pt x="1623" y="7118"/>
                    <a:pt x="1653" y="7109"/>
                    <a:pt x="1679" y="7090"/>
                  </a:cubicBezTo>
                  <a:cubicBezTo>
                    <a:pt x="1727" y="7066"/>
                    <a:pt x="1751" y="7018"/>
                    <a:pt x="1751" y="6959"/>
                  </a:cubicBezTo>
                  <a:lnTo>
                    <a:pt x="1751" y="4744"/>
                  </a:lnTo>
                  <a:cubicBezTo>
                    <a:pt x="1751" y="4649"/>
                    <a:pt x="1679" y="4577"/>
                    <a:pt x="1596" y="4577"/>
                  </a:cubicBezTo>
                  <a:cubicBezTo>
                    <a:pt x="1500" y="4577"/>
                    <a:pt x="1429" y="4649"/>
                    <a:pt x="1429" y="4744"/>
                  </a:cubicBezTo>
                  <a:lnTo>
                    <a:pt x="1429" y="6732"/>
                  </a:lnTo>
                  <a:cubicBezTo>
                    <a:pt x="1298" y="6709"/>
                    <a:pt x="1167" y="6673"/>
                    <a:pt x="1048" y="6673"/>
                  </a:cubicBezTo>
                  <a:cubicBezTo>
                    <a:pt x="465" y="6673"/>
                    <a:pt x="0" y="7066"/>
                    <a:pt x="0" y="7518"/>
                  </a:cubicBezTo>
                  <a:cubicBezTo>
                    <a:pt x="0" y="7995"/>
                    <a:pt x="465" y="8376"/>
                    <a:pt x="1048" y="8376"/>
                  </a:cubicBezTo>
                  <a:cubicBezTo>
                    <a:pt x="1596" y="8376"/>
                    <a:pt x="1905" y="8137"/>
                    <a:pt x="2072" y="7935"/>
                  </a:cubicBezTo>
                  <a:cubicBezTo>
                    <a:pt x="2274" y="7697"/>
                    <a:pt x="2358" y="7435"/>
                    <a:pt x="2358" y="7268"/>
                  </a:cubicBezTo>
                  <a:lnTo>
                    <a:pt x="2358" y="3089"/>
                  </a:lnTo>
                  <a:lnTo>
                    <a:pt x="5965" y="2280"/>
                  </a:lnTo>
                  <a:lnTo>
                    <a:pt x="5965" y="5542"/>
                  </a:lnTo>
                  <a:cubicBezTo>
                    <a:pt x="5834" y="5518"/>
                    <a:pt x="5703" y="5482"/>
                    <a:pt x="5584" y="5482"/>
                  </a:cubicBezTo>
                  <a:cubicBezTo>
                    <a:pt x="5001" y="5482"/>
                    <a:pt x="4537" y="5875"/>
                    <a:pt x="4537" y="6328"/>
                  </a:cubicBezTo>
                  <a:cubicBezTo>
                    <a:pt x="4537" y="6804"/>
                    <a:pt x="5001" y="7185"/>
                    <a:pt x="5584" y="7185"/>
                  </a:cubicBezTo>
                  <a:cubicBezTo>
                    <a:pt x="6477" y="7185"/>
                    <a:pt x="6894" y="6506"/>
                    <a:pt x="6894" y="6054"/>
                  </a:cubicBezTo>
                  <a:lnTo>
                    <a:pt x="6894" y="1922"/>
                  </a:lnTo>
                  <a:lnTo>
                    <a:pt x="6894" y="125"/>
                  </a:lnTo>
                  <a:cubicBezTo>
                    <a:pt x="6894" y="113"/>
                    <a:pt x="6882" y="65"/>
                    <a:pt x="6834" y="29"/>
                  </a:cubicBezTo>
                  <a:cubicBezTo>
                    <a:pt x="6800" y="12"/>
                    <a:pt x="6765" y="1"/>
                    <a:pt x="67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0" name="Google Shape;12520;p62"/>
            <p:cNvSpPr/>
            <p:nvPr/>
          </p:nvSpPr>
          <p:spPr>
            <a:xfrm>
              <a:off x="7262690" y="2968571"/>
              <a:ext cx="156067" cy="278962"/>
            </a:xfrm>
            <a:custGeom>
              <a:avLst/>
              <a:gdLst/>
              <a:ahLst/>
              <a:cxnLst/>
              <a:rect l="l" t="t" r="r" b="b"/>
              <a:pathLst>
                <a:path w="4907" h="8771" extrusionOk="0">
                  <a:moveTo>
                    <a:pt x="1928" y="0"/>
                  </a:moveTo>
                  <a:cubicBezTo>
                    <a:pt x="1909" y="0"/>
                    <a:pt x="1889" y="3"/>
                    <a:pt x="1870" y="8"/>
                  </a:cubicBezTo>
                  <a:cubicBezTo>
                    <a:pt x="1787" y="31"/>
                    <a:pt x="1727" y="103"/>
                    <a:pt x="1727" y="210"/>
                  </a:cubicBezTo>
                  <a:lnTo>
                    <a:pt x="1727" y="3746"/>
                  </a:lnTo>
                  <a:cubicBezTo>
                    <a:pt x="1727" y="3841"/>
                    <a:pt x="1799" y="3913"/>
                    <a:pt x="1882" y="3913"/>
                  </a:cubicBezTo>
                  <a:cubicBezTo>
                    <a:pt x="1977" y="3913"/>
                    <a:pt x="2049" y="3841"/>
                    <a:pt x="2049" y="3746"/>
                  </a:cubicBezTo>
                  <a:lnTo>
                    <a:pt x="2049" y="627"/>
                  </a:lnTo>
                  <a:cubicBezTo>
                    <a:pt x="2108" y="734"/>
                    <a:pt x="2180" y="853"/>
                    <a:pt x="2275" y="972"/>
                  </a:cubicBezTo>
                  <a:lnTo>
                    <a:pt x="2287" y="984"/>
                  </a:lnTo>
                  <a:lnTo>
                    <a:pt x="2322" y="1008"/>
                  </a:lnTo>
                  <a:lnTo>
                    <a:pt x="2334" y="1032"/>
                  </a:lnTo>
                  <a:cubicBezTo>
                    <a:pt x="2858" y="1770"/>
                    <a:pt x="3346" y="2246"/>
                    <a:pt x="3787" y="2425"/>
                  </a:cubicBezTo>
                  <a:cubicBezTo>
                    <a:pt x="4180" y="2591"/>
                    <a:pt x="4370" y="3091"/>
                    <a:pt x="4466" y="3508"/>
                  </a:cubicBezTo>
                  <a:cubicBezTo>
                    <a:pt x="4525" y="3782"/>
                    <a:pt x="4549" y="4068"/>
                    <a:pt x="4573" y="4306"/>
                  </a:cubicBezTo>
                  <a:cubicBezTo>
                    <a:pt x="4216" y="3853"/>
                    <a:pt x="3573" y="3175"/>
                    <a:pt x="2561" y="2794"/>
                  </a:cubicBezTo>
                  <a:cubicBezTo>
                    <a:pt x="2543" y="2789"/>
                    <a:pt x="2524" y="2787"/>
                    <a:pt x="2505" y="2787"/>
                  </a:cubicBezTo>
                  <a:cubicBezTo>
                    <a:pt x="2471" y="2787"/>
                    <a:pt x="2436" y="2795"/>
                    <a:pt x="2406" y="2817"/>
                  </a:cubicBezTo>
                  <a:cubicBezTo>
                    <a:pt x="2358" y="2841"/>
                    <a:pt x="2334" y="2889"/>
                    <a:pt x="2334" y="2948"/>
                  </a:cubicBezTo>
                  <a:lnTo>
                    <a:pt x="2334" y="7366"/>
                  </a:lnTo>
                  <a:cubicBezTo>
                    <a:pt x="2334" y="7735"/>
                    <a:pt x="1894" y="8437"/>
                    <a:pt x="1191" y="8437"/>
                  </a:cubicBezTo>
                  <a:cubicBezTo>
                    <a:pt x="727" y="8437"/>
                    <a:pt x="334" y="8151"/>
                    <a:pt x="334" y="7818"/>
                  </a:cubicBezTo>
                  <a:cubicBezTo>
                    <a:pt x="334" y="7473"/>
                    <a:pt x="727" y="7187"/>
                    <a:pt x="1191" y="7187"/>
                  </a:cubicBezTo>
                  <a:cubicBezTo>
                    <a:pt x="1382" y="7187"/>
                    <a:pt x="1620" y="7247"/>
                    <a:pt x="1822" y="7354"/>
                  </a:cubicBezTo>
                  <a:cubicBezTo>
                    <a:pt x="1841" y="7363"/>
                    <a:pt x="1861" y="7367"/>
                    <a:pt x="1881" y="7367"/>
                  </a:cubicBezTo>
                  <a:cubicBezTo>
                    <a:pt x="1914" y="7367"/>
                    <a:pt x="1948" y="7357"/>
                    <a:pt x="1977" y="7342"/>
                  </a:cubicBezTo>
                  <a:cubicBezTo>
                    <a:pt x="2013" y="7306"/>
                    <a:pt x="2049" y="7258"/>
                    <a:pt x="2049" y="7199"/>
                  </a:cubicBezTo>
                  <a:lnTo>
                    <a:pt x="2049" y="4520"/>
                  </a:lnTo>
                  <a:cubicBezTo>
                    <a:pt x="2049" y="4437"/>
                    <a:pt x="1977" y="4365"/>
                    <a:pt x="1882" y="4365"/>
                  </a:cubicBezTo>
                  <a:cubicBezTo>
                    <a:pt x="1799" y="4365"/>
                    <a:pt x="1727" y="4437"/>
                    <a:pt x="1727" y="4520"/>
                  </a:cubicBezTo>
                  <a:lnTo>
                    <a:pt x="1727" y="6961"/>
                  </a:lnTo>
                  <a:cubicBezTo>
                    <a:pt x="1525" y="6901"/>
                    <a:pt x="1334" y="6866"/>
                    <a:pt x="1168" y="6866"/>
                  </a:cubicBezTo>
                  <a:cubicBezTo>
                    <a:pt x="537" y="6866"/>
                    <a:pt x="1" y="7294"/>
                    <a:pt x="1" y="7818"/>
                  </a:cubicBezTo>
                  <a:cubicBezTo>
                    <a:pt x="1" y="8330"/>
                    <a:pt x="513" y="8771"/>
                    <a:pt x="1168" y="8771"/>
                  </a:cubicBezTo>
                  <a:cubicBezTo>
                    <a:pt x="1584" y="8771"/>
                    <a:pt x="1977" y="8592"/>
                    <a:pt x="2263" y="8259"/>
                  </a:cubicBezTo>
                  <a:cubicBezTo>
                    <a:pt x="2489" y="7997"/>
                    <a:pt x="2644" y="7651"/>
                    <a:pt x="2644" y="7366"/>
                  </a:cubicBezTo>
                  <a:lnTo>
                    <a:pt x="2644" y="3187"/>
                  </a:lnTo>
                  <a:cubicBezTo>
                    <a:pt x="3775" y="3675"/>
                    <a:pt x="4382" y="4568"/>
                    <a:pt x="4549" y="4842"/>
                  </a:cubicBezTo>
                  <a:cubicBezTo>
                    <a:pt x="4589" y="4901"/>
                    <a:pt x="4654" y="4928"/>
                    <a:pt x="4723" y="4928"/>
                  </a:cubicBezTo>
                  <a:cubicBezTo>
                    <a:pt x="4736" y="4928"/>
                    <a:pt x="4750" y="4927"/>
                    <a:pt x="4763" y="4925"/>
                  </a:cubicBezTo>
                  <a:cubicBezTo>
                    <a:pt x="4847" y="4901"/>
                    <a:pt x="4894" y="4818"/>
                    <a:pt x="4894" y="4746"/>
                  </a:cubicBezTo>
                  <a:cubicBezTo>
                    <a:pt x="4906" y="4544"/>
                    <a:pt x="4894" y="3996"/>
                    <a:pt x="4763" y="3460"/>
                  </a:cubicBezTo>
                  <a:cubicBezTo>
                    <a:pt x="4597" y="2758"/>
                    <a:pt x="4311" y="2329"/>
                    <a:pt x="3894" y="2151"/>
                  </a:cubicBezTo>
                  <a:cubicBezTo>
                    <a:pt x="3513" y="1984"/>
                    <a:pt x="3061" y="1555"/>
                    <a:pt x="2584" y="865"/>
                  </a:cubicBezTo>
                  <a:cubicBezTo>
                    <a:pt x="2572" y="841"/>
                    <a:pt x="2561" y="805"/>
                    <a:pt x="2525" y="781"/>
                  </a:cubicBezTo>
                  <a:cubicBezTo>
                    <a:pt x="2346" y="508"/>
                    <a:pt x="2203" y="270"/>
                    <a:pt x="2108" y="103"/>
                  </a:cubicBezTo>
                  <a:cubicBezTo>
                    <a:pt x="2070" y="36"/>
                    <a:pt x="2002" y="0"/>
                    <a:pt x="19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1" name="Google Shape;12521;p62"/>
            <p:cNvSpPr/>
            <p:nvPr/>
          </p:nvSpPr>
          <p:spPr>
            <a:xfrm>
              <a:off x="7356610" y="3200843"/>
              <a:ext cx="58362" cy="24363"/>
            </a:xfrm>
            <a:custGeom>
              <a:avLst/>
              <a:gdLst/>
              <a:ahLst/>
              <a:cxnLst/>
              <a:rect l="l" t="t" r="r" b="b"/>
              <a:pathLst>
                <a:path w="1835" h="766" extrusionOk="0">
                  <a:moveTo>
                    <a:pt x="1669" y="1"/>
                  </a:moveTo>
                  <a:cubicBezTo>
                    <a:pt x="1636" y="1"/>
                    <a:pt x="1603" y="13"/>
                    <a:pt x="1572" y="39"/>
                  </a:cubicBezTo>
                  <a:cubicBezTo>
                    <a:pt x="1572" y="39"/>
                    <a:pt x="1120" y="348"/>
                    <a:pt x="155" y="444"/>
                  </a:cubicBezTo>
                  <a:cubicBezTo>
                    <a:pt x="60" y="456"/>
                    <a:pt x="0" y="527"/>
                    <a:pt x="0" y="622"/>
                  </a:cubicBezTo>
                  <a:cubicBezTo>
                    <a:pt x="24" y="706"/>
                    <a:pt x="84" y="765"/>
                    <a:pt x="167" y="765"/>
                  </a:cubicBezTo>
                  <a:lnTo>
                    <a:pt x="179" y="765"/>
                  </a:lnTo>
                  <a:cubicBezTo>
                    <a:pt x="1263" y="658"/>
                    <a:pt x="1739" y="325"/>
                    <a:pt x="1763" y="301"/>
                  </a:cubicBezTo>
                  <a:cubicBezTo>
                    <a:pt x="1822" y="229"/>
                    <a:pt x="1834" y="146"/>
                    <a:pt x="1786" y="63"/>
                  </a:cubicBezTo>
                  <a:cubicBezTo>
                    <a:pt x="1753" y="22"/>
                    <a:pt x="1711" y="1"/>
                    <a:pt x="16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2" name="Google Shape;12522;p62"/>
            <p:cNvSpPr/>
            <p:nvPr/>
          </p:nvSpPr>
          <p:spPr>
            <a:xfrm>
              <a:off x="7068806" y="3188821"/>
              <a:ext cx="179539" cy="24617"/>
            </a:xfrm>
            <a:custGeom>
              <a:avLst/>
              <a:gdLst/>
              <a:ahLst/>
              <a:cxnLst/>
              <a:rect l="l" t="t" r="r" b="b"/>
              <a:pathLst>
                <a:path w="5645" h="774" extrusionOk="0">
                  <a:moveTo>
                    <a:pt x="1675" y="1"/>
                  </a:moveTo>
                  <a:cubicBezTo>
                    <a:pt x="1452" y="1"/>
                    <a:pt x="1243" y="9"/>
                    <a:pt x="1048" y="24"/>
                  </a:cubicBezTo>
                  <a:cubicBezTo>
                    <a:pt x="632" y="60"/>
                    <a:pt x="322" y="131"/>
                    <a:pt x="144" y="202"/>
                  </a:cubicBezTo>
                  <a:cubicBezTo>
                    <a:pt x="36" y="250"/>
                    <a:pt x="1" y="369"/>
                    <a:pt x="84" y="464"/>
                  </a:cubicBezTo>
                  <a:cubicBezTo>
                    <a:pt x="106" y="502"/>
                    <a:pt x="147" y="520"/>
                    <a:pt x="189" y="520"/>
                  </a:cubicBezTo>
                  <a:cubicBezTo>
                    <a:pt x="215" y="520"/>
                    <a:pt x="240" y="514"/>
                    <a:pt x="263" y="500"/>
                  </a:cubicBezTo>
                  <a:cubicBezTo>
                    <a:pt x="394" y="441"/>
                    <a:pt x="656" y="369"/>
                    <a:pt x="1168" y="345"/>
                  </a:cubicBezTo>
                  <a:cubicBezTo>
                    <a:pt x="1340" y="332"/>
                    <a:pt x="1521" y="327"/>
                    <a:pt x="1709" y="327"/>
                  </a:cubicBezTo>
                  <a:cubicBezTo>
                    <a:pt x="2909" y="327"/>
                    <a:pt x="4373" y="568"/>
                    <a:pt x="5454" y="774"/>
                  </a:cubicBezTo>
                  <a:lnTo>
                    <a:pt x="5478" y="774"/>
                  </a:lnTo>
                  <a:cubicBezTo>
                    <a:pt x="5561" y="774"/>
                    <a:pt x="5632" y="714"/>
                    <a:pt x="5644" y="643"/>
                  </a:cubicBezTo>
                  <a:cubicBezTo>
                    <a:pt x="5644" y="560"/>
                    <a:pt x="5585" y="488"/>
                    <a:pt x="5513" y="464"/>
                  </a:cubicBezTo>
                  <a:cubicBezTo>
                    <a:pt x="3958" y="153"/>
                    <a:pt x="2672" y="1"/>
                    <a:pt x="16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3" name="Google Shape;12523;p62"/>
            <p:cNvSpPr/>
            <p:nvPr/>
          </p:nvSpPr>
          <p:spPr>
            <a:xfrm>
              <a:off x="7361158" y="3154726"/>
              <a:ext cx="49997" cy="20482"/>
            </a:xfrm>
            <a:custGeom>
              <a:avLst/>
              <a:gdLst/>
              <a:ahLst/>
              <a:cxnLst/>
              <a:rect l="l" t="t" r="r" b="b"/>
              <a:pathLst>
                <a:path w="1572" h="644" extrusionOk="0">
                  <a:moveTo>
                    <a:pt x="1375" y="1"/>
                  </a:moveTo>
                  <a:cubicBezTo>
                    <a:pt x="1352" y="1"/>
                    <a:pt x="1330" y="5"/>
                    <a:pt x="1310" y="12"/>
                  </a:cubicBezTo>
                  <a:cubicBezTo>
                    <a:pt x="1131" y="120"/>
                    <a:pt x="750" y="251"/>
                    <a:pt x="143" y="310"/>
                  </a:cubicBezTo>
                  <a:cubicBezTo>
                    <a:pt x="60" y="322"/>
                    <a:pt x="0" y="382"/>
                    <a:pt x="0" y="477"/>
                  </a:cubicBezTo>
                  <a:cubicBezTo>
                    <a:pt x="0" y="560"/>
                    <a:pt x="72" y="643"/>
                    <a:pt x="155" y="643"/>
                  </a:cubicBezTo>
                  <a:lnTo>
                    <a:pt x="179" y="643"/>
                  </a:lnTo>
                  <a:cubicBezTo>
                    <a:pt x="881" y="584"/>
                    <a:pt x="1274" y="417"/>
                    <a:pt x="1465" y="310"/>
                  </a:cubicBezTo>
                  <a:cubicBezTo>
                    <a:pt x="1560" y="251"/>
                    <a:pt x="1572" y="120"/>
                    <a:pt x="1501" y="48"/>
                  </a:cubicBezTo>
                  <a:cubicBezTo>
                    <a:pt x="1469" y="16"/>
                    <a:pt x="1421" y="1"/>
                    <a:pt x="13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4" name="Google Shape;12524;p62"/>
            <p:cNvSpPr/>
            <p:nvPr/>
          </p:nvSpPr>
          <p:spPr>
            <a:xfrm>
              <a:off x="7155920" y="3139523"/>
              <a:ext cx="148084" cy="33045"/>
            </a:xfrm>
            <a:custGeom>
              <a:avLst/>
              <a:gdLst/>
              <a:ahLst/>
              <a:cxnLst/>
              <a:rect l="l" t="t" r="r" b="b"/>
              <a:pathLst>
                <a:path w="4656" h="1039" extrusionOk="0">
                  <a:moveTo>
                    <a:pt x="172" y="1"/>
                  </a:moveTo>
                  <a:cubicBezTo>
                    <a:pt x="97" y="1"/>
                    <a:pt x="34" y="68"/>
                    <a:pt x="12" y="145"/>
                  </a:cubicBezTo>
                  <a:cubicBezTo>
                    <a:pt x="0" y="240"/>
                    <a:pt x="84" y="312"/>
                    <a:pt x="167" y="324"/>
                  </a:cubicBezTo>
                  <a:cubicBezTo>
                    <a:pt x="726" y="383"/>
                    <a:pt x="1536" y="526"/>
                    <a:pt x="2489" y="705"/>
                  </a:cubicBezTo>
                  <a:cubicBezTo>
                    <a:pt x="3382" y="883"/>
                    <a:pt x="4001" y="979"/>
                    <a:pt x="4477" y="1038"/>
                  </a:cubicBezTo>
                  <a:lnTo>
                    <a:pt x="4501" y="1038"/>
                  </a:lnTo>
                  <a:cubicBezTo>
                    <a:pt x="4572" y="1038"/>
                    <a:pt x="4644" y="979"/>
                    <a:pt x="4656" y="895"/>
                  </a:cubicBezTo>
                  <a:cubicBezTo>
                    <a:pt x="4644" y="824"/>
                    <a:pt x="4584" y="740"/>
                    <a:pt x="4501" y="729"/>
                  </a:cubicBezTo>
                  <a:cubicBezTo>
                    <a:pt x="4036" y="669"/>
                    <a:pt x="3417" y="562"/>
                    <a:pt x="2536" y="383"/>
                  </a:cubicBezTo>
                  <a:cubicBezTo>
                    <a:pt x="1584" y="193"/>
                    <a:pt x="762" y="62"/>
                    <a:pt x="191" y="2"/>
                  </a:cubicBezTo>
                  <a:cubicBezTo>
                    <a:pt x="185" y="1"/>
                    <a:pt x="178" y="1"/>
                    <a:pt x="1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525" name="Google Shape;12525;p62"/>
          <p:cNvSpPr/>
          <p:nvPr/>
        </p:nvSpPr>
        <p:spPr>
          <a:xfrm>
            <a:off x="6591286" y="2883970"/>
            <a:ext cx="390088" cy="357520"/>
          </a:xfrm>
          <a:custGeom>
            <a:avLst/>
            <a:gdLst/>
            <a:ahLst/>
            <a:cxnLst/>
            <a:rect l="l" t="t" r="r" b="b"/>
            <a:pathLst>
              <a:path w="12265" h="11241" extrusionOk="0">
                <a:moveTo>
                  <a:pt x="11645" y="358"/>
                </a:moveTo>
                <a:cubicBezTo>
                  <a:pt x="11562" y="465"/>
                  <a:pt x="11431" y="584"/>
                  <a:pt x="11229" y="715"/>
                </a:cubicBezTo>
                <a:lnTo>
                  <a:pt x="11205" y="715"/>
                </a:lnTo>
                <a:cubicBezTo>
                  <a:pt x="11193" y="727"/>
                  <a:pt x="11181" y="727"/>
                  <a:pt x="11169" y="739"/>
                </a:cubicBezTo>
                <a:cubicBezTo>
                  <a:pt x="11169" y="739"/>
                  <a:pt x="11145" y="739"/>
                  <a:pt x="11145" y="763"/>
                </a:cubicBezTo>
                <a:cubicBezTo>
                  <a:pt x="11133" y="763"/>
                  <a:pt x="11133" y="774"/>
                  <a:pt x="11121" y="774"/>
                </a:cubicBezTo>
                <a:cubicBezTo>
                  <a:pt x="11109" y="774"/>
                  <a:pt x="11109" y="786"/>
                  <a:pt x="11086" y="786"/>
                </a:cubicBezTo>
                <a:cubicBezTo>
                  <a:pt x="11074" y="786"/>
                  <a:pt x="11074" y="798"/>
                  <a:pt x="11062" y="798"/>
                </a:cubicBezTo>
                <a:cubicBezTo>
                  <a:pt x="11050" y="798"/>
                  <a:pt x="11050" y="822"/>
                  <a:pt x="11026" y="822"/>
                </a:cubicBezTo>
                <a:cubicBezTo>
                  <a:pt x="11002" y="834"/>
                  <a:pt x="10967" y="846"/>
                  <a:pt x="10955" y="858"/>
                </a:cubicBezTo>
                <a:cubicBezTo>
                  <a:pt x="10955" y="858"/>
                  <a:pt x="10943" y="882"/>
                  <a:pt x="10931" y="882"/>
                </a:cubicBezTo>
                <a:cubicBezTo>
                  <a:pt x="10907" y="882"/>
                  <a:pt x="10907" y="894"/>
                  <a:pt x="10895" y="894"/>
                </a:cubicBezTo>
                <a:cubicBezTo>
                  <a:pt x="10883" y="894"/>
                  <a:pt x="10883" y="905"/>
                  <a:pt x="10871" y="905"/>
                </a:cubicBezTo>
                <a:cubicBezTo>
                  <a:pt x="10848" y="905"/>
                  <a:pt x="10848" y="917"/>
                  <a:pt x="10836" y="917"/>
                </a:cubicBezTo>
                <a:cubicBezTo>
                  <a:pt x="10824" y="917"/>
                  <a:pt x="10800" y="941"/>
                  <a:pt x="10788" y="941"/>
                </a:cubicBezTo>
                <a:cubicBezTo>
                  <a:pt x="10776" y="941"/>
                  <a:pt x="10776" y="941"/>
                  <a:pt x="10764" y="953"/>
                </a:cubicBezTo>
                <a:cubicBezTo>
                  <a:pt x="10752" y="965"/>
                  <a:pt x="10728" y="965"/>
                  <a:pt x="10705" y="977"/>
                </a:cubicBezTo>
                <a:lnTo>
                  <a:pt x="10693" y="977"/>
                </a:lnTo>
                <a:cubicBezTo>
                  <a:pt x="10609" y="1013"/>
                  <a:pt x="10538" y="1036"/>
                  <a:pt x="10455" y="1084"/>
                </a:cubicBezTo>
                <a:cubicBezTo>
                  <a:pt x="10347" y="1132"/>
                  <a:pt x="10228" y="1179"/>
                  <a:pt x="10109" y="1203"/>
                </a:cubicBezTo>
                <a:cubicBezTo>
                  <a:pt x="9776" y="1310"/>
                  <a:pt x="9419" y="1417"/>
                  <a:pt x="9038" y="1489"/>
                </a:cubicBezTo>
                <a:lnTo>
                  <a:pt x="9026" y="1489"/>
                </a:lnTo>
                <a:cubicBezTo>
                  <a:pt x="8669" y="1560"/>
                  <a:pt x="8288" y="1620"/>
                  <a:pt x="7907" y="1667"/>
                </a:cubicBezTo>
                <a:lnTo>
                  <a:pt x="7895" y="1667"/>
                </a:lnTo>
                <a:cubicBezTo>
                  <a:pt x="7311" y="1739"/>
                  <a:pt x="6704" y="1775"/>
                  <a:pt x="6085" y="1775"/>
                </a:cubicBezTo>
                <a:cubicBezTo>
                  <a:pt x="5478" y="1775"/>
                  <a:pt x="4871" y="1739"/>
                  <a:pt x="4287" y="1667"/>
                </a:cubicBezTo>
                <a:lnTo>
                  <a:pt x="4275" y="1667"/>
                </a:lnTo>
                <a:cubicBezTo>
                  <a:pt x="3882" y="1620"/>
                  <a:pt x="3513" y="1560"/>
                  <a:pt x="3156" y="1489"/>
                </a:cubicBezTo>
                <a:lnTo>
                  <a:pt x="3144" y="1489"/>
                </a:lnTo>
                <a:cubicBezTo>
                  <a:pt x="2775" y="1417"/>
                  <a:pt x="2418" y="1310"/>
                  <a:pt x="2073" y="1203"/>
                </a:cubicBezTo>
                <a:cubicBezTo>
                  <a:pt x="1954" y="1155"/>
                  <a:pt x="1835" y="1120"/>
                  <a:pt x="1727" y="1084"/>
                </a:cubicBezTo>
                <a:cubicBezTo>
                  <a:pt x="1644" y="1060"/>
                  <a:pt x="1561" y="1025"/>
                  <a:pt x="1489" y="977"/>
                </a:cubicBezTo>
                <a:lnTo>
                  <a:pt x="1477" y="977"/>
                </a:lnTo>
                <a:cubicBezTo>
                  <a:pt x="1465" y="965"/>
                  <a:pt x="1442" y="965"/>
                  <a:pt x="1418" y="953"/>
                </a:cubicBezTo>
                <a:cubicBezTo>
                  <a:pt x="1406" y="953"/>
                  <a:pt x="1406" y="953"/>
                  <a:pt x="1382" y="941"/>
                </a:cubicBezTo>
                <a:cubicBezTo>
                  <a:pt x="1370" y="941"/>
                  <a:pt x="1358" y="917"/>
                  <a:pt x="1346" y="917"/>
                </a:cubicBezTo>
                <a:cubicBezTo>
                  <a:pt x="1323" y="917"/>
                  <a:pt x="1323" y="905"/>
                  <a:pt x="1311" y="905"/>
                </a:cubicBezTo>
                <a:cubicBezTo>
                  <a:pt x="1299" y="905"/>
                  <a:pt x="1299" y="894"/>
                  <a:pt x="1287" y="894"/>
                </a:cubicBezTo>
                <a:cubicBezTo>
                  <a:pt x="1263" y="894"/>
                  <a:pt x="1263" y="882"/>
                  <a:pt x="1251" y="882"/>
                </a:cubicBezTo>
                <a:cubicBezTo>
                  <a:pt x="1239" y="882"/>
                  <a:pt x="1239" y="858"/>
                  <a:pt x="1227" y="858"/>
                </a:cubicBezTo>
                <a:cubicBezTo>
                  <a:pt x="1192" y="846"/>
                  <a:pt x="1168" y="834"/>
                  <a:pt x="1144" y="822"/>
                </a:cubicBezTo>
                <a:cubicBezTo>
                  <a:pt x="1132" y="822"/>
                  <a:pt x="1132" y="798"/>
                  <a:pt x="1120" y="798"/>
                </a:cubicBezTo>
                <a:cubicBezTo>
                  <a:pt x="1108" y="798"/>
                  <a:pt x="1108" y="786"/>
                  <a:pt x="1084" y="786"/>
                </a:cubicBezTo>
                <a:cubicBezTo>
                  <a:pt x="1073" y="786"/>
                  <a:pt x="1073" y="774"/>
                  <a:pt x="1061" y="774"/>
                </a:cubicBezTo>
                <a:cubicBezTo>
                  <a:pt x="1049" y="774"/>
                  <a:pt x="1049" y="763"/>
                  <a:pt x="1025" y="763"/>
                </a:cubicBezTo>
                <a:cubicBezTo>
                  <a:pt x="1025" y="763"/>
                  <a:pt x="1013" y="763"/>
                  <a:pt x="1013" y="739"/>
                </a:cubicBezTo>
                <a:cubicBezTo>
                  <a:pt x="1001" y="727"/>
                  <a:pt x="989" y="727"/>
                  <a:pt x="965" y="715"/>
                </a:cubicBezTo>
                <a:lnTo>
                  <a:pt x="953" y="715"/>
                </a:lnTo>
                <a:cubicBezTo>
                  <a:pt x="751" y="584"/>
                  <a:pt x="608" y="453"/>
                  <a:pt x="537" y="358"/>
                </a:cubicBezTo>
                <a:close/>
                <a:moveTo>
                  <a:pt x="1537" y="5680"/>
                </a:moveTo>
                <a:lnTo>
                  <a:pt x="1537" y="6037"/>
                </a:lnTo>
                <a:lnTo>
                  <a:pt x="358" y="6037"/>
                </a:lnTo>
                <a:lnTo>
                  <a:pt x="358" y="5680"/>
                </a:lnTo>
                <a:close/>
                <a:moveTo>
                  <a:pt x="11895" y="5680"/>
                </a:moveTo>
                <a:lnTo>
                  <a:pt x="11895" y="6037"/>
                </a:lnTo>
                <a:lnTo>
                  <a:pt x="10717" y="6037"/>
                </a:lnTo>
                <a:lnTo>
                  <a:pt x="10717" y="5680"/>
                </a:lnTo>
                <a:close/>
                <a:moveTo>
                  <a:pt x="11717" y="798"/>
                </a:moveTo>
                <a:lnTo>
                  <a:pt x="11717" y="5323"/>
                </a:lnTo>
                <a:lnTo>
                  <a:pt x="10717" y="5323"/>
                </a:lnTo>
                <a:cubicBezTo>
                  <a:pt x="10526" y="5323"/>
                  <a:pt x="10359" y="5489"/>
                  <a:pt x="10359" y="5680"/>
                </a:cubicBezTo>
                <a:lnTo>
                  <a:pt x="10359" y="6049"/>
                </a:lnTo>
                <a:cubicBezTo>
                  <a:pt x="10359" y="6144"/>
                  <a:pt x="10407" y="6239"/>
                  <a:pt x="10467" y="6311"/>
                </a:cubicBezTo>
                <a:cubicBezTo>
                  <a:pt x="10359" y="6632"/>
                  <a:pt x="10228" y="7049"/>
                  <a:pt x="10109" y="7502"/>
                </a:cubicBezTo>
                <a:lnTo>
                  <a:pt x="2168" y="7502"/>
                </a:lnTo>
                <a:cubicBezTo>
                  <a:pt x="2049" y="7049"/>
                  <a:pt x="1918" y="6632"/>
                  <a:pt x="1811" y="6311"/>
                </a:cubicBezTo>
                <a:cubicBezTo>
                  <a:pt x="1870" y="6251"/>
                  <a:pt x="1918" y="6156"/>
                  <a:pt x="1918" y="6049"/>
                </a:cubicBezTo>
                <a:lnTo>
                  <a:pt x="1918" y="5680"/>
                </a:lnTo>
                <a:cubicBezTo>
                  <a:pt x="1918" y="5489"/>
                  <a:pt x="1751" y="5323"/>
                  <a:pt x="1561" y="5323"/>
                </a:cubicBezTo>
                <a:lnTo>
                  <a:pt x="561" y="5323"/>
                </a:lnTo>
                <a:lnTo>
                  <a:pt x="561" y="808"/>
                </a:lnTo>
                <a:lnTo>
                  <a:pt x="561" y="808"/>
                </a:lnTo>
                <a:cubicBezTo>
                  <a:pt x="616" y="854"/>
                  <a:pt x="673" y="909"/>
                  <a:pt x="751" y="953"/>
                </a:cubicBezTo>
                <a:cubicBezTo>
                  <a:pt x="942" y="1084"/>
                  <a:pt x="1192" y="1215"/>
                  <a:pt x="1537" y="1358"/>
                </a:cubicBezTo>
                <a:cubicBezTo>
                  <a:pt x="1537" y="2489"/>
                  <a:pt x="1203" y="3739"/>
                  <a:pt x="930" y="4608"/>
                </a:cubicBezTo>
                <a:cubicBezTo>
                  <a:pt x="894" y="4704"/>
                  <a:pt x="942" y="4799"/>
                  <a:pt x="1049" y="4835"/>
                </a:cubicBezTo>
                <a:cubicBezTo>
                  <a:pt x="1067" y="4842"/>
                  <a:pt x="1087" y="4846"/>
                  <a:pt x="1106" y="4846"/>
                </a:cubicBezTo>
                <a:cubicBezTo>
                  <a:pt x="1175" y="4846"/>
                  <a:pt x="1244" y="4799"/>
                  <a:pt x="1263" y="4715"/>
                </a:cubicBezTo>
                <a:cubicBezTo>
                  <a:pt x="1549" y="3858"/>
                  <a:pt x="1870" y="2620"/>
                  <a:pt x="1894" y="1489"/>
                </a:cubicBezTo>
                <a:cubicBezTo>
                  <a:pt x="1942" y="1501"/>
                  <a:pt x="1965" y="1513"/>
                  <a:pt x="2013" y="1525"/>
                </a:cubicBezTo>
                <a:cubicBezTo>
                  <a:pt x="2311" y="1632"/>
                  <a:pt x="2620" y="1715"/>
                  <a:pt x="2954" y="1787"/>
                </a:cubicBezTo>
                <a:cubicBezTo>
                  <a:pt x="2561" y="2965"/>
                  <a:pt x="1954" y="3930"/>
                  <a:pt x="1489" y="4549"/>
                </a:cubicBezTo>
                <a:cubicBezTo>
                  <a:pt x="1430" y="4632"/>
                  <a:pt x="1442" y="4751"/>
                  <a:pt x="1525" y="4811"/>
                </a:cubicBezTo>
                <a:cubicBezTo>
                  <a:pt x="1549" y="4835"/>
                  <a:pt x="1596" y="4835"/>
                  <a:pt x="1620" y="4835"/>
                </a:cubicBezTo>
                <a:cubicBezTo>
                  <a:pt x="1680" y="4835"/>
                  <a:pt x="1727" y="4811"/>
                  <a:pt x="1775" y="4763"/>
                </a:cubicBezTo>
                <a:cubicBezTo>
                  <a:pt x="2263" y="4108"/>
                  <a:pt x="2906" y="3096"/>
                  <a:pt x="3311" y="1846"/>
                </a:cubicBezTo>
                <a:cubicBezTo>
                  <a:pt x="3561" y="1894"/>
                  <a:pt x="3811" y="1929"/>
                  <a:pt x="4061" y="1965"/>
                </a:cubicBezTo>
                <a:cubicBezTo>
                  <a:pt x="3680" y="2906"/>
                  <a:pt x="2918" y="3858"/>
                  <a:pt x="2323" y="4525"/>
                </a:cubicBezTo>
                <a:cubicBezTo>
                  <a:pt x="2263" y="4596"/>
                  <a:pt x="2263" y="4715"/>
                  <a:pt x="2335" y="4775"/>
                </a:cubicBezTo>
                <a:cubicBezTo>
                  <a:pt x="2369" y="4803"/>
                  <a:pt x="2414" y="4818"/>
                  <a:pt x="2458" y="4818"/>
                </a:cubicBezTo>
                <a:cubicBezTo>
                  <a:pt x="2506" y="4818"/>
                  <a:pt x="2553" y="4800"/>
                  <a:pt x="2585" y="4763"/>
                </a:cubicBezTo>
                <a:cubicBezTo>
                  <a:pt x="3692" y="3525"/>
                  <a:pt x="4192" y="2608"/>
                  <a:pt x="4418" y="2013"/>
                </a:cubicBezTo>
                <a:cubicBezTo>
                  <a:pt x="4966" y="2072"/>
                  <a:pt x="5549" y="2096"/>
                  <a:pt x="6133" y="2096"/>
                </a:cubicBezTo>
                <a:cubicBezTo>
                  <a:pt x="6716" y="2096"/>
                  <a:pt x="7288" y="2072"/>
                  <a:pt x="7847" y="2013"/>
                </a:cubicBezTo>
                <a:cubicBezTo>
                  <a:pt x="8228" y="3025"/>
                  <a:pt x="9050" y="4061"/>
                  <a:pt x="9669" y="4763"/>
                </a:cubicBezTo>
                <a:cubicBezTo>
                  <a:pt x="9700" y="4800"/>
                  <a:pt x="9747" y="4818"/>
                  <a:pt x="9797" y="4818"/>
                </a:cubicBezTo>
                <a:cubicBezTo>
                  <a:pt x="9843" y="4818"/>
                  <a:pt x="9891" y="4803"/>
                  <a:pt x="9931" y="4775"/>
                </a:cubicBezTo>
                <a:cubicBezTo>
                  <a:pt x="10002" y="4715"/>
                  <a:pt x="10002" y="4596"/>
                  <a:pt x="9943" y="4525"/>
                </a:cubicBezTo>
                <a:cubicBezTo>
                  <a:pt x="9347" y="3870"/>
                  <a:pt x="8585" y="2906"/>
                  <a:pt x="8204" y="1965"/>
                </a:cubicBezTo>
                <a:cubicBezTo>
                  <a:pt x="8454" y="1929"/>
                  <a:pt x="8716" y="1894"/>
                  <a:pt x="8954" y="1846"/>
                </a:cubicBezTo>
                <a:cubicBezTo>
                  <a:pt x="9359" y="3096"/>
                  <a:pt x="10002" y="4108"/>
                  <a:pt x="10490" y="4763"/>
                </a:cubicBezTo>
                <a:cubicBezTo>
                  <a:pt x="10526" y="4811"/>
                  <a:pt x="10586" y="4835"/>
                  <a:pt x="10645" y="4835"/>
                </a:cubicBezTo>
                <a:cubicBezTo>
                  <a:pt x="10681" y="4835"/>
                  <a:pt x="10717" y="4823"/>
                  <a:pt x="10740" y="4811"/>
                </a:cubicBezTo>
                <a:cubicBezTo>
                  <a:pt x="10824" y="4751"/>
                  <a:pt x="10836" y="4632"/>
                  <a:pt x="10776" y="4549"/>
                </a:cubicBezTo>
                <a:cubicBezTo>
                  <a:pt x="10312" y="3930"/>
                  <a:pt x="9693" y="2965"/>
                  <a:pt x="9312" y="1787"/>
                </a:cubicBezTo>
                <a:cubicBezTo>
                  <a:pt x="9645" y="1715"/>
                  <a:pt x="9955" y="1620"/>
                  <a:pt x="10252" y="1525"/>
                </a:cubicBezTo>
                <a:cubicBezTo>
                  <a:pt x="10300" y="1513"/>
                  <a:pt x="10324" y="1501"/>
                  <a:pt x="10371" y="1489"/>
                </a:cubicBezTo>
                <a:cubicBezTo>
                  <a:pt x="10407" y="2632"/>
                  <a:pt x="10717" y="3858"/>
                  <a:pt x="11002" y="4715"/>
                </a:cubicBezTo>
                <a:cubicBezTo>
                  <a:pt x="11021" y="4792"/>
                  <a:pt x="11094" y="4845"/>
                  <a:pt x="11165" y="4845"/>
                </a:cubicBezTo>
                <a:cubicBezTo>
                  <a:pt x="11182" y="4845"/>
                  <a:pt x="11200" y="4842"/>
                  <a:pt x="11217" y="4835"/>
                </a:cubicBezTo>
                <a:cubicBezTo>
                  <a:pt x="11312" y="4799"/>
                  <a:pt x="11371" y="4704"/>
                  <a:pt x="11336" y="4608"/>
                </a:cubicBezTo>
                <a:cubicBezTo>
                  <a:pt x="11062" y="3751"/>
                  <a:pt x="10728" y="2489"/>
                  <a:pt x="10728" y="1358"/>
                </a:cubicBezTo>
                <a:cubicBezTo>
                  <a:pt x="11074" y="1215"/>
                  <a:pt x="11324" y="1084"/>
                  <a:pt x="11514" y="953"/>
                </a:cubicBezTo>
                <a:cubicBezTo>
                  <a:pt x="11598" y="905"/>
                  <a:pt x="11657" y="846"/>
                  <a:pt x="11717" y="798"/>
                </a:cubicBezTo>
                <a:close/>
                <a:moveTo>
                  <a:pt x="715" y="6394"/>
                </a:moveTo>
                <a:cubicBezTo>
                  <a:pt x="1382" y="8621"/>
                  <a:pt x="1596" y="10252"/>
                  <a:pt x="1287" y="10800"/>
                </a:cubicBezTo>
                <a:cubicBezTo>
                  <a:pt x="1263" y="10835"/>
                  <a:pt x="1227" y="10859"/>
                  <a:pt x="1180" y="10859"/>
                </a:cubicBezTo>
                <a:lnTo>
                  <a:pt x="537" y="10859"/>
                </a:lnTo>
                <a:lnTo>
                  <a:pt x="537" y="6394"/>
                </a:lnTo>
                <a:close/>
                <a:moveTo>
                  <a:pt x="3501" y="9478"/>
                </a:moveTo>
                <a:cubicBezTo>
                  <a:pt x="3704" y="9478"/>
                  <a:pt x="3882" y="9657"/>
                  <a:pt x="3882" y="9859"/>
                </a:cubicBezTo>
                <a:lnTo>
                  <a:pt x="3882" y="10859"/>
                </a:lnTo>
                <a:lnTo>
                  <a:pt x="2180" y="10859"/>
                </a:lnTo>
                <a:lnTo>
                  <a:pt x="2180" y="9859"/>
                </a:lnTo>
                <a:cubicBezTo>
                  <a:pt x="2180" y="9657"/>
                  <a:pt x="2358" y="9478"/>
                  <a:pt x="2561" y="9478"/>
                </a:cubicBezTo>
                <a:close/>
                <a:moveTo>
                  <a:pt x="5561" y="9478"/>
                </a:moveTo>
                <a:cubicBezTo>
                  <a:pt x="5775" y="9478"/>
                  <a:pt x="5954" y="9657"/>
                  <a:pt x="5954" y="9859"/>
                </a:cubicBezTo>
                <a:lnTo>
                  <a:pt x="5954" y="10859"/>
                </a:lnTo>
                <a:lnTo>
                  <a:pt x="4240" y="10859"/>
                </a:lnTo>
                <a:lnTo>
                  <a:pt x="4240" y="9859"/>
                </a:lnTo>
                <a:cubicBezTo>
                  <a:pt x="4240" y="9657"/>
                  <a:pt x="4418" y="9478"/>
                  <a:pt x="4632" y="9478"/>
                </a:cubicBezTo>
                <a:close/>
                <a:moveTo>
                  <a:pt x="7633" y="9478"/>
                </a:moveTo>
                <a:cubicBezTo>
                  <a:pt x="7847" y="9478"/>
                  <a:pt x="8026" y="9657"/>
                  <a:pt x="8026" y="9859"/>
                </a:cubicBezTo>
                <a:lnTo>
                  <a:pt x="8026" y="10859"/>
                </a:lnTo>
                <a:lnTo>
                  <a:pt x="6311" y="10859"/>
                </a:lnTo>
                <a:lnTo>
                  <a:pt x="6311" y="9859"/>
                </a:lnTo>
                <a:cubicBezTo>
                  <a:pt x="6311" y="9657"/>
                  <a:pt x="6490" y="9478"/>
                  <a:pt x="6704" y="9478"/>
                </a:cubicBezTo>
                <a:close/>
                <a:moveTo>
                  <a:pt x="9693" y="9478"/>
                </a:moveTo>
                <a:cubicBezTo>
                  <a:pt x="9895" y="9478"/>
                  <a:pt x="10074" y="9657"/>
                  <a:pt x="10074" y="9859"/>
                </a:cubicBezTo>
                <a:lnTo>
                  <a:pt x="10074" y="10859"/>
                </a:lnTo>
                <a:lnTo>
                  <a:pt x="8371" y="10859"/>
                </a:lnTo>
                <a:lnTo>
                  <a:pt x="8371" y="9859"/>
                </a:lnTo>
                <a:cubicBezTo>
                  <a:pt x="8371" y="9657"/>
                  <a:pt x="8550" y="9478"/>
                  <a:pt x="8752" y="9478"/>
                </a:cubicBezTo>
                <a:close/>
                <a:moveTo>
                  <a:pt x="11169" y="6394"/>
                </a:moveTo>
                <a:cubicBezTo>
                  <a:pt x="10764" y="7775"/>
                  <a:pt x="10240" y="9942"/>
                  <a:pt x="10598" y="10859"/>
                </a:cubicBezTo>
                <a:lnTo>
                  <a:pt x="10431" y="10859"/>
                </a:lnTo>
                <a:lnTo>
                  <a:pt x="10431" y="9859"/>
                </a:lnTo>
                <a:cubicBezTo>
                  <a:pt x="10431" y="9454"/>
                  <a:pt x="10097" y="9121"/>
                  <a:pt x="9693" y="9121"/>
                </a:cubicBezTo>
                <a:lnTo>
                  <a:pt x="8752" y="9121"/>
                </a:lnTo>
                <a:cubicBezTo>
                  <a:pt x="8526" y="9121"/>
                  <a:pt x="8323" y="9228"/>
                  <a:pt x="8192" y="9383"/>
                </a:cubicBezTo>
                <a:cubicBezTo>
                  <a:pt x="8050" y="9228"/>
                  <a:pt x="7847" y="9121"/>
                  <a:pt x="7621" y="9121"/>
                </a:cubicBezTo>
                <a:lnTo>
                  <a:pt x="6680" y="9121"/>
                </a:lnTo>
                <a:cubicBezTo>
                  <a:pt x="6466" y="9121"/>
                  <a:pt x="6252" y="9228"/>
                  <a:pt x="6121" y="9383"/>
                </a:cubicBezTo>
                <a:cubicBezTo>
                  <a:pt x="5990" y="9228"/>
                  <a:pt x="5775" y="9121"/>
                  <a:pt x="5549" y="9121"/>
                </a:cubicBezTo>
                <a:lnTo>
                  <a:pt x="4621" y="9121"/>
                </a:lnTo>
                <a:cubicBezTo>
                  <a:pt x="4394" y="9121"/>
                  <a:pt x="4180" y="9228"/>
                  <a:pt x="4049" y="9383"/>
                </a:cubicBezTo>
                <a:cubicBezTo>
                  <a:pt x="3918" y="9228"/>
                  <a:pt x="3704" y="9121"/>
                  <a:pt x="3489" y="9121"/>
                </a:cubicBezTo>
                <a:lnTo>
                  <a:pt x="2549" y="9121"/>
                </a:lnTo>
                <a:cubicBezTo>
                  <a:pt x="2132" y="9121"/>
                  <a:pt x="1799" y="9466"/>
                  <a:pt x="1799" y="9859"/>
                </a:cubicBezTo>
                <a:lnTo>
                  <a:pt x="1799" y="10859"/>
                </a:lnTo>
                <a:lnTo>
                  <a:pt x="1656" y="10859"/>
                </a:lnTo>
                <a:cubicBezTo>
                  <a:pt x="2013" y="9942"/>
                  <a:pt x="1489" y="7775"/>
                  <a:pt x="1084" y="6394"/>
                </a:cubicBezTo>
                <a:lnTo>
                  <a:pt x="1442" y="6394"/>
                </a:lnTo>
                <a:cubicBezTo>
                  <a:pt x="1608" y="6918"/>
                  <a:pt x="1835" y="7632"/>
                  <a:pt x="2013" y="8371"/>
                </a:cubicBezTo>
                <a:cubicBezTo>
                  <a:pt x="2034" y="8453"/>
                  <a:pt x="2108" y="8518"/>
                  <a:pt x="2182" y="8518"/>
                </a:cubicBezTo>
                <a:cubicBezTo>
                  <a:pt x="2193" y="8518"/>
                  <a:pt x="2205" y="8517"/>
                  <a:pt x="2216" y="8514"/>
                </a:cubicBezTo>
                <a:cubicBezTo>
                  <a:pt x="2311" y="8478"/>
                  <a:pt x="2382" y="8394"/>
                  <a:pt x="2358" y="8299"/>
                </a:cubicBezTo>
                <a:cubicBezTo>
                  <a:pt x="2323" y="8156"/>
                  <a:pt x="2275" y="8002"/>
                  <a:pt x="2251" y="7859"/>
                </a:cubicBezTo>
                <a:lnTo>
                  <a:pt x="9990" y="7859"/>
                </a:lnTo>
                <a:cubicBezTo>
                  <a:pt x="9943" y="8002"/>
                  <a:pt x="9919" y="8156"/>
                  <a:pt x="9883" y="8299"/>
                </a:cubicBezTo>
                <a:cubicBezTo>
                  <a:pt x="9871" y="8394"/>
                  <a:pt x="9931" y="8490"/>
                  <a:pt x="10014" y="8514"/>
                </a:cubicBezTo>
                <a:lnTo>
                  <a:pt x="10062" y="8514"/>
                </a:lnTo>
                <a:cubicBezTo>
                  <a:pt x="10133" y="8514"/>
                  <a:pt x="10217" y="8454"/>
                  <a:pt x="10240" y="8371"/>
                </a:cubicBezTo>
                <a:cubicBezTo>
                  <a:pt x="10407" y="7632"/>
                  <a:pt x="10633" y="6906"/>
                  <a:pt x="10812" y="6394"/>
                </a:cubicBezTo>
                <a:close/>
                <a:moveTo>
                  <a:pt x="11717" y="6394"/>
                </a:moveTo>
                <a:lnTo>
                  <a:pt x="11717" y="10859"/>
                </a:lnTo>
                <a:lnTo>
                  <a:pt x="11074" y="10859"/>
                </a:lnTo>
                <a:cubicBezTo>
                  <a:pt x="11026" y="10859"/>
                  <a:pt x="11002" y="10835"/>
                  <a:pt x="10967" y="10800"/>
                </a:cubicBezTo>
                <a:cubicBezTo>
                  <a:pt x="10669" y="10252"/>
                  <a:pt x="10883" y="8621"/>
                  <a:pt x="11538" y="6394"/>
                </a:cubicBezTo>
                <a:close/>
                <a:moveTo>
                  <a:pt x="370" y="1"/>
                </a:moveTo>
                <a:cubicBezTo>
                  <a:pt x="275" y="1"/>
                  <a:pt x="191" y="72"/>
                  <a:pt x="191" y="179"/>
                </a:cubicBezTo>
                <a:lnTo>
                  <a:pt x="191" y="5370"/>
                </a:lnTo>
                <a:cubicBezTo>
                  <a:pt x="84" y="5430"/>
                  <a:pt x="1" y="5549"/>
                  <a:pt x="1" y="5680"/>
                </a:cubicBezTo>
                <a:lnTo>
                  <a:pt x="1" y="6061"/>
                </a:lnTo>
                <a:cubicBezTo>
                  <a:pt x="1" y="6192"/>
                  <a:pt x="72" y="6311"/>
                  <a:pt x="191" y="6370"/>
                </a:cubicBezTo>
                <a:lnTo>
                  <a:pt x="191" y="11061"/>
                </a:lnTo>
                <a:cubicBezTo>
                  <a:pt x="191" y="11157"/>
                  <a:pt x="275" y="11240"/>
                  <a:pt x="370" y="11240"/>
                </a:cubicBezTo>
                <a:lnTo>
                  <a:pt x="11895" y="11240"/>
                </a:lnTo>
                <a:cubicBezTo>
                  <a:pt x="12002" y="11240"/>
                  <a:pt x="12074" y="11157"/>
                  <a:pt x="12074" y="11061"/>
                </a:cubicBezTo>
                <a:lnTo>
                  <a:pt x="12074" y="6370"/>
                </a:lnTo>
                <a:cubicBezTo>
                  <a:pt x="12181" y="6311"/>
                  <a:pt x="12264" y="6192"/>
                  <a:pt x="12264" y="6061"/>
                </a:cubicBezTo>
                <a:lnTo>
                  <a:pt x="12264" y="5680"/>
                </a:lnTo>
                <a:cubicBezTo>
                  <a:pt x="12252" y="5549"/>
                  <a:pt x="12181" y="5430"/>
                  <a:pt x="12074" y="5370"/>
                </a:cubicBezTo>
                <a:lnTo>
                  <a:pt x="12074" y="179"/>
                </a:lnTo>
                <a:cubicBezTo>
                  <a:pt x="12074" y="72"/>
                  <a:pt x="12002" y="1"/>
                  <a:pt x="118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6" name="Google Shape;12526;p62"/>
          <p:cNvSpPr/>
          <p:nvPr/>
        </p:nvSpPr>
        <p:spPr>
          <a:xfrm>
            <a:off x="6134980" y="2901781"/>
            <a:ext cx="390470" cy="332108"/>
          </a:xfrm>
          <a:custGeom>
            <a:avLst/>
            <a:gdLst/>
            <a:ahLst/>
            <a:cxnLst/>
            <a:rect l="l" t="t" r="r" b="b"/>
            <a:pathLst>
              <a:path w="12277" h="10442" extrusionOk="0">
                <a:moveTo>
                  <a:pt x="6121" y="298"/>
                </a:moveTo>
                <a:cubicBezTo>
                  <a:pt x="7240" y="298"/>
                  <a:pt x="8288" y="393"/>
                  <a:pt x="9085" y="536"/>
                </a:cubicBezTo>
                <a:cubicBezTo>
                  <a:pt x="10002" y="715"/>
                  <a:pt x="10228" y="929"/>
                  <a:pt x="10228" y="965"/>
                </a:cubicBezTo>
                <a:lnTo>
                  <a:pt x="10228" y="988"/>
                </a:lnTo>
                <a:lnTo>
                  <a:pt x="10216" y="1000"/>
                </a:lnTo>
                <a:cubicBezTo>
                  <a:pt x="10193" y="1024"/>
                  <a:pt x="10157" y="1060"/>
                  <a:pt x="10109" y="1084"/>
                </a:cubicBezTo>
                <a:cubicBezTo>
                  <a:pt x="10062" y="1119"/>
                  <a:pt x="9990" y="1143"/>
                  <a:pt x="9895" y="1191"/>
                </a:cubicBezTo>
                <a:lnTo>
                  <a:pt x="9871" y="1191"/>
                </a:lnTo>
                <a:cubicBezTo>
                  <a:pt x="9859" y="1191"/>
                  <a:pt x="9835" y="1215"/>
                  <a:pt x="9835" y="1215"/>
                </a:cubicBezTo>
                <a:cubicBezTo>
                  <a:pt x="9645" y="1286"/>
                  <a:pt x="9395" y="1346"/>
                  <a:pt x="9050" y="1417"/>
                </a:cubicBezTo>
                <a:cubicBezTo>
                  <a:pt x="9038" y="1417"/>
                  <a:pt x="9002" y="1429"/>
                  <a:pt x="8978" y="1429"/>
                </a:cubicBezTo>
                <a:lnTo>
                  <a:pt x="8966" y="1429"/>
                </a:lnTo>
                <a:cubicBezTo>
                  <a:pt x="8931" y="1429"/>
                  <a:pt x="8919" y="1453"/>
                  <a:pt x="8883" y="1453"/>
                </a:cubicBezTo>
                <a:cubicBezTo>
                  <a:pt x="8169" y="1560"/>
                  <a:pt x="7264" y="1643"/>
                  <a:pt x="6311" y="1655"/>
                </a:cubicBezTo>
                <a:lnTo>
                  <a:pt x="5930" y="1655"/>
                </a:lnTo>
                <a:cubicBezTo>
                  <a:pt x="4978" y="1643"/>
                  <a:pt x="4061" y="1584"/>
                  <a:pt x="3347" y="1453"/>
                </a:cubicBezTo>
                <a:cubicBezTo>
                  <a:pt x="3323" y="1453"/>
                  <a:pt x="3311" y="1429"/>
                  <a:pt x="3275" y="1429"/>
                </a:cubicBezTo>
                <a:cubicBezTo>
                  <a:pt x="3251" y="1429"/>
                  <a:pt x="3228" y="1417"/>
                  <a:pt x="3204" y="1417"/>
                </a:cubicBezTo>
                <a:cubicBezTo>
                  <a:pt x="2847" y="1346"/>
                  <a:pt x="2561" y="1262"/>
                  <a:pt x="2370" y="1191"/>
                </a:cubicBezTo>
                <a:cubicBezTo>
                  <a:pt x="2358" y="1191"/>
                  <a:pt x="2335" y="1179"/>
                  <a:pt x="2335" y="1179"/>
                </a:cubicBezTo>
                <a:cubicBezTo>
                  <a:pt x="2263" y="1179"/>
                  <a:pt x="2215" y="1155"/>
                  <a:pt x="2180" y="1119"/>
                </a:cubicBezTo>
                <a:cubicBezTo>
                  <a:pt x="2180" y="1119"/>
                  <a:pt x="2156" y="1119"/>
                  <a:pt x="2156" y="1107"/>
                </a:cubicBezTo>
                <a:cubicBezTo>
                  <a:pt x="2096" y="1072"/>
                  <a:pt x="2061" y="1024"/>
                  <a:pt x="2025" y="1000"/>
                </a:cubicBezTo>
                <a:cubicBezTo>
                  <a:pt x="2025" y="1000"/>
                  <a:pt x="2025" y="988"/>
                  <a:pt x="2013" y="988"/>
                </a:cubicBezTo>
                <a:lnTo>
                  <a:pt x="2013" y="965"/>
                </a:lnTo>
                <a:cubicBezTo>
                  <a:pt x="2025" y="929"/>
                  <a:pt x="2239" y="715"/>
                  <a:pt x="3156" y="536"/>
                </a:cubicBezTo>
                <a:cubicBezTo>
                  <a:pt x="3942" y="393"/>
                  <a:pt x="5002" y="298"/>
                  <a:pt x="6121" y="298"/>
                </a:cubicBezTo>
                <a:close/>
                <a:moveTo>
                  <a:pt x="9514" y="7775"/>
                </a:moveTo>
                <a:cubicBezTo>
                  <a:pt x="9728" y="7787"/>
                  <a:pt x="9931" y="7787"/>
                  <a:pt x="10133" y="7799"/>
                </a:cubicBezTo>
                <a:cubicBezTo>
                  <a:pt x="10181" y="7799"/>
                  <a:pt x="10228" y="7799"/>
                  <a:pt x="10288" y="7811"/>
                </a:cubicBezTo>
                <a:cubicBezTo>
                  <a:pt x="10538" y="7834"/>
                  <a:pt x="10919" y="7846"/>
                  <a:pt x="11252" y="7930"/>
                </a:cubicBezTo>
                <a:cubicBezTo>
                  <a:pt x="11490" y="7989"/>
                  <a:pt x="11776" y="8085"/>
                  <a:pt x="11812" y="8263"/>
                </a:cubicBezTo>
                <a:cubicBezTo>
                  <a:pt x="11836" y="8489"/>
                  <a:pt x="11490" y="8739"/>
                  <a:pt x="11288" y="8858"/>
                </a:cubicBezTo>
                <a:cubicBezTo>
                  <a:pt x="10943" y="9061"/>
                  <a:pt x="10514" y="9251"/>
                  <a:pt x="10336" y="9323"/>
                </a:cubicBezTo>
                <a:cubicBezTo>
                  <a:pt x="9109" y="9799"/>
                  <a:pt x="7692" y="10037"/>
                  <a:pt x="6121" y="10037"/>
                </a:cubicBezTo>
                <a:cubicBezTo>
                  <a:pt x="4537" y="10037"/>
                  <a:pt x="3108" y="9799"/>
                  <a:pt x="1906" y="9323"/>
                </a:cubicBezTo>
                <a:cubicBezTo>
                  <a:pt x="1727" y="9251"/>
                  <a:pt x="1299" y="9085"/>
                  <a:pt x="953" y="8858"/>
                </a:cubicBezTo>
                <a:cubicBezTo>
                  <a:pt x="739" y="8727"/>
                  <a:pt x="418" y="8489"/>
                  <a:pt x="477" y="8263"/>
                </a:cubicBezTo>
                <a:cubicBezTo>
                  <a:pt x="561" y="7894"/>
                  <a:pt x="1608" y="7846"/>
                  <a:pt x="2013" y="7811"/>
                </a:cubicBezTo>
                <a:cubicBezTo>
                  <a:pt x="2073" y="7811"/>
                  <a:pt x="2132" y="7811"/>
                  <a:pt x="2156" y="7799"/>
                </a:cubicBezTo>
                <a:cubicBezTo>
                  <a:pt x="2346" y="7787"/>
                  <a:pt x="2561" y="7775"/>
                  <a:pt x="2787" y="7775"/>
                </a:cubicBezTo>
                <a:lnTo>
                  <a:pt x="2787" y="8073"/>
                </a:lnTo>
                <a:lnTo>
                  <a:pt x="2787" y="8085"/>
                </a:lnTo>
                <a:lnTo>
                  <a:pt x="2787" y="8394"/>
                </a:lnTo>
                <a:lnTo>
                  <a:pt x="2787" y="8442"/>
                </a:lnTo>
                <a:cubicBezTo>
                  <a:pt x="2787" y="8466"/>
                  <a:pt x="2787" y="8489"/>
                  <a:pt x="2799" y="8513"/>
                </a:cubicBezTo>
                <a:cubicBezTo>
                  <a:pt x="2799" y="8525"/>
                  <a:pt x="2811" y="8549"/>
                  <a:pt x="2811" y="8561"/>
                </a:cubicBezTo>
                <a:cubicBezTo>
                  <a:pt x="2811" y="8573"/>
                  <a:pt x="2823" y="8585"/>
                  <a:pt x="2847" y="8608"/>
                </a:cubicBezTo>
                <a:cubicBezTo>
                  <a:pt x="2966" y="8787"/>
                  <a:pt x="3287" y="8918"/>
                  <a:pt x="3870" y="9025"/>
                </a:cubicBezTo>
                <a:cubicBezTo>
                  <a:pt x="4478" y="9120"/>
                  <a:pt x="5287" y="9204"/>
                  <a:pt x="6145" y="9204"/>
                </a:cubicBezTo>
                <a:cubicBezTo>
                  <a:pt x="6359" y="9204"/>
                  <a:pt x="6585" y="9204"/>
                  <a:pt x="6776" y="9180"/>
                </a:cubicBezTo>
                <a:cubicBezTo>
                  <a:pt x="7395" y="9168"/>
                  <a:pt x="7966" y="9108"/>
                  <a:pt x="8419" y="9025"/>
                </a:cubicBezTo>
                <a:cubicBezTo>
                  <a:pt x="9097" y="8906"/>
                  <a:pt x="9431" y="8739"/>
                  <a:pt x="9490" y="8513"/>
                </a:cubicBezTo>
                <a:cubicBezTo>
                  <a:pt x="9490" y="8489"/>
                  <a:pt x="9514" y="8466"/>
                  <a:pt x="9514" y="8442"/>
                </a:cubicBezTo>
                <a:lnTo>
                  <a:pt x="9514" y="8430"/>
                </a:lnTo>
                <a:lnTo>
                  <a:pt x="9514" y="8108"/>
                </a:lnTo>
                <a:lnTo>
                  <a:pt x="9514" y="8073"/>
                </a:lnTo>
                <a:lnTo>
                  <a:pt x="9514" y="7787"/>
                </a:lnTo>
                <a:lnTo>
                  <a:pt x="9514" y="7775"/>
                </a:lnTo>
                <a:close/>
                <a:moveTo>
                  <a:pt x="6133" y="0"/>
                </a:moveTo>
                <a:cubicBezTo>
                  <a:pt x="4978" y="0"/>
                  <a:pt x="3882" y="95"/>
                  <a:pt x="3073" y="250"/>
                </a:cubicBezTo>
                <a:cubicBezTo>
                  <a:pt x="2668" y="334"/>
                  <a:pt x="2335" y="429"/>
                  <a:pt x="2096" y="536"/>
                </a:cubicBezTo>
                <a:cubicBezTo>
                  <a:pt x="2001" y="584"/>
                  <a:pt x="1704" y="726"/>
                  <a:pt x="1668" y="988"/>
                </a:cubicBezTo>
                <a:lnTo>
                  <a:pt x="1668" y="1012"/>
                </a:lnTo>
                <a:lnTo>
                  <a:pt x="1668" y="1024"/>
                </a:lnTo>
                <a:cubicBezTo>
                  <a:pt x="1668" y="1119"/>
                  <a:pt x="1704" y="1191"/>
                  <a:pt x="1739" y="1250"/>
                </a:cubicBezTo>
                <a:cubicBezTo>
                  <a:pt x="1977" y="1953"/>
                  <a:pt x="2668" y="4155"/>
                  <a:pt x="2787" y="7144"/>
                </a:cubicBezTo>
                <a:lnTo>
                  <a:pt x="2787" y="7168"/>
                </a:lnTo>
                <a:cubicBezTo>
                  <a:pt x="2787" y="7263"/>
                  <a:pt x="2787" y="7370"/>
                  <a:pt x="2799" y="7477"/>
                </a:cubicBezTo>
                <a:cubicBezTo>
                  <a:pt x="2573" y="7489"/>
                  <a:pt x="2370" y="7489"/>
                  <a:pt x="2156" y="7501"/>
                </a:cubicBezTo>
                <a:cubicBezTo>
                  <a:pt x="2120" y="7501"/>
                  <a:pt x="2073" y="7501"/>
                  <a:pt x="2013" y="7525"/>
                </a:cubicBezTo>
                <a:cubicBezTo>
                  <a:pt x="1418" y="7549"/>
                  <a:pt x="310" y="7608"/>
                  <a:pt x="168" y="8239"/>
                </a:cubicBezTo>
                <a:cubicBezTo>
                  <a:pt x="1" y="8906"/>
                  <a:pt x="1025" y="9382"/>
                  <a:pt x="1823" y="9692"/>
                </a:cubicBezTo>
                <a:cubicBezTo>
                  <a:pt x="3073" y="10180"/>
                  <a:pt x="4537" y="10442"/>
                  <a:pt x="6168" y="10442"/>
                </a:cubicBezTo>
                <a:cubicBezTo>
                  <a:pt x="7788" y="10442"/>
                  <a:pt x="9264" y="10180"/>
                  <a:pt x="10514" y="9692"/>
                </a:cubicBezTo>
                <a:cubicBezTo>
                  <a:pt x="11252" y="9335"/>
                  <a:pt x="12276" y="8846"/>
                  <a:pt x="12121" y="8192"/>
                </a:cubicBezTo>
                <a:cubicBezTo>
                  <a:pt x="11967" y="7561"/>
                  <a:pt x="10848" y="7501"/>
                  <a:pt x="10252" y="7477"/>
                </a:cubicBezTo>
                <a:cubicBezTo>
                  <a:pt x="10193" y="7477"/>
                  <a:pt x="10157" y="7477"/>
                  <a:pt x="10109" y="7465"/>
                </a:cubicBezTo>
                <a:cubicBezTo>
                  <a:pt x="9895" y="7442"/>
                  <a:pt x="9693" y="7430"/>
                  <a:pt x="9466" y="7430"/>
                </a:cubicBezTo>
                <a:cubicBezTo>
                  <a:pt x="9466" y="7323"/>
                  <a:pt x="9466" y="7215"/>
                  <a:pt x="9478" y="7120"/>
                </a:cubicBezTo>
                <a:cubicBezTo>
                  <a:pt x="9526" y="5906"/>
                  <a:pt x="9657" y="4715"/>
                  <a:pt x="9895" y="3548"/>
                </a:cubicBezTo>
                <a:cubicBezTo>
                  <a:pt x="9907" y="3453"/>
                  <a:pt x="9859" y="3346"/>
                  <a:pt x="9764" y="3334"/>
                </a:cubicBezTo>
                <a:cubicBezTo>
                  <a:pt x="9756" y="3333"/>
                  <a:pt x="9748" y="3332"/>
                  <a:pt x="9740" y="3332"/>
                </a:cubicBezTo>
                <a:cubicBezTo>
                  <a:pt x="9653" y="3332"/>
                  <a:pt x="9571" y="3389"/>
                  <a:pt x="9550" y="3465"/>
                </a:cubicBezTo>
                <a:cubicBezTo>
                  <a:pt x="9312" y="4620"/>
                  <a:pt x="9181" y="5787"/>
                  <a:pt x="9133" y="6965"/>
                </a:cubicBezTo>
                <a:cubicBezTo>
                  <a:pt x="8288" y="7120"/>
                  <a:pt x="7228" y="7203"/>
                  <a:pt x="6121" y="7203"/>
                </a:cubicBezTo>
                <a:cubicBezTo>
                  <a:pt x="5597" y="7203"/>
                  <a:pt x="5085" y="7192"/>
                  <a:pt x="4609" y="7144"/>
                </a:cubicBezTo>
                <a:cubicBezTo>
                  <a:pt x="4513" y="7144"/>
                  <a:pt x="4430" y="7203"/>
                  <a:pt x="4418" y="7311"/>
                </a:cubicBezTo>
                <a:cubicBezTo>
                  <a:pt x="4418" y="7418"/>
                  <a:pt x="4478" y="7489"/>
                  <a:pt x="4585" y="7501"/>
                </a:cubicBezTo>
                <a:cubicBezTo>
                  <a:pt x="5073" y="7537"/>
                  <a:pt x="5597" y="7561"/>
                  <a:pt x="6121" y="7561"/>
                </a:cubicBezTo>
                <a:cubicBezTo>
                  <a:pt x="7216" y="7561"/>
                  <a:pt x="8276" y="7489"/>
                  <a:pt x="9121" y="7334"/>
                </a:cubicBezTo>
                <a:lnTo>
                  <a:pt x="9121" y="7370"/>
                </a:lnTo>
                <a:lnTo>
                  <a:pt x="9121" y="7608"/>
                </a:lnTo>
                <a:lnTo>
                  <a:pt x="9121" y="7668"/>
                </a:lnTo>
                <a:lnTo>
                  <a:pt x="9121" y="7704"/>
                </a:lnTo>
                <a:lnTo>
                  <a:pt x="9121" y="7894"/>
                </a:lnTo>
                <a:lnTo>
                  <a:pt x="9121" y="7965"/>
                </a:lnTo>
                <a:lnTo>
                  <a:pt x="9121" y="8096"/>
                </a:lnTo>
                <a:lnTo>
                  <a:pt x="9121" y="8168"/>
                </a:lnTo>
                <a:lnTo>
                  <a:pt x="9121" y="8215"/>
                </a:lnTo>
                <a:lnTo>
                  <a:pt x="9121" y="8466"/>
                </a:lnTo>
                <a:cubicBezTo>
                  <a:pt x="9097" y="8501"/>
                  <a:pt x="8919" y="8632"/>
                  <a:pt x="8216" y="8751"/>
                </a:cubicBezTo>
                <a:cubicBezTo>
                  <a:pt x="7633" y="8846"/>
                  <a:pt x="6907" y="8906"/>
                  <a:pt x="6133" y="8906"/>
                </a:cubicBezTo>
                <a:cubicBezTo>
                  <a:pt x="5359" y="8906"/>
                  <a:pt x="4609" y="8858"/>
                  <a:pt x="4049" y="8751"/>
                </a:cubicBezTo>
                <a:cubicBezTo>
                  <a:pt x="3990" y="8739"/>
                  <a:pt x="3930" y="8739"/>
                  <a:pt x="3870" y="8727"/>
                </a:cubicBezTo>
                <a:cubicBezTo>
                  <a:pt x="3716" y="8692"/>
                  <a:pt x="3597" y="8668"/>
                  <a:pt x="3501" y="8632"/>
                </a:cubicBezTo>
                <a:cubicBezTo>
                  <a:pt x="3478" y="8632"/>
                  <a:pt x="3466" y="8632"/>
                  <a:pt x="3466" y="8620"/>
                </a:cubicBezTo>
                <a:cubicBezTo>
                  <a:pt x="3239" y="8549"/>
                  <a:pt x="3168" y="8501"/>
                  <a:pt x="3144" y="8466"/>
                </a:cubicBezTo>
                <a:lnTo>
                  <a:pt x="3144" y="8275"/>
                </a:lnTo>
                <a:lnTo>
                  <a:pt x="3144" y="8251"/>
                </a:lnTo>
                <a:lnTo>
                  <a:pt x="3144" y="8204"/>
                </a:lnTo>
                <a:lnTo>
                  <a:pt x="3144" y="7370"/>
                </a:lnTo>
                <a:cubicBezTo>
                  <a:pt x="3347" y="7394"/>
                  <a:pt x="3561" y="7430"/>
                  <a:pt x="3775" y="7453"/>
                </a:cubicBezTo>
                <a:cubicBezTo>
                  <a:pt x="3786" y="7456"/>
                  <a:pt x="3798" y="7458"/>
                  <a:pt x="3808" y="7458"/>
                </a:cubicBezTo>
                <a:cubicBezTo>
                  <a:pt x="3889" y="7458"/>
                  <a:pt x="3957" y="7384"/>
                  <a:pt x="3978" y="7311"/>
                </a:cubicBezTo>
                <a:cubicBezTo>
                  <a:pt x="3990" y="7215"/>
                  <a:pt x="3918" y="7132"/>
                  <a:pt x="3823" y="7120"/>
                </a:cubicBezTo>
                <a:cubicBezTo>
                  <a:pt x="3573" y="7084"/>
                  <a:pt x="3347" y="7061"/>
                  <a:pt x="3120" y="7013"/>
                </a:cubicBezTo>
                <a:cubicBezTo>
                  <a:pt x="3025" y="4501"/>
                  <a:pt x="2513" y="2548"/>
                  <a:pt x="2215" y="1584"/>
                </a:cubicBezTo>
                <a:lnTo>
                  <a:pt x="2215" y="1584"/>
                </a:lnTo>
                <a:cubicBezTo>
                  <a:pt x="2442" y="1667"/>
                  <a:pt x="2727" y="1738"/>
                  <a:pt x="3061" y="1822"/>
                </a:cubicBezTo>
                <a:cubicBezTo>
                  <a:pt x="3859" y="1977"/>
                  <a:pt x="4894" y="2072"/>
                  <a:pt x="6002" y="2072"/>
                </a:cubicBezTo>
                <a:lnTo>
                  <a:pt x="6264" y="2072"/>
                </a:lnTo>
                <a:cubicBezTo>
                  <a:pt x="7371" y="2072"/>
                  <a:pt x="8407" y="1977"/>
                  <a:pt x="9204" y="1822"/>
                </a:cubicBezTo>
                <a:cubicBezTo>
                  <a:pt x="9538" y="1738"/>
                  <a:pt x="9824" y="1667"/>
                  <a:pt x="10050" y="1584"/>
                </a:cubicBezTo>
                <a:lnTo>
                  <a:pt x="10050" y="1584"/>
                </a:lnTo>
                <a:cubicBezTo>
                  <a:pt x="9955" y="1858"/>
                  <a:pt x="9859" y="2250"/>
                  <a:pt x="9740" y="2715"/>
                </a:cubicBezTo>
                <a:cubicBezTo>
                  <a:pt x="9705" y="2798"/>
                  <a:pt x="9764" y="2905"/>
                  <a:pt x="9871" y="2917"/>
                </a:cubicBezTo>
                <a:cubicBezTo>
                  <a:pt x="9888" y="2924"/>
                  <a:pt x="9905" y="2928"/>
                  <a:pt x="9922" y="2928"/>
                </a:cubicBezTo>
                <a:cubicBezTo>
                  <a:pt x="9993" y="2928"/>
                  <a:pt x="10064" y="2872"/>
                  <a:pt x="10074" y="2786"/>
                </a:cubicBezTo>
                <a:cubicBezTo>
                  <a:pt x="10252" y="2036"/>
                  <a:pt x="10419" y="1524"/>
                  <a:pt x="10526" y="1250"/>
                </a:cubicBezTo>
                <a:cubicBezTo>
                  <a:pt x="10574" y="1191"/>
                  <a:pt x="10597" y="1119"/>
                  <a:pt x="10597" y="1024"/>
                </a:cubicBezTo>
                <a:lnTo>
                  <a:pt x="10597" y="1012"/>
                </a:lnTo>
                <a:lnTo>
                  <a:pt x="10597" y="1000"/>
                </a:lnTo>
                <a:lnTo>
                  <a:pt x="10597" y="988"/>
                </a:lnTo>
                <a:cubicBezTo>
                  <a:pt x="10574" y="715"/>
                  <a:pt x="10276" y="584"/>
                  <a:pt x="10169" y="536"/>
                </a:cubicBezTo>
                <a:cubicBezTo>
                  <a:pt x="9943" y="429"/>
                  <a:pt x="9621" y="334"/>
                  <a:pt x="9204" y="250"/>
                </a:cubicBezTo>
                <a:cubicBezTo>
                  <a:pt x="8383" y="95"/>
                  <a:pt x="7276" y="0"/>
                  <a:pt x="6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527" name="Google Shape;12527;p62"/>
          <p:cNvGrpSpPr/>
          <p:nvPr/>
        </p:nvGrpSpPr>
        <p:grpSpPr>
          <a:xfrm>
            <a:off x="7541397" y="2904802"/>
            <a:ext cx="318495" cy="352209"/>
            <a:chOff x="7541397" y="2904802"/>
            <a:chExt cx="318495" cy="352209"/>
          </a:xfrm>
        </p:grpSpPr>
        <p:sp>
          <p:nvSpPr>
            <p:cNvPr id="12528" name="Google Shape;12528;p62"/>
            <p:cNvSpPr/>
            <p:nvPr/>
          </p:nvSpPr>
          <p:spPr>
            <a:xfrm>
              <a:off x="7541397" y="2904802"/>
              <a:ext cx="318495" cy="352209"/>
            </a:xfrm>
            <a:custGeom>
              <a:avLst/>
              <a:gdLst/>
              <a:ahLst/>
              <a:cxnLst/>
              <a:rect l="l" t="t" r="r" b="b"/>
              <a:pathLst>
                <a:path w="10014" h="11074" extrusionOk="0">
                  <a:moveTo>
                    <a:pt x="2287" y="1763"/>
                  </a:moveTo>
                  <a:lnTo>
                    <a:pt x="2453" y="3941"/>
                  </a:lnTo>
                  <a:cubicBezTo>
                    <a:pt x="2501" y="4501"/>
                    <a:pt x="2668" y="5037"/>
                    <a:pt x="2918" y="5537"/>
                  </a:cubicBezTo>
                  <a:lnTo>
                    <a:pt x="2096" y="5120"/>
                  </a:lnTo>
                  <a:cubicBezTo>
                    <a:pt x="1560" y="4846"/>
                    <a:pt x="1120" y="4430"/>
                    <a:pt x="787" y="3929"/>
                  </a:cubicBezTo>
                  <a:cubicBezTo>
                    <a:pt x="477" y="3418"/>
                    <a:pt x="310" y="2822"/>
                    <a:pt x="310" y="2227"/>
                  </a:cubicBezTo>
                  <a:lnTo>
                    <a:pt x="310" y="1977"/>
                  </a:lnTo>
                  <a:cubicBezTo>
                    <a:pt x="310" y="1858"/>
                    <a:pt x="406" y="1763"/>
                    <a:pt x="525" y="1763"/>
                  </a:cubicBezTo>
                  <a:close/>
                  <a:moveTo>
                    <a:pt x="7383" y="1036"/>
                  </a:moveTo>
                  <a:lnTo>
                    <a:pt x="7168" y="3799"/>
                  </a:lnTo>
                  <a:cubicBezTo>
                    <a:pt x="7168" y="3882"/>
                    <a:pt x="7228" y="3953"/>
                    <a:pt x="7323" y="3977"/>
                  </a:cubicBezTo>
                  <a:cubicBezTo>
                    <a:pt x="7406" y="3977"/>
                    <a:pt x="7490" y="3918"/>
                    <a:pt x="7502" y="3822"/>
                  </a:cubicBezTo>
                  <a:lnTo>
                    <a:pt x="7645" y="1751"/>
                  </a:lnTo>
                  <a:lnTo>
                    <a:pt x="9419" y="1751"/>
                  </a:lnTo>
                  <a:cubicBezTo>
                    <a:pt x="9538" y="1751"/>
                    <a:pt x="9633" y="1846"/>
                    <a:pt x="9633" y="1965"/>
                  </a:cubicBezTo>
                  <a:lnTo>
                    <a:pt x="9633" y="2227"/>
                  </a:lnTo>
                  <a:lnTo>
                    <a:pt x="9645" y="2227"/>
                  </a:lnTo>
                  <a:cubicBezTo>
                    <a:pt x="9645" y="2822"/>
                    <a:pt x="9478" y="3418"/>
                    <a:pt x="9169" y="3929"/>
                  </a:cubicBezTo>
                  <a:cubicBezTo>
                    <a:pt x="8859" y="4430"/>
                    <a:pt x="8395" y="4846"/>
                    <a:pt x="7859" y="5120"/>
                  </a:cubicBezTo>
                  <a:lnTo>
                    <a:pt x="7037" y="5525"/>
                  </a:lnTo>
                  <a:cubicBezTo>
                    <a:pt x="7204" y="5239"/>
                    <a:pt x="7323" y="4930"/>
                    <a:pt x="7395" y="4596"/>
                  </a:cubicBezTo>
                  <a:cubicBezTo>
                    <a:pt x="7406" y="4501"/>
                    <a:pt x="7371" y="4418"/>
                    <a:pt x="7275" y="4406"/>
                  </a:cubicBezTo>
                  <a:cubicBezTo>
                    <a:pt x="7265" y="4404"/>
                    <a:pt x="7255" y="4404"/>
                    <a:pt x="7244" y="4404"/>
                  </a:cubicBezTo>
                  <a:cubicBezTo>
                    <a:pt x="7170" y="4404"/>
                    <a:pt x="7095" y="4441"/>
                    <a:pt x="7085" y="4525"/>
                  </a:cubicBezTo>
                  <a:cubicBezTo>
                    <a:pt x="6966" y="5013"/>
                    <a:pt x="6740" y="5477"/>
                    <a:pt x="6430" y="5858"/>
                  </a:cubicBezTo>
                  <a:lnTo>
                    <a:pt x="6418" y="5882"/>
                  </a:lnTo>
                  <a:cubicBezTo>
                    <a:pt x="6240" y="6096"/>
                    <a:pt x="6025" y="6311"/>
                    <a:pt x="5787" y="6489"/>
                  </a:cubicBezTo>
                  <a:lnTo>
                    <a:pt x="4156" y="6489"/>
                  </a:lnTo>
                  <a:cubicBezTo>
                    <a:pt x="3930" y="6311"/>
                    <a:pt x="3715" y="6120"/>
                    <a:pt x="3537" y="5894"/>
                  </a:cubicBezTo>
                  <a:cubicBezTo>
                    <a:pt x="3525" y="5882"/>
                    <a:pt x="3525" y="5858"/>
                    <a:pt x="3513" y="5846"/>
                  </a:cubicBezTo>
                  <a:cubicBezTo>
                    <a:pt x="3084" y="5299"/>
                    <a:pt x="2811" y="4608"/>
                    <a:pt x="2751" y="3894"/>
                  </a:cubicBezTo>
                  <a:lnTo>
                    <a:pt x="2549" y="1036"/>
                  </a:lnTo>
                  <a:close/>
                  <a:moveTo>
                    <a:pt x="5668" y="6811"/>
                  </a:moveTo>
                  <a:cubicBezTo>
                    <a:pt x="5680" y="6811"/>
                    <a:pt x="5692" y="6835"/>
                    <a:pt x="5692" y="6835"/>
                  </a:cubicBezTo>
                  <a:cubicBezTo>
                    <a:pt x="5740" y="6858"/>
                    <a:pt x="5751" y="6906"/>
                    <a:pt x="5751" y="6954"/>
                  </a:cubicBezTo>
                  <a:lnTo>
                    <a:pt x="5751" y="7049"/>
                  </a:lnTo>
                  <a:cubicBezTo>
                    <a:pt x="5787" y="7120"/>
                    <a:pt x="5716" y="7192"/>
                    <a:pt x="5644" y="7192"/>
                  </a:cubicBezTo>
                  <a:lnTo>
                    <a:pt x="4311" y="7192"/>
                  </a:lnTo>
                  <a:cubicBezTo>
                    <a:pt x="4239" y="7192"/>
                    <a:pt x="4180" y="7132"/>
                    <a:pt x="4180" y="7049"/>
                  </a:cubicBezTo>
                  <a:lnTo>
                    <a:pt x="4180" y="6954"/>
                  </a:lnTo>
                  <a:cubicBezTo>
                    <a:pt x="4180" y="6906"/>
                    <a:pt x="4216" y="6858"/>
                    <a:pt x="4239" y="6835"/>
                  </a:cubicBezTo>
                  <a:cubicBezTo>
                    <a:pt x="4251" y="6835"/>
                    <a:pt x="4275" y="6811"/>
                    <a:pt x="4275" y="6811"/>
                  </a:cubicBezTo>
                  <a:close/>
                  <a:moveTo>
                    <a:pt x="5382" y="7513"/>
                  </a:moveTo>
                  <a:cubicBezTo>
                    <a:pt x="5466" y="7787"/>
                    <a:pt x="5656" y="8013"/>
                    <a:pt x="5906" y="8156"/>
                  </a:cubicBezTo>
                  <a:lnTo>
                    <a:pt x="6013" y="8216"/>
                  </a:lnTo>
                  <a:cubicBezTo>
                    <a:pt x="6180" y="8287"/>
                    <a:pt x="6263" y="8454"/>
                    <a:pt x="6263" y="8632"/>
                  </a:cubicBezTo>
                  <a:lnTo>
                    <a:pt x="6263" y="8668"/>
                  </a:lnTo>
                  <a:lnTo>
                    <a:pt x="3680" y="8668"/>
                  </a:lnTo>
                  <a:lnTo>
                    <a:pt x="3680" y="8632"/>
                  </a:lnTo>
                  <a:cubicBezTo>
                    <a:pt x="3680" y="8454"/>
                    <a:pt x="3775" y="8299"/>
                    <a:pt x="3930" y="8216"/>
                  </a:cubicBezTo>
                  <a:lnTo>
                    <a:pt x="4037" y="8156"/>
                  </a:lnTo>
                  <a:cubicBezTo>
                    <a:pt x="4287" y="8025"/>
                    <a:pt x="4477" y="7799"/>
                    <a:pt x="4537" y="7513"/>
                  </a:cubicBezTo>
                  <a:close/>
                  <a:moveTo>
                    <a:pt x="6966" y="8978"/>
                  </a:moveTo>
                  <a:cubicBezTo>
                    <a:pt x="7168" y="8978"/>
                    <a:pt x="7347" y="9156"/>
                    <a:pt x="7347" y="9359"/>
                  </a:cubicBezTo>
                  <a:lnTo>
                    <a:pt x="7347" y="10002"/>
                  </a:lnTo>
                  <a:lnTo>
                    <a:pt x="2572" y="10002"/>
                  </a:lnTo>
                  <a:lnTo>
                    <a:pt x="2572" y="9359"/>
                  </a:lnTo>
                  <a:cubicBezTo>
                    <a:pt x="2572" y="9156"/>
                    <a:pt x="2751" y="8978"/>
                    <a:pt x="2953" y="8978"/>
                  </a:cubicBezTo>
                  <a:close/>
                  <a:moveTo>
                    <a:pt x="7859" y="10347"/>
                  </a:moveTo>
                  <a:lnTo>
                    <a:pt x="7859" y="10716"/>
                  </a:lnTo>
                  <a:lnTo>
                    <a:pt x="2084" y="10716"/>
                  </a:lnTo>
                  <a:lnTo>
                    <a:pt x="2084" y="10347"/>
                  </a:lnTo>
                  <a:close/>
                  <a:moveTo>
                    <a:pt x="2132" y="0"/>
                  </a:moveTo>
                  <a:cubicBezTo>
                    <a:pt x="1930" y="0"/>
                    <a:pt x="1763" y="167"/>
                    <a:pt x="1763" y="358"/>
                  </a:cubicBezTo>
                  <a:lnTo>
                    <a:pt x="1763" y="703"/>
                  </a:lnTo>
                  <a:cubicBezTo>
                    <a:pt x="1763" y="893"/>
                    <a:pt x="1930" y="1060"/>
                    <a:pt x="2132" y="1060"/>
                  </a:cubicBezTo>
                  <a:lnTo>
                    <a:pt x="2251" y="1060"/>
                  </a:lnTo>
                  <a:lnTo>
                    <a:pt x="2275" y="1441"/>
                  </a:lnTo>
                  <a:lnTo>
                    <a:pt x="537" y="1441"/>
                  </a:lnTo>
                  <a:cubicBezTo>
                    <a:pt x="239" y="1441"/>
                    <a:pt x="1" y="1679"/>
                    <a:pt x="1" y="1977"/>
                  </a:cubicBezTo>
                  <a:lnTo>
                    <a:pt x="1" y="2227"/>
                  </a:lnTo>
                  <a:cubicBezTo>
                    <a:pt x="1" y="2882"/>
                    <a:pt x="179" y="3537"/>
                    <a:pt x="537" y="4108"/>
                  </a:cubicBezTo>
                  <a:cubicBezTo>
                    <a:pt x="870" y="4668"/>
                    <a:pt x="1382" y="5120"/>
                    <a:pt x="1965" y="5418"/>
                  </a:cubicBezTo>
                  <a:lnTo>
                    <a:pt x="3239" y="6061"/>
                  </a:lnTo>
                  <a:cubicBezTo>
                    <a:pt x="3251" y="6061"/>
                    <a:pt x="3275" y="6073"/>
                    <a:pt x="3287" y="6085"/>
                  </a:cubicBezTo>
                  <a:cubicBezTo>
                    <a:pt x="3287" y="6085"/>
                    <a:pt x="3287" y="6096"/>
                    <a:pt x="3299" y="6096"/>
                  </a:cubicBezTo>
                  <a:cubicBezTo>
                    <a:pt x="3311" y="6120"/>
                    <a:pt x="3334" y="6144"/>
                    <a:pt x="3334" y="6180"/>
                  </a:cubicBezTo>
                  <a:cubicBezTo>
                    <a:pt x="3334" y="6251"/>
                    <a:pt x="3275" y="6311"/>
                    <a:pt x="3192" y="6311"/>
                  </a:cubicBezTo>
                  <a:lnTo>
                    <a:pt x="3013" y="6311"/>
                  </a:lnTo>
                  <a:cubicBezTo>
                    <a:pt x="2930" y="6311"/>
                    <a:pt x="2858" y="6382"/>
                    <a:pt x="2858" y="6477"/>
                  </a:cubicBezTo>
                  <a:cubicBezTo>
                    <a:pt x="2858" y="6561"/>
                    <a:pt x="2930" y="6632"/>
                    <a:pt x="3013" y="6632"/>
                  </a:cubicBezTo>
                  <a:lnTo>
                    <a:pt x="3192" y="6632"/>
                  </a:lnTo>
                  <a:cubicBezTo>
                    <a:pt x="3358" y="6632"/>
                    <a:pt x="3489" y="6549"/>
                    <a:pt x="3585" y="6430"/>
                  </a:cubicBezTo>
                  <a:cubicBezTo>
                    <a:pt x="3692" y="6537"/>
                    <a:pt x="3811" y="6632"/>
                    <a:pt x="3930" y="6739"/>
                  </a:cubicBezTo>
                  <a:cubicBezTo>
                    <a:pt x="3882" y="6811"/>
                    <a:pt x="3870" y="6894"/>
                    <a:pt x="3870" y="6977"/>
                  </a:cubicBezTo>
                  <a:lnTo>
                    <a:pt x="3870" y="7085"/>
                  </a:lnTo>
                  <a:cubicBezTo>
                    <a:pt x="3870" y="7311"/>
                    <a:pt x="4025" y="7501"/>
                    <a:pt x="4239" y="7549"/>
                  </a:cubicBezTo>
                  <a:cubicBezTo>
                    <a:pt x="4180" y="7692"/>
                    <a:pt x="4073" y="7823"/>
                    <a:pt x="3906" y="7906"/>
                  </a:cubicBezTo>
                  <a:lnTo>
                    <a:pt x="3811" y="7966"/>
                  </a:lnTo>
                  <a:cubicBezTo>
                    <a:pt x="3537" y="8097"/>
                    <a:pt x="3370" y="8359"/>
                    <a:pt x="3370" y="8656"/>
                  </a:cubicBezTo>
                  <a:lnTo>
                    <a:pt x="3370" y="8704"/>
                  </a:lnTo>
                  <a:lnTo>
                    <a:pt x="3001" y="8704"/>
                  </a:lnTo>
                  <a:cubicBezTo>
                    <a:pt x="2620" y="8704"/>
                    <a:pt x="2287" y="9037"/>
                    <a:pt x="2287" y="9418"/>
                  </a:cubicBezTo>
                  <a:lnTo>
                    <a:pt x="2287" y="10061"/>
                  </a:lnTo>
                  <a:lnTo>
                    <a:pt x="2025" y="10061"/>
                  </a:lnTo>
                  <a:cubicBezTo>
                    <a:pt x="1906" y="10061"/>
                    <a:pt x="1799" y="10168"/>
                    <a:pt x="1799" y="10287"/>
                  </a:cubicBezTo>
                  <a:lnTo>
                    <a:pt x="1799" y="10847"/>
                  </a:lnTo>
                  <a:cubicBezTo>
                    <a:pt x="1799" y="10966"/>
                    <a:pt x="1906" y="11073"/>
                    <a:pt x="2025" y="11073"/>
                  </a:cubicBezTo>
                  <a:lnTo>
                    <a:pt x="8002" y="11073"/>
                  </a:lnTo>
                  <a:cubicBezTo>
                    <a:pt x="8121" y="11073"/>
                    <a:pt x="8228" y="10966"/>
                    <a:pt x="8228" y="10847"/>
                  </a:cubicBezTo>
                  <a:lnTo>
                    <a:pt x="8228" y="10287"/>
                  </a:lnTo>
                  <a:cubicBezTo>
                    <a:pt x="8228" y="10168"/>
                    <a:pt x="8121" y="10061"/>
                    <a:pt x="8002" y="10061"/>
                  </a:cubicBezTo>
                  <a:lnTo>
                    <a:pt x="7740" y="10061"/>
                  </a:lnTo>
                  <a:lnTo>
                    <a:pt x="7740" y="9418"/>
                  </a:lnTo>
                  <a:cubicBezTo>
                    <a:pt x="7740" y="9037"/>
                    <a:pt x="7406" y="8704"/>
                    <a:pt x="7025" y="8704"/>
                  </a:cubicBezTo>
                  <a:lnTo>
                    <a:pt x="6644" y="8704"/>
                  </a:lnTo>
                  <a:lnTo>
                    <a:pt x="6644" y="8656"/>
                  </a:lnTo>
                  <a:cubicBezTo>
                    <a:pt x="6644" y="8359"/>
                    <a:pt x="6490" y="8097"/>
                    <a:pt x="6216" y="7966"/>
                  </a:cubicBezTo>
                  <a:lnTo>
                    <a:pt x="6109" y="7906"/>
                  </a:lnTo>
                  <a:cubicBezTo>
                    <a:pt x="5966" y="7823"/>
                    <a:pt x="5847" y="7692"/>
                    <a:pt x="5787" y="7549"/>
                  </a:cubicBezTo>
                  <a:cubicBezTo>
                    <a:pt x="5990" y="7501"/>
                    <a:pt x="6156" y="7323"/>
                    <a:pt x="6156" y="7085"/>
                  </a:cubicBezTo>
                  <a:lnTo>
                    <a:pt x="6156" y="6977"/>
                  </a:lnTo>
                  <a:cubicBezTo>
                    <a:pt x="6156" y="6894"/>
                    <a:pt x="6132" y="6811"/>
                    <a:pt x="6097" y="6739"/>
                  </a:cubicBezTo>
                  <a:cubicBezTo>
                    <a:pt x="6216" y="6656"/>
                    <a:pt x="6335" y="6549"/>
                    <a:pt x="6442" y="6430"/>
                  </a:cubicBezTo>
                  <a:cubicBezTo>
                    <a:pt x="6513" y="6561"/>
                    <a:pt x="6668" y="6632"/>
                    <a:pt x="6823" y="6632"/>
                  </a:cubicBezTo>
                  <a:lnTo>
                    <a:pt x="7002" y="6632"/>
                  </a:lnTo>
                  <a:cubicBezTo>
                    <a:pt x="7097" y="6632"/>
                    <a:pt x="7168" y="6561"/>
                    <a:pt x="7168" y="6477"/>
                  </a:cubicBezTo>
                  <a:cubicBezTo>
                    <a:pt x="7168" y="6382"/>
                    <a:pt x="7097" y="6311"/>
                    <a:pt x="7002" y="6311"/>
                  </a:cubicBezTo>
                  <a:lnTo>
                    <a:pt x="6823" y="6311"/>
                  </a:lnTo>
                  <a:cubicBezTo>
                    <a:pt x="6752" y="6311"/>
                    <a:pt x="6692" y="6251"/>
                    <a:pt x="6692" y="6180"/>
                  </a:cubicBezTo>
                  <a:cubicBezTo>
                    <a:pt x="6692" y="6144"/>
                    <a:pt x="6704" y="6120"/>
                    <a:pt x="6728" y="6085"/>
                  </a:cubicBezTo>
                  <a:cubicBezTo>
                    <a:pt x="6740" y="6073"/>
                    <a:pt x="6752" y="6061"/>
                    <a:pt x="6763" y="6061"/>
                  </a:cubicBezTo>
                  <a:lnTo>
                    <a:pt x="8049" y="5418"/>
                  </a:lnTo>
                  <a:cubicBezTo>
                    <a:pt x="8645" y="5120"/>
                    <a:pt x="9133" y="4668"/>
                    <a:pt x="9478" y="4108"/>
                  </a:cubicBezTo>
                  <a:cubicBezTo>
                    <a:pt x="9823" y="3537"/>
                    <a:pt x="10014" y="2906"/>
                    <a:pt x="10014" y="2227"/>
                  </a:cubicBezTo>
                  <a:lnTo>
                    <a:pt x="10014" y="1977"/>
                  </a:lnTo>
                  <a:cubicBezTo>
                    <a:pt x="9954" y="1679"/>
                    <a:pt x="9716" y="1441"/>
                    <a:pt x="9430" y="1441"/>
                  </a:cubicBezTo>
                  <a:lnTo>
                    <a:pt x="7692" y="1441"/>
                  </a:lnTo>
                  <a:lnTo>
                    <a:pt x="7728" y="1060"/>
                  </a:lnTo>
                  <a:lnTo>
                    <a:pt x="7847" y="1060"/>
                  </a:lnTo>
                  <a:cubicBezTo>
                    <a:pt x="8037" y="1060"/>
                    <a:pt x="8204" y="893"/>
                    <a:pt x="8204" y="703"/>
                  </a:cubicBezTo>
                  <a:lnTo>
                    <a:pt x="8204" y="358"/>
                  </a:lnTo>
                  <a:cubicBezTo>
                    <a:pt x="8204" y="167"/>
                    <a:pt x="8037" y="0"/>
                    <a:pt x="7847" y="0"/>
                  </a:cubicBezTo>
                  <a:lnTo>
                    <a:pt x="3501" y="0"/>
                  </a:lnTo>
                  <a:cubicBezTo>
                    <a:pt x="3406" y="0"/>
                    <a:pt x="3334" y="72"/>
                    <a:pt x="3334" y="167"/>
                  </a:cubicBezTo>
                  <a:cubicBezTo>
                    <a:pt x="3334" y="250"/>
                    <a:pt x="3406" y="322"/>
                    <a:pt x="3501" y="322"/>
                  </a:cubicBezTo>
                  <a:lnTo>
                    <a:pt x="7847" y="322"/>
                  </a:lnTo>
                  <a:cubicBezTo>
                    <a:pt x="7859" y="322"/>
                    <a:pt x="7883" y="346"/>
                    <a:pt x="7883" y="370"/>
                  </a:cubicBezTo>
                  <a:lnTo>
                    <a:pt x="7883" y="715"/>
                  </a:lnTo>
                  <a:cubicBezTo>
                    <a:pt x="7883" y="727"/>
                    <a:pt x="7871" y="762"/>
                    <a:pt x="7847" y="762"/>
                  </a:cubicBezTo>
                  <a:lnTo>
                    <a:pt x="2132" y="762"/>
                  </a:lnTo>
                  <a:cubicBezTo>
                    <a:pt x="2108" y="762"/>
                    <a:pt x="2084" y="739"/>
                    <a:pt x="2084" y="715"/>
                  </a:cubicBezTo>
                  <a:lnTo>
                    <a:pt x="2084" y="370"/>
                  </a:lnTo>
                  <a:cubicBezTo>
                    <a:pt x="2084" y="358"/>
                    <a:pt x="2096" y="322"/>
                    <a:pt x="2132" y="322"/>
                  </a:cubicBezTo>
                  <a:lnTo>
                    <a:pt x="2739" y="322"/>
                  </a:lnTo>
                  <a:cubicBezTo>
                    <a:pt x="2823" y="322"/>
                    <a:pt x="2894" y="250"/>
                    <a:pt x="2894" y="167"/>
                  </a:cubicBezTo>
                  <a:cubicBezTo>
                    <a:pt x="2894" y="72"/>
                    <a:pt x="2823" y="0"/>
                    <a:pt x="2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29" name="Google Shape;12529;p62"/>
            <p:cNvSpPr/>
            <p:nvPr/>
          </p:nvSpPr>
          <p:spPr>
            <a:xfrm>
              <a:off x="7642505" y="2952128"/>
              <a:ext cx="112876" cy="106451"/>
            </a:xfrm>
            <a:custGeom>
              <a:avLst/>
              <a:gdLst/>
              <a:ahLst/>
              <a:cxnLst/>
              <a:rect l="l" t="t" r="r" b="b"/>
              <a:pathLst>
                <a:path w="3549" h="3347" extrusionOk="0">
                  <a:moveTo>
                    <a:pt x="1822" y="548"/>
                  </a:moveTo>
                  <a:lnTo>
                    <a:pt x="2084" y="1287"/>
                  </a:lnTo>
                  <a:cubicBezTo>
                    <a:pt x="2120" y="1346"/>
                    <a:pt x="2156" y="1394"/>
                    <a:pt x="2239" y="1394"/>
                  </a:cubicBezTo>
                  <a:lnTo>
                    <a:pt x="3037" y="1429"/>
                  </a:lnTo>
                  <a:lnTo>
                    <a:pt x="2382" y="1918"/>
                  </a:lnTo>
                  <a:cubicBezTo>
                    <a:pt x="2322" y="1965"/>
                    <a:pt x="2311" y="2025"/>
                    <a:pt x="2322" y="2096"/>
                  </a:cubicBezTo>
                  <a:lnTo>
                    <a:pt x="2549" y="2870"/>
                  </a:lnTo>
                  <a:lnTo>
                    <a:pt x="1894" y="2430"/>
                  </a:lnTo>
                  <a:cubicBezTo>
                    <a:pt x="1864" y="2412"/>
                    <a:pt x="1831" y="2403"/>
                    <a:pt x="1800" y="2403"/>
                  </a:cubicBezTo>
                  <a:cubicBezTo>
                    <a:pt x="1769" y="2403"/>
                    <a:pt x="1739" y="2412"/>
                    <a:pt x="1715" y="2430"/>
                  </a:cubicBezTo>
                  <a:lnTo>
                    <a:pt x="1060" y="2870"/>
                  </a:lnTo>
                  <a:lnTo>
                    <a:pt x="1287" y="2096"/>
                  </a:lnTo>
                  <a:cubicBezTo>
                    <a:pt x="1298" y="2037"/>
                    <a:pt x="1287" y="1965"/>
                    <a:pt x="1227" y="1918"/>
                  </a:cubicBezTo>
                  <a:lnTo>
                    <a:pt x="596" y="1429"/>
                  </a:lnTo>
                  <a:lnTo>
                    <a:pt x="1406" y="1394"/>
                  </a:lnTo>
                  <a:cubicBezTo>
                    <a:pt x="1465" y="1394"/>
                    <a:pt x="1525" y="1358"/>
                    <a:pt x="1549" y="1287"/>
                  </a:cubicBezTo>
                  <a:lnTo>
                    <a:pt x="1822" y="548"/>
                  </a:lnTo>
                  <a:close/>
                  <a:moveTo>
                    <a:pt x="1775" y="1"/>
                  </a:moveTo>
                  <a:cubicBezTo>
                    <a:pt x="1691" y="1"/>
                    <a:pt x="1608" y="60"/>
                    <a:pt x="1560" y="144"/>
                  </a:cubicBezTo>
                  <a:lnTo>
                    <a:pt x="1227" y="1084"/>
                  </a:lnTo>
                  <a:lnTo>
                    <a:pt x="227" y="1120"/>
                  </a:lnTo>
                  <a:cubicBezTo>
                    <a:pt x="144" y="1120"/>
                    <a:pt x="60" y="1168"/>
                    <a:pt x="36" y="1263"/>
                  </a:cubicBezTo>
                  <a:cubicBezTo>
                    <a:pt x="1" y="1358"/>
                    <a:pt x="36" y="1441"/>
                    <a:pt x="108" y="1501"/>
                  </a:cubicBezTo>
                  <a:lnTo>
                    <a:pt x="894" y="2108"/>
                  </a:lnTo>
                  <a:lnTo>
                    <a:pt x="632" y="3061"/>
                  </a:lnTo>
                  <a:cubicBezTo>
                    <a:pt x="596" y="3156"/>
                    <a:pt x="632" y="3239"/>
                    <a:pt x="703" y="3299"/>
                  </a:cubicBezTo>
                  <a:cubicBezTo>
                    <a:pt x="739" y="3328"/>
                    <a:pt x="781" y="3343"/>
                    <a:pt x="824" y="3343"/>
                  </a:cubicBezTo>
                  <a:cubicBezTo>
                    <a:pt x="867" y="3343"/>
                    <a:pt x="912" y="3328"/>
                    <a:pt x="953" y="3299"/>
                  </a:cubicBezTo>
                  <a:lnTo>
                    <a:pt x="1775" y="2751"/>
                  </a:lnTo>
                  <a:lnTo>
                    <a:pt x="2596" y="3299"/>
                  </a:lnTo>
                  <a:cubicBezTo>
                    <a:pt x="2620" y="3334"/>
                    <a:pt x="2668" y="3346"/>
                    <a:pt x="2715" y="3346"/>
                  </a:cubicBezTo>
                  <a:cubicBezTo>
                    <a:pt x="2751" y="3346"/>
                    <a:pt x="2799" y="3334"/>
                    <a:pt x="2834" y="3299"/>
                  </a:cubicBezTo>
                  <a:cubicBezTo>
                    <a:pt x="2906" y="3239"/>
                    <a:pt x="2942" y="3156"/>
                    <a:pt x="2906" y="3061"/>
                  </a:cubicBezTo>
                  <a:lnTo>
                    <a:pt x="2644" y="2108"/>
                  </a:lnTo>
                  <a:lnTo>
                    <a:pt x="3430" y="1501"/>
                  </a:lnTo>
                  <a:cubicBezTo>
                    <a:pt x="3513" y="1441"/>
                    <a:pt x="3549" y="1358"/>
                    <a:pt x="3513" y="1263"/>
                  </a:cubicBezTo>
                  <a:cubicBezTo>
                    <a:pt x="3489" y="1168"/>
                    <a:pt x="3418" y="1120"/>
                    <a:pt x="3323" y="1120"/>
                  </a:cubicBezTo>
                  <a:lnTo>
                    <a:pt x="2322" y="1084"/>
                  </a:lnTo>
                  <a:lnTo>
                    <a:pt x="1989" y="144"/>
                  </a:lnTo>
                  <a:cubicBezTo>
                    <a:pt x="1953" y="60"/>
                    <a:pt x="1882" y="1"/>
                    <a:pt x="1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0" name="Google Shape;12530;p62"/>
          <p:cNvGrpSpPr/>
          <p:nvPr/>
        </p:nvGrpSpPr>
        <p:grpSpPr>
          <a:xfrm>
            <a:off x="8003015" y="2904039"/>
            <a:ext cx="306759" cy="351445"/>
            <a:chOff x="8003015" y="2904039"/>
            <a:chExt cx="306759" cy="351445"/>
          </a:xfrm>
        </p:grpSpPr>
        <p:sp>
          <p:nvSpPr>
            <p:cNvPr id="12531" name="Google Shape;12531;p62"/>
            <p:cNvSpPr/>
            <p:nvPr/>
          </p:nvSpPr>
          <p:spPr>
            <a:xfrm>
              <a:off x="8094263" y="2957439"/>
              <a:ext cx="30342" cy="30310"/>
            </a:xfrm>
            <a:custGeom>
              <a:avLst/>
              <a:gdLst/>
              <a:ahLst/>
              <a:cxnLst/>
              <a:rect l="l" t="t" r="r" b="b"/>
              <a:pathLst>
                <a:path w="954" h="953" extrusionOk="0">
                  <a:moveTo>
                    <a:pt x="477" y="0"/>
                  </a:moveTo>
                  <a:cubicBezTo>
                    <a:pt x="382" y="0"/>
                    <a:pt x="310" y="72"/>
                    <a:pt x="310" y="155"/>
                  </a:cubicBezTo>
                  <a:lnTo>
                    <a:pt x="310" y="310"/>
                  </a:lnTo>
                  <a:lnTo>
                    <a:pt x="168" y="310"/>
                  </a:lnTo>
                  <a:cubicBezTo>
                    <a:pt x="72" y="310"/>
                    <a:pt x="1" y="381"/>
                    <a:pt x="1" y="477"/>
                  </a:cubicBezTo>
                  <a:cubicBezTo>
                    <a:pt x="1" y="560"/>
                    <a:pt x="72" y="631"/>
                    <a:pt x="168" y="631"/>
                  </a:cubicBezTo>
                  <a:lnTo>
                    <a:pt x="310" y="631"/>
                  </a:lnTo>
                  <a:lnTo>
                    <a:pt x="310" y="786"/>
                  </a:lnTo>
                  <a:cubicBezTo>
                    <a:pt x="310" y="870"/>
                    <a:pt x="382" y="953"/>
                    <a:pt x="477" y="953"/>
                  </a:cubicBezTo>
                  <a:cubicBezTo>
                    <a:pt x="560"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2" name="Google Shape;12532;p62"/>
            <p:cNvSpPr/>
            <p:nvPr/>
          </p:nvSpPr>
          <p:spPr>
            <a:xfrm>
              <a:off x="8187420" y="2957439"/>
              <a:ext cx="30342" cy="30310"/>
            </a:xfrm>
            <a:custGeom>
              <a:avLst/>
              <a:gdLst/>
              <a:ahLst/>
              <a:cxnLst/>
              <a:rect l="l" t="t" r="r" b="b"/>
              <a:pathLst>
                <a:path w="954" h="953" extrusionOk="0">
                  <a:moveTo>
                    <a:pt x="477" y="0"/>
                  </a:moveTo>
                  <a:cubicBezTo>
                    <a:pt x="394" y="0"/>
                    <a:pt x="310" y="72"/>
                    <a:pt x="310" y="155"/>
                  </a:cubicBezTo>
                  <a:lnTo>
                    <a:pt x="310" y="310"/>
                  </a:lnTo>
                  <a:lnTo>
                    <a:pt x="167" y="310"/>
                  </a:lnTo>
                  <a:cubicBezTo>
                    <a:pt x="72" y="310"/>
                    <a:pt x="1" y="381"/>
                    <a:pt x="1" y="477"/>
                  </a:cubicBezTo>
                  <a:cubicBezTo>
                    <a:pt x="1" y="560"/>
                    <a:pt x="72" y="631"/>
                    <a:pt x="167" y="631"/>
                  </a:cubicBezTo>
                  <a:lnTo>
                    <a:pt x="310" y="631"/>
                  </a:lnTo>
                  <a:lnTo>
                    <a:pt x="310" y="786"/>
                  </a:lnTo>
                  <a:cubicBezTo>
                    <a:pt x="310" y="870"/>
                    <a:pt x="394" y="953"/>
                    <a:pt x="477" y="953"/>
                  </a:cubicBezTo>
                  <a:cubicBezTo>
                    <a:pt x="572" y="953"/>
                    <a:pt x="644" y="870"/>
                    <a:pt x="644" y="786"/>
                  </a:cubicBezTo>
                  <a:lnTo>
                    <a:pt x="644" y="631"/>
                  </a:lnTo>
                  <a:lnTo>
                    <a:pt x="787" y="631"/>
                  </a:lnTo>
                  <a:cubicBezTo>
                    <a:pt x="882" y="631"/>
                    <a:pt x="953" y="560"/>
                    <a:pt x="953" y="477"/>
                  </a:cubicBezTo>
                  <a:cubicBezTo>
                    <a:pt x="953" y="381"/>
                    <a:pt x="882" y="310"/>
                    <a:pt x="787" y="310"/>
                  </a:cubicBezTo>
                  <a:lnTo>
                    <a:pt x="644" y="310"/>
                  </a:lnTo>
                  <a:lnTo>
                    <a:pt x="644" y="155"/>
                  </a:lnTo>
                  <a:cubicBezTo>
                    <a:pt x="644" y="72"/>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3" name="Google Shape;12533;p62"/>
            <p:cNvSpPr/>
            <p:nvPr/>
          </p:nvSpPr>
          <p:spPr>
            <a:xfrm>
              <a:off x="8094263" y="3027856"/>
              <a:ext cx="30342" cy="30342"/>
            </a:xfrm>
            <a:custGeom>
              <a:avLst/>
              <a:gdLst/>
              <a:ahLst/>
              <a:cxnLst/>
              <a:rect l="l" t="t" r="r" b="b"/>
              <a:pathLst>
                <a:path w="954" h="954" extrusionOk="0">
                  <a:moveTo>
                    <a:pt x="477" y="1"/>
                  </a:moveTo>
                  <a:cubicBezTo>
                    <a:pt x="382" y="1"/>
                    <a:pt x="310" y="72"/>
                    <a:pt x="310" y="168"/>
                  </a:cubicBezTo>
                  <a:lnTo>
                    <a:pt x="310" y="311"/>
                  </a:lnTo>
                  <a:lnTo>
                    <a:pt x="168" y="311"/>
                  </a:lnTo>
                  <a:cubicBezTo>
                    <a:pt x="72" y="311"/>
                    <a:pt x="1" y="382"/>
                    <a:pt x="1" y="477"/>
                  </a:cubicBezTo>
                  <a:cubicBezTo>
                    <a:pt x="1" y="561"/>
                    <a:pt x="72" y="644"/>
                    <a:pt x="168" y="644"/>
                  </a:cubicBezTo>
                  <a:lnTo>
                    <a:pt x="310" y="644"/>
                  </a:lnTo>
                  <a:lnTo>
                    <a:pt x="310" y="787"/>
                  </a:lnTo>
                  <a:cubicBezTo>
                    <a:pt x="310" y="882"/>
                    <a:pt x="382" y="953"/>
                    <a:pt x="477" y="953"/>
                  </a:cubicBezTo>
                  <a:cubicBezTo>
                    <a:pt x="560"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60"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4" name="Google Shape;12534;p62"/>
            <p:cNvSpPr/>
            <p:nvPr/>
          </p:nvSpPr>
          <p:spPr>
            <a:xfrm>
              <a:off x="8187420" y="3027856"/>
              <a:ext cx="30342" cy="30342"/>
            </a:xfrm>
            <a:custGeom>
              <a:avLst/>
              <a:gdLst/>
              <a:ahLst/>
              <a:cxnLst/>
              <a:rect l="l" t="t" r="r" b="b"/>
              <a:pathLst>
                <a:path w="954" h="954" extrusionOk="0">
                  <a:moveTo>
                    <a:pt x="477" y="1"/>
                  </a:moveTo>
                  <a:cubicBezTo>
                    <a:pt x="394" y="1"/>
                    <a:pt x="310" y="72"/>
                    <a:pt x="310" y="168"/>
                  </a:cubicBezTo>
                  <a:lnTo>
                    <a:pt x="310" y="311"/>
                  </a:lnTo>
                  <a:lnTo>
                    <a:pt x="167" y="311"/>
                  </a:lnTo>
                  <a:cubicBezTo>
                    <a:pt x="72" y="311"/>
                    <a:pt x="1" y="382"/>
                    <a:pt x="1" y="477"/>
                  </a:cubicBezTo>
                  <a:cubicBezTo>
                    <a:pt x="1" y="561"/>
                    <a:pt x="72" y="644"/>
                    <a:pt x="167" y="644"/>
                  </a:cubicBezTo>
                  <a:lnTo>
                    <a:pt x="310" y="644"/>
                  </a:lnTo>
                  <a:lnTo>
                    <a:pt x="310" y="787"/>
                  </a:lnTo>
                  <a:cubicBezTo>
                    <a:pt x="310" y="882"/>
                    <a:pt x="394" y="953"/>
                    <a:pt x="477" y="953"/>
                  </a:cubicBezTo>
                  <a:cubicBezTo>
                    <a:pt x="572" y="953"/>
                    <a:pt x="644" y="882"/>
                    <a:pt x="644" y="787"/>
                  </a:cubicBezTo>
                  <a:lnTo>
                    <a:pt x="644" y="644"/>
                  </a:lnTo>
                  <a:lnTo>
                    <a:pt x="787" y="644"/>
                  </a:lnTo>
                  <a:cubicBezTo>
                    <a:pt x="882" y="644"/>
                    <a:pt x="953" y="561"/>
                    <a:pt x="953" y="477"/>
                  </a:cubicBezTo>
                  <a:cubicBezTo>
                    <a:pt x="953" y="382"/>
                    <a:pt x="882" y="311"/>
                    <a:pt x="787" y="311"/>
                  </a:cubicBezTo>
                  <a:lnTo>
                    <a:pt x="644" y="311"/>
                  </a:lnTo>
                  <a:lnTo>
                    <a:pt x="644" y="168"/>
                  </a:lnTo>
                  <a:cubicBezTo>
                    <a:pt x="644" y="72"/>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5" name="Google Shape;12535;p62"/>
            <p:cNvSpPr/>
            <p:nvPr/>
          </p:nvSpPr>
          <p:spPr>
            <a:xfrm>
              <a:off x="8003015" y="3050214"/>
              <a:ext cx="306759" cy="205269"/>
            </a:xfrm>
            <a:custGeom>
              <a:avLst/>
              <a:gdLst/>
              <a:ahLst/>
              <a:cxnLst/>
              <a:rect l="l" t="t" r="r" b="b"/>
              <a:pathLst>
                <a:path w="9645" h="6454" extrusionOk="0">
                  <a:moveTo>
                    <a:pt x="2465" y="310"/>
                  </a:moveTo>
                  <a:cubicBezTo>
                    <a:pt x="2465" y="310"/>
                    <a:pt x="2477" y="310"/>
                    <a:pt x="2477" y="322"/>
                  </a:cubicBezTo>
                  <a:lnTo>
                    <a:pt x="2477" y="751"/>
                  </a:lnTo>
                  <a:cubicBezTo>
                    <a:pt x="2477" y="751"/>
                    <a:pt x="2477" y="762"/>
                    <a:pt x="2465" y="762"/>
                  </a:cubicBezTo>
                  <a:lnTo>
                    <a:pt x="322" y="762"/>
                  </a:lnTo>
                  <a:lnTo>
                    <a:pt x="310" y="322"/>
                  </a:lnTo>
                  <a:cubicBezTo>
                    <a:pt x="310" y="322"/>
                    <a:pt x="310" y="310"/>
                    <a:pt x="322" y="310"/>
                  </a:cubicBezTo>
                  <a:close/>
                  <a:moveTo>
                    <a:pt x="9311" y="322"/>
                  </a:moveTo>
                  <a:cubicBezTo>
                    <a:pt x="9311" y="322"/>
                    <a:pt x="9323" y="322"/>
                    <a:pt x="9323" y="334"/>
                  </a:cubicBezTo>
                  <a:lnTo>
                    <a:pt x="9323" y="762"/>
                  </a:lnTo>
                  <a:lnTo>
                    <a:pt x="9311" y="762"/>
                  </a:lnTo>
                  <a:lnTo>
                    <a:pt x="7168" y="786"/>
                  </a:lnTo>
                  <a:cubicBezTo>
                    <a:pt x="7168" y="786"/>
                    <a:pt x="7156" y="786"/>
                    <a:pt x="7156" y="762"/>
                  </a:cubicBezTo>
                  <a:lnTo>
                    <a:pt x="7156" y="334"/>
                  </a:lnTo>
                  <a:cubicBezTo>
                    <a:pt x="7156" y="334"/>
                    <a:pt x="7156" y="322"/>
                    <a:pt x="7168" y="322"/>
                  </a:cubicBezTo>
                  <a:close/>
                  <a:moveTo>
                    <a:pt x="2084" y="1096"/>
                  </a:moveTo>
                  <a:lnTo>
                    <a:pt x="2084" y="3477"/>
                  </a:lnTo>
                  <a:lnTo>
                    <a:pt x="1036" y="3477"/>
                  </a:lnTo>
                  <a:cubicBezTo>
                    <a:pt x="870" y="3477"/>
                    <a:pt x="727" y="3346"/>
                    <a:pt x="727" y="3167"/>
                  </a:cubicBezTo>
                  <a:lnTo>
                    <a:pt x="727" y="1096"/>
                  </a:lnTo>
                  <a:close/>
                  <a:moveTo>
                    <a:pt x="6668" y="1977"/>
                  </a:moveTo>
                  <a:cubicBezTo>
                    <a:pt x="6942" y="1977"/>
                    <a:pt x="7180" y="2215"/>
                    <a:pt x="7180" y="2501"/>
                  </a:cubicBezTo>
                  <a:lnTo>
                    <a:pt x="7180" y="3477"/>
                  </a:lnTo>
                  <a:lnTo>
                    <a:pt x="2382" y="3477"/>
                  </a:lnTo>
                  <a:lnTo>
                    <a:pt x="2382" y="2501"/>
                  </a:lnTo>
                  <a:cubicBezTo>
                    <a:pt x="2394" y="2215"/>
                    <a:pt x="2632" y="1977"/>
                    <a:pt x="2917" y="1977"/>
                  </a:cubicBezTo>
                  <a:close/>
                  <a:moveTo>
                    <a:pt x="8871" y="1096"/>
                  </a:moveTo>
                  <a:lnTo>
                    <a:pt x="8871" y="3167"/>
                  </a:lnTo>
                  <a:cubicBezTo>
                    <a:pt x="8871" y="3334"/>
                    <a:pt x="8728" y="3477"/>
                    <a:pt x="8549" y="3477"/>
                  </a:cubicBezTo>
                  <a:lnTo>
                    <a:pt x="7513" y="3477"/>
                  </a:lnTo>
                  <a:lnTo>
                    <a:pt x="7513" y="1096"/>
                  </a:lnTo>
                  <a:close/>
                  <a:moveTo>
                    <a:pt x="8299" y="3787"/>
                  </a:moveTo>
                  <a:lnTo>
                    <a:pt x="8299" y="4120"/>
                  </a:lnTo>
                  <a:lnTo>
                    <a:pt x="8287" y="4120"/>
                  </a:lnTo>
                  <a:cubicBezTo>
                    <a:pt x="8287" y="4191"/>
                    <a:pt x="8228" y="4251"/>
                    <a:pt x="8156" y="4251"/>
                  </a:cubicBezTo>
                  <a:lnTo>
                    <a:pt x="1453" y="4251"/>
                  </a:lnTo>
                  <a:cubicBezTo>
                    <a:pt x="1382" y="4251"/>
                    <a:pt x="1322" y="4191"/>
                    <a:pt x="1322" y="4120"/>
                  </a:cubicBezTo>
                  <a:lnTo>
                    <a:pt x="1322" y="3787"/>
                  </a:lnTo>
                  <a:close/>
                  <a:moveTo>
                    <a:pt x="2644" y="4584"/>
                  </a:moveTo>
                  <a:lnTo>
                    <a:pt x="2644" y="6120"/>
                  </a:lnTo>
                  <a:lnTo>
                    <a:pt x="2132" y="6120"/>
                  </a:lnTo>
                  <a:lnTo>
                    <a:pt x="2132" y="4584"/>
                  </a:lnTo>
                  <a:close/>
                  <a:moveTo>
                    <a:pt x="7454" y="4584"/>
                  </a:moveTo>
                  <a:lnTo>
                    <a:pt x="7454" y="6120"/>
                  </a:lnTo>
                  <a:lnTo>
                    <a:pt x="6942" y="6120"/>
                  </a:lnTo>
                  <a:lnTo>
                    <a:pt x="6942" y="4584"/>
                  </a:lnTo>
                  <a:close/>
                  <a:moveTo>
                    <a:pt x="7168" y="0"/>
                  </a:moveTo>
                  <a:cubicBezTo>
                    <a:pt x="6989" y="0"/>
                    <a:pt x="6847" y="143"/>
                    <a:pt x="6847" y="322"/>
                  </a:cubicBezTo>
                  <a:lnTo>
                    <a:pt x="6847" y="751"/>
                  </a:lnTo>
                  <a:cubicBezTo>
                    <a:pt x="6847" y="929"/>
                    <a:pt x="6989" y="1084"/>
                    <a:pt x="7168" y="1084"/>
                  </a:cubicBezTo>
                  <a:lnTo>
                    <a:pt x="7204" y="1084"/>
                  </a:lnTo>
                  <a:lnTo>
                    <a:pt x="7204" y="1810"/>
                  </a:lnTo>
                  <a:cubicBezTo>
                    <a:pt x="7049" y="1691"/>
                    <a:pt x="6870" y="1632"/>
                    <a:pt x="6680" y="1632"/>
                  </a:cubicBezTo>
                  <a:lnTo>
                    <a:pt x="2929" y="1632"/>
                  </a:lnTo>
                  <a:cubicBezTo>
                    <a:pt x="2739" y="1632"/>
                    <a:pt x="2560" y="1703"/>
                    <a:pt x="2406" y="1810"/>
                  </a:cubicBezTo>
                  <a:lnTo>
                    <a:pt x="2406" y="1096"/>
                  </a:lnTo>
                  <a:lnTo>
                    <a:pt x="2477" y="1096"/>
                  </a:lnTo>
                  <a:cubicBezTo>
                    <a:pt x="2656" y="1096"/>
                    <a:pt x="2810" y="953"/>
                    <a:pt x="2810" y="762"/>
                  </a:cubicBezTo>
                  <a:lnTo>
                    <a:pt x="2810" y="334"/>
                  </a:lnTo>
                  <a:cubicBezTo>
                    <a:pt x="2810" y="155"/>
                    <a:pt x="2656" y="12"/>
                    <a:pt x="2477" y="12"/>
                  </a:cubicBezTo>
                  <a:lnTo>
                    <a:pt x="322" y="12"/>
                  </a:lnTo>
                  <a:cubicBezTo>
                    <a:pt x="143" y="12"/>
                    <a:pt x="0" y="155"/>
                    <a:pt x="0" y="334"/>
                  </a:cubicBezTo>
                  <a:lnTo>
                    <a:pt x="0" y="762"/>
                  </a:lnTo>
                  <a:cubicBezTo>
                    <a:pt x="0" y="953"/>
                    <a:pt x="143" y="1096"/>
                    <a:pt x="322" y="1096"/>
                  </a:cubicBezTo>
                  <a:lnTo>
                    <a:pt x="393" y="1096"/>
                  </a:lnTo>
                  <a:lnTo>
                    <a:pt x="393" y="3167"/>
                  </a:lnTo>
                  <a:cubicBezTo>
                    <a:pt x="393" y="3489"/>
                    <a:pt x="655" y="3763"/>
                    <a:pt x="977" y="3787"/>
                  </a:cubicBezTo>
                  <a:lnTo>
                    <a:pt x="977" y="4120"/>
                  </a:lnTo>
                  <a:cubicBezTo>
                    <a:pt x="977" y="4370"/>
                    <a:pt x="1191" y="4584"/>
                    <a:pt x="1441" y="4584"/>
                  </a:cubicBezTo>
                  <a:lnTo>
                    <a:pt x="1810" y="4584"/>
                  </a:lnTo>
                  <a:lnTo>
                    <a:pt x="1810" y="6132"/>
                  </a:lnTo>
                  <a:lnTo>
                    <a:pt x="1572" y="6132"/>
                  </a:lnTo>
                  <a:cubicBezTo>
                    <a:pt x="1489" y="6132"/>
                    <a:pt x="1405" y="6204"/>
                    <a:pt x="1405" y="6287"/>
                  </a:cubicBezTo>
                  <a:cubicBezTo>
                    <a:pt x="1405" y="6382"/>
                    <a:pt x="1489" y="6454"/>
                    <a:pt x="1572" y="6454"/>
                  </a:cubicBezTo>
                  <a:lnTo>
                    <a:pt x="3191" y="6454"/>
                  </a:lnTo>
                  <a:cubicBezTo>
                    <a:pt x="3287" y="6454"/>
                    <a:pt x="3358" y="6382"/>
                    <a:pt x="3358" y="6287"/>
                  </a:cubicBezTo>
                  <a:cubicBezTo>
                    <a:pt x="3358" y="6204"/>
                    <a:pt x="3287" y="6132"/>
                    <a:pt x="3191" y="6132"/>
                  </a:cubicBezTo>
                  <a:lnTo>
                    <a:pt x="2953" y="6132"/>
                  </a:lnTo>
                  <a:lnTo>
                    <a:pt x="2953" y="4584"/>
                  </a:lnTo>
                  <a:lnTo>
                    <a:pt x="6620" y="4584"/>
                  </a:lnTo>
                  <a:lnTo>
                    <a:pt x="6620" y="6132"/>
                  </a:lnTo>
                  <a:lnTo>
                    <a:pt x="6382" y="6132"/>
                  </a:lnTo>
                  <a:cubicBezTo>
                    <a:pt x="6287" y="6132"/>
                    <a:pt x="6216" y="6204"/>
                    <a:pt x="6216" y="6287"/>
                  </a:cubicBezTo>
                  <a:cubicBezTo>
                    <a:pt x="6216" y="6382"/>
                    <a:pt x="6287" y="6454"/>
                    <a:pt x="6382" y="6454"/>
                  </a:cubicBezTo>
                  <a:lnTo>
                    <a:pt x="8001" y="6454"/>
                  </a:lnTo>
                  <a:cubicBezTo>
                    <a:pt x="8097" y="6454"/>
                    <a:pt x="8168" y="6382"/>
                    <a:pt x="8168" y="6287"/>
                  </a:cubicBezTo>
                  <a:cubicBezTo>
                    <a:pt x="8168" y="6204"/>
                    <a:pt x="8097" y="6132"/>
                    <a:pt x="8001" y="6132"/>
                  </a:cubicBezTo>
                  <a:lnTo>
                    <a:pt x="7763" y="6132"/>
                  </a:lnTo>
                  <a:lnTo>
                    <a:pt x="7763" y="4584"/>
                  </a:lnTo>
                  <a:lnTo>
                    <a:pt x="8132" y="4584"/>
                  </a:lnTo>
                  <a:cubicBezTo>
                    <a:pt x="8394" y="4584"/>
                    <a:pt x="8597" y="4370"/>
                    <a:pt x="8597" y="4120"/>
                  </a:cubicBezTo>
                  <a:lnTo>
                    <a:pt x="8597" y="3787"/>
                  </a:lnTo>
                  <a:cubicBezTo>
                    <a:pt x="8930" y="3763"/>
                    <a:pt x="9180" y="3489"/>
                    <a:pt x="9180" y="3167"/>
                  </a:cubicBezTo>
                  <a:lnTo>
                    <a:pt x="9180" y="1096"/>
                  </a:lnTo>
                  <a:lnTo>
                    <a:pt x="9299" y="1096"/>
                  </a:lnTo>
                  <a:cubicBezTo>
                    <a:pt x="9478" y="1096"/>
                    <a:pt x="9621" y="953"/>
                    <a:pt x="9621" y="762"/>
                  </a:cubicBezTo>
                  <a:lnTo>
                    <a:pt x="9621" y="334"/>
                  </a:lnTo>
                  <a:cubicBezTo>
                    <a:pt x="9645" y="143"/>
                    <a:pt x="9490" y="0"/>
                    <a:pt x="93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6" name="Google Shape;12536;p62"/>
            <p:cNvSpPr/>
            <p:nvPr/>
          </p:nvSpPr>
          <p:spPr>
            <a:xfrm>
              <a:off x="8040131" y="2904039"/>
              <a:ext cx="230268" cy="132182"/>
            </a:xfrm>
            <a:custGeom>
              <a:avLst/>
              <a:gdLst/>
              <a:ahLst/>
              <a:cxnLst/>
              <a:rect l="l" t="t" r="r" b="b"/>
              <a:pathLst>
                <a:path w="7240" h="4156" extrusionOk="0">
                  <a:moveTo>
                    <a:pt x="1346" y="1"/>
                  </a:moveTo>
                  <a:cubicBezTo>
                    <a:pt x="619" y="1"/>
                    <a:pt x="0" y="596"/>
                    <a:pt x="0" y="1346"/>
                  </a:cubicBezTo>
                  <a:lnTo>
                    <a:pt x="0" y="3989"/>
                  </a:lnTo>
                  <a:cubicBezTo>
                    <a:pt x="0" y="4084"/>
                    <a:pt x="84" y="4156"/>
                    <a:pt x="167" y="4156"/>
                  </a:cubicBezTo>
                  <a:cubicBezTo>
                    <a:pt x="262" y="4156"/>
                    <a:pt x="334" y="4084"/>
                    <a:pt x="334" y="3989"/>
                  </a:cubicBezTo>
                  <a:lnTo>
                    <a:pt x="334" y="1346"/>
                  </a:lnTo>
                  <a:cubicBezTo>
                    <a:pt x="334" y="798"/>
                    <a:pt x="774" y="334"/>
                    <a:pt x="1346" y="334"/>
                  </a:cubicBezTo>
                  <a:lnTo>
                    <a:pt x="5882" y="334"/>
                  </a:lnTo>
                  <a:cubicBezTo>
                    <a:pt x="6430" y="334"/>
                    <a:pt x="6894" y="786"/>
                    <a:pt x="6894" y="1346"/>
                  </a:cubicBezTo>
                  <a:lnTo>
                    <a:pt x="6906" y="3989"/>
                  </a:lnTo>
                  <a:cubicBezTo>
                    <a:pt x="6906" y="4084"/>
                    <a:pt x="6977" y="4156"/>
                    <a:pt x="7073" y="4156"/>
                  </a:cubicBezTo>
                  <a:cubicBezTo>
                    <a:pt x="7156" y="4156"/>
                    <a:pt x="7239" y="4084"/>
                    <a:pt x="7239" y="3989"/>
                  </a:cubicBezTo>
                  <a:lnTo>
                    <a:pt x="7227" y="1346"/>
                  </a:lnTo>
                  <a:cubicBezTo>
                    <a:pt x="7227" y="620"/>
                    <a:pt x="6632" y="1"/>
                    <a:pt x="5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37" name="Google Shape;12537;p62"/>
          <p:cNvGrpSpPr/>
          <p:nvPr/>
        </p:nvGrpSpPr>
        <p:grpSpPr>
          <a:xfrm>
            <a:off x="5687770" y="2885496"/>
            <a:ext cx="369638" cy="369606"/>
            <a:chOff x="5687770" y="2885496"/>
            <a:chExt cx="369638" cy="369606"/>
          </a:xfrm>
        </p:grpSpPr>
        <p:sp>
          <p:nvSpPr>
            <p:cNvPr id="12538" name="Google Shape;12538;p62"/>
            <p:cNvSpPr/>
            <p:nvPr/>
          </p:nvSpPr>
          <p:spPr>
            <a:xfrm>
              <a:off x="5772594" y="3003366"/>
              <a:ext cx="112113" cy="110872"/>
            </a:xfrm>
            <a:custGeom>
              <a:avLst/>
              <a:gdLst/>
              <a:ahLst/>
              <a:cxnLst/>
              <a:rect l="l" t="t" r="r" b="b"/>
              <a:pathLst>
                <a:path w="3525" h="3486" extrusionOk="0">
                  <a:moveTo>
                    <a:pt x="3346" y="0"/>
                  </a:moveTo>
                  <a:cubicBezTo>
                    <a:pt x="3302" y="0"/>
                    <a:pt x="3257" y="15"/>
                    <a:pt x="3227" y="45"/>
                  </a:cubicBezTo>
                  <a:lnTo>
                    <a:pt x="60" y="3212"/>
                  </a:lnTo>
                  <a:cubicBezTo>
                    <a:pt x="1" y="3271"/>
                    <a:pt x="1" y="3390"/>
                    <a:pt x="60" y="3450"/>
                  </a:cubicBezTo>
                  <a:cubicBezTo>
                    <a:pt x="84" y="3474"/>
                    <a:pt x="132" y="3486"/>
                    <a:pt x="179" y="3486"/>
                  </a:cubicBezTo>
                  <a:cubicBezTo>
                    <a:pt x="215" y="3486"/>
                    <a:pt x="263" y="3474"/>
                    <a:pt x="298" y="3450"/>
                  </a:cubicBezTo>
                  <a:lnTo>
                    <a:pt x="3465" y="283"/>
                  </a:lnTo>
                  <a:cubicBezTo>
                    <a:pt x="3525" y="223"/>
                    <a:pt x="3525" y="116"/>
                    <a:pt x="3465" y="45"/>
                  </a:cubicBezTo>
                  <a:cubicBezTo>
                    <a:pt x="3436" y="15"/>
                    <a:pt x="339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9" name="Google Shape;12539;p62"/>
            <p:cNvSpPr/>
            <p:nvPr/>
          </p:nvSpPr>
          <p:spPr>
            <a:xfrm>
              <a:off x="5800996" y="3031736"/>
              <a:ext cx="112113" cy="110904"/>
            </a:xfrm>
            <a:custGeom>
              <a:avLst/>
              <a:gdLst/>
              <a:ahLst/>
              <a:cxnLst/>
              <a:rect l="l" t="t" r="r" b="b"/>
              <a:pathLst>
                <a:path w="3525" h="3487" extrusionOk="0">
                  <a:moveTo>
                    <a:pt x="3346" y="1"/>
                  </a:moveTo>
                  <a:cubicBezTo>
                    <a:pt x="3302" y="1"/>
                    <a:pt x="3257" y="16"/>
                    <a:pt x="3227" y="46"/>
                  </a:cubicBezTo>
                  <a:lnTo>
                    <a:pt x="60" y="3213"/>
                  </a:lnTo>
                  <a:cubicBezTo>
                    <a:pt x="1" y="3272"/>
                    <a:pt x="1" y="3391"/>
                    <a:pt x="60" y="3451"/>
                  </a:cubicBezTo>
                  <a:cubicBezTo>
                    <a:pt x="84" y="3475"/>
                    <a:pt x="132" y="3487"/>
                    <a:pt x="179" y="3487"/>
                  </a:cubicBezTo>
                  <a:cubicBezTo>
                    <a:pt x="215" y="3487"/>
                    <a:pt x="263" y="3475"/>
                    <a:pt x="298" y="3451"/>
                  </a:cubicBezTo>
                  <a:lnTo>
                    <a:pt x="3465" y="284"/>
                  </a:lnTo>
                  <a:cubicBezTo>
                    <a:pt x="3525" y="224"/>
                    <a:pt x="3525" y="117"/>
                    <a:pt x="3465" y="46"/>
                  </a:cubicBezTo>
                  <a:cubicBezTo>
                    <a:pt x="3436" y="16"/>
                    <a:pt x="3391"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0" name="Google Shape;12540;p62"/>
            <p:cNvSpPr/>
            <p:nvPr/>
          </p:nvSpPr>
          <p:spPr>
            <a:xfrm>
              <a:off x="5829016" y="3141558"/>
              <a:ext cx="31455" cy="30247"/>
            </a:xfrm>
            <a:custGeom>
              <a:avLst/>
              <a:gdLst/>
              <a:ahLst/>
              <a:cxnLst/>
              <a:rect l="l" t="t" r="r" b="b"/>
              <a:pathLst>
                <a:path w="989" h="951" extrusionOk="0">
                  <a:moveTo>
                    <a:pt x="810" y="1"/>
                  </a:moveTo>
                  <a:cubicBezTo>
                    <a:pt x="766" y="1"/>
                    <a:pt x="721" y="16"/>
                    <a:pt x="691" y="45"/>
                  </a:cubicBezTo>
                  <a:lnTo>
                    <a:pt x="72" y="665"/>
                  </a:lnTo>
                  <a:cubicBezTo>
                    <a:pt x="1" y="724"/>
                    <a:pt x="1" y="843"/>
                    <a:pt x="72" y="903"/>
                  </a:cubicBezTo>
                  <a:cubicBezTo>
                    <a:pt x="96" y="938"/>
                    <a:pt x="144" y="950"/>
                    <a:pt x="191" y="950"/>
                  </a:cubicBezTo>
                  <a:cubicBezTo>
                    <a:pt x="227" y="950"/>
                    <a:pt x="275" y="938"/>
                    <a:pt x="298" y="903"/>
                  </a:cubicBezTo>
                  <a:lnTo>
                    <a:pt x="929" y="284"/>
                  </a:lnTo>
                  <a:cubicBezTo>
                    <a:pt x="989" y="224"/>
                    <a:pt x="989" y="105"/>
                    <a:pt x="929" y="45"/>
                  </a:cubicBezTo>
                  <a:cubicBezTo>
                    <a:pt x="900" y="16"/>
                    <a:pt x="855"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1" name="Google Shape;12541;p62"/>
            <p:cNvSpPr/>
            <p:nvPr/>
          </p:nvSpPr>
          <p:spPr>
            <a:xfrm>
              <a:off x="5866514" y="3060519"/>
              <a:ext cx="75378" cy="73788"/>
            </a:xfrm>
            <a:custGeom>
              <a:avLst/>
              <a:gdLst/>
              <a:ahLst/>
              <a:cxnLst/>
              <a:rect l="l" t="t" r="r" b="b"/>
              <a:pathLst>
                <a:path w="2370" h="2320" extrusionOk="0">
                  <a:moveTo>
                    <a:pt x="2179" y="1"/>
                  </a:moveTo>
                  <a:cubicBezTo>
                    <a:pt x="2135" y="1"/>
                    <a:pt x="2090" y="16"/>
                    <a:pt x="2060" y="46"/>
                  </a:cubicBezTo>
                  <a:lnTo>
                    <a:pt x="60" y="2034"/>
                  </a:lnTo>
                  <a:cubicBezTo>
                    <a:pt x="0" y="2093"/>
                    <a:pt x="0" y="2212"/>
                    <a:pt x="60" y="2272"/>
                  </a:cubicBezTo>
                  <a:cubicBezTo>
                    <a:pt x="96" y="2308"/>
                    <a:pt x="143" y="2320"/>
                    <a:pt x="179" y="2320"/>
                  </a:cubicBezTo>
                  <a:cubicBezTo>
                    <a:pt x="227" y="2320"/>
                    <a:pt x="274" y="2308"/>
                    <a:pt x="298" y="2272"/>
                  </a:cubicBezTo>
                  <a:lnTo>
                    <a:pt x="2298" y="284"/>
                  </a:lnTo>
                  <a:cubicBezTo>
                    <a:pt x="2370" y="212"/>
                    <a:pt x="2370" y="105"/>
                    <a:pt x="2298" y="46"/>
                  </a:cubicBezTo>
                  <a:cubicBezTo>
                    <a:pt x="2269" y="16"/>
                    <a:pt x="2224"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2" name="Google Shape;12542;p62"/>
            <p:cNvSpPr/>
            <p:nvPr/>
          </p:nvSpPr>
          <p:spPr>
            <a:xfrm>
              <a:off x="5687770" y="2885496"/>
              <a:ext cx="369638" cy="369606"/>
            </a:xfrm>
            <a:custGeom>
              <a:avLst/>
              <a:gdLst/>
              <a:ahLst/>
              <a:cxnLst/>
              <a:rect l="l" t="t" r="r" b="b"/>
              <a:pathLst>
                <a:path w="11622" h="11621" extrusionOk="0">
                  <a:moveTo>
                    <a:pt x="7275" y="357"/>
                  </a:moveTo>
                  <a:lnTo>
                    <a:pt x="7466" y="548"/>
                  </a:lnTo>
                  <a:lnTo>
                    <a:pt x="7466" y="560"/>
                  </a:lnTo>
                  <a:cubicBezTo>
                    <a:pt x="7335" y="810"/>
                    <a:pt x="7383" y="1131"/>
                    <a:pt x="7573" y="1334"/>
                  </a:cubicBezTo>
                  <a:cubicBezTo>
                    <a:pt x="7702" y="1462"/>
                    <a:pt x="7864" y="1527"/>
                    <a:pt x="8028" y="1527"/>
                  </a:cubicBezTo>
                  <a:cubicBezTo>
                    <a:pt x="8137" y="1527"/>
                    <a:pt x="8247" y="1498"/>
                    <a:pt x="8347" y="1441"/>
                  </a:cubicBezTo>
                  <a:lnTo>
                    <a:pt x="8359" y="1441"/>
                  </a:lnTo>
                  <a:lnTo>
                    <a:pt x="8811" y="1881"/>
                  </a:lnTo>
                  <a:lnTo>
                    <a:pt x="8811" y="1905"/>
                  </a:lnTo>
                  <a:cubicBezTo>
                    <a:pt x="8680" y="2155"/>
                    <a:pt x="8716" y="2465"/>
                    <a:pt x="8918" y="2679"/>
                  </a:cubicBezTo>
                  <a:cubicBezTo>
                    <a:pt x="9040" y="2800"/>
                    <a:pt x="9199" y="2866"/>
                    <a:pt x="9364" y="2866"/>
                  </a:cubicBezTo>
                  <a:cubicBezTo>
                    <a:pt x="9474" y="2866"/>
                    <a:pt x="9587" y="2836"/>
                    <a:pt x="9692" y="2774"/>
                  </a:cubicBezTo>
                  <a:lnTo>
                    <a:pt x="9704" y="2774"/>
                  </a:lnTo>
                  <a:lnTo>
                    <a:pt x="10145" y="3227"/>
                  </a:lnTo>
                  <a:lnTo>
                    <a:pt x="10145" y="3239"/>
                  </a:lnTo>
                  <a:cubicBezTo>
                    <a:pt x="10014" y="3489"/>
                    <a:pt x="10061" y="3810"/>
                    <a:pt x="10252" y="4013"/>
                  </a:cubicBezTo>
                  <a:cubicBezTo>
                    <a:pt x="10381" y="4141"/>
                    <a:pt x="10543" y="4205"/>
                    <a:pt x="10707" y="4205"/>
                  </a:cubicBezTo>
                  <a:cubicBezTo>
                    <a:pt x="10816" y="4205"/>
                    <a:pt x="10926" y="4177"/>
                    <a:pt x="11026" y="4120"/>
                  </a:cubicBezTo>
                  <a:lnTo>
                    <a:pt x="11038" y="4120"/>
                  </a:lnTo>
                  <a:lnTo>
                    <a:pt x="11240" y="4310"/>
                  </a:lnTo>
                  <a:cubicBezTo>
                    <a:pt x="11276" y="4358"/>
                    <a:pt x="11288" y="4358"/>
                    <a:pt x="11276" y="4370"/>
                  </a:cubicBezTo>
                  <a:lnTo>
                    <a:pt x="10252" y="5394"/>
                  </a:lnTo>
                  <a:lnTo>
                    <a:pt x="9907" y="5060"/>
                  </a:lnTo>
                  <a:cubicBezTo>
                    <a:pt x="9877" y="5031"/>
                    <a:pt x="9832" y="5016"/>
                    <a:pt x="9788" y="5016"/>
                  </a:cubicBezTo>
                  <a:cubicBezTo>
                    <a:pt x="9743" y="5016"/>
                    <a:pt x="9698" y="5031"/>
                    <a:pt x="9669" y="5060"/>
                  </a:cubicBezTo>
                  <a:cubicBezTo>
                    <a:pt x="9609" y="5120"/>
                    <a:pt x="9609" y="5239"/>
                    <a:pt x="9669" y="5298"/>
                  </a:cubicBezTo>
                  <a:lnTo>
                    <a:pt x="10014" y="5632"/>
                  </a:lnTo>
                  <a:lnTo>
                    <a:pt x="4358" y="11287"/>
                  </a:lnTo>
                  <a:lnTo>
                    <a:pt x="4335" y="11287"/>
                  </a:lnTo>
                  <a:lnTo>
                    <a:pt x="4132" y="11097"/>
                  </a:lnTo>
                  <a:lnTo>
                    <a:pt x="4132" y="11085"/>
                  </a:lnTo>
                  <a:cubicBezTo>
                    <a:pt x="4275" y="10835"/>
                    <a:pt x="4227" y="10513"/>
                    <a:pt x="4013" y="10323"/>
                  </a:cubicBezTo>
                  <a:cubicBezTo>
                    <a:pt x="3894" y="10204"/>
                    <a:pt x="3715" y="10132"/>
                    <a:pt x="3561" y="10132"/>
                  </a:cubicBezTo>
                  <a:cubicBezTo>
                    <a:pt x="3453" y="10132"/>
                    <a:pt x="3346" y="10156"/>
                    <a:pt x="3239" y="10204"/>
                  </a:cubicBezTo>
                  <a:lnTo>
                    <a:pt x="3227" y="10204"/>
                  </a:lnTo>
                  <a:lnTo>
                    <a:pt x="2763" y="9739"/>
                  </a:lnTo>
                  <a:lnTo>
                    <a:pt x="2763" y="9728"/>
                  </a:lnTo>
                  <a:cubicBezTo>
                    <a:pt x="2906" y="9478"/>
                    <a:pt x="2858" y="9168"/>
                    <a:pt x="2644" y="8966"/>
                  </a:cubicBezTo>
                  <a:cubicBezTo>
                    <a:pt x="2518" y="8839"/>
                    <a:pt x="2354" y="8773"/>
                    <a:pt x="2188" y="8773"/>
                  </a:cubicBezTo>
                  <a:cubicBezTo>
                    <a:pt x="2089" y="8773"/>
                    <a:pt x="1988" y="8797"/>
                    <a:pt x="1894" y="8847"/>
                  </a:cubicBezTo>
                  <a:lnTo>
                    <a:pt x="1870" y="8847"/>
                  </a:lnTo>
                  <a:lnTo>
                    <a:pt x="1417" y="8394"/>
                  </a:lnTo>
                  <a:lnTo>
                    <a:pt x="1417" y="8370"/>
                  </a:lnTo>
                  <a:cubicBezTo>
                    <a:pt x="1548" y="8120"/>
                    <a:pt x="1501" y="7811"/>
                    <a:pt x="1298" y="7620"/>
                  </a:cubicBezTo>
                  <a:cubicBezTo>
                    <a:pt x="1166" y="7488"/>
                    <a:pt x="1003" y="7419"/>
                    <a:pt x="838" y="7419"/>
                  </a:cubicBezTo>
                  <a:cubicBezTo>
                    <a:pt x="736" y="7419"/>
                    <a:pt x="632" y="7446"/>
                    <a:pt x="536" y="7501"/>
                  </a:cubicBezTo>
                  <a:lnTo>
                    <a:pt x="525" y="7501"/>
                  </a:lnTo>
                  <a:lnTo>
                    <a:pt x="322" y="7299"/>
                  </a:lnTo>
                  <a:lnTo>
                    <a:pt x="322" y="7287"/>
                  </a:lnTo>
                  <a:lnTo>
                    <a:pt x="322" y="7275"/>
                  </a:lnTo>
                  <a:lnTo>
                    <a:pt x="5978" y="1619"/>
                  </a:lnTo>
                  <a:lnTo>
                    <a:pt x="6335" y="1977"/>
                  </a:lnTo>
                  <a:cubicBezTo>
                    <a:pt x="6370" y="2000"/>
                    <a:pt x="6418" y="2024"/>
                    <a:pt x="6454" y="2024"/>
                  </a:cubicBezTo>
                  <a:cubicBezTo>
                    <a:pt x="6501" y="2024"/>
                    <a:pt x="6549" y="2000"/>
                    <a:pt x="6573" y="1977"/>
                  </a:cubicBezTo>
                  <a:cubicBezTo>
                    <a:pt x="6632" y="1917"/>
                    <a:pt x="6632" y="1798"/>
                    <a:pt x="6573" y="1739"/>
                  </a:cubicBezTo>
                  <a:lnTo>
                    <a:pt x="6216" y="1381"/>
                  </a:lnTo>
                  <a:lnTo>
                    <a:pt x="7252" y="357"/>
                  </a:lnTo>
                  <a:close/>
                  <a:moveTo>
                    <a:pt x="7275" y="0"/>
                  </a:moveTo>
                  <a:cubicBezTo>
                    <a:pt x="7180" y="0"/>
                    <a:pt x="7097" y="24"/>
                    <a:pt x="7025" y="95"/>
                  </a:cubicBezTo>
                  <a:lnTo>
                    <a:pt x="96" y="7025"/>
                  </a:lnTo>
                  <a:cubicBezTo>
                    <a:pt x="36" y="7084"/>
                    <a:pt x="1" y="7168"/>
                    <a:pt x="1" y="7275"/>
                  </a:cubicBezTo>
                  <a:cubicBezTo>
                    <a:pt x="1" y="7358"/>
                    <a:pt x="24" y="7454"/>
                    <a:pt x="96" y="7525"/>
                  </a:cubicBezTo>
                  <a:lnTo>
                    <a:pt x="298" y="7715"/>
                  </a:lnTo>
                  <a:cubicBezTo>
                    <a:pt x="357" y="7782"/>
                    <a:pt x="449" y="7821"/>
                    <a:pt x="544" y="7821"/>
                  </a:cubicBezTo>
                  <a:cubicBezTo>
                    <a:pt x="602" y="7821"/>
                    <a:pt x="661" y="7807"/>
                    <a:pt x="715" y="7775"/>
                  </a:cubicBezTo>
                  <a:cubicBezTo>
                    <a:pt x="759" y="7753"/>
                    <a:pt x="806" y="7743"/>
                    <a:pt x="852" y="7743"/>
                  </a:cubicBezTo>
                  <a:cubicBezTo>
                    <a:pt x="932" y="7743"/>
                    <a:pt x="1012" y="7774"/>
                    <a:pt x="1072" y="7835"/>
                  </a:cubicBezTo>
                  <a:cubicBezTo>
                    <a:pt x="1156" y="7930"/>
                    <a:pt x="1191" y="8073"/>
                    <a:pt x="1132" y="8192"/>
                  </a:cubicBezTo>
                  <a:cubicBezTo>
                    <a:pt x="1048" y="8335"/>
                    <a:pt x="1084" y="8513"/>
                    <a:pt x="1191" y="8608"/>
                  </a:cubicBezTo>
                  <a:lnTo>
                    <a:pt x="1644" y="9073"/>
                  </a:lnTo>
                  <a:cubicBezTo>
                    <a:pt x="1710" y="9139"/>
                    <a:pt x="1803" y="9173"/>
                    <a:pt x="1895" y="9173"/>
                  </a:cubicBezTo>
                  <a:cubicBezTo>
                    <a:pt x="1953" y="9173"/>
                    <a:pt x="2010" y="9160"/>
                    <a:pt x="2060" y="9132"/>
                  </a:cubicBezTo>
                  <a:cubicBezTo>
                    <a:pt x="2107" y="9109"/>
                    <a:pt x="2159" y="9097"/>
                    <a:pt x="2210" y="9097"/>
                  </a:cubicBezTo>
                  <a:cubicBezTo>
                    <a:pt x="2290" y="9097"/>
                    <a:pt x="2367" y="9127"/>
                    <a:pt x="2418" y="9192"/>
                  </a:cubicBezTo>
                  <a:cubicBezTo>
                    <a:pt x="2513" y="9287"/>
                    <a:pt x="2537" y="9430"/>
                    <a:pt x="2477" y="9549"/>
                  </a:cubicBezTo>
                  <a:cubicBezTo>
                    <a:pt x="2406" y="9680"/>
                    <a:pt x="2441" y="9859"/>
                    <a:pt x="2549" y="9966"/>
                  </a:cubicBezTo>
                  <a:lnTo>
                    <a:pt x="3001" y="10430"/>
                  </a:lnTo>
                  <a:cubicBezTo>
                    <a:pt x="3067" y="10496"/>
                    <a:pt x="3160" y="10530"/>
                    <a:pt x="3252" y="10530"/>
                  </a:cubicBezTo>
                  <a:cubicBezTo>
                    <a:pt x="3310" y="10530"/>
                    <a:pt x="3367" y="10517"/>
                    <a:pt x="3418" y="10490"/>
                  </a:cubicBezTo>
                  <a:cubicBezTo>
                    <a:pt x="3464" y="10466"/>
                    <a:pt x="3516" y="10454"/>
                    <a:pt x="3567" y="10454"/>
                  </a:cubicBezTo>
                  <a:cubicBezTo>
                    <a:pt x="3647" y="10454"/>
                    <a:pt x="3724" y="10484"/>
                    <a:pt x="3775" y="10549"/>
                  </a:cubicBezTo>
                  <a:cubicBezTo>
                    <a:pt x="3870" y="10632"/>
                    <a:pt x="3894" y="10787"/>
                    <a:pt x="3834" y="10906"/>
                  </a:cubicBezTo>
                  <a:cubicBezTo>
                    <a:pt x="3763" y="11037"/>
                    <a:pt x="3799" y="11216"/>
                    <a:pt x="3894" y="11323"/>
                  </a:cubicBezTo>
                  <a:lnTo>
                    <a:pt x="4096" y="11514"/>
                  </a:lnTo>
                  <a:cubicBezTo>
                    <a:pt x="4156" y="11573"/>
                    <a:pt x="4239" y="11621"/>
                    <a:pt x="4346" y="11621"/>
                  </a:cubicBezTo>
                  <a:cubicBezTo>
                    <a:pt x="4430" y="11621"/>
                    <a:pt x="4525" y="11585"/>
                    <a:pt x="4596" y="11514"/>
                  </a:cubicBezTo>
                  <a:lnTo>
                    <a:pt x="11514" y="4596"/>
                  </a:lnTo>
                  <a:cubicBezTo>
                    <a:pt x="11574" y="4536"/>
                    <a:pt x="11621" y="4441"/>
                    <a:pt x="11621" y="4346"/>
                  </a:cubicBezTo>
                  <a:cubicBezTo>
                    <a:pt x="11621" y="4239"/>
                    <a:pt x="11585" y="4179"/>
                    <a:pt x="11538" y="4108"/>
                  </a:cubicBezTo>
                  <a:lnTo>
                    <a:pt x="11335" y="3905"/>
                  </a:lnTo>
                  <a:cubicBezTo>
                    <a:pt x="11275" y="3845"/>
                    <a:pt x="11180" y="3808"/>
                    <a:pt x="11082" y="3808"/>
                  </a:cubicBezTo>
                  <a:cubicBezTo>
                    <a:pt x="11027" y="3808"/>
                    <a:pt x="10970" y="3820"/>
                    <a:pt x="10919" y="3846"/>
                  </a:cubicBezTo>
                  <a:cubicBezTo>
                    <a:pt x="10872" y="3869"/>
                    <a:pt x="10822" y="3882"/>
                    <a:pt x="10772" y="3882"/>
                  </a:cubicBezTo>
                  <a:cubicBezTo>
                    <a:pt x="10693" y="3882"/>
                    <a:pt x="10615" y="3852"/>
                    <a:pt x="10550" y="3786"/>
                  </a:cubicBezTo>
                  <a:cubicBezTo>
                    <a:pt x="10466" y="3703"/>
                    <a:pt x="10431" y="3536"/>
                    <a:pt x="10490" y="3417"/>
                  </a:cubicBezTo>
                  <a:cubicBezTo>
                    <a:pt x="10561" y="3286"/>
                    <a:pt x="10550" y="3108"/>
                    <a:pt x="10431" y="3001"/>
                  </a:cubicBezTo>
                  <a:lnTo>
                    <a:pt x="9990" y="2560"/>
                  </a:lnTo>
                  <a:cubicBezTo>
                    <a:pt x="9923" y="2493"/>
                    <a:pt x="9829" y="2454"/>
                    <a:pt x="9736" y="2454"/>
                  </a:cubicBezTo>
                  <a:cubicBezTo>
                    <a:pt x="9679" y="2454"/>
                    <a:pt x="9623" y="2469"/>
                    <a:pt x="9573" y="2501"/>
                  </a:cubicBezTo>
                  <a:cubicBezTo>
                    <a:pt x="9530" y="2522"/>
                    <a:pt x="9481" y="2533"/>
                    <a:pt x="9432" y="2533"/>
                  </a:cubicBezTo>
                  <a:cubicBezTo>
                    <a:pt x="9347" y="2533"/>
                    <a:pt x="9260" y="2501"/>
                    <a:pt x="9192" y="2441"/>
                  </a:cubicBezTo>
                  <a:cubicBezTo>
                    <a:pt x="9109" y="2346"/>
                    <a:pt x="9073" y="2179"/>
                    <a:pt x="9133" y="2060"/>
                  </a:cubicBezTo>
                  <a:cubicBezTo>
                    <a:pt x="9204" y="1929"/>
                    <a:pt x="9192" y="1750"/>
                    <a:pt x="9073" y="1643"/>
                  </a:cubicBezTo>
                  <a:lnTo>
                    <a:pt x="8633" y="1203"/>
                  </a:lnTo>
                  <a:cubicBezTo>
                    <a:pt x="8567" y="1137"/>
                    <a:pt x="8474" y="1102"/>
                    <a:pt x="8381" y="1102"/>
                  </a:cubicBezTo>
                  <a:cubicBezTo>
                    <a:pt x="8324" y="1102"/>
                    <a:pt x="8266" y="1116"/>
                    <a:pt x="8216" y="1143"/>
                  </a:cubicBezTo>
                  <a:cubicBezTo>
                    <a:pt x="8169" y="1166"/>
                    <a:pt x="8117" y="1179"/>
                    <a:pt x="8065" y="1179"/>
                  </a:cubicBezTo>
                  <a:cubicBezTo>
                    <a:pt x="7983" y="1179"/>
                    <a:pt x="7900" y="1149"/>
                    <a:pt x="7835" y="1084"/>
                  </a:cubicBezTo>
                  <a:cubicBezTo>
                    <a:pt x="7752" y="988"/>
                    <a:pt x="7716" y="834"/>
                    <a:pt x="7775" y="715"/>
                  </a:cubicBezTo>
                  <a:cubicBezTo>
                    <a:pt x="7859" y="572"/>
                    <a:pt x="7835" y="393"/>
                    <a:pt x="7716" y="298"/>
                  </a:cubicBezTo>
                  <a:lnTo>
                    <a:pt x="7525" y="95"/>
                  </a:lnTo>
                  <a:cubicBezTo>
                    <a:pt x="7466" y="36"/>
                    <a:pt x="7383" y="0"/>
                    <a:pt x="7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3" name="Google Shape;12543;p62"/>
            <p:cNvSpPr/>
            <p:nvPr/>
          </p:nvSpPr>
          <p:spPr>
            <a:xfrm>
              <a:off x="5737386" y="2968794"/>
              <a:ext cx="182942" cy="181416"/>
            </a:xfrm>
            <a:custGeom>
              <a:avLst/>
              <a:gdLst/>
              <a:ahLst/>
              <a:cxnLst/>
              <a:rect l="l" t="t" r="r" b="b"/>
              <a:pathLst>
                <a:path w="5752" h="5704" extrusionOk="0">
                  <a:moveTo>
                    <a:pt x="4322" y="1"/>
                  </a:moveTo>
                  <a:cubicBezTo>
                    <a:pt x="4263" y="1"/>
                    <a:pt x="4203" y="24"/>
                    <a:pt x="4156" y="48"/>
                  </a:cubicBezTo>
                  <a:lnTo>
                    <a:pt x="60" y="4144"/>
                  </a:lnTo>
                  <a:cubicBezTo>
                    <a:pt x="12" y="4192"/>
                    <a:pt x="0" y="4251"/>
                    <a:pt x="0" y="4311"/>
                  </a:cubicBezTo>
                  <a:cubicBezTo>
                    <a:pt x="0" y="4370"/>
                    <a:pt x="36" y="4430"/>
                    <a:pt x="60" y="4477"/>
                  </a:cubicBezTo>
                  <a:lnTo>
                    <a:pt x="1251" y="5668"/>
                  </a:lnTo>
                  <a:cubicBezTo>
                    <a:pt x="1286" y="5692"/>
                    <a:pt x="1322" y="5704"/>
                    <a:pt x="1370" y="5704"/>
                  </a:cubicBezTo>
                  <a:cubicBezTo>
                    <a:pt x="1417" y="5704"/>
                    <a:pt x="1465" y="5692"/>
                    <a:pt x="1489" y="5668"/>
                  </a:cubicBezTo>
                  <a:cubicBezTo>
                    <a:pt x="1548" y="5608"/>
                    <a:pt x="1548" y="5489"/>
                    <a:pt x="1489" y="5430"/>
                  </a:cubicBezTo>
                  <a:lnTo>
                    <a:pt x="393" y="4323"/>
                  </a:lnTo>
                  <a:lnTo>
                    <a:pt x="4322" y="393"/>
                  </a:lnTo>
                  <a:lnTo>
                    <a:pt x="5418" y="1501"/>
                  </a:lnTo>
                  <a:cubicBezTo>
                    <a:pt x="5447" y="1531"/>
                    <a:pt x="5492" y="1545"/>
                    <a:pt x="5537" y="1545"/>
                  </a:cubicBezTo>
                  <a:cubicBezTo>
                    <a:pt x="5581" y="1545"/>
                    <a:pt x="5626" y="1531"/>
                    <a:pt x="5656" y="1501"/>
                  </a:cubicBezTo>
                  <a:cubicBezTo>
                    <a:pt x="5751" y="1406"/>
                    <a:pt x="5751" y="1310"/>
                    <a:pt x="5668" y="1239"/>
                  </a:cubicBezTo>
                  <a:lnTo>
                    <a:pt x="4477" y="48"/>
                  </a:lnTo>
                  <a:cubicBezTo>
                    <a:pt x="4441" y="12"/>
                    <a:pt x="4370" y="1"/>
                    <a:pt x="4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4" name="Google Shape;12544;p62"/>
            <p:cNvSpPr/>
            <p:nvPr/>
          </p:nvSpPr>
          <p:spPr>
            <a:xfrm>
              <a:off x="5793808" y="3024548"/>
              <a:ext cx="181797" cy="181320"/>
            </a:xfrm>
            <a:custGeom>
              <a:avLst/>
              <a:gdLst/>
              <a:ahLst/>
              <a:cxnLst/>
              <a:rect l="l" t="t" r="r" b="b"/>
              <a:pathLst>
                <a:path w="5716" h="5701" extrusionOk="0">
                  <a:moveTo>
                    <a:pt x="4346" y="1"/>
                  </a:moveTo>
                  <a:cubicBezTo>
                    <a:pt x="4302" y="1"/>
                    <a:pt x="4257" y="16"/>
                    <a:pt x="4227" y="45"/>
                  </a:cubicBezTo>
                  <a:cubicBezTo>
                    <a:pt x="4168" y="105"/>
                    <a:pt x="4168" y="224"/>
                    <a:pt x="4227" y="284"/>
                  </a:cubicBezTo>
                  <a:lnTo>
                    <a:pt x="5322" y="1379"/>
                  </a:lnTo>
                  <a:lnTo>
                    <a:pt x="1393" y="5308"/>
                  </a:lnTo>
                  <a:lnTo>
                    <a:pt x="298" y="4213"/>
                  </a:lnTo>
                  <a:cubicBezTo>
                    <a:pt x="268" y="4183"/>
                    <a:pt x="224" y="4168"/>
                    <a:pt x="179" y="4168"/>
                  </a:cubicBezTo>
                  <a:cubicBezTo>
                    <a:pt x="134" y="4168"/>
                    <a:pt x="90" y="4183"/>
                    <a:pt x="60" y="4213"/>
                  </a:cubicBezTo>
                  <a:cubicBezTo>
                    <a:pt x="0" y="4272"/>
                    <a:pt x="0" y="4391"/>
                    <a:pt x="60" y="4451"/>
                  </a:cubicBezTo>
                  <a:lnTo>
                    <a:pt x="1251" y="5641"/>
                  </a:lnTo>
                  <a:cubicBezTo>
                    <a:pt x="1298" y="5689"/>
                    <a:pt x="1358" y="5701"/>
                    <a:pt x="1393" y="5701"/>
                  </a:cubicBezTo>
                  <a:cubicBezTo>
                    <a:pt x="1453" y="5701"/>
                    <a:pt x="1512" y="5689"/>
                    <a:pt x="1560" y="5641"/>
                  </a:cubicBezTo>
                  <a:lnTo>
                    <a:pt x="5656" y="1546"/>
                  </a:lnTo>
                  <a:cubicBezTo>
                    <a:pt x="5692" y="1498"/>
                    <a:pt x="5715" y="1438"/>
                    <a:pt x="5715" y="1379"/>
                  </a:cubicBezTo>
                  <a:cubicBezTo>
                    <a:pt x="5715" y="1343"/>
                    <a:pt x="5703" y="1272"/>
                    <a:pt x="5656" y="1236"/>
                  </a:cubicBezTo>
                  <a:lnTo>
                    <a:pt x="4465" y="45"/>
                  </a:lnTo>
                  <a:cubicBezTo>
                    <a:pt x="4435" y="16"/>
                    <a:pt x="4391"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5" name="Google Shape;12545;p62"/>
            <p:cNvSpPr/>
            <p:nvPr/>
          </p:nvSpPr>
          <p:spPr>
            <a:xfrm>
              <a:off x="5964600" y="3015483"/>
              <a:ext cx="23122" cy="21882"/>
            </a:xfrm>
            <a:custGeom>
              <a:avLst/>
              <a:gdLst/>
              <a:ahLst/>
              <a:cxnLst/>
              <a:rect l="l" t="t" r="r" b="b"/>
              <a:pathLst>
                <a:path w="727" h="688" extrusionOk="0">
                  <a:moveTo>
                    <a:pt x="179" y="0"/>
                  </a:moveTo>
                  <a:cubicBezTo>
                    <a:pt x="134" y="0"/>
                    <a:pt x="89" y="15"/>
                    <a:pt x="60" y="45"/>
                  </a:cubicBezTo>
                  <a:cubicBezTo>
                    <a:pt x="0" y="104"/>
                    <a:pt x="0" y="223"/>
                    <a:pt x="60" y="283"/>
                  </a:cubicBezTo>
                  <a:lnTo>
                    <a:pt x="417" y="640"/>
                  </a:lnTo>
                  <a:cubicBezTo>
                    <a:pt x="453" y="676"/>
                    <a:pt x="488" y="688"/>
                    <a:pt x="536" y="688"/>
                  </a:cubicBezTo>
                  <a:cubicBezTo>
                    <a:pt x="584" y="688"/>
                    <a:pt x="619" y="664"/>
                    <a:pt x="655" y="640"/>
                  </a:cubicBezTo>
                  <a:cubicBezTo>
                    <a:pt x="726" y="580"/>
                    <a:pt x="726" y="473"/>
                    <a:pt x="655" y="402"/>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6" name="Google Shape;12546;p62"/>
            <p:cNvSpPr/>
            <p:nvPr/>
          </p:nvSpPr>
          <p:spPr>
            <a:xfrm>
              <a:off x="5935817" y="2986700"/>
              <a:ext cx="22741" cy="21119"/>
            </a:xfrm>
            <a:custGeom>
              <a:avLst/>
              <a:gdLst/>
              <a:ahLst/>
              <a:cxnLst/>
              <a:rect l="l" t="t" r="r" b="b"/>
              <a:pathLst>
                <a:path w="715" h="664" extrusionOk="0">
                  <a:moveTo>
                    <a:pt x="179" y="0"/>
                  </a:moveTo>
                  <a:cubicBezTo>
                    <a:pt x="134" y="0"/>
                    <a:pt x="90" y="15"/>
                    <a:pt x="60" y="45"/>
                  </a:cubicBezTo>
                  <a:cubicBezTo>
                    <a:pt x="0" y="104"/>
                    <a:pt x="0" y="223"/>
                    <a:pt x="60" y="283"/>
                  </a:cubicBezTo>
                  <a:lnTo>
                    <a:pt x="405" y="628"/>
                  </a:lnTo>
                  <a:cubicBezTo>
                    <a:pt x="429" y="652"/>
                    <a:pt x="476" y="664"/>
                    <a:pt x="524" y="664"/>
                  </a:cubicBezTo>
                  <a:cubicBezTo>
                    <a:pt x="560" y="664"/>
                    <a:pt x="607" y="652"/>
                    <a:pt x="643" y="628"/>
                  </a:cubicBezTo>
                  <a:cubicBezTo>
                    <a:pt x="715" y="569"/>
                    <a:pt x="715" y="462"/>
                    <a:pt x="643" y="378"/>
                  </a:cubicBezTo>
                  <a:lnTo>
                    <a:pt x="298" y="45"/>
                  </a:lnTo>
                  <a:cubicBezTo>
                    <a:pt x="268" y="15"/>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7" name="Google Shape;12547;p62"/>
            <p:cNvSpPr/>
            <p:nvPr/>
          </p:nvSpPr>
          <p:spPr>
            <a:xfrm>
              <a:off x="5906270" y="2957153"/>
              <a:ext cx="23504" cy="21914"/>
            </a:xfrm>
            <a:custGeom>
              <a:avLst/>
              <a:gdLst/>
              <a:ahLst/>
              <a:cxnLst/>
              <a:rect l="l" t="t" r="r" b="b"/>
              <a:pathLst>
                <a:path w="739" h="689" extrusionOk="0">
                  <a:moveTo>
                    <a:pt x="179" y="0"/>
                  </a:moveTo>
                  <a:cubicBezTo>
                    <a:pt x="134" y="0"/>
                    <a:pt x="90" y="15"/>
                    <a:pt x="60" y="45"/>
                  </a:cubicBezTo>
                  <a:cubicBezTo>
                    <a:pt x="1" y="105"/>
                    <a:pt x="1" y="224"/>
                    <a:pt x="60" y="283"/>
                  </a:cubicBezTo>
                  <a:lnTo>
                    <a:pt x="417" y="640"/>
                  </a:lnTo>
                  <a:cubicBezTo>
                    <a:pt x="453" y="676"/>
                    <a:pt x="501" y="688"/>
                    <a:pt x="536" y="688"/>
                  </a:cubicBezTo>
                  <a:cubicBezTo>
                    <a:pt x="584" y="688"/>
                    <a:pt x="632" y="676"/>
                    <a:pt x="655" y="640"/>
                  </a:cubicBezTo>
                  <a:cubicBezTo>
                    <a:pt x="739" y="581"/>
                    <a:pt x="739" y="486"/>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48" name="Google Shape;12548;p62"/>
          <p:cNvGrpSpPr/>
          <p:nvPr/>
        </p:nvGrpSpPr>
        <p:grpSpPr>
          <a:xfrm>
            <a:off x="4881958" y="2904802"/>
            <a:ext cx="156417" cy="349537"/>
            <a:chOff x="4881958" y="2904802"/>
            <a:chExt cx="156417" cy="349537"/>
          </a:xfrm>
        </p:grpSpPr>
        <p:sp>
          <p:nvSpPr>
            <p:cNvPr id="12549" name="Google Shape;12549;p62"/>
            <p:cNvSpPr/>
            <p:nvPr/>
          </p:nvSpPr>
          <p:spPr>
            <a:xfrm>
              <a:off x="4994802" y="3168370"/>
              <a:ext cx="10241" cy="10623"/>
            </a:xfrm>
            <a:custGeom>
              <a:avLst/>
              <a:gdLst/>
              <a:ahLst/>
              <a:cxnLst/>
              <a:rect l="l" t="t" r="r" b="b"/>
              <a:pathLst>
                <a:path w="322" h="334" extrusionOk="0">
                  <a:moveTo>
                    <a:pt x="167" y="0"/>
                  </a:moveTo>
                  <a:cubicBezTo>
                    <a:pt x="72" y="0"/>
                    <a:pt x="0" y="72"/>
                    <a:pt x="0" y="167"/>
                  </a:cubicBezTo>
                  <a:cubicBezTo>
                    <a:pt x="0" y="250"/>
                    <a:pt x="72" y="334"/>
                    <a:pt x="167" y="334"/>
                  </a:cubicBezTo>
                  <a:cubicBezTo>
                    <a:pt x="250" y="334"/>
                    <a:pt x="322" y="250"/>
                    <a:pt x="322" y="167"/>
                  </a:cubicBez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0" name="Google Shape;12550;p62"/>
            <p:cNvSpPr/>
            <p:nvPr/>
          </p:nvSpPr>
          <p:spPr>
            <a:xfrm>
              <a:off x="4994802" y="3194864"/>
              <a:ext cx="10241" cy="10273"/>
            </a:xfrm>
            <a:custGeom>
              <a:avLst/>
              <a:gdLst/>
              <a:ahLst/>
              <a:cxnLst/>
              <a:rect l="l" t="t" r="r" b="b"/>
              <a:pathLst>
                <a:path w="322" h="323" extrusionOk="0">
                  <a:moveTo>
                    <a:pt x="167" y="1"/>
                  </a:moveTo>
                  <a:cubicBezTo>
                    <a:pt x="72" y="1"/>
                    <a:pt x="0" y="72"/>
                    <a:pt x="0" y="167"/>
                  </a:cubicBezTo>
                  <a:cubicBezTo>
                    <a:pt x="0" y="251"/>
                    <a:pt x="72" y="322"/>
                    <a:pt x="167" y="322"/>
                  </a:cubicBezTo>
                  <a:cubicBezTo>
                    <a:pt x="250" y="322"/>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1" name="Google Shape;12551;p62"/>
            <p:cNvSpPr/>
            <p:nvPr/>
          </p:nvSpPr>
          <p:spPr>
            <a:xfrm>
              <a:off x="4937999" y="2904802"/>
              <a:ext cx="45831" cy="221935"/>
            </a:xfrm>
            <a:custGeom>
              <a:avLst/>
              <a:gdLst/>
              <a:ahLst/>
              <a:cxnLst/>
              <a:rect l="l" t="t" r="r" b="b"/>
              <a:pathLst>
                <a:path w="1441" h="6978" extrusionOk="0">
                  <a:moveTo>
                    <a:pt x="1060" y="310"/>
                  </a:moveTo>
                  <a:cubicBezTo>
                    <a:pt x="1072" y="310"/>
                    <a:pt x="1084" y="322"/>
                    <a:pt x="1084" y="322"/>
                  </a:cubicBezTo>
                  <a:cubicBezTo>
                    <a:pt x="1084" y="346"/>
                    <a:pt x="1096" y="346"/>
                    <a:pt x="1096" y="358"/>
                  </a:cubicBezTo>
                  <a:lnTo>
                    <a:pt x="1084" y="417"/>
                  </a:lnTo>
                  <a:cubicBezTo>
                    <a:pt x="1024" y="643"/>
                    <a:pt x="1024" y="881"/>
                    <a:pt x="1060" y="1096"/>
                  </a:cubicBezTo>
                  <a:lnTo>
                    <a:pt x="1143" y="1632"/>
                  </a:lnTo>
                  <a:cubicBezTo>
                    <a:pt x="1119" y="1691"/>
                    <a:pt x="1096" y="1727"/>
                    <a:pt x="1072" y="1751"/>
                  </a:cubicBezTo>
                  <a:cubicBezTo>
                    <a:pt x="1000" y="1834"/>
                    <a:pt x="881" y="1953"/>
                    <a:pt x="834" y="2096"/>
                  </a:cubicBezTo>
                  <a:lnTo>
                    <a:pt x="834" y="2108"/>
                  </a:lnTo>
                  <a:lnTo>
                    <a:pt x="488" y="2108"/>
                  </a:lnTo>
                  <a:lnTo>
                    <a:pt x="488" y="2096"/>
                  </a:lnTo>
                  <a:lnTo>
                    <a:pt x="1012" y="310"/>
                  </a:lnTo>
                  <a:close/>
                  <a:moveTo>
                    <a:pt x="774" y="2429"/>
                  </a:moveTo>
                  <a:lnTo>
                    <a:pt x="917" y="6668"/>
                  </a:lnTo>
                  <a:lnTo>
                    <a:pt x="465" y="6668"/>
                  </a:lnTo>
                  <a:lnTo>
                    <a:pt x="607" y="2429"/>
                  </a:lnTo>
                  <a:close/>
                  <a:moveTo>
                    <a:pt x="1000" y="0"/>
                  </a:moveTo>
                  <a:cubicBezTo>
                    <a:pt x="846" y="0"/>
                    <a:pt x="727" y="84"/>
                    <a:pt x="679" y="239"/>
                  </a:cubicBezTo>
                  <a:lnTo>
                    <a:pt x="655" y="310"/>
                  </a:lnTo>
                  <a:lnTo>
                    <a:pt x="548" y="286"/>
                  </a:lnTo>
                  <a:cubicBezTo>
                    <a:pt x="531" y="279"/>
                    <a:pt x="513" y="275"/>
                    <a:pt x="496" y="275"/>
                  </a:cubicBezTo>
                  <a:cubicBezTo>
                    <a:pt x="429" y="275"/>
                    <a:pt x="367" y="325"/>
                    <a:pt x="357" y="381"/>
                  </a:cubicBezTo>
                  <a:cubicBezTo>
                    <a:pt x="322" y="477"/>
                    <a:pt x="381" y="560"/>
                    <a:pt x="465" y="584"/>
                  </a:cubicBezTo>
                  <a:lnTo>
                    <a:pt x="560" y="608"/>
                  </a:lnTo>
                  <a:lnTo>
                    <a:pt x="488" y="846"/>
                  </a:lnTo>
                  <a:lnTo>
                    <a:pt x="381" y="822"/>
                  </a:lnTo>
                  <a:cubicBezTo>
                    <a:pt x="364" y="815"/>
                    <a:pt x="346" y="811"/>
                    <a:pt x="329" y="811"/>
                  </a:cubicBezTo>
                  <a:cubicBezTo>
                    <a:pt x="262" y="811"/>
                    <a:pt x="200" y="860"/>
                    <a:pt x="191" y="917"/>
                  </a:cubicBezTo>
                  <a:cubicBezTo>
                    <a:pt x="167" y="1012"/>
                    <a:pt x="226" y="1096"/>
                    <a:pt x="298" y="1120"/>
                  </a:cubicBezTo>
                  <a:lnTo>
                    <a:pt x="405" y="1143"/>
                  </a:lnTo>
                  <a:lnTo>
                    <a:pt x="322" y="1382"/>
                  </a:lnTo>
                  <a:lnTo>
                    <a:pt x="226" y="1358"/>
                  </a:lnTo>
                  <a:cubicBezTo>
                    <a:pt x="207" y="1350"/>
                    <a:pt x="188" y="1347"/>
                    <a:pt x="170" y="1347"/>
                  </a:cubicBezTo>
                  <a:cubicBezTo>
                    <a:pt x="99" y="1347"/>
                    <a:pt x="43" y="1396"/>
                    <a:pt x="24" y="1453"/>
                  </a:cubicBezTo>
                  <a:cubicBezTo>
                    <a:pt x="0" y="1548"/>
                    <a:pt x="60" y="1632"/>
                    <a:pt x="131" y="1655"/>
                  </a:cubicBezTo>
                  <a:lnTo>
                    <a:pt x="238" y="1679"/>
                  </a:lnTo>
                  <a:lnTo>
                    <a:pt x="143" y="1977"/>
                  </a:lnTo>
                  <a:cubicBezTo>
                    <a:pt x="119" y="2084"/>
                    <a:pt x="131" y="2191"/>
                    <a:pt x="203" y="2275"/>
                  </a:cubicBezTo>
                  <a:cubicBezTo>
                    <a:pt x="226" y="2310"/>
                    <a:pt x="250" y="2334"/>
                    <a:pt x="286" y="2346"/>
                  </a:cubicBezTo>
                  <a:lnTo>
                    <a:pt x="131" y="6668"/>
                  </a:lnTo>
                  <a:cubicBezTo>
                    <a:pt x="131" y="6751"/>
                    <a:pt x="167" y="6835"/>
                    <a:pt x="226" y="6894"/>
                  </a:cubicBezTo>
                  <a:cubicBezTo>
                    <a:pt x="286" y="6954"/>
                    <a:pt x="357" y="6977"/>
                    <a:pt x="429" y="6977"/>
                  </a:cubicBezTo>
                  <a:lnTo>
                    <a:pt x="905" y="6977"/>
                  </a:lnTo>
                  <a:cubicBezTo>
                    <a:pt x="1000" y="6977"/>
                    <a:pt x="1072" y="6954"/>
                    <a:pt x="1119" y="6894"/>
                  </a:cubicBezTo>
                  <a:cubicBezTo>
                    <a:pt x="1179" y="6835"/>
                    <a:pt x="1203" y="6751"/>
                    <a:pt x="1203" y="6668"/>
                  </a:cubicBezTo>
                  <a:lnTo>
                    <a:pt x="1060" y="2286"/>
                  </a:lnTo>
                  <a:cubicBezTo>
                    <a:pt x="1084" y="2263"/>
                    <a:pt x="1096" y="2215"/>
                    <a:pt x="1119" y="2167"/>
                  </a:cubicBezTo>
                  <a:cubicBezTo>
                    <a:pt x="1143" y="2084"/>
                    <a:pt x="1203" y="2013"/>
                    <a:pt x="1262" y="1965"/>
                  </a:cubicBezTo>
                  <a:cubicBezTo>
                    <a:pt x="1393" y="1894"/>
                    <a:pt x="1441" y="1751"/>
                    <a:pt x="1429" y="1608"/>
                  </a:cubicBezTo>
                  <a:lnTo>
                    <a:pt x="1334" y="1072"/>
                  </a:lnTo>
                  <a:cubicBezTo>
                    <a:pt x="1310" y="881"/>
                    <a:pt x="1310" y="703"/>
                    <a:pt x="1369" y="500"/>
                  </a:cubicBezTo>
                  <a:lnTo>
                    <a:pt x="1381" y="441"/>
                  </a:lnTo>
                  <a:cubicBezTo>
                    <a:pt x="1417" y="346"/>
                    <a:pt x="1381" y="227"/>
                    <a:pt x="1310" y="131"/>
                  </a:cubicBezTo>
                  <a:cubicBezTo>
                    <a:pt x="1239" y="48"/>
                    <a:pt x="1131"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2" name="Google Shape;12552;p62"/>
            <p:cNvSpPr/>
            <p:nvPr/>
          </p:nvSpPr>
          <p:spPr>
            <a:xfrm>
              <a:off x="4937617" y="3141463"/>
              <a:ext cx="44718" cy="10273"/>
            </a:xfrm>
            <a:custGeom>
              <a:avLst/>
              <a:gdLst/>
              <a:ahLst/>
              <a:cxnLst/>
              <a:rect l="l" t="t" r="r" b="b"/>
              <a:pathLst>
                <a:path w="1406" h="323" extrusionOk="0">
                  <a:moveTo>
                    <a:pt x="155" y="1"/>
                  </a:moveTo>
                  <a:cubicBezTo>
                    <a:pt x="72" y="1"/>
                    <a:pt x="0" y="72"/>
                    <a:pt x="0" y="168"/>
                  </a:cubicBezTo>
                  <a:cubicBezTo>
                    <a:pt x="0" y="251"/>
                    <a:pt x="72" y="322"/>
                    <a:pt x="155" y="322"/>
                  </a:cubicBezTo>
                  <a:lnTo>
                    <a:pt x="1239" y="322"/>
                  </a:lnTo>
                  <a:cubicBezTo>
                    <a:pt x="1334" y="322"/>
                    <a:pt x="1405" y="251"/>
                    <a:pt x="1405" y="168"/>
                  </a:cubicBezTo>
                  <a:cubicBezTo>
                    <a:pt x="1405" y="72"/>
                    <a:pt x="1334"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3" name="Google Shape;12553;p62"/>
            <p:cNvSpPr/>
            <p:nvPr/>
          </p:nvSpPr>
          <p:spPr>
            <a:xfrm>
              <a:off x="4937617" y="3168370"/>
              <a:ext cx="44718" cy="10623"/>
            </a:xfrm>
            <a:custGeom>
              <a:avLst/>
              <a:gdLst/>
              <a:ahLst/>
              <a:cxnLst/>
              <a:rect l="l" t="t" r="r" b="b"/>
              <a:pathLst>
                <a:path w="1406" h="334" extrusionOk="0">
                  <a:moveTo>
                    <a:pt x="155" y="0"/>
                  </a:moveTo>
                  <a:cubicBezTo>
                    <a:pt x="72" y="0"/>
                    <a:pt x="0" y="72"/>
                    <a:pt x="0" y="167"/>
                  </a:cubicBezTo>
                  <a:cubicBezTo>
                    <a:pt x="0" y="250"/>
                    <a:pt x="72" y="334"/>
                    <a:pt x="155" y="334"/>
                  </a:cubicBezTo>
                  <a:lnTo>
                    <a:pt x="1239" y="334"/>
                  </a:lnTo>
                  <a:cubicBezTo>
                    <a:pt x="1334" y="334"/>
                    <a:pt x="1405" y="250"/>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4" name="Google Shape;12554;p62"/>
            <p:cNvSpPr/>
            <p:nvPr/>
          </p:nvSpPr>
          <p:spPr>
            <a:xfrm>
              <a:off x="4937617" y="3195245"/>
              <a:ext cx="44718" cy="10623"/>
            </a:xfrm>
            <a:custGeom>
              <a:avLst/>
              <a:gdLst/>
              <a:ahLst/>
              <a:cxnLst/>
              <a:rect l="l" t="t" r="r" b="b"/>
              <a:pathLst>
                <a:path w="1406" h="334" extrusionOk="0">
                  <a:moveTo>
                    <a:pt x="155" y="0"/>
                  </a:moveTo>
                  <a:cubicBezTo>
                    <a:pt x="72" y="0"/>
                    <a:pt x="0" y="72"/>
                    <a:pt x="0" y="167"/>
                  </a:cubicBezTo>
                  <a:cubicBezTo>
                    <a:pt x="0" y="262"/>
                    <a:pt x="72" y="334"/>
                    <a:pt x="155" y="334"/>
                  </a:cubicBezTo>
                  <a:lnTo>
                    <a:pt x="1239" y="334"/>
                  </a:lnTo>
                  <a:cubicBezTo>
                    <a:pt x="1334" y="334"/>
                    <a:pt x="1405" y="262"/>
                    <a:pt x="1405" y="167"/>
                  </a:cubicBezTo>
                  <a:cubicBezTo>
                    <a:pt x="1405" y="72"/>
                    <a:pt x="1334" y="0"/>
                    <a:pt x="1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5" name="Google Shape;12555;p62"/>
            <p:cNvSpPr/>
            <p:nvPr/>
          </p:nvSpPr>
          <p:spPr>
            <a:xfrm>
              <a:off x="4881958" y="3054953"/>
              <a:ext cx="156417" cy="199386"/>
            </a:xfrm>
            <a:custGeom>
              <a:avLst/>
              <a:gdLst/>
              <a:ahLst/>
              <a:cxnLst/>
              <a:rect l="l" t="t" r="r" b="b"/>
              <a:pathLst>
                <a:path w="4918" h="6269" extrusionOk="0">
                  <a:moveTo>
                    <a:pt x="777" y="1"/>
                  </a:moveTo>
                  <a:cubicBezTo>
                    <a:pt x="669" y="1"/>
                    <a:pt x="573" y="58"/>
                    <a:pt x="512" y="149"/>
                  </a:cubicBezTo>
                  <a:cubicBezTo>
                    <a:pt x="262" y="471"/>
                    <a:pt x="393" y="1316"/>
                    <a:pt x="869" y="2268"/>
                  </a:cubicBezTo>
                  <a:cubicBezTo>
                    <a:pt x="1012" y="2566"/>
                    <a:pt x="988" y="2602"/>
                    <a:pt x="750" y="2888"/>
                  </a:cubicBezTo>
                  <a:cubicBezTo>
                    <a:pt x="643" y="2995"/>
                    <a:pt x="512" y="3149"/>
                    <a:pt x="357" y="3376"/>
                  </a:cubicBezTo>
                  <a:cubicBezTo>
                    <a:pt x="36" y="3840"/>
                    <a:pt x="0" y="4566"/>
                    <a:pt x="298" y="5138"/>
                  </a:cubicBezTo>
                  <a:cubicBezTo>
                    <a:pt x="500" y="5543"/>
                    <a:pt x="1000" y="6221"/>
                    <a:pt x="2227" y="6269"/>
                  </a:cubicBezTo>
                  <a:lnTo>
                    <a:pt x="2703" y="6269"/>
                  </a:lnTo>
                  <a:cubicBezTo>
                    <a:pt x="3632" y="6233"/>
                    <a:pt x="4346" y="5781"/>
                    <a:pt x="4679" y="5043"/>
                  </a:cubicBezTo>
                  <a:cubicBezTo>
                    <a:pt x="4917" y="4471"/>
                    <a:pt x="4870" y="3792"/>
                    <a:pt x="4525" y="3388"/>
                  </a:cubicBezTo>
                  <a:cubicBezTo>
                    <a:pt x="4405" y="3257"/>
                    <a:pt x="4310" y="3149"/>
                    <a:pt x="4227" y="3042"/>
                  </a:cubicBezTo>
                  <a:cubicBezTo>
                    <a:pt x="4013" y="2804"/>
                    <a:pt x="3929" y="2721"/>
                    <a:pt x="3917" y="2602"/>
                  </a:cubicBezTo>
                  <a:cubicBezTo>
                    <a:pt x="3929" y="2554"/>
                    <a:pt x="3989" y="2471"/>
                    <a:pt x="4036" y="2376"/>
                  </a:cubicBezTo>
                  <a:cubicBezTo>
                    <a:pt x="4263" y="1995"/>
                    <a:pt x="4644" y="1340"/>
                    <a:pt x="4394" y="875"/>
                  </a:cubicBezTo>
                  <a:cubicBezTo>
                    <a:pt x="4334" y="768"/>
                    <a:pt x="4251" y="744"/>
                    <a:pt x="4203" y="721"/>
                  </a:cubicBezTo>
                  <a:cubicBezTo>
                    <a:pt x="4192" y="719"/>
                    <a:pt x="4180" y="718"/>
                    <a:pt x="4169" y="718"/>
                  </a:cubicBezTo>
                  <a:cubicBezTo>
                    <a:pt x="4003" y="718"/>
                    <a:pt x="3845" y="876"/>
                    <a:pt x="3655" y="1066"/>
                  </a:cubicBezTo>
                  <a:cubicBezTo>
                    <a:pt x="3596" y="1125"/>
                    <a:pt x="3536" y="1185"/>
                    <a:pt x="3477" y="1233"/>
                  </a:cubicBezTo>
                  <a:cubicBezTo>
                    <a:pt x="3417" y="1292"/>
                    <a:pt x="3393" y="1399"/>
                    <a:pt x="3453" y="1459"/>
                  </a:cubicBezTo>
                  <a:cubicBezTo>
                    <a:pt x="3487" y="1486"/>
                    <a:pt x="3538" y="1506"/>
                    <a:pt x="3586" y="1506"/>
                  </a:cubicBezTo>
                  <a:cubicBezTo>
                    <a:pt x="3621" y="1506"/>
                    <a:pt x="3654" y="1496"/>
                    <a:pt x="3679" y="1471"/>
                  </a:cubicBezTo>
                  <a:lnTo>
                    <a:pt x="3858" y="1292"/>
                  </a:lnTo>
                  <a:cubicBezTo>
                    <a:pt x="3929" y="1209"/>
                    <a:pt x="4048" y="1102"/>
                    <a:pt x="4108" y="1054"/>
                  </a:cubicBezTo>
                  <a:lnTo>
                    <a:pt x="4108" y="1054"/>
                  </a:lnTo>
                  <a:cubicBezTo>
                    <a:pt x="4227" y="1352"/>
                    <a:pt x="3917" y="1899"/>
                    <a:pt x="3739" y="2197"/>
                  </a:cubicBezTo>
                  <a:cubicBezTo>
                    <a:pt x="3620" y="2399"/>
                    <a:pt x="3572" y="2495"/>
                    <a:pt x="3572" y="2566"/>
                  </a:cubicBezTo>
                  <a:cubicBezTo>
                    <a:pt x="3572" y="2804"/>
                    <a:pt x="3727" y="2971"/>
                    <a:pt x="3977" y="3245"/>
                  </a:cubicBezTo>
                  <a:cubicBezTo>
                    <a:pt x="4072" y="3328"/>
                    <a:pt x="4155" y="3435"/>
                    <a:pt x="4274" y="3566"/>
                  </a:cubicBezTo>
                  <a:cubicBezTo>
                    <a:pt x="4525" y="3876"/>
                    <a:pt x="4560" y="4435"/>
                    <a:pt x="4346" y="4912"/>
                  </a:cubicBezTo>
                  <a:cubicBezTo>
                    <a:pt x="4191" y="5269"/>
                    <a:pt x="3751" y="5888"/>
                    <a:pt x="2655" y="5947"/>
                  </a:cubicBezTo>
                  <a:lnTo>
                    <a:pt x="2203" y="5947"/>
                  </a:lnTo>
                  <a:cubicBezTo>
                    <a:pt x="1429" y="5900"/>
                    <a:pt x="834" y="5578"/>
                    <a:pt x="572" y="4995"/>
                  </a:cubicBezTo>
                  <a:cubicBezTo>
                    <a:pt x="334" y="4519"/>
                    <a:pt x="357" y="3911"/>
                    <a:pt x="619" y="3554"/>
                  </a:cubicBezTo>
                  <a:cubicBezTo>
                    <a:pt x="762" y="3340"/>
                    <a:pt x="881" y="3209"/>
                    <a:pt x="988" y="3090"/>
                  </a:cubicBezTo>
                  <a:cubicBezTo>
                    <a:pt x="1274" y="2757"/>
                    <a:pt x="1369" y="2602"/>
                    <a:pt x="1155" y="2126"/>
                  </a:cubicBezTo>
                  <a:cubicBezTo>
                    <a:pt x="584" y="947"/>
                    <a:pt x="691" y="351"/>
                    <a:pt x="774" y="316"/>
                  </a:cubicBezTo>
                  <a:lnTo>
                    <a:pt x="774" y="316"/>
                  </a:lnTo>
                  <a:cubicBezTo>
                    <a:pt x="881" y="340"/>
                    <a:pt x="941" y="435"/>
                    <a:pt x="1048" y="602"/>
                  </a:cubicBezTo>
                  <a:cubicBezTo>
                    <a:pt x="1107" y="709"/>
                    <a:pt x="1179" y="828"/>
                    <a:pt x="1286" y="935"/>
                  </a:cubicBezTo>
                  <a:cubicBezTo>
                    <a:pt x="1317" y="966"/>
                    <a:pt x="1361" y="984"/>
                    <a:pt x="1405" y="984"/>
                  </a:cubicBezTo>
                  <a:cubicBezTo>
                    <a:pt x="1445" y="984"/>
                    <a:pt x="1484" y="969"/>
                    <a:pt x="1512" y="935"/>
                  </a:cubicBezTo>
                  <a:cubicBezTo>
                    <a:pt x="1572" y="875"/>
                    <a:pt x="1584" y="768"/>
                    <a:pt x="1512" y="709"/>
                  </a:cubicBezTo>
                  <a:cubicBezTo>
                    <a:pt x="1429" y="613"/>
                    <a:pt x="1369" y="530"/>
                    <a:pt x="1310" y="447"/>
                  </a:cubicBezTo>
                  <a:cubicBezTo>
                    <a:pt x="1191" y="244"/>
                    <a:pt x="1072" y="54"/>
                    <a:pt x="834" y="6"/>
                  </a:cubicBezTo>
                  <a:cubicBezTo>
                    <a:pt x="814" y="3"/>
                    <a:pt x="795" y="1"/>
                    <a:pt x="7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56" name="Google Shape;12556;p62"/>
          <p:cNvGrpSpPr/>
          <p:nvPr/>
        </p:nvGrpSpPr>
        <p:grpSpPr>
          <a:xfrm>
            <a:off x="5230318" y="2886514"/>
            <a:ext cx="371133" cy="367443"/>
            <a:chOff x="5230318" y="2886514"/>
            <a:chExt cx="371133" cy="367443"/>
          </a:xfrm>
        </p:grpSpPr>
        <p:sp>
          <p:nvSpPr>
            <p:cNvPr id="12557" name="Google Shape;12557;p62"/>
            <p:cNvSpPr/>
            <p:nvPr/>
          </p:nvSpPr>
          <p:spPr>
            <a:xfrm>
              <a:off x="5328023" y="3080397"/>
              <a:ext cx="72356" cy="70257"/>
            </a:xfrm>
            <a:custGeom>
              <a:avLst/>
              <a:gdLst/>
              <a:ahLst/>
              <a:cxnLst/>
              <a:rect l="l" t="t" r="r" b="b"/>
              <a:pathLst>
                <a:path w="2275" h="2209" extrusionOk="0">
                  <a:moveTo>
                    <a:pt x="1161" y="0"/>
                  </a:moveTo>
                  <a:cubicBezTo>
                    <a:pt x="1103" y="0"/>
                    <a:pt x="1041" y="35"/>
                    <a:pt x="1001" y="75"/>
                  </a:cubicBezTo>
                  <a:cubicBezTo>
                    <a:pt x="953" y="111"/>
                    <a:pt x="941" y="147"/>
                    <a:pt x="965" y="206"/>
                  </a:cubicBezTo>
                  <a:lnTo>
                    <a:pt x="1858" y="1826"/>
                  </a:lnTo>
                  <a:lnTo>
                    <a:pt x="239" y="933"/>
                  </a:lnTo>
                  <a:cubicBezTo>
                    <a:pt x="226" y="926"/>
                    <a:pt x="212" y="923"/>
                    <a:pt x="199" y="923"/>
                  </a:cubicBezTo>
                  <a:cubicBezTo>
                    <a:pt x="165" y="923"/>
                    <a:pt x="130" y="943"/>
                    <a:pt x="96" y="968"/>
                  </a:cubicBezTo>
                  <a:cubicBezTo>
                    <a:pt x="36" y="1028"/>
                    <a:pt x="1" y="1147"/>
                    <a:pt x="60" y="1206"/>
                  </a:cubicBezTo>
                  <a:lnTo>
                    <a:pt x="72" y="1218"/>
                  </a:lnTo>
                  <a:lnTo>
                    <a:pt x="1941" y="2195"/>
                  </a:lnTo>
                  <a:cubicBezTo>
                    <a:pt x="1964" y="2204"/>
                    <a:pt x="1986" y="2209"/>
                    <a:pt x="2008" y="2209"/>
                  </a:cubicBezTo>
                  <a:cubicBezTo>
                    <a:pt x="2068" y="2209"/>
                    <a:pt x="2124" y="2176"/>
                    <a:pt x="2168" y="2123"/>
                  </a:cubicBezTo>
                  <a:cubicBezTo>
                    <a:pt x="2251" y="2088"/>
                    <a:pt x="2275" y="1992"/>
                    <a:pt x="2251" y="1921"/>
                  </a:cubicBezTo>
                  <a:lnTo>
                    <a:pt x="1251" y="63"/>
                  </a:lnTo>
                  <a:cubicBezTo>
                    <a:pt x="1251" y="40"/>
                    <a:pt x="1239" y="40"/>
                    <a:pt x="1239" y="28"/>
                  </a:cubicBezTo>
                  <a:cubicBezTo>
                    <a:pt x="1216" y="8"/>
                    <a:pt x="1189" y="0"/>
                    <a:pt x="11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8" name="Google Shape;12558;p62"/>
            <p:cNvSpPr/>
            <p:nvPr/>
          </p:nvSpPr>
          <p:spPr>
            <a:xfrm>
              <a:off x="5372328" y="3064877"/>
              <a:ext cx="56836" cy="55468"/>
            </a:xfrm>
            <a:custGeom>
              <a:avLst/>
              <a:gdLst/>
              <a:ahLst/>
              <a:cxnLst/>
              <a:rect l="l" t="t" r="r" b="b"/>
              <a:pathLst>
                <a:path w="1787" h="1744" extrusionOk="0">
                  <a:moveTo>
                    <a:pt x="226" y="0"/>
                  </a:moveTo>
                  <a:cubicBezTo>
                    <a:pt x="182" y="0"/>
                    <a:pt x="136" y="35"/>
                    <a:pt x="96" y="75"/>
                  </a:cubicBezTo>
                  <a:cubicBezTo>
                    <a:pt x="36" y="135"/>
                    <a:pt x="1" y="206"/>
                    <a:pt x="48" y="266"/>
                  </a:cubicBezTo>
                  <a:lnTo>
                    <a:pt x="1513" y="1718"/>
                  </a:lnTo>
                  <a:cubicBezTo>
                    <a:pt x="1526" y="1736"/>
                    <a:pt x="1547" y="1744"/>
                    <a:pt x="1571" y="1744"/>
                  </a:cubicBezTo>
                  <a:cubicBezTo>
                    <a:pt x="1614" y="1744"/>
                    <a:pt x="1666" y="1720"/>
                    <a:pt x="1703" y="1683"/>
                  </a:cubicBezTo>
                  <a:cubicBezTo>
                    <a:pt x="1763" y="1623"/>
                    <a:pt x="1787" y="1540"/>
                    <a:pt x="1751" y="1480"/>
                  </a:cubicBezTo>
                  <a:lnTo>
                    <a:pt x="286" y="28"/>
                  </a:lnTo>
                  <a:cubicBezTo>
                    <a:pt x="267" y="8"/>
                    <a:pt x="247" y="0"/>
                    <a:pt x="22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9" name="Google Shape;12559;p62"/>
            <p:cNvSpPr/>
            <p:nvPr/>
          </p:nvSpPr>
          <p:spPr>
            <a:xfrm>
              <a:off x="5390902" y="3028269"/>
              <a:ext cx="57949" cy="73533"/>
            </a:xfrm>
            <a:custGeom>
              <a:avLst/>
              <a:gdLst/>
              <a:ahLst/>
              <a:cxnLst/>
              <a:rect l="l" t="t" r="r" b="b"/>
              <a:pathLst>
                <a:path w="1822" h="2312" extrusionOk="0">
                  <a:moveTo>
                    <a:pt x="933" y="336"/>
                  </a:moveTo>
                  <a:cubicBezTo>
                    <a:pt x="1027" y="336"/>
                    <a:pt x="1125" y="381"/>
                    <a:pt x="1226" y="476"/>
                  </a:cubicBezTo>
                  <a:lnTo>
                    <a:pt x="1250" y="512"/>
                  </a:lnTo>
                  <a:cubicBezTo>
                    <a:pt x="1441" y="702"/>
                    <a:pt x="1441" y="893"/>
                    <a:pt x="1286" y="1060"/>
                  </a:cubicBezTo>
                  <a:lnTo>
                    <a:pt x="1012" y="1321"/>
                  </a:lnTo>
                  <a:lnTo>
                    <a:pt x="405" y="726"/>
                  </a:lnTo>
                  <a:lnTo>
                    <a:pt x="667" y="464"/>
                  </a:lnTo>
                  <a:cubicBezTo>
                    <a:pt x="750" y="381"/>
                    <a:pt x="840" y="336"/>
                    <a:pt x="933" y="336"/>
                  </a:cubicBezTo>
                  <a:close/>
                  <a:moveTo>
                    <a:pt x="973" y="0"/>
                  </a:moveTo>
                  <a:cubicBezTo>
                    <a:pt x="797" y="0"/>
                    <a:pt x="634" y="92"/>
                    <a:pt x="488" y="238"/>
                  </a:cubicBezTo>
                  <a:lnTo>
                    <a:pt x="60" y="667"/>
                  </a:lnTo>
                  <a:cubicBezTo>
                    <a:pt x="0" y="726"/>
                    <a:pt x="0" y="786"/>
                    <a:pt x="48" y="833"/>
                  </a:cubicBezTo>
                  <a:lnTo>
                    <a:pt x="1500" y="2286"/>
                  </a:lnTo>
                  <a:cubicBezTo>
                    <a:pt x="1518" y="2303"/>
                    <a:pt x="1542" y="2311"/>
                    <a:pt x="1567" y="2311"/>
                  </a:cubicBezTo>
                  <a:cubicBezTo>
                    <a:pt x="1611" y="2311"/>
                    <a:pt x="1661" y="2288"/>
                    <a:pt x="1691" y="2250"/>
                  </a:cubicBezTo>
                  <a:cubicBezTo>
                    <a:pt x="1762" y="2191"/>
                    <a:pt x="1786" y="2119"/>
                    <a:pt x="1738" y="2048"/>
                  </a:cubicBezTo>
                  <a:lnTo>
                    <a:pt x="1191" y="1500"/>
                  </a:lnTo>
                  <a:lnTo>
                    <a:pt x="1465" y="1238"/>
                  </a:lnTo>
                  <a:cubicBezTo>
                    <a:pt x="1738" y="952"/>
                    <a:pt x="1822" y="607"/>
                    <a:pt x="1477" y="250"/>
                  </a:cubicBezTo>
                  <a:lnTo>
                    <a:pt x="1465" y="238"/>
                  </a:lnTo>
                  <a:cubicBezTo>
                    <a:pt x="1292" y="71"/>
                    <a:pt x="1127" y="0"/>
                    <a:pt x="9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0" name="Google Shape;12560;p62"/>
            <p:cNvSpPr/>
            <p:nvPr/>
          </p:nvSpPr>
          <p:spPr>
            <a:xfrm>
              <a:off x="5230318" y="2886514"/>
              <a:ext cx="371133" cy="367443"/>
            </a:xfrm>
            <a:custGeom>
              <a:avLst/>
              <a:gdLst/>
              <a:ahLst/>
              <a:cxnLst/>
              <a:rect l="l" t="t" r="r" b="b"/>
              <a:pathLst>
                <a:path w="11669" h="11553" extrusionOk="0">
                  <a:moveTo>
                    <a:pt x="7323" y="385"/>
                  </a:moveTo>
                  <a:lnTo>
                    <a:pt x="7526" y="575"/>
                  </a:lnTo>
                  <a:lnTo>
                    <a:pt x="7526" y="587"/>
                  </a:lnTo>
                  <a:cubicBezTo>
                    <a:pt x="7383" y="837"/>
                    <a:pt x="7430" y="1147"/>
                    <a:pt x="7621" y="1349"/>
                  </a:cubicBezTo>
                  <a:cubicBezTo>
                    <a:pt x="7752" y="1473"/>
                    <a:pt x="7918" y="1539"/>
                    <a:pt x="8082" y="1539"/>
                  </a:cubicBezTo>
                  <a:cubicBezTo>
                    <a:pt x="8187" y="1539"/>
                    <a:pt x="8290" y="1512"/>
                    <a:pt x="8383" y="1456"/>
                  </a:cubicBezTo>
                  <a:lnTo>
                    <a:pt x="8395" y="1456"/>
                  </a:lnTo>
                  <a:lnTo>
                    <a:pt x="8847" y="1897"/>
                  </a:lnTo>
                  <a:lnTo>
                    <a:pt x="8847" y="1909"/>
                  </a:lnTo>
                  <a:cubicBezTo>
                    <a:pt x="8716" y="2171"/>
                    <a:pt x="8752" y="2480"/>
                    <a:pt x="8954" y="2671"/>
                  </a:cubicBezTo>
                  <a:cubicBezTo>
                    <a:pt x="9076" y="2800"/>
                    <a:pt x="9236" y="2864"/>
                    <a:pt x="9396" y="2864"/>
                  </a:cubicBezTo>
                  <a:cubicBezTo>
                    <a:pt x="9503" y="2864"/>
                    <a:pt x="9609" y="2835"/>
                    <a:pt x="9704" y="2778"/>
                  </a:cubicBezTo>
                  <a:lnTo>
                    <a:pt x="9728" y="2778"/>
                  </a:lnTo>
                  <a:lnTo>
                    <a:pt x="10169" y="3219"/>
                  </a:lnTo>
                  <a:lnTo>
                    <a:pt x="10169" y="3242"/>
                  </a:lnTo>
                  <a:cubicBezTo>
                    <a:pt x="10038" y="3492"/>
                    <a:pt x="10085" y="3802"/>
                    <a:pt x="10276" y="3993"/>
                  </a:cubicBezTo>
                  <a:cubicBezTo>
                    <a:pt x="10398" y="4122"/>
                    <a:pt x="10564" y="4191"/>
                    <a:pt x="10728" y="4191"/>
                  </a:cubicBezTo>
                  <a:cubicBezTo>
                    <a:pt x="10836" y="4191"/>
                    <a:pt x="10944" y="4161"/>
                    <a:pt x="11038" y="4100"/>
                  </a:cubicBezTo>
                  <a:lnTo>
                    <a:pt x="11050" y="4100"/>
                  </a:lnTo>
                  <a:lnTo>
                    <a:pt x="11240" y="4290"/>
                  </a:lnTo>
                  <a:cubicBezTo>
                    <a:pt x="11300" y="4350"/>
                    <a:pt x="11300" y="4350"/>
                    <a:pt x="11288" y="4350"/>
                  </a:cubicBezTo>
                  <a:lnTo>
                    <a:pt x="10276" y="5362"/>
                  </a:lnTo>
                  <a:lnTo>
                    <a:pt x="9966" y="5052"/>
                  </a:lnTo>
                  <a:cubicBezTo>
                    <a:pt x="9937" y="5022"/>
                    <a:pt x="9892" y="5008"/>
                    <a:pt x="9847" y="5008"/>
                  </a:cubicBezTo>
                  <a:cubicBezTo>
                    <a:pt x="9803" y="5008"/>
                    <a:pt x="9758" y="5022"/>
                    <a:pt x="9728" y="5052"/>
                  </a:cubicBezTo>
                  <a:cubicBezTo>
                    <a:pt x="9669" y="5112"/>
                    <a:pt x="9669" y="5231"/>
                    <a:pt x="9728" y="5290"/>
                  </a:cubicBezTo>
                  <a:lnTo>
                    <a:pt x="10038" y="5600"/>
                  </a:lnTo>
                  <a:lnTo>
                    <a:pt x="4394" y="11243"/>
                  </a:lnTo>
                  <a:lnTo>
                    <a:pt x="4382" y="11243"/>
                  </a:lnTo>
                  <a:lnTo>
                    <a:pt x="4192" y="11053"/>
                  </a:lnTo>
                  <a:lnTo>
                    <a:pt x="4192" y="11029"/>
                  </a:lnTo>
                  <a:cubicBezTo>
                    <a:pt x="4323" y="10779"/>
                    <a:pt x="4275" y="10469"/>
                    <a:pt x="4073" y="10279"/>
                  </a:cubicBezTo>
                  <a:cubicBezTo>
                    <a:pt x="3954" y="10160"/>
                    <a:pt x="3775" y="10077"/>
                    <a:pt x="3608" y="10077"/>
                  </a:cubicBezTo>
                  <a:cubicBezTo>
                    <a:pt x="3501" y="10077"/>
                    <a:pt x="3394" y="10112"/>
                    <a:pt x="3311" y="10160"/>
                  </a:cubicBezTo>
                  <a:lnTo>
                    <a:pt x="3299" y="10160"/>
                  </a:lnTo>
                  <a:lnTo>
                    <a:pt x="2846" y="9707"/>
                  </a:lnTo>
                  <a:lnTo>
                    <a:pt x="2846" y="9696"/>
                  </a:lnTo>
                  <a:cubicBezTo>
                    <a:pt x="2977" y="9446"/>
                    <a:pt x="2942" y="9136"/>
                    <a:pt x="2727" y="8934"/>
                  </a:cubicBezTo>
                  <a:cubicBezTo>
                    <a:pt x="2601" y="8807"/>
                    <a:pt x="2438" y="8741"/>
                    <a:pt x="2269" y="8741"/>
                  </a:cubicBezTo>
                  <a:cubicBezTo>
                    <a:pt x="2167" y="8741"/>
                    <a:pt x="2064" y="8765"/>
                    <a:pt x="1965" y="8815"/>
                  </a:cubicBezTo>
                  <a:lnTo>
                    <a:pt x="1954" y="8815"/>
                  </a:lnTo>
                  <a:lnTo>
                    <a:pt x="1513" y="8374"/>
                  </a:lnTo>
                  <a:lnTo>
                    <a:pt x="1513" y="8350"/>
                  </a:lnTo>
                  <a:cubicBezTo>
                    <a:pt x="1644" y="8100"/>
                    <a:pt x="1596" y="7791"/>
                    <a:pt x="1394" y="7600"/>
                  </a:cubicBezTo>
                  <a:cubicBezTo>
                    <a:pt x="1260" y="7473"/>
                    <a:pt x="1093" y="7403"/>
                    <a:pt x="925" y="7403"/>
                  </a:cubicBezTo>
                  <a:cubicBezTo>
                    <a:pt x="825" y="7403"/>
                    <a:pt x="725" y="7428"/>
                    <a:pt x="632" y="7481"/>
                  </a:cubicBezTo>
                  <a:lnTo>
                    <a:pt x="620" y="7481"/>
                  </a:lnTo>
                  <a:lnTo>
                    <a:pt x="418" y="7291"/>
                  </a:lnTo>
                  <a:lnTo>
                    <a:pt x="418" y="7267"/>
                  </a:lnTo>
                  <a:lnTo>
                    <a:pt x="6061" y="1635"/>
                  </a:lnTo>
                  <a:lnTo>
                    <a:pt x="6395" y="1957"/>
                  </a:lnTo>
                  <a:cubicBezTo>
                    <a:pt x="6418" y="1992"/>
                    <a:pt x="6466" y="2004"/>
                    <a:pt x="6514" y="2004"/>
                  </a:cubicBezTo>
                  <a:cubicBezTo>
                    <a:pt x="6549" y="2004"/>
                    <a:pt x="6597" y="1992"/>
                    <a:pt x="6633" y="1957"/>
                  </a:cubicBezTo>
                  <a:cubicBezTo>
                    <a:pt x="6692" y="1897"/>
                    <a:pt x="6692" y="1778"/>
                    <a:pt x="6633" y="1718"/>
                  </a:cubicBezTo>
                  <a:lnTo>
                    <a:pt x="6299" y="1397"/>
                  </a:lnTo>
                  <a:lnTo>
                    <a:pt x="7311" y="385"/>
                  </a:lnTo>
                  <a:close/>
                  <a:moveTo>
                    <a:pt x="7288" y="1"/>
                  </a:moveTo>
                  <a:cubicBezTo>
                    <a:pt x="7198" y="1"/>
                    <a:pt x="7109" y="34"/>
                    <a:pt x="7037" y="99"/>
                  </a:cubicBezTo>
                  <a:lnTo>
                    <a:pt x="132" y="7005"/>
                  </a:lnTo>
                  <a:cubicBezTo>
                    <a:pt x="1" y="7136"/>
                    <a:pt x="1" y="7362"/>
                    <a:pt x="132" y="7493"/>
                  </a:cubicBezTo>
                  <a:lnTo>
                    <a:pt x="334" y="7683"/>
                  </a:lnTo>
                  <a:cubicBezTo>
                    <a:pt x="393" y="7750"/>
                    <a:pt x="485" y="7789"/>
                    <a:pt x="580" y="7789"/>
                  </a:cubicBezTo>
                  <a:cubicBezTo>
                    <a:pt x="638" y="7789"/>
                    <a:pt x="697" y="7775"/>
                    <a:pt x="751" y="7743"/>
                  </a:cubicBezTo>
                  <a:cubicBezTo>
                    <a:pt x="795" y="7721"/>
                    <a:pt x="842" y="7711"/>
                    <a:pt x="888" y="7711"/>
                  </a:cubicBezTo>
                  <a:cubicBezTo>
                    <a:pt x="968" y="7711"/>
                    <a:pt x="1048" y="7742"/>
                    <a:pt x="1108" y="7803"/>
                  </a:cubicBezTo>
                  <a:cubicBezTo>
                    <a:pt x="1192" y="7898"/>
                    <a:pt x="1227" y="8041"/>
                    <a:pt x="1168" y="8160"/>
                  </a:cubicBezTo>
                  <a:cubicBezTo>
                    <a:pt x="1084" y="8303"/>
                    <a:pt x="1120" y="8481"/>
                    <a:pt x="1227" y="8576"/>
                  </a:cubicBezTo>
                  <a:lnTo>
                    <a:pt x="1668" y="9029"/>
                  </a:lnTo>
                  <a:cubicBezTo>
                    <a:pt x="1734" y="9095"/>
                    <a:pt x="1827" y="9129"/>
                    <a:pt x="1919" y="9129"/>
                  </a:cubicBezTo>
                  <a:cubicBezTo>
                    <a:pt x="1977" y="9129"/>
                    <a:pt x="2034" y="9116"/>
                    <a:pt x="2084" y="9088"/>
                  </a:cubicBezTo>
                  <a:cubicBezTo>
                    <a:pt x="2131" y="9065"/>
                    <a:pt x="2183" y="9053"/>
                    <a:pt x="2234" y="9053"/>
                  </a:cubicBezTo>
                  <a:cubicBezTo>
                    <a:pt x="2314" y="9053"/>
                    <a:pt x="2391" y="9083"/>
                    <a:pt x="2442" y="9148"/>
                  </a:cubicBezTo>
                  <a:cubicBezTo>
                    <a:pt x="2537" y="9231"/>
                    <a:pt x="2561" y="9386"/>
                    <a:pt x="2501" y="9505"/>
                  </a:cubicBezTo>
                  <a:cubicBezTo>
                    <a:pt x="2430" y="9636"/>
                    <a:pt x="2454" y="9815"/>
                    <a:pt x="2561" y="9922"/>
                  </a:cubicBezTo>
                  <a:lnTo>
                    <a:pt x="3013" y="10362"/>
                  </a:lnTo>
                  <a:cubicBezTo>
                    <a:pt x="3080" y="10429"/>
                    <a:pt x="3174" y="10468"/>
                    <a:pt x="3267" y="10468"/>
                  </a:cubicBezTo>
                  <a:cubicBezTo>
                    <a:pt x="3324" y="10468"/>
                    <a:pt x="3380" y="10453"/>
                    <a:pt x="3430" y="10422"/>
                  </a:cubicBezTo>
                  <a:cubicBezTo>
                    <a:pt x="3474" y="10400"/>
                    <a:pt x="3520" y="10389"/>
                    <a:pt x="3567" y="10389"/>
                  </a:cubicBezTo>
                  <a:cubicBezTo>
                    <a:pt x="3647" y="10389"/>
                    <a:pt x="3727" y="10421"/>
                    <a:pt x="3787" y="10481"/>
                  </a:cubicBezTo>
                  <a:cubicBezTo>
                    <a:pt x="3870" y="10577"/>
                    <a:pt x="3906" y="10720"/>
                    <a:pt x="3847" y="10839"/>
                  </a:cubicBezTo>
                  <a:cubicBezTo>
                    <a:pt x="3775" y="10970"/>
                    <a:pt x="3799" y="11160"/>
                    <a:pt x="3906" y="11255"/>
                  </a:cubicBezTo>
                  <a:lnTo>
                    <a:pt x="4097" y="11446"/>
                  </a:lnTo>
                  <a:cubicBezTo>
                    <a:pt x="4168" y="11529"/>
                    <a:pt x="4263" y="11553"/>
                    <a:pt x="4347" y="11553"/>
                  </a:cubicBezTo>
                  <a:cubicBezTo>
                    <a:pt x="4442" y="11553"/>
                    <a:pt x="4525" y="11529"/>
                    <a:pt x="4609" y="11446"/>
                  </a:cubicBezTo>
                  <a:lnTo>
                    <a:pt x="11514" y="4540"/>
                  </a:lnTo>
                  <a:cubicBezTo>
                    <a:pt x="11669" y="4457"/>
                    <a:pt x="11669" y="4231"/>
                    <a:pt x="11538" y="4100"/>
                  </a:cubicBezTo>
                  <a:lnTo>
                    <a:pt x="11348" y="3909"/>
                  </a:lnTo>
                  <a:cubicBezTo>
                    <a:pt x="11282" y="3843"/>
                    <a:pt x="11188" y="3809"/>
                    <a:pt x="11096" y="3809"/>
                  </a:cubicBezTo>
                  <a:cubicBezTo>
                    <a:pt x="11038" y="3809"/>
                    <a:pt x="10981" y="3822"/>
                    <a:pt x="10931" y="3850"/>
                  </a:cubicBezTo>
                  <a:cubicBezTo>
                    <a:pt x="10884" y="3873"/>
                    <a:pt x="10832" y="3885"/>
                    <a:pt x="10780" y="3885"/>
                  </a:cubicBezTo>
                  <a:cubicBezTo>
                    <a:pt x="10700" y="3885"/>
                    <a:pt x="10620" y="3855"/>
                    <a:pt x="10562" y="3790"/>
                  </a:cubicBezTo>
                  <a:cubicBezTo>
                    <a:pt x="10466" y="3695"/>
                    <a:pt x="10443" y="3540"/>
                    <a:pt x="10490" y="3421"/>
                  </a:cubicBezTo>
                  <a:cubicBezTo>
                    <a:pt x="10574" y="3278"/>
                    <a:pt x="10562" y="3100"/>
                    <a:pt x="10431" y="3004"/>
                  </a:cubicBezTo>
                  <a:lnTo>
                    <a:pt x="9990" y="2552"/>
                  </a:lnTo>
                  <a:cubicBezTo>
                    <a:pt x="9924" y="2486"/>
                    <a:pt x="9831" y="2451"/>
                    <a:pt x="9739" y="2451"/>
                  </a:cubicBezTo>
                  <a:cubicBezTo>
                    <a:pt x="9681" y="2451"/>
                    <a:pt x="9624" y="2465"/>
                    <a:pt x="9574" y="2492"/>
                  </a:cubicBezTo>
                  <a:cubicBezTo>
                    <a:pt x="9527" y="2516"/>
                    <a:pt x="9475" y="2528"/>
                    <a:pt x="9423" y="2528"/>
                  </a:cubicBezTo>
                  <a:cubicBezTo>
                    <a:pt x="9342" y="2528"/>
                    <a:pt x="9262" y="2498"/>
                    <a:pt x="9204" y="2433"/>
                  </a:cubicBezTo>
                  <a:cubicBezTo>
                    <a:pt x="9109" y="2349"/>
                    <a:pt x="9085" y="2183"/>
                    <a:pt x="9145" y="2064"/>
                  </a:cubicBezTo>
                  <a:cubicBezTo>
                    <a:pt x="9216" y="1933"/>
                    <a:pt x="9204" y="1754"/>
                    <a:pt x="9085" y="1647"/>
                  </a:cubicBezTo>
                  <a:lnTo>
                    <a:pt x="8633" y="1195"/>
                  </a:lnTo>
                  <a:cubicBezTo>
                    <a:pt x="8565" y="1134"/>
                    <a:pt x="8467" y="1097"/>
                    <a:pt x="8372" y="1097"/>
                  </a:cubicBezTo>
                  <a:cubicBezTo>
                    <a:pt x="8317" y="1097"/>
                    <a:pt x="8264" y="1109"/>
                    <a:pt x="8216" y="1135"/>
                  </a:cubicBezTo>
                  <a:cubicBezTo>
                    <a:pt x="8170" y="1158"/>
                    <a:pt x="8119" y="1171"/>
                    <a:pt x="8069" y="1171"/>
                  </a:cubicBezTo>
                  <a:cubicBezTo>
                    <a:pt x="7991" y="1171"/>
                    <a:pt x="7912" y="1141"/>
                    <a:pt x="7847" y="1075"/>
                  </a:cubicBezTo>
                  <a:cubicBezTo>
                    <a:pt x="7740" y="980"/>
                    <a:pt x="7728" y="825"/>
                    <a:pt x="7788" y="706"/>
                  </a:cubicBezTo>
                  <a:cubicBezTo>
                    <a:pt x="7859" y="575"/>
                    <a:pt x="7847" y="397"/>
                    <a:pt x="7728" y="290"/>
                  </a:cubicBezTo>
                  <a:lnTo>
                    <a:pt x="7538" y="99"/>
                  </a:lnTo>
                  <a:cubicBezTo>
                    <a:pt x="7466" y="34"/>
                    <a:pt x="7377" y="1"/>
                    <a:pt x="72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1" name="Google Shape;12561;p62"/>
            <p:cNvSpPr/>
            <p:nvPr/>
          </p:nvSpPr>
          <p:spPr>
            <a:xfrm>
              <a:off x="5337501" y="3026074"/>
              <a:ext cx="181797" cy="180175"/>
            </a:xfrm>
            <a:custGeom>
              <a:avLst/>
              <a:gdLst/>
              <a:ahLst/>
              <a:cxnLst/>
              <a:rect l="l" t="t" r="r" b="b"/>
              <a:pathLst>
                <a:path w="5716" h="5665" extrusionOk="0">
                  <a:moveTo>
                    <a:pt x="4324" y="0"/>
                  </a:moveTo>
                  <a:cubicBezTo>
                    <a:pt x="4281" y="0"/>
                    <a:pt x="4239" y="15"/>
                    <a:pt x="4215" y="45"/>
                  </a:cubicBezTo>
                  <a:cubicBezTo>
                    <a:pt x="4144" y="105"/>
                    <a:pt x="4144" y="224"/>
                    <a:pt x="4215" y="283"/>
                  </a:cubicBezTo>
                  <a:lnTo>
                    <a:pt x="5311" y="1379"/>
                  </a:lnTo>
                  <a:lnTo>
                    <a:pt x="1393" y="5296"/>
                  </a:lnTo>
                  <a:lnTo>
                    <a:pt x="298" y="4188"/>
                  </a:lnTo>
                  <a:cubicBezTo>
                    <a:pt x="268" y="4159"/>
                    <a:pt x="224" y="4144"/>
                    <a:pt x="179" y="4144"/>
                  </a:cubicBezTo>
                  <a:cubicBezTo>
                    <a:pt x="134" y="4144"/>
                    <a:pt x="90" y="4159"/>
                    <a:pt x="60" y="4188"/>
                  </a:cubicBezTo>
                  <a:cubicBezTo>
                    <a:pt x="0" y="4248"/>
                    <a:pt x="0" y="4367"/>
                    <a:pt x="60" y="4427"/>
                  </a:cubicBezTo>
                  <a:lnTo>
                    <a:pt x="1239" y="5605"/>
                  </a:lnTo>
                  <a:cubicBezTo>
                    <a:pt x="1274" y="5653"/>
                    <a:pt x="1322" y="5665"/>
                    <a:pt x="1381" y="5665"/>
                  </a:cubicBezTo>
                  <a:cubicBezTo>
                    <a:pt x="1441" y="5665"/>
                    <a:pt x="1501" y="5641"/>
                    <a:pt x="1536" y="5605"/>
                  </a:cubicBezTo>
                  <a:lnTo>
                    <a:pt x="5608" y="1533"/>
                  </a:lnTo>
                  <a:cubicBezTo>
                    <a:pt x="5715" y="1438"/>
                    <a:pt x="5715" y="1307"/>
                    <a:pt x="5620" y="1212"/>
                  </a:cubicBezTo>
                  <a:lnTo>
                    <a:pt x="4441" y="45"/>
                  </a:lnTo>
                  <a:cubicBezTo>
                    <a:pt x="4412" y="15"/>
                    <a:pt x="4367" y="0"/>
                    <a:pt x="43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2" name="Google Shape;12562;p62"/>
            <p:cNvSpPr/>
            <p:nvPr/>
          </p:nvSpPr>
          <p:spPr>
            <a:xfrm>
              <a:off x="5281461" y="2969462"/>
              <a:ext cx="181416" cy="180366"/>
            </a:xfrm>
            <a:custGeom>
              <a:avLst/>
              <a:gdLst/>
              <a:ahLst/>
              <a:cxnLst/>
              <a:rect l="l" t="t" r="r" b="b"/>
              <a:pathLst>
                <a:path w="5704" h="5671" extrusionOk="0">
                  <a:moveTo>
                    <a:pt x="4298" y="0"/>
                  </a:moveTo>
                  <a:cubicBezTo>
                    <a:pt x="4242" y="0"/>
                    <a:pt x="4185" y="21"/>
                    <a:pt x="4144" y="63"/>
                  </a:cubicBezTo>
                  <a:lnTo>
                    <a:pt x="60" y="4147"/>
                  </a:lnTo>
                  <a:cubicBezTo>
                    <a:pt x="24" y="4182"/>
                    <a:pt x="0" y="4230"/>
                    <a:pt x="0" y="4290"/>
                  </a:cubicBezTo>
                  <a:cubicBezTo>
                    <a:pt x="0" y="4349"/>
                    <a:pt x="36" y="4409"/>
                    <a:pt x="60" y="4444"/>
                  </a:cubicBezTo>
                  <a:lnTo>
                    <a:pt x="1250" y="5635"/>
                  </a:lnTo>
                  <a:cubicBezTo>
                    <a:pt x="1286" y="5659"/>
                    <a:pt x="1334" y="5671"/>
                    <a:pt x="1369" y="5671"/>
                  </a:cubicBezTo>
                  <a:cubicBezTo>
                    <a:pt x="1417" y="5671"/>
                    <a:pt x="1465" y="5659"/>
                    <a:pt x="1489" y="5635"/>
                  </a:cubicBezTo>
                  <a:cubicBezTo>
                    <a:pt x="1548" y="5576"/>
                    <a:pt x="1548" y="5445"/>
                    <a:pt x="1489" y="5385"/>
                  </a:cubicBezTo>
                  <a:lnTo>
                    <a:pt x="393" y="4290"/>
                  </a:lnTo>
                  <a:lnTo>
                    <a:pt x="4298" y="372"/>
                  </a:lnTo>
                  <a:lnTo>
                    <a:pt x="5406" y="1480"/>
                  </a:lnTo>
                  <a:cubicBezTo>
                    <a:pt x="5435" y="1510"/>
                    <a:pt x="5480" y="1524"/>
                    <a:pt x="5525" y="1524"/>
                  </a:cubicBezTo>
                  <a:cubicBezTo>
                    <a:pt x="5569" y="1524"/>
                    <a:pt x="5614" y="1510"/>
                    <a:pt x="5644" y="1480"/>
                  </a:cubicBezTo>
                  <a:cubicBezTo>
                    <a:pt x="5703" y="1432"/>
                    <a:pt x="5703" y="1313"/>
                    <a:pt x="5644" y="1254"/>
                  </a:cubicBezTo>
                  <a:lnTo>
                    <a:pt x="4453" y="63"/>
                  </a:lnTo>
                  <a:cubicBezTo>
                    <a:pt x="4411" y="21"/>
                    <a:pt x="4355" y="0"/>
                    <a:pt x="4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3" name="Google Shape;12563;p62"/>
            <p:cNvSpPr/>
            <p:nvPr/>
          </p:nvSpPr>
          <p:spPr>
            <a:xfrm>
              <a:off x="5508294" y="3016978"/>
              <a:ext cx="23122" cy="21532"/>
            </a:xfrm>
            <a:custGeom>
              <a:avLst/>
              <a:gdLst/>
              <a:ahLst/>
              <a:cxnLst/>
              <a:rect l="l" t="t" r="r" b="b"/>
              <a:pathLst>
                <a:path w="727" h="677" extrusionOk="0">
                  <a:moveTo>
                    <a:pt x="179" y="1"/>
                  </a:moveTo>
                  <a:cubicBezTo>
                    <a:pt x="134" y="1"/>
                    <a:pt x="89" y="16"/>
                    <a:pt x="60" y="45"/>
                  </a:cubicBezTo>
                  <a:cubicBezTo>
                    <a:pt x="0" y="105"/>
                    <a:pt x="0" y="224"/>
                    <a:pt x="60" y="283"/>
                  </a:cubicBezTo>
                  <a:lnTo>
                    <a:pt x="417" y="641"/>
                  </a:lnTo>
                  <a:cubicBezTo>
                    <a:pt x="453" y="664"/>
                    <a:pt x="488" y="676"/>
                    <a:pt x="536" y="676"/>
                  </a:cubicBezTo>
                  <a:cubicBezTo>
                    <a:pt x="583" y="676"/>
                    <a:pt x="631" y="664"/>
                    <a:pt x="655" y="641"/>
                  </a:cubicBezTo>
                  <a:cubicBezTo>
                    <a:pt x="726" y="581"/>
                    <a:pt x="726" y="474"/>
                    <a:pt x="655" y="402"/>
                  </a:cubicBezTo>
                  <a:lnTo>
                    <a:pt x="298" y="45"/>
                  </a:lnTo>
                  <a:cubicBezTo>
                    <a:pt x="268" y="16"/>
                    <a:pt x="22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4" name="Google Shape;12564;p62"/>
            <p:cNvSpPr/>
            <p:nvPr/>
          </p:nvSpPr>
          <p:spPr>
            <a:xfrm>
              <a:off x="5478366" y="2987082"/>
              <a:ext cx="23504" cy="21882"/>
            </a:xfrm>
            <a:custGeom>
              <a:avLst/>
              <a:gdLst/>
              <a:ahLst/>
              <a:cxnLst/>
              <a:rect l="l" t="t" r="r" b="b"/>
              <a:pathLst>
                <a:path w="739" h="688" extrusionOk="0">
                  <a:moveTo>
                    <a:pt x="179" y="0"/>
                  </a:moveTo>
                  <a:cubicBezTo>
                    <a:pt x="134" y="0"/>
                    <a:pt x="90" y="15"/>
                    <a:pt x="60" y="45"/>
                  </a:cubicBezTo>
                  <a:cubicBezTo>
                    <a:pt x="0" y="104"/>
                    <a:pt x="0" y="223"/>
                    <a:pt x="60" y="283"/>
                  </a:cubicBezTo>
                  <a:lnTo>
                    <a:pt x="417" y="640"/>
                  </a:lnTo>
                  <a:cubicBezTo>
                    <a:pt x="453" y="676"/>
                    <a:pt x="501" y="688"/>
                    <a:pt x="536" y="688"/>
                  </a:cubicBezTo>
                  <a:cubicBezTo>
                    <a:pt x="584" y="688"/>
                    <a:pt x="632" y="664"/>
                    <a:pt x="655" y="640"/>
                  </a:cubicBezTo>
                  <a:cubicBezTo>
                    <a:pt x="739" y="580"/>
                    <a:pt x="739" y="473"/>
                    <a:pt x="655" y="402"/>
                  </a:cubicBezTo>
                  <a:lnTo>
                    <a:pt x="298" y="45"/>
                  </a:lnTo>
                  <a:cubicBezTo>
                    <a:pt x="268"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5" name="Google Shape;12565;p62"/>
            <p:cNvSpPr/>
            <p:nvPr/>
          </p:nvSpPr>
          <p:spPr>
            <a:xfrm>
              <a:off x="5449200" y="2957916"/>
              <a:ext cx="23122" cy="21500"/>
            </a:xfrm>
            <a:custGeom>
              <a:avLst/>
              <a:gdLst/>
              <a:ahLst/>
              <a:cxnLst/>
              <a:rect l="l" t="t" r="r" b="b"/>
              <a:pathLst>
                <a:path w="727" h="676" extrusionOk="0">
                  <a:moveTo>
                    <a:pt x="179" y="0"/>
                  </a:moveTo>
                  <a:cubicBezTo>
                    <a:pt x="135" y="0"/>
                    <a:pt x="90" y="15"/>
                    <a:pt x="60" y="45"/>
                  </a:cubicBezTo>
                  <a:cubicBezTo>
                    <a:pt x="1" y="93"/>
                    <a:pt x="1" y="224"/>
                    <a:pt x="60" y="283"/>
                  </a:cubicBezTo>
                  <a:lnTo>
                    <a:pt x="417" y="640"/>
                  </a:lnTo>
                  <a:cubicBezTo>
                    <a:pt x="441" y="664"/>
                    <a:pt x="489" y="676"/>
                    <a:pt x="536" y="676"/>
                  </a:cubicBezTo>
                  <a:cubicBezTo>
                    <a:pt x="584" y="676"/>
                    <a:pt x="620" y="664"/>
                    <a:pt x="656" y="640"/>
                  </a:cubicBezTo>
                  <a:cubicBezTo>
                    <a:pt x="727" y="581"/>
                    <a:pt x="727" y="474"/>
                    <a:pt x="656" y="390"/>
                  </a:cubicBezTo>
                  <a:lnTo>
                    <a:pt x="298" y="45"/>
                  </a:lnTo>
                  <a:cubicBezTo>
                    <a:pt x="269" y="15"/>
                    <a:pt x="22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66" name="Google Shape;12566;p62"/>
          <p:cNvGrpSpPr/>
          <p:nvPr/>
        </p:nvGrpSpPr>
        <p:grpSpPr>
          <a:xfrm>
            <a:off x="5748358" y="3434578"/>
            <a:ext cx="352590" cy="182561"/>
            <a:chOff x="5748358" y="3434578"/>
            <a:chExt cx="352590" cy="182561"/>
          </a:xfrm>
        </p:grpSpPr>
        <p:sp>
          <p:nvSpPr>
            <p:cNvPr id="12567" name="Google Shape;12567;p62"/>
            <p:cNvSpPr/>
            <p:nvPr/>
          </p:nvSpPr>
          <p:spPr>
            <a:xfrm>
              <a:off x="5857799" y="3457668"/>
              <a:ext cx="26525" cy="50761"/>
            </a:xfrm>
            <a:custGeom>
              <a:avLst/>
              <a:gdLst/>
              <a:ahLst/>
              <a:cxnLst/>
              <a:rect l="l" t="t" r="r" b="b"/>
              <a:pathLst>
                <a:path w="834" h="1596" extrusionOk="0">
                  <a:moveTo>
                    <a:pt x="417" y="1"/>
                  </a:moveTo>
                  <a:cubicBezTo>
                    <a:pt x="322" y="1"/>
                    <a:pt x="251" y="72"/>
                    <a:pt x="251" y="167"/>
                  </a:cubicBezTo>
                  <a:lnTo>
                    <a:pt x="251" y="239"/>
                  </a:lnTo>
                  <a:lnTo>
                    <a:pt x="155" y="239"/>
                  </a:lnTo>
                  <a:cubicBezTo>
                    <a:pt x="72" y="239"/>
                    <a:pt x="1" y="310"/>
                    <a:pt x="1" y="405"/>
                  </a:cubicBezTo>
                  <a:cubicBezTo>
                    <a:pt x="1" y="489"/>
                    <a:pt x="72" y="560"/>
                    <a:pt x="155" y="560"/>
                  </a:cubicBezTo>
                  <a:lnTo>
                    <a:pt x="251" y="560"/>
                  </a:lnTo>
                  <a:lnTo>
                    <a:pt x="251" y="1429"/>
                  </a:lnTo>
                  <a:cubicBezTo>
                    <a:pt x="251" y="1513"/>
                    <a:pt x="322" y="1596"/>
                    <a:pt x="417" y="1596"/>
                  </a:cubicBezTo>
                  <a:cubicBezTo>
                    <a:pt x="501" y="1596"/>
                    <a:pt x="572" y="1513"/>
                    <a:pt x="572" y="1429"/>
                  </a:cubicBezTo>
                  <a:lnTo>
                    <a:pt x="572" y="560"/>
                  </a:lnTo>
                  <a:lnTo>
                    <a:pt x="667" y="560"/>
                  </a:lnTo>
                  <a:cubicBezTo>
                    <a:pt x="751" y="560"/>
                    <a:pt x="822" y="489"/>
                    <a:pt x="822" y="405"/>
                  </a:cubicBezTo>
                  <a:cubicBezTo>
                    <a:pt x="834" y="310"/>
                    <a:pt x="751" y="239"/>
                    <a:pt x="667" y="239"/>
                  </a:cubicBezTo>
                  <a:lnTo>
                    <a:pt x="572" y="239"/>
                  </a:lnTo>
                  <a:lnTo>
                    <a:pt x="572" y="167"/>
                  </a:lnTo>
                  <a:cubicBezTo>
                    <a:pt x="572" y="72"/>
                    <a:pt x="501" y="1"/>
                    <a:pt x="4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8" name="Google Shape;12568;p62"/>
            <p:cNvSpPr/>
            <p:nvPr/>
          </p:nvSpPr>
          <p:spPr>
            <a:xfrm>
              <a:off x="5823704" y="3457668"/>
              <a:ext cx="26557" cy="51142"/>
            </a:xfrm>
            <a:custGeom>
              <a:avLst/>
              <a:gdLst/>
              <a:ahLst/>
              <a:cxnLst/>
              <a:rect l="l" t="t" r="r" b="b"/>
              <a:pathLst>
                <a:path w="835" h="1608" extrusionOk="0">
                  <a:moveTo>
                    <a:pt x="418" y="1"/>
                  </a:moveTo>
                  <a:cubicBezTo>
                    <a:pt x="322" y="1"/>
                    <a:pt x="251" y="72"/>
                    <a:pt x="251" y="167"/>
                  </a:cubicBezTo>
                  <a:lnTo>
                    <a:pt x="251" y="846"/>
                  </a:lnTo>
                  <a:lnTo>
                    <a:pt x="156" y="846"/>
                  </a:lnTo>
                  <a:cubicBezTo>
                    <a:pt x="72" y="846"/>
                    <a:pt x="1" y="917"/>
                    <a:pt x="1" y="1013"/>
                  </a:cubicBezTo>
                  <a:cubicBezTo>
                    <a:pt x="1" y="1096"/>
                    <a:pt x="72" y="1179"/>
                    <a:pt x="156" y="1179"/>
                  </a:cubicBezTo>
                  <a:lnTo>
                    <a:pt x="251" y="1179"/>
                  </a:lnTo>
                  <a:lnTo>
                    <a:pt x="251" y="1441"/>
                  </a:lnTo>
                  <a:cubicBezTo>
                    <a:pt x="251" y="1536"/>
                    <a:pt x="322" y="1608"/>
                    <a:pt x="418" y="1608"/>
                  </a:cubicBezTo>
                  <a:cubicBezTo>
                    <a:pt x="501" y="1608"/>
                    <a:pt x="572" y="1536"/>
                    <a:pt x="572" y="1441"/>
                  </a:cubicBezTo>
                  <a:lnTo>
                    <a:pt x="572" y="1179"/>
                  </a:lnTo>
                  <a:lnTo>
                    <a:pt x="668" y="1179"/>
                  </a:lnTo>
                  <a:cubicBezTo>
                    <a:pt x="751" y="1179"/>
                    <a:pt x="834" y="1096"/>
                    <a:pt x="834" y="1013"/>
                  </a:cubicBezTo>
                  <a:cubicBezTo>
                    <a:pt x="834" y="917"/>
                    <a:pt x="751" y="846"/>
                    <a:pt x="668" y="846"/>
                  </a:cubicBezTo>
                  <a:lnTo>
                    <a:pt x="572" y="846"/>
                  </a:lnTo>
                  <a:lnTo>
                    <a:pt x="572" y="167"/>
                  </a:lnTo>
                  <a:cubicBezTo>
                    <a:pt x="572"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9" name="Google Shape;12569;p62"/>
            <p:cNvSpPr/>
            <p:nvPr/>
          </p:nvSpPr>
          <p:spPr>
            <a:xfrm>
              <a:off x="5788115" y="3457668"/>
              <a:ext cx="26557" cy="50761"/>
            </a:xfrm>
            <a:custGeom>
              <a:avLst/>
              <a:gdLst/>
              <a:ahLst/>
              <a:cxnLst/>
              <a:rect l="l" t="t" r="r" b="b"/>
              <a:pathLst>
                <a:path w="835" h="1596" extrusionOk="0">
                  <a:moveTo>
                    <a:pt x="418" y="1"/>
                  </a:moveTo>
                  <a:cubicBezTo>
                    <a:pt x="322" y="1"/>
                    <a:pt x="251" y="72"/>
                    <a:pt x="251" y="167"/>
                  </a:cubicBezTo>
                  <a:lnTo>
                    <a:pt x="251" y="239"/>
                  </a:lnTo>
                  <a:lnTo>
                    <a:pt x="167" y="239"/>
                  </a:lnTo>
                  <a:cubicBezTo>
                    <a:pt x="72" y="239"/>
                    <a:pt x="1" y="310"/>
                    <a:pt x="1" y="405"/>
                  </a:cubicBezTo>
                  <a:cubicBezTo>
                    <a:pt x="1" y="489"/>
                    <a:pt x="72" y="560"/>
                    <a:pt x="167" y="560"/>
                  </a:cubicBezTo>
                  <a:lnTo>
                    <a:pt x="251" y="560"/>
                  </a:lnTo>
                  <a:lnTo>
                    <a:pt x="251" y="1429"/>
                  </a:lnTo>
                  <a:cubicBezTo>
                    <a:pt x="251" y="1513"/>
                    <a:pt x="322" y="1596"/>
                    <a:pt x="418" y="1596"/>
                  </a:cubicBezTo>
                  <a:cubicBezTo>
                    <a:pt x="501" y="1596"/>
                    <a:pt x="584" y="1513"/>
                    <a:pt x="584" y="1429"/>
                  </a:cubicBezTo>
                  <a:lnTo>
                    <a:pt x="584" y="560"/>
                  </a:lnTo>
                  <a:lnTo>
                    <a:pt x="668" y="560"/>
                  </a:lnTo>
                  <a:cubicBezTo>
                    <a:pt x="763" y="560"/>
                    <a:pt x="834" y="489"/>
                    <a:pt x="834" y="405"/>
                  </a:cubicBezTo>
                  <a:cubicBezTo>
                    <a:pt x="834" y="310"/>
                    <a:pt x="763" y="239"/>
                    <a:pt x="668" y="239"/>
                  </a:cubicBezTo>
                  <a:lnTo>
                    <a:pt x="584" y="239"/>
                  </a:lnTo>
                  <a:lnTo>
                    <a:pt x="584" y="167"/>
                  </a:lnTo>
                  <a:cubicBezTo>
                    <a:pt x="584" y="72"/>
                    <a:pt x="501" y="1"/>
                    <a:pt x="4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0" name="Google Shape;12570;p62"/>
            <p:cNvSpPr/>
            <p:nvPr/>
          </p:nvSpPr>
          <p:spPr>
            <a:xfrm>
              <a:off x="5913458" y="3457668"/>
              <a:ext cx="142423" cy="50761"/>
            </a:xfrm>
            <a:custGeom>
              <a:avLst/>
              <a:gdLst/>
              <a:ahLst/>
              <a:cxnLst/>
              <a:rect l="l" t="t" r="r" b="b"/>
              <a:pathLst>
                <a:path w="4478" h="1596" extrusionOk="0">
                  <a:moveTo>
                    <a:pt x="4156" y="322"/>
                  </a:moveTo>
                  <a:lnTo>
                    <a:pt x="4156" y="1263"/>
                  </a:lnTo>
                  <a:lnTo>
                    <a:pt x="310" y="1263"/>
                  </a:lnTo>
                  <a:lnTo>
                    <a:pt x="310" y="322"/>
                  </a:lnTo>
                  <a:close/>
                  <a:moveTo>
                    <a:pt x="298" y="1"/>
                  </a:moveTo>
                  <a:cubicBezTo>
                    <a:pt x="132" y="1"/>
                    <a:pt x="1" y="131"/>
                    <a:pt x="1" y="298"/>
                  </a:cubicBezTo>
                  <a:lnTo>
                    <a:pt x="1" y="1298"/>
                  </a:lnTo>
                  <a:cubicBezTo>
                    <a:pt x="1" y="1453"/>
                    <a:pt x="132" y="1596"/>
                    <a:pt x="298" y="1596"/>
                  </a:cubicBezTo>
                  <a:lnTo>
                    <a:pt x="4180" y="1596"/>
                  </a:lnTo>
                  <a:cubicBezTo>
                    <a:pt x="4347" y="1596"/>
                    <a:pt x="4478" y="1453"/>
                    <a:pt x="4478" y="1298"/>
                  </a:cubicBezTo>
                  <a:lnTo>
                    <a:pt x="4478" y="298"/>
                  </a:lnTo>
                  <a:cubicBezTo>
                    <a:pt x="4478" y="131"/>
                    <a:pt x="4347" y="1"/>
                    <a:pt x="4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1" name="Google Shape;12571;p62"/>
            <p:cNvSpPr/>
            <p:nvPr/>
          </p:nvSpPr>
          <p:spPr>
            <a:xfrm>
              <a:off x="5748358" y="3434578"/>
              <a:ext cx="352590" cy="39788"/>
            </a:xfrm>
            <a:custGeom>
              <a:avLst/>
              <a:gdLst/>
              <a:ahLst/>
              <a:cxnLst/>
              <a:rect l="l" t="t" r="r" b="b"/>
              <a:pathLst>
                <a:path w="11086" h="1251" extrusionOk="0">
                  <a:moveTo>
                    <a:pt x="370" y="0"/>
                  </a:moveTo>
                  <a:cubicBezTo>
                    <a:pt x="155" y="0"/>
                    <a:pt x="1" y="155"/>
                    <a:pt x="1" y="369"/>
                  </a:cubicBezTo>
                  <a:lnTo>
                    <a:pt x="1" y="1084"/>
                  </a:lnTo>
                  <a:cubicBezTo>
                    <a:pt x="1" y="1167"/>
                    <a:pt x="72" y="1250"/>
                    <a:pt x="155" y="1250"/>
                  </a:cubicBezTo>
                  <a:cubicBezTo>
                    <a:pt x="251" y="1250"/>
                    <a:pt x="322" y="1167"/>
                    <a:pt x="322" y="1084"/>
                  </a:cubicBezTo>
                  <a:lnTo>
                    <a:pt x="322" y="369"/>
                  </a:lnTo>
                  <a:cubicBezTo>
                    <a:pt x="322" y="334"/>
                    <a:pt x="334" y="322"/>
                    <a:pt x="370" y="322"/>
                  </a:cubicBezTo>
                  <a:lnTo>
                    <a:pt x="10692" y="322"/>
                  </a:lnTo>
                  <a:cubicBezTo>
                    <a:pt x="10728" y="322"/>
                    <a:pt x="10740" y="334"/>
                    <a:pt x="10740" y="369"/>
                  </a:cubicBezTo>
                  <a:lnTo>
                    <a:pt x="10740" y="1084"/>
                  </a:lnTo>
                  <a:cubicBezTo>
                    <a:pt x="10740" y="1167"/>
                    <a:pt x="10812" y="1250"/>
                    <a:pt x="10907" y="1250"/>
                  </a:cubicBezTo>
                  <a:cubicBezTo>
                    <a:pt x="10990" y="1250"/>
                    <a:pt x="11073" y="1167"/>
                    <a:pt x="11073" y="1084"/>
                  </a:cubicBezTo>
                  <a:lnTo>
                    <a:pt x="11073" y="369"/>
                  </a:lnTo>
                  <a:cubicBezTo>
                    <a:pt x="11085" y="179"/>
                    <a:pt x="10919" y="0"/>
                    <a:pt x="10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2" name="Google Shape;12572;p62"/>
            <p:cNvSpPr/>
            <p:nvPr/>
          </p:nvSpPr>
          <p:spPr>
            <a:xfrm>
              <a:off x="5748358" y="3488328"/>
              <a:ext cx="352590" cy="128810"/>
            </a:xfrm>
            <a:custGeom>
              <a:avLst/>
              <a:gdLst/>
              <a:ahLst/>
              <a:cxnLst/>
              <a:rect l="l" t="t" r="r" b="b"/>
              <a:pathLst>
                <a:path w="11086" h="4050" extrusionOk="0">
                  <a:moveTo>
                    <a:pt x="2227" y="1525"/>
                  </a:moveTo>
                  <a:lnTo>
                    <a:pt x="2227" y="2620"/>
                  </a:lnTo>
                  <a:lnTo>
                    <a:pt x="1918" y="2620"/>
                  </a:lnTo>
                  <a:lnTo>
                    <a:pt x="1918" y="1525"/>
                  </a:lnTo>
                  <a:close/>
                  <a:moveTo>
                    <a:pt x="3954" y="1525"/>
                  </a:moveTo>
                  <a:lnTo>
                    <a:pt x="3954" y="2620"/>
                  </a:lnTo>
                  <a:lnTo>
                    <a:pt x="3644" y="2620"/>
                  </a:lnTo>
                  <a:lnTo>
                    <a:pt x="3644" y="1525"/>
                  </a:lnTo>
                  <a:close/>
                  <a:moveTo>
                    <a:pt x="5680" y="1525"/>
                  </a:moveTo>
                  <a:lnTo>
                    <a:pt x="5680" y="2620"/>
                  </a:lnTo>
                  <a:lnTo>
                    <a:pt x="5370" y="2620"/>
                  </a:lnTo>
                  <a:lnTo>
                    <a:pt x="5370" y="1525"/>
                  </a:lnTo>
                  <a:close/>
                  <a:moveTo>
                    <a:pt x="7406" y="1525"/>
                  </a:moveTo>
                  <a:lnTo>
                    <a:pt x="7406" y="2620"/>
                  </a:lnTo>
                  <a:lnTo>
                    <a:pt x="7097" y="2620"/>
                  </a:lnTo>
                  <a:lnTo>
                    <a:pt x="7097" y="1525"/>
                  </a:lnTo>
                  <a:close/>
                  <a:moveTo>
                    <a:pt x="9157" y="1525"/>
                  </a:moveTo>
                  <a:lnTo>
                    <a:pt x="9157" y="2620"/>
                  </a:lnTo>
                  <a:lnTo>
                    <a:pt x="8835" y="2620"/>
                  </a:lnTo>
                  <a:lnTo>
                    <a:pt x="8835" y="1525"/>
                  </a:lnTo>
                  <a:close/>
                  <a:moveTo>
                    <a:pt x="10764" y="1501"/>
                  </a:moveTo>
                  <a:lnTo>
                    <a:pt x="10764" y="3668"/>
                  </a:lnTo>
                  <a:cubicBezTo>
                    <a:pt x="10764" y="3692"/>
                    <a:pt x="10740" y="3704"/>
                    <a:pt x="10716" y="3704"/>
                  </a:cubicBezTo>
                  <a:lnTo>
                    <a:pt x="10026" y="3704"/>
                  </a:lnTo>
                  <a:lnTo>
                    <a:pt x="10026" y="1501"/>
                  </a:lnTo>
                  <a:close/>
                  <a:moveTo>
                    <a:pt x="1060" y="1525"/>
                  </a:moveTo>
                  <a:lnTo>
                    <a:pt x="1060" y="3728"/>
                  </a:lnTo>
                  <a:lnTo>
                    <a:pt x="370" y="3728"/>
                  </a:lnTo>
                  <a:cubicBezTo>
                    <a:pt x="346" y="3728"/>
                    <a:pt x="322" y="3704"/>
                    <a:pt x="322" y="3680"/>
                  </a:cubicBezTo>
                  <a:lnTo>
                    <a:pt x="322" y="1525"/>
                  </a:lnTo>
                  <a:close/>
                  <a:moveTo>
                    <a:pt x="1608" y="1525"/>
                  </a:moveTo>
                  <a:lnTo>
                    <a:pt x="1608" y="2620"/>
                  </a:lnTo>
                  <a:cubicBezTo>
                    <a:pt x="1608" y="2799"/>
                    <a:pt x="1751" y="2954"/>
                    <a:pt x="1929" y="2954"/>
                  </a:cubicBezTo>
                  <a:lnTo>
                    <a:pt x="1929" y="3728"/>
                  </a:lnTo>
                  <a:lnTo>
                    <a:pt x="1382" y="3728"/>
                  </a:lnTo>
                  <a:lnTo>
                    <a:pt x="1382" y="1525"/>
                  </a:lnTo>
                  <a:close/>
                  <a:moveTo>
                    <a:pt x="2799" y="1525"/>
                  </a:moveTo>
                  <a:lnTo>
                    <a:pt x="2799" y="3728"/>
                  </a:lnTo>
                  <a:lnTo>
                    <a:pt x="2251" y="3728"/>
                  </a:lnTo>
                  <a:lnTo>
                    <a:pt x="2251" y="2954"/>
                  </a:lnTo>
                  <a:cubicBezTo>
                    <a:pt x="2430" y="2954"/>
                    <a:pt x="2572" y="2799"/>
                    <a:pt x="2572" y="2620"/>
                  </a:cubicBezTo>
                  <a:lnTo>
                    <a:pt x="2572" y="1525"/>
                  </a:lnTo>
                  <a:close/>
                  <a:moveTo>
                    <a:pt x="3334" y="1525"/>
                  </a:moveTo>
                  <a:lnTo>
                    <a:pt x="3334" y="2620"/>
                  </a:lnTo>
                  <a:cubicBezTo>
                    <a:pt x="3334" y="2799"/>
                    <a:pt x="3477" y="2954"/>
                    <a:pt x="3656" y="2954"/>
                  </a:cubicBezTo>
                  <a:lnTo>
                    <a:pt x="3656" y="3728"/>
                  </a:lnTo>
                  <a:lnTo>
                    <a:pt x="3108" y="3728"/>
                  </a:lnTo>
                  <a:lnTo>
                    <a:pt x="3108" y="1525"/>
                  </a:lnTo>
                  <a:close/>
                  <a:moveTo>
                    <a:pt x="4537" y="1525"/>
                  </a:moveTo>
                  <a:lnTo>
                    <a:pt x="4537" y="3728"/>
                  </a:lnTo>
                  <a:lnTo>
                    <a:pt x="3989" y="3728"/>
                  </a:lnTo>
                  <a:lnTo>
                    <a:pt x="3989" y="2954"/>
                  </a:lnTo>
                  <a:cubicBezTo>
                    <a:pt x="4168" y="2954"/>
                    <a:pt x="4311" y="2799"/>
                    <a:pt x="4311" y="2620"/>
                  </a:cubicBezTo>
                  <a:lnTo>
                    <a:pt x="4311" y="1525"/>
                  </a:lnTo>
                  <a:close/>
                  <a:moveTo>
                    <a:pt x="5073" y="1525"/>
                  </a:moveTo>
                  <a:lnTo>
                    <a:pt x="5073" y="2620"/>
                  </a:lnTo>
                  <a:cubicBezTo>
                    <a:pt x="5073" y="2799"/>
                    <a:pt x="5227" y="2954"/>
                    <a:pt x="5406" y="2954"/>
                  </a:cubicBezTo>
                  <a:lnTo>
                    <a:pt x="5406" y="3728"/>
                  </a:lnTo>
                  <a:lnTo>
                    <a:pt x="4846" y="3728"/>
                  </a:lnTo>
                  <a:lnTo>
                    <a:pt x="4846" y="1525"/>
                  </a:lnTo>
                  <a:close/>
                  <a:moveTo>
                    <a:pt x="6263" y="1525"/>
                  </a:moveTo>
                  <a:lnTo>
                    <a:pt x="6263" y="3728"/>
                  </a:lnTo>
                  <a:lnTo>
                    <a:pt x="5716" y="3728"/>
                  </a:lnTo>
                  <a:lnTo>
                    <a:pt x="5716" y="2954"/>
                  </a:lnTo>
                  <a:cubicBezTo>
                    <a:pt x="5894" y="2954"/>
                    <a:pt x="6037" y="2799"/>
                    <a:pt x="6037" y="2620"/>
                  </a:cubicBezTo>
                  <a:lnTo>
                    <a:pt x="6037" y="1525"/>
                  </a:lnTo>
                  <a:close/>
                  <a:moveTo>
                    <a:pt x="6799" y="1525"/>
                  </a:moveTo>
                  <a:lnTo>
                    <a:pt x="6799" y="2620"/>
                  </a:lnTo>
                  <a:cubicBezTo>
                    <a:pt x="6799" y="2799"/>
                    <a:pt x="6954" y="2954"/>
                    <a:pt x="7132" y="2954"/>
                  </a:cubicBezTo>
                  <a:lnTo>
                    <a:pt x="7132" y="3728"/>
                  </a:lnTo>
                  <a:lnTo>
                    <a:pt x="6573" y="3728"/>
                  </a:lnTo>
                  <a:lnTo>
                    <a:pt x="6573" y="1525"/>
                  </a:lnTo>
                  <a:close/>
                  <a:moveTo>
                    <a:pt x="7990" y="1525"/>
                  </a:moveTo>
                  <a:lnTo>
                    <a:pt x="7990" y="3728"/>
                  </a:lnTo>
                  <a:lnTo>
                    <a:pt x="7442" y="3728"/>
                  </a:lnTo>
                  <a:lnTo>
                    <a:pt x="7442" y="2954"/>
                  </a:lnTo>
                  <a:cubicBezTo>
                    <a:pt x="7621" y="2954"/>
                    <a:pt x="7764" y="2799"/>
                    <a:pt x="7764" y="2620"/>
                  </a:cubicBezTo>
                  <a:lnTo>
                    <a:pt x="7764" y="1525"/>
                  </a:lnTo>
                  <a:close/>
                  <a:moveTo>
                    <a:pt x="8526" y="1525"/>
                  </a:moveTo>
                  <a:lnTo>
                    <a:pt x="8526" y="2620"/>
                  </a:lnTo>
                  <a:cubicBezTo>
                    <a:pt x="8526" y="2799"/>
                    <a:pt x="8680" y="2954"/>
                    <a:pt x="8859" y="2954"/>
                  </a:cubicBezTo>
                  <a:lnTo>
                    <a:pt x="8859" y="3728"/>
                  </a:lnTo>
                  <a:lnTo>
                    <a:pt x="8299" y="3728"/>
                  </a:lnTo>
                  <a:lnTo>
                    <a:pt x="8299" y="1525"/>
                  </a:lnTo>
                  <a:close/>
                  <a:moveTo>
                    <a:pt x="9716" y="1525"/>
                  </a:moveTo>
                  <a:lnTo>
                    <a:pt x="9716" y="3728"/>
                  </a:lnTo>
                  <a:lnTo>
                    <a:pt x="9168" y="3728"/>
                  </a:lnTo>
                  <a:lnTo>
                    <a:pt x="9168" y="2954"/>
                  </a:lnTo>
                  <a:cubicBezTo>
                    <a:pt x="9347" y="2954"/>
                    <a:pt x="9490" y="2799"/>
                    <a:pt x="9490" y="2620"/>
                  </a:cubicBezTo>
                  <a:lnTo>
                    <a:pt x="9490" y="1525"/>
                  </a:lnTo>
                  <a:close/>
                  <a:moveTo>
                    <a:pt x="167" y="1"/>
                  </a:moveTo>
                  <a:cubicBezTo>
                    <a:pt x="72" y="1"/>
                    <a:pt x="1" y="72"/>
                    <a:pt x="1" y="168"/>
                  </a:cubicBezTo>
                  <a:lnTo>
                    <a:pt x="1" y="1358"/>
                  </a:lnTo>
                  <a:lnTo>
                    <a:pt x="1" y="3680"/>
                  </a:lnTo>
                  <a:cubicBezTo>
                    <a:pt x="1" y="3882"/>
                    <a:pt x="167" y="4049"/>
                    <a:pt x="370" y="4049"/>
                  </a:cubicBezTo>
                  <a:lnTo>
                    <a:pt x="10704" y="4049"/>
                  </a:lnTo>
                  <a:cubicBezTo>
                    <a:pt x="10907" y="4049"/>
                    <a:pt x="11073" y="3882"/>
                    <a:pt x="11073" y="3680"/>
                  </a:cubicBezTo>
                  <a:lnTo>
                    <a:pt x="11073" y="1358"/>
                  </a:lnTo>
                  <a:lnTo>
                    <a:pt x="11073" y="168"/>
                  </a:lnTo>
                  <a:cubicBezTo>
                    <a:pt x="11085" y="60"/>
                    <a:pt x="11014" y="1"/>
                    <a:pt x="10919" y="1"/>
                  </a:cubicBezTo>
                  <a:cubicBezTo>
                    <a:pt x="10835" y="1"/>
                    <a:pt x="10764" y="72"/>
                    <a:pt x="10764" y="168"/>
                  </a:cubicBezTo>
                  <a:lnTo>
                    <a:pt x="10764" y="1192"/>
                  </a:lnTo>
                  <a:lnTo>
                    <a:pt x="322" y="1192"/>
                  </a:lnTo>
                  <a:lnTo>
                    <a:pt x="322" y="168"/>
                  </a:lnTo>
                  <a:cubicBezTo>
                    <a:pt x="322"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3" name="Google Shape;12573;p62"/>
          <p:cNvGrpSpPr/>
          <p:nvPr/>
        </p:nvGrpSpPr>
        <p:grpSpPr>
          <a:xfrm>
            <a:off x="862283" y="4274771"/>
            <a:ext cx="341204" cy="359301"/>
            <a:chOff x="862283" y="4274771"/>
            <a:chExt cx="341204" cy="359301"/>
          </a:xfrm>
        </p:grpSpPr>
        <p:sp>
          <p:nvSpPr>
            <p:cNvPr id="12574" name="Google Shape;12574;p62"/>
            <p:cNvSpPr/>
            <p:nvPr/>
          </p:nvSpPr>
          <p:spPr>
            <a:xfrm>
              <a:off x="1100089" y="4490790"/>
              <a:ext cx="24267" cy="17366"/>
            </a:xfrm>
            <a:custGeom>
              <a:avLst/>
              <a:gdLst/>
              <a:ahLst/>
              <a:cxnLst/>
              <a:rect l="l" t="t" r="r" b="b"/>
              <a:pathLst>
                <a:path w="763" h="546" extrusionOk="0">
                  <a:moveTo>
                    <a:pt x="561" y="0"/>
                  </a:moveTo>
                  <a:cubicBezTo>
                    <a:pt x="536" y="0"/>
                    <a:pt x="510" y="7"/>
                    <a:pt x="489" y="22"/>
                  </a:cubicBezTo>
                  <a:lnTo>
                    <a:pt x="108" y="224"/>
                  </a:lnTo>
                  <a:cubicBezTo>
                    <a:pt x="24" y="272"/>
                    <a:pt x="0" y="379"/>
                    <a:pt x="48" y="450"/>
                  </a:cubicBezTo>
                  <a:cubicBezTo>
                    <a:pt x="72" y="510"/>
                    <a:pt x="131" y="545"/>
                    <a:pt x="191" y="545"/>
                  </a:cubicBezTo>
                  <a:cubicBezTo>
                    <a:pt x="227" y="545"/>
                    <a:pt x="250" y="545"/>
                    <a:pt x="262" y="522"/>
                  </a:cubicBezTo>
                  <a:lnTo>
                    <a:pt x="655" y="319"/>
                  </a:lnTo>
                  <a:cubicBezTo>
                    <a:pt x="727" y="272"/>
                    <a:pt x="762" y="164"/>
                    <a:pt x="715" y="93"/>
                  </a:cubicBezTo>
                  <a:cubicBezTo>
                    <a:pt x="682" y="35"/>
                    <a:pt x="620" y="0"/>
                    <a:pt x="5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5" name="Google Shape;12575;p62"/>
            <p:cNvSpPr/>
            <p:nvPr/>
          </p:nvSpPr>
          <p:spPr>
            <a:xfrm>
              <a:off x="1100089" y="4476001"/>
              <a:ext cx="24267" cy="17397"/>
            </a:xfrm>
            <a:custGeom>
              <a:avLst/>
              <a:gdLst/>
              <a:ahLst/>
              <a:cxnLst/>
              <a:rect l="l" t="t" r="r" b="b"/>
              <a:pathLst>
                <a:path w="763" h="547" extrusionOk="0">
                  <a:moveTo>
                    <a:pt x="561" y="1"/>
                  </a:moveTo>
                  <a:cubicBezTo>
                    <a:pt x="536" y="1"/>
                    <a:pt x="510" y="8"/>
                    <a:pt x="489" y="22"/>
                  </a:cubicBezTo>
                  <a:lnTo>
                    <a:pt x="108" y="236"/>
                  </a:lnTo>
                  <a:cubicBezTo>
                    <a:pt x="24" y="272"/>
                    <a:pt x="0" y="379"/>
                    <a:pt x="48" y="451"/>
                  </a:cubicBezTo>
                  <a:cubicBezTo>
                    <a:pt x="72" y="510"/>
                    <a:pt x="131" y="546"/>
                    <a:pt x="191" y="546"/>
                  </a:cubicBezTo>
                  <a:cubicBezTo>
                    <a:pt x="227" y="546"/>
                    <a:pt x="250" y="546"/>
                    <a:pt x="262" y="534"/>
                  </a:cubicBezTo>
                  <a:lnTo>
                    <a:pt x="655" y="320"/>
                  </a:lnTo>
                  <a:cubicBezTo>
                    <a:pt x="727" y="272"/>
                    <a:pt x="762" y="177"/>
                    <a:pt x="715" y="94"/>
                  </a:cubicBezTo>
                  <a:cubicBezTo>
                    <a:pt x="682" y="36"/>
                    <a:pt x="620" y="1"/>
                    <a:pt x="5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6" name="Google Shape;12576;p62"/>
            <p:cNvSpPr/>
            <p:nvPr/>
          </p:nvSpPr>
          <p:spPr>
            <a:xfrm>
              <a:off x="862283" y="4274771"/>
              <a:ext cx="341204" cy="359301"/>
            </a:xfrm>
            <a:custGeom>
              <a:avLst/>
              <a:gdLst/>
              <a:ahLst/>
              <a:cxnLst/>
              <a:rect l="l" t="t" r="r" b="b"/>
              <a:pathLst>
                <a:path w="10728" h="11297" extrusionOk="0">
                  <a:moveTo>
                    <a:pt x="5203" y="444"/>
                  </a:moveTo>
                  <a:lnTo>
                    <a:pt x="5203" y="2194"/>
                  </a:lnTo>
                  <a:lnTo>
                    <a:pt x="2084" y="3920"/>
                  </a:lnTo>
                  <a:lnTo>
                    <a:pt x="512" y="3051"/>
                  </a:lnTo>
                  <a:lnTo>
                    <a:pt x="5203" y="444"/>
                  </a:lnTo>
                  <a:close/>
                  <a:moveTo>
                    <a:pt x="5537" y="444"/>
                  </a:moveTo>
                  <a:lnTo>
                    <a:pt x="10228" y="3051"/>
                  </a:lnTo>
                  <a:lnTo>
                    <a:pt x="8656" y="3920"/>
                  </a:lnTo>
                  <a:lnTo>
                    <a:pt x="5537" y="2194"/>
                  </a:lnTo>
                  <a:lnTo>
                    <a:pt x="5537" y="444"/>
                  </a:lnTo>
                  <a:close/>
                  <a:moveTo>
                    <a:pt x="5382" y="2480"/>
                  </a:moveTo>
                  <a:lnTo>
                    <a:pt x="8311" y="4099"/>
                  </a:lnTo>
                  <a:lnTo>
                    <a:pt x="5382" y="5730"/>
                  </a:lnTo>
                  <a:lnTo>
                    <a:pt x="2441" y="4099"/>
                  </a:lnTo>
                  <a:lnTo>
                    <a:pt x="5382" y="2480"/>
                  </a:lnTo>
                  <a:close/>
                  <a:moveTo>
                    <a:pt x="346" y="3325"/>
                  </a:moveTo>
                  <a:lnTo>
                    <a:pt x="1941" y="4206"/>
                  </a:lnTo>
                  <a:lnTo>
                    <a:pt x="1941" y="7278"/>
                  </a:lnTo>
                  <a:lnTo>
                    <a:pt x="346" y="7992"/>
                  </a:lnTo>
                  <a:lnTo>
                    <a:pt x="346" y="3325"/>
                  </a:lnTo>
                  <a:close/>
                  <a:moveTo>
                    <a:pt x="2262" y="4385"/>
                  </a:moveTo>
                  <a:lnTo>
                    <a:pt x="3477" y="5051"/>
                  </a:lnTo>
                  <a:lnTo>
                    <a:pt x="5215" y="6028"/>
                  </a:lnTo>
                  <a:lnTo>
                    <a:pt x="5215" y="8921"/>
                  </a:lnTo>
                  <a:lnTo>
                    <a:pt x="2262" y="7290"/>
                  </a:lnTo>
                  <a:lnTo>
                    <a:pt x="2262" y="4385"/>
                  </a:lnTo>
                  <a:close/>
                  <a:moveTo>
                    <a:pt x="8489" y="4385"/>
                  </a:moveTo>
                  <a:lnTo>
                    <a:pt x="8489" y="7290"/>
                  </a:lnTo>
                  <a:lnTo>
                    <a:pt x="5537" y="8921"/>
                  </a:lnTo>
                  <a:lnTo>
                    <a:pt x="5537" y="6028"/>
                  </a:lnTo>
                  <a:lnTo>
                    <a:pt x="8489" y="4385"/>
                  </a:lnTo>
                  <a:close/>
                  <a:moveTo>
                    <a:pt x="5374" y="0"/>
                  </a:moveTo>
                  <a:cubicBezTo>
                    <a:pt x="5346" y="0"/>
                    <a:pt x="5316" y="9"/>
                    <a:pt x="5287" y="27"/>
                  </a:cubicBezTo>
                  <a:lnTo>
                    <a:pt x="96" y="2896"/>
                  </a:lnTo>
                  <a:cubicBezTo>
                    <a:pt x="36" y="2932"/>
                    <a:pt x="0" y="2992"/>
                    <a:pt x="0" y="3051"/>
                  </a:cubicBezTo>
                  <a:lnTo>
                    <a:pt x="0" y="8242"/>
                  </a:lnTo>
                  <a:cubicBezTo>
                    <a:pt x="0" y="8302"/>
                    <a:pt x="36" y="8361"/>
                    <a:pt x="96" y="8385"/>
                  </a:cubicBezTo>
                  <a:lnTo>
                    <a:pt x="2382" y="9659"/>
                  </a:lnTo>
                  <a:cubicBezTo>
                    <a:pt x="2407" y="9670"/>
                    <a:pt x="2434" y="9676"/>
                    <a:pt x="2461" y="9676"/>
                  </a:cubicBezTo>
                  <a:cubicBezTo>
                    <a:pt x="2519" y="9676"/>
                    <a:pt x="2575" y="9649"/>
                    <a:pt x="2608" y="9600"/>
                  </a:cubicBezTo>
                  <a:cubicBezTo>
                    <a:pt x="2655" y="9516"/>
                    <a:pt x="2620" y="9421"/>
                    <a:pt x="2548" y="9373"/>
                  </a:cubicBezTo>
                  <a:lnTo>
                    <a:pt x="548" y="8266"/>
                  </a:lnTo>
                  <a:lnTo>
                    <a:pt x="2096" y="7587"/>
                  </a:lnTo>
                  <a:lnTo>
                    <a:pt x="5227" y="9314"/>
                  </a:lnTo>
                  <a:lnTo>
                    <a:pt x="5227" y="10862"/>
                  </a:lnTo>
                  <a:lnTo>
                    <a:pt x="3215" y="9742"/>
                  </a:lnTo>
                  <a:cubicBezTo>
                    <a:pt x="3193" y="9727"/>
                    <a:pt x="3167" y="9721"/>
                    <a:pt x="3140" y="9721"/>
                  </a:cubicBezTo>
                  <a:cubicBezTo>
                    <a:pt x="3082" y="9721"/>
                    <a:pt x="3021" y="9753"/>
                    <a:pt x="2989" y="9802"/>
                  </a:cubicBezTo>
                  <a:cubicBezTo>
                    <a:pt x="2953" y="9873"/>
                    <a:pt x="2977" y="9981"/>
                    <a:pt x="3060" y="10028"/>
                  </a:cubicBezTo>
                  <a:lnTo>
                    <a:pt x="5299" y="11278"/>
                  </a:lnTo>
                  <a:cubicBezTo>
                    <a:pt x="5322" y="11290"/>
                    <a:pt x="5349" y="11296"/>
                    <a:pt x="5377" y="11296"/>
                  </a:cubicBezTo>
                  <a:cubicBezTo>
                    <a:pt x="5406" y="11296"/>
                    <a:pt x="5435" y="11290"/>
                    <a:pt x="5465" y="11278"/>
                  </a:cubicBezTo>
                  <a:lnTo>
                    <a:pt x="7835" y="9969"/>
                  </a:lnTo>
                  <a:cubicBezTo>
                    <a:pt x="7906" y="9921"/>
                    <a:pt x="7930" y="9814"/>
                    <a:pt x="7894" y="9742"/>
                  </a:cubicBezTo>
                  <a:cubicBezTo>
                    <a:pt x="7861" y="9693"/>
                    <a:pt x="7801" y="9661"/>
                    <a:pt x="7743" y="9661"/>
                  </a:cubicBezTo>
                  <a:cubicBezTo>
                    <a:pt x="7716" y="9661"/>
                    <a:pt x="7690" y="9668"/>
                    <a:pt x="7668" y="9683"/>
                  </a:cubicBezTo>
                  <a:lnTo>
                    <a:pt x="5561" y="10862"/>
                  </a:lnTo>
                  <a:lnTo>
                    <a:pt x="5561" y="9314"/>
                  </a:lnTo>
                  <a:lnTo>
                    <a:pt x="8680" y="7587"/>
                  </a:lnTo>
                  <a:lnTo>
                    <a:pt x="10228" y="8266"/>
                  </a:lnTo>
                  <a:lnTo>
                    <a:pt x="8335" y="9314"/>
                  </a:lnTo>
                  <a:cubicBezTo>
                    <a:pt x="8263" y="9361"/>
                    <a:pt x="8239" y="9457"/>
                    <a:pt x="8275" y="9540"/>
                  </a:cubicBezTo>
                  <a:cubicBezTo>
                    <a:pt x="8311" y="9600"/>
                    <a:pt x="8370" y="9623"/>
                    <a:pt x="8430" y="9623"/>
                  </a:cubicBezTo>
                  <a:cubicBezTo>
                    <a:pt x="8454" y="9623"/>
                    <a:pt x="8489" y="9623"/>
                    <a:pt x="8501" y="9611"/>
                  </a:cubicBezTo>
                  <a:lnTo>
                    <a:pt x="10680" y="8409"/>
                  </a:lnTo>
                  <a:cubicBezTo>
                    <a:pt x="10680" y="8373"/>
                    <a:pt x="10692" y="8349"/>
                    <a:pt x="10704" y="8326"/>
                  </a:cubicBezTo>
                  <a:cubicBezTo>
                    <a:pt x="10716" y="8302"/>
                    <a:pt x="10728" y="8266"/>
                    <a:pt x="10728" y="8242"/>
                  </a:cubicBezTo>
                  <a:lnTo>
                    <a:pt x="10728" y="6778"/>
                  </a:lnTo>
                  <a:cubicBezTo>
                    <a:pt x="10728" y="6694"/>
                    <a:pt x="10656" y="6623"/>
                    <a:pt x="10573" y="6623"/>
                  </a:cubicBezTo>
                  <a:cubicBezTo>
                    <a:pt x="10478" y="6623"/>
                    <a:pt x="10406" y="6694"/>
                    <a:pt x="10406" y="6778"/>
                  </a:cubicBezTo>
                  <a:lnTo>
                    <a:pt x="10406" y="7992"/>
                  </a:lnTo>
                  <a:lnTo>
                    <a:pt x="8811" y="7278"/>
                  </a:lnTo>
                  <a:lnTo>
                    <a:pt x="8811" y="4206"/>
                  </a:lnTo>
                  <a:lnTo>
                    <a:pt x="10406" y="3325"/>
                  </a:lnTo>
                  <a:lnTo>
                    <a:pt x="10406" y="6063"/>
                  </a:lnTo>
                  <a:cubicBezTo>
                    <a:pt x="10406" y="6159"/>
                    <a:pt x="10478" y="6230"/>
                    <a:pt x="10573" y="6230"/>
                  </a:cubicBezTo>
                  <a:cubicBezTo>
                    <a:pt x="10656" y="6230"/>
                    <a:pt x="10728" y="6159"/>
                    <a:pt x="10728" y="6063"/>
                  </a:cubicBezTo>
                  <a:lnTo>
                    <a:pt x="10728" y="3051"/>
                  </a:lnTo>
                  <a:cubicBezTo>
                    <a:pt x="10728" y="2992"/>
                    <a:pt x="10704" y="2932"/>
                    <a:pt x="10644" y="2896"/>
                  </a:cubicBezTo>
                  <a:lnTo>
                    <a:pt x="5453" y="27"/>
                  </a:lnTo>
                  <a:cubicBezTo>
                    <a:pt x="5430" y="9"/>
                    <a:pt x="5403" y="0"/>
                    <a:pt x="53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77" name="Google Shape;12577;p62"/>
          <p:cNvGrpSpPr/>
          <p:nvPr/>
        </p:nvGrpSpPr>
        <p:grpSpPr>
          <a:xfrm>
            <a:off x="1396957" y="4287365"/>
            <a:ext cx="301861" cy="332871"/>
            <a:chOff x="1396957" y="4287365"/>
            <a:chExt cx="301861" cy="332871"/>
          </a:xfrm>
        </p:grpSpPr>
        <p:sp>
          <p:nvSpPr>
            <p:cNvPr id="12578" name="Google Shape;12578;p62"/>
            <p:cNvSpPr/>
            <p:nvPr/>
          </p:nvSpPr>
          <p:spPr>
            <a:xfrm>
              <a:off x="1396957" y="4287365"/>
              <a:ext cx="301861" cy="332871"/>
            </a:xfrm>
            <a:custGeom>
              <a:avLst/>
              <a:gdLst/>
              <a:ahLst/>
              <a:cxnLst/>
              <a:rect l="l" t="t" r="r" b="b"/>
              <a:pathLst>
                <a:path w="9491" h="10466" extrusionOk="0">
                  <a:moveTo>
                    <a:pt x="751" y="2417"/>
                  </a:moveTo>
                  <a:lnTo>
                    <a:pt x="930" y="2619"/>
                  </a:lnTo>
                  <a:lnTo>
                    <a:pt x="513" y="2989"/>
                  </a:lnTo>
                  <a:lnTo>
                    <a:pt x="334" y="2786"/>
                  </a:lnTo>
                  <a:lnTo>
                    <a:pt x="751" y="2417"/>
                  </a:lnTo>
                  <a:close/>
                  <a:moveTo>
                    <a:pt x="1132" y="2834"/>
                  </a:moveTo>
                  <a:lnTo>
                    <a:pt x="3394" y="5346"/>
                  </a:lnTo>
                  <a:lnTo>
                    <a:pt x="3299" y="5429"/>
                  </a:lnTo>
                  <a:lnTo>
                    <a:pt x="1037" y="2917"/>
                  </a:lnTo>
                  <a:lnTo>
                    <a:pt x="1132" y="2834"/>
                  </a:lnTo>
                  <a:close/>
                  <a:moveTo>
                    <a:pt x="811" y="3131"/>
                  </a:moveTo>
                  <a:lnTo>
                    <a:pt x="3073" y="5644"/>
                  </a:lnTo>
                  <a:lnTo>
                    <a:pt x="2989" y="5727"/>
                  </a:lnTo>
                  <a:lnTo>
                    <a:pt x="727" y="3215"/>
                  </a:lnTo>
                  <a:lnTo>
                    <a:pt x="811" y="3131"/>
                  </a:lnTo>
                  <a:close/>
                  <a:moveTo>
                    <a:pt x="3478" y="5691"/>
                  </a:moveTo>
                  <a:lnTo>
                    <a:pt x="3597" y="5989"/>
                  </a:lnTo>
                  <a:lnTo>
                    <a:pt x="3299" y="5846"/>
                  </a:lnTo>
                  <a:lnTo>
                    <a:pt x="3478" y="5691"/>
                  </a:lnTo>
                  <a:close/>
                  <a:moveTo>
                    <a:pt x="3216" y="0"/>
                  </a:moveTo>
                  <a:cubicBezTo>
                    <a:pt x="3013" y="0"/>
                    <a:pt x="2858" y="167"/>
                    <a:pt x="2858" y="357"/>
                  </a:cubicBezTo>
                  <a:lnTo>
                    <a:pt x="2858" y="4286"/>
                  </a:lnTo>
                  <a:lnTo>
                    <a:pt x="977" y="2203"/>
                  </a:lnTo>
                  <a:cubicBezTo>
                    <a:pt x="918" y="2143"/>
                    <a:pt x="846" y="2119"/>
                    <a:pt x="775" y="2096"/>
                  </a:cubicBezTo>
                  <a:cubicBezTo>
                    <a:pt x="691" y="2096"/>
                    <a:pt x="608" y="2131"/>
                    <a:pt x="549" y="2167"/>
                  </a:cubicBezTo>
                  <a:lnTo>
                    <a:pt x="132" y="2548"/>
                  </a:lnTo>
                  <a:cubicBezTo>
                    <a:pt x="13" y="2667"/>
                    <a:pt x="1" y="2858"/>
                    <a:pt x="96" y="2977"/>
                  </a:cubicBezTo>
                  <a:lnTo>
                    <a:pt x="2751" y="5917"/>
                  </a:lnTo>
                  <a:cubicBezTo>
                    <a:pt x="2775" y="5953"/>
                    <a:pt x="2811" y="5977"/>
                    <a:pt x="2858" y="6001"/>
                  </a:cubicBezTo>
                  <a:lnTo>
                    <a:pt x="2858" y="8358"/>
                  </a:lnTo>
                  <a:lnTo>
                    <a:pt x="2263" y="8358"/>
                  </a:lnTo>
                  <a:cubicBezTo>
                    <a:pt x="2168" y="8358"/>
                    <a:pt x="2108" y="8442"/>
                    <a:pt x="2108" y="8513"/>
                  </a:cubicBezTo>
                  <a:cubicBezTo>
                    <a:pt x="2108" y="8596"/>
                    <a:pt x="2180" y="8656"/>
                    <a:pt x="2263" y="8656"/>
                  </a:cubicBezTo>
                  <a:lnTo>
                    <a:pt x="6502" y="8656"/>
                  </a:lnTo>
                  <a:cubicBezTo>
                    <a:pt x="6526" y="8656"/>
                    <a:pt x="6549" y="8692"/>
                    <a:pt x="6549" y="8704"/>
                  </a:cubicBezTo>
                  <a:lnTo>
                    <a:pt x="6549" y="9013"/>
                  </a:lnTo>
                  <a:cubicBezTo>
                    <a:pt x="6549" y="9477"/>
                    <a:pt x="6752" y="9882"/>
                    <a:pt x="7097" y="10144"/>
                  </a:cubicBezTo>
                  <a:lnTo>
                    <a:pt x="1644" y="10144"/>
                  </a:lnTo>
                  <a:cubicBezTo>
                    <a:pt x="1025" y="10144"/>
                    <a:pt x="513" y="9644"/>
                    <a:pt x="513" y="9013"/>
                  </a:cubicBezTo>
                  <a:lnTo>
                    <a:pt x="513" y="8704"/>
                  </a:lnTo>
                  <a:cubicBezTo>
                    <a:pt x="513" y="8680"/>
                    <a:pt x="549" y="8656"/>
                    <a:pt x="561" y="8656"/>
                  </a:cubicBezTo>
                  <a:lnTo>
                    <a:pt x="1573" y="8656"/>
                  </a:lnTo>
                  <a:cubicBezTo>
                    <a:pt x="1668" y="8656"/>
                    <a:pt x="1727" y="8584"/>
                    <a:pt x="1727" y="8513"/>
                  </a:cubicBezTo>
                  <a:cubicBezTo>
                    <a:pt x="1727" y="8418"/>
                    <a:pt x="1644" y="8358"/>
                    <a:pt x="1573" y="8358"/>
                  </a:cubicBezTo>
                  <a:lnTo>
                    <a:pt x="561" y="8358"/>
                  </a:lnTo>
                  <a:cubicBezTo>
                    <a:pt x="370" y="8358"/>
                    <a:pt x="203" y="8525"/>
                    <a:pt x="203" y="8715"/>
                  </a:cubicBezTo>
                  <a:lnTo>
                    <a:pt x="203" y="9037"/>
                  </a:lnTo>
                  <a:cubicBezTo>
                    <a:pt x="203" y="9823"/>
                    <a:pt x="846" y="10466"/>
                    <a:pt x="1632" y="10466"/>
                  </a:cubicBezTo>
                  <a:lnTo>
                    <a:pt x="8050" y="10466"/>
                  </a:lnTo>
                  <a:cubicBezTo>
                    <a:pt x="8835" y="10466"/>
                    <a:pt x="9478" y="9823"/>
                    <a:pt x="9478" y="9037"/>
                  </a:cubicBezTo>
                  <a:lnTo>
                    <a:pt x="9478" y="4846"/>
                  </a:lnTo>
                  <a:cubicBezTo>
                    <a:pt x="9478" y="4763"/>
                    <a:pt x="9407" y="4703"/>
                    <a:pt x="9324" y="4703"/>
                  </a:cubicBezTo>
                  <a:cubicBezTo>
                    <a:pt x="9240" y="4703"/>
                    <a:pt x="9181" y="4774"/>
                    <a:pt x="9181" y="4846"/>
                  </a:cubicBezTo>
                  <a:lnTo>
                    <a:pt x="9181" y="9037"/>
                  </a:lnTo>
                  <a:cubicBezTo>
                    <a:pt x="9181" y="9656"/>
                    <a:pt x="8669" y="10168"/>
                    <a:pt x="8050" y="10168"/>
                  </a:cubicBezTo>
                  <a:lnTo>
                    <a:pt x="7978" y="10168"/>
                  </a:lnTo>
                  <a:cubicBezTo>
                    <a:pt x="7347" y="10168"/>
                    <a:pt x="6847" y="9656"/>
                    <a:pt x="6847" y="9037"/>
                  </a:cubicBezTo>
                  <a:lnTo>
                    <a:pt x="6847" y="8715"/>
                  </a:lnTo>
                  <a:cubicBezTo>
                    <a:pt x="6847" y="8525"/>
                    <a:pt x="6680" y="8358"/>
                    <a:pt x="6490" y="8358"/>
                  </a:cubicBezTo>
                  <a:lnTo>
                    <a:pt x="3156" y="8358"/>
                  </a:lnTo>
                  <a:lnTo>
                    <a:pt x="3156" y="6096"/>
                  </a:lnTo>
                  <a:lnTo>
                    <a:pt x="3585" y="6322"/>
                  </a:lnTo>
                  <a:cubicBezTo>
                    <a:pt x="3609" y="6334"/>
                    <a:pt x="3656" y="6358"/>
                    <a:pt x="3692" y="6358"/>
                  </a:cubicBezTo>
                  <a:cubicBezTo>
                    <a:pt x="3751" y="6358"/>
                    <a:pt x="3811" y="6334"/>
                    <a:pt x="3847" y="6298"/>
                  </a:cubicBezTo>
                  <a:cubicBezTo>
                    <a:pt x="3930" y="6215"/>
                    <a:pt x="3954" y="6120"/>
                    <a:pt x="3906" y="6025"/>
                  </a:cubicBezTo>
                  <a:lnTo>
                    <a:pt x="3668" y="5394"/>
                  </a:lnTo>
                  <a:lnTo>
                    <a:pt x="3668" y="5358"/>
                  </a:lnTo>
                  <a:cubicBezTo>
                    <a:pt x="3668" y="5286"/>
                    <a:pt x="3644" y="5191"/>
                    <a:pt x="3597" y="5132"/>
                  </a:cubicBezTo>
                  <a:lnTo>
                    <a:pt x="3132" y="4608"/>
                  </a:lnTo>
                  <a:lnTo>
                    <a:pt x="3132" y="345"/>
                  </a:lnTo>
                  <a:cubicBezTo>
                    <a:pt x="3132" y="310"/>
                    <a:pt x="3168" y="298"/>
                    <a:pt x="3180" y="298"/>
                  </a:cubicBezTo>
                  <a:lnTo>
                    <a:pt x="9109" y="298"/>
                  </a:lnTo>
                  <a:cubicBezTo>
                    <a:pt x="9133" y="298"/>
                    <a:pt x="9145" y="333"/>
                    <a:pt x="9145" y="345"/>
                  </a:cubicBezTo>
                  <a:lnTo>
                    <a:pt x="9145" y="2346"/>
                  </a:lnTo>
                  <a:cubicBezTo>
                    <a:pt x="9145" y="2441"/>
                    <a:pt x="9228" y="2500"/>
                    <a:pt x="9300" y="2500"/>
                  </a:cubicBezTo>
                  <a:cubicBezTo>
                    <a:pt x="9383" y="2500"/>
                    <a:pt x="9443" y="2429"/>
                    <a:pt x="9443" y="2346"/>
                  </a:cubicBezTo>
                  <a:lnTo>
                    <a:pt x="9443" y="345"/>
                  </a:lnTo>
                  <a:cubicBezTo>
                    <a:pt x="9490" y="167"/>
                    <a:pt x="9324" y="0"/>
                    <a:pt x="9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9" name="Google Shape;12579;p62"/>
            <p:cNvSpPr/>
            <p:nvPr/>
          </p:nvSpPr>
          <p:spPr>
            <a:xfrm>
              <a:off x="1689309" y="4378614"/>
              <a:ext cx="9510" cy="46976"/>
            </a:xfrm>
            <a:custGeom>
              <a:avLst/>
              <a:gdLst/>
              <a:ahLst/>
              <a:cxnLst/>
              <a:rect l="l" t="t" r="r" b="b"/>
              <a:pathLst>
                <a:path w="299" h="1477" extrusionOk="0">
                  <a:moveTo>
                    <a:pt x="155" y="0"/>
                  </a:moveTo>
                  <a:cubicBezTo>
                    <a:pt x="60" y="0"/>
                    <a:pt x="1" y="84"/>
                    <a:pt x="1" y="155"/>
                  </a:cubicBezTo>
                  <a:lnTo>
                    <a:pt x="1" y="1334"/>
                  </a:lnTo>
                  <a:cubicBezTo>
                    <a:pt x="1" y="1417"/>
                    <a:pt x="72" y="1477"/>
                    <a:pt x="155" y="1477"/>
                  </a:cubicBezTo>
                  <a:cubicBezTo>
                    <a:pt x="239" y="1477"/>
                    <a:pt x="298" y="1405"/>
                    <a:pt x="298" y="1334"/>
                  </a:cubicBezTo>
                  <a:lnTo>
                    <a:pt x="298" y="155"/>
                  </a:lnTo>
                  <a:cubicBezTo>
                    <a:pt x="298" y="84"/>
                    <a:pt x="239"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0" name="Google Shape;12580;p62"/>
            <p:cNvSpPr/>
            <p:nvPr/>
          </p:nvSpPr>
          <p:spPr>
            <a:xfrm>
              <a:off x="1520424" y="4385420"/>
              <a:ext cx="33363" cy="32982"/>
            </a:xfrm>
            <a:custGeom>
              <a:avLst/>
              <a:gdLst/>
              <a:ahLst/>
              <a:cxnLst/>
              <a:rect l="l" t="t" r="r" b="b"/>
              <a:pathLst>
                <a:path w="1049" h="1037" extrusionOk="0">
                  <a:moveTo>
                    <a:pt x="524" y="298"/>
                  </a:moveTo>
                  <a:cubicBezTo>
                    <a:pt x="643" y="298"/>
                    <a:pt x="739" y="406"/>
                    <a:pt x="739" y="525"/>
                  </a:cubicBezTo>
                  <a:cubicBezTo>
                    <a:pt x="739" y="644"/>
                    <a:pt x="643" y="739"/>
                    <a:pt x="524" y="739"/>
                  </a:cubicBezTo>
                  <a:cubicBezTo>
                    <a:pt x="405" y="739"/>
                    <a:pt x="298" y="644"/>
                    <a:pt x="298" y="525"/>
                  </a:cubicBezTo>
                  <a:cubicBezTo>
                    <a:pt x="298" y="406"/>
                    <a:pt x="405" y="298"/>
                    <a:pt x="524" y="298"/>
                  </a:cubicBezTo>
                  <a:close/>
                  <a:moveTo>
                    <a:pt x="524" y="1"/>
                  </a:moveTo>
                  <a:cubicBezTo>
                    <a:pt x="238" y="1"/>
                    <a:pt x="0" y="239"/>
                    <a:pt x="0" y="525"/>
                  </a:cubicBezTo>
                  <a:cubicBezTo>
                    <a:pt x="0" y="798"/>
                    <a:pt x="238" y="1037"/>
                    <a:pt x="524" y="1037"/>
                  </a:cubicBezTo>
                  <a:cubicBezTo>
                    <a:pt x="798" y="1037"/>
                    <a:pt x="1036" y="798"/>
                    <a:pt x="1036" y="525"/>
                  </a:cubicBezTo>
                  <a:cubicBezTo>
                    <a:pt x="1048" y="239"/>
                    <a:pt x="822" y="1"/>
                    <a:pt x="5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1" name="Google Shape;12581;p62"/>
            <p:cNvSpPr/>
            <p:nvPr/>
          </p:nvSpPr>
          <p:spPr>
            <a:xfrm>
              <a:off x="1563202" y="4398683"/>
              <a:ext cx="34508" cy="9510"/>
            </a:xfrm>
            <a:custGeom>
              <a:avLst/>
              <a:gdLst/>
              <a:ahLst/>
              <a:cxnLst/>
              <a:rect l="l" t="t" r="r" b="b"/>
              <a:pathLst>
                <a:path w="1085" h="299" extrusionOk="0">
                  <a:moveTo>
                    <a:pt x="167" y="0"/>
                  </a:moveTo>
                  <a:cubicBezTo>
                    <a:pt x="84" y="0"/>
                    <a:pt x="25" y="72"/>
                    <a:pt x="25" y="143"/>
                  </a:cubicBezTo>
                  <a:cubicBezTo>
                    <a:pt x="1" y="227"/>
                    <a:pt x="84" y="298"/>
                    <a:pt x="167" y="298"/>
                  </a:cubicBezTo>
                  <a:lnTo>
                    <a:pt x="929" y="298"/>
                  </a:lnTo>
                  <a:cubicBezTo>
                    <a:pt x="1025" y="298"/>
                    <a:pt x="1084" y="227"/>
                    <a:pt x="1084" y="143"/>
                  </a:cubicBezTo>
                  <a:cubicBezTo>
                    <a:pt x="1084" y="60"/>
                    <a:pt x="1001" y="0"/>
                    <a:pt x="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2" name="Google Shape;12582;p62"/>
            <p:cNvSpPr/>
            <p:nvPr/>
          </p:nvSpPr>
          <p:spPr>
            <a:xfrm>
              <a:off x="1563965" y="4410037"/>
              <a:ext cx="92807" cy="9510"/>
            </a:xfrm>
            <a:custGeom>
              <a:avLst/>
              <a:gdLst/>
              <a:ahLst/>
              <a:cxnLst/>
              <a:rect l="l" t="t" r="r" b="b"/>
              <a:pathLst>
                <a:path w="2918" h="299" extrusionOk="0">
                  <a:moveTo>
                    <a:pt x="143" y="1"/>
                  </a:moveTo>
                  <a:cubicBezTo>
                    <a:pt x="60" y="1"/>
                    <a:pt x="1" y="72"/>
                    <a:pt x="1" y="144"/>
                  </a:cubicBezTo>
                  <a:cubicBezTo>
                    <a:pt x="1" y="239"/>
                    <a:pt x="72" y="298"/>
                    <a:pt x="143" y="298"/>
                  </a:cubicBezTo>
                  <a:lnTo>
                    <a:pt x="2763" y="298"/>
                  </a:lnTo>
                  <a:cubicBezTo>
                    <a:pt x="2858" y="298"/>
                    <a:pt x="2918" y="227"/>
                    <a:pt x="2918" y="144"/>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3" name="Google Shape;12583;p62"/>
            <p:cNvSpPr/>
            <p:nvPr/>
          </p:nvSpPr>
          <p:spPr>
            <a:xfrm>
              <a:off x="1563202" y="4385039"/>
              <a:ext cx="10273" cy="9510"/>
            </a:xfrm>
            <a:custGeom>
              <a:avLst/>
              <a:gdLst/>
              <a:ahLst/>
              <a:cxnLst/>
              <a:rect l="l" t="t" r="r" b="b"/>
              <a:pathLst>
                <a:path w="323" h="299" extrusionOk="0">
                  <a:moveTo>
                    <a:pt x="167" y="1"/>
                  </a:moveTo>
                  <a:cubicBezTo>
                    <a:pt x="84" y="1"/>
                    <a:pt x="25" y="72"/>
                    <a:pt x="25" y="144"/>
                  </a:cubicBezTo>
                  <a:cubicBezTo>
                    <a:pt x="1" y="215"/>
                    <a:pt x="84" y="299"/>
                    <a:pt x="167" y="299"/>
                  </a:cubicBezTo>
                  <a:cubicBezTo>
                    <a:pt x="263" y="299"/>
                    <a:pt x="322" y="215"/>
                    <a:pt x="322" y="144"/>
                  </a:cubicBezTo>
                  <a:cubicBezTo>
                    <a:pt x="322"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4" name="Google Shape;12584;p62"/>
            <p:cNvSpPr/>
            <p:nvPr/>
          </p:nvSpPr>
          <p:spPr>
            <a:xfrm>
              <a:off x="1520424" y="4436944"/>
              <a:ext cx="33363" cy="33332"/>
            </a:xfrm>
            <a:custGeom>
              <a:avLst/>
              <a:gdLst/>
              <a:ahLst/>
              <a:cxnLst/>
              <a:rect l="l" t="t" r="r" b="b"/>
              <a:pathLst>
                <a:path w="1049" h="1048" extrusionOk="0">
                  <a:moveTo>
                    <a:pt x="524" y="298"/>
                  </a:moveTo>
                  <a:cubicBezTo>
                    <a:pt x="643" y="298"/>
                    <a:pt x="739" y="405"/>
                    <a:pt x="739" y="524"/>
                  </a:cubicBezTo>
                  <a:cubicBezTo>
                    <a:pt x="739" y="655"/>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5" name="Google Shape;12585;p62"/>
            <p:cNvSpPr/>
            <p:nvPr/>
          </p:nvSpPr>
          <p:spPr>
            <a:xfrm>
              <a:off x="1563202" y="4450175"/>
              <a:ext cx="34508" cy="9510"/>
            </a:xfrm>
            <a:custGeom>
              <a:avLst/>
              <a:gdLst/>
              <a:ahLst/>
              <a:cxnLst/>
              <a:rect l="l" t="t" r="r" b="b"/>
              <a:pathLst>
                <a:path w="1085" h="299" extrusionOk="0">
                  <a:moveTo>
                    <a:pt x="167" y="1"/>
                  </a:moveTo>
                  <a:cubicBezTo>
                    <a:pt x="84" y="1"/>
                    <a:pt x="25" y="72"/>
                    <a:pt x="25" y="156"/>
                  </a:cubicBezTo>
                  <a:cubicBezTo>
                    <a:pt x="1" y="239"/>
                    <a:pt x="84" y="298"/>
                    <a:pt x="167" y="298"/>
                  </a:cubicBezTo>
                  <a:lnTo>
                    <a:pt x="929" y="298"/>
                  </a:lnTo>
                  <a:cubicBezTo>
                    <a:pt x="1025" y="298"/>
                    <a:pt x="1084" y="227"/>
                    <a:pt x="1084" y="156"/>
                  </a:cubicBezTo>
                  <a:cubicBezTo>
                    <a:pt x="1084" y="60"/>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6" name="Google Shape;12586;p62"/>
            <p:cNvSpPr/>
            <p:nvPr/>
          </p:nvSpPr>
          <p:spPr>
            <a:xfrm>
              <a:off x="1563965" y="4461530"/>
              <a:ext cx="92807" cy="9510"/>
            </a:xfrm>
            <a:custGeom>
              <a:avLst/>
              <a:gdLst/>
              <a:ahLst/>
              <a:cxnLst/>
              <a:rect l="l" t="t" r="r" b="b"/>
              <a:pathLst>
                <a:path w="2918" h="299" extrusionOk="0">
                  <a:moveTo>
                    <a:pt x="143" y="1"/>
                  </a:moveTo>
                  <a:cubicBezTo>
                    <a:pt x="60" y="1"/>
                    <a:pt x="1" y="72"/>
                    <a:pt x="1" y="156"/>
                  </a:cubicBezTo>
                  <a:cubicBezTo>
                    <a:pt x="1" y="239"/>
                    <a:pt x="72" y="299"/>
                    <a:pt x="143" y="299"/>
                  </a:cubicBezTo>
                  <a:lnTo>
                    <a:pt x="2763" y="299"/>
                  </a:lnTo>
                  <a:cubicBezTo>
                    <a:pt x="2858" y="299"/>
                    <a:pt x="2918" y="227"/>
                    <a:pt x="2918" y="156"/>
                  </a:cubicBezTo>
                  <a:cubicBezTo>
                    <a:pt x="2918" y="72"/>
                    <a:pt x="2858" y="1"/>
                    <a:pt x="2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7" name="Google Shape;12587;p62"/>
            <p:cNvSpPr/>
            <p:nvPr/>
          </p:nvSpPr>
          <p:spPr>
            <a:xfrm>
              <a:off x="1563202" y="4436563"/>
              <a:ext cx="10273" cy="9478"/>
            </a:xfrm>
            <a:custGeom>
              <a:avLst/>
              <a:gdLst/>
              <a:ahLst/>
              <a:cxnLst/>
              <a:rect l="l" t="t" r="r" b="b"/>
              <a:pathLst>
                <a:path w="323" h="298" extrusionOk="0">
                  <a:moveTo>
                    <a:pt x="167" y="0"/>
                  </a:moveTo>
                  <a:cubicBezTo>
                    <a:pt x="84" y="0"/>
                    <a:pt x="25" y="72"/>
                    <a:pt x="25" y="143"/>
                  </a:cubicBezTo>
                  <a:cubicBezTo>
                    <a:pt x="1" y="226"/>
                    <a:pt x="84" y="298"/>
                    <a:pt x="167" y="298"/>
                  </a:cubicBezTo>
                  <a:cubicBezTo>
                    <a:pt x="263" y="298"/>
                    <a:pt x="322" y="226"/>
                    <a:pt x="322" y="143"/>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8" name="Google Shape;12588;p62"/>
            <p:cNvSpPr/>
            <p:nvPr/>
          </p:nvSpPr>
          <p:spPr>
            <a:xfrm>
              <a:off x="1520424" y="4488437"/>
              <a:ext cx="33363" cy="33332"/>
            </a:xfrm>
            <a:custGeom>
              <a:avLst/>
              <a:gdLst/>
              <a:ahLst/>
              <a:cxnLst/>
              <a:rect l="l" t="t" r="r" b="b"/>
              <a:pathLst>
                <a:path w="1049" h="1048" extrusionOk="0">
                  <a:moveTo>
                    <a:pt x="524" y="298"/>
                  </a:moveTo>
                  <a:cubicBezTo>
                    <a:pt x="643" y="298"/>
                    <a:pt x="739" y="405"/>
                    <a:pt x="739" y="524"/>
                  </a:cubicBezTo>
                  <a:cubicBezTo>
                    <a:pt x="739" y="643"/>
                    <a:pt x="643" y="750"/>
                    <a:pt x="524" y="750"/>
                  </a:cubicBezTo>
                  <a:cubicBezTo>
                    <a:pt x="405" y="750"/>
                    <a:pt x="298" y="643"/>
                    <a:pt x="298" y="524"/>
                  </a:cubicBezTo>
                  <a:cubicBezTo>
                    <a:pt x="298" y="405"/>
                    <a:pt x="405" y="298"/>
                    <a:pt x="524" y="298"/>
                  </a:cubicBezTo>
                  <a:close/>
                  <a:moveTo>
                    <a:pt x="524" y="0"/>
                  </a:moveTo>
                  <a:cubicBezTo>
                    <a:pt x="238" y="0"/>
                    <a:pt x="0" y="238"/>
                    <a:pt x="0" y="524"/>
                  </a:cubicBezTo>
                  <a:cubicBezTo>
                    <a:pt x="0" y="810"/>
                    <a:pt x="238" y="1048"/>
                    <a:pt x="524" y="1048"/>
                  </a:cubicBezTo>
                  <a:cubicBezTo>
                    <a:pt x="798" y="1048"/>
                    <a:pt x="1036" y="810"/>
                    <a:pt x="1036" y="524"/>
                  </a:cubicBezTo>
                  <a:cubicBezTo>
                    <a:pt x="1048"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89" name="Google Shape;12589;p62"/>
            <p:cNvSpPr/>
            <p:nvPr/>
          </p:nvSpPr>
          <p:spPr>
            <a:xfrm>
              <a:off x="1563202" y="4501667"/>
              <a:ext cx="34508" cy="9510"/>
            </a:xfrm>
            <a:custGeom>
              <a:avLst/>
              <a:gdLst/>
              <a:ahLst/>
              <a:cxnLst/>
              <a:rect l="l" t="t" r="r" b="b"/>
              <a:pathLst>
                <a:path w="1085" h="299" extrusionOk="0">
                  <a:moveTo>
                    <a:pt x="167" y="1"/>
                  </a:moveTo>
                  <a:cubicBezTo>
                    <a:pt x="84" y="1"/>
                    <a:pt x="25" y="84"/>
                    <a:pt x="25" y="156"/>
                  </a:cubicBezTo>
                  <a:cubicBezTo>
                    <a:pt x="1" y="239"/>
                    <a:pt x="84" y="299"/>
                    <a:pt x="167" y="299"/>
                  </a:cubicBezTo>
                  <a:lnTo>
                    <a:pt x="929" y="299"/>
                  </a:lnTo>
                  <a:cubicBezTo>
                    <a:pt x="1025" y="299"/>
                    <a:pt x="1084" y="227"/>
                    <a:pt x="1084" y="156"/>
                  </a:cubicBezTo>
                  <a:cubicBezTo>
                    <a:pt x="1084" y="61"/>
                    <a:pt x="1001" y="1"/>
                    <a:pt x="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0" name="Google Shape;12590;p62"/>
            <p:cNvSpPr/>
            <p:nvPr/>
          </p:nvSpPr>
          <p:spPr>
            <a:xfrm>
              <a:off x="1563202" y="4513785"/>
              <a:ext cx="93570" cy="9510"/>
            </a:xfrm>
            <a:custGeom>
              <a:avLst/>
              <a:gdLst/>
              <a:ahLst/>
              <a:cxnLst/>
              <a:rect l="l" t="t" r="r" b="b"/>
              <a:pathLst>
                <a:path w="2942" h="299" extrusionOk="0">
                  <a:moveTo>
                    <a:pt x="167" y="1"/>
                  </a:moveTo>
                  <a:cubicBezTo>
                    <a:pt x="84" y="1"/>
                    <a:pt x="25" y="72"/>
                    <a:pt x="25" y="144"/>
                  </a:cubicBezTo>
                  <a:cubicBezTo>
                    <a:pt x="1" y="215"/>
                    <a:pt x="84" y="299"/>
                    <a:pt x="167" y="299"/>
                  </a:cubicBezTo>
                  <a:lnTo>
                    <a:pt x="2787" y="299"/>
                  </a:lnTo>
                  <a:cubicBezTo>
                    <a:pt x="2882" y="299"/>
                    <a:pt x="2942" y="215"/>
                    <a:pt x="2942" y="144"/>
                  </a:cubicBezTo>
                  <a:cubicBezTo>
                    <a:pt x="2942" y="61"/>
                    <a:pt x="2870" y="1"/>
                    <a:pt x="2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1" name="Google Shape;12591;p62"/>
            <p:cNvSpPr/>
            <p:nvPr/>
          </p:nvSpPr>
          <p:spPr>
            <a:xfrm>
              <a:off x="1563202" y="4488055"/>
              <a:ext cx="10273" cy="9478"/>
            </a:xfrm>
            <a:custGeom>
              <a:avLst/>
              <a:gdLst/>
              <a:ahLst/>
              <a:cxnLst/>
              <a:rect l="l" t="t" r="r" b="b"/>
              <a:pathLst>
                <a:path w="323" h="298" extrusionOk="0">
                  <a:moveTo>
                    <a:pt x="167" y="0"/>
                  </a:moveTo>
                  <a:cubicBezTo>
                    <a:pt x="84" y="0"/>
                    <a:pt x="25" y="72"/>
                    <a:pt x="25" y="155"/>
                  </a:cubicBezTo>
                  <a:cubicBezTo>
                    <a:pt x="1" y="227"/>
                    <a:pt x="84" y="298"/>
                    <a:pt x="167" y="298"/>
                  </a:cubicBezTo>
                  <a:cubicBezTo>
                    <a:pt x="263" y="298"/>
                    <a:pt x="322" y="227"/>
                    <a:pt x="322" y="155"/>
                  </a:cubicBezTo>
                  <a:cubicBezTo>
                    <a:pt x="322"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2" name="Google Shape;12592;p62"/>
            <p:cNvSpPr/>
            <p:nvPr/>
          </p:nvSpPr>
          <p:spPr>
            <a:xfrm>
              <a:off x="1522682" y="4318025"/>
              <a:ext cx="141659" cy="37912"/>
            </a:xfrm>
            <a:custGeom>
              <a:avLst/>
              <a:gdLst/>
              <a:ahLst/>
              <a:cxnLst/>
              <a:rect l="l" t="t" r="r" b="b"/>
              <a:pathLst>
                <a:path w="4454" h="1192" extrusionOk="0">
                  <a:moveTo>
                    <a:pt x="4144" y="322"/>
                  </a:moveTo>
                  <a:lnTo>
                    <a:pt x="4144" y="893"/>
                  </a:lnTo>
                  <a:lnTo>
                    <a:pt x="298" y="893"/>
                  </a:lnTo>
                  <a:lnTo>
                    <a:pt x="298" y="322"/>
                  </a:lnTo>
                  <a:close/>
                  <a:moveTo>
                    <a:pt x="156" y="0"/>
                  </a:moveTo>
                  <a:cubicBezTo>
                    <a:pt x="60" y="0"/>
                    <a:pt x="1" y="84"/>
                    <a:pt x="1" y="155"/>
                  </a:cubicBezTo>
                  <a:lnTo>
                    <a:pt x="1" y="1048"/>
                  </a:lnTo>
                  <a:cubicBezTo>
                    <a:pt x="1" y="1132"/>
                    <a:pt x="72" y="1191"/>
                    <a:pt x="156" y="1191"/>
                  </a:cubicBezTo>
                  <a:lnTo>
                    <a:pt x="4299" y="1191"/>
                  </a:lnTo>
                  <a:cubicBezTo>
                    <a:pt x="4382" y="1191"/>
                    <a:pt x="4454" y="1132"/>
                    <a:pt x="4454" y="1048"/>
                  </a:cubicBezTo>
                  <a:lnTo>
                    <a:pt x="4454" y="155"/>
                  </a:lnTo>
                  <a:cubicBezTo>
                    <a:pt x="4454" y="60"/>
                    <a:pt x="4382" y="0"/>
                    <a:pt x="4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93" name="Google Shape;12593;p62"/>
          <p:cNvGrpSpPr/>
          <p:nvPr/>
        </p:nvGrpSpPr>
        <p:grpSpPr>
          <a:xfrm>
            <a:off x="1865381" y="4277506"/>
            <a:ext cx="396131" cy="355612"/>
            <a:chOff x="1865381" y="4277506"/>
            <a:chExt cx="396131" cy="355612"/>
          </a:xfrm>
        </p:grpSpPr>
        <p:sp>
          <p:nvSpPr>
            <p:cNvPr id="12594" name="Google Shape;12594;p62"/>
            <p:cNvSpPr/>
            <p:nvPr/>
          </p:nvSpPr>
          <p:spPr>
            <a:xfrm>
              <a:off x="1865381" y="4277506"/>
              <a:ext cx="396131" cy="355612"/>
            </a:xfrm>
            <a:custGeom>
              <a:avLst/>
              <a:gdLst/>
              <a:ahLst/>
              <a:cxnLst/>
              <a:rect l="l" t="t" r="r" b="b"/>
              <a:pathLst>
                <a:path w="12455" h="11181" extrusionOk="0">
                  <a:moveTo>
                    <a:pt x="6240" y="322"/>
                  </a:moveTo>
                  <a:cubicBezTo>
                    <a:pt x="6883" y="322"/>
                    <a:pt x="7395" y="846"/>
                    <a:pt x="7395" y="1489"/>
                  </a:cubicBezTo>
                  <a:cubicBezTo>
                    <a:pt x="7395" y="2132"/>
                    <a:pt x="6883" y="2644"/>
                    <a:pt x="6240" y="2644"/>
                  </a:cubicBezTo>
                  <a:cubicBezTo>
                    <a:pt x="5597" y="2644"/>
                    <a:pt x="5073" y="2132"/>
                    <a:pt x="5073" y="1489"/>
                  </a:cubicBezTo>
                  <a:cubicBezTo>
                    <a:pt x="5073" y="834"/>
                    <a:pt x="5597" y="322"/>
                    <a:pt x="6240" y="322"/>
                  </a:cubicBezTo>
                  <a:close/>
                  <a:moveTo>
                    <a:pt x="8621" y="3703"/>
                  </a:moveTo>
                  <a:cubicBezTo>
                    <a:pt x="8943" y="3703"/>
                    <a:pt x="9276" y="3751"/>
                    <a:pt x="9585" y="3834"/>
                  </a:cubicBezTo>
                  <a:cubicBezTo>
                    <a:pt x="9657" y="4156"/>
                    <a:pt x="9705" y="4477"/>
                    <a:pt x="9705" y="4811"/>
                  </a:cubicBezTo>
                  <a:cubicBezTo>
                    <a:pt x="9705" y="6239"/>
                    <a:pt x="8847" y="7466"/>
                    <a:pt x="7609" y="7990"/>
                  </a:cubicBezTo>
                  <a:cubicBezTo>
                    <a:pt x="7669" y="7728"/>
                    <a:pt x="7692" y="7454"/>
                    <a:pt x="7692" y="7192"/>
                  </a:cubicBezTo>
                  <a:cubicBezTo>
                    <a:pt x="7692" y="6382"/>
                    <a:pt x="7454" y="5620"/>
                    <a:pt x="7002" y="4965"/>
                  </a:cubicBezTo>
                  <a:cubicBezTo>
                    <a:pt x="6859" y="4775"/>
                    <a:pt x="6704" y="4584"/>
                    <a:pt x="6526" y="4418"/>
                  </a:cubicBezTo>
                  <a:cubicBezTo>
                    <a:pt x="7097" y="3977"/>
                    <a:pt x="7835" y="3703"/>
                    <a:pt x="8621" y="3703"/>
                  </a:cubicBezTo>
                  <a:close/>
                  <a:moveTo>
                    <a:pt x="10478" y="7918"/>
                  </a:moveTo>
                  <a:lnTo>
                    <a:pt x="10598" y="8168"/>
                  </a:lnTo>
                  <a:lnTo>
                    <a:pt x="10359" y="8168"/>
                  </a:lnTo>
                  <a:lnTo>
                    <a:pt x="10478" y="7918"/>
                  </a:lnTo>
                  <a:close/>
                  <a:moveTo>
                    <a:pt x="6240" y="4656"/>
                  </a:moveTo>
                  <a:cubicBezTo>
                    <a:pt x="6407" y="4823"/>
                    <a:pt x="6561" y="4989"/>
                    <a:pt x="6704" y="5180"/>
                  </a:cubicBezTo>
                  <a:cubicBezTo>
                    <a:pt x="7121" y="5775"/>
                    <a:pt x="7335" y="6454"/>
                    <a:pt x="7335" y="7192"/>
                  </a:cubicBezTo>
                  <a:cubicBezTo>
                    <a:pt x="7335" y="7513"/>
                    <a:pt x="7299" y="7847"/>
                    <a:pt x="7204" y="8144"/>
                  </a:cubicBezTo>
                  <a:cubicBezTo>
                    <a:pt x="6907" y="8228"/>
                    <a:pt x="6585" y="8275"/>
                    <a:pt x="6252" y="8275"/>
                  </a:cubicBezTo>
                  <a:cubicBezTo>
                    <a:pt x="5930" y="8275"/>
                    <a:pt x="5597" y="8228"/>
                    <a:pt x="5299" y="8144"/>
                  </a:cubicBezTo>
                  <a:cubicBezTo>
                    <a:pt x="5180" y="7847"/>
                    <a:pt x="5133" y="7513"/>
                    <a:pt x="5133" y="7192"/>
                  </a:cubicBezTo>
                  <a:cubicBezTo>
                    <a:pt x="5133" y="6192"/>
                    <a:pt x="5549" y="5299"/>
                    <a:pt x="6240" y="4656"/>
                  </a:cubicBezTo>
                  <a:close/>
                  <a:moveTo>
                    <a:pt x="5430" y="8561"/>
                  </a:moveTo>
                  <a:lnTo>
                    <a:pt x="5430" y="8561"/>
                  </a:lnTo>
                  <a:cubicBezTo>
                    <a:pt x="5704" y="8621"/>
                    <a:pt x="5966" y="8644"/>
                    <a:pt x="6252" y="8644"/>
                  </a:cubicBezTo>
                  <a:cubicBezTo>
                    <a:pt x="6537" y="8644"/>
                    <a:pt x="6799" y="8621"/>
                    <a:pt x="7061" y="8561"/>
                  </a:cubicBezTo>
                  <a:lnTo>
                    <a:pt x="7061" y="8561"/>
                  </a:lnTo>
                  <a:cubicBezTo>
                    <a:pt x="6847" y="8990"/>
                    <a:pt x="6585" y="9395"/>
                    <a:pt x="6240" y="9716"/>
                  </a:cubicBezTo>
                  <a:cubicBezTo>
                    <a:pt x="5895" y="9395"/>
                    <a:pt x="5609" y="9002"/>
                    <a:pt x="5430" y="8561"/>
                  </a:cubicBezTo>
                  <a:close/>
                  <a:moveTo>
                    <a:pt x="2470" y="7643"/>
                  </a:moveTo>
                  <a:cubicBezTo>
                    <a:pt x="2693" y="7643"/>
                    <a:pt x="2903" y="7736"/>
                    <a:pt x="3049" y="7882"/>
                  </a:cubicBezTo>
                  <a:cubicBezTo>
                    <a:pt x="3216" y="8049"/>
                    <a:pt x="3323" y="8263"/>
                    <a:pt x="3323" y="8502"/>
                  </a:cubicBezTo>
                  <a:cubicBezTo>
                    <a:pt x="3323" y="8692"/>
                    <a:pt x="3263" y="8859"/>
                    <a:pt x="3144" y="9002"/>
                  </a:cubicBezTo>
                  <a:cubicBezTo>
                    <a:pt x="2954" y="9275"/>
                    <a:pt x="2799" y="9549"/>
                    <a:pt x="2739" y="9847"/>
                  </a:cubicBezTo>
                  <a:lnTo>
                    <a:pt x="2192" y="9847"/>
                  </a:lnTo>
                  <a:cubicBezTo>
                    <a:pt x="2132" y="9537"/>
                    <a:pt x="2001" y="9252"/>
                    <a:pt x="1799" y="9002"/>
                  </a:cubicBezTo>
                  <a:cubicBezTo>
                    <a:pt x="1680" y="8835"/>
                    <a:pt x="1620" y="8656"/>
                    <a:pt x="1620" y="8454"/>
                  </a:cubicBezTo>
                  <a:cubicBezTo>
                    <a:pt x="1644" y="8025"/>
                    <a:pt x="2001" y="7668"/>
                    <a:pt x="2430" y="7644"/>
                  </a:cubicBezTo>
                  <a:cubicBezTo>
                    <a:pt x="2443" y="7644"/>
                    <a:pt x="2457" y="7643"/>
                    <a:pt x="2470" y="7643"/>
                  </a:cubicBezTo>
                  <a:close/>
                  <a:moveTo>
                    <a:pt x="10300" y="8525"/>
                  </a:moveTo>
                  <a:lnTo>
                    <a:pt x="10300" y="10145"/>
                  </a:lnTo>
                  <a:lnTo>
                    <a:pt x="10109" y="10145"/>
                  </a:lnTo>
                  <a:lnTo>
                    <a:pt x="10109" y="8585"/>
                  </a:lnTo>
                  <a:cubicBezTo>
                    <a:pt x="10109" y="8561"/>
                    <a:pt x="10133" y="8525"/>
                    <a:pt x="10169" y="8525"/>
                  </a:cubicBezTo>
                  <a:close/>
                  <a:moveTo>
                    <a:pt x="10788" y="8525"/>
                  </a:moveTo>
                  <a:cubicBezTo>
                    <a:pt x="10824" y="8525"/>
                    <a:pt x="10848" y="8561"/>
                    <a:pt x="10848" y="8585"/>
                  </a:cubicBezTo>
                  <a:lnTo>
                    <a:pt x="10848" y="10145"/>
                  </a:lnTo>
                  <a:lnTo>
                    <a:pt x="10657" y="10145"/>
                  </a:lnTo>
                  <a:lnTo>
                    <a:pt x="10657" y="8525"/>
                  </a:lnTo>
                  <a:close/>
                  <a:moveTo>
                    <a:pt x="2847" y="10252"/>
                  </a:moveTo>
                  <a:lnTo>
                    <a:pt x="2847" y="10323"/>
                  </a:lnTo>
                  <a:lnTo>
                    <a:pt x="2073" y="10323"/>
                  </a:lnTo>
                  <a:lnTo>
                    <a:pt x="2073" y="10252"/>
                  </a:lnTo>
                  <a:close/>
                  <a:moveTo>
                    <a:pt x="2489" y="4013"/>
                  </a:moveTo>
                  <a:lnTo>
                    <a:pt x="2489" y="4013"/>
                  </a:lnTo>
                  <a:cubicBezTo>
                    <a:pt x="2430" y="4287"/>
                    <a:pt x="2394" y="4549"/>
                    <a:pt x="2394" y="4823"/>
                  </a:cubicBezTo>
                  <a:cubicBezTo>
                    <a:pt x="2394" y="6501"/>
                    <a:pt x="3489" y="7930"/>
                    <a:pt x="4990" y="8454"/>
                  </a:cubicBezTo>
                  <a:cubicBezTo>
                    <a:pt x="5180" y="9025"/>
                    <a:pt x="5525" y="9549"/>
                    <a:pt x="5954" y="9966"/>
                  </a:cubicBezTo>
                  <a:cubicBezTo>
                    <a:pt x="5371" y="10383"/>
                    <a:pt x="4644" y="10657"/>
                    <a:pt x="3859" y="10657"/>
                  </a:cubicBezTo>
                  <a:cubicBezTo>
                    <a:pt x="3644" y="10657"/>
                    <a:pt x="3430" y="10645"/>
                    <a:pt x="3216" y="10597"/>
                  </a:cubicBezTo>
                  <a:lnTo>
                    <a:pt x="3216" y="10192"/>
                  </a:lnTo>
                  <a:cubicBezTo>
                    <a:pt x="3216" y="10085"/>
                    <a:pt x="3168" y="10002"/>
                    <a:pt x="3097" y="9942"/>
                  </a:cubicBezTo>
                  <a:cubicBezTo>
                    <a:pt x="3156" y="9680"/>
                    <a:pt x="3263" y="9454"/>
                    <a:pt x="3430" y="9240"/>
                  </a:cubicBezTo>
                  <a:cubicBezTo>
                    <a:pt x="3585" y="9025"/>
                    <a:pt x="3680" y="8775"/>
                    <a:pt x="3680" y="8513"/>
                  </a:cubicBezTo>
                  <a:cubicBezTo>
                    <a:pt x="3680" y="8180"/>
                    <a:pt x="3549" y="7871"/>
                    <a:pt x="3311" y="7632"/>
                  </a:cubicBezTo>
                  <a:cubicBezTo>
                    <a:pt x="3072" y="7416"/>
                    <a:pt x="2769" y="7298"/>
                    <a:pt x="2462" y="7298"/>
                  </a:cubicBezTo>
                  <a:cubicBezTo>
                    <a:pt x="2447" y="7298"/>
                    <a:pt x="2433" y="7298"/>
                    <a:pt x="2418" y="7299"/>
                  </a:cubicBezTo>
                  <a:cubicBezTo>
                    <a:pt x="1787" y="7335"/>
                    <a:pt x="1275" y="7835"/>
                    <a:pt x="1263" y="8466"/>
                  </a:cubicBezTo>
                  <a:cubicBezTo>
                    <a:pt x="1251" y="8752"/>
                    <a:pt x="1346" y="9025"/>
                    <a:pt x="1525" y="9252"/>
                  </a:cubicBezTo>
                  <a:cubicBezTo>
                    <a:pt x="1680" y="9466"/>
                    <a:pt x="1787" y="9704"/>
                    <a:pt x="1846" y="9954"/>
                  </a:cubicBezTo>
                  <a:lnTo>
                    <a:pt x="1799" y="10002"/>
                  </a:lnTo>
                  <a:cubicBezTo>
                    <a:pt x="906" y="9347"/>
                    <a:pt x="382" y="8311"/>
                    <a:pt x="382" y="7204"/>
                  </a:cubicBezTo>
                  <a:cubicBezTo>
                    <a:pt x="382" y="5775"/>
                    <a:pt x="1251" y="4537"/>
                    <a:pt x="2489" y="4013"/>
                  </a:cubicBezTo>
                  <a:close/>
                  <a:moveTo>
                    <a:pt x="2847" y="10680"/>
                  </a:moveTo>
                  <a:lnTo>
                    <a:pt x="2847" y="10788"/>
                  </a:lnTo>
                  <a:lnTo>
                    <a:pt x="2073" y="10788"/>
                  </a:lnTo>
                  <a:lnTo>
                    <a:pt x="2073" y="10680"/>
                  </a:lnTo>
                  <a:close/>
                  <a:moveTo>
                    <a:pt x="10848" y="10526"/>
                  </a:moveTo>
                  <a:lnTo>
                    <a:pt x="10848" y="10728"/>
                  </a:lnTo>
                  <a:cubicBezTo>
                    <a:pt x="10848" y="10764"/>
                    <a:pt x="10824" y="10788"/>
                    <a:pt x="10788" y="10788"/>
                  </a:cubicBezTo>
                  <a:lnTo>
                    <a:pt x="10169" y="10788"/>
                  </a:lnTo>
                  <a:cubicBezTo>
                    <a:pt x="10133" y="10788"/>
                    <a:pt x="10109" y="10764"/>
                    <a:pt x="10109" y="10728"/>
                  </a:cubicBezTo>
                  <a:lnTo>
                    <a:pt x="10109" y="10526"/>
                  </a:lnTo>
                  <a:close/>
                  <a:moveTo>
                    <a:pt x="6228" y="0"/>
                  </a:moveTo>
                  <a:cubicBezTo>
                    <a:pt x="5454" y="0"/>
                    <a:pt x="4823" y="584"/>
                    <a:pt x="4716" y="1310"/>
                  </a:cubicBezTo>
                  <a:cubicBezTo>
                    <a:pt x="4049" y="1596"/>
                    <a:pt x="3466" y="2072"/>
                    <a:pt x="3049" y="2667"/>
                  </a:cubicBezTo>
                  <a:cubicBezTo>
                    <a:pt x="2858" y="2941"/>
                    <a:pt x="2692" y="3263"/>
                    <a:pt x="2597" y="3584"/>
                  </a:cubicBezTo>
                  <a:cubicBezTo>
                    <a:pt x="1084" y="4108"/>
                    <a:pt x="1" y="5537"/>
                    <a:pt x="1" y="7216"/>
                  </a:cubicBezTo>
                  <a:cubicBezTo>
                    <a:pt x="1" y="8502"/>
                    <a:pt x="632" y="9692"/>
                    <a:pt x="1704" y="10407"/>
                  </a:cubicBezTo>
                  <a:lnTo>
                    <a:pt x="1704" y="10847"/>
                  </a:lnTo>
                  <a:cubicBezTo>
                    <a:pt x="1704" y="11026"/>
                    <a:pt x="1846" y="11180"/>
                    <a:pt x="2025" y="11180"/>
                  </a:cubicBezTo>
                  <a:lnTo>
                    <a:pt x="2858" y="11180"/>
                  </a:lnTo>
                  <a:cubicBezTo>
                    <a:pt x="2989" y="11180"/>
                    <a:pt x="3108" y="11097"/>
                    <a:pt x="3156" y="10978"/>
                  </a:cubicBezTo>
                  <a:cubicBezTo>
                    <a:pt x="3382" y="11026"/>
                    <a:pt x="3609" y="11038"/>
                    <a:pt x="3823" y="11038"/>
                  </a:cubicBezTo>
                  <a:cubicBezTo>
                    <a:pt x="4716" y="11038"/>
                    <a:pt x="5549" y="10728"/>
                    <a:pt x="6204" y="10204"/>
                  </a:cubicBezTo>
                  <a:cubicBezTo>
                    <a:pt x="6764" y="10645"/>
                    <a:pt x="7419" y="10919"/>
                    <a:pt x="8157" y="11014"/>
                  </a:cubicBezTo>
                  <a:lnTo>
                    <a:pt x="8169" y="11014"/>
                  </a:lnTo>
                  <a:cubicBezTo>
                    <a:pt x="8264" y="11014"/>
                    <a:pt x="8335" y="10942"/>
                    <a:pt x="8347" y="10847"/>
                  </a:cubicBezTo>
                  <a:cubicBezTo>
                    <a:pt x="8371" y="10740"/>
                    <a:pt x="8288" y="10657"/>
                    <a:pt x="8192" y="10645"/>
                  </a:cubicBezTo>
                  <a:cubicBezTo>
                    <a:pt x="7550" y="10561"/>
                    <a:pt x="6966" y="10323"/>
                    <a:pt x="6490" y="9954"/>
                  </a:cubicBezTo>
                  <a:cubicBezTo>
                    <a:pt x="6918" y="9537"/>
                    <a:pt x="7264" y="9014"/>
                    <a:pt x="7454" y="8442"/>
                  </a:cubicBezTo>
                  <a:cubicBezTo>
                    <a:pt x="8966" y="7918"/>
                    <a:pt x="10050" y="6489"/>
                    <a:pt x="10050" y="4811"/>
                  </a:cubicBezTo>
                  <a:cubicBezTo>
                    <a:pt x="10050" y="4525"/>
                    <a:pt x="10014" y="4251"/>
                    <a:pt x="9955" y="4001"/>
                  </a:cubicBezTo>
                  <a:lnTo>
                    <a:pt x="9955" y="4001"/>
                  </a:lnTo>
                  <a:cubicBezTo>
                    <a:pt x="11193" y="4537"/>
                    <a:pt x="12062" y="5763"/>
                    <a:pt x="12062" y="7192"/>
                  </a:cubicBezTo>
                  <a:cubicBezTo>
                    <a:pt x="12062" y="8037"/>
                    <a:pt x="11741" y="8859"/>
                    <a:pt x="11181" y="9490"/>
                  </a:cubicBezTo>
                  <a:lnTo>
                    <a:pt x="11181" y="8597"/>
                  </a:lnTo>
                  <a:cubicBezTo>
                    <a:pt x="11181" y="8466"/>
                    <a:pt x="11109" y="8335"/>
                    <a:pt x="11002" y="8263"/>
                  </a:cubicBezTo>
                  <a:lnTo>
                    <a:pt x="10717" y="7644"/>
                  </a:lnTo>
                  <a:cubicBezTo>
                    <a:pt x="10669" y="7549"/>
                    <a:pt x="10574" y="7466"/>
                    <a:pt x="10455" y="7466"/>
                  </a:cubicBezTo>
                  <a:cubicBezTo>
                    <a:pt x="10336" y="7466"/>
                    <a:pt x="10228" y="7525"/>
                    <a:pt x="10181" y="7644"/>
                  </a:cubicBezTo>
                  <a:lnTo>
                    <a:pt x="9895" y="8263"/>
                  </a:lnTo>
                  <a:cubicBezTo>
                    <a:pt x="9800" y="8335"/>
                    <a:pt x="9716" y="8466"/>
                    <a:pt x="9716" y="8597"/>
                  </a:cubicBezTo>
                  <a:lnTo>
                    <a:pt x="9716" y="10478"/>
                  </a:lnTo>
                  <a:cubicBezTo>
                    <a:pt x="9466" y="10561"/>
                    <a:pt x="9216" y="10621"/>
                    <a:pt x="8943" y="10645"/>
                  </a:cubicBezTo>
                  <a:cubicBezTo>
                    <a:pt x="8847" y="10657"/>
                    <a:pt x="8764" y="10740"/>
                    <a:pt x="8788" y="10835"/>
                  </a:cubicBezTo>
                  <a:cubicBezTo>
                    <a:pt x="8800" y="10919"/>
                    <a:pt x="8871" y="11002"/>
                    <a:pt x="8966" y="11002"/>
                  </a:cubicBezTo>
                  <a:lnTo>
                    <a:pt x="8978" y="11002"/>
                  </a:lnTo>
                  <a:cubicBezTo>
                    <a:pt x="9228" y="10966"/>
                    <a:pt x="9478" y="10919"/>
                    <a:pt x="9740" y="10847"/>
                  </a:cubicBezTo>
                  <a:cubicBezTo>
                    <a:pt x="9776" y="11026"/>
                    <a:pt x="9943" y="11157"/>
                    <a:pt x="10133" y="11157"/>
                  </a:cubicBezTo>
                  <a:lnTo>
                    <a:pt x="10764" y="11157"/>
                  </a:lnTo>
                  <a:cubicBezTo>
                    <a:pt x="11002" y="11157"/>
                    <a:pt x="11193" y="10966"/>
                    <a:pt x="11193" y="10728"/>
                  </a:cubicBezTo>
                  <a:lnTo>
                    <a:pt x="11193" y="10014"/>
                  </a:lnTo>
                  <a:cubicBezTo>
                    <a:pt x="12002" y="9287"/>
                    <a:pt x="12455" y="8263"/>
                    <a:pt x="12455" y="7192"/>
                  </a:cubicBezTo>
                  <a:cubicBezTo>
                    <a:pt x="12455" y="5501"/>
                    <a:pt x="11371" y="4072"/>
                    <a:pt x="9871" y="3560"/>
                  </a:cubicBezTo>
                  <a:cubicBezTo>
                    <a:pt x="9740" y="3168"/>
                    <a:pt x="9538" y="2798"/>
                    <a:pt x="9276" y="2465"/>
                  </a:cubicBezTo>
                  <a:cubicBezTo>
                    <a:pt x="9242" y="2425"/>
                    <a:pt x="9189" y="2403"/>
                    <a:pt x="9137" y="2403"/>
                  </a:cubicBezTo>
                  <a:cubicBezTo>
                    <a:pt x="9097" y="2403"/>
                    <a:pt x="9057" y="2416"/>
                    <a:pt x="9026" y="2441"/>
                  </a:cubicBezTo>
                  <a:cubicBezTo>
                    <a:pt x="8943" y="2501"/>
                    <a:pt x="8931" y="2620"/>
                    <a:pt x="8990" y="2691"/>
                  </a:cubicBezTo>
                  <a:cubicBezTo>
                    <a:pt x="9169" y="2929"/>
                    <a:pt x="9324" y="3168"/>
                    <a:pt x="9443" y="3441"/>
                  </a:cubicBezTo>
                  <a:cubicBezTo>
                    <a:pt x="9169" y="3382"/>
                    <a:pt x="8907" y="3346"/>
                    <a:pt x="8621" y="3346"/>
                  </a:cubicBezTo>
                  <a:cubicBezTo>
                    <a:pt x="7728" y="3346"/>
                    <a:pt x="6895" y="3656"/>
                    <a:pt x="6240" y="4180"/>
                  </a:cubicBezTo>
                  <a:cubicBezTo>
                    <a:pt x="5930" y="3930"/>
                    <a:pt x="5573" y="3739"/>
                    <a:pt x="5192" y="3584"/>
                  </a:cubicBezTo>
                  <a:cubicBezTo>
                    <a:pt x="5175" y="3580"/>
                    <a:pt x="5158" y="3577"/>
                    <a:pt x="5140" y="3577"/>
                  </a:cubicBezTo>
                  <a:cubicBezTo>
                    <a:pt x="5068" y="3577"/>
                    <a:pt x="4992" y="3615"/>
                    <a:pt x="4954" y="3691"/>
                  </a:cubicBezTo>
                  <a:cubicBezTo>
                    <a:pt x="4930" y="3775"/>
                    <a:pt x="4978" y="3882"/>
                    <a:pt x="5061" y="3930"/>
                  </a:cubicBezTo>
                  <a:cubicBezTo>
                    <a:pt x="5394" y="4049"/>
                    <a:pt x="5692" y="4215"/>
                    <a:pt x="5954" y="4418"/>
                  </a:cubicBezTo>
                  <a:cubicBezTo>
                    <a:pt x="5228" y="5120"/>
                    <a:pt x="4775" y="6096"/>
                    <a:pt x="4775" y="7192"/>
                  </a:cubicBezTo>
                  <a:cubicBezTo>
                    <a:pt x="4775" y="7466"/>
                    <a:pt x="4811" y="7740"/>
                    <a:pt x="4871" y="7990"/>
                  </a:cubicBezTo>
                  <a:cubicBezTo>
                    <a:pt x="3632" y="7454"/>
                    <a:pt x="2775" y="6239"/>
                    <a:pt x="2775" y="4811"/>
                  </a:cubicBezTo>
                  <a:cubicBezTo>
                    <a:pt x="2775" y="4477"/>
                    <a:pt x="2811" y="4156"/>
                    <a:pt x="2906" y="3858"/>
                  </a:cubicBezTo>
                  <a:cubicBezTo>
                    <a:pt x="3204" y="3763"/>
                    <a:pt x="3525" y="3715"/>
                    <a:pt x="3859" y="3715"/>
                  </a:cubicBezTo>
                  <a:cubicBezTo>
                    <a:pt x="4025" y="3715"/>
                    <a:pt x="4168" y="3739"/>
                    <a:pt x="4335" y="3751"/>
                  </a:cubicBezTo>
                  <a:cubicBezTo>
                    <a:pt x="4342" y="3752"/>
                    <a:pt x="4349" y="3752"/>
                    <a:pt x="4356" y="3752"/>
                  </a:cubicBezTo>
                  <a:cubicBezTo>
                    <a:pt x="4444" y="3752"/>
                    <a:pt x="4526" y="3684"/>
                    <a:pt x="4537" y="3596"/>
                  </a:cubicBezTo>
                  <a:cubicBezTo>
                    <a:pt x="4549" y="3501"/>
                    <a:pt x="4478" y="3406"/>
                    <a:pt x="4394" y="3394"/>
                  </a:cubicBezTo>
                  <a:cubicBezTo>
                    <a:pt x="4216" y="3358"/>
                    <a:pt x="4049" y="3358"/>
                    <a:pt x="3870" y="3358"/>
                  </a:cubicBezTo>
                  <a:cubicBezTo>
                    <a:pt x="3585" y="3358"/>
                    <a:pt x="3323" y="3394"/>
                    <a:pt x="3049" y="3453"/>
                  </a:cubicBezTo>
                  <a:cubicBezTo>
                    <a:pt x="3144" y="3239"/>
                    <a:pt x="3239" y="3048"/>
                    <a:pt x="3382" y="2858"/>
                  </a:cubicBezTo>
                  <a:cubicBezTo>
                    <a:pt x="3716" y="2346"/>
                    <a:pt x="4192" y="1953"/>
                    <a:pt x="4728" y="1691"/>
                  </a:cubicBezTo>
                  <a:cubicBezTo>
                    <a:pt x="4835" y="2441"/>
                    <a:pt x="5466" y="3025"/>
                    <a:pt x="6240" y="3025"/>
                  </a:cubicBezTo>
                  <a:cubicBezTo>
                    <a:pt x="7014" y="3025"/>
                    <a:pt x="7657" y="2441"/>
                    <a:pt x="7740" y="1691"/>
                  </a:cubicBezTo>
                  <a:cubicBezTo>
                    <a:pt x="7990" y="1810"/>
                    <a:pt x="8228" y="1977"/>
                    <a:pt x="8454" y="2156"/>
                  </a:cubicBezTo>
                  <a:cubicBezTo>
                    <a:pt x="8490" y="2191"/>
                    <a:pt x="8526" y="2203"/>
                    <a:pt x="8573" y="2203"/>
                  </a:cubicBezTo>
                  <a:cubicBezTo>
                    <a:pt x="8633" y="2203"/>
                    <a:pt x="8681" y="2191"/>
                    <a:pt x="8704" y="2144"/>
                  </a:cubicBezTo>
                  <a:cubicBezTo>
                    <a:pt x="8764" y="2072"/>
                    <a:pt x="8764" y="1953"/>
                    <a:pt x="8681" y="1894"/>
                  </a:cubicBezTo>
                  <a:cubicBezTo>
                    <a:pt x="8395" y="1655"/>
                    <a:pt x="8073" y="1453"/>
                    <a:pt x="7728" y="1310"/>
                  </a:cubicBezTo>
                  <a:cubicBezTo>
                    <a:pt x="7621" y="560"/>
                    <a:pt x="7002" y="0"/>
                    <a:pt x="62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5" name="Google Shape;12595;p62"/>
            <p:cNvSpPr/>
            <p:nvPr/>
          </p:nvSpPr>
          <p:spPr>
            <a:xfrm>
              <a:off x="2057770" y="4294553"/>
              <a:ext cx="22741" cy="35622"/>
            </a:xfrm>
            <a:custGeom>
              <a:avLst/>
              <a:gdLst/>
              <a:ahLst/>
              <a:cxnLst/>
              <a:rect l="l" t="t" r="r" b="b"/>
              <a:pathLst>
                <a:path w="715" h="1120" extrusionOk="0">
                  <a:moveTo>
                    <a:pt x="191" y="0"/>
                  </a:moveTo>
                  <a:cubicBezTo>
                    <a:pt x="84" y="0"/>
                    <a:pt x="12" y="72"/>
                    <a:pt x="12" y="179"/>
                  </a:cubicBezTo>
                  <a:lnTo>
                    <a:pt x="12" y="941"/>
                  </a:lnTo>
                  <a:cubicBezTo>
                    <a:pt x="0" y="1036"/>
                    <a:pt x="84" y="1119"/>
                    <a:pt x="191" y="1119"/>
                  </a:cubicBezTo>
                  <a:lnTo>
                    <a:pt x="536" y="1119"/>
                  </a:lnTo>
                  <a:cubicBezTo>
                    <a:pt x="631" y="1119"/>
                    <a:pt x="715" y="1036"/>
                    <a:pt x="715" y="941"/>
                  </a:cubicBezTo>
                  <a:cubicBezTo>
                    <a:pt x="715" y="834"/>
                    <a:pt x="631" y="750"/>
                    <a:pt x="536" y="750"/>
                  </a:cubicBezTo>
                  <a:lnTo>
                    <a:pt x="369" y="750"/>
                  </a:lnTo>
                  <a:lnTo>
                    <a:pt x="369" y="179"/>
                  </a:lnTo>
                  <a:cubicBezTo>
                    <a:pt x="369" y="72"/>
                    <a:pt x="298"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6" name="Google Shape;12596;p62"/>
            <p:cNvSpPr/>
            <p:nvPr/>
          </p:nvSpPr>
          <p:spPr>
            <a:xfrm>
              <a:off x="2048292" y="4456250"/>
              <a:ext cx="30724" cy="64055"/>
            </a:xfrm>
            <a:custGeom>
              <a:avLst/>
              <a:gdLst/>
              <a:ahLst/>
              <a:cxnLst/>
              <a:rect l="l" t="t" r="r" b="b"/>
              <a:pathLst>
                <a:path w="966" h="2014" extrusionOk="0">
                  <a:moveTo>
                    <a:pt x="477" y="0"/>
                  </a:moveTo>
                  <a:cubicBezTo>
                    <a:pt x="370" y="0"/>
                    <a:pt x="298" y="84"/>
                    <a:pt x="298" y="179"/>
                  </a:cubicBezTo>
                  <a:lnTo>
                    <a:pt x="298" y="262"/>
                  </a:lnTo>
                  <a:cubicBezTo>
                    <a:pt x="120" y="334"/>
                    <a:pt x="1" y="512"/>
                    <a:pt x="1" y="703"/>
                  </a:cubicBezTo>
                  <a:cubicBezTo>
                    <a:pt x="1" y="977"/>
                    <a:pt x="215" y="1191"/>
                    <a:pt x="489" y="1191"/>
                  </a:cubicBezTo>
                  <a:cubicBezTo>
                    <a:pt x="560" y="1191"/>
                    <a:pt x="608" y="1250"/>
                    <a:pt x="608" y="1310"/>
                  </a:cubicBezTo>
                  <a:cubicBezTo>
                    <a:pt x="608" y="1381"/>
                    <a:pt x="548" y="1429"/>
                    <a:pt x="489" y="1429"/>
                  </a:cubicBezTo>
                  <a:cubicBezTo>
                    <a:pt x="441" y="1429"/>
                    <a:pt x="394" y="1405"/>
                    <a:pt x="382" y="1358"/>
                  </a:cubicBezTo>
                  <a:cubicBezTo>
                    <a:pt x="346" y="1287"/>
                    <a:pt x="284" y="1249"/>
                    <a:pt x="216" y="1249"/>
                  </a:cubicBezTo>
                  <a:cubicBezTo>
                    <a:pt x="192" y="1249"/>
                    <a:pt x="168" y="1253"/>
                    <a:pt x="144" y="1262"/>
                  </a:cubicBezTo>
                  <a:cubicBezTo>
                    <a:pt x="60" y="1310"/>
                    <a:pt x="13" y="1417"/>
                    <a:pt x="60" y="1500"/>
                  </a:cubicBezTo>
                  <a:cubicBezTo>
                    <a:pt x="120" y="1608"/>
                    <a:pt x="203" y="1703"/>
                    <a:pt x="310" y="1739"/>
                  </a:cubicBezTo>
                  <a:lnTo>
                    <a:pt x="310" y="1834"/>
                  </a:lnTo>
                  <a:cubicBezTo>
                    <a:pt x="310" y="1941"/>
                    <a:pt x="382" y="2012"/>
                    <a:pt x="489" y="2012"/>
                  </a:cubicBezTo>
                  <a:cubicBezTo>
                    <a:pt x="495" y="2013"/>
                    <a:pt x="501" y="2014"/>
                    <a:pt x="507" y="2014"/>
                  </a:cubicBezTo>
                  <a:cubicBezTo>
                    <a:pt x="586" y="2014"/>
                    <a:pt x="667" y="1945"/>
                    <a:pt x="667" y="1846"/>
                  </a:cubicBezTo>
                  <a:lnTo>
                    <a:pt x="667" y="1762"/>
                  </a:lnTo>
                  <a:cubicBezTo>
                    <a:pt x="846" y="1691"/>
                    <a:pt x="965" y="1512"/>
                    <a:pt x="965" y="1310"/>
                  </a:cubicBezTo>
                  <a:cubicBezTo>
                    <a:pt x="965" y="1048"/>
                    <a:pt x="739" y="822"/>
                    <a:pt x="477" y="822"/>
                  </a:cubicBezTo>
                  <a:cubicBezTo>
                    <a:pt x="394" y="822"/>
                    <a:pt x="358" y="762"/>
                    <a:pt x="358" y="703"/>
                  </a:cubicBezTo>
                  <a:cubicBezTo>
                    <a:pt x="358" y="631"/>
                    <a:pt x="417" y="584"/>
                    <a:pt x="477" y="584"/>
                  </a:cubicBezTo>
                  <a:cubicBezTo>
                    <a:pt x="513" y="584"/>
                    <a:pt x="548" y="596"/>
                    <a:pt x="572" y="643"/>
                  </a:cubicBezTo>
                  <a:cubicBezTo>
                    <a:pt x="608" y="700"/>
                    <a:pt x="660" y="727"/>
                    <a:pt x="717" y="727"/>
                  </a:cubicBezTo>
                  <a:cubicBezTo>
                    <a:pt x="755" y="727"/>
                    <a:pt x="796" y="715"/>
                    <a:pt x="834" y="691"/>
                  </a:cubicBezTo>
                  <a:cubicBezTo>
                    <a:pt x="917" y="631"/>
                    <a:pt x="929" y="524"/>
                    <a:pt x="870" y="441"/>
                  </a:cubicBezTo>
                  <a:cubicBezTo>
                    <a:pt x="810" y="357"/>
                    <a:pt x="739" y="286"/>
                    <a:pt x="656" y="262"/>
                  </a:cubicBezTo>
                  <a:lnTo>
                    <a:pt x="656" y="179"/>
                  </a:lnTo>
                  <a:cubicBezTo>
                    <a:pt x="656" y="84"/>
                    <a:pt x="572"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7" name="Google Shape;12597;p62"/>
            <p:cNvSpPr/>
            <p:nvPr/>
          </p:nvSpPr>
          <p:spPr>
            <a:xfrm>
              <a:off x="1898713" y="4487196"/>
              <a:ext cx="17461" cy="16030"/>
            </a:xfrm>
            <a:custGeom>
              <a:avLst/>
              <a:gdLst/>
              <a:ahLst/>
              <a:cxnLst/>
              <a:rect l="l" t="t" r="r" b="b"/>
              <a:pathLst>
                <a:path w="549" h="504" extrusionOk="0">
                  <a:moveTo>
                    <a:pt x="193" y="1"/>
                  </a:moveTo>
                  <a:cubicBezTo>
                    <a:pt x="147" y="1"/>
                    <a:pt x="102" y="21"/>
                    <a:pt x="72" y="63"/>
                  </a:cubicBezTo>
                  <a:cubicBezTo>
                    <a:pt x="1" y="135"/>
                    <a:pt x="1" y="254"/>
                    <a:pt x="72" y="313"/>
                  </a:cubicBezTo>
                  <a:lnTo>
                    <a:pt x="203" y="444"/>
                  </a:lnTo>
                  <a:cubicBezTo>
                    <a:pt x="227" y="480"/>
                    <a:pt x="298" y="504"/>
                    <a:pt x="334" y="504"/>
                  </a:cubicBezTo>
                  <a:cubicBezTo>
                    <a:pt x="382" y="504"/>
                    <a:pt x="429" y="492"/>
                    <a:pt x="465" y="444"/>
                  </a:cubicBezTo>
                  <a:cubicBezTo>
                    <a:pt x="548" y="373"/>
                    <a:pt x="548" y="254"/>
                    <a:pt x="465" y="194"/>
                  </a:cubicBezTo>
                  <a:lnTo>
                    <a:pt x="322" y="63"/>
                  </a:lnTo>
                  <a:cubicBezTo>
                    <a:pt x="286" y="21"/>
                    <a:pt x="239"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8" name="Google Shape;12598;p62"/>
            <p:cNvSpPr/>
            <p:nvPr/>
          </p:nvSpPr>
          <p:spPr>
            <a:xfrm>
              <a:off x="1887740" y="4502494"/>
              <a:ext cx="19337" cy="13231"/>
            </a:xfrm>
            <a:custGeom>
              <a:avLst/>
              <a:gdLst/>
              <a:ahLst/>
              <a:cxnLst/>
              <a:rect l="l" t="t" r="r" b="b"/>
              <a:pathLst>
                <a:path w="608" h="416" extrusionOk="0">
                  <a:moveTo>
                    <a:pt x="190" y="0"/>
                  </a:moveTo>
                  <a:cubicBezTo>
                    <a:pt x="112" y="0"/>
                    <a:pt x="53" y="56"/>
                    <a:pt x="24" y="142"/>
                  </a:cubicBezTo>
                  <a:cubicBezTo>
                    <a:pt x="0" y="249"/>
                    <a:pt x="60" y="332"/>
                    <a:pt x="155" y="368"/>
                  </a:cubicBezTo>
                  <a:lnTo>
                    <a:pt x="358" y="416"/>
                  </a:lnTo>
                  <a:lnTo>
                    <a:pt x="405" y="416"/>
                  </a:lnTo>
                  <a:cubicBezTo>
                    <a:pt x="477" y="416"/>
                    <a:pt x="548" y="356"/>
                    <a:pt x="572" y="273"/>
                  </a:cubicBezTo>
                  <a:cubicBezTo>
                    <a:pt x="608" y="189"/>
                    <a:pt x="548" y="82"/>
                    <a:pt x="441" y="58"/>
                  </a:cubicBezTo>
                  <a:lnTo>
                    <a:pt x="250" y="11"/>
                  </a:lnTo>
                  <a:cubicBezTo>
                    <a:pt x="229" y="4"/>
                    <a:pt x="209"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99" name="Google Shape;12599;p62"/>
            <p:cNvSpPr/>
            <p:nvPr/>
          </p:nvSpPr>
          <p:spPr>
            <a:xfrm>
              <a:off x="1913852" y="4477019"/>
              <a:ext cx="13676" cy="17874"/>
            </a:xfrm>
            <a:custGeom>
              <a:avLst/>
              <a:gdLst/>
              <a:ahLst/>
              <a:cxnLst/>
              <a:rect l="l" t="t" r="r" b="b"/>
              <a:pathLst>
                <a:path w="430" h="562" extrusionOk="0">
                  <a:moveTo>
                    <a:pt x="175" y="0"/>
                  </a:moveTo>
                  <a:cubicBezTo>
                    <a:pt x="165" y="0"/>
                    <a:pt x="155" y="1"/>
                    <a:pt x="144" y="2"/>
                  </a:cubicBezTo>
                  <a:cubicBezTo>
                    <a:pt x="37" y="38"/>
                    <a:pt x="1" y="121"/>
                    <a:pt x="13" y="228"/>
                  </a:cubicBezTo>
                  <a:lnTo>
                    <a:pt x="60" y="419"/>
                  </a:lnTo>
                  <a:cubicBezTo>
                    <a:pt x="72" y="502"/>
                    <a:pt x="144" y="562"/>
                    <a:pt x="239" y="562"/>
                  </a:cubicBezTo>
                  <a:lnTo>
                    <a:pt x="275" y="562"/>
                  </a:lnTo>
                  <a:cubicBezTo>
                    <a:pt x="382" y="526"/>
                    <a:pt x="430" y="443"/>
                    <a:pt x="418" y="335"/>
                  </a:cubicBezTo>
                  <a:lnTo>
                    <a:pt x="370" y="145"/>
                  </a:lnTo>
                  <a:cubicBezTo>
                    <a:pt x="338" y="49"/>
                    <a:pt x="267" y="0"/>
                    <a:pt x="1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0" name="Google Shape;12600;p62"/>
          <p:cNvGrpSpPr/>
          <p:nvPr/>
        </p:nvGrpSpPr>
        <p:grpSpPr>
          <a:xfrm>
            <a:off x="2411823" y="4303999"/>
            <a:ext cx="334398" cy="299953"/>
            <a:chOff x="2411823" y="4303999"/>
            <a:chExt cx="334398" cy="299953"/>
          </a:xfrm>
        </p:grpSpPr>
        <p:sp>
          <p:nvSpPr>
            <p:cNvPr id="12601" name="Google Shape;12601;p62"/>
            <p:cNvSpPr/>
            <p:nvPr/>
          </p:nvSpPr>
          <p:spPr>
            <a:xfrm>
              <a:off x="2411823" y="4303999"/>
              <a:ext cx="237838" cy="84124"/>
            </a:xfrm>
            <a:custGeom>
              <a:avLst/>
              <a:gdLst/>
              <a:ahLst/>
              <a:cxnLst/>
              <a:rect l="l" t="t" r="r" b="b"/>
              <a:pathLst>
                <a:path w="7478" h="2645" extrusionOk="0">
                  <a:moveTo>
                    <a:pt x="3573" y="299"/>
                  </a:moveTo>
                  <a:cubicBezTo>
                    <a:pt x="3584" y="299"/>
                    <a:pt x="3596" y="310"/>
                    <a:pt x="3608" y="322"/>
                  </a:cubicBezTo>
                  <a:lnTo>
                    <a:pt x="3954" y="846"/>
                  </a:lnTo>
                  <a:lnTo>
                    <a:pt x="703" y="846"/>
                  </a:lnTo>
                  <a:lnTo>
                    <a:pt x="703" y="346"/>
                  </a:lnTo>
                  <a:lnTo>
                    <a:pt x="715" y="346"/>
                  </a:lnTo>
                  <a:cubicBezTo>
                    <a:pt x="715" y="310"/>
                    <a:pt x="739" y="299"/>
                    <a:pt x="751" y="299"/>
                  </a:cubicBezTo>
                  <a:close/>
                  <a:moveTo>
                    <a:pt x="5978" y="501"/>
                  </a:moveTo>
                  <a:cubicBezTo>
                    <a:pt x="5990" y="501"/>
                    <a:pt x="6013" y="525"/>
                    <a:pt x="6025" y="537"/>
                  </a:cubicBezTo>
                  <a:lnTo>
                    <a:pt x="6216" y="846"/>
                  </a:lnTo>
                  <a:lnTo>
                    <a:pt x="4323" y="846"/>
                  </a:lnTo>
                  <a:lnTo>
                    <a:pt x="4120" y="525"/>
                  </a:lnTo>
                  <a:lnTo>
                    <a:pt x="5978" y="525"/>
                  </a:lnTo>
                  <a:lnTo>
                    <a:pt x="5978" y="501"/>
                  </a:lnTo>
                  <a:close/>
                  <a:moveTo>
                    <a:pt x="786" y="1"/>
                  </a:moveTo>
                  <a:cubicBezTo>
                    <a:pt x="596" y="1"/>
                    <a:pt x="429" y="156"/>
                    <a:pt x="429" y="358"/>
                  </a:cubicBezTo>
                  <a:lnTo>
                    <a:pt x="429" y="858"/>
                  </a:lnTo>
                  <a:lnTo>
                    <a:pt x="358" y="858"/>
                  </a:lnTo>
                  <a:cubicBezTo>
                    <a:pt x="155" y="858"/>
                    <a:pt x="1" y="1025"/>
                    <a:pt x="1" y="1215"/>
                  </a:cubicBezTo>
                  <a:lnTo>
                    <a:pt x="1" y="2513"/>
                  </a:lnTo>
                  <a:cubicBezTo>
                    <a:pt x="1" y="2585"/>
                    <a:pt x="72" y="2644"/>
                    <a:pt x="144" y="2644"/>
                  </a:cubicBezTo>
                  <a:cubicBezTo>
                    <a:pt x="239" y="2644"/>
                    <a:pt x="298" y="2573"/>
                    <a:pt x="298" y="2501"/>
                  </a:cubicBezTo>
                  <a:lnTo>
                    <a:pt x="298" y="1203"/>
                  </a:lnTo>
                  <a:cubicBezTo>
                    <a:pt x="298" y="1168"/>
                    <a:pt x="322" y="1156"/>
                    <a:pt x="334" y="1156"/>
                  </a:cubicBezTo>
                  <a:lnTo>
                    <a:pt x="7335" y="1156"/>
                  </a:lnTo>
                  <a:cubicBezTo>
                    <a:pt x="7418" y="1156"/>
                    <a:pt x="7478" y="1084"/>
                    <a:pt x="7478" y="1013"/>
                  </a:cubicBezTo>
                  <a:cubicBezTo>
                    <a:pt x="7478" y="918"/>
                    <a:pt x="7406" y="858"/>
                    <a:pt x="7335" y="858"/>
                  </a:cubicBezTo>
                  <a:lnTo>
                    <a:pt x="6573" y="858"/>
                  </a:lnTo>
                  <a:lnTo>
                    <a:pt x="6263" y="382"/>
                  </a:lnTo>
                  <a:cubicBezTo>
                    <a:pt x="6204" y="275"/>
                    <a:pt x="6085" y="215"/>
                    <a:pt x="5966" y="215"/>
                  </a:cubicBezTo>
                  <a:lnTo>
                    <a:pt x="3930" y="215"/>
                  </a:lnTo>
                  <a:lnTo>
                    <a:pt x="3894" y="156"/>
                  </a:lnTo>
                  <a:cubicBezTo>
                    <a:pt x="3834" y="60"/>
                    <a:pt x="3715" y="1"/>
                    <a:pt x="3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2" name="Google Shape;12602;p62"/>
            <p:cNvSpPr/>
            <p:nvPr/>
          </p:nvSpPr>
          <p:spPr>
            <a:xfrm>
              <a:off x="2412205" y="4330525"/>
              <a:ext cx="334016" cy="273428"/>
            </a:xfrm>
            <a:custGeom>
              <a:avLst/>
              <a:gdLst/>
              <a:ahLst/>
              <a:cxnLst/>
              <a:rect l="l" t="t" r="r" b="b"/>
              <a:pathLst>
                <a:path w="10502" h="8597" extrusionOk="0">
                  <a:moveTo>
                    <a:pt x="6847" y="6835"/>
                  </a:moveTo>
                  <a:cubicBezTo>
                    <a:pt x="6870" y="6835"/>
                    <a:pt x="6894" y="6858"/>
                    <a:pt x="6894" y="6870"/>
                  </a:cubicBezTo>
                  <a:lnTo>
                    <a:pt x="6894" y="7192"/>
                  </a:lnTo>
                  <a:cubicBezTo>
                    <a:pt x="6894" y="7644"/>
                    <a:pt x="7097" y="8049"/>
                    <a:pt x="7442" y="8323"/>
                  </a:cubicBezTo>
                  <a:lnTo>
                    <a:pt x="1989" y="8323"/>
                  </a:lnTo>
                  <a:cubicBezTo>
                    <a:pt x="1370" y="8323"/>
                    <a:pt x="858" y="7811"/>
                    <a:pt x="858" y="7192"/>
                  </a:cubicBezTo>
                  <a:lnTo>
                    <a:pt x="858" y="6870"/>
                  </a:lnTo>
                  <a:cubicBezTo>
                    <a:pt x="858" y="6846"/>
                    <a:pt x="894" y="6835"/>
                    <a:pt x="905" y="6835"/>
                  </a:cubicBezTo>
                  <a:close/>
                  <a:moveTo>
                    <a:pt x="8002" y="0"/>
                  </a:moveTo>
                  <a:cubicBezTo>
                    <a:pt x="7918" y="0"/>
                    <a:pt x="7859" y="72"/>
                    <a:pt x="7859" y="143"/>
                  </a:cubicBezTo>
                  <a:cubicBezTo>
                    <a:pt x="7859" y="238"/>
                    <a:pt x="7930" y="298"/>
                    <a:pt x="8002" y="298"/>
                  </a:cubicBezTo>
                  <a:lnTo>
                    <a:pt x="10133" y="298"/>
                  </a:lnTo>
                  <a:cubicBezTo>
                    <a:pt x="10169" y="298"/>
                    <a:pt x="10180" y="322"/>
                    <a:pt x="10180" y="346"/>
                  </a:cubicBezTo>
                  <a:lnTo>
                    <a:pt x="10180" y="6918"/>
                  </a:lnTo>
                  <a:cubicBezTo>
                    <a:pt x="10180" y="6954"/>
                    <a:pt x="10145" y="6966"/>
                    <a:pt x="10133" y="6966"/>
                  </a:cubicBezTo>
                  <a:lnTo>
                    <a:pt x="9847" y="6966"/>
                  </a:lnTo>
                  <a:lnTo>
                    <a:pt x="9847" y="2465"/>
                  </a:lnTo>
                  <a:cubicBezTo>
                    <a:pt x="9847" y="2274"/>
                    <a:pt x="9680" y="2108"/>
                    <a:pt x="9490" y="2108"/>
                  </a:cubicBezTo>
                  <a:lnTo>
                    <a:pt x="5358" y="2108"/>
                  </a:lnTo>
                  <a:cubicBezTo>
                    <a:pt x="5263" y="2108"/>
                    <a:pt x="5204" y="2191"/>
                    <a:pt x="5204" y="2263"/>
                  </a:cubicBezTo>
                  <a:cubicBezTo>
                    <a:pt x="5204" y="2346"/>
                    <a:pt x="5287" y="2405"/>
                    <a:pt x="5358" y="2405"/>
                  </a:cubicBezTo>
                  <a:lnTo>
                    <a:pt x="9490" y="2405"/>
                  </a:lnTo>
                  <a:cubicBezTo>
                    <a:pt x="9526" y="2405"/>
                    <a:pt x="9537" y="2441"/>
                    <a:pt x="9537" y="2453"/>
                  </a:cubicBezTo>
                  <a:lnTo>
                    <a:pt x="9537" y="7144"/>
                  </a:lnTo>
                  <a:cubicBezTo>
                    <a:pt x="9537" y="7763"/>
                    <a:pt x="9037" y="8275"/>
                    <a:pt x="8406" y="8275"/>
                  </a:cubicBezTo>
                  <a:lnTo>
                    <a:pt x="8335" y="8275"/>
                  </a:lnTo>
                  <a:cubicBezTo>
                    <a:pt x="7704" y="8275"/>
                    <a:pt x="7204" y="7763"/>
                    <a:pt x="7204" y="7144"/>
                  </a:cubicBezTo>
                  <a:lnTo>
                    <a:pt x="7204" y="6823"/>
                  </a:lnTo>
                  <a:cubicBezTo>
                    <a:pt x="7204" y="6632"/>
                    <a:pt x="7037" y="6465"/>
                    <a:pt x="6847" y="6465"/>
                  </a:cubicBezTo>
                  <a:lnTo>
                    <a:pt x="3513" y="6465"/>
                  </a:lnTo>
                  <a:lnTo>
                    <a:pt x="3513" y="2453"/>
                  </a:lnTo>
                  <a:cubicBezTo>
                    <a:pt x="3513" y="2417"/>
                    <a:pt x="3537" y="2405"/>
                    <a:pt x="3549" y="2405"/>
                  </a:cubicBezTo>
                  <a:lnTo>
                    <a:pt x="4680" y="2405"/>
                  </a:lnTo>
                  <a:cubicBezTo>
                    <a:pt x="4775" y="2405"/>
                    <a:pt x="4835" y="2334"/>
                    <a:pt x="4835" y="2263"/>
                  </a:cubicBezTo>
                  <a:cubicBezTo>
                    <a:pt x="4835" y="2167"/>
                    <a:pt x="4763" y="2108"/>
                    <a:pt x="4680" y="2108"/>
                  </a:cubicBezTo>
                  <a:lnTo>
                    <a:pt x="3549" y="2108"/>
                  </a:lnTo>
                  <a:cubicBezTo>
                    <a:pt x="3358" y="2108"/>
                    <a:pt x="3191" y="2274"/>
                    <a:pt x="3191" y="2465"/>
                  </a:cubicBezTo>
                  <a:lnTo>
                    <a:pt x="3191" y="6489"/>
                  </a:lnTo>
                  <a:lnTo>
                    <a:pt x="905" y="6489"/>
                  </a:lnTo>
                  <a:cubicBezTo>
                    <a:pt x="715" y="6489"/>
                    <a:pt x="548" y="6656"/>
                    <a:pt x="548" y="6846"/>
                  </a:cubicBezTo>
                  <a:lnTo>
                    <a:pt x="548" y="6966"/>
                  </a:lnTo>
                  <a:lnTo>
                    <a:pt x="346" y="6966"/>
                  </a:lnTo>
                  <a:cubicBezTo>
                    <a:pt x="310" y="6966"/>
                    <a:pt x="298" y="6930"/>
                    <a:pt x="298" y="6918"/>
                  </a:cubicBezTo>
                  <a:lnTo>
                    <a:pt x="298" y="2298"/>
                  </a:lnTo>
                  <a:cubicBezTo>
                    <a:pt x="298" y="2215"/>
                    <a:pt x="227" y="2155"/>
                    <a:pt x="143" y="2155"/>
                  </a:cubicBezTo>
                  <a:cubicBezTo>
                    <a:pt x="60" y="2155"/>
                    <a:pt x="1" y="2227"/>
                    <a:pt x="1" y="2298"/>
                  </a:cubicBezTo>
                  <a:lnTo>
                    <a:pt x="1" y="6918"/>
                  </a:lnTo>
                  <a:cubicBezTo>
                    <a:pt x="1" y="7108"/>
                    <a:pt x="167" y="7275"/>
                    <a:pt x="358" y="7275"/>
                  </a:cubicBezTo>
                  <a:lnTo>
                    <a:pt x="584" y="7275"/>
                  </a:lnTo>
                  <a:cubicBezTo>
                    <a:pt x="632" y="8013"/>
                    <a:pt x="1251" y="8597"/>
                    <a:pt x="2001" y="8597"/>
                  </a:cubicBezTo>
                  <a:lnTo>
                    <a:pt x="8442" y="8597"/>
                  </a:lnTo>
                  <a:cubicBezTo>
                    <a:pt x="9192" y="8597"/>
                    <a:pt x="9823" y="8013"/>
                    <a:pt x="9871" y="7275"/>
                  </a:cubicBezTo>
                  <a:lnTo>
                    <a:pt x="10145" y="7275"/>
                  </a:lnTo>
                  <a:cubicBezTo>
                    <a:pt x="10335" y="7275"/>
                    <a:pt x="10502" y="7108"/>
                    <a:pt x="10502" y="6918"/>
                  </a:cubicBezTo>
                  <a:lnTo>
                    <a:pt x="10502" y="334"/>
                  </a:lnTo>
                  <a:cubicBezTo>
                    <a:pt x="10490" y="167"/>
                    <a:pt x="10347" y="0"/>
                    <a:pt x="101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3" name="Google Shape;12603;p62"/>
            <p:cNvSpPr/>
            <p:nvPr/>
          </p:nvSpPr>
          <p:spPr>
            <a:xfrm>
              <a:off x="2543241" y="4476319"/>
              <a:ext cx="20101" cy="9478"/>
            </a:xfrm>
            <a:custGeom>
              <a:avLst/>
              <a:gdLst/>
              <a:ahLst/>
              <a:cxnLst/>
              <a:rect l="l" t="t" r="r" b="b"/>
              <a:pathLst>
                <a:path w="632" h="298" extrusionOk="0">
                  <a:moveTo>
                    <a:pt x="167" y="0"/>
                  </a:moveTo>
                  <a:cubicBezTo>
                    <a:pt x="72" y="0"/>
                    <a:pt x="12" y="72"/>
                    <a:pt x="12" y="143"/>
                  </a:cubicBezTo>
                  <a:cubicBezTo>
                    <a:pt x="0" y="226"/>
                    <a:pt x="72" y="298"/>
                    <a:pt x="167" y="298"/>
                  </a:cubicBezTo>
                  <a:lnTo>
                    <a:pt x="476" y="298"/>
                  </a:lnTo>
                  <a:cubicBezTo>
                    <a:pt x="572" y="298"/>
                    <a:pt x="631" y="226"/>
                    <a:pt x="631" y="143"/>
                  </a:cubicBezTo>
                  <a:cubicBezTo>
                    <a:pt x="631" y="60"/>
                    <a:pt x="548" y="0"/>
                    <a:pt x="47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4" name="Google Shape;12604;p62"/>
            <p:cNvSpPr/>
            <p:nvPr/>
          </p:nvSpPr>
          <p:spPr>
            <a:xfrm>
              <a:off x="2568590" y="4475937"/>
              <a:ext cx="129160" cy="9478"/>
            </a:xfrm>
            <a:custGeom>
              <a:avLst/>
              <a:gdLst/>
              <a:ahLst/>
              <a:cxnLst/>
              <a:rect l="l" t="t" r="r" b="b"/>
              <a:pathLst>
                <a:path w="4061" h="298" extrusionOk="0">
                  <a:moveTo>
                    <a:pt x="156" y="0"/>
                  </a:moveTo>
                  <a:cubicBezTo>
                    <a:pt x="84" y="0"/>
                    <a:pt x="1" y="72"/>
                    <a:pt x="1" y="143"/>
                  </a:cubicBezTo>
                  <a:cubicBezTo>
                    <a:pt x="1" y="238"/>
                    <a:pt x="84" y="298"/>
                    <a:pt x="156" y="298"/>
                  </a:cubicBezTo>
                  <a:lnTo>
                    <a:pt x="3906" y="298"/>
                  </a:lnTo>
                  <a:cubicBezTo>
                    <a:pt x="4001" y="298"/>
                    <a:pt x="4061" y="215"/>
                    <a:pt x="4061" y="143"/>
                  </a:cubicBezTo>
                  <a:cubicBezTo>
                    <a:pt x="4061" y="60"/>
                    <a:pt x="3978"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5" name="Google Shape;12605;p62"/>
            <p:cNvSpPr/>
            <p:nvPr/>
          </p:nvSpPr>
          <p:spPr>
            <a:xfrm>
              <a:off x="2543241" y="4491840"/>
              <a:ext cx="154890" cy="9510"/>
            </a:xfrm>
            <a:custGeom>
              <a:avLst/>
              <a:gdLst/>
              <a:ahLst/>
              <a:cxnLst/>
              <a:rect l="l" t="t" r="r" b="b"/>
              <a:pathLst>
                <a:path w="4870" h="299" extrusionOk="0">
                  <a:moveTo>
                    <a:pt x="155" y="0"/>
                  </a:moveTo>
                  <a:cubicBezTo>
                    <a:pt x="60" y="0"/>
                    <a:pt x="0" y="72"/>
                    <a:pt x="0" y="155"/>
                  </a:cubicBezTo>
                  <a:cubicBezTo>
                    <a:pt x="0" y="239"/>
                    <a:pt x="72" y="298"/>
                    <a:pt x="155" y="298"/>
                  </a:cubicBezTo>
                  <a:lnTo>
                    <a:pt x="4715" y="298"/>
                  </a:lnTo>
                  <a:cubicBezTo>
                    <a:pt x="4810" y="298"/>
                    <a:pt x="4870" y="227"/>
                    <a:pt x="4870" y="155"/>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6" name="Google Shape;12606;p62"/>
            <p:cNvSpPr/>
            <p:nvPr/>
          </p:nvSpPr>
          <p:spPr>
            <a:xfrm>
              <a:off x="2543241" y="4508506"/>
              <a:ext cx="154890" cy="9478"/>
            </a:xfrm>
            <a:custGeom>
              <a:avLst/>
              <a:gdLst/>
              <a:ahLst/>
              <a:cxnLst/>
              <a:rect l="l" t="t" r="r" b="b"/>
              <a:pathLst>
                <a:path w="4870" h="298" extrusionOk="0">
                  <a:moveTo>
                    <a:pt x="155" y="0"/>
                  </a:moveTo>
                  <a:cubicBezTo>
                    <a:pt x="60" y="0"/>
                    <a:pt x="0" y="72"/>
                    <a:pt x="0" y="143"/>
                  </a:cubicBezTo>
                  <a:cubicBezTo>
                    <a:pt x="0" y="238"/>
                    <a:pt x="72" y="298"/>
                    <a:pt x="155" y="298"/>
                  </a:cubicBezTo>
                  <a:lnTo>
                    <a:pt x="4715" y="298"/>
                  </a:lnTo>
                  <a:cubicBezTo>
                    <a:pt x="4810" y="298"/>
                    <a:pt x="4870" y="227"/>
                    <a:pt x="4870" y="143"/>
                  </a:cubicBezTo>
                  <a:cubicBezTo>
                    <a:pt x="4870" y="72"/>
                    <a:pt x="4810" y="0"/>
                    <a:pt x="4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07" name="Google Shape;12607;p62"/>
            <p:cNvSpPr/>
            <p:nvPr/>
          </p:nvSpPr>
          <p:spPr>
            <a:xfrm>
              <a:off x="2635635" y="4436563"/>
              <a:ext cx="62497" cy="27289"/>
            </a:xfrm>
            <a:custGeom>
              <a:avLst/>
              <a:gdLst/>
              <a:ahLst/>
              <a:cxnLst/>
              <a:rect l="l" t="t" r="r" b="b"/>
              <a:pathLst>
                <a:path w="1965" h="858" extrusionOk="0">
                  <a:moveTo>
                    <a:pt x="1655" y="310"/>
                  </a:moveTo>
                  <a:lnTo>
                    <a:pt x="1655" y="560"/>
                  </a:lnTo>
                  <a:lnTo>
                    <a:pt x="298" y="560"/>
                  </a:lnTo>
                  <a:lnTo>
                    <a:pt x="298" y="310"/>
                  </a:lnTo>
                  <a:close/>
                  <a:moveTo>
                    <a:pt x="143" y="0"/>
                  </a:moveTo>
                  <a:cubicBezTo>
                    <a:pt x="60" y="0"/>
                    <a:pt x="0" y="72"/>
                    <a:pt x="0" y="143"/>
                  </a:cubicBezTo>
                  <a:lnTo>
                    <a:pt x="0" y="714"/>
                  </a:lnTo>
                  <a:cubicBezTo>
                    <a:pt x="0" y="798"/>
                    <a:pt x="72" y="857"/>
                    <a:pt x="143" y="857"/>
                  </a:cubicBezTo>
                  <a:lnTo>
                    <a:pt x="1810" y="857"/>
                  </a:lnTo>
                  <a:cubicBezTo>
                    <a:pt x="1905" y="857"/>
                    <a:pt x="1965" y="786"/>
                    <a:pt x="1965" y="714"/>
                  </a:cubicBezTo>
                  <a:lnTo>
                    <a:pt x="1965" y="143"/>
                  </a:lnTo>
                  <a:cubicBezTo>
                    <a:pt x="1965" y="60"/>
                    <a:pt x="1893" y="0"/>
                    <a:pt x="1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08" name="Google Shape;12608;p62"/>
          <p:cNvGrpSpPr/>
          <p:nvPr/>
        </p:nvGrpSpPr>
        <p:grpSpPr>
          <a:xfrm>
            <a:off x="2903337" y="4279032"/>
            <a:ext cx="382519" cy="350682"/>
            <a:chOff x="2903337" y="4279032"/>
            <a:chExt cx="382519" cy="350682"/>
          </a:xfrm>
        </p:grpSpPr>
        <p:sp>
          <p:nvSpPr>
            <p:cNvPr id="12609" name="Google Shape;12609;p62"/>
            <p:cNvSpPr/>
            <p:nvPr/>
          </p:nvSpPr>
          <p:spPr>
            <a:xfrm>
              <a:off x="2966979" y="4320570"/>
              <a:ext cx="202248" cy="184183"/>
            </a:xfrm>
            <a:custGeom>
              <a:avLst/>
              <a:gdLst/>
              <a:ahLst/>
              <a:cxnLst/>
              <a:rect l="l" t="t" r="r" b="b"/>
              <a:pathLst>
                <a:path w="6359" h="5791" extrusionOk="0">
                  <a:moveTo>
                    <a:pt x="3179" y="361"/>
                  </a:moveTo>
                  <a:cubicBezTo>
                    <a:pt x="3834" y="361"/>
                    <a:pt x="4477" y="611"/>
                    <a:pt x="4989" y="1099"/>
                  </a:cubicBezTo>
                  <a:cubicBezTo>
                    <a:pt x="5965" y="2087"/>
                    <a:pt x="5965" y="3707"/>
                    <a:pt x="4965" y="4683"/>
                  </a:cubicBezTo>
                  <a:cubicBezTo>
                    <a:pt x="4465" y="5183"/>
                    <a:pt x="3813" y="5433"/>
                    <a:pt x="3164" y="5433"/>
                  </a:cubicBezTo>
                  <a:cubicBezTo>
                    <a:pt x="2515" y="5433"/>
                    <a:pt x="1870" y="5183"/>
                    <a:pt x="1381" y="4683"/>
                  </a:cubicBezTo>
                  <a:cubicBezTo>
                    <a:pt x="393" y="3695"/>
                    <a:pt x="381" y="2087"/>
                    <a:pt x="1381" y="1099"/>
                  </a:cubicBezTo>
                  <a:cubicBezTo>
                    <a:pt x="1870" y="611"/>
                    <a:pt x="2524" y="361"/>
                    <a:pt x="3179" y="361"/>
                  </a:cubicBezTo>
                  <a:close/>
                  <a:moveTo>
                    <a:pt x="3179" y="1"/>
                  </a:moveTo>
                  <a:cubicBezTo>
                    <a:pt x="2438" y="1"/>
                    <a:pt x="1697" y="284"/>
                    <a:pt x="1131" y="849"/>
                  </a:cubicBezTo>
                  <a:cubicBezTo>
                    <a:pt x="0" y="1980"/>
                    <a:pt x="0" y="3814"/>
                    <a:pt x="1131" y="4945"/>
                  </a:cubicBezTo>
                  <a:cubicBezTo>
                    <a:pt x="1691" y="5504"/>
                    <a:pt x="2441" y="5790"/>
                    <a:pt x="3167" y="5790"/>
                  </a:cubicBezTo>
                  <a:cubicBezTo>
                    <a:pt x="3917" y="5790"/>
                    <a:pt x="4644" y="5504"/>
                    <a:pt x="5203" y="4945"/>
                  </a:cubicBezTo>
                  <a:cubicBezTo>
                    <a:pt x="6358" y="3814"/>
                    <a:pt x="6358" y="1980"/>
                    <a:pt x="5227" y="849"/>
                  </a:cubicBezTo>
                  <a:cubicBezTo>
                    <a:pt x="4662" y="284"/>
                    <a:pt x="3920" y="1"/>
                    <a:pt x="3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0" name="Google Shape;12610;p62"/>
            <p:cNvSpPr/>
            <p:nvPr/>
          </p:nvSpPr>
          <p:spPr>
            <a:xfrm>
              <a:off x="2903337" y="4279032"/>
              <a:ext cx="382519" cy="350682"/>
            </a:xfrm>
            <a:custGeom>
              <a:avLst/>
              <a:gdLst/>
              <a:ahLst/>
              <a:cxnLst/>
              <a:rect l="l" t="t" r="r" b="b"/>
              <a:pathLst>
                <a:path w="12027" h="11026" extrusionOk="0">
                  <a:moveTo>
                    <a:pt x="5168" y="1072"/>
                  </a:moveTo>
                  <a:cubicBezTo>
                    <a:pt x="5966" y="1072"/>
                    <a:pt x="6776" y="1381"/>
                    <a:pt x="7383" y="1988"/>
                  </a:cubicBezTo>
                  <a:cubicBezTo>
                    <a:pt x="8609" y="3215"/>
                    <a:pt x="8609" y="5203"/>
                    <a:pt x="7383" y="6429"/>
                  </a:cubicBezTo>
                  <a:cubicBezTo>
                    <a:pt x="6776" y="7037"/>
                    <a:pt x="5966" y="7346"/>
                    <a:pt x="5168" y="7346"/>
                  </a:cubicBezTo>
                  <a:cubicBezTo>
                    <a:pt x="4359" y="7334"/>
                    <a:pt x="3561" y="7037"/>
                    <a:pt x="2954" y="6429"/>
                  </a:cubicBezTo>
                  <a:cubicBezTo>
                    <a:pt x="1727" y="5203"/>
                    <a:pt x="1727" y="3215"/>
                    <a:pt x="2954" y="1988"/>
                  </a:cubicBezTo>
                  <a:cubicBezTo>
                    <a:pt x="3561" y="1381"/>
                    <a:pt x="4359" y="1072"/>
                    <a:pt x="5168" y="1072"/>
                  </a:cubicBezTo>
                  <a:close/>
                  <a:moveTo>
                    <a:pt x="7788" y="6513"/>
                  </a:moveTo>
                  <a:lnTo>
                    <a:pt x="8538" y="7263"/>
                  </a:lnTo>
                  <a:lnTo>
                    <a:pt x="8240" y="7561"/>
                  </a:lnTo>
                  <a:lnTo>
                    <a:pt x="7490" y="6810"/>
                  </a:lnTo>
                  <a:cubicBezTo>
                    <a:pt x="7550" y="6763"/>
                    <a:pt x="7597" y="6727"/>
                    <a:pt x="7633" y="6668"/>
                  </a:cubicBezTo>
                  <a:lnTo>
                    <a:pt x="7788" y="6513"/>
                  </a:lnTo>
                  <a:close/>
                  <a:moveTo>
                    <a:pt x="9038" y="7251"/>
                  </a:moveTo>
                  <a:cubicBezTo>
                    <a:pt x="9050" y="7251"/>
                    <a:pt x="9050" y="7251"/>
                    <a:pt x="9074" y="7275"/>
                  </a:cubicBezTo>
                  <a:lnTo>
                    <a:pt x="11276" y="9477"/>
                  </a:lnTo>
                  <a:lnTo>
                    <a:pt x="10455" y="10287"/>
                  </a:lnTo>
                  <a:lnTo>
                    <a:pt x="8252" y="8084"/>
                  </a:lnTo>
                  <a:cubicBezTo>
                    <a:pt x="8240" y="8073"/>
                    <a:pt x="8240" y="8061"/>
                    <a:pt x="8240" y="8061"/>
                  </a:cubicBezTo>
                  <a:cubicBezTo>
                    <a:pt x="8240" y="8049"/>
                    <a:pt x="8240" y="8049"/>
                    <a:pt x="8252" y="8037"/>
                  </a:cubicBezTo>
                  <a:lnTo>
                    <a:pt x="9014" y="7275"/>
                  </a:lnTo>
                  <a:cubicBezTo>
                    <a:pt x="9026" y="7251"/>
                    <a:pt x="9026" y="7251"/>
                    <a:pt x="9038" y="7251"/>
                  </a:cubicBezTo>
                  <a:close/>
                  <a:moveTo>
                    <a:pt x="11514" y="9716"/>
                  </a:moveTo>
                  <a:lnTo>
                    <a:pt x="11621" y="9835"/>
                  </a:lnTo>
                  <a:cubicBezTo>
                    <a:pt x="11645" y="9847"/>
                    <a:pt x="11645" y="9882"/>
                    <a:pt x="11633" y="9894"/>
                  </a:cubicBezTo>
                  <a:lnTo>
                    <a:pt x="10871" y="10656"/>
                  </a:lnTo>
                  <a:cubicBezTo>
                    <a:pt x="10859" y="10668"/>
                    <a:pt x="10859" y="10668"/>
                    <a:pt x="10836" y="10668"/>
                  </a:cubicBezTo>
                  <a:cubicBezTo>
                    <a:pt x="10824" y="10668"/>
                    <a:pt x="10824" y="10668"/>
                    <a:pt x="10812" y="10656"/>
                  </a:cubicBezTo>
                  <a:lnTo>
                    <a:pt x="10693" y="10537"/>
                  </a:lnTo>
                  <a:lnTo>
                    <a:pt x="11514" y="9716"/>
                  </a:lnTo>
                  <a:close/>
                  <a:moveTo>
                    <a:pt x="656" y="0"/>
                  </a:moveTo>
                  <a:cubicBezTo>
                    <a:pt x="299" y="0"/>
                    <a:pt x="1" y="298"/>
                    <a:pt x="1" y="655"/>
                  </a:cubicBezTo>
                  <a:lnTo>
                    <a:pt x="1" y="8715"/>
                  </a:lnTo>
                  <a:cubicBezTo>
                    <a:pt x="1" y="8942"/>
                    <a:pt x="180" y="9132"/>
                    <a:pt x="418" y="9132"/>
                  </a:cubicBezTo>
                  <a:lnTo>
                    <a:pt x="5859" y="9132"/>
                  </a:lnTo>
                  <a:cubicBezTo>
                    <a:pt x="5954" y="9132"/>
                    <a:pt x="6037" y="9061"/>
                    <a:pt x="6037" y="8954"/>
                  </a:cubicBezTo>
                  <a:cubicBezTo>
                    <a:pt x="6037" y="8846"/>
                    <a:pt x="5954" y="8775"/>
                    <a:pt x="5859" y="8775"/>
                  </a:cubicBezTo>
                  <a:lnTo>
                    <a:pt x="418" y="8775"/>
                  </a:lnTo>
                  <a:cubicBezTo>
                    <a:pt x="394" y="8775"/>
                    <a:pt x="358" y="8739"/>
                    <a:pt x="358" y="8715"/>
                  </a:cubicBezTo>
                  <a:lnTo>
                    <a:pt x="358" y="1631"/>
                  </a:lnTo>
                  <a:lnTo>
                    <a:pt x="2787" y="1631"/>
                  </a:lnTo>
                  <a:lnTo>
                    <a:pt x="2704" y="1727"/>
                  </a:lnTo>
                  <a:cubicBezTo>
                    <a:pt x="1346" y="3072"/>
                    <a:pt x="1346" y="5298"/>
                    <a:pt x="2704" y="6668"/>
                  </a:cubicBezTo>
                  <a:cubicBezTo>
                    <a:pt x="3382" y="7346"/>
                    <a:pt x="4275" y="7692"/>
                    <a:pt x="5168" y="7692"/>
                  </a:cubicBezTo>
                  <a:cubicBezTo>
                    <a:pt x="5883" y="7692"/>
                    <a:pt x="6597" y="7465"/>
                    <a:pt x="7204" y="7037"/>
                  </a:cubicBezTo>
                  <a:lnTo>
                    <a:pt x="7978" y="7811"/>
                  </a:lnTo>
                  <a:cubicBezTo>
                    <a:pt x="7919" y="7882"/>
                    <a:pt x="7883" y="7977"/>
                    <a:pt x="7883" y="8061"/>
                  </a:cubicBezTo>
                  <a:cubicBezTo>
                    <a:pt x="7883" y="8168"/>
                    <a:pt x="7919" y="8275"/>
                    <a:pt x="8002" y="8346"/>
                  </a:cubicBezTo>
                  <a:lnTo>
                    <a:pt x="8443" y="8787"/>
                  </a:lnTo>
                  <a:lnTo>
                    <a:pt x="6609" y="8787"/>
                  </a:lnTo>
                  <a:cubicBezTo>
                    <a:pt x="6514" y="8787"/>
                    <a:pt x="6430" y="8870"/>
                    <a:pt x="6430" y="8966"/>
                  </a:cubicBezTo>
                  <a:cubicBezTo>
                    <a:pt x="6430" y="9073"/>
                    <a:pt x="6514" y="9144"/>
                    <a:pt x="6609" y="9144"/>
                  </a:cubicBezTo>
                  <a:lnTo>
                    <a:pt x="8800" y="9144"/>
                  </a:lnTo>
                  <a:lnTo>
                    <a:pt x="10562" y="10906"/>
                  </a:lnTo>
                  <a:cubicBezTo>
                    <a:pt x="10633" y="10978"/>
                    <a:pt x="10740" y="11025"/>
                    <a:pt x="10836" y="11025"/>
                  </a:cubicBezTo>
                  <a:cubicBezTo>
                    <a:pt x="10943" y="11025"/>
                    <a:pt x="11050" y="10978"/>
                    <a:pt x="11121" y="10906"/>
                  </a:cubicBezTo>
                  <a:lnTo>
                    <a:pt x="11883" y="10144"/>
                  </a:lnTo>
                  <a:cubicBezTo>
                    <a:pt x="12026" y="9978"/>
                    <a:pt x="12026" y="9728"/>
                    <a:pt x="11872" y="9585"/>
                  </a:cubicBezTo>
                  <a:lnTo>
                    <a:pt x="11062" y="8775"/>
                  </a:lnTo>
                  <a:lnTo>
                    <a:pt x="11062" y="8727"/>
                  </a:lnTo>
                  <a:lnTo>
                    <a:pt x="11062" y="7025"/>
                  </a:lnTo>
                  <a:cubicBezTo>
                    <a:pt x="11062" y="6918"/>
                    <a:pt x="10990" y="6846"/>
                    <a:pt x="10883" y="6846"/>
                  </a:cubicBezTo>
                  <a:cubicBezTo>
                    <a:pt x="10776" y="6846"/>
                    <a:pt x="10705" y="6918"/>
                    <a:pt x="10705" y="7025"/>
                  </a:cubicBezTo>
                  <a:lnTo>
                    <a:pt x="10705" y="8430"/>
                  </a:lnTo>
                  <a:lnTo>
                    <a:pt x="9312" y="7037"/>
                  </a:lnTo>
                  <a:cubicBezTo>
                    <a:pt x="9233" y="6958"/>
                    <a:pt x="9132" y="6919"/>
                    <a:pt x="9034" y="6919"/>
                  </a:cubicBezTo>
                  <a:cubicBezTo>
                    <a:pt x="8939" y="6919"/>
                    <a:pt x="8846" y="6955"/>
                    <a:pt x="8776" y="7025"/>
                  </a:cubicBezTo>
                  <a:lnTo>
                    <a:pt x="8002" y="6251"/>
                  </a:lnTo>
                  <a:cubicBezTo>
                    <a:pt x="8978" y="4882"/>
                    <a:pt x="8859" y="2953"/>
                    <a:pt x="7633" y="1738"/>
                  </a:cubicBezTo>
                  <a:lnTo>
                    <a:pt x="7550" y="1643"/>
                  </a:lnTo>
                  <a:lnTo>
                    <a:pt x="10705" y="1643"/>
                  </a:lnTo>
                  <a:lnTo>
                    <a:pt x="10705" y="6251"/>
                  </a:lnTo>
                  <a:cubicBezTo>
                    <a:pt x="10705" y="6346"/>
                    <a:pt x="10776" y="6429"/>
                    <a:pt x="10883" y="6429"/>
                  </a:cubicBezTo>
                  <a:cubicBezTo>
                    <a:pt x="10990" y="6429"/>
                    <a:pt x="11062" y="6346"/>
                    <a:pt x="11062" y="6251"/>
                  </a:cubicBezTo>
                  <a:lnTo>
                    <a:pt x="11062" y="655"/>
                  </a:lnTo>
                  <a:cubicBezTo>
                    <a:pt x="11062" y="298"/>
                    <a:pt x="10764" y="0"/>
                    <a:pt x="10407" y="0"/>
                  </a:cubicBezTo>
                  <a:lnTo>
                    <a:pt x="8812" y="0"/>
                  </a:lnTo>
                  <a:cubicBezTo>
                    <a:pt x="8716" y="0"/>
                    <a:pt x="8633" y="72"/>
                    <a:pt x="8633" y="179"/>
                  </a:cubicBezTo>
                  <a:cubicBezTo>
                    <a:pt x="8633" y="274"/>
                    <a:pt x="8716" y="357"/>
                    <a:pt x="8812" y="357"/>
                  </a:cubicBezTo>
                  <a:lnTo>
                    <a:pt x="10407" y="357"/>
                  </a:lnTo>
                  <a:cubicBezTo>
                    <a:pt x="10574" y="357"/>
                    <a:pt x="10705" y="488"/>
                    <a:pt x="10705" y="655"/>
                  </a:cubicBezTo>
                  <a:lnTo>
                    <a:pt x="10705" y="1286"/>
                  </a:lnTo>
                  <a:lnTo>
                    <a:pt x="7109" y="1286"/>
                  </a:lnTo>
                  <a:cubicBezTo>
                    <a:pt x="6520" y="899"/>
                    <a:pt x="5841" y="706"/>
                    <a:pt x="5165" y="706"/>
                  </a:cubicBezTo>
                  <a:cubicBezTo>
                    <a:pt x="4490" y="706"/>
                    <a:pt x="3817" y="899"/>
                    <a:pt x="3239" y="1286"/>
                  </a:cubicBezTo>
                  <a:lnTo>
                    <a:pt x="358" y="1286"/>
                  </a:lnTo>
                  <a:lnTo>
                    <a:pt x="358" y="655"/>
                  </a:lnTo>
                  <a:cubicBezTo>
                    <a:pt x="358" y="488"/>
                    <a:pt x="501" y="357"/>
                    <a:pt x="656" y="357"/>
                  </a:cubicBezTo>
                  <a:lnTo>
                    <a:pt x="8062" y="357"/>
                  </a:lnTo>
                  <a:cubicBezTo>
                    <a:pt x="8157" y="357"/>
                    <a:pt x="8240" y="274"/>
                    <a:pt x="8240" y="179"/>
                  </a:cubicBezTo>
                  <a:cubicBezTo>
                    <a:pt x="8240" y="72"/>
                    <a:pt x="8157" y="0"/>
                    <a:pt x="8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1" name="Google Shape;12611;p62"/>
            <p:cNvSpPr/>
            <p:nvPr/>
          </p:nvSpPr>
          <p:spPr>
            <a:xfrm>
              <a:off x="2937814" y="4300215"/>
              <a:ext cx="11768" cy="11418"/>
            </a:xfrm>
            <a:custGeom>
              <a:avLst/>
              <a:gdLst/>
              <a:ahLst/>
              <a:cxnLst/>
              <a:rect l="l" t="t" r="r" b="b"/>
              <a:pathLst>
                <a:path w="370" h="359" extrusionOk="0">
                  <a:moveTo>
                    <a:pt x="191" y="1"/>
                  </a:moveTo>
                  <a:cubicBezTo>
                    <a:pt x="84" y="1"/>
                    <a:pt x="0" y="72"/>
                    <a:pt x="0" y="179"/>
                  </a:cubicBezTo>
                  <a:cubicBezTo>
                    <a:pt x="0" y="263"/>
                    <a:pt x="84" y="358"/>
                    <a:pt x="191" y="358"/>
                  </a:cubicBezTo>
                  <a:cubicBezTo>
                    <a:pt x="286" y="358"/>
                    <a:pt x="370" y="287"/>
                    <a:pt x="370" y="179"/>
                  </a:cubicBezTo>
                  <a:cubicBezTo>
                    <a:pt x="370" y="72"/>
                    <a:pt x="286"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2" name="Google Shape;12612;p62"/>
            <p:cNvSpPr/>
            <p:nvPr/>
          </p:nvSpPr>
          <p:spPr>
            <a:xfrm>
              <a:off x="2952572" y="4300215"/>
              <a:ext cx="11386" cy="11418"/>
            </a:xfrm>
            <a:custGeom>
              <a:avLst/>
              <a:gdLst/>
              <a:ahLst/>
              <a:cxnLst/>
              <a:rect l="l" t="t" r="r" b="b"/>
              <a:pathLst>
                <a:path w="358" h="359" extrusionOk="0">
                  <a:moveTo>
                    <a:pt x="179" y="1"/>
                  </a:moveTo>
                  <a:cubicBezTo>
                    <a:pt x="84" y="1"/>
                    <a:pt x="1" y="72"/>
                    <a:pt x="1" y="179"/>
                  </a:cubicBezTo>
                  <a:cubicBezTo>
                    <a:pt x="1" y="263"/>
                    <a:pt x="84" y="358"/>
                    <a:pt x="179" y="358"/>
                  </a:cubicBezTo>
                  <a:cubicBezTo>
                    <a:pt x="287" y="358"/>
                    <a:pt x="358" y="287"/>
                    <a:pt x="358" y="179"/>
                  </a:cubicBezTo>
                  <a:cubicBezTo>
                    <a:pt x="358" y="72"/>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3" name="Google Shape;12613;p62"/>
            <p:cNvSpPr/>
            <p:nvPr/>
          </p:nvSpPr>
          <p:spPr>
            <a:xfrm>
              <a:off x="2967361" y="4300215"/>
              <a:ext cx="11386" cy="11418"/>
            </a:xfrm>
            <a:custGeom>
              <a:avLst/>
              <a:gdLst/>
              <a:ahLst/>
              <a:cxnLst/>
              <a:rect l="l" t="t" r="r" b="b"/>
              <a:pathLst>
                <a:path w="358" h="359" extrusionOk="0">
                  <a:moveTo>
                    <a:pt x="179" y="1"/>
                  </a:moveTo>
                  <a:cubicBezTo>
                    <a:pt x="72" y="1"/>
                    <a:pt x="0" y="72"/>
                    <a:pt x="0" y="179"/>
                  </a:cubicBezTo>
                  <a:cubicBezTo>
                    <a:pt x="0" y="263"/>
                    <a:pt x="72" y="358"/>
                    <a:pt x="179" y="358"/>
                  </a:cubicBezTo>
                  <a:cubicBezTo>
                    <a:pt x="286" y="358"/>
                    <a:pt x="357" y="287"/>
                    <a:pt x="357" y="179"/>
                  </a:cubicBezTo>
                  <a:cubicBezTo>
                    <a:pt x="345" y="72"/>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4" name="Google Shape;12614;p62"/>
            <p:cNvSpPr/>
            <p:nvPr/>
          </p:nvSpPr>
          <p:spPr>
            <a:xfrm>
              <a:off x="3016563" y="4424063"/>
              <a:ext cx="11418" cy="11386"/>
            </a:xfrm>
            <a:custGeom>
              <a:avLst/>
              <a:gdLst/>
              <a:ahLst/>
              <a:cxnLst/>
              <a:rect l="l" t="t" r="r" b="b"/>
              <a:pathLst>
                <a:path w="359" h="358" extrusionOk="0">
                  <a:moveTo>
                    <a:pt x="180" y="0"/>
                  </a:moveTo>
                  <a:cubicBezTo>
                    <a:pt x="72" y="0"/>
                    <a:pt x="1" y="84"/>
                    <a:pt x="1" y="179"/>
                  </a:cubicBezTo>
                  <a:cubicBezTo>
                    <a:pt x="1" y="286"/>
                    <a:pt x="72" y="357"/>
                    <a:pt x="180" y="357"/>
                  </a:cubicBezTo>
                  <a:cubicBezTo>
                    <a:pt x="287" y="357"/>
                    <a:pt x="358" y="286"/>
                    <a:pt x="358" y="179"/>
                  </a:cubicBezTo>
                  <a:cubicBezTo>
                    <a:pt x="358" y="84"/>
                    <a:pt x="287"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5" name="Google Shape;12615;p62"/>
            <p:cNvSpPr/>
            <p:nvPr/>
          </p:nvSpPr>
          <p:spPr>
            <a:xfrm>
              <a:off x="3016563" y="4442606"/>
              <a:ext cx="11418" cy="11386"/>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6" name="Google Shape;12616;p62"/>
            <p:cNvSpPr/>
            <p:nvPr/>
          </p:nvSpPr>
          <p:spPr>
            <a:xfrm>
              <a:off x="3032498" y="4424063"/>
              <a:ext cx="11768" cy="11386"/>
            </a:xfrm>
            <a:custGeom>
              <a:avLst/>
              <a:gdLst/>
              <a:ahLst/>
              <a:cxnLst/>
              <a:rect l="l" t="t" r="r" b="b"/>
              <a:pathLst>
                <a:path w="370" h="358" extrusionOk="0">
                  <a:moveTo>
                    <a:pt x="191" y="0"/>
                  </a:moveTo>
                  <a:cubicBezTo>
                    <a:pt x="83" y="0"/>
                    <a:pt x="0" y="84"/>
                    <a:pt x="0" y="179"/>
                  </a:cubicBezTo>
                  <a:cubicBezTo>
                    <a:pt x="0" y="286"/>
                    <a:pt x="83" y="357"/>
                    <a:pt x="191" y="357"/>
                  </a:cubicBezTo>
                  <a:cubicBezTo>
                    <a:pt x="286" y="357"/>
                    <a:pt x="369" y="286"/>
                    <a:pt x="369" y="179"/>
                  </a:cubicBezTo>
                  <a:cubicBezTo>
                    <a:pt x="369" y="84"/>
                    <a:pt x="274"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7" name="Google Shape;12617;p62"/>
            <p:cNvSpPr/>
            <p:nvPr/>
          </p:nvSpPr>
          <p:spPr>
            <a:xfrm>
              <a:off x="3032498" y="4442606"/>
              <a:ext cx="11768" cy="11386"/>
            </a:xfrm>
            <a:custGeom>
              <a:avLst/>
              <a:gdLst/>
              <a:ahLst/>
              <a:cxnLst/>
              <a:rect l="l" t="t" r="r" b="b"/>
              <a:pathLst>
                <a:path w="370" h="358" extrusionOk="0">
                  <a:moveTo>
                    <a:pt x="191" y="1"/>
                  </a:moveTo>
                  <a:cubicBezTo>
                    <a:pt x="83" y="1"/>
                    <a:pt x="0" y="72"/>
                    <a:pt x="0" y="179"/>
                  </a:cubicBezTo>
                  <a:cubicBezTo>
                    <a:pt x="0" y="286"/>
                    <a:pt x="83" y="358"/>
                    <a:pt x="191" y="358"/>
                  </a:cubicBezTo>
                  <a:cubicBezTo>
                    <a:pt x="286" y="358"/>
                    <a:pt x="369" y="286"/>
                    <a:pt x="369" y="179"/>
                  </a:cubicBezTo>
                  <a:cubicBezTo>
                    <a:pt x="369" y="72"/>
                    <a:pt x="274" y="1"/>
                    <a:pt x="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8" name="Google Shape;12618;p62"/>
            <p:cNvSpPr/>
            <p:nvPr/>
          </p:nvSpPr>
          <p:spPr>
            <a:xfrm>
              <a:off x="3016213" y="4357527"/>
              <a:ext cx="112494" cy="111636"/>
            </a:xfrm>
            <a:custGeom>
              <a:avLst/>
              <a:gdLst/>
              <a:ahLst/>
              <a:cxnLst/>
              <a:rect l="l" t="t" r="r" b="b"/>
              <a:pathLst>
                <a:path w="3537" h="3510" extrusionOk="0">
                  <a:moveTo>
                    <a:pt x="2250" y="354"/>
                  </a:moveTo>
                  <a:lnTo>
                    <a:pt x="2096" y="1080"/>
                  </a:lnTo>
                  <a:lnTo>
                    <a:pt x="1357" y="913"/>
                  </a:lnTo>
                  <a:cubicBezTo>
                    <a:pt x="1336" y="909"/>
                    <a:pt x="1315" y="907"/>
                    <a:pt x="1293" y="907"/>
                  </a:cubicBezTo>
                  <a:cubicBezTo>
                    <a:pt x="1193" y="907"/>
                    <a:pt x="1093" y="950"/>
                    <a:pt x="1024" y="1009"/>
                  </a:cubicBezTo>
                  <a:cubicBezTo>
                    <a:pt x="929" y="1104"/>
                    <a:pt x="905" y="1211"/>
                    <a:pt x="929" y="1342"/>
                  </a:cubicBezTo>
                  <a:lnTo>
                    <a:pt x="953" y="1366"/>
                  </a:lnTo>
                  <a:lnTo>
                    <a:pt x="369" y="818"/>
                  </a:lnTo>
                  <a:lnTo>
                    <a:pt x="2250" y="354"/>
                  </a:lnTo>
                  <a:close/>
                  <a:moveTo>
                    <a:pt x="1274" y="1259"/>
                  </a:moveTo>
                  <a:lnTo>
                    <a:pt x="2036" y="1425"/>
                  </a:lnTo>
                  <a:lnTo>
                    <a:pt x="1869" y="2259"/>
                  </a:lnTo>
                  <a:lnTo>
                    <a:pt x="1429" y="1830"/>
                  </a:lnTo>
                  <a:lnTo>
                    <a:pt x="1274" y="1259"/>
                  </a:lnTo>
                  <a:close/>
                  <a:moveTo>
                    <a:pt x="2369" y="1521"/>
                  </a:moveTo>
                  <a:lnTo>
                    <a:pt x="3167" y="1699"/>
                  </a:lnTo>
                  <a:lnTo>
                    <a:pt x="1715" y="3152"/>
                  </a:lnTo>
                  <a:lnTo>
                    <a:pt x="1548" y="2449"/>
                  </a:lnTo>
                  <a:lnTo>
                    <a:pt x="1607" y="2509"/>
                  </a:lnTo>
                  <a:cubicBezTo>
                    <a:pt x="1679" y="2568"/>
                    <a:pt x="1774" y="2616"/>
                    <a:pt x="1857" y="2616"/>
                  </a:cubicBezTo>
                  <a:cubicBezTo>
                    <a:pt x="1893" y="2616"/>
                    <a:pt x="1929" y="2616"/>
                    <a:pt x="1965" y="2604"/>
                  </a:cubicBezTo>
                  <a:cubicBezTo>
                    <a:pt x="2084" y="2557"/>
                    <a:pt x="2191" y="2473"/>
                    <a:pt x="2203" y="2330"/>
                  </a:cubicBezTo>
                  <a:lnTo>
                    <a:pt x="2369" y="1521"/>
                  </a:lnTo>
                  <a:close/>
                  <a:moveTo>
                    <a:pt x="2239" y="0"/>
                  </a:moveTo>
                  <a:cubicBezTo>
                    <a:pt x="2211" y="0"/>
                    <a:pt x="2183" y="3"/>
                    <a:pt x="2155" y="9"/>
                  </a:cubicBezTo>
                  <a:lnTo>
                    <a:pt x="274" y="473"/>
                  </a:lnTo>
                  <a:cubicBezTo>
                    <a:pt x="167" y="509"/>
                    <a:pt x="60" y="604"/>
                    <a:pt x="24" y="723"/>
                  </a:cubicBezTo>
                  <a:cubicBezTo>
                    <a:pt x="0" y="842"/>
                    <a:pt x="24" y="985"/>
                    <a:pt x="119" y="1068"/>
                  </a:cubicBezTo>
                  <a:lnTo>
                    <a:pt x="1084" y="2009"/>
                  </a:lnTo>
                  <a:lnTo>
                    <a:pt x="1369" y="3223"/>
                  </a:lnTo>
                  <a:cubicBezTo>
                    <a:pt x="1393" y="3342"/>
                    <a:pt x="1488" y="3450"/>
                    <a:pt x="1619" y="3497"/>
                  </a:cubicBezTo>
                  <a:cubicBezTo>
                    <a:pt x="1655" y="3509"/>
                    <a:pt x="1679" y="3509"/>
                    <a:pt x="1726" y="3509"/>
                  </a:cubicBezTo>
                  <a:cubicBezTo>
                    <a:pt x="1810" y="3509"/>
                    <a:pt x="1905" y="3473"/>
                    <a:pt x="1976" y="3402"/>
                  </a:cubicBezTo>
                  <a:lnTo>
                    <a:pt x="3441" y="1949"/>
                  </a:lnTo>
                  <a:cubicBezTo>
                    <a:pt x="3512" y="1842"/>
                    <a:pt x="3536" y="1711"/>
                    <a:pt x="3512" y="1592"/>
                  </a:cubicBezTo>
                  <a:cubicBezTo>
                    <a:pt x="3477" y="1473"/>
                    <a:pt x="3381" y="1366"/>
                    <a:pt x="3239" y="1342"/>
                  </a:cubicBezTo>
                  <a:lnTo>
                    <a:pt x="2441" y="1152"/>
                  </a:lnTo>
                  <a:lnTo>
                    <a:pt x="2584" y="425"/>
                  </a:lnTo>
                  <a:cubicBezTo>
                    <a:pt x="2619" y="306"/>
                    <a:pt x="2572" y="187"/>
                    <a:pt x="2488" y="104"/>
                  </a:cubicBezTo>
                  <a:cubicBezTo>
                    <a:pt x="2416" y="31"/>
                    <a:pt x="2329" y="0"/>
                    <a:pt x="22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9" name="Google Shape;12619;p62"/>
            <p:cNvSpPr/>
            <p:nvPr/>
          </p:nvSpPr>
          <p:spPr>
            <a:xfrm>
              <a:off x="2937051" y="4499791"/>
              <a:ext cx="14439" cy="11386"/>
            </a:xfrm>
            <a:custGeom>
              <a:avLst/>
              <a:gdLst/>
              <a:ahLst/>
              <a:cxnLst/>
              <a:rect l="l" t="t" r="r" b="b"/>
              <a:pathLst>
                <a:path w="454" h="358" extrusionOk="0">
                  <a:moveTo>
                    <a:pt x="179" y="0"/>
                  </a:moveTo>
                  <a:cubicBezTo>
                    <a:pt x="72" y="0"/>
                    <a:pt x="1" y="72"/>
                    <a:pt x="1" y="179"/>
                  </a:cubicBezTo>
                  <a:cubicBezTo>
                    <a:pt x="1" y="286"/>
                    <a:pt x="96" y="358"/>
                    <a:pt x="179" y="358"/>
                  </a:cubicBezTo>
                  <a:lnTo>
                    <a:pt x="274" y="358"/>
                  </a:lnTo>
                  <a:cubicBezTo>
                    <a:pt x="370" y="358"/>
                    <a:pt x="453" y="286"/>
                    <a:pt x="453" y="179"/>
                  </a:cubicBezTo>
                  <a:cubicBezTo>
                    <a:pt x="453" y="72"/>
                    <a:pt x="370" y="0"/>
                    <a:pt x="2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0" name="Google Shape;12620;p62"/>
            <p:cNvSpPr/>
            <p:nvPr/>
          </p:nvSpPr>
          <p:spPr>
            <a:xfrm>
              <a:off x="2953717" y="4499791"/>
              <a:ext cx="30310" cy="11386"/>
            </a:xfrm>
            <a:custGeom>
              <a:avLst/>
              <a:gdLst/>
              <a:ahLst/>
              <a:cxnLst/>
              <a:rect l="l" t="t" r="r" b="b"/>
              <a:pathLst>
                <a:path w="953" h="358" extrusionOk="0">
                  <a:moveTo>
                    <a:pt x="179" y="0"/>
                  </a:moveTo>
                  <a:cubicBezTo>
                    <a:pt x="72" y="0"/>
                    <a:pt x="1" y="84"/>
                    <a:pt x="1" y="179"/>
                  </a:cubicBezTo>
                  <a:cubicBezTo>
                    <a:pt x="1" y="286"/>
                    <a:pt x="72" y="358"/>
                    <a:pt x="179" y="358"/>
                  </a:cubicBezTo>
                  <a:lnTo>
                    <a:pt x="774" y="358"/>
                  </a:lnTo>
                  <a:cubicBezTo>
                    <a:pt x="882" y="358"/>
                    <a:pt x="953" y="286"/>
                    <a:pt x="953" y="179"/>
                  </a:cubicBezTo>
                  <a:cubicBezTo>
                    <a:pt x="953" y="96"/>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1" name="Google Shape;12621;p62"/>
            <p:cNvSpPr/>
            <p:nvPr/>
          </p:nvSpPr>
          <p:spPr>
            <a:xfrm>
              <a:off x="2937051" y="4514930"/>
              <a:ext cx="46976" cy="11386"/>
            </a:xfrm>
            <a:custGeom>
              <a:avLst/>
              <a:gdLst/>
              <a:ahLst/>
              <a:cxnLst/>
              <a:rect l="l" t="t" r="r" b="b"/>
              <a:pathLst>
                <a:path w="1477" h="358" extrusionOk="0">
                  <a:moveTo>
                    <a:pt x="179" y="1"/>
                  </a:moveTo>
                  <a:cubicBezTo>
                    <a:pt x="72" y="1"/>
                    <a:pt x="1" y="84"/>
                    <a:pt x="1" y="179"/>
                  </a:cubicBezTo>
                  <a:cubicBezTo>
                    <a:pt x="1" y="286"/>
                    <a:pt x="72" y="358"/>
                    <a:pt x="179" y="358"/>
                  </a:cubicBezTo>
                  <a:lnTo>
                    <a:pt x="1298" y="358"/>
                  </a:lnTo>
                  <a:cubicBezTo>
                    <a:pt x="1406" y="358"/>
                    <a:pt x="1477" y="286"/>
                    <a:pt x="1477" y="179"/>
                  </a:cubicBezTo>
                  <a:cubicBezTo>
                    <a:pt x="1477" y="84"/>
                    <a:pt x="1382" y="1"/>
                    <a:pt x="12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2" name="Google Shape;12622;p62"/>
            <p:cNvSpPr/>
            <p:nvPr/>
          </p:nvSpPr>
          <p:spPr>
            <a:xfrm>
              <a:off x="2937051" y="4529719"/>
              <a:ext cx="46976" cy="11386"/>
            </a:xfrm>
            <a:custGeom>
              <a:avLst/>
              <a:gdLst/>
              <a:ahLst/>
              <a:cxnLst/>
              <a:rect l="l" t="t" r="r" b="b"/>
              <a:pathLst>
                <a:path w="1477" h="358" extrusionOk="0">
                  <a:moveTo>
                    <a:pt x="179" y="0"/>
                  </a:moveTo>
                  <a:cubicBezTo>
                    <a:pt x="72" y="0"/>
                    <a:pt x="1" y="71"/>
                    <a:pt x="1" y="179"/>
                  </a:cubicBezTo>
                  <a:cubicBezTo>
                    <a:pt x="1" y="286"/>
                    <a:pt x="72" y="357"/>
                    <a:pt x="179" y="357"/>
                  </a:cubicBezTo>
                  <a:lnTo>
                    <a:pt x="1298" y="357"/>
                  </a:lnTo>
                  <a:cubicBezTo>
                    <a:pt x="1406" y="357"/>
                    <a:pt x="1477" y="286"/>
                    <a:pt x="1477" y="179"/>
                  </a:cubicBezTo>
                  <a:cubicBezTo>
                    <a:pt x="1477" y="71"/>
                    <a:pt x="1382" y="0"/>
                    <a:pt x="12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3" name="Google Shape;12623;p62"/>
            <p:cNvSpPr/>
            <p:nvPr/>
          </p:nvSpPr>
          <p:spPr>
            <a:xfrm>
              <a:off x="3213881" y="4343787"/>
              <a:ext cx="11386" cy="126488"/>
            </a:xfrm>
            <a:custGeom>
              <a:avLst/>
              <a:gdLst/>
              <a:ahLst/>
              <a:cxnLst/>
              <a:rect l="l" t="t" r="r" b="b"/>
              <a:pathLst>
                <a:path w="358" h="3977" extrusionOk="0">
                  <a:moveTo>
                    <a:pt x="179" y="0"/>
                  </a:moveTo>
                  <a:cubicBezTo>
                    <a:pt x="83" y="0"/>
                    <a:pt x="0" y="83"/>
                    <a:pt x="0" y="179"/>
                  </a:cubicBezTo>
                  <a:lnTo>
                    <a:pt x="0" y="3798"/>
                  </a:lnTo>
                  <a:cubicBezTo>
                    <a:pt x="0" y="3893"/>
                    <a:pt x="83" y="3977"/>
                    <a:pt x="179" y="3977"/>
                  </a:cubicBezTo>
                  <a:cubicBezTo>
                    <a:pt x="286" y="3977"/>
                    <a:pt x="357" y="3893"/>
                    <a:pt x="357" y="3798"/>
                  </a:cubicBezTo>
                  <a:lnTo>
                    <a:pt x="357" y="179"/>
                  </a:lnTo>
                  <a:cubicBezTo>
                    <a:pt x="357" y="72"/>
                    <a:pt x="286"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24" name="Google Shape;12624;p62"/>
          <p:cNvGrpSpPr/>
          <p:nvPr/>
        </p:nvGrpSpPr>
        <p:grpSpPr>
          <a:xfrm>
            <a:off x="3933342" y="4315767"/>
            <a:ext cx="383632" cy="276449"/>
            <a:chOff x="3933342" y="4315767"/>
            <a:chExt cx="383632" cy="276449"/>
          </a:xfrm>
        </p:grpSpPr>
        <p:sp>
          <p:nvSpPr>
            <p:cNvPr id="12625" name="Google Shape;12625;p62"/>
            <p:cNvSpPr/>
            <p:nvPr/>
          </p:nvSpPr>
          <p:spPr>
            <a:xfrm>
              <a:off x="3933342" y="4315767"/>
              <a:ext cx="383632" cy="276449"/>
            </a:xfrm>
            <a:custGeom>
              <a:avLst/>
              <a:gdLst/>
              <a:ahLst/>
              <a:cxnLst/>
              <a:rect l="l" t="t" r="r" b="b"/>
              <a:pathLst>
                <a:path w="12062" h="8692" extrusionOk="0">
                  <a:moveTo>
                    <a:pt x="2061" y="369"/>
                  </a:moveTo>
                  <a:cubicBezTo>
                    <a:pt x="2120" y="369"/>
                    <a:pt x="2168" y="417"/>
                    <a:pt x="2168" y="476"/>
                  </a:cubicBezTo>
                  <a:lnTo>
                    <a:pt x="2168" y="845"/>
                  </a:lnTo>
                  <a:lnTo>
                    <a:pt x="1406" y="845"/>
                  </a:lnTo>
                  <a:lnTo>
                    <a:pt x="1406" y="476"/>
                  </a:lnTo>
                  <a:cubicBezTo>
                    <a:pt x="1406" y="417"/>
                    <a:pt x="1454" y="369"/>
                    <a:pt x="1513" y="369"/>
                  </a:cubicBezTo>
                  <a:close/>
                  <a:moveTo>
                    <a:pt x="10824" y="1262"/>
                  </a:moveTo>
                  <a:cubicBezTo>
                    <a:pt x="10883" y="1262"/>
                    <a:pt x="10931" y="1310"/>
                    <a:pt x="10931" y="1369"/>
                  </a:cubicBezTo>
                  <a:lnTo>
                    <a:pt x="10943" y="1715"/>
                  </a:lnTo>
                  <a:lnTo>
                    <a:pt x="9490" y="1715"/>
                  </a:lnTo>
                  <a:lnTo>
                    <a:pt x="9490" y="1369"/>
                  </a:lnTo>
                  <a:cubicBezTo>
                    <a:pt x="9490" y="1310"/>
                    <a:pt x="9526" y="1262"/>
                    <a:pt x="9586" y="1262"/>
                  </a:cubicBezTo>
                  <a:close/>
                  <a:moveTo>
                    <a:pt x="1513" y="0"/>
                  </a:moveTo>
                  <a:cubicBezTo>
                    <a:pt x="1251" y="0"/>
                    <a:pt x="1049" y="214"/>
                    <a:pt x="1049" y="464"/>
                  </a:cubicBezTo>
                  <a:lnTo>
                    <a:pt x="1049" y="833"/>
                  </a:lnTo>
                  <a:lnTo>
                    <a:pt x="894" y="833"/>
                  </a:lnTo>
                  <a:cubicBezTo>
                    <a:pt x="692" y="833"/>
                    <a:pt x="489" y="905"/>
                    <a:pt x="334" y="1048"/>
                  </a:cubicBezTo>
                  <a:cubicBezTo>
                    <a:pt x="263" y="1107"/>
                    <a:pt x="239" y="1226"/>
                    <a:pt x="299" y="1298"/>
                  </a:cubicBezTo>
                  <a:cubicBezTo>
                    <a:pt x="332" y="1338"/>
                    <a:pt x="385" y="1360"/>
                    <a:pt x="440" y="1360"/>
                  </a:cubicBezTo>
                  <a:cubicBezTo>
                    <a:pt x="482" y="1360"/>
                    <a:pt x="525" y="1347"/>
                    <a:pt x="561" y="1322"/>
                  </a:cubicBezTo>
                  <a:cubicBezTo>
                    <a:pt x="676" y="1220"/>
                    <a:pt x="791" y="1203"/>
                    <a:pt x="908" y="1203"/>
                  </a:cubicBezTo>
                  <a:cubicBezTo>
                    <a:pt x="966" y="1203"/>
                    <a:pt x="1025" y="1207"/>
                    <a:pt x="1084" y="1207"/>
                  </a:cubicBezTo>
                  <a:cubicBezTo>
                    <a:pt x="1116" y="1207"/>
                    <a:pt x="1148" y="1206"/>
                    <a:pt x="1180" y="1203"/>
                  </a:cubicBezTo>
                  <a:lnTo>
                    <a:pt x="2680" y="1203"/>
                  </a:lnTo>
                  <a:cubicBezTo>
                    <a:pt x="2978" y="1203"/>
                    <a:pt x="3216" y="1441"/>
                    <a:pt x="3216" y="1738"/>
                  </a:cubicBezTo>
                  <a:lnTo>
                    <a:pt x="3216" y="2429"/>
                  </a:lnTo>
                  <a:cubicBezTo>
                    <a:pt x="3216" y="2536"/>
                    <a:pt x="3299" y="2607"/>
                    <a:pt x="3394" y="2607"/>
                  </a:cubicBezTo>
                  <a:cubicBezTo>
                    <a:pt x="3501" y="2607"/>
                    <a:pt x="3573" y="2536"/>
                    <a:pt x="3573" y="2429"/>
                  </a:cubicBezTo>
                  <a:lnTo>
                    <a:pt x="3573" y="2072"/>
                  </a:lnTo>
                  <a:lnTo>
                    <a:pt x="11217" y="2072"/>
                  </a:lnTo>
                  <a:cubicBezTo>
                    <a:pt x="11491" y="2084"/>
                    <a:pt x="11705" y="2322"/>
                    <a:pt x="11705" y="2607"/>
                  </a:cubicBezTo>
                  <a:lnTo>
                    <a:pt x="11705" y="2834"/>
                  </a:lnTo>
                  <a:lnTo>
                    <a:pt x="11395" y="2834"/>
                  </a:lnTo>
                  <a:cubicBezTo>
                    <a:pt x="11288" y="2834"/>
                    <a:pt x="11217" y="2905"/>
                    <a:pt x="11217" y="3012"/>
                  </a:cubicBezTo>
                  <a:cubicBezTo>
                    <a:pt x="11217" y="3108"/>
                    <a:pt x="11288" y="3191"/>
                    <a:pt x="11395" y="3191"/>
                  </a:cubicBezTo>
                  <a:lnTo>
                    <a:pt x="11705" y="3191"/>
                  </a:lnTo>
                  <a:lnTo>
                    <a:pt x="11705" y="7441"/>
                  </a:lnTo>
                  <a:lnTo>
                    <a:pt x="10883" y="7441"/>
                  </a:lnTo>
                  <a:cubicBezTo>
                    <a:pt x="10621" y="7441"/>
                    <a:pt x="10395" y="7215"/>
                    <a:pt x="10395" y="6953"/>
                  </a:cubicBezTo>
                  <a:lnTo>
                    <a:pt x="10395" y="3667"/>
                  </a:lnTo>
                  <a:cubicBezTo>
                    <a:pt x="10395" y="3453"/>
                    <a:pt x="10538" y="3262"/>
                    <a:pt x="10740" y="3203"/>
                  </a:cubicBezTo>
                  <a:cubicBezTo>
                    <a:pt x="10824" y="3167"/>
                    <a:pt x="10883" y="3072"/>
                    <a:pt x="10859" y="2977"/>
                  </a:cubicBezTo>
                  <a:cubicBezTo>
                    <a:pt x="10829" y="2906"/>
                    <a:pt x="10747" y="2852"/>
                    <a:pt x="10672" y="2852"/>
                  </a:cubicBezTo>
                  <a:cubicBezTo>
                    <a:pt x="10659" y="2852"/>
                    <a:pt x="10646" y="2854"/>
                    <a:pt x="10633" y="2858"/>
                  </a:cubicBezTo>
                  <a:cubicBezTo>
                    <a:pt x="10276" y="2965"/>
                    <a:pt x="10038" y="3310"/>
                    <a:pt x="10038" y="3667"/>
                  </a:cubicBezTo>
                  <a:lnTo>
                    <a:pt x="10038" y="6953"/>
                  </a:lnTo>
                  <a:cubicBezTo>
                    <a:pt x="10038" y="7418"/>
                    <a:pt x="10419" y="7799"/>
                    <a:pt x="10883" y="7799"/>
                  </a:cubicBezTo>
                  <a:lnTo>
                    <a:pt x="11705" y="7799"/>
                  </a:lnTo>
                  <a:cubicBezTo>
                    <a:pt x="11705" y="8096"/>
                    <a:pt x="11467" y="8334"/>
                    <a:pt x="11169" y="8334"/>
                  </a:cubicBezTo>
                  <a:lnTo>
                    <a:pt x="3394" y="8334"/>
                  </a:lnTo>
                  <a:cubicBezTo>
                    <a:pt x="3478" y="8227"/>
                    <a:pt x="3537" y="8108"/>
                    <a:pt x="3561" y="7977"/>
                  </a:cubicBezTo>
                  <a:cubicBezTo>
                    <a:pt x="3573" y="7870"/>
                    <a:pt x="3513" y="7787"/>
                    <a:pt x="3430" y="7775"/>
                  </a:cubicBezTo>
                  <a:cubicBezTo>
                    <a:pt x="3414" y="7771"/>
                    <a:pt x="3399" y="7770"/>
                    <a:pt x="3384" y="7770"/>
                  </a:cubicBezTo>
                  <a:cubicBezTo>
                    <a:pt x="3299" y="7770"/>
                    <a:pt x="3236" y="7825"/>
                    <a:pt x="3216" y="7906"/>
                  </a:cubicBezTo>
                  <a:cubicBezTo>
                    <a:pt x="3180" y="8156"/>
                    <a:pt x="2954" y="8334"/>
                    <a:pt x="2704" y="8334"/>
                  </a:cubicBezTo>
                  <a:lnTo>
                    <a:pt x="823" y="8334"/>
                  </a:lnTo>
                  <a:cubicBezTo>
                    <a:pt x="572" y="8287"/>
                    <a:pt x="358" y="8072"/>
                    <a:pt x="358" y="7799"/>
                  </a:cubicBezTo>
                  <a:lnTo>
                    <a:pt x="358" y="2774"/>
                  </a:lnTo>
                  <a:lnTo>
                    <a:pt x="358" y="1834"/>
                  </a:lnTo>
                  <a:cubicBezTo>
                    <a:pt x="358" y="1726"/>
                    <a:pt x="287" y="1655"/>
                    <a:pt x="180" y="1655"/>
                  </a:cubicBezTo>
                  <a:cubicBezTo>
                    <a:pt x="72" y="1655"/>
                    <a:pt x="1" y="1726"/>
                    <a:pt x="1" y="1834"/>
                  </a:cubicBezTo>
                  <a:lnTo>
                    <a:pt x="1" y="7799"/>
                  </a:lnTo>
                  <a:cubicBezTo>
                    <a:pt x="1" y="8251"/>
                    <a:pt x="334" y="8608"/>
                    <a:pt x="751" y="8680"/>
                  </a:cubicBezTo>
                  <a:cubicBezTo>
                    <a:pt x="763" y="8680"/>
                    <a:pt x="787" y="8680"/>
                    <a:pt x="811" y="8692"/>
                  </a:cubicBezTo>
                  <a:lnTo>
                    <a:pt x="11169" y="8692"/>
                  </a:lnTo>
                  <a:cubicBezTo>
                    <a:pt x="11657" y="8692"/>
                    <a:pt x="12062" y="8287"/>
                    <a:pt x="12062" y="7799"/>
                  </a:cubicBezTo>
                  <a:lnTo>
                    <a:pt x="12062" y="2607"/>
                  </a:lnTo>
                  <a:cubicBezTo>
                    <a:pt x="12050" y="2155"/>
                    <a:pt x="11717" y="1786"/>
                    <a:pt x="11300" y="1715"/>
                  </a:cubicBezTo>
                  <a:lnTo>
                    <a:pt x="11300" y="1357"/>
                  </a:lnTo>
                  <a:cubicBezTo>
                    <a:pt x="11300" y="1107"/>
                    <a:pt x="11098" y="893"/>
                    <a:pt x="10836" y="893"/>
                  </a:cubicBezTo>
                  <a:lnTo>
                    <a:pt x="9609" y="893"/>
                  </a:lnTo>
                  <a:cubicBezTo>
                    <a:pt x="9347" y="893"/>
                    <a:pt x="9145" y="1107"/>
                    <a:pt x="9145" y="1357"/>
                  </a:cubicBezTo>
                  <a:lnTo>
                    <a:pt x="9145" y="1703"/>
                  </a:lnTo>
                  <a:lnTo>
                    <a:pt x="8621" y="1703"/>
                  </a:lnTo>
                  <a:lnTo>
                    <a:pt x="8252" y="881"/>
                  </a:lnTo>
                  <a:cubicBezTo>
                    <a:pt x="8121" y="595"/>
                    <a:pt x="7823" y="405"/>
                    <a:pt x="7502" y="405"/>
                  </a:cubicBezTo>
                  <a:lnTo>
                    <a:pt x="6049" y="405"/>
                  </a:lnTo>
                  <a:cubicBezTo>
                    <a:pt x="5776" y="405"/>
                    <a:pt x="5525" y="536"/>
                    <a:pt x="5383" y="738"/>
                  </a:cubicBezTo>
                  <a:cubicBezTo>
                    <a:pt x="5323" y="822"/>
                    <a:pt x="5335" y="941"/>
                    <a:pt x="5418" y="1000"/>
                  </a:cubicBezTo>
                  <a:cubicBezTo>
                    <a:pt x="5450" y="1023"/>
                    <a:pt x="5486" y="1033"/>
                    <a:pt x="5523" y="1033"/>
                  </a:cubicBezTo>
                  <a:cubicBezTo>
                    <a:pt x="5583" y="1033"/>
                    <a:pt x="5643" y="1004"/>
                    <a:pt x="5680" y="953"/>
                  </a:cubicBezTo>
                  <a:cubicBezTo>
                    <a:pt x="5764" y="833"/>
                    <a:pt x="5895" y="762"/>
                    <a:pt x="6049" y="762"/>
                  </a:cubicBezTo>
                  <a:lnTo>
                    <a:pt x="7502" y="762"/>
                  </a:lnTo>
                  <a:cubicBezTo>
                    <a:pt x="7681" y="762"/>
                    <a:pt x="7847" y="869"/>
                    <a:pt x="7919" y="1024"/>
                  </a:cubicBezTo>
                  <a:lnTo>
                    <a:pt x="8240" y="1703"/>
                  </a:lnTo>
                  <a:lnTo>
                    <a:pt x="5335" y="1703"/>
                  </a:lnTo>
                  <a:lnTo>
                    <a:pt x="5395" y="1584"/>
                  </a:lnTo>
                  <a:cubicBezTo>
                    <a:pt x="5430" y="1488"/>
                    <a:pt x="5395" y="1381"/>
                    <a:pt x="5299" y="1345"/>
                  </a:cubicBezTo>
                  <a:cubicBezTo>
                    <a:pt x="5276" y="1332"/>
                    <a:pt x="5252" y="1327"/>
                    <a:pt x="5227" y="1327"/>
                  </a:cubicBezTo>
                  <a:cubicBezTo>
                    <a:pt x="5162" y="1327"/>
                    <a:pt x="5096" y="1368"/>
                    <a:pt x="5061" y="1429"/>
                  </a:cubicBezTo>
                  <a:lnTo>
                    <a:pt x="4942" y="1703"/>
                  </a:lnTo>
                  <a:lnTo>
                    <a:pt x="3561" y="1703"/>
                  </a:lnTo>
                  <a:cubicBezTo>
                    <a:pt x="3549" y="1226"/>
                    <a:pt x="3144" y="833"/>
                    <a:pt x="2668" y="833"/>
                  </a:cubicBezTo>
                  <a:lnTo>
                    <a:pt x="2525" y="833"/>
                  </a:lnTo>
                  <a:lnTo>
                    <a:pt x="2525" y="464"/>
                  </a:lnTo>
                  <a:cubicBezTo>
                    <a:pt x="2525" y="214"/>
                    <a:pt x="2311" y="0"/>
                    <a:pt x="2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6" name="Google Shape;12626;p62"/>
            <p:cNvSpPr/>
            <p:nvPr/>
          </p:nvSpPr>
          <p:spPr>
            <a:xfrm>
              <a:off x="4035214" y="4410037"/>
              <a:ext cx="11386" cy="140896"/>
            </a:xfrm>
            <a:custGeom>
              <a:avLst/>
              <a:gdLst/>
              <a:ahLst/>
              <a:cxnLst/>
              <a:rect l="l" t="t" r="r" b="b"/>
              <a:pathLst>
                <a:path w="358" h="4430" extrusionOk="0">
                  <a:moveTo>
                    <a:pt x="179" y="1"/>
                  </a:moveTo>
                  <a:cubicBezTo>
                    <a:pt x="72" y="1"/>
                    <a:pt x="1" y="72"/>
                    <a:pt x="1" y="179"/>
                  </a:cubicBezTo>
                  <a:lnTo>
                    <a:pt x="1" y="4251"/>
                  </a:lnTo>
                  <a:cubicBezTo>
                    <a:pt x="1" y="4358"/>
                    <a:pt x="72" y="4430"/>
                    <a:pt x="179" y="4430"/>
                  </a:cubicBezTo>
                  <a:cubicBezTo>
                    <a:pt x="287" y="4430"/>
                    <a:pt x="358" y="4358"/>
                    <a:pt x="358" y="4251"/>
                  </a:cubicBezTo>
                  <a:lnTo>
                    <a:pt x="358" y="179"/>
                  </a:lnTo>
                  <a:cubicBezTo>
                    <a:pt x="358" y="84"/>
                    <a:pt x="287"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7" name="Google Shape;12627;p62"/>
            <p:cNvSpPr/>
            <p:nvPr/>
          </p:nvSpPr>
          <p:spPr>
            <a:xfrm>
              <a:off x="4221146" y="4390827"/>
              <a:ext cx="42460" cy="32886"/>
            </a:xfrm>
            <a:custGeom>
              <a:avLst/>
              <a:gdLst/>
              <a:ahLst/>
              <a:cxnLst/>
              <a:rect l="l" t="t" r="r" b="b"/>
              <a:pathLst>
                <a:path w="1335" h="1034" extrusionOk="0">
                  <a:moveTo>
                    <a:pt x="813" y="0"/>
                  </a:moveTo>
                  <a:cubicBezTo>
                    <a:pt x="753" y="0"/>
                    <a:pt x="693" y="29"/>
                    <a:pt x="656" y="81"/>
                  </a:cubicBezTo>
                  <a:cubicBezTo>
                    <a:pt x="596" y="152"/>
                    <a:pt x="620" y="271"/>
                    <a:pt x="703" y="331"/>
                  </a:cubicBezTo>
                  <a:cubicBezTo>
                    <a:pt x="846" y="438"/>
                    <a:pt x="775" y="664"/>
                    <a:pt x="596" y="664"/>
                  </a:cubicBezTo>
                  <a:cubicBezTo>
                    <a:pt x="489" y="664"/>
                    <a:pt x="406" y="557"/>
                    <a:pt x="417" y="450"/>
                  </a:cubicBezTo>
                  <a:cubicBezTo>
                    <a:pt x="429" y="355"/>
                    <a:pt x="370" y="259"/>
                    <a:pt x="275" y="247"/>
                  </a:cubicBezTo>
                  <a:cubicBezTo>
                    <a:pt x="265" y="246"/>
                    <a:pt x="256" y="246"/>
                    <a:pt x="248" y="246"/>
                  </a:cubicBezTo>
                  <a:cubicBezTo>
                    <a:pt x="152" y="246"/>
                    <a:pt x="71" y="303"/>
                    <a:pt x="60" y="390"/>
                  </a:cubicBezTo>
                  <a:cubicBezTo>
                    <a:pt x="1" y="736"/>
                    <a:pt x="251" y="1033"/>
                    <a:pt x="584" y="1033"/>
                  </a:cubicBezTo>
                  <a:cubicBezTo>
                    <a:pt x="1120" y="1009"/>
                    <a:pt x="1334" y="331"/>
                    <a:pt x="918" y="33"/>
                  </a:cubicBezTo>
                  <a:cubicBezTo>
                    <a:pt x="886" y="11"/>
                    <a:pt x="849" y="0"/>
                    <a:pt x="8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8" name="Google Shape;12628;p62"/>
            <p:cNvSpPr/>
            <p:nvPr/>
          </p:nvSpPr>
          <p:spPr>
            <a:xfrm>
              <a:off x="4054519" y="4384561"/>
              <a:ext cx="192961" cy="192516"/>
            </a:xfrm>
            <a:custGeom>
              <a:avLst/>
              <a:gdLst/>
              <a:ahLst/>
              <a:cxnLst/>
              <a:rect l="l" t="t" r="r" b="b"/>
              <a:pathLst>
                <a:path w="6067" h="6053" extrusionOk="0">
                  <a:moveTo>
                    <a:pt x="3013" y="1"/>
                  </a:moveTo>
                  <a:cubicBezTo>
                    <a:pt x="2380" y="1"/>
                    <a:pt x="1733" y="201"/>
                    <a:pt x="1168" y="647"/>
                  </a:cubicBezTo>
                  <a:cubicBezTo>
                    <a:pt x="1096" y="706"/>
                    <a:pt x="1073" y="825"/>
                    <a:pt x="1132" y="909"/>
                  </a:cubicBezTo>
                  <a:cubicBezTo>
                    <a:pt x="1166" y="949"/>
                    <a:pt x="1219" y="971"/>
                    <a:pt x="1274" y="971"/>
                  </a:cubicBezTo>
                  <a:cubicBezTo>
                    <a:pt x="1315" y="971"/>
                    <a:pt x="1358" y="958"/>
                    <a:pt x="1394" y="933"/>
                  </a:cubicBezTo>
                  <a:cubicBezTo>
                    <a:pt x="1895" y="538"/>
                    <a:pt x="2466" y="360"/>
                    <a:pt x="3024" y="360"/>
                  </a:cubicBezTo>
                  <a:cubicBezTo>
                    <a:pt x="4402" y="360"/>
                    <a:pt x="5704" y="1444"/>
                    <a:pt x="5704" y="3028"/>
                  </a:cubicBezTo>
                  <a:cubicBezTo>
                    <a:pt x="5704" y="3659"/>
                    <a:pt x="5478" y="4266"/>
                    <a:pt x="5085" y="4743"/>
                  </a:cubicBezTo>
                  <a:cubicBezTo>
                    <a:pt x="4573" y="5350"/>
                    <a:pt x="3835" y="5707"/>
                    <a:pt x="3025" y="5707"/>
                  </a:cubicBezTo>
                  <a:cubicBezTo>
                    <a:pt x="1549" y="5707"/>
                    <a:pt x="358" y="4516"/>
                    <a:pt x="358" y="3052"/>
                  </a:cubicBezTo>
                  <a:cubicBezTo>
                    <a:pt x="358" y="2457"/>
                    <a:pt x="561" y="1897"/>
                    <a:pt x="918" y="1421"/>
                  </a:cubicBezTo>
                  <a:cubicBezTo>
                    <a:pt x="977" y="1349"/>
                    <a:pt x="953" y="1230"/>
                    <a:pt x="882" y="1171"/>
                  </a:cubicBezTo>
                  <a:cubicBezTo>
                    <a:pt x="852" y="1146"/>
                    <a:pt x="814" y="1134"/>
                    <a:pt x="776" y="1134"/>
                  </a:cubicBezTo>
                  <a:cubicBezTo>
                    <a:pt x="722" y="1134"/>
                    <a:pt x="667" y="1158"/>
                    <a:pt x="632" y="1206"/>
                  </a:cubicBezTo>
                  <a:cubicBezTo>
                    <a:pt x="227" y="1742"/>
                    <a:pt x="1" y="2361"/>
                    <a:pt x="1" y="3028"/>
                  </a:cubicBezTo>
                  <a:cubicBezTo>
                    <a:pt x="1" y="4695"/>
                    <a:pt x="1358" y="6052"/>
                    <a:pt x="3025" y="6052"/>
                  </a:cubicBezTo>
                  <a:cubicBezTo>
                    <a:pt x="3930" y="6052"/>
                    <a:pt x="4775" y="5648"/>
                    <a:pt x="5347" y="4969"/>
                  </a:cubicBezTo>
                  <a:cubicBezTo>
                    <a:pt x="5787" y="4433"/>
                    <a:pt x="6049" y="3731"/>
                    <a:pt x="6049" y="3028"/>
                  </a:cubicBezTo>
                  <a:cubicBezTo>
                    <a:pt x="6066" y="1230"/>
                    <a:pt x="4580" y="1"/>
                    <a:pt x="3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29" name="Google Shape;12629;p62"/>
            <p:cNvSpPr/>
            <p:nvPr/>
          </p:nvSpPr>
          <p:spPr>
            <a:xfrm>
              <a:off x="4085593" y="4420278"/>
              <a:ext cx="145826" cy="120923"/>
            </a:xfrm>
            <a:custGeom>
              <a:avLst/>
              <a:gdLst/>
              <a:ahLst/>
              <a:cxnLst/>
              <a:rect l="l" t="t" r="r" b="b"/>
              <a:pathLst>
                <a:path w="4585" h="3802" extrusionOk="0">
                  <a:moveTo>
                    <a:pt x="2060" y="0"/>
                  </a:moveTo>
                  <a:cubicBezTo>
                    <a:pt x="893" y="0"/>
                    <a:pt x="0" y="1060"/>
                    <a:pt x="191" y="2203"/>
                  </a:cubicBezTo>
                  <a:cubicBezTo>
                    <a:pt x="202" y="2301"/>
                    <a:pt x="282" y="2359"/>
                    <a:pt x="369" y="2359"/>
                  </a:cubicBezTo>
                  <a:cubicBezTo>
                    <a:pt x="377" y="2359"/>
                    <a:pt x="385" y="2359"/>
                    <a:pt x="393" y="2358"/>
                  </a:cubicBezTo>
                  <a:cubicBezTo>
                    <a:pt x="500" y="2346"/>
                    <a:pt x="560" y="2250"/>
                    <a:pt x="548" y="2143"/>
                  </a:cubicBezTo>
                  <a:cubicBezTo>
                    <a:pt x="377" y="1146"/>
                    <a:pt x="1184" y="350"/>
                    <a:pt x="2075" y="350"/>
                  </a:cubicBezTo>
                  <a:cubicBezTo>
                    <a:pt x="2428" y="350"/>
                    <a:pt x="2795" y="475"/>
                    <a:pt x="3120" y="762"/>
                  </a:cubicBezTo>
                  <a:cubicBezTo>
                    <a:pt x="3727" y="1334"/>
                    <a:pt x="3786" y="2310"/>
                    <a:pt x="3191" y="2941"/>
                  </a:cubicBezTo>
                  <a:cubicBezTo>
                    <a:pt x="2884" y="3270"/>
                    <a:pt x="2472" y="3430"/>
                    <a:pt x="2064" y="3430"/>
                  </a:cubicBezTo>
                  <a:cubicBezTo>
                    <a:pt x="1569" y="3430"/>
                    <a:pt x="1079" y="3195"/>
                    <a:pt x="786" y="2739"/>
                  </a:cubicBezTo>
                  <a:cubicBezTo>
                    <a:pt x="751" y="2690"/>
                    <a:pt x="700" y="2666"/>
                    <a:pt x="645" y="2666"/>
                  </a:cubicBezTo>
                  <a:cubicBezTo>
                    <a:pt x="606" y="2666"/>
                    <a:pt x="564" y="2678"/>
                    <a:pt x="524" y="2703"/>
                  </a:cubicBezTo>
                  <a:cubicBezTo>
                    <a:pt x="441" y="2762"/>
                    <a:pt x="429" y="2858"/>
                    <a:pt x="488" y="2953"/>
                  </a:cubicBezTo>
                  <a:cubicBezTo>
                    <a:pt x="859" y="3512"/>
                    <a:pt x="1464" y="3801"/>
                    <a:pt x="2073" y="3801"/>
                  </a:cubicBezTo>
                  <a:cubicBezTo>
                    <a:pt x="2579" y="3801"/>
                    <a:pt x="3087" y="3602"/>
                    <a:pt x="3465" y="3191"/>
                  </a:cubicBezTo>
                  <a:cubicBezTo>
                    <a:pt x="4584" y="1988"/>
                    <a:pt x="3715" y="0"/>
                    <a:pt x="2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0" name="Google Shape;12630;p62"/>
            <p:cNvSpPr/>
            <p:nvPr/>
          </p:nvSpPr>
          <p:spPr>
            <a:xfrm>
              <a:off x="4131392" y="4449507"/>
              <a:ext cx="54577" cy="45767"/>
            </a:xfrm>
            <a:custGeom>
              <a:avLst/>
              <a:gdLst/>
              <a:ahLst/>
              <a:cxnLst/>
              <a:rect l="l" t="t" r="r" b="b"/>
              <a:pathLst>
                <a:path w="1716" h="1439" extrusionOk="0">
                  <a:moveTo>
                    <a:pt x="820" y="0"/>
                  </a:moveTo>
                  <a:cubicBezTo>
                    <a:pt x="805" y="0"/>
                    <a:pt x="790" y="3"/>
                    <a:pt x="775" y="10"/>
                  </a:cubicBezTo>
                  <a:cubicBezTo>
                    <a:pt x="203" y="129"/>
                    <a:pt x="1" y="831"/>
                    <a:pt x="394" y="1224"/>
                  </a:cubicBezTo>
                  <a:cubicBezTo>
                    <a:pt x="537" y="1367"/>
                    <a:pt x="724" y="1439"/>
                    <a:pt x="912" y="1439"/>
                  </a:cubicBezTo>
                  <a:cubicBezTo>
                    <a:pt x="1099" y="1439"/>
                    <a:pt x="1287" y="1367"/>
                    <a:pt x="1430" y="1224"/>
                  </a:cubicBezTo>
                  <a:cubicBezTo>
                    <a:pt x="1668" y="986"/>
                    <a:pt x="1715" y="665"/>
                    <a:pt x="1573" y="391"/>
                  </a:cubicBezTo>
                  <a:cubicBezTo>
                    <a:pt x="1546" y="329"/>
                    <a:pt x="1481" y="294"/>
                    <a:pt x="1410" y="294"/>
                  </a:cubicBezTo>
                  <a:cubicBezTo>
                    <a:pt x="1385" y="294"/>
                    <a:pt x="1359" y="298"/>
                    <a:pt x="1334" y="307"/>
                  </a:cubicBezTo>
                  <a:cubicBezTo>
                    <a:pt x="1251" y="343"/>
                    <a:pt x="1215" y="450"/>
                    <a:pt x="1251" y="546"/>
                  </a:cubicBezTo>
                  <a:cubicBezTo>
                    <a:pt x="1311" y="677"/>
                    <a:pt x="1287" y="843"/>
                    <a:pt x="1180" y="962"/>
                  </a:cubicBezTo>
                  <a:cubicBezTo>
                    <a:pt x="1102" y="1034"/>
                    <a:pt x="1007" y="1069"/>
                    <a:pt x="913" y="1069"/>
                  </a:cubicBezTo>
                  <a:cubicBezTo>
                    <a:pt x="820" y="1069"/>
                    <a:pt x="727" y="1034"/>
                    <a:pt x="656" y="962"/>
                  </a:cubicBezTo>
                  <a:cubicBezTo>
                    <a:pt x="441" y="748"/>
                    <a:pt x="561" y="391"/>
                    <a:pt x="846" y="343"/>
                  </a:cubicBezTo>
                  <a:cubicBezTo>
                    <a:pt x="953" y="331"/>
                    <a:pt x="1013" y="236"/>
                    <a:pt x="977" y="141"/>
                  </a:cubicBezTo>
                  <a:cubicBezTo>
                    <a:pt x="958" y="63"/>
                    <a:pt x="890" y="0"/>
                    <a:pt x="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31" name="Google Shape;12631;p62"/>
          <p:cNvGrpSpPr/>
          <p:nvPr/>
        </p:nvGrpSpPr>
        <p:grpSpPr>
          <a:xfrm>
            <a:off x="3441065" y="4302505"/>
            <a:ext cx="337069" cy="302593"/>
            <a:chOff x="3441065" y="4302505"/>
            <a:chExt cx="337069" cy="302593"/>
          </a:xfrm>
        </p:grpSpPr>
        <p:sp>
          <p:nvSpPr>
            <p:cNvPr id="12632" name="Google Shape;12632;p62"/>
            <p:cNvSpPr/>
            <p:nvPr/>
          </p:nvSpPr>
          <p:spPr>
            <a:xfrm>
              <a:off x="3441065" y="4366941"/>
              <a:ext cx="337069" cy="173655"/>
            </a:xfrm>
            <a:custGeom>
              <a:avLst/>
              <a:gdLst/>
              <a:ahLst/>
              <a:cxnLst/>
              <a:rect l="l" t="t" r="r" b="b"/>
              <a:pathLst>
                <a:path w="10598" h="5460" extrusionOk="0">
                  <a:moveTo>
                    <a:pt x="5062" y="1"/>
                  </a:moveTo>
                  <a:cubicBezTo>
                    <a:pt x="3977" y="1"/>
                    <a:pt x="2891" y="303"/>
                    <a:pt x="1834" y="951"/>
                  </a:cubicBezTo>
                  <a:cubicBezTo>
                    <a:pt x="1001" y="1463"/>
                    <a:pt x="418" y="2058"/>
                    <a:pt x="156" y="2368"/>
                  </a:cubicBezTo>
                  <a:cubicBezTo>
                    <a:pt x="1" y="2546"/>
                    <a:pt x="1" y="2808"/>
                    <a:pt x="168" y="2987"/>
                  </a:cubicBezTo>
                  <a:cubicBezTo>
                    <a:pt x="1001" y="3844"/>
                    <a:pt x="1870" y="4475"/>
                    <a:pt x="2739" y="4892"/>
                  </a:cubicBezTo>
                  <a:cubicBezTo>
                    <a:pt x="2763" y="4916"/>
                    <a:pt x="2787" y="4916"/>
                    <a:pt x="2823" y="4916"/>
                  </a:cubicBezTo>
                  <a:cubicBezTo>
                    <a:pt x="2977" y="4916"/>
                    <a:pt x="3037" y="4689"/>
                    <a:pt x="2894" y="4618"/>
                  </a:cubicBezTo>
                  <a:cubicBezTo>
                    <a:pt x="2049" y="4213"/>
                    <a:pt x="1215" y="3582"/>
                    <a:pt x="406" y="2773"/>
                  </a:cubicBezTo>
                  <a:cubicBezTo>
                    <a:pt x="346" y="2713"/>
                    <a:pt x="346" y="2630"/>
                    <a:pt x="406" y="2570"/>
                  </a:cubicBezTo>
                  <a:cubicBezTo>
                    <a:pt x="799" y="2130"/>
                    <a:pt x="2061" y="868"/>
                    <a:pt x="3918" y="451"/>
                  </a:cubicBezTo>
                  <a:lnTo>
                    <a:pt x="3918" y="451"/>
                  </a:lnTo>
                  <a:cubicBezTo>
                    <a:pt x="3561" y="665"/>
                    <a:pt x="3263" y="963"/>
                    <a:pt x="3025" y="1320"/>
                  </a:cubicBezTo>
                  <a:cubicBezTo>
                    <a:pt x="2977" y="1403"/>
                    <a:pt x="3001" y="1487"/>
                    <a:pt x="3073" y="1534"/>
                  </a:cubicBezTo>
                  <a:cubicBezTo>
                    <a:pt x="3098" y="1551"/>
                    <a:pt x="3126" y="1559"/>
                    <a:pt x="3154" y="1559"/>
                  </a:cubicBezTo>
                  <a:cubicBezTo>
                    <a:pt x="3204" y="1559"/>
                    <a:pt x="3252" y="1533"/>
                    <a:pt x="3275" y="1487"/>
                  </a:cubicBezTo>
                  <a:cubicBezTo>
                    <a:pt x="3728" y="772"/>
                    <a:pt x="4490" y="367"/>
                    <a:pt x="5299" y="367"/>
                  </a:cubicBezTo>
                  <a:cubicBezTo>
                    <a:pt x="6609" y="367"/>
                    <a:pt x="7680" y="1439"/>
                    <a:pt x="7680" y="2749"/>
                  </a:cubicBezTo>
                  <a:cubicBezTo>
                    <a:pt x="7680" y="3820"/>
                    <a:pt x="6954" y="4773"/>
                    <a:pt x="5930" y="5047"/>
                  </a:cubicBezTo>
                  <a:cubicBezTo>
                    <a:pt x="5720" y="5103"/>
                    <a:pt x="5510" y="5130"/>
                    <a:pt x="5305" y="5130"/>
                  </a:cubicBezTo>
                  <a:cubicBezTo>
                    <a:pt x="4250" y="5130"/>
                    <a:pt x="3302" y="4424"/>
                    <a:pt x="3013" y="3368"/>
                  </a:cubicBezTo>
                  <a:cubicBezTo>
                    <a:pt x="2954" y="3154"/>
                    <a:pt x="2918" y="2951"/>
                    <a:pt x="2918" y="2737"/>
                  </a:cubicBezTo>
                  <a:cubicBezTo>
                    <a:pt x="2918" y="2487"/>
                    <a:pt x="2966" y="2249"/>
                    <a:pt x="3037" y="2011"/>
                  </a:cubicBezTo>
                  <a:cubicBezTo>
                    <a:pt x="3073" y="1915"/>
                    <a:pt x="3025" y="1844"/>
                    <a:pt x="2942" y="1820"/>
                  </a:cubicBezTo>
                  <a:cubicBezTo>
                    <a:pt x="2920" y="1812"/>
                    <a:pt x="2899" y="1808"/>
                    <a:pt x="2880" y="1808"/>
                  </a:cubicBezTo>
                  <a:cubicBezTo>
                    <a:pt x="2816" y="1808"/>
                    <a:pt x="2767" y="1851"/>
                    <a:pt x="2739" y="1915"/>
                  </a:cubicBezTo>
                  <a:cubicBezTo>
                    <a:pt x="2656" y="2189"/>
                    <a:pt x="2608" y="2475"/>
                    <a:pt x="2608" y="2737"/>
                  </a:cubicBezTo>
                  <a:cubicBezTo>
                    <a:pt x="2608" y="2975"/>
                    <a:pt x="2644" y="3213"/>
                    <a:pt x="2704" y="3439"/>
                  </a:cubicBezTo>
                  <a:cubicBezTo>
                    <a:pt x="2858" y="4058"/>
                    <a:pt x="3251" y="4582"/>
                    <a:pt x="3739" y="4928"/>
                  </a:cubicBezTo>
                  <a:cubicBezTo>
                    <a:pt x="3632" y="4892"/>
                    <a:pt x="3549" y="4868"/>
                    <a:pt x="3442" y="4820"/>
                  </a:cubicBezTo>
                  <a:cubicBezTo>
                    <a:pt x="3427" y="4816"/>
                    <a:pt x="3412" y="4813"/>
                    <a:pt x="3396" y="4813"/>
                  </a:cubicBezTo>
                  <a:cubicBezTo>
                    <a:pt x="3334" y="4813"/>
                    <a:pt x="3270" y="4849"/>
                    <a:pt x="3251" y="4916"/>
                  </a:cubicBezTo>
                  <a:cubicBezTo>
                    <a:pt x="3216" y="4987"/>
                    <a:pt x="3263" y="5070"/>
                    <a:pt x="3335" y="5106"/>
                  </a:cubicBezTo>
                  <a:cubicBezTo>
                    <a:pt x="3996" y="5346"/>
                    <a:pt x="4652" y="5460"/>
                    <a:pt x="5299" y="5460"/>
                  </a:cubicBezTo>
                  <a:cubicBezTo>
                    <a:pt x="6446" y="5460"/>
                    <a:pt x="7563" y="5103"/>
                    <a:pt x="8621" y="4463"/>
                  </a:cubicBezTo>
                  <a:cubicBezTo>
                    <a:pt x="9502" y="3927"/>
                    <a:pt x="10145" y="3308"/>
                    <a:pt x="10443" y="2975"/>
                  </a:cubicBezTo>
                  <a:cubicBezTo>
                    <a:pt x="10597" y="2808"/>
                    <a:pt x="10586" y="2511"/>
                    <a:pt x="10395" y="2356"/>
                  </a:cubicBezTo>
                  <a:cubicBezTo>
                    <a:pt x="10062" y="2058"/>
                    <a:pt x="9728" y="1784"/>
                    <a:pt x="9383" y="1546"/>
                  </a:cubicBezTo>
                  <a:cubicBezTo>
                    <a:pt x="9357" y="1529"/>
                    <a:pt x="9327" y="1521"/>
                    <a:pt x="9298" y="1521"/>
                  </a:cubicBezTo>
                  <a:cubicBezTo>
                    <a:pt x="9246" y="1521"/>
                    <a:pt x="9194" y="1544"/>
                    <a:pt x="9157" y="1582"/>
                  </a:cubicBezTo>
                  <a:cubicBezTo>
                    <a:pt x="9109" y="1653"/>
                    <a:pt x="9133" y="1737"/>
                    <a:pt x="9192" y="1796"/>
                  </a:cubicBezTo>
                  <a:cubicBezTo>
                    <a:pt x="9514" y="2034"/>
                    <a:pt x="9847" y="2296"/>
                    <a:pt x="10169" y="2594"/>
                  </a:cubicBezTo>
                  <a:cubicBezTo>
                    <a:pt x="10228" y="2653"/>
                    <a:pt x="10228" y="2737"/>
                    <a:pt x="10181" y="2796"/>
                  </a:cubicBezTo>
                  <a:cubicBezTo>
                    <a:pt x="9788" y="3225"/>
                    <a:pt x="8550" y="4439"/>
                    <a:pt x="6835" y="4939"/>
                  </a:cubicBezTo>
                  <a:cubicBezTo>
                    <a:pt x="8311" y="3904"/>
                    <a:pt x="8359" y="1737"/>
                    <a:pt x="6954" y="629"/>
                  </a:cubicBezTo>
                  <a:lnTo>
                    <a:pt x="6954" y="629"/>
                  </a:lnTo>
                  <a:cubicBezTo>
                    <a:pt x="7538" y="820"/>
                    <a:pt x="8121" y="1106"/>
                    <a:pt x="8692" y="1463"/>
                  </a:cubicBezTo>
                  <a:cubicBezTo>
                    <a:pt x="8722" y="1476"/>
                    <a:pt x="8752" y="1482"/>
                    <a:pt x="8780" y="1482"/>
                  </a:cubicBezTo>
                  <a:cubicBezTo>
                    <a:pt x="8831" y="1482"/>
                    <a:pt x="8876" y="1461"/>
                    <a:pt x="8907" y="1415"/>
                  </a:cubicBezTo>
                  <a:cubicBezTo>
                    <a:pt x="8954" y="1344"/>
                    <a:pt x="8931" y="1249"/>
                    <a:pt x="8859" y="1201"/>
                  </a:cubicBezTo>
                  <a:cubicBezTo>
                    <a:pt x="7632" y="426"/>
                    <a:pt x="6348" y="1"/>
                    <a:pt x="5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3" name="Google Shape;12633;p62"/>
            <p:cNvSpPr/>
            <p:nvPr/>
          </p:nvSpPr>
          <p:spPr>
            <a:xfrm>
              <a:off x="3572864" y="4423300"/>
              <a:ext cx="76141" cy="61479"/>
            </a:xfrm>
            <a:custGeom>
              <a:avLst/>
              <a:gdLst/>
              <a:ahLst/>
              <a:cxnLst/>
              <a:rect l="l" t="t" r="r" b="b"/>
              <a:pathLst>
                <a:path w="2394" h="1933" extrusionOk="0">
                  <a:moveTo>
                    <a:pt x="1143" y="0"/>
                  </a:moveTo>
                  <a:cubicBezTo>
                    <a:pt x="465" y="0"/>
                    <a:pt x="0" y="679"/>
                    <a:pt x="238" y="1322"/>
                  </a:cubicBezTo>
                  <a:cubicBezTo>
                    <a:pt x="258" y="1381"/>
                    <a:pt x="326" y="1423"/>
                    <a:pt x="396" y="1423"/>
                  </a:cubicBezTo>
                  <a:cubicBezTo>
                    <a:pt x="411" y="1423"/>
                    <a:pt x="426" y="1421"/>
                    <a:pt x="441" y="1417"/>
                  </a:cubicBezTo>
                  <a:cubicBezTo>
                    <a:pt x="524" y="1382"/>
                    <a:pt x="560" y="1298"/>
                    <a:pt x="536" y="1203"/>
                  </a:cubicBezTo>
                  <a:cubicBezTo>
                    <a:pt x="354" y="738"/>
                    <a:pt x="729" y="308"/>
                    <a:pt x="1156" y="308"/>
                  </a:cubicBezTo>
                  <a:cubicBezTo>
                    <a:pt x="1287" y="308"/>
                    <a:pt x="1422" y="349"/>
                    <a:pt x="1548" y="441"/>
                  </a:cubicBezTo>
                  <a:cubicBezTo>
                    <a:pt x="2036" y="822"/>
                    <a:pt x="1774" y="1620"/>
                    <a:pt x="1143" y="1620"/>
                  </a:cubicBezTo>
                  <a:cubicBezTo>
                    <a:pt x="1048" y="1620"/>
                    <a:pt x="953" y="1608"/>
                    <a:pt x="881" y="1560"/>
                  </a:cubicBezTo>
                  <a:cubicBezTo>
                    <a:pt x="860" y="1554"/>
                    <a:pt x="840" y="1551"/>
                    <a:pt x="819" y="1551"/>
                  </a:cubicBezTo>
                  <a:cubicBezTo>
                    <a:pt x="759" y="1551"/>
                    <a:pt x="703" y="1578"/>
                    <a:pt x="667" y="1632"/>
                  </a:cubicBezTo>
                  <a:cubicBezTo>
                    <a:pt x="643" y="1715"/>
                    <a:pt x="667" y="1798"/>
                    <a:pt x="738" y="1846"/>
                  </a:cubicBezTo>
                  <a:cubicBezTo>
                    <a:pt x="869" y="1904"/>
                    <a:pt x="1009" y="1933"/>
                    <a:pt x="1148" y="1933"/>
                  </a:cubicBezTo>
                  <a:cubicBezTo>
                    <a:pt x="1438" y="1933"/>
                    <a:pt x="1724" y="1806"/>
                    <a:pt x="1917" y="1548"/>
                  </a:cubicBezTo>
                  <a:cubicBezTo>
                    <a:pt x="2393" y="917"/>
                    <a:pt x="1965" y="0"/>
                    <a:pt x="1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4" name="Google Shape;12634;p62"/>
            <p:cNvSpPr/>
            <p:nvPr/>
          </p:nvSpPr>
          <p:spPr>
            <a:xfrm>
              <a:off x="3619045" y="4394485"/>
              <a:ext cx="46626" cy="39088"/>
            </a:xfrm>
            <a:custGeom>
              <a:avLst/>
              <a:gdLst/>
              <a:ahLst/>
              <a:cxnLst/>
              <a:rect l="l" t="t" r="r" b="b"/>
              <a:pathLst>
                <a:path w="1466" h="1229" extrusionOk="0">
                  <a:moveTo>
                    <a:pt x="782" y="310"/>
                  </a:moveTo>
                  <a:cubicBezTo>
                    <a:pt x="917" y="310"/>
                    <a:pt x="1054" y="400"/>
                    <a:pt x="1096" y="549"/>
                  </a:cubicBezTo>
                  <a:cubicBezTo>
                    <a:pt x="1120" y="716"/>
                    <a:pt x="1013" y="871"/>
                    <a:pt x="858" y="906"/>
                  </a:cubicBezTo>
                  <a:cubicBezTo>
                    <a:pt x="834" y="912"/>
                    <a:pt x="810" y="914"/>
                    <a:pt x="788" y="914"/>
                  </a:cubicBezTo>
                  <a:cubicBezTo>
                    <a:pt x="553" y="914"/>
                    <a:pt x="406" y="648"/>
                    <a:pt x="537" y="442"/>
                  </a:cubicBezTo>
                  <a:cubicBezTo>
                    <a:pt x="599" y="351"/>
                    <a:pt x="690" y="310"/>
                    <a:pt x="782" y="310"/>
                  </a:cubicBezTo>
                  <a:close/>
                  <a:moveTo>
                    <a:pt x="791" y="1"/>
                  </a:moveTo>
                  <a:cubicBezTo>
                    <a:pt x="598" y="1"/>
                    <a:pt x="403" y="88"/>
                    <a:pt x="275" y="275"/>
                  </a:cubicBezTo>
                  <a:cubicBezTo>
                    <a:pt x="1" y="692"/>
                    <a:pt x="321" y="1229"/>
                    <a:pt x="792" y="1229"/>
                  </a:cubicBezTo>
                  <a:cubicBezTo>
                    <a:pt x="833" y="1229"/>
                    <a:pt x="875" y="1225"/>
                    <a:pt x="918" y="1216"/>
                  </a:cubicBezTo>
                  <a:cubicBezTo>
                    <a:pt x="1251" y="1145"/>
                    <a:pt x="1465" y="811"/>
                    <a:pt x="1394" y="490"/>
                  </a:cubicBezTo>
                  <a:cubicBezTo>
                    <a:pt x="1331" y="176"/>
                    <a:pt x="1064" y="1"/>
                    <a:pt x="7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5" name="Google Shape;12635;p62"/>
            <p:cNvSpPr/>
            <p:nvPr/>
          </p:nvSpPr>
          <p:spPr>
            <a:xfrm>
              <a:off x="3604669" y="4302505"/>
              <a:ext cx="9860" cy="42046"/>
            </a:xfrm>
            <a:custGeom>
              <a:avLst/>
              <a:gdLst/>
              <a:ahLst/>
              <a:cxnLst/>
              <a:rect l="l" t="t" r="r" b="b"/>
              <a:pathLst>
                <a:path w="310" h="1322" extrusionOk="0">
                  <a:moveTo>
                    <a:pt x="143" y="0"/>
                  </a:moveTo>
                  <a:cubicBezTo>
                    <a:pt x="60" y="0"/>
                    <a:pt x="0" y="72"/>
                    <a:pt x="0" y="155"/>
                  </a:cubicBezTo>
                  <a:lnTo>
                    <a:pt x="0" y="1179"/>
                  </a:lnTo>
                  <a:cubicBezTo>
                    <a:pt x="0" y="1262"/>
                    <a:pt x="72" y="1322"/>
                    <a:pt x="143" y="1322"/>
                  </a:cubicBezTo>
                  <a:cubicBezTo>
                    <a:pt x="238" y="1322"/>
                    <a:pt x="298" y="1250"/>
                    <a:pt x="298" y="1179"/>
                  </a:cubicBezTo>
                  <a:lnTo>
                    <a:pt x="298" y="155"/>
                  </a:lnTo>
                  <a:cubicBezTo>
                    <a:pt x="310" y="72"/>
                    <a:pt x="238" y="0"/>
                    <a:pt x="1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6" name="Google Shape;12636;p62"/>
            <p:cNvSpPr/>
            <p:nvPr/>
          </p:nvSpPr>
          <p:spPr>
            <a:xfrm>
              <a:off x="3528178" y="4315926"/>
              <a:ext cx="22359" cy="40742"/>
            </a:xfrm>
            <a:custGeom>
              <a:avLst/>
              <a:gdLst/>
              <a:ahLst/>
              <a:cxnLst/>
              <a:rect l="l" t="t" r="r" b="b"/>
              <a:pathLst>
                <a:path w="703" h="1281" extrusionOk="0">
                  <a:moveTo>
                    <a:pt x="163" y="1"/>
                  </a:moveTo>
                  <a:cubicBezTo>
                    <a:pt x="149" y="1"/>
                    <a:pt x="134" y="3"/>
                    <a:pt x="119" y="7"/>
                  </a:cubicBezTo>
                  <a:cubicBezTo>
                    <a:pt x="48" y="43"/>
                    <a:pt x="0" y="126"/>
                    <a:pt x="36" y="209"/>
                  </a:cubicBezTo>
                  <a:lnTo>
                    <a:pt x="393" y="1174"/>
                  </a:lnTo>
                  <a:cubicBezTo>
                    <a:pt x="417" y="1233"/>
                    <a:pt x="477" y="1281"/>
                    <a:pt x="536" y="1281"/>
                  </a:cubicBezTo>
                  <a:cubicBezTo>
                    <a:pt x="631" y="1281"/>
                    <a:pt x="703" y="1174"/>
                    <a:pt x="679" y="1067"/>
                  </a:cubicBezTo>
                  <a:lnTo>
                    <a:pt x="322" y="102"/>
                  </a:lnTo>
                  <a:cubicBezTo>
                    <a:pt x="292" y="43"/>
                    <a:pt x="23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7" name="Google Shape;12637;p62"/>
            <p:cNvSpPr/>
            <p:nvPr/>
          </p:nvSpPr>
          <p:spPr>
            <a:xfrm>
              <a:off x="3457730" y="4348590"/>
              <a:ext cx="32600" cy="35367"/>
            </a:xfrm>
            <a:custGeom>
              <a:avLst/>
              <a:gdLst/>
              <a:ahLst/>
              <a:cxnLst/>
              <a:rect l="l" t="t" r="r" b="b"/>
              <a:pathLst>
                <a:path w="1025" h="1112" extrusionOk="0">
                  <a:moveTo>
                    <a:pt x="183" y="0"/>
                  </a:moveTo>
                  <a:cubicBezTo>
                    <a:pt x="147" y="0"/>
                    <a:pt x="110" y="13"/>
                    <a:pt x="72" y="40"/>
                  </a:cubicBezTo>
                  <a:cubicBezTo>
                    <a:pt x="13" y="99"/>
                    <a:pt x="1" y="194"/>
                    <a:pt x="60" y="266"/>
                  </a:cubicBezTo>
                  <a:lnTo>
                    <a:pt x="715" y="1052"/>
                  </a:lnTo>
                  <a:cubicBezTo>
                    <a:pt x="751" y="1087"/>
                    <a:pt x="787" y="1111"/>
                    <a:pt x="834" y="1111"/>
                  </a:cubicBezTo>
                  <a:cubicBezTo>
                    <a:pt x="953" y="1099"/>
                    <a:pt x="1025" y="944"/>
                    <a:pt x="953" y="849"/>
                  </a:cubicBezTo>
                  <a:lnTo>
                    <a:pt x="298" y="51"/>
                  </a:lnTo>
                  <a:cubicBezTo>
                    <a:pt x="266" y="19"/>
                    <a:pt x="226" y="0"/>
                    <a:pt x="1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8" name="Google Shape;12638;p62"/>
            <p:cNvSpPr/>
            <p:nvPr/>
          </p:nvSpPr>
          <p:spPr>
            <a:xfrm>
              <a:off x="3727723" y="4351611"/>
              <a:ext cx="32218" cy="34954"/>
            </a:xfrm>
            <a:custGeom>
              <a:avLst/>
              <a:gdLst/>
              <a:ahLst/>
              <a:cxnLst/>
              <a:rect l="l" t="t" r="r" b="b"/>
              <a:pathLst>
                <a:path w="1013" h="1099" extrusionOk="0">
                  <a:moveTo>
                    <a:pt x="834" y="1"/>
                  </a:moveTo>
                  <a:cubicBezTo>
                    <a:pt x="791" y="1"/>
                    <a:pt x="748" y="19"/>
                    <a:pt x="715" y="52"/>
                  </a:cubicBezTo>
                  <a:lnTo>
                    <a:pt x="60" y="838"/>
                  </a:lnTo>
                  <a:cubicBezTo>
                    <a:pt x="1" y="897"/>
                    <a:pt x="13" y="1004"/>
                    <a:pt x="72" y="1064"/>
                  </a:cubicBezTo>
                  <a:cubicBezTo>
                    <a:pt x="96" y="1088"/>
                    <a:pt x="128" y="1098"/>
                    <a:pt x="161" y="1098"/>
                  </a:cubicBezTo>
                  <a:cubicBezTo>
                    <a:pt x="211" y="1098"/>
                    <a:pt x="263" y="1075"/>
                    <a:pt x="299" y="1040"/>
                  </a:cubicBezTo>
                  <a:lnTo>
                    <a:pt x="953" y="254"/>
                  </a:lnTo>
                  <a:cubicBezTo>
                    <a:pt x="1013" y="183"/>
                    <a:pt x="1013" y="76"/>
                    <a:pt x="930" y="40"/>
                  </a:cubicBezTo>
                  <a:cubicBezTo>
                    <a:pt x="903" y="13"/>
                    <a:pt x="869" y="1"/>
                    <a:pt x="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39" name="Google Shape;12639;p62"/>
            <p:cNvSpPr/>
            <p:nvPr/>
          </p:nvSpPr>
          <p:spPr>
            <a:xfrm>
              <a:off x="3668279" y="4315926"/>
              <a:ext cx="22391" cy="40742"/>
            </a:xfrm>
            <a:custGeom>
              <a:avLst/>
              <a:gdLst/>
              <a:ahLst/>
              <a:cxnLst/>
              <a:rect l="l" t="t" r="r" b="b"/>
              <a:pathLst>
                <a:path w="704" h="1281" extrusionOk="0">
                  <a:moveTo>
                    <a:pt x="544" y="1"/>
                  </a:moveTo>
                  <a:cubicBezTo>
                    <a:pt x="481" y="1"/>
                    <a:pt x="413" y="43"/>
                    <a:pt x="394" y="102"/>
                  </a:cubicBezTo>
                  <a:lnTo>
                    <a:pt x="36" y="1067"/>
                  </a:lnTo>
                  <a:cubicBezTo>
                    <a:pt x="1" y="1174"/>
                    <a:pt x="84" y="1281"/>
                    <a:pt x="179" y="1281"/>
                  </a:cubicBezTo>
                  <a:cubicBezTo>
                    <a:pt x="239" y="1281"/>
                    <a:pt x="298" y="1233"/>
                    <a:pt x="334" y="1174"/>
                  </a:cubicBezTo>
                  <a:lnTo>
                    <a:pt x="691" y="209"/>
                  </a:lnTo>
                  <a:cubicBezTo>
                    <a:pt x="703" y="126"/>
                    <a:pt x="655" y="43"/>
                    <a:pt x="584" y="7"/>
                  </a:cubicBezTo>
                  <a:cubicBezTo>
                    <a:pt x="571" y="3"/>
                    <a:pt x="558" y="1"/>
                    <a:pt x="5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0" name="Google Shape;12640;p62"/>
            <p:cNvSpPr/>
            <p:nvPr/>
          </p:nvSpPr>
          <p:spPr>
            <a:xfrm>
              <a:off x="3603143" y="4563019"/>
              <a:ext cx="9891" cy="42078"/>
            </a:xfrm>
            <a:custGeom>
              <a:avLst/>
              <a:gdLst/>
              <a:ahLst/>
              <a:cxnLst/>
              <a:rect l="l" t="t" r="r" b="b"/>
              <a:pathLst>
                <a:path w="311" h="1323" extrusionOk="0">
                  <a:moveTo>
                    <a:pt x="144" y="1"/>
                  </a:moveTo>
                  <a:cubicBezTo>
                    <a:pt x="60" y="1"/>
                    <a:pt x="1" y="72"/>
                    <a:pt x="1" y="144"/>
                  </a:cubicBezTo>
                  <a:lnTo>
                    <a:pt x="1" y="1168"/>
                  </a:lnTo>
                  <a:cubicBezTo>
                    <a:pt x="1" y="1263"/>
                    <a:pt x="72" y="1322"/>
                    <a:pt x="144" y="1322"/>
                  </a:cubicBezTo>
                  <a:cubicBezTo>
                    <a:pt x="239" y="1322"/>
                    <a:pt x="298" y="1251"/>
                    <a:pt x="298" y="1168"/>
                  </a:cubicBezTo>
                  <a:lnTo>
                    <a:pt x="298" y="144"/>
                  </a:lnTo>
                  <a:cubicBezTo>
                    <a:pt x="310" y="72"/>
                    <a:pt x="239"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1" name="Google Shape;12641;p62"/>
            <p:cNvSpPr/>
            <p:nvPr/>
          </p:nvSpPr>
          <p:spPr>
            <a:xfrm>
              <a:off x="3667134" y="4552206"/>
              <a:ext cx="22009" cy="40233"/>
            </a:xfrm>
            <a:custGeom>
              <a:avLst/>
              <a:gdLst/>
              <a:ahLst/>
              <a:cxnLst/>
              <a:rect l="l" t="t" r="r" b="b"/>
              <a:pathLst>
                <a:path w="692" h="1265" extrusionOk="0">
                  <a:moveTo>
                    <a:pt x="165" y="0"/>
                  </a:moveTo>
                  <a:cubicBezTo>
                    <a:pt x="150" y="0"/>
                    <a:pt x="135" y="3"/>
                    <a:pt x="120" y="7"/>
                  </a:cubicBezTo>
                  <a:cubicBezTo>
                    <a:pt x="37" y="43"/>
                    <a:pt x="1" y="126"/>
                    <a:pt x="25" y="198"/>
                  </a:cubicBezTo>
                  <a:lnTo>
                    <a:pt x="382" y="1174"/>
                  </a:lnTo>
                  <a:cubicBezTo>
                    <a:pt x="410" y="1231"/>
                    <a:pt x="468" y="1265"/>
                    <a:pt x="527" y="1265"/>
                  </a:cubicBezTo>
                  <a:cubicBezTo>
                    <a:pt x="542" y="1265"/>
                    <a:pt x="557" y="1263"/>
                    <a:pt x="572" y="1258"/>
                  </a:cubicBezTo>
                  <a:cubicBezTo>
                    <a:pt x="656" y="1234"/>
                    <a:pt x="691" y="1139"/>
                    <a:pt x="668" y="1067"/>
                  </a:cubicBezTo>
                  <a:lnTo>
                    <a:pt x="310" y="103"/>
                  </a:lnTo>
                  <a:cubicBezTo>
                    <a:pt x="282" y="36"/>
                    <a:pt x="223"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2" name="Google Shape;12642;p62"/>
            <p:cNvSpPr/>
            <p:nvPr/>
          </p:nvSpPr>
          <p:spPr>
            <a:xfrm>
              <a:off x="3727723" y="4524662"/>
              <a:ext cx="32982" cy="35367"/>
            </a:xfrm>
            <a:custGeom>
              <a:avLst/>
              <a:gdLst/>
              <a:ahLst/>
              <a:cxnLst/>
              <a:rect l="l" t="t" r="r" b="b"/>
              <a:pathLst>
                <a:path w="1037" h="1112" extrusionOk="0">
                  <a:moveTo>
                    <a:pt x="178" y="1"/>
                  </a:moveTo>
                  <a:cubicBezTo>
                    <a:pt x="142" y="1"/>
                    <a:pt x="104" y="13"/>
                    <a:pt x="72" y="40"/>
                  </a:cubicBezTo>
                  <a:cubicBezTo>
                    <a:pt x="13" y="100"/>
                    <a:pt x="1" y="195"/>
                    <a:pt x="60" y="266"/>
                  </a:cubicBezTo>
                  <a:lnTo>
                    <a:pt x="715" y="1052"/>
                  </a:lnTo>
                  <a:cubicBezTo>
                    <a:pt x="739" y="1088"/>
                    <a:pt x="787" y="1112"/>
                    <a:pt x="834" y="1112"/>
                  </a:cubicBezTo>
                  <a:cubicBezTo>
                    <a:pt x="965" y="1100"/>
                    <a:pt x="1037" y="945"/>
                    <a:pt x="953" y="850"/>
                  </a:cubicBezTo>
                  <a:lnTo>
                    <a:pt x="299" y="52"/>
                  </a:lnTo>
                  <a:cubicBezTo>
                    <a:pt x="266" y="19"/>
                    <a:pt x="222"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3" name="Google Shape;12643;p62"/>
            <p:cNvSpPr/>
            <p:nvPr/>
          </p:nvSpPr>
          <p:spPr>
            <a:xfrm>
              <a:off x="3457349" y="4522023"/>
              <a:ext cx="32218" cy="34954"/>
            </a:xfrm>
            <a:custGeom>
              <a:avLst/>
              <a:gdLst/>
              <a:ahLst/>
              <a:cxnLst/>
              <a:rect l="l" t="t" r="r" b="b"/>
              <a:pathLst>
                <a:path w="1013" h="1099" extrusionOk="0">
                  <a:moveTo>
                    <a:pt x="841" y="0"/>
                  </a:moveTo>
                  <a:cubicBezTo>
                    <a:pt x="795" y="0"/>
                    <a:pt x="748" y="19"/>
                    <a:pt x="715" y="52"/>
                  </a:cubicBezTo>
                  <a:lnTo>
                    <a:pt x="60" y="837"/>
                  </a:lnTo>
                  <a:cubicBezTo>
                    <a:pt x="1" y="897"/>
                    <a:pt x="13" y="1004"/>
                    <a:pt x="72" y="1064"/>
                  </a:cubicBezTo>
                  <a:cubicBezTo>
                    <a:pt x="96" y="1088"/>
                    <a:pt x="128" y="1098"/>
                    <a:pt x="161" y="1098"/>
                  </a:cubicBezTo>
                  <a:cubicBezTo>
                    <a:pt x="211" y="1098"/>
                    <a:pt x="263" y="1075"/>
                    <a:pt x="298" y="1040"/>
                  </a:cubicBezTo>
                  <a:lnTo>
                    <a:pt x="953" y="254"/>
                  </a:lnTo>
                  <a:cubicBezTo>
                    <a:pt x="1013" y="183"/>
                    <a:pt x="1013" y="99"/>
                    <a:pt x="941" y="40"/>
                  </a:cubicBezTo>
                  <a:cubicBezTo>
                    <a:pt x="915" y="13"/>
                    <a:pt x="878" y="0"/>
                    <a:pt x="8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4" name="Google Shape;12644;p62"/>
            <p:cNvSpPr/>
            <p:nvPr/>
          </p:nvSpPr>
          <p:spPr>
            <a:xfrm>
              <a:off x="3526270" y="4551665"/>
              <a:ext cx="22772" cy="40392"/>
            </a:xfrm>
            <a:custGeom>
              <a:avLst/>
              <a:gdLst/>
              <a:ahLst/>
              <a:cxnLst/>
              <a:rect l="l" t="t" r="r" b="b"/>
              <a:pathLst>
                <a:path w="716" h="1270" extrusionOk="0">
                  <a:moveTo>
                    <a:pt x="531" y="0"/>
                  </a:moveTo>
                  <a:cubicBezTo>
                    <a:pt x="472" y="0"/>
                    <a:pt x="412" y="41"/>
                    <a:pt x="394" y="96"/>
                  </a:cubicBezTo>
                  <a:lnTo>
                    <a:pt x="36" y="1072"/>
                  </a:lnTo>
                  <a:cubicBezTo>
                    <a:pt x="1" y="1144"/>
                    <a:pt x="48" y="1227"/>
                    <a:pt x="120" y="1263"/>
                  </a:cubicBezTo>
                  <a:cubicBezTo>
                    <a:pt x="137" y="1268"/>
                    <a:pt x="154" y="1270"/>
                    <a:pt x="170" y="1270"/>
                  </a:cubicBezTo>
                  <a:cubicBezTo>
                    <a:pt x="235" y="1270"/>
                    <a:pt x="294" y="1234"/>
                    <a:pt x="322" y="1167"/>
                  </a:cubicBezTo>
                  <a:lnTo>
                    <a:pt x="679" y="203"/>
                  </a:lnTo>
                  <a:cubicBezTo>
                    <a:pt x="715" y="132"/>
                    <a:pt x="679" y="36"/>
                    <a:pt x="584" y="13"/>
                  </a:cubicBezTo>
                  <a:cubicBezTo>
                    <a:pt x="567" y="4"/>
                    <a:pt x="549" y="0"/>
                    <a:pt x="5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45" name="Google Shape;12645;p62"/>
          <p:cNvGrpSpPr/>
          <p:nvPr/>
        </p:nvGrpSpPr>
        <p:grpSpPr>
          <a:xfrm>
            <a:off x="3532345" y="3362635"/>
            <a:ext cx="339328" cy="336274"/>
            <a:chOff x="3532345" y="3362635"/>
            <a:chExt cx="339328" cy="336274"/>
          </a:xfrm>
        </p:grpSpPr>
        <p:sp>
          <p:nvSpPr>
            <p:cNvPr id="12646" name="Google Shape;12646;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7" name="Google Shape;12647;p62"/>
            <p:cNvSpPr/>
            <p:nvPr/>
          </p:nvSpPr>
          <p:spPr>
            <a:xfrm>
              <a:off x="3819385" y="3493258"/>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8" name="Google Shape;12648;p62"/>
            <p:cNvSpPr/>
            <p:nvPr/>
          </p:nvSpPr>
          <p:spPr>
            <a:xfrm>
              <a:off x="3532345" y="3362635"/>
              <a:ext cx="339328" cy="282142"/>
            </a:xfrm>
            <a:custGeom>
              <a:avLst/>
              <a:gdLst/>
              <a:ahLst/>
              <a:cxnLst/>
              <a:rect l="l" t="t" r="r" b="b"/>
              <a:pathLst>
                <a:path w="10669" h="8871" extrusionOk="0">
                  <a:moveTo>
                    <a:pt x="6299" y="262"/>
                  </a:moveTo>
                  <a:cubicBezTo>
                    <a:pt x="6465" y="262"/>
                    <a:pt x="6596" y="393"/>
                    <a:pt x="6596" y="560"/>
                  </a:cubicBezTo>
                  <a:lnTo>
                    <a:pt x="6596" y="2084"/>
                  </a:lnTo>
                  <a:cubicBezTo>
                    <a:pt x="6382" y="2119"/>
                    <a:pt x="6322" y="2155"/>
                    <a:pt x="6322" y="2155"/>
                  </a:cubicBezTo>
                  <a:cubicBezTo>
                    <a:pt x="6203" y="2179"/>
                    <a:pt x="6108" y="2227"/>
                    <a:pt x="6049" y="2238"/>
                  </a:cubicBezTo>
                  <a:cubicBezTo>
                    <a:pt x="5941" y="2119"/>
                    <a:pt x="6001" y="1988"/>
                    <a:pt x="5989" y="1846"/>
                  </a:cubicBezTo>
                  <a:lnTo>
                    <a:pt x="5989" y="560"/>
                  </a:lnTo>
                  <a:cubicBezTo>
                    <a:pt x="5989" y="393"/>
                    <a:pt x="6120" y="262"/>
                    <a:pt x="6287" y="262"/>
                  </a:cubicBezTo>
                  <a:close/>
                  <a:moveTo>
                    <a:pt x="3489" y="262"/>
                  </a:moveTo>
                  <a:cubicBezTo>
                    <a:pt x="3655" y="262"/>
                    <a:pt x="3786" y="393"/>
                    <a:pt x="3786" y="560"/>
                  </a:cubicBezTo>
                  <a:lnTo>
                    <a:pt x="3786" y="1846"/>
                  </a:lnTo>
                  <a:cubicBezTo>
                    <a:pt x="3786" y="2084"/>
                    <a:pt x="3786" y="2096"/>
                    <a:pt x="3775" y="2155"/>
                  </a:cubicBezTo>
                  <a:cubicBezTo>
                    <a:pt x="3727" y="2274"/>
                    <a:pt x="3620" y="2357"/>
                    <a:pt x="3477" y="2357"/>
                  </a:cubicBezTo>
                  <a:cubicBezTo>
                    <a:pt x="3477" y="2357"/>
                    <a:pt x="3470" y="2358"/>
                    <a:pt x="3457" y="2358"/>
                  </a:cubicBezTo>
                  <a:cubicBezTo>
                    <a:pt x="3399" y="2358"/>
                    <a:pt x="3228" y="2342"/>
                    <a:pt x="3179" y="2155"/>
                  </a:cubicBezTo>
                  <a:cubicBezTo>
                    <a:pt x="3167" y="2084"/>
                    <a:pt x="3191" y="2024"/>
                    <a:pt x="3179" y="1846"/>
                  </a:cubicBezTo>
                  <a:lnTo>
                    <a:pt x="3179" y="560"/>
                  </a:lnTo>
                  <a:cubicBezTo>
                    <a:pt x="3179" y="393"/>
                    <a:pt x="3310" y="262"/>
                    <a:pt x="3477" y="262"/>
                  </a:cubicBezTo>
                  <a:close/>
                  <a:moveTo>
                    <a:pt x="5370" y="262"/>
                  </a:moveTo>
                  <a:cubicBezTo>
                    <a:pt x="5525" y="262"/>
                    <a:pt x="5668" y="393"/>
                    <a:pt x="5668" y="560"/>
                  </a:cubicBezTo>
                  <a:lnTo>
                    <a:pt x="5668" y="1846"/>
                  </a:lnTo>
                  <a:cubicBezTo>
                    <a:pt x="5668" y="2060"/>
                    <a:pt x="5668" y="2096"/>
                    <a:pt x="5644" y="2155"/>
                  </a:cubicBezTo>
                  <a:cubicBezTo>
                    <a:pt x="5608" y="2274"/>
                    <a:pt x="5501" y="2357"/>
                    <a:pt x="5346" y="2357"/>
                  </a:cubicBezTo>
                  <a:cubicBezTo>
                    <a:pt x="5346" y="2357"/>
                    <a:pt x="5339" y="2358"/>
                    <a:pt x="5327" y="2358"/>
                  </a:cubicBezTo>
                  <a:cubicBezTo>
                    <a:pt x="5269" y="2358"/>
                    <a:pt x="5098" y="2342"/>
                    <a:pt x="5049" y="2155"/>
                  </a:cubicBezTo>
                  <a:lnTo>
                    <a:pt x="5049" y="1846"/>
                  </a:lnTo>
                  <a:lnTo>
                    <a:pt x="5049" y="560"/>
                  </a:lnTo>
                  <a:cubicBezTo>
                    <a:pt x="5049" y="393"/>
                    <a:pt x="5191" y="262"/>
                    <a:pt x="5346" y="262"/>
                  </a:cubicBezTo>
                  <a:close/>
                  <a:moveTo>
                    <a:pt x="4429" y="262"/>
                  </a:moveTo>
                  <a:cubicBezTo>
                    <a:pt x="4596" y="262"/>
                    <a:pt x="4727" y="393"/>
                    <a:pt x="4727" y="560"/>
                  </a:cubicBezTo>
                  <a:lnTo>
                    <a:pt x="4727" y="2060"/>
                  </a:lnTo>
                  <a:cubicBezTo>
                    <a:pt x="4727" y="2264"/>
                    <a:pt x="4567" y="2368"/>
                    <a:pt x="4408" y="2368"/>
                  </a:cubicBezTo>
                  <a:cubicBezTo>
                    <a:pt x="4251" y="2368"/>
                    <a:pt x="4096" y="2267"/>
                    <a:pt x="4096" y="2060"/>
                  </a:cubicBezTo>
                  <a:cubicBezTo>
                    <a:pt x="4120" y="1726"/>
                    <a:pt x="4120" y="869"/>
                    <a:pt x="4120" y="560"/>
                  </a:cubicBezTo>
                  <a:cubicBezTo>
                    <a:pt x="4120" y="393"/>
                    <a:pt x="4251" y="262"/>
                    <a:pt x="4417" y="262"/>
                  </a:cubicBezTo>
                  <a:close/>
                  <a:moveTo>
                    <a:pt x="2882" y="2155"/>
                  </a:moveTo>
                  <a:cubicBezTo>
                    <a:pt x="2927" y="2488"/>
                    <a:pt x="3212" y="2686"/>
                    <a:pt x="3503" y="2686"/>
                  </a:cubicBezTo>
                  <a:cubicBezTo>
                    <a:pt x="3670" y="2686"/>
                    <a:pt x="3839" y="2620"/>
                    <a:pt x="3965" y="2477"/>
                  </a:cubicBezTo>
                  <a:cubicBezTo>
                    <a:pt x="4090" y="2619"/>
                    <a:pt x="4260" y="2691"/>
                    <a:pt x="4431" y="2691"/>
                  </a:cubicBezTo>
                  <a:cubicBezTo>
                    <a:pt x="4602" y="2691"/>
                    <a:pt x="4775" y="2619"/>
                    <a:pt x="4906" y="2477"/>
                  </a:cubicBezTo>
                  <a:cubicBezTo>
                    <a:pt x="5001" y="2596"/>
                    <a:pt x="5168" y="2691"/>
                    <a:pt x="5346" y="2691"/>
                  </a:cubicBezTo>
                  <a:cubicBezTo>
                    <a:pt x="5275" y="2750"/>
                    <a:pt x="5203" y="2822"/>
                    <a:pt x="5120" y="2893"/>
                  </a:cubicBezTo>
                  <a:lnTo>
                    <a:pt x="2227" y="2893"/>
                  </a:lnTo>
                  <a:lnTo>
                    <a:pt x="2227" y="2155"/>
                  </a:lnTo>
                  <a:close/>
                  <a:moveTo>
                    <a:pt x="8370" y="2155"/>
                  </a:moveTo>
                  <a:lnTo>
                    <a:pt x="8370" y="2893"/>
                  </a:lnTo>
                  <a:lnTo>
                    <a:pt x="7870" y="2893"/>
                  </a:lnTo>
                  <a:lnTo>
                    <a:pt x="7870" y="2155"/>
                  </a:lnTo>
                  <a:close/>
                  <a:moveTo>
                    <a:pt x="9906" y="2798"/>
                  </a:moveTo>
                  <a:lnTo>
                    <a:pt x="10228" y="2977"/>
                  </a:lnTo>
                  <a:cubicBezTo>
                    <a:pt x="10287" y="2989"/>
                    <a:pt x="10287" y="3072"/>
                    <a:pt x="10228" y="3108"/>
                  </a:cubicBezTo>
                  <a:lnTo>
                    <a:pt x="9906" y="3286"/>
                  </a:lnTo>
                  <a:cubicBezTo>
                    <a:pt x="9835" y="3131"/>
                    <a:pt x="9835" y="2941"/>
                    <a:pt x="9906" y="2798"/>
                  </a:cubicBezTo>
                  <a:close/>
                  <a:moveTo>
                    <a:pt x="1917" y="2167"/>
                  </a:moveTo>
                  <a:lnTo>
                    <a:pt x="1917" y="3905"/>
                  </a:lnTo>
                  <a:lnTo>
                    <a:pt x="1298" y="3905"/>
                  </a:lnTo>
                  <a:lnTo>
                    <a:pt x="1298" y="2167"/>
                  </a:lnTo>
                  <a:close/>
                  <a:moveTo>
                    <a:pt x="4870" y="3227"/>
                  </a:moveTo>
                  <a:cubicBezTo>
                    <a:pt x="4834" y="3274"/>
                    <a:pt x="4751" y="3393"/>
                    <a:pt x="4715" y="3512"/>
                  </a:cubicBezTo>
                  <a:cubicBezTo>
                    <a:pt x="4656" y="3631"/>
                    <a:pt x="4596" y="3774"/>
                    <a:pt x="4596" y="3774"/>
                  </a:cubicBezTo>
                  <a:lnTo>
                    <a:pt x="4548" y="3905"/>
                  </a:lnTo>
                  <a:lnTo>
                    <a:pt x="2227" y="3905"/>
                  </a:lnTo>
                  <a:lnTo>
                    <a:pt x="2227" y="3227"/>
                  </a:lnTo>
                  <a:close/>
                  <a:moveTo>
                    <a:pt x="8370" y="3227"/>
                  </a:moveTo>
                  <a:lnTo>
                    <a:pt x="8370" y="3905"/>
                  </a:lnTo>
                  <a:lnTo>
                    <a:pt x="7775" y="3905"/>
                  </a:lnTo>
                  <a:cubicBezTo>
                    <a:pt x="7882" y="3548"/>
                    <a:pt x="7870" y="3286"/>
                    <a:pt x="7870" y="3227"/>
                  </a:cubicBezTo>
                  <a:close/>
                  <a:moveTo>
                    <a:pt x="7109" y="843"/>
                  </a:moveTo>
                  <a:cubicBezTo>
                    <a:pt x="7144" y="843"/>
                    <a:pt x="7181" y="849"/>
                    <a:pt x="7215" y="857"/>
                  </a:cubicBezTo>
                  <a:cubicBezTo>
                    <a:pt x="7358" y="905"/>
                    <a:pt x="7477" y="1024"/>
                    <a:pt x="7525" y="1167"/>
                  </a:cubicBezTo>
                  <a:cubicBezTo>
                    <a:pt x="7549" y="1286"/>
                    <a:pt x="7537" y="1393"/>
                    <a:pt x="7537" y="1524"/>
                  </a:cubicBezTo>
                  <a:cubicBezTo>
                    <a:pt x="7537" y="3370"/>
                    <a:pt x="7585" y="3489"/>
                    <a:pt x="7454" y="3870"/>
                  </a:cubicBezTo>
                  <a:cubicBezTo>
                    <a:pt x="7394" y="4024"/>
                    <a:pt x="7311" y="4179"/>
                    <a:pt x="7215" y="4322"/>
                  </a:cubicBezTo>
                  <a:lnTo>
                    <a:pt x="4751" y="4322"/>
                  </a:lnTo>
                  <a:cubicBezTo>
                    <a:pt x="4846" y="3786"/>
                    <a:pt x="5156" y="3250"/>
                    <a:pt x="5537" y="2941"/>
                  </a:cubicBezTo>
                  <a:cubicBezTo>
                    <a:pt x="5763" y="2750"/>
                    <a:pt x="6108" y="2560"/>
                    <a:pt x="6465" y="2453"/>
                  </a:cubicBezTo>
                  <a:cubicBezTo>
                    <a:pt x="6763" y="2381"/>
                    <a:pt x="6799" y="2405"/>
                    <a:pt x="6870" y="2346"/>
                  </a:cubicBezTo>
                  <a:cubicBezTo>
                    <a:pt x="6894" y="2322"/>
                    <a:pt x="6894" y="2298"/>
                    <a:pt x="6918" y="2286"/>
                  </a:cubicBezTo>
                  <a:cubicBezTo>
                    <a:pt x="6930" y="2238"/>
                    <a:pt x="6930" y="2203"/>
                    <a:pt x="6930" y="2167"/>
                  </a:cubicBezTo>
                  <a:lnTo>
                    <a:pt x="6930" y="988"/>
                  </a:lnTo>
                  <a:cubicBezTo>
                    <a:pt x="6930" y="964"/>
                    <a:pt x="6942" y="929"/>
                    <a:pt x="6954" y="905"/>
                  </a:cubicBezTo>
                  <a:cubicBezTo>
                    <a:pt x="6991" y="860"/>
                    <a:pt x="7048" y="843"/>
                    <a:pt x="7109" y="843"/>
                  </a:cubicBezTo>
                  <a:close/>
                  <a:moveTo>
                    <a:pt x="4453" y="4227"/>
                  </a:moveTo>
                  <a:cubicBezTo>
                    <a:pt x="4453" y="4251"/>
                    <a:pt x="4441" y="4286"/>
                    <a:pt x="4441" y="4322"/>
                  </a:cubicBezTo>
                  <a:lnTo>
                    <a:pt x="3548" y="4322"/>
                  </a:lnTo>
                  <a:cubicBezTo>
                    <a:pt x="3489" y="4322"/>
                    <a:pt x="3441" y="4322"/>
                    <a:pt x="3405" y="4346"/>
                  </a:cubicBezTo>
                  <a:cubicBezTo>
                    <a:pt x="3370" y="4298"/>
                    <a:pt x="3358" y="4262"/>
                    <a:pt x="3322" y="4227"/>
                  </a:cubicBezTo>
                  <a:close/>
                  <a:moveTo>
                    <a:pt x="3489" y="0"/>
                  </a:moveTo>
                  <a:cubicBezTo>
                    <a:pt x="3144" y="0"/>
                    <a:pt x="2858" y="274"/>
                    <a:pt x="2858" y="619"/>
                  </a:cubicBezTo>
                  <a:lnTo>
                    <a:pt x="2858" y="1905"/>
                  </a:lnTo>
                  <a:lnTo>
                    <a:pt x="1167" y="1905"/>
                  </a:lnTo>
                  <a:cubicBezTo>
                    <a:pt x="750" y="1905"/>
                    <a:pt x="357" y="2107"/>
                    <a:pt x="155" y="2465"/>
                  </a:cubicBezTo>
                  <a:cubicBezTo>
                    <a:pt x="107" y="2536"/>
                    <a:pt x="143" y="2643"/>
                    <a:pt x="215" y="2691"/>
                  </a:cubicBezTo>
                  <a:cubicBezTo>
                    <a:pt x="237" y="2706"/>
                    <a:pt x="263" y="2713"/>
                    <a:pt x="289" y="2713"/>
                  </a:cubicBezTo>
                  <a:cubicBezTo>
                    <a:pt x="347" y="2713"/>
                    <a:pt x="408" y="2680"/>
                    <a:pt x="441" y="2631"/>
                  </a:cubicBezTo>
                  <a:cubicBezTo>
                    <a:pt x="572" y="2417"/>
                    <a:pt x="762" y="2274"/>
                    <a:pt x="1000" y="2227"/>
                  </a:cubicBezTo>
                  <a:lnTo>
                    <a:pt x="1000" y="3941"/>
                  </a:lnTo>
                  <a:cubicBezTo>
                    <a:pt x="631" y="3846"/>
                    <a:pt x="334" y="3536"/>
                    <a:pt x="322" y="3155"/>
                  </a:cubicBezTo>
                  <a:cubicBezTo>
                    <a:pt x="322" y="3060"/>
                    <a:pt x="238" y="3000"/>
                    <a:pt x="155" y="3000"/>
                  </a:cubicBezTo>
                  <a:cubicBezTo>
                    <a:pt x="60" y="3000"/>
                    <a:pt x="0" y="3072"/>
                    <a:pt x="0" y="3167"/>
                  </a:cubicBezTo>
                  <a:cubicBezTo>
                    <a:pt x="48" y="3762"/>
                    <a:pt x="536" y="4239"/>
                    <a:pt x="1131" y="4286"/>
                  </a:cubicBezTo>
                  <a:lnTo>
                    <a:pt x="3001" y="4286"/>
                  </a:lnTo>
                  <a:cubicBezTo>
                    <a:pt x="3024" y="4370"/>
                    <a:pt x="3072" y="4465"/>
                    <a:pt x="3120" y="4536"/>
                  </a:cubicBezTo>
                  <a:cubicBezTo>
                    <a:pt x="2941" y="4667"/>
                    <a:pt x="2834" y="4882"/>
                    <a:pt x="2834" y="5120"/>
                  </a:cubicBezTo>
                  <a:lnTo>
                    <a:pt x="2834" y="5632"/>
                  </a:lnTo>
                  <a:cubicBezTo>
                    <a:pt x="2834" y="6025"/>
                    <a:pt x="3144" y="6346"/>
                    <a:pt x="3536" y="6370"/>
                  </a:cubicBezTo>
                  <a:lnTo>
                    <a:pt x="3536" y="8704"/>
                  </a:lnTo>
                  <a:cubicBezTo>
                    <a:pt x="3536" y="8787"/>
                    <a:pt x="3608" y="8870"/>
                    <a:pt x="3691" y="8870"/>
                  </a:cubicBezTo>
                  <a:cubicBezTo>
                    <a:pt x="3786" y="8870"/>
                    <a:pt x="3858" y="8787"/>
                    <a:pt x="3858" y="8704"/>
                  </a:cubicBezTo>
                  <a:lnTo>
                    <a:pt x="3858" y="6310"/>
                  </a:lnTo>
                  <a:lnTo>
                    <a:pt x="5001" y="6310"/>
                  </a:lnTo>
                  <a:cubicBezTo>
                    <a:pt x="5096" y="6310"/>
                    <a:pt x="5168" y="6227"/>
                    <a:pt x="5168" y="6144"/>
                  </a:cubicBezTo>
                  <a:cubicBezTo>
                    <a:pt x="5168" y="6048"/>
                    <a:pt x="5096" y="5977"/>
                    <a:pt x="5001" y="5977"/>
                  </a:cubicBezTo>
                  <a:lnTo>
                    <a:pt x="3548" y="5977"/>
                  </a:lnTo>
                  <a:cubicBezTo>
                    <a:pt x="3334" y="5965"/>
                    <a:pt x="3155" y="5786"/>
                    <a:pt x="3155" y="5572"/>
                  </a:cubicBezTo>
                  <a:lnTo>
                    <a:pt x="3155" y="5048"/>
                  </a:lnTo>
                  <a:cubicBezTo>
                    <a:pt x="3155" y="4917"/>
                    <a:pt x="3215" y="4798"/>
                    <a:pt x="3322" y="4727"/>
                  </a:cubicBezTo>
                  <a:cubicBezTo>
                    <a:pt x="3394" y="4667"/>
                    <a:pt x="3489" y="4632"/>
                    <a:pt x="3572" y="4632"/>
                  </a:cubicBezTo>
                  <a:lnTo>
                    <a:pt x="7215" y="4632"/>
                  </a:lnTo>
                  <a:cubicBezTo>
                    <a:pt x="7275" y="4632"/>
                    <a:pt x="7311" y="4655"/>
                    <a:pt x="7358" y="4667"/>
                  </a:cubicBezTo>
                  <a:lnTo>
                    <a:pt x="7370" y="4667"/>
                  </a:lnTo>
                  <a:cubicBezTo>
                    <a:pt x="7525" y="4727"/>
                    <a:pt x="7608" y="4870"/>
                    <a:pt x="7608" y="5036"/>
                  </a:cubicBezTo>
                  <a:lnTo>
                    <a:pt x="7608" y="5560"/>
                  </a:lnTo>
                  <a:cubicBezTo>
                    <a:pt x="7608" y="5786"/>
                    <a:pt x="7430" y="5977"/>
                    <a:pt x="7192" y="5977"/>
                  </a:cubicBezTo>
                  <a:lnTo>
                    <a:pt x="5620" y="5977"/>
                  </a:lnTo>
                  <a:cubicBezTo>
                    <a:pt x="5525" y="5977"/>
                    <a:pt x="5453" y="6048"/>
                    <a:pt x="5453" y="6144"/>
                  </a:cubicBezTo>
                  <a:cubicBezTo>
                    <a:pt x="5453" y="6227"/>
                    <a:pt x="5525" y="6298"/>
                    <a:pt x="5620" y="6298"/>
                  </a:cubicBezTo>
                  <a:lnTo>
                    <a:pt x="6751" y="6298"/>
                  </a:lnTo>
                  <a:lnTo>
                    <a:pt x="6751" y="6751"/>
                  </a:lnTo>
                  <a:cubicBezTo>
                    <a:pt x="6751" y="6834"/>
                    <a:pt x="6823" y="6918"/>
                    <a:pt x="6918" y="6918"/>
                  </a:cubicBezTo>
                  <a:cubicBezTo>
                    <a:pt x="7001" y="6918"/>
                    <a:pt x="7073" y="6834"/>
                    <a:pt x="7073" y="6751"/>
                  </a:cubicBezTo>
                  <a:lnTo>
                    <a:pt x="7073" y="6298"/>
                  </a:lnTo>
                  <a:lnTo>
                    <a:pt x="7215" y="6298"/>
                  </a:lnTo>
                  <a:cubicBezTo>
                    <a:pt x="7608" y="6298"/>
                    <a:pt x="7942" y="5977"/>
                    <a:pt x="7942" y="5572"/>
                  </a:cubicBezTo>
                  <a:lnTo>
                    <a:pt x="7942" y="5048"/>
                  </a:lnTo>
                  <a:cubicBezTo>
                    <a:pt x="7942" y="4786"/>
                    <a:pt x="7787" y="4560"/>
                    <a:pt x="7585" y="4429"/>
                  </a:cubicBezTo>
                  <a:lnTo>
                    <a:pt x="7585" y="4393"/>
                  </a:lnTo>
                  <a:cubicBezTo>
                    <a:pt x="7608" y="4334"/>
                    <a:pt x="7644" y="4298"/>
                    <a:pt x="7668" y="4239"/>
                  </a:cubicBezTo>
                  <a:lnTo>
                    <a:pt x="8561" y="4239"/>
                  </a:lnTo>
                  <a:cubicBezTo>
                    <a:pt x="8728" y="4239"/>
                    <a:pt x="8894" y="4191"/>
                    <a:pt x="9037" y="4120"/>
                  </a:cubicBezTo>
                  <a:cubicBezTo>
                    <a:pt x="9073" y="4096"/>
                    <a:pt x="9263" y="4001"/>
                    <a:pt x="10394" y="3405"/>
                  </a:cubicBezTo>
                  <a:cubicBezTo>
                    <a:pt x="10621" y="3250"/>
                    <a:pt x="10668" y="2929"/>
                    <a:pt x="10466" y="2750"/>
                  </a:cubicBezTo>
                  <a:cubicBezTo>
                    <a:pt x="10394" y="2691"/>
                    <a:pt x="10383" y="2691"/>
                    <a:pt x="9918" y="2453"/>
                  </a:cubicBezTo>
                  <a:lnTo>
                    <a:pt x="9632" y="2298"/>
                  </a:lnTo>
                  <a:cubicBezTo>
                    <a:pt x="9610" y="2287"/>
                    <a:pt x="9585" y="2282"/>
                    <a:pt x="9559" y="2282"/>
                  </a:cubicBezTo>
                  <a:cubicBezTo>
                    <a:pt x="9503" y="2282"/>
                    <a:pt x="9446" y="2308"/>
                    <a:pt x="9430" y="2357"/>
                  </a:cubicBezTo>
                  <a:cubicBezTo>
                    <a:pt x="9382" y="2441"/>
                    <a:pt x="9418" y="2536"/>
                    <a:pt x="9490" y="2572"/>
                  </a:cubicBezTo>
                  <a:lnTo>
                    <a:pt x="9621" y="2643"/>
                  </a:lnTo>
                  <a:cubicBezTo>
                    <a:pt x="9490" y="2881"/>
                    <a:pt x="9490" y="3179"/>
                    <a:pt x="9621" y="3429"/>
                  </a:cubicBezTo>
                  <a:lnTo>
                    <a:pt x="8882" y="3834"/>
                  </a:lnTo>
                  <a:cubicBezTo>
                    <a:pt x="8823" y="3870"/>
                    <a:pt x="8763" y="3893"/>
                    <a:pt x="8680" y="3905"/>
                  </a:cubicBezTo>
                  <a:lnTo>
                    <a:pt x="8680" y="2203"/>
                  </a:lnTo>
                  <a:cubicBezTo>
                    <a:pt x="8823" y="2227"/>
                    <a:pt x="8894" y="2274"/>
                    <a:pt x="8942" y="2298"/>
                  </a:cubicBezTo>
                  <a:cubicBezTo>
                    <a:pt x="8966" y="2314"/>
                    <a:pt x="8995" y="2322"/>
                    <a:pt x="9023" y="2322"/>
                  </a:cubicBezTo>
                  <a:cubicBezTo>
                    <a:pt x="9077" y="2322"/>
                    <a:pt x="9129" y="2293"/>
                    <a:pt x="9144" y="2238"/>
                  </a:cubicBezTo>
                  <a:cubicBezTo>
                    <a:pt x="9192" y="2167"/>
                    <a:pt x="9156" y="2060"/>
                    <a:pt x="9085" y="2036"/>
                  </a:cubicBezTo>
                  <a:lnTo>
                    <a:pt x="9025" y="2000"/>
                  </a:lnTo>
                  <a:cubicBezTo>
                    <a:pt x="8882" y="1929"/>
                    <a:pt x="8716" y="1881"/>
                    <a:pt x="8549" y="1881"/>
                  </a:cubicBezTo>
                  <a:lnTo>
                    <a:pt x="7882" y="1881"/>
                  </a:lnTo>
                  <a:lnTo>
                    <a:pt x="7882" y="1345"/>
                  </a:lnTo>
                  <a:cubicBezTo>
                    <a:pt x="7882" y="1048"/>
                    <a:pt x="7704" y="750"/>
                    <a:pt x="7370" y="619"/>
                  </a:cubicBezTo>
                  <a:cubicBezTo>
                    <a:pt x="7297" y="590"/>
                    <a:pt x="7200" y="569"/>
                    <a:pt x="7107" y="569"/>
                  </a:cubicBezTo>
                  <a:cubicBezTo>
                    <a:pt x="7049" y="569"/>
                    <a:pt x="6992" y="577"/>
                    <a:pt x="6942" y="595"/>
                  </a:cubicBezTo>
                  <a:cubicBezTo>
                    <a:pt x="6930" y="262"/>
                    <a:pt x="6656" y="0"/>
                    <a:pt x="6322" y="0"/>
                  </a:cubicBezTo>
                  <a:lnTo>
                    <a:pt x="6299" y="0"/>
                  </a:lnTo>
                  <a:cubicBezTo>
                    <a:pt x="6120" y="0"/>
                    <a:pt x="5965" y="71"/>
                    <a:pt x="5846" y="202"/>
                  </a:cubicBezTo>
                  <a:cubicBezTo>
                    <a:pt x="5727" y="71"/>
                    <a:pt x="5560" y="0"/>
                    <a:pt x="5382" y="0"/>
                  </a:cubicBezTo>
                  <a:lnTo>
                    <a:pt x="5370" y="0"/>
                  </a:lnTo>
                  <a:cubicBezTo>
                    <a:pt x="5191" y="0"/>
                    <a:pt x="5025" y="71"/>
                    <a:pt x="4906" y="202"/>
                  </a:cubicBezTo>
                  <a:cubicBezTo>
                    <a:pt x="4787" y="71"/>
                    <a:pt x="4620" y="0"/>
                    <a:pt x="4441" y="0"/>
                  </a:cubicBezTo>
                  <a:lnTo>
                    <a:pt x="4429" y="0"/>
                  </a:lnTo>
                  <a:cubicBezTo>
                    <a:pt x="4251" y="0"/>
                    <a:pt x="4084" y="71"/>
                    <a:pt x="3965" y="202"/>
                  </a:cubicBezTo>
                  <a:cubicBezTo>
                    <a:pt x="3846" y="71"/>
                    <a:pt x="3679" y="0"/>
                    <a:pt x="3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49" name="Google Shape;12649;p62"/>
            <p:cNvSpPr/>
            <p:nvPr/>
          </p:nvSpPr>
          <p:spPr>
            <a:xfrm>
              <a:off x="3819385" y="3493258"/>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0" name="Google Shape;12650;p62"/>
            <p:cNvSpPr/>
            <p:nvPr/>
          </p:nvSpPr>
          <p:spPr>
            <a:xfrm>
              <a:off x="3644044" y="3592490"/>
              <a:ext cx="112494" cy="106420"/>
            </a:xfrm>
            <a:custGeom>
              <a:avLst/>
              <a:gdLst/>
              <a:ahLst/>
              <a:cxnLst/>
              <a:rect l="l" t="t" r="r" b="b"/>
              <a:pathLst>
                <a:path w="3537" h="3346" extrusionOk="0">
                  <a:moveTo>
                    <a:pt x="3382" y="0"/>
                  </a:moveTo>
                  <a:cubicBezTo>
                    <a:pt x="3299" y="0"/>
                    <a:pt x="3227" y="72"/>
                    <a:pt x="3227" y="167"/>
                  </a:cubicBezTo>
                  <a:lnTo>
                    <a:pt x="3227" y="2798"/>
                  </a:lnTo>
                  <a:cubicBezTo>
                    <a:pt x="3227" y="2929"/>
                    <a:pt x="3120" y="3036"/>
                    <a:pt x="2989" y="3036"/>
                  </a:cubicBezTo>
                  <a:lnTo>
                    <a:pt x="572" y="3036"/>
                  </a:lnTo>
                  <a:cubicBezTo>
                    <a:pt x="441" y="3036"/>
                    <a:pt x="334" y="2929"/>
                    <a:pt x="334" y="2798"/>
                  </a:cubicBezTo>
                  <a:lnTo>
                    <a:pt x="334" y="2060"/>
                  </a:lnTo>
                  <a:cubicBezTo>
                    <a:pt x="334" y="1965"/>
                    <a:pt x="263" y="1893"/>
                    <a:pt x="167" y="1893"/>
                  </a:cubicBezTo>
                  <a:cubicBezTo>
                    <a:pt x="84" y="1893"/>
                    <a:pt x="1" y="1965"/>
                    <a:pt x="1" y="2060"/>
                  </a:cubicBezTo>
                  <a:lnTo>
                    <a:pt x="1" y="2798"/>
                  </a:lnTo>
                  <a:cubicBezTo>
                    <a:pt x="1" y="3108"/>
                    <a:pt x="263" y="3346"/>
                    <a:pt x="560" y="3346"/>
                  </a:cubicBezTo>
                  <a:lnTo>
                    <a:pt x="2989" y="3346"/>
                  </a:lnTo>
                  <a:cubicBezTo>
                    <a:pt x="3299" y="3346"/>
                    <a:pt x="3537" y="3096"/>
                    <a:pt x="3537" y="2798"/>
                  </a:cubicBezTo>
                  <a:lnTo>
                    <a:pt x="3537" y="167"/>
                  </a:lnTo>
                  <a:cubicBezTo>
                    <a:pt x="3537" y="60"/>
                    <a:pt x="3465" y="0"/>
                    <a:pt x="3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51" name="Google Shape;12651;p62"/>
          <p:cNvSpPr/>
          <p:nvPr/>
        </p:nvSpPr>
        <p:spPr>
          <a:xfrm>
            <a:off x="3968964" y="3349945"/>
            <a:ext cx="359015" cy="358442"/>
          </a:xfrm>
          <a:custGeom>
            <a:avLst/>
            <a:gdLst/>
            <a:ahLst/>
            <a:cxnLst/>
            <a:rect l="l" t="t" r="r" b="b"/>
            <a:pathLst>
              <a:path w="11288" h="11270" extrusionOk="0">
                <a:moveTo>
                  <a:pt x="6049" y="351"/>
                </a:moveTo>
                <a:lnTo>
                  <a:pt x="6049" y="1149"/>
                </a:lnTo>
                <a:lnTo>
                  <a:pt x="5239" y="1149"/>
                </a:lnTo>
                <a:lnTo>
                  <a:pt x="5239" y="351"/>
                </a:lnTo>
                <a:close/>
                <a:moveTo>
                  <a:pt x="1167" y="5828"/>
                </a:moveTo>
                <a:lnTo>
                  <a:pt x="1167" y="6650"/>
                </a:lnTo>
                <a:lnTo>
                  <a:pt x="345" y="6650"/>
                </a:lnTo>
                <a:lnTo>
                  <a:pt x="345" y="5828"/>
                </a:lnTo>
                <a:close/>
                <a:moveTo>
                  <a:pt x="10954" y="5828"/>
                </a:moveTo>
                <a:lnTo>
                  <a:pt x="10954" y="6650"/>
                </a:lnTo>
                <a:lnTo>
                  <a:pt x="10132" y="6650"/>
                </a:lnTo>
                <a:lnTo>
                  <a:pt x="10132" y="5828"/>
                </a:lnTo>
                <a:close/>
                <a:moveTo>
                  <a:pt x="1442" y="0"/>
                </a:moveTo>
                <a:cubicBezTo>
                  <a:pt x="1273" y="0"/>
                  <a:pt x="1100" y="58"/>
                  <a:pt x="953" y="185"/>
                </a:cubicBezTo>
                <a:cubicBezTo>
                  <a:pt x="726" y="375"/>
                  <a:pt x="643" y="709"/>
                  <a:pt x="726" y="971"/>
                </a:cubicBezTo>
                <a:cubicBezTo>
                  <a:pt x="755" y="1047"/>
                  <a:pt x="814" y="1085"/>
                  <a:pt x="885" y="1085"/>
                </a:cubicBezTo>
                <a:cubicBezTo>
                  <a:pt x="903" y="1085"/>
                  <a:pt x="922" y="1082"/>
                  <a:pt x="941" y="1078"/>
                </a:cubicBezTo>
                <a:cubicBezTo>
                  <a:pt x="1024" y="1042"/>
                  <a:pt x="1072" y="959"/>
                  <a:pt x="1036" y="863"/>
                </a:cubicBezTo>
                <a:cubicBezTo>
                  <a:pt x="953" y="601"/>
                  <a:pt x="1143" y="328"/>
                  <a:pt x="1429" y="328"/>
                </a:cubicBezTo>
                <a:cubicBezTo>
                  <a:pt x="1798" y="328"/>
                  <a:pt x="1977" y="792"/>
                  <a:pt x="1691" y="1042"/>
                </a:cubicBezTo>
                <a:cubicBezTo>
                  <a:pt x="1631" y="1112"/>
                  <a:pt x="1545" y="1140"/>
                  <a:pt x="1463" y="1140"/>
                </a:cubicBezTo>
                <a:cubicBezTo>
                  <a:pt x="1447" y="1140"/>
                  <a:pt x="1432" y="1139"/>
                  <a:pt x="1417" y="1137"/>
                </a:cubicBezTo>
                <a:cubicBezTo>
                  <a:pt x="1322" y="1137"/>
                  <a:pt x="1238" y="1197"/>
                  <a:pt x="1238" y="1280"/>
                </a:cubicBezTo>
                <a:cubicBezTo>
                  <a:pt x="1238" y="1375"/>
                  <a:pt x="1298" y="1459"/>
                  <a:pt x="1381" y="1459"/>
                </a:cubicBezTo>
                <a:cubicBezTo>
                  <a:pt x="1409" y="1462"/>
                  <a:pt x="1436" y="1464"/>
                  <a:pt x="1463" y="1464"/>
                </a:cubicBezTo>
                <a:cubicBezTo>
                  <a:pt x="1628" y="1464"/>
                  <a:pt x="1795" y="1403"/>
                  <a:pt x="1917" y="1280"/>
                </a:cubicBezTo>
                <a:cubicBezTo>
                  <a:pt x="2036" y="1185"/>
                  <a:pt x="2131" y="1042"/>
                  <a:pt x="2155" y="899"/>
                </a:cubicBezTo>
                <a:lnTo>
                  <a:pt x="3822" y="899"/>
                </a:lnTo>
                <a:cubicBezTo>
                  <a:pt x="3167" y="1149"/>
                  <a:pt x="2572" y="1542"/>
                  <a:pt x="2072" y="2042"/>
                </a:cubicBezTo>
                <a:cubicBezTo>
                  <a:pt x="1143" y="2971"/>
                  <a:pt x="619" y="4173"/>
                  <a:pt x="595" y="5471"/>
                </a:cubicBezTo>
                <a:lnTo>
                  <a:pt x="167" y="5471"/>
                </a:lnTo>
                <a:cubicBezTo>
                  <a:pt x="72" y="5471"/>
                  <a:pt x="0" y="5543"/>
                  <a:pt x="0" y="5626"/>
                </a:cubicBezTo>
                <a:lnTo>
                  <a:pt x="0" y="6793"/>
                </a:lnTo>
                <a:cubicBezTo>
                  <a:pt x="0" y="6876"/>
                  <a:pt x="72" y="6959"/>
                  <a:pt x="167" y="6959"/>
                </a:cubicBezTo>
                <a:lnTo>
                  <a:pt x="1322" y="6959"/>
                </a:lnTo>
                <a:cubicBezTo>
                  <a:pt x="1417" y="6959"/>
                  <a:pt x="1488" y="6876"/>
                  <a:pt x="1488" y="6793"/>
                </a:cubicBezTo>
                <a:lnTo>
                  <a:pt x="1488" y="5626"/>
                </a:lnTo>
                <a:cubicBezTo>
                  <a:pt x="1488" y="5543"/>
                  <a:pt x="1417" y="5471"/>
                  <a:pt x="1322" y="5471"/>
                </a:cubicBezTo>
                <a:lnTo>
                  <a:pt x="941" y="5471"/>
                </a:lnTo>
                <a:cubicBezTo>
                  <a:pt x="1012" y="3185"/>
                  <a:pt x="2703" y="1304"/>
                  <a:pt x="4906" y="959"/>
                </a:cubicBezTo>
                <a:lnTo>
                  <a:pt x="4906" y="1304"/>
                </a:lnTo>
                <a:cubicBezTo>
                  <a:pt x="4906" y="1387"/>
                  <a:pt x="4989" y="1459"/>
                  <a:pt x="5072" y="1459"/>
                </a:cubicBezTo>
                <a:lnTo>
                  <a:pt x="5406" y="1459"/>
                </a:lnTo>
                <a:cubicBezTo>
                  <a:pt x="5227" y="1518"/>
                  <a:pt x="5072" y="1661"/>
                  <a:pt x="5001" y="1852"/>
                </a:cubicBezTo>
                <a:lnTo>
                  <a:pt x="3513" y="5269"/>
                </a:lnTo>
                <a:cubicBezTo>
                  <a:pt x="3382" y="5566"/>
                  <a:pt x="3322" y="5888"/>
                  <a:pt x="3322" y="6197"/>
                </a:cubicBezTo>
                <a:cubicBezTo>
                  <a:pt x="3322" y="6793"/>
                  <a:pt x="3548" y="7340"/>
                  <a:pt x="3941" y="7793"/>
                </a:cubicBezTo>
                <a:cubicBezTo>
                  <a:pt x="3977" y="7817"/>
                  <a:pt x="4001" y="7852"/>
                  <a:pt x="4036" y="7900"/>
                </a:cubicBezTo>
                <a:lnTo>
                  <a:pt x="3643" y="7900"/>
                </a:lnTo>
                <a:cubicBezTo>
                  <a:pt x="3429" y="7900"/>
                  <a:pt x="3215" y="8031"/>
                  <a:pt x="3132" y="8233"/>
                </a:cubicBezTo>
                <a:cubicBezTo>
                  <a:pt x="3096" y="8329"/>
                  <a:pt x="3132" y="8412"/>
                  <a:pt x="3215" y="8460"/>
                </a:cubicBezTo>
                <a:cubicBezTo>
                  <a:pt x="3240" y="8469"/>
                  <a:pt x="3264" y="8473"/>
                  <a:pt x="3287" y="8473"/>
                </a:cubicBezTo>
                <a:cubicBezTo>
                  <a:pt x="3351" y="8473"/>
                  <a:pt x="3406" y="8438"/>
                  <a:pt x="3441" y="8376"/>
                </a:cubicBezTo>
                <a:cubicBezTo>
                  <a:pt x="3465" y="8281"/>
                  <a:pt x="3560" y="8221"/>
                  <a:pt x="3667" y="8221"/>
                </a:cubicBezTo>
                <a:lnTo>
                  <a:pt x="7632" y="8221"/>
                </a:lnTo>
                <a:cubicBezTo>
                  <a:pt x="7775" y="8221"/>
                  <a:pt x="7870" y="8329"/>
                  <a:pt x="7870" y="8460"/>
                </a:cubicBezTo>
                <a:lnTo>
                  <a:pt x="7870" y="9043"/>
                </a:lnTo>
                <a:cubicBezTo>
                  <a:pt x="7870" y="9174"/>
                  <a:pt x="7775" y="9281"/>
                  <a:pt x="7632" y="9281"/>
                </a:cubicBezTo>
                <a:lnTo>
                  <a:pt x="3632" y="9281"/>
                </a:lnTo>
                <a:cubicBezTo>
                  <a:pt x="3501" y="9281"/>
                  <a:pt x="3393" y="9174"/>
                  <a:pt x="3393" y="9043"/>
                </a:cubicBezTo>
                <a:lnTo>
                  <a:pt x="3393" y="8972"/>
                </a:lnTo>
                <a:cubicBezTo>
                  <a:pt x="3393" y="8876"/>
                  <a:pt x="3322" y="8805"/>
                  <a:pt x="3227" y="8805"/>
                </a:cubicBezTo>
                <a:cubicBezTo>
                  <a:pt x="3143" y="8805"/>
                  <a:pt x="3072" y="8876"/>
                  <a:pt x="3072" y="8972"/>
                </a:cubicBezTo>
                <a:lnTo>
                  <a:pt x="3072" y="9043"/>
                </a:lnTo>
                <a:cubicBezTo>
                  <a:pt x="3072" y="9353"/>
                  <a:pt x="3322" y="9603"/>
                  <a:pt x="3632" y="9603"/>
                </a:cubicBezTo>
                <a:lnTo>
                  <a:pt x="3691" y="9603"/>
                </a:lnTo>
                <a:lnTo>
                  <a:pt x="3691" y="11103"/>
                </a:lnTo>
                <a:cubicBezTo>
                  <a:pt x="3691" y="11198"/>
                  <a:pt x="3763" y="11269"/>
                  <a:pt x="3858" y="11269"/>
                </a:cubicBezTo>
                <a:lnTo>
                  <a:pt x="7382" y="11269"/>
                </a:lnTo>
                <a:cubicBezTo>
                  <a:pt x="7477" y="11269"/>
                  <a:pt x="7549" y="11198"/>
                  <a:pt x="7549" y="11103"/>
                </a:cubicBezTo>
                <a:lnTo>
                  <a:pt x="7549" y="10710"/>
                </a:lnTo>
                <a:cubicBezTo>
                  <a:pt x="7549" y="10615"/>
                  <a:pt x="7477" y="10543"/>
                  <a:pt x="7382" y="10543"/>
                </a:cubicBezTo>
                <a:cubicBezTo>
                  <a:pt x="7299" y="10543"/>
                  <a:pt x="7215" y="10615"/>
                  <a:pt x="7215" y="10710"/>
                </a:cubicBezTo>
                <a:lnTo>
                  <a:pt x="7215" y="10948"/>
                </a:lnTo>
                <a:lnTo>
                  <a:pt x="4024" y="10948"/>
                </a:lnTo>
                <a:lnTo>
                  <a:pt x="4024" y="9603"/>
                </a:lnTo>
                <a:lnTo>
                  <a:pt x="7215" y="9603"/>
                </a:lnTo>
                <a:lnTo>
                  <a:pt x="7215" y="10031"/>
                </a:lnTo>
                <a:cubicBezTo>
                  <a:pt x="7215" y="10126"/>
                  <a:pt x="7299" y="10198"/>
                  <a:pt x="7382" y="10198"/>
                </a:cubicBezTo>
                <a:cubicBezTo>
                  <a:pt x="7477" y="10198"/>
                  <a:pt x="7549" y="10126"/>
                  <a:pt x="7549" y="10031"/>
                </a:cubicBezTo>
                <a:lnTo>
                  <a:pt x="7549" y="9603"/>
                </a:lnTo>
                <a:lnTo>
                  <a:pt x="7608" y="9603"/>
                </a:lnTo>
                <a:cubicBezTo>
                  <a:pt x="7918" y="9603"/>
                  <a:pt x="8168" y="9353"/>
                  <a:pt x="8168" y="9043"/>
                </a:cubicBezTo>
                <a:lnTo>
                  <a:pt x="8168" y="8460"/>
                </a:lnTo>
                <a:cubicBezTo>
                  <a:pt x="8168" y="8150"/>
                  <a:pt x="7918" y="7900"/>
                  <a:pt x="7608" y="7900"/>
                </a:cubicBezTo>
                <a:lnTo>
                  <a:pt x="7239" y="7900"/>
                </a:lnTo>
                <a:cubicBezTo>
                  <a:pt x="7453" y="7686"/>
                  <a:pt x="7632" y="7436"/>
                  <a:pt x="7751" y="7150"/>
                </a:cubicBezTo>
                <a:cubicBezTo>
                  <a:pt x="7799" y="7067"/>
                  <a:pt x="7751" y="6971"/>
                  <a:pt x="7668" y="6924"/>
                </a:cubicBezTo>
                <a:cubicBezTo>
                  <a:pt x="7643" y="6915"/>
                  <a:pt x="7620" y="6910"/>
                  <a:pt x="7598" y="6910"/>
                </a:cubicBezTo>
                <a:cubicBezTo>
                  <a:pt x="7532" y="6910"/>
                  <a:pt x="7477" y="6948"/>
                  <a:pt x="7442" y="7019"/>
                </a:cubicBezTo>
                <a:cubicBezTo>
                  <a:pt x="7275" y="7388"/>
                  <a:pt x="7013" y="7686"/>
                  <a:pt x="6680" y="7900"/>
                </a:cubicBezTo>
                <a:lnTo>
                  <a:pt x="4572" y="7900"/>
                </a:lnTo>
                <a:cubicBezTo>
                  <a:pt x="4001" y="7555"/>
                  <a:pt x="3632" y="6912"/>
                  <a:pt x="3632" y="6209"/>
                </a:cubicBezTo>
                <a:cubicBezTo>
                  <a:pt x="3632" y="5947"/>
                  <a:pt x="3691" y="5674"/>
                  <a:pt x="3798" y="5423"/>
                </a:cubicBezTo>
                <a:lnTo>
                  <a:pt x="5287" y="2006"/>
                </a:lnTo>
                <a:cubicBezTo>
                  <a:pt x="5310" y="1911"/>
                  <a:pt x="5370" y="1852"/>
                  <a:pt x="5453" y="1828"/>
                </a:cubicBezTo>
                <a:lnTo>
                  <a:pt x="5453" y="5114"/>
                </a:lnTo>
                <a:cubicBezTo>
                  <a:pt x="5072" y="5173"/>
                  <a:pt x="4775" y="5423"/>
                  <a:pt x="4656" y="5781"/>
                </a:cubicBezTo>
                <a:cubicBezTo>
                  <a:pt x="4632" y="5876"/>
                  <a:pt x="4679" y="5959"/>
                  <a:pt x="4763" y="5995"/>
                </a:cubicBezTo>
                <a:cubicBezTo>
                  <a:pt x="4779" y="5999"/>
                  <a:pt x="4795" y="6001"/>
                  <a:pt x="4811" y="6001"/>
                </a:cubicBezTo>
                <a:cubicBezTo>
                  <a:pt x="4886" y="6001"/>
                  <a:pt x="4947" y="5957"/>
                  <a:pt x="4977" y="5888"/>
                </a:cubicBezTo>
                <a:cubicBezTo>
                  <a:pt x="5085" y="5573"/>
                  <a:pt x="5349" y="5427"/>
                  <a:pt x="5614" y="5427"/>
                </a:cubicBezTo>
                <a:cubicBezTo>
                  <a:pt x="5930" y="5427"/>
                  <a:pt x="6247" y="5636"/>
                  <a:pt x="6299" y="6019"/>
                </a:cubicBezTo>
                <a:lnTo>
                  <a:pt x="6299" y="6114"/>
                </a:lnTo>
                <a:cubicBezTo>
                  <a:pt x="6299" y="6537"/>
                  <a:pt x="5951" y="6795"/>
                  <a:pt x="5605" y="6795"/>
                </a:cubicBezTo>
                <a:cubicBezTo>
                  <a:pt x="5356" y="6795"/>
                  <a:pt x="5108" y="6662"/>
                  <a:pt x="4989" y="6364"/>
                </a:cubicBezTo>
                <a:cubicBezTo>
                  <a:pt x="4962" y="6293"/>
                  <a:pt x="4903" y="6255"/>
                  <a:pt x="4835" y="6255"/>
                </a:cubicBezTo>
                <a:cubicBezTo>
                  <a:pt x="4811" y="6255"/>
                  <a:pt x="4787" y="6260"/>
                  <a:pt x="4763" y="6269"/>
                </a:cubicBezTo>
                <a:cubicBezTo>
                  <a:pt x="4679" y="6305"/>
                  <a:pt x="4632" y="6412"/>
                  <a:pt x="4679" y="6495"/>
                </a:cubicBezTo>
                <a:cubicBezTo>
                  <a:pt x="4810" y="6805"/>
                  <a:pt x="5072" y="7043"/>
                  <a:pt x="5418" y="7126"/>
                </a:cubicBezTo>
                <a:cubicBezTo>
                  <a:pt x="5483" y="7138"/>
                  <a:pt x="5548" y="7144"/>
                  <a:pt x="5612" y="7144"/>
                </a:cubicBezTo>
                <a:cubicBezTo>
                  <a:pt x="6166" y="7144"/>
                  <a:pt x="6644" y="6702"/>
                  <a:pt x="6644" y="6126"/>
                </a:cubicBezTo>
                <a:cubicBezTo>
                  <a:pt x="6644" y="5590"/>
                  <a:pt x="6239" y="5197"/>
                  <a:pt x="5787" y="5126"/>
                </a:cubicBezTo>
                <a:lnTo>
                  <a:pt x="5787" y="1840"/>
                </a:lnTo>
                <a:cubicBezTo>
                  <a:pt x="5870" y="1864"/>
                  <a:pt x="5929" y="1947"/>
                  <a:pt x="5953" y="2018"/>
                </a:cubicBezTo>
                <a:lnTo>
                  <a:pt x="7442" y="5459"/>
                </a:lnTo>
                <a:cubicBezTo>
                  <a:pt x="7573" y="5769"/>
                  <a:pt x="7632" y="6114"/>
                  <a:pt x="7596" y="6447"/>
                </a:cubicBezTo>
                <a:cubicBezTo>
                  <a:pt x="7573" y="6543"/>
                  <a:pt x="7656" y="6626"/>
                  <a:pt x="7739" y="6626"/>
                </a:cubicBezTo>
                <a:cubicBezTo>
                  <a:pt x="7750" y="6629"/>
                  <a:pt x="7762" y="6630"/>
                  <a:pt x="7772" y="6630"/>
                </a:cubicBezTo>
                <a:cubicBezTo>
                  <a:pt x="7853" y="6630"/>
                  <a:pt x="7918" y="6557"/>
                  <a:pt x="7918" y="6483"/>
                </a:cubicBezTo>
                <a:cubicBezTo>
                  <a:pt x="7965" y="6090"/>
                  <a:pt x="7906" y="5697"/>
                  <a:pt x="7739" y="5316"/>
                </a:cubicBezTo>
                <a:lnTo>
                  <a:pt x="6251" y="1887"/>
                </a:lnTo>
                <a:cubicBezTo>
                  <a:pt x="6180" y="1709"/>
                  <a:pt x="6025" y="1566"/>
                  <a:pt x="5846" y="1494"/>
                </a:cubicBezTo>
                <a:lnTo>
                  <a:pt x="6180" y="1494"/>
                </a:lnTo>
                <a:cubicBezTo>
                  <a:pt x="6263" y="1494"/>
                  <a:pt x="6346" y="1423"/>
                  <a:pt x="6346" y="1328"/>
                </a:cubicBezTo>
                <a:lnTo>
                  <a:pt x="6346" y="994"/>
                </a:lnTo>
                <a:cubicBezTo>
                  <a:pt x="8549" y="1328"/>
                  <a:pt x="10240" y="3221"/>
                  <a:pt x="10311" y="5495"/>
                </a:cubicBezTo>
                <a:lnTo>
                  <a:pt x="9930" y="5495"/>
                </a:lnTo>
                <a:cubicBezTo>
                  <a:pt x="9835" y="5495"/>
                  <a:pt x="9763" y="5578"/>
                  <a:pt x="9763" y="5662"/>
                </a:cubicBezTo>
                <a:lnTo>
                  <a:pt x="9763" y="6828"/>
                </a:lnTo>
                <a:cubicBezTo>
                  <a:pt x="9763" y="6912"/>
                  <a:pt x="9835" y="6983"/>
                  <a:pt x="9930" y="6983"/>
                </a:cubicBezTo>
                <a:lnTo>
                  <a:pt x="11085" y="6983"/>
                </a:lnTo>
                <a:cubicBezTo>
                  <a:pt x="11180" y="6983"/>
                  <a:pt x="11252" y="6912"/>
                  <a:pt x="11252" y="6828"/>
                </a:cubicBezTo>
                <a:lnTo>
                  <a:pt x="11252" y="5662"/>
                </a:lnTo>
                <a:cubicBezTo>
                  <a:pt x="11287" y="5554"/>
                  <a:pt x="11204" y="5483"/>
                  <a:pt x="11121" y="5483"/>
                </a:cubicBezTo>
                <a:lnTo>
                  <a:pt x="10692" y="5483"/>
                </a:lnTo>
                <a:cubicBezTo>
                  <a:pt x="10656" y="4185"/>
                  <a:pt x="10132" y="2983"/>
                  <a:pt x="9216" y="2054"/>
                </a:cubicBezTo>
                <a:cubicBezTo>
                  <a:pt x="8704" y="1554"/>
                  <a:pt x="8108" y="1161"/>
                  <a:pt x="7453" y="911"/>
                </a:cubicBezTo>
                <a:lnTo>
                  <a:pt x="9120" y="911"/>
                </a:lnTo>
                <a:cubicBezTo>
                  <a:pt x="9204" y="1244"/>
                  <a:pt x="9501" y="1483"/>
                  <a:pt x="9835" y="1483"/>
                </a:cubicBezTo>
                <a:cubicBezTo>
                  <a:pt x="10240" y="1483"/>
                  <a:pt x="10585" y="1149"/>
                  <a:pt x="10585" y="732"/>
                </a:cubicBezTo>
                <a:cubicBezTo>
                  <a:pt x="10585" y="447"/>
                  <a:pt x="10418" y="197"/>
                  <a:pt x="10180" y="78"/>
                </a:cubicBezTo>
                <a:cubicBezTo>
                  <a:pt x="10155" y="63"/>
                  <a:pt x="10128" y="56"/>
                  <a:pt x="10102" y="56"/>
                </a:cubicBezTo>
                <a:cubicBezTo>
                  <a:pt x="10043" y="56"/>
                  <a:pt x="9987" y="91"/>
                  <a:pt x="9954" y="149"/>
                </a:cubicBezTo>
                <a:cubicBezTo>
                  <a:pt x="9918" y="244"/>
                  <a:pt x="9942" y="328"/>
                  <a:pt x="10037" y="375"/>
                </a:cubicBezTo>
                <a:cubicBezTo>
                  <a:pt x="10168" y="447"/>
                  <a:pt x="10251" y="590"/>
                  <a:pt x="10251" y="732"/>
                </a:cubicBezTo>
                <a:cubicBezTo>
                  <a:pt x="10251" y="959"/>
                  <a:pt x="10073" y="1137"/>
                  <a:pt x="9859" y="1137"/>
                </a:cubicBezTo>
                <a:cubicBezTo>
                  <a:pt x="9632" y="1137"/>
                  <a:pt x="9454" y="959"/>
                  <a:pt x="9454" y="732"/>
                </a:cubicBezTo>
                <a:cubicBezTo>
                  <a:pt x="9454" y="613"/>
                  <a:pt x="9489" y="506"/>
                  <a:pt x="9585" y="435"/>
                </a:cubicBezTo>
                <a:cubicBezTo>
                  <a:pt x="9656" y="375"/>
                  <a:pt x="9656" y="268"/>
                  <a:pt x="9597" y="197"/>
                </a:cubicBezTo>
                <a:cubicBezTo>
                  <a:pt x="9565" y="159"/>
                  <a:pt x="9521" y="141"/>
                  <a:pt x="9476" y="141"/>
                </a:cubicBezTo>
                <a:cubicBezTo>
                  <a:pt x="9435" y="141"/>
                  <a:pt x="9393" y="156"/>
                  <a:pt x="9358" y="185"/>
                </a:cubicBezTo>
                <a:cubicBezTo>
                  <a:pt x="9239" y="292"/>
                  <a:pt x="9168" y="423"/>
                  <a:pt x="9120" y="566"/>
                </a:cubicBezTo>
                <a:lnTo>
                  <a:pt x="6370" y="566"/>
                </a:lnTo>
                <a:lnTo>
                  <a:pt x="6370" y="173"/>
                </a:lnTo>
                <a:cubicBezTo>
                  <a:pt x="6370" y="78"/>
                  <a:pt x="6299" y="6"/>
                  <a:pt x="6203" y="6"/>
                </a:cubicBezTo>
                <a:lnTo>
                  <a:pt x="5072" y="6"/>
                </a:lnTo>
                <a:cubicBezTo>
                  <a:pt x="4989" y="6"/>
                  <a:pt x="4906" y="78"/>
                  <a:pt x="4906" y="173"/>
                </a:cubicBezTo>
                <a:lnTo>
                  <a:pt x="4906" y="566"/>
                </a:lnTo>
                <a:lnTo>
                  <a:pt x="2155" y="566"/>
                </a:lnTo>
                <a:cubicBezTo>
                  <a:pt x="2077" y="214"/>
                  <a:pt x="1767" y="0"/>
                  <a:pt x="1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52" name="Google Shape;12652;p62"/>
          <p:cNvGrpSpPr/>
          <p:nvPr/>
        </p:nvGrpSpPr>
        <p:grpSpPr>
          <a:xfrm>
            <a:off x="1883955" y="3808700"/>
            <a:ext cx="162873" cy="351445"/>
            <a:chOff x="1883955" y="3808700"/>
            <a:chExt cx="162873" cy="351445"/>
          </a:xfrm>
        </p:grpSpPr>
        <p:sp>
          <p:nvSpPr>
            <p:cNvPr id="12653" name="Google Shape;12653;p62"/>
            <p:cNvSpPr/>
            <p:nvPr/>
          </p:nvSpPr>
          <p:spPr>
            <a:xfrm>
              <a:off x="1901734" y="3808700"/>
              <a:ext cx="131832" cy="209054"/>
            </a:xfrm>
            <a:custGeom>
              <a:avLst/>
              <a:gdLst/>
              <a:ahLst/>
              <a:cxnLst/>
              <a:rect l="l" t="t" r="r" b="b"/>
              <a:pathLst>
                <a:path w="4145" h="6573" extrusionOk="0">
                  <a:moveTo>
                    <a:pt x="2704" y="1941"/>
                  </a:moveTo>
                  <a:lnTo>
                    <a:pt x="2704" y="2346"/>
                  </a:lnTo>
                  <a:lnTo>
                    <a:pt x="1275" y="2346"/>
                  </a:lnTo>
                  <a:lnTo>
                    <a:pt x="1275" y="1941"/>
                  </a:lnTo>
                  <a:close/>
                  <a:moveTo>
                    <a:pt x="953" y="1"/>
                  </a:moveTo>
                  <a:cubicBezTo>
                    <a:pt x="715" y="1"/>
                    <a:pt x="525" y="191"/>
                    <a:pt x="525" y="429"/>
                  </a:cubicBezTo>
                  <a:lnTo>
                    <a:pt x="525" y="1489"/>
                  </a:lnTo>
                  <a:cubicBezTo>
                    <a:pt x="525" y="1727"/>
                    <a:pt x="715" y="1906"/>
                    <a:pt x="942" y="1917"/>
                  </a:cubicBezTo>
                  <a:lnTo>
                    <a:pt x="942" y="2322"/>
                  </a:lnTo>
                  <a:lnTo>
                    <a:pt x="739" y="2322"/>
                  </a:lnTo>
                  <a:cubicBezTo>
                    <a:pt x="513" y="2322"/>
                    <a:pt x="322" y="2489"/>
                    <a:pt x="287" y="2715"/>
                  </a:cubicBezTo>
                  <a:lnTo>
                    <a:pt x="25" y="4835"/>
                  </a:lnTo>
                  <a:cubicBezTo>
                    <a:pt x="1" y="4930"/>
                    <a:pt x="84" y="5013"/>
                    <a:pt x="168" y="5013"/>
                  </a:cubicBezTo>
                  <a:cubicBezTo>
                    <a:pt x="180" y="5016"/>
                    <a:pt x="192" y="5018"/>
                    <a:pt x="204" y="5018"/>
                  </a:cubicBezTo>
                  <a:cubicBezTo>
                    <a:pt x="283" y="5018"/>
                    <a:pt x="346" y="4953"/>
                    <a:pt x="346" y="4870"/>
                  </a:cubicBezTo>
                  <a:lnTo>
                    <a:pt x="620" y="2739"/>
                  </a:lnTo>
                  <a:cubicBezTo>
                    <a:pt x="620" y="2679"/>
                    <a:pt x="680" y="2632"/>
                    <a:pt x="739" y="2632"/>
                  </a:cubicBezTo>
                  <a:lnTo>
                    <a:pt x="3239" y="2632"/>
                  </a:lnTo>
                  <a:cubicBezTo>
                    <a:pt x="3299" y="2632"/>
                    <a:pt x="3335" y="2679"/>
                    <a:pt x="3359" y="2739"/>
                  </a:cubicBezTo>
                  <a:lnTo>
                    <a:pt x="3799" y="6418"/>
                  </a:lnTo>
                  <a:cubicBezTo>
                    <a:pt x="3811" y="6513"/>
                    <a:pt x="3870" y="6573"/>
                    <a:pt x="3966" y="6573"/>
                  </a:cubicBezTo>
                  <a:lnTo>
                    <a:pt x="3978" y="6573"/>
                  </a:lnTo>
                  <a:cubicBezTo>
                    <a:pt x="4073" y="6573"/>
                    <a:pt x="4144" y="6478"/>
                    <a:pt x="4132" y="6394"/>
                  </a:cubicBezTo>
                  <a:lnTo>
                    <a:pt x="3680" y="2715"/>
                  </a:lnTo>
                  <a:cubicBezTo>
                    <a:pt x="3656" y="2489"/>
                    <a:pt x="3454" y="2322"/>
                    <a:pt x="3239" y="2322"/>
                  </a:cubicBezTo>
                  <a:lnTo>
                    <a:pt x="3025" y="2322"/>
                  </a:lnTo>
                  <a:lnTo>
                    <a:pt x="3025" y="1917"/>
                  </a:lnTo>
                  <a:cubicBezTo>
                    <a:pt x="3263" y="1917"/>
                    <a:pt x="3442" y="1727"/>
                    <a:pt x="3442" y="1489"/>
                  </a:cubicBezTo>
                  <a:lnTo>
                    <a:pt x="3442" y="429"/>
                  </a:lnTo>
                  <a:cubicBezTo>
                    <a:pt x="3442" y="191"/>
                    <a:pt x="3251" y="1"/>
                    <a:pt x="3013" y="1"/>
                  </a:cubicBezTo>
                  <a:lnTo>
                    <a:pt x="2013" y="1"/>
                  </a:lnTo>
                  <a:cubicBezTo>
                    <a:pt x="1930" y="1"/>
                    <a:pt x="1846" y="72"/>
                    <a:pt x="1846" y="167"/>
                  </a:cubicBezTo>
                  <a:cubicBezTo>
                    <a:pt x="1846" y="251"/>
                    <a:pt x="1930" y="334"/>
                    <a:pt x="2013" y="334"/>
                  </a:cubicBezTo>
                  <a:lnTo>
                    <a:pt x="3013" y="334"/>
                  </a:lnTo>
                  <a:cubicBezTo>
                    <a:pt x="3073" y="334"/>
                    <a:pt x="3120" y="370"/>
                    <a:pt x="3120" y="441"/>
                  </a:cubicBezTo>
                  <a:lnTo>
                    <a:pt x="3120" y="1489"/>
                  </a:lnTo>
                  <a:cubicBezTo>
                    <a:pt x="3120" y="1536"/>
                    <a:pt x="3073" y="1584"/>
                    <a:pt x="3025" y="1596"/>
                  </a:cubicBezTo>
                  <a:lnTo>
                    <a:pt x="942" y="1596"/>
                  </a:lnTo>
                  <a:cubicBezTo>
                    <a:pt x="894" y="1596"/>
                    <a:pt x="858" y="1548"/>
                    <a:pt x="858" y="1489"/>
                  </a:cubicBezTo>
                  <a:lnTo>
                    <a:pt x="858" y="441"/>
                  </a:lnTo>
                  <a:cubicBezTo>
                    <a:pt x="858" y="382"/>
                    <a:pt x="894" y="334"/>
                    <a:pt x="953" y="334"/>
                  </a:cubicBezTo>
                  <a:lnTo>
                    <a:pt x="1370" y="334"/>
                  </a:lnTo>
                  <a:cubicBezTo>
                    <a:pt x="1465" y="334"/>
                    <a:pt x="1537" y="251"/>
                    <a:pt x="1537" y="167"/>
                  </a:cubicBezTo>
                  <a:cubicBezTo>
                    <a:pt x="1537" y="72"/>
                    <a:pt x="1465" y="1"/>
                    <a:pt x="13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4" name="Google Shape;12654;p62"/>
            <p:cNvSpPr/>
            <p:nvPr/>
          </p:nvSpPr>
          <p:spPr>
            <a:xfrm>
              <a:off x="1883955" y="3978730"/>
              <a:ext cx="162873" cy="181416"/>
            </a:xfrm>
            <a:custGeom>
              <a:avLst/>
              <a:gdLst/>
              <a:ahLst/>
              <a:cxnLst/>
              <a:rect l="l" t="t" r="r" b="b"/>
              <a:pathLst>
                <a:path w="5121" h="5704" extrusionOk="0">
                  <a:moveTo>
                    <a:pt x="715" y="0"/>
                  </a:moveTo>
                  <a:cubicBezTo>
                    <a:pt x="619" y="0"/>
                    <a:pt x="536" y="60"/>
                    <a:pt x="536" y="155"/>
                  </a:cubicBezTo>
                  <a:cubicBezTo>
                    <a:pt x="0" y="4501"/>
                    <a:pt x="24" y="4299"/>
                    <a:pt x="24" y="4322"/>
                  </a:cubicBezTo>
                  <a:lnTo>
                    <a:pt x="24" y="5537"/>
                  </a:lnTo>
                  <a:cubicBezTo>
                    <a:pt x="24" y="5632"/>
                    <a:pt x="96" y="5704"/>
                    <a:pt x="191" y="5704"/>
                  </a:cubicBezTo>
                  <a:lnTo>
                    <a:pt x="4953" y="5704"/>
                  </a:lnTo>
                  <a:cubicBezTo>
                    <a:pt x="5037" y="5704"/>
                    <a:pt x="5120" y="5632"/>
                    <a:pt x="5120" y="5537"/>
                  </a:cubicBezTo>
                  <a:cubicBezTo>
                    <a:pt x="5084" y="4227"/>
                    <a:pt x="5084" y="4322"/>
                    <a:pt x="5084" y="4287"/>
                  </a:cubicBezTo>
                  <a:lnTo>
                    <a:pt x="4763" y="1703"/>
                  </a:lnTo>
                  <a:cubicBezTo>
                    <a:pt x="4751" y="1608"/>
                    <a:pt x="4668" y="1548"/>
                    <a:pt x="4584" y="1548"/>
                  </a:cubicBezTo>
                  <a:cubicBezTo>
                    <a:pt x="4489" y="1560"/>
                    <a:pt x="4429" y="1644"/>
                    <a:pt x="4429" y="1727"/>
                  </a:cubicBezTo>
                  <a:lnTo>
                    <a:pt x="4727" y="4144"/>
                  </a:lnTo>
                  <a:lnTo>
                    <a:pt x="2084" y="4144"/>
                  </a:lnTo>
                  <a:cubicBezTo>
                    <a:pt x="1989" y="4144"/>
                    <a:pt x="1917" y="4215"/>
                    <a:pt x="1917" y="4299"/>
                  </a:cubicBezTo>
                  <a:cubicBezTo>
                    <a:pt x="1917" y="4394"/>
                    <a:pt x="1989" y="4465"/>
                    <a:pt x="2084" y="4465"/>
                  </a:cubicBezTo>
                  <a:lnTo>
                    <a:pt x="4763" y="4465"/>
                  </a:lnTo>
                  <a:lnTo>
                    <a:pt x="4763" y="5358"/>
                  </a:lnTo>
                  <a:lnTo>
                    <a:pt x="4549" y="5358"/>
                  </a:lnTo>
                  <a:lnTo>
                    <a:pt x="4549" y="4834"/>
                  </a:lnTo>
                  <a:cubicBezTo>
                    <a:pt x="4549" y="4751"/>
                    <a:pt x="4477" y="4680"/>
                    <a:pt x="4394" y="4680"/>
                  </a:cubicBezTo>
                  <a:cubicBezTo>
                    <a:pt x="4299" y="4680"/>
                    <a:pt x="4227" y="4751"/>
                    <a:pt x="4227" y="4834"/>
                  </a:cubicBezTo>
                  <a:lnTo>
                    <a:pt x="4227" y="5358"/>
                  </a:lnTo>
                  <a:lnTo>
                    <a:pt x="3822" y="5358"/>
                  </a:lnTo>
                  <a:lnTo>
                    <a:pt x="3822" y="4834"/>
                  </a:lnTo>
                  <a:cubicBezTo>
                    <a:pt x="3822" y="4751"/>
                    <a:pt x="3751" y="4680"/>
                    <a:pt x="3656" y="4680"/>
                  </a:cubicBezTo>
                  <a:cubicBezTo>
                    <a:pt x="3572" y="4680"/>
                    <a:pt x="3501" y="4751"/>
                    <a:pt x="3501" y="4834"/>
                  </a:cubicBezTo>
                  <a:lnTo>
                    <a:pt x="3501" y="5358"/>
                  </a:lnTo>
                  <a:lnTo>
                    <a:pt x="3096" y="5358"/>
                  </a:lnTo>
                  <a:lnTo>
                    <a:pt x="3096" y="4834"/>
                  </a:lnTo>
                  <a:cubicBezTo>
                    <a:pt x="3096" y="4751"/>
                    <a:pt x="3025" y="4680"/>
                    <a:pt x="2929" y="4680"/>
                  </a:cubicBezTo>
                  <a:cubicBezTo>
                    <a:pt x="2834" y="4680"/>
                    <a:pt x="2763" y="4751"/>
                    <a:pt x="2763" y="4834"/>
                  </a:cubicBezTo>
                  <a:lnTo>
                    <a:pt x="2763" y="5358"/>
                  </a:lnTo>
                  <a:lnTo>
                    <a:pt x="2358" y="5358"/>
                  </a:lnTo>
                  <a:lnTo>
                    <a:pt x="2358" y="4834"/>
                  </a:lnTo>
                  <a:cubicBezTo>
                    <a:pt x="2358" y="4751"/>
                    <a:pt x="2286" y="4680"/>
                    <a:pt x="2203" y="4680"/>
                  </a:cubicBezTo>
                  <a:cubicBezTo>
                    <a:pt x="2108" y="4680"/>
                    <a:pt x="2036" y="4751"/>
                    <a:pt x="2036" y="4834"/>
                  </a:cubicBezTo>
                  <a:lnTo>
                    <a:pt x="2036" y="5358"/>
                  </a:lnTo>
                  <a:lnTo>
                    <a:pt x="1632" y="5358"/>
                  </a:lnTo>
                  <a:lnTo>
                    <a:pt x="1632" y="4834"/>
                  </a:lnTo>
                  <a:cubicBezTo>
                    <a:pt x="1632" y="4751"/>
                    <a:pt x="1560" y="4680"/>
                    <a:pt x="1465" y="4680"/>
                  </a:cubicBezTo>
                  <a:cubicBezTo>
                    <a:pt x="1381" y="4680"/>
                    <a:pt x="1310" y="4751"/>
                    <a:pt x="1310" y="4834"/>
                  </a:cubicBezTo>
                  <a:lnTo>
                    <a:pt x="1310" y="5358"/>
                  </a:lnTo>
                  <a:lnTo>
                    <a:pt x="905" y="5358"/>
                  </a:lnTo>
                  <a:lnTo>
                    <a:pt x="905" y="4834"/>
                  </a:lnTo>
                  <a:cubicBezTo>
                    <a:pt x="905" y="4751"/>
                    <a:pt x="834" y="4680"/>
                    <a:pt x="739" y="4680"/>
                  </a:cubicBezTo>
                  <a:cubicBezTo>
                    <a:pt x="655" y="4680"/>
                    <a:pt x="572" y="4751"/>
                    <a:pt x="572" y="4834"/>
                  </a:cubicBezTo>
                  <a:lnTo>
                    <a:pt x="572" y="5358"/>
                  </a:lnTo>
                  <a:lnTo>
                    <a:pt x="334" y="5358"/>
                  </a:lnTo>
                  <a:lnTo>
                    <a:pt x="334" y="4465"/>
                  </a:lnTo>
                  <a:lnTo>
                    <a:pt x="1453" y="4465"/>
                  </a:lnTo>
                  <a:cubicBezTo>
                    <a:pt x="1548" y="4465"/>
                    <a:pt x="1620" y="4394"/>
                    <a:pt x="1620" y="4299"/>
                  </a:cubicBezTo>
                  <a:cubicBezTo>
                    <a:pt x="1620" y="4215"/>
                    <a:pt x="1548" y="4144"/>
                    <a:pt x="1453" y="4144"/>
                  </a:cubicBezTo>
                  <a:lnTo>
                    <a:pt x="369" y="4144"/>
                  </a:lnTo>
                  <a:lnTo>
                    <a:pt x="858" y="179"/>
                  </a:lnTo>
                  <a:cubicBezTo>
                    <a:pt x="870" y="96"/>
                    <a:pt x="798"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5" name="Google Shape;12655;p62"/>
          <p:cNvGrpSpPr/>
          <p:nvPr/>
        </p:nvGrpSpPr>
        <p:grpSpPr>
          <a:xfrm>
            <a:off x="939156" y="3809209"/>
            <a:ext cx="192007" cy="351318"/>
            <a:chOff x="939156" y="3809209"/>
            <a:chExt cx="192007" cy="351318"/>
          </a:xfrm>
        </p:grpSpPr>
        <p:sp>
          <p:nvSpPr>
            <p:cNvPr id="12656" name="Google Shape;12656;p62"/>
            <p:cNvSpPr/>
            <p:nvPr/>
          </p:nvSpPr>
          <p:spPr>
            <a:xfrm>
              <a:off x="939538" y="3809209"/>
              <a:ext cx="191625" cy="106706"/>
            </a:xfrm>
            <a:custGeom>
              <a:avLst/>
              <a:gdLst/>
              <a:ahLst/>
              <a:cxnLst/>
              <a:rect l="l" t="t" r="r" b="b"/>
              <a:pathLst>
                <a:path w="6025" h="3355" extrusionOk="0">
                  <a:moveTo>
                    <a:pt x="3016" y="0"/>
                  </a:moveTo>
                  <a:cubicBezTo>
                    <a:pt x="2872" y="0"/>
                    <a:pt x="2764" y="67"/>
                    <a:pt x="2786" y="199"/>
                  </a:cubicBezTo>
                  <a:cubicBezTo>
                    <a:pt x="2797" y="275"/>
                    <a:pt x="2878" y="331"/>
                    <a:pt x="2955" y="331"/>
                  </a:cubicBezTo>
                  <a:cubicBezTo>
                    <a:pt x="2962" y="331"/>
                    <a:pt x="2970" y="331"/>
                    <a:pt x="2977" y="330"/>
                  </a:cubicBezTo>
                  <a:cubicBezTo>
                    <a:pt x="2994" y="326"/>
                    <a:pt x="3012" y="324"/>
                    <a:pt x="3028" y="324"/>
                  </a:cubicBezTo>
                  <a:cubicBezTo>
                    <a:pt x="3172" y="324"/>
                    <a:pt x="3286" y="453"/>
                    <a:pt x="3286" y="592"/>
                  </a:cubicBezTo>
                  <a:lnTo>
                    <a:pt x="3286" y="687"/>
                  </a:lnTo>
                  <a:lnTo>
                    <a:pt x="2739" y="687"/>
                  </a:lnTo>
                  <a:lnTo>
                    <a:pt x="2739" y="628"/>
                  </a:lnTo>
                  <a:cubicBezTo>
                    <a:pt x="2739" y="532"/>
                    <a:pt x="2667" y="461"/>
                    <a:pt x="2572" y="461"/>
                  </a:cubicBezTo>
                  <a:cubicBezTo>
                    <a:pt x="2489" y="461"/>
                    <a:pt x="2417" y="532"/>
                    <a:pt x="2417" y="628"/>
                  </a:cubicBezTo>
                  <a:lnTo>
                    <a:pt x="2417" y="687"/>
                  </a:lnTo>
                  <a:lnTo>
                    <a:pt x="1405" y="687"/>
                  </a:lnTo>
                  <a:cubicBezTo>
                    <a:pt x="1310" y="687"/>
                    <a:pt x="1238" y="758"/>
                    <a:pt x="1238" y="854"/>
                  </a:cubicBezTo>
                  <a:cubicBezTo>
                    <a:pt x="1238" y="937"/>
                    <a:pt x="1310" y="1020"/>
                    <a:pt x="1405" y="1020"/>
                  </a:cubicBezTo>
                  <a:lnTo>
                    <a:pt x="5584" y="1020"/>
                  </a:lnTo>
                  <a:cubicBezTo>
                    <a:pt x="5644" y="1020"/>
                    <a:pt x="5691" y="1056"/>
                    <a:pt x="5691" y="1116"/>
                  </a:cubicBezTo>
                  <a:lnTo>
                    <a:pt x="5691" y="1473"/>
                  </a:lnTo>
                  <a:cubicBezTo>
                    <a:pt x="5691" y="1532"/>
                    <a:pt x="5644" y="1580"/>
                    <a:pt x="5584" y="1580"/>
                  </a:cubicBezTo>
                  <a:lnTo>
                    <a:pt x="429" y="1580"/>
                  </a:lnTo>
                  <a:cubicBezTo>
                    <a:pt x="369" y="1580"/>
                    <a:pt x="334" y="1532"/>
                    <a:pt x="334" y="1473"/>
                  </a:cubicBezTo>
                  <a:lnTo>
                    <a:pt x="334" y="1116"/>
                  </a:lnTo>
                  <a:cubicBezTo>
                    <a:pt x="334" y="1056"/>
                    <a:pt x="369" y="1020"/>
                    <a:pt x="429" y="1020"/>
                  </a:cubicBezTo>
                  <a:lnTo>
                    <a:pt x="750" y="1020"/>
                  </a:lnTo>
                  <a:cubicBezTo>
                    <a:pt x="834" y="1020"/>
                    <a:pt x="905" y="937"/>
                    <a:pt x="905" y="854"/>
                  </a:cubicBezTo>
                  <a:cubicBezTo>
                    <a:pt x="905" y="758"/>
                    <a:pt x="834" y="687"/>
                    <a:pt x="750" y="687"/>
                  </a:cubicBezTo>
                  <a:lnTo>
                    <a:pt x="429" y="687"/>
                  </a:lnTo>
                  <a:cubicBezTo>
                    <a:pt x="191" y="687"/>
                    <a:pt x="0" y="878"/>
                    <a:pt x="0" y="1116"/>
                  </a:cubicBezTo>
                  <a:lnTo>
                    <a:pt x="0" y="1473"/>
                  </a:lnTo>
                  <a:cubicBezTo>
                    <a:pt x="0" y="1711"/>
                    <a:pt x="191" y="1901"/>
                    <a:pt x="429" y="1901"/>
                  </a:cubicBezTo>
                  <a:lnTo>
                    <a:pt x="572" y="1901"/>
                  </a:lnTo>
                  <a:lnTo>
                    <a:pt x="572" y="3187"/>
                  </a:lnTo>
                  <a:cubicBezTo>
                    <a:pt x="572" y="3271"/>
                    <a:pt x="643" y="3354"/>
                    <a:pt x="726" y="3354"/>
                  </a:cubicBezTo>
                  <a:cubicBezTo>
                    <a:pt x="822" y="3354"/>
                    <a:pt x="893" y="3271"/>
                    <a:pt x="893" y="3187"/>
                  </a:cubicBezTo>
                  <a:lnTo>
                    <a:pt x="893" y="1901"/>
                  </a:lnTo>
                  <a:lnTo>
                    <a:pt x="5132" y="1901"/>
                  </a:lnTo>
                  <a:lnTo>
                    <a:pt x="5132" y="2306"/>
                  </a:lnTo>
                  <a:cubicBezTo>
                    <a:pt x="5132" y="2402"/>
                    <a:pt x="5215" y="2473"/>
                    <a:pt x="5298" y="2473"/>
                  </a:cubicBezTo>
                  <a:cubicBezTo>
                    <a:pt x="5394" y="2473"/>
                    <a:pt x="5465" y="2402"/>
                    <a:pt x="5465" y="2306"/>
                  </a:cubicBezTo>
                  <a:lnTo>
                    <a:pt x="5465" y="1901"/>
                  </a:lnTo>
                  <a:lnTo>
                    <a:pt x="5596" y="1901"/>
                  </a:lnTo>
                  <a:cubicBezTo>
                    <a:pt x="5834" y="1901"/>
                    <a:pt x="6025" y="1711"/>
                    <a:pt x="6025" y="1473"/>
                  </a:cubicBezTo>
                  <a:lnTo>
                    <a:pt x="6025" y="1116"/>
                  </a:lnTo>
                  <a:cubicBezTo>
                    <a:pt x="6025" y="878"/>
                    <a:pt x="5822" y="687"/>
                    <a:pt x="5584" y="687"/>
                  </a:cubicBezTo>
                  <a:lnTo>
                    <a:pt x="3620" y="687"/>
                  </a:lnTo>
                  <a:lnTo>
                    <a:pt x="3620" y="604"/>
                  </a:lnTo>
                  <a:cubicBezTo>
                    <a:pt x="3620" y="198"/>
                    <a:pt x="3263" y="0"/>
                    <a:pt x="30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7" name="Google Shape;12657;p62"/>
            <p:cNvSpPr/>
            <p:nvPr/>
          </p:nvSpPr>
          <p:spPr>
            <a:xfrm>
              <a:off x="939156" y="3898835"/>
              <a:ext cx="192007" cy="261692"/>
            </a:xfrm>
            <a:custGeom>
              <a:avLst/>
              <a:gdLst/>
              <a:ahLst/>
              <a:cxnLst/>
              <a:rect l="l" t="t" r="r" b="b"/>
              <a:pathLst>
                <a:path w="6037" h="8228" extrusionOk="0">
                  <a:moveTo>
                    <a:pt x="2977" y="4691"/>
                  </a:moveTo>
                  <a:cubicBezTo>
                    <a:pt x="2739" y="5179"/>
                    <a:pt x="1953" y="6846"/>
                    <a:pt x="1536" y="7739"/>
                  </a:cubicBezTo>
                  <a:cubicBezTo>
                    <a:pt x="1489" y="7811"/>
                    <a:pt x="1417" y="7870"/>
                    <a:pt x="1322" y="7870"/>
                  </a:cubicBezTo>
                  <a:cubicBezTo>
                    <a:pt x="1298" y="7870"/>
                    <a:pt x="1250" y="7858"/>
                    <a:pt x="1215" y="7835"/>
                  </a:cubicBezTo>
                  <a:cubicBezTo>
                    <a:pt x="1096" y="7787"/>
                    <a:pt x="1060" y="7644"/>
                    <a:pt x="1119" y="7525"/>
                  </a:cubicBezTo>
                  <a:lnTo>
                    <a:pt x="2465" y="4691"/>
                  </a:lnTo>
                  <a:close/>
                  <a:moveTo>
                    <a:pt x="3572" y="4703"/>
                  </a:moveTo>
                  <a:lnTo>
                    <a:pt x="4929" y="7549"/>
                  </a:lnTo>
                  <a:cubicBezTo>
                    <a:pt x="4989" y="7668"/>
                    <a:pt x="4929" y="7799"/>
                    <a:pt x="4822" y="7858"/>
                  </a:cubicBezTo>
                  <a:cubicBezTo>
                    <a:pt x="4787" y="7870"/>
                    <a:pt x="4763" y="7882"/>
                    <a:pt x="4715" y="7882"/>
                  </a:cubicBezTo>
                  <a:cubicBezTo>
                    <a:pt x="4632" y="7882"/>
                    <a:pt x="4548" y="7846"/>
                    <a:pt x="4513" y="7751"/>
                  </a:cubicBezTo>
                  <a:lnTo>
                    <a:pt x="3572" y="5775"/>
                  </a:lnTo>
                  <a:cubicBezTo>
                    <a:pt x="3572" y="5775"/>
                    <a:pt x="3215" y="5025"/>
                    <a:pt x="3203" y="4989"/>
                  </a:cubicBezTo>
                  <a:cubicBezTo>
                    <a:pt x="3298" y="4775"/>
                    <a:pt x="3334" y="4715"/>
                    <a:pt x="3334" y="4703"/>
                  </a:cubicBezTo>
                  <a:close/>
                  <a:moveTo>
                    <a:pt x="3036" y="5358"/>
                  </a:moveTo>
                  <a:lnTo>
                    <a:pt x="3263" y="5834"/>
                  </a:lnTo>
                  <a:lnTo>
                    <a:pt x="3263" y="7680"/>
                  </a:lnTo>
                  <a:cubicBezTo>
                    <a:pt x="3263" y="7799"/>
                    <a:pt x="3155" y="7906"/>
                    <a:pt x="3036" y="7906"/>
                  </a:cubicBezTo>
                  <a:cubicBezTo>
                    <a:pt x="2917" y="7906"/>
                    <a:pt x="2810" y="7799"/>
                    <a:pt x="2810" y="7680"/>
                  </a:cubicBezTo>
                  <a:lnTo>
                    <a:pt x="2810" y="5834"/>
                  </a:lnTo>
                  <a:lnTo>
                    <a:pt x="3036" y="5358"/>
                  </a:lnTo>
                  <a:close/>
                  <a:moveTo>
                    <a:pt x="5299" y="0"/>
                  </a:moveTo>
                  <a:cubicBezTo>
                    <a:pt x="5203" y="0"/>
                    <a:pt x="5132" y="72"/>
                    <a:pt x="5132" y="167"/>
                  </a:cubicBezTo>
                  <a:lnTo>
                    <a:pt x="5132" y="3453"/>
                  </a:lnTo>
                  <a:lnTo>
                    <a:pt x="893" y="3453"/>
                  </a:lnTo>
                  <a:lnTo>
                    <a:pt x="893" y="1024"/>
                  </a:lnTo>
                  <a:cubicBezTo>
                    <a:pt x="893" y="941"/>
                    <a:pt x="822" y="858"/>
                    <a:pt x="727" y="858"/>
                  </a:cubicBezTo>
                  <a:cubicBezTo>
                    <a:pt x="643" y="858"/>
                    <a:pt x="560" y="941"/>
                    <a:pt x="560" y="1024"/>
                  </a:cubicBezTo>
                  <a:lnTo>
                    <a:pt x="560" y="3453"/>
                  </a:lnTo>
                  <a:lnTo>
                    <a:pt x="429" y="3453"/>
                  </a:lnTo>
                  <a:cubicBezTo>
                    <a:pt x="191" y="3453"/>
                    <a:pt x="0" y="3644"/>
                    <a:pt x="0" y="3882"/>
                  </a:cubicBezTo>
                  <a:lnTo>
                    <a:pt x="0" y="4239"/>
                  </a:lnTo>
                  <a:cubicBezTo>
                    <a:pt x="0" y="4477"/>
                    <a:pt x="191" y="4668"/>
                    <a:pt x="429" y="4668"/>
                  </a:cubicBezTo>
                  <a:lnTo>
                    <a:pt x="2084" y="4668"/>
                  </a:lnTo>
                  <a:lnTo>
                    <a:pt x="798" y="7382"/>
                  </a:lnTo>
                  <a:cubicBezTo>
                    <a:pt x="667" y="7668"/>
                    <a:pt x="786" y="7989"/>
                    <a:pt x="1060" y="8120"/>
                  </a:cubicBezTo>
                  <a:cubicBezTo>
                    <a:pt x="1131" y="8156"/>
                    <a:pt x="1215" y="8180"/>
                    <a:pt x="1298" y="8180"/>
                  </a:cubicBezTo>
                  <a:cubicBezTo>
                    <a:pt x="1500" y="8180"/>
                    <a:pt x="1715" y="8061"/>
                    <a:pt x="1798" y="7870"/>
                  </a:cubicBezTo>
                  <a:lnTo>
                    <a:pt x="2441" y="6513"/>
                  </a:lnTo>
                  <a:lnTo>
                    <a:pt x="2441" y="7680"/>
                  </a:lnTo>
                  <a:cubicBezTo>
                    <a:pt x="2441" y="7989"/>
                    <a:pt x="2691" y="8227"/>
                    <a:pt x="2989" y="8227"/>
                  </a:cubicBezTo>
                  <a:cubicBezTo>
                    <a:pt x="3298" y="8227"/>
                    <a:pt x="3536" y="7977"/>
                    <a:pt x="3536" y="7680"/>
                  </a:cubicBezTo>
                  <a:lnTo>
                    <a:pt x="3536" y="6513"/>
                  </a:lnTo>
                  <a:lnTo>
                    <a:pt x="4179" y="7870"/>
                  </a:lnTo>
                  <a:cubicBezTo>
                    <a:pt x="4275" y="8061"/>
                    <a:pt x="4465" y="8180"/>
                    <a:pt x="4691" y="8180"/>
                  </a:cubicBezTo>
                  <a:cubicBezTo>
                    <a:pt x="4775" y="8180"/>
                    <a:pt x="4846" y="8168"/>
                    <a:pt x="4929" y="8120"/>
                  </a:cubicBezTo>
                  <a:cubicBezTo>
                    <a:pt x="5203" y="7989"/>
                    <a:pt x="5310" y="7668"/>
                    <a:pt x="5179" y="7382"/>
                  </a:cubicBezTo>
                  <a:lnTo>
                    <a:pt x="3894" y="4668"/>
                  </a:lnTo>
                  <a:lnTo>
                    <a:pt x="4596" y="4668"/>
                  </a:lnTo>
                  <a:cubicBezTo>
                    <a:pt x="4679" y="4668"/>
                    <a:pt x="4763" y="4596"/>
                    <a:pt x="4763" y="4513"/>
                  </a:cubicBezTo>
                  <a:cubicBezTo>
                    <a:pt x="4763" y="4417"/>
                    <a:pt x="4679" y="4346"/>
                    <a:pt x="4596" y="4346"/>
                  </a:cubicBezTo>
                  <a:lnTo>
                    <a:pt x="417" y="4346"/>
                  </a:lnTo>
                  <a:cubicBezTo>
                    <a:pt x="357" y="4346"/>
                    <a:pt x="310" y="4298"/>
                    <a:pt x="310" y="4239"/>
                  </a:cubicBezTo>
                  <a:lnTo>
                    <a:pt x="310" y="3882"/>
                  </a:lnTo>
                  <a:cubicBezTo>
                    <a:pt x="310" y="3822"/>
                    <a:pt x="357" y="3775"/>
                    <a:pt x="417" y="3775"/>
                  </a:cubicBezTo>
                  <a:lnTo>
                    <a:pt x="5560" y="3775"/>
                  </a:lnTo>
                  <a:cubicBezTo>
                    <a:pt x="5620" y="3775"/>
                    <a:pt x="5668" y="3822"/>
                    <a:pt x="5668" y="3882"/>
                  </a:cubicBezTo>
                  <a:lnTo>
                    <a:pt x="5668" y="4239"/>
                  </a:lnTo>
                  <a:cubicBezTo>
                    <a:pt x="5668" y="4298"/>
                    <a:pt x="5620" y="4346"/>
                    <a:pt x="5560" y="4346"/>
                  </a:cubicBezTo>
                  <a:lnTo>
                    <a:pt x="5251" y="4346"/>
                  </a:lnTo>
                  <a:cubicBezTo>
                    <a:pt x="5168" y="4346"/>
                    <a:pt x="5084" y="4417"/>
                    <a:pt x="5084" y="4513"/>
                  </a:cubicBezTo>
                  <a:cubicBezTo>
                    <a:pt x="5084" y="4596"/>
                    <a:pt x="5168" y="4668"/>
                    <a:pt x="5251" y="4668"/>
                  </a:cubicBezTo>
                  <a:lnTo>
                    <a:pt x="5560" y="4668"/>
                  </a:lnTo>
                  <a:cubicBezTo>
                    <a:pt x="5799" y="4668"/>
                    <a:pt x="6001" y="4477"/>
                    <a:pt x="6001" y="4239"/>
                  </a:cubicBezTo>
                  <a:lnTo>
                    <a:pt x="6001" y="3882"/>
                  </a:lnTo>
                  <a:cubicBezTo>
                    <a:pt x="6037" y="3655"/>
                    <a:pt x="5834" y="3453"/>
                    <a:pt x="5596" y="3453"/>
                  </a:cubicBezTo>
                  <a:lnTo>
                    <a:pt x="5465" y="3453"/>
                  </a:lnTo>
                  <a:lnTo>
                    <a:pt x="5465" y="167"/>
                  </a:lnTo>
                  <a:cubicBezTo>
                    <a:pt x="5465" y="72"/>
                    <a:pt x="5382" y="0"/>
                    <a:pt x="5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58" name="Google Shape;12658;p62"/>
          <p:cNvGrpSpPr/>
          <p:nvPr/>
        </p:nvGrpSpPr>
        <p:grpSpPr>
          <a:xfrm>
            <a:off x="2306167" y="3809845"/>
            <a:ext cx="193915" cy="349155"/>
            <a:chOff x="2306167" y="3809845"/>
            <a:chExt cx="193915" cy="349155"/>
          </a:xfrm>
        </p:grpSpPr>
        <p:sp>
          <p:nvSpPr>
            <p:cNvPr id="12659" name="Google Shape;12659;p62"/>
            <p:cNvSpPr/>
            <p:nvPr/>
          </p:nvSpPr>
          <p:spPr>
            <a:xfrm>
              <a:off x="2306167" y="3809845"/>
              <a:ext cx="137875" cy="349155"/>
            </a:xfrm>
            <a:custGeom>
              <a:avLst/>
              <a:gdLst/>
              <a:ahLst/>
              <a:cxnLst/>
              <a:rect l="l" t="t" r="r" b="b"/>
              <a:pathLst>
                <a:path w="4335" h="10978" extrusionOk="0">
                  <a:moveTo>
                    <a:pt x="4001" y="5656"/>
                  </a:moveTo>
                  <a:lnTo>
                    <a:pt x="4001" y="8918"/>
                  </a:lnTo>
                  <a:lnTo>
                    <a:pt x="2989" y="8918"/>
                  </a:lnTo>
                  <a:cubicBezTo>
                    <a:pt x="2763" y="8918"/>
                    <a:pt x="2596" y="8739"/>
                    <a:pt x="2596" y="8525"/>
                  </a:cubicBezTo>
                  <a:lnTo>
                    <a:pt x="2596" y="6037"/>
                  </a:lnTo>
                  <a:cubicBezTo>
                    <a:pt x="2596" y="5822"/>
                    <a:pt x="2775" y="5656"/>
                    <a:pt x="2989" y="5656"/>
                  </a:cubicBezTo>
                  <a:close/>
                  <a:moveTo>
                    <a:pt x="2168" y="0"/>
                  </a:moveTo>
                  <a:cubicBezTo>
                    <a:pt x="2084" y="0"/>
                    <a:pt x="2001" y="72"/>
                    <a:pt x="2001" y="167"/>
                  </a:cubicBezTo>
                  <a:cubicBezTo>
                    <a:pt x="2001" y="250"/>
                    <a:pt x="2084" y="322"/>
                    <a:pt x="2168" y="322"/>
                  </a:cubicBezTo>
                  <a:cubicBezTo>
                    <a:pt x="2382" y="322"/>
                    <a:pt x="2549" y="477"/>
                    <a:pt x="2573" y="667"/>
                  </a:cubicBezTo>
                  <a:cubicBezTo>
                    <a:pt x="2561" y="667"/>
                    <a:pt x="2525" y="655"/>
                    <a:pt x="2513" y="655"/>
                  </a:cubicBezTo>
                  <a:cubicBezTo>
                    <a:pt x="2406" y="655"/>
                    <a:pt x="2334" y="738"/>
                    <a:pt x="2334" y="834"/>
                  </a:cubicBezTo>
                  <a:cubicBezTo>
                    <a:pt x="2334" y="941"/>
                    <a:pt x="2430" y="1012"/>
                    <a:pt x="2513" y="1012"/>
                  </a:cubicBezTo>
                  <a:cubicBezTo>
                    <a:pt x="2549" y="1012"/>
                    <a:pt x="2561" y="1012"/>
                    <a:pt x="2584" y="1000"/>
                  </a:cubicBezTo>
                  <a:lnTo>
                    <a:pt x="2584" y="1262"/>
                  </a:lnTo>
                  <a:lnTo>
                    <a:pt x="1751" y="1262"/>
                  </a:lnTo>
                  <a:lnTo>
                    <a:pt x="1751" y="727"/>
                  </a:lnTo>
                  <a:cubicBezTo>
                    <a:pt x="1751" y="667"/>
                    <a:pt x="1775" y="596"/>
                    <a:pt x="1799" y="536"/>
                  </a:cubicBezTo>
                  <a:cubicBezTo>
                    <a:pt x="1846" y="465"/>
                    <a:pt x="1811" y="357"/>
                    <a:pt x="1727" y="310"/>
                  </a:cubicBezTo>
                  <a:cubicBezTo>
                    <a:pt x="1707" y="297"/>
                    <a:pt x="1685" y="291"/>
                    <a:pt x="1661" y="291"/>
                  </a:cubicBezTo>
                  <a:cubicBezTo>
                    <a:pt x="1601" y="291"/>
                    <a:pt x="1535" y="330"/>
                    <a:pt x="1501" y="381"/>
                  </a:cubicBezTo>
                  <a:cubicBezTo>
                    <a:pt x="1453" y="488"/>
                    <a:pt x="1430" y="608"/>
                    <a:pt x="1430" y="715"/>
                  </a:cubicBezTo>
                  <a:lnTo>
                    <a:pt x="1430" y="1298"/>
                  </a:lnTo>
                  <a:cubicBezTo>
                    <a:pt x="1263" y="1334"/>
                    <a:pt x="1096" y="1393"/>
                    <a:pt x="953" y="1489"/>
                  </a:cubicBezTo>
                  <a:cubicBezTo>
                    <a:pt x="882" y="1536"/>
                    <a:pt x="846" y="1631"/>
                    <a:pt x="894" y="1715"/>
                  </a:cubicBezTo>
                  <a:cubicBezTo>
                    <a:pt x="927" y="1764"/>
                    <a:pt x="982" y="1791"/>
                    <a:pt x="1041" y="1791"/>
                  </a:cubicBezTo>
                  <a:cubicBezTo>
                    <a:pt x="1067" y="1791"/>
                    <a:pt x="1094" y="1785"/>
                    <a:pt x="1120" y="1774"/>
                  </a:cubicBezTo>
                  <a:cubicBezTo>
                    <a:pt x="1215" y="1715"/>
                    <a:pt x="1322" y="1667"/>
                    <a:pt x="1430" y="1631"/>
                  </a:cubicBezTo>
                  <a:cubicBezTo>
                    <a:pt x="1537" y="1608"/>
                    <a:pt x="1632" y="1572"/>
                    <a:pt x="1751" y="1572"/>
                  </a:cubicBezTo>
                  <a:lnTo>
                    <a:pt x="2584" y="1572"/>
                  </a:lnTo>
                  <a:cubicBezTo>
                    <a:pt x="2692" y="1596"/>
                    <a:pt x="2811" y="1608"/>
                    <a:pt x="2918" y="1631"/>
                  </a:cubicBezTo>
                  <a:cubicBezTo>
                    <a:pt x="3537" y="1834"/>
                    <a:pt x="4001" y="2429"/>
                    <a:pt x="4001" y="3108"/>
                  </a:cubicBezTo>
                  <a:lnTo>
                    <a:pt x="4001" y="3572"/>
                  </a:lnTo>
                  <a:cubicBezTo>
                    <a:pt x="4001" y="3632"/>
                    <a:pt x="3954" y="3679"/>
                    <a:pt x="3894" y="3679"/>
                  </a:cubicBezTo>
                  <a:lnTo>
                    <a:pt x="429" y="3679"/>
                  </a:lnTo>
                  <a:cubicBezTo>
                    <a:pt x="370" y="3679"/>
                    <a:pt x="322" y="3632"/>
                    <a:pt x="322" y="3572"/>
                  </a:cubicBezTo>
                  <a:lnTo>
                    <a:pt x="322" y="3108"/>
                  </a:lnTo>
                  <a:cubicBezTo>
                    <a:pt x="322" y="2763"/>
                    <a:pt x="441" y="2429"/>
                    <a:pt x="656" y="2155"/>
                  </a:cubicBezTo>
                  <a:cubicBezTo>
                    <a:pt x="715" y="2084"/>
                    <a:pt x="703" y="1977"/>
                    <a:pt x="620" y="1929"/>
                  </a:cubicBezTo>
                  <a:cubicBezTo>
                    <a:pt x="592" y="1906"/>
                    <a:pt x="559" y="1895"/>
                    <a:pt x="526" y="1895"/>
                  </a:cubicBezTo>
                  <a:cubicBezTo>
                    <a:pt x="476" y="1895"/>
                    <a:pt x="427" y="1921"/>
                    <a:pt x="406" y="1965"/>
                  </a:cubicBezTo>
                  <a:cubicBezTo>
                    <a:pt x="132" y="2286"/>
                    <a:pt x="1" y="2691"/>
                    <a:pt x="1" y="3120"/>
                  </a:cubicBezTo>
                  <a:lnTo>
                    <a:pt x="1" y="10013"/>
                  </a:lnTo>
                  <a:cubicBezTo>
                    <a:pt x="1" y="10549"/>
                    <a:pt x="429" y="10978"/>
                    <a:pt x="953" y="10978"/>
                  </a:cubicBezTo>
                  <a:lnTo>
                    <a:pt x="1418" y="10978"/>
                  </a:lnTo>
                  <a:cubicBezTo>
                    <a:pt x="1501" y="10978"/>
                    <a:pt x="1572" y="10906"/>
                    <a:pt x="1572" y="10823"/>
                  </a:cubicBezTo>
                  <a:cubicBezTo>
                    <a:pt x="1572" y="10728"/>
                    <a:pt x="1501" y="10656"/>
                    <a:pt x="1418" y="10656"/>
                  </a:cubicBezTo>
                  <a:lnTo>
                    <a:pt x="953" y="10656"/>
                  </a:lnTo>
                  <a:cubicBezTo>
                    <a:pt x="608" y="10656"/>
                    <a:pt x="322" y="10371"/>
                    <a:pt x="322" y="10013"/>
                  </a:cubicBezTo>
                  <a:lnTo>
                    <a:pt x="322" y="4001"/>
                  </a:lnTo>
                  <a:cubicBezTo>
                    <a:pt x="358" y="4013"/>
                    <a:pt x="382" y="4013"/>
                    <a:pt x="429" y="4013"/>
                  </a:cubicBezTo>
                  <a:lnTo>
                    <a:pt x="3894" y="4013"/>
                  </a:lnTo>
                  <a:cubicBezTo>
                    <a:pt x="3930" y="4013"/>
                    <a:pt x="3954" y="4013"/>
                    <a:pt x="4001" y="4001"/>
                  </a:cubicBezTo>
                  <a:lnTo>
                    <a:pt x="4001" y="5299"/>
                  </a:lnTo>
                  <a:lnTo>
                    <a:pt x="2989" y="5299"/>
                  </a:lnTo>
                  <a:cubicBezTo>
                    <a:pt x="2584" y="5299"/>
                    <a:pt x="2275" y="5620"/>
                    <a:pt x="2275" y="6013"/>
                  </a:cubicBezTo>
                  <a:lnTo>
                    <a:pt x="2275" y="8501"/>
                  </a:lnTo>
                  <a:cubicBezTo>
                    <a:pt x="2275" y="8894"/>
                    <a:pt x="2608" y="9216"/>
                    <a:pt x="2989" y="9216"/>
                  </a:cubicBezTo>
                  <a:lnTo>
                    <a:pt x="4001" y="9216"/>
                  </a:lnTo>
                  <a:lnTo>
                    <a:pt x="4001" y="10013"/>
                  </a:lnTo>
                  <a:cubicBezTo>
                    <a:pt x="4001" y="10371"/>
                    <a:pt x="3716" y="10656"/>
                    <a:pt x="3382" y="10656"/>
                  </a:cubicBezTo>
                  <a:lnTo>
                    <a:pt x="2084" y="10656"/>
                  </a:lnTo>
                  <a:cubicBezTo>
                    <a:pt x="1989" y="10656"/>
                    <a:pt x="1918" y="10728"/>
                    <a:pt x="1918" y="10823"/>
                  </a:cubicBezTo>
                  <a:cubicBezTo>
                    <a:pt x="1918" y="10906"/>
                    <a:pt x="1989" y="10978"/>
                    <a:pt x="2084" y="10978"/>
                  </a:cubicBezTo>
                  <a:lnTo>
                    <a:pt x="3382" y="10978"/>
                  </a:lnTo>
                  <a:cubicBezTo>
                    <a:pt x="3894" y="10978"/>
                    <a:pt x="4335" y="10549"/>
                    <a:pt x="4335" y="10013"/>
                  </a:cubicBezTo>
                  <a:lnTo>
                    <a:pt x="4335" y="9049"/>
                  </a:lnTo>
                  <a:lnTo>
                    <a:pt x="4335" y="5441"/>
                  </a:lnTo>
                  <a:lnTo>
                    <a:pt x="4335" y="3108"/>
                  </a:lnTo>
                  <a:cubicBezTo>
                    <a:pt x="4335" y="2262"/>
                    <a:pt x="3739" y="1536"/>
                    <a:pt x="2918" y="1322"/>
                  </a:cubicBezTo>
                  <a:lnTo>
                    <a:pt x="2918" y="738"/>
                  </a:lnTo>
                  <a:cubicBezTo>
                    <a:pt x="2918" y="346"/>
                    <a:pt x="2584"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0" name="Google Shape;12660;p62"/>
            <p:cNvSpPr/>
            <p:nvPr/>
          </p:nvSpPr>
          <p:spPr>
            <a:xfrm>
              <a:off x="2474701" y="3860256"/>
              <a:ext cx="22741" cy="17779"/>
            </a:xfrm>
            <a:custGeom>
              <a:avLst/>
              <a:gdLst/>
              <a:ahLst/>
              <a:cxnLst/>
              <a:rect l="l" t="t" r="r" b="b"/>
              <a:pathLst>
                <a:path w="715" h="559" extrusionOk="0">
                  <a:moveTo>
                    <a:pt x="188" y="1"/>
                  </a:moveTo>
                  <a:cubicBezTo>
                    <a:pt x="130" y="1"/>
                    <a:pt x="72" y="33"/>
                    <a:pt x="48" y="82"/>
                  </a:cubicBezTo>
                  <a:cubicBezTo>
                    <a:pt x="0" y="154"/>
                    <a:pt x="24" y="261"/>
                    <a:pt x="107" y="308"/>
                  </a:cubicBezTo>
                  <a:cubicBezTo>
                    <a:pt x="238" y="380"/>
                    <a:pt x="345" y="439"/>
                    <a:pt x="417" y="511"/>
                  </a:cubicBezTo>
                  <a:cubicBezTo>
                    <a:pt x="441" y="547"/>
                    <a:pt x="488" y="558"/>
                    <a:pt x="524" y="558"/>
                  </a:cubicBezTo>
                  <a:cubicBezTo>
                    <a:pt x="560" y="558"/>
                    <a:pt x="607" y="535"/>
                    <a:pt x="643" y="499"/>
                  </a:cubicBezTo>
                  <a:cubicBezTo>
                    <a:pt x="714" y="427"/>
                    <a:pt x="703" y="332"/>
                    <a:pt x="643" y="273"/>
                  </a:cubicBezTo>
                  <a:cubicBezTo>
                    <a:pt x="536" y="189"/>
                    <a:pt x="417" y="106"/>
                    <a:pt x="262" y="23"/>
                  </a:cubicBezTo>
                  <a:cubicBezTo>
                    <a:pt x="240" y="8"/>
                    <a:pt x="214"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1" name="Google Shape;12661;p62"/>
            <p:cNvSpPr/>
            <p:nvPr/>
          </p:nvSpPr>
          <p:spPr>
            <a:xfrm>
              <a:off x="2409565" y="3840092"/>
              <a:ext cx="25031" cy="12945"/>
            </a:xfrm>
            <a:custGeom>
              <a:avLst/>
              <a:gdLst/>
              <a:ahLst/>
              <a:cxnLst/>
              <a:rect l="l" t="t" r="r" b="b"/>
              <a:pathLst>
                <a:path w="787" h="407" extrusionOk="0">
                  <a:moveTo>
                    <a:pt x="190" y="0"/>
                  </a:moveTo>
                  <a:cubicBezTo>
                    <a:pt x="106" y="0"/>
                    <a:pt x="35" y="57"/>
                    <a:pt x="24" y="133"/>
                  </a:cubicBezTo>
                  <a:cubicBezTo>
                    <a:pt x="0" y="228"/>
                    <a:pt x="72" y="311"/>
                    <a:pt x="155" y="323"/>
                  </a:cubicBezTo>
                  <a:cubicBezTo>
                    <a:pt x="155" y="323"/>
                    <a:pt x="322" y="359"/>
                    <a:pt x="560" y="407"/>
                  </a:cubicBezTo>
                  <a:lnTo>
                    <a:pt x="584" y="407"/>
                  </a:lnTo>
                  <a:cubicBezTo>
                    <a:pt x="655" y="407"/>
                    <a:pt x="738" y="359"/>
                    <a:pt x="750" y="264"/>
                  </a:cubicBezTo>
                  <a:cubicBezTo>
                    <a:pt x="786" y="192"/>
                    <a:pt x="727" y="109"/>
                    <a:pt x="631" y="85"/>
                  </a:cubicBezTo>
                  <a:cubicBezTo>
                    <a:pt x="381" y="26"/>
                    <a:pt x="215" y="2"/>
                    <a:pt x="215" y="2"/>
                  </a:cubicBezTo>
                  <a:cubicBezTo>
                    <a:pt x="206" y="1"/>
                    <a:pt x="198"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2" name="Google Shape;12662;p62"/>
            <p:cNvSpPr/>
            <p:nvPr/>
          </p:nvSpPr>
          <p:spPr>
            <a:xfrm>
              <a:off x="2442865" y="3847916"/>
              <a:ext cx="24267" cy="14598"/>
            </a:xfrm>
            <a:custGeom>
              <a:avLst/>
              <a:gdLst/>
              <a:ahLst/>
              <a:cxnLst/>
              <a:rect l="l" t="t" r="r" b="b"/>
              <a:pathLst>
                <a:path w="763" h="459" extrusionOk="0">
                  <a:moveTo>
                    <a:pt x="200" y="1"/>
                  </a:moveTo>
                  <a:cubicBezTo>
                    <a:pt x="128" y="1"/>
                    <a:pt x="57" y="52"/>
                    <a:pt x="37" y="113"/>
                  </a:cubicBezTo>
                  <a:cubicBezTo>
                    <a:pt x="1" y="196"/>
                    <a:pt x="61" y="292"/>
                    <a:pt x="132" y="315"/>
                  </a:cubicBezTo>
                  <a:cubicBezTo>
                    <a:pt x="275" y="363"/>
                    <a:pt x="406" y="411"/>
                    <a:pt x="525" y="434"/>
                  </a:cubicBezTo>
                  <a:cubicBezTo>
                    <a:pt x="537" y="434"/>
                    <a:pt x="549" y="458"/>
                    <a:pt x="584" y="458"/>
                  </a:cubicBezTo>
                  <a:cubicBezTo>
                    <a:pt x="656" y="458"/>
                    <a:pt x="715" y="411"/>
                    <a:pt x="727" y="351"/>
                  </a:cubicBezTo>
                  <a:cubicBezTo>
                    <a:pt x="763" y="256"/>
                    <a:pt x="715" y="173"/>
                    <a:pt x="644" y="137"/>
                  </a:cubicBezTo>
                  <a:cubicBezTo>
                    <a:pt x="525" y="101"/>
                    <a:pt x="370" y="53"/>
                    <a:pt x="239" y="6"/>
                  </a:cubicBezTo>
                  <a:cubicBezTo>
                    <a:pt x="226" y="2"/>
                    <a:pt x="213"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3" name="Google Shape;12663;p62"/>
            <p:cNvSpPr/>
            <p:nvPr/>
          </p:nvSpPr>
          <p:spPr>
            <a:xfrm>
              <a:off x="2409183" y="3824952"/>
              <a:ext cx="24267" cy="11800"/>
            </a:xfrm>
            <a:custGeom>
              <a:avLst/>
              <a:gdLst/>
              <a:ahLst/>
              <a:cxnLst/>
              <a:rect l="l" t="t" r="r" b="b"/>
              <a:pathLst>
                <a:path w="763" h="371" extrusionOk="0">
                  <a:moveTo>
                    <a:pt x="593" y="0"/>
                  </a:moveTo>
                  <a:cubicBezTo>
                    <a:pt x="586" y="0"/>
                    <a:pt x="579" y="1"/>
                    <a:pt x="572" y="2"/>
                  </a:cubicBezTo>
                  <a:lnTo>
                    <a:pt x="155" y="61"/>
                  </a:lnTo>
                  <a:cubicBezTo>
                    <a:pt x="60" y="73"/>
                    <a:pt x="0" y="144"/>
                    <a:pt x="24" y="240"/>
                  </a:cubicBezTo>
                  <a:cubicBezTo>
                    <a:pt x="36" y="311"/>
                    <a:pt x="96" y="371"/>
                    <a:pt x="179" y="371"/>
                  </a:cubicBezTo>
                  <a:lnTo>
                    <a:pt x="215" y="371"/>
                  </a:lnTo>
                  <a:lnTo>
                    <a:pt x="631" y="311"/>
                  </a:lnTo>
                  <a:cubicBezTo>
                    <a:pt x="703" y="311"/>
                    <a:pt x="762" y="228"/>
                    <a:pt x="750" y="133"/>
                  </a:cubicBezTo>
                  <a:cubicBezTo>
                    <a:pt x="740" y="56"/>
                    <a:pt x="669"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4" name="Google Shape;12664;p62"/>
            <p:cNvSpPr/>
            <p:nvPr/>
          </p:nvSpPr>
          <p:spPr>
            <a:xfrm>
              <a:off x="2442865" y="3820023"/>
              <a:ext cx="24267" cy="12181"/>
            </a:xfrm>
            <a:custGeom>
              <a:avLst/>
              <a:gdLst/>
              <a:ahLst/>
              <a:cxnLst/>
              <a:rect l="l" t="t" r="r" b="b"/>
              <a:pathLst>
                <a:path w="763" h="383" extrusionOk="0">
                  <a:moveTo>
                    <a:pt x="593" y="0"/>
                  </a:moveTo>
                  <a:cubicBezTo>
                    <a:pt x="587" y="0"/>
                    <a:pt x="580" y="1"/>
                    <a:pt x="572" y="2"/>
                  </a:cubicBezTo>
                  <a:lnTo>
                    <a:pt x="156" y="61"/>
                  </a:lnTo>
                  <a:cubicBezTo>
                    <a:pt x="61" y="85"/>
                    <a:pt x="1" y="157"/>
                    <a:pt x="13" y="240"/>
                  </a:cubicBezTo>
                  <a:cubicBezTo>
                    <a:pt x="37" y="323"/>
                    <a:pt x="96" y="383"/>
                    <a:pt x="180" y="383"/>
                  </a:cubicBezTo>
                  <a:lnTo>
                    <a:pt x="215" y="383"/>
                  </a:lnTo>
                  <a:lnTo>
                    <a:pt x="632" y="323"/>
                  </a:lnTo>
                  <a:cubicBezTo>
                    <a:pt x="703" y="299"/>
                    <a:pt x="763" y="228"/>
                    <a:pt x="751" y="145"/>
                  </a:cubicBezTo>
                  <a:cubicBezTo>
                    <a:pt x="729" y="58"/>
                    <a:pt x="668" y="0"/>
                    <a:pt x="59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5" name="Google Shape;12665;p62"/>
            <p:cNvSpPr/>
            <p:nvPr/>
          </p:nvSpPr>
          <p:spPr>
            <a:xfrm>
              <a:off x="2476196" y="3811054"/>
              <a:ext cx="23886" cy="15871"/>
            </a:xfrm>
            <a:custGeom>
              <a:avLst/>
              <a:gdLst/>
              <a:ahLst/>
              <a:cxnLst/>
              <a:rect l="l" t="t" r="r" b="b"/>
              <a:pathLst>
                <a:path w="751" h="499" extrusionOk="0">
                  <a:moveTo>
                    <a:pt x="564" y="0"/>
                  </a:moveTo>
                  <a:cubicBezTo>
                    <a:pt x="537" y="0"/>
                    <a:pt x="511" y="7"/>
                    <a:pt x="489" y="22"/>
                  </a:cubicBezTo>
                  <a:cubicBezTo>
                    <a:pt x="382" y="81"/>
                    <a:pt x="263" y="129"/>
                    <a:pt x="132" y="165"/>
                  </a:cubicBezTo>
                  <a:cubicBezTo>
                    <a:pt x="36" y="200"/>
                    <a:pt x="1" y="284"/>
                    <a:pt x="25" y="379"/>
                  </a:cubicBezTo>
                  <a:cubicBezTo>
                    <a:pt x="36" y="450"/>
                    <a:pt x="120" y="498"/>
                    <a:pt x="179" y="498"/>
                  </a:cubicBezTo>
                  <a:lnTo>
                    <a:pt x="215" y="498"/>
                  </a:lnTo>
                  <a:cubicBezTo>
                    <a:pt x="370" y="450"/>
                    <a:pt x="513" y="391"/>
                    <a:pt x="632" y="331"/>
                  </a:cubicBezTo>
                  <a:cubicBezTo>
                    <a:pt x="727" y="272"/>
                    <a:pt x="751" y="165"/>
                    <a:pt x="715" y="81"/>
                  </a:cubicBezTo>
                  <a:cubicBezTo>
                    <a:pt x="682" y="32"/>
                    <a:pt x="622" y="0"/>
                    <a:pt x="56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66" name="Google Shape;12666;p62"/>
          <p:cNvGrpSpPr/>
          <p:nvPr/>
        </p:nvGrpSpPr>
        <p:grpSpPr>
          <a:xfrm>
            <a:off x="1323901" y="3807173"/>
            <a:ext cx="356343" cy="356757"/>
            <a:chOff x="1323901" y="3807173"/>
            <a:chExt cx="356343" cy="356757"/>
          </a:xfrm>
        </p:grpSpPr>
        <p:sp>
          <p:nvSpPr>
            <p:cNvPr id="12667" name="Google Shape;12667;p62"/>
            <p:cNvSpPr/>
            <p:nvPr/>
          </p:nvSpPr>
          <p:spPr>
            <a:xfrm>
              <a:off x="1478760" y="4058242"/>
              <a:ext cx="413" cy="32"/>
            </a:xfrm>
            <a:custGeom>
              <a:avLst/>
              <a:gdLst/>
              <a:ahLst/>
              <a:cxnLst/>
              <a:rect l="l" t="t" r="r" b="b"/>
              <a:pathLst>
                <a:path w="13" h="1" extrusionOk="0">
                  <a:moveTo>
                    <a:pt x="13" y="1"/>
                  </a:moveTo>
                  <a:cubicBezTo>
                    <a:pt x="1" y="1"/>
                    <a:pt x="1" y="1"/>
                    <a:pt x="13" y="1"/>
                  </a:cubicBezTo>
                  <a:cubicBezTo>
                    <a:pt x="1" y="1"/>
                    <a:pt x="1" y="1"/>
                    <a:pt x="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8" name="Google Shape;12668;p62"/>
            <p:cNvSpPr/>
            <p:nvPr/>
          </p:nvSpPr>
          <p:spPr>
            <a:xfrm>
              <a:off x="1323901" y="3807173"/>
              <a:ext cx="356343" cy="356757"/>
            </a:xfrm>
            <a:custGeom>
              <a:avLst/>
              <a:gdLst/>
              <a:ahLst/>
              <a:cxnLst/>
              <a:rect l="l" t="t" r="r" b="b"/>
              <a:pathLst>
                <a:path w="11204" h="11217" extrusionOk="0">
                  <a:moveTo>
                    <a:pt x="786" y="1"/>
                  </a:moveTo>
                  <a:cubicBezTo>
                    <a:pt x="357" y="1"/>
                    <a:pt x="0" y="358"/>
                    <a:pt x="0" y="799"/>
                  </a:cubicBezTo>
                  <a:lnTo>
                    <a:pt x="0" y="9050"/>
                  </a:lnTo>
                  <a:lnTo>
                    <a:pt x="0" y="9550"/>
                  </a:lnTo>
                  <a:cubicBezTo>
                    <a:pt x="0" y="10467"/>
                    <a:pt x="738" y="11217"/>
                    <a:pt x="1667" y="11217"/>
                  </a:cubicBezTo>
                  <a:lnTo>
                    <a:pt x="10418" y="11217"/>
                  </a:lnTo>
                  <a:cubicBezTo>
                    <a:pt x="10847" y="11217"/>
                    <a:pt x="11204" y="10859"/>
                    <a:pt x="11204" y="10419"/>
                  </a:cubicBezTo>
                  <a:lnTo>
                    <a:pt x="11204" y="10014"/>
                  </a:lnTo>
                  <a:cubicBezTo>
                    <a:pt x="11204" y="9919"/>
                    <a:pt x="11132" y="9847"/>
                    <a:pt x="11037" y="9847"/>
                  </a:cubicBezTo>
                  <a:cubicBezTo>
                    <a:pt x="10954" y="9847"/>
                    <a:pt x="10882" y="9919"/>
                    <a:pt x="10882" y="10014"/>
                  </a:cubicBezTo>
                  <a:lnTo>
                    <a:pt x="10882" y="10419"/>
                  </a:lnTo>
                  <a:cubicBezTo>
                    <a:pt x="10882" y="10681"/>
                    <a:pt x="10668" y="10883"/>
                    <a:pt x="10418" y="10883"/>
                  </a:cubicBezTo>
                  <a:lnTo>
                    <a:pt x="3155" y="10883"/>
                  </a:lnTo>
                  <a:cubicBezTo>
                    <a:pt x="3274" y="10800"/>
                    <a:pt x="3381" y="10693"/>
                    <a:pt x="3465" y="10574"/>
                  </a:cubicBezTo>
                  <a:lnTo>
                    <a:pt x="3762" y="10407"/>
                  </a:lnTo>
                  <a:cubicBezTo>
                    <a:pt x="3834" y="10478"/>
                    <a:pt x="3941" y="10514"/>
                    <a:pt x="4048" y="10514"/>
                  </a:cubicBezTo>
                  <a:lnTo>
                    <a:pt x="4584" y="10514"/>
                  </a:lnTo>
                  <a:cubicBezTo>
                    <a:pt x="4667" y="10514"/>
                    <a:pt x="4751" y="10443"/>
                    <a:pt x="4751" y="10347"/>
                  </a:cubicBezTo>
                  <a:cubicBezTo>
                    <a:pt x="4751" y="10264"/>
                    <a:pt x="4667" y="10181"/>
                    <a:pt x="4584" y="10181"/>
                  </a:cubicBezTo>
                  <a:lnTo>
                    <a:pt x="4155" y="10181"/>
                  </a:lnTo>
                  <a:lnTo>
                    <a:pt x="4774" y="9824"/>
                  </a:lnTo>
                  <a:lnTo>
                    <a:pt x="4774" y="9943"/>
                  </a:lnTo>
                  <a:cubicBezTo>
                    <a:pt x="4774" y="10038"/>
                    <a:pt x="4846" y="10109"/>
                    <a:pt x="4941" y="10109"/>
                  </a:cubicBezTo>
                  <a:cubicBezTo>
                    <a:pt x="5024" y="10109"/>
                    <a:pt x="5108" y="10038"/>
                    <a:pt x="5108" y="9943"/>
                  </a:cubicBezTo>
                  <a:lnTo>
                    <a:pt x="5108" y="9597"/>
                  </a:lnTo>
                  <a:lnTo>
                    <a:pt x="5536" y="9335"/>
                  </a:lnTo>
                  <a:lnTo>
                    <a:pt x="5536" y="9383"/>
                  </a:lnTo>
                  <a:cubicBezTo>
                    <a:pt x="5536" y="9478"/>
                    <a:pt x="5608" y="9550"/>
                    <a:pt x="5703" y="9550"/>
                  </a:cubicBezTo>
                  <a:cubicBezTo>
                    <a:pt x="5786" y="9550"/>
                    <a:pt x="5858" y="9478"/>
                    <a:pt x="5858" y="9383"/>
                  </a:cubicBezTo>
                  <a:lnTo>
                    <a:pt x="5858" y="9157"/>
                  </a:lnTo>
                  <a:lnTo>
                    <a:pt x="6251" y="8931"/>
                  </a:lnTo>
                  <a:lnTo>
                    <a:pt x="6251" y="10074"/>
                  </a:lnTo>
                  <a:cubicBezTo>
                    <a:pt x="6251" y="10312"/>
                    <a:pt x="6441" y="10478"/>
                    <a:pt x="6668" y="10478"/>
                  </a:cubicBezTo>
                  <a:lnTo>
                    <a:pt x="7203" y="10478"/>
                  </a:lnTo>
                  <a:cubicBezTo>
                    <a:pt x="7299" y="10478"/>
                    <a:pt x="7370" y="10407"/>
                    <a:pt x="7370" y="10324"/>
                  </a:cubicBezTo>
                  <a:cubicBezTo>
                    <a:pt x="7370" y="10228"/>
                    <a:pt x="7299" y="10157"/>
                    <a:pt x="7203" y="10157"/>
                  </a:cubicBezTo>
                  <a:lnTo>
                    <a:pt x="6668" y="10157"/>
                  </a:lnTo>
                  <a:cubicBezTo>
                    <a:pt x="6620" y="10157"/>
                    <a:pt x="6572" y="10109"/>
                    <a:pt x="6572" y="10062"/>
                  </a:cubicBezTo>
                  <a:lnTo>
                    <a:pt x="6572" y="8740"/>
                  </a:lnTo>
                  <a:lnTo>
                    <a:pt x="7156" y="8395"/>
                  </a:lnTo>
                  <a:lnTo>
                    <a:pt x="7310" y="8395"/>
                  </a:lnTo>
                  <a:cubicBezTo>
                    <a:pt x="7346" y="8395"/>
                    <a:pt x="7394" y="8442"/>
                    <a:pt x="7394" y="8490"/>
                  </a:cubicBezTo>
                  <a:lnTo>
                    <a:pt x="7394" y="9907"/>
                  </a:lnTo>
                  <a:cubicBezTo>
                    <a:pt x="7394" y="9990"/>
                    <a:pt x="7465" y="10074"/>
                    <a:pt x="7560" y="10074"/>
                  </a:cubicBezTo>
                  <a:cubicBezTo>
                    <a:pt x="7656" y="10074"/>
                    <a:pt x="7727" y="9990"/>
                    <a:pt x="7727" y="9907"/>
                  </a:cubicBezTo>
                  <a:lnTo>
                    <a:pt x="7727" y="8490"/>
                  </a:lnTo>
                  <a:cubicBezTo>
                    <a:pt x="7727" y="8359"/>
                    <a:pt x="7668" y="8240"/>
                    <a:pt x="7572" y="8157"/>
                  </a:cubicBezTo>
                  <a:lnTo>
                    <a:pt x="8382" y="7704"/>
                  </a:lnTo>
                  <a:lnTo>
                    <a:pt x="10406" y="7704"/>
                  </a:lnTo>
                  <a:cubicBezTo>
                    <a:pt x="10656" y="7704"/>
                    <a:pt x="10870" y="7907"/>
                    <a:pt x="10870" y="8157"/>
                  </a:cubicBezTo>
                  <a:lnTo>
                    <a:pt x="10870" y="9324"/>
                  </a:lnTo>
                  <a:cubicBezTo>
                    <a:pt x="10787" y="9419"/>
                    <a:pt x="10870" y="9490"/>
                    <a:pt x="10966" y="9490"/>
                  </a:cubicBezTo>
                  <a:cubicBezTo>
                    <a:pt x="11061" y="9490"/>
                    <a:pt x="11132" y="9419"/>
                    <a:pt x="11132" y="9324"/>
                  </a:cubicBezTo>
                  <a:lnTo>
                    <a:pt x="11132" y="8169"/>
                  </a:lnTo>
                  <a:cubicBezTo>
                    <a:pt x="11132" y="7728"/>
                    <a:pt x="10775" y="7371"/>
                    <a:pt x="10347" y="7371"/>
                  </a:cubicBezTo>
                  <a:lnTo>
                    <a:pt x="8906" y="7371"/>
                  </a:lnTo>
                  <a:lnTo>
                    <a:pt x="10251" y="6597"/>
                  </a:lnTo>
                  <a:cubicBezTo>
                    <a:pt x="10632" y="6383"/>
                    <a:pt x="10763" y="5906"/>
                    <a:pt x="10537" y="5525"/>
                  </a:cubicBezTo>
                  <a:lnTo>
                    <a:pt x="10335" y="5168"/>
                  </a:lnTo>
                  <a:cubicBezTo>
                    <a:pt x="10302" y="5119"/>
                    <a:pt x="10241" y="5087"/>
                    <a:pt x="10183" y="5087"/>
                  </a:cubicBezTo>
                  <a:cubicBezTo>
                    <a:pt x="10157" y="5087"/>
                    <a:pt x="10131" y="5094"/>
                    <a:pt x="10108" y="5109"/>
                  </a:cubicBezTo>
                  <a:cubicBezTo>
                    <a:pt x="10037" y="5156"/>
                    <a:pt x="10001" y="5264"/>
                    <a:pt x="10049" y="5335"/>
                  </a:cubicBezTo>
                  <a:lnTo>
                    <a:pt x="10251" y="5692"/>
                  </a:lnTo>
                  <a:cubicBezTo>
                    <a:pt x="10370" y="5918"/>
                    <a:pt x="10299" y="6180"/>
                    <a:pt x="10097" y="6323"/>
                  </a:cubicBezTo>
                  <a:cubicBezTo>
                    <a:pt x="6620" y="8312"/>
                    <a:pt x="7501" y="7811"/>
                    <a:pt x="7025" y="8085"/>
                  </a:cubicBezTo>
                  <a:cubicBezTo>
                    <a:pt x="5120" y="9193"/>
                    <a:pt x="7060" y="8073"/>
                    <a:pt x="3691" y="10014"/>
                  </a:cubicBezTo>
                  <a:cubicBezTo>
                    <a:pt x="3691" y="9990"/>
                    <a:pt x="3703" y="9978"/>
                    <a:pt x="3703" y="9966"/>
                  </a:cubicBezTo>
                  <a:lnTo>
                    <a:pt x="4120" y="9240"/>
                  </a:lnTo>
                  <a:cubicBezTo>
                    <a:pt x="4138" y="9242"/>
                    <a:pt x="4155" y="9243"/>
                    <a:pt x="4172" y="9243"/>
                  </a:cubicBezTo>
                  <a:cubicBezTo>
                    <a:pt x="4364" y="9243"/>
                    <a:pt x="4474" y="9123"/>
                    <a:pt x="4715" y="9002"/>
                  </a:cubicBezTo>
                  <a:lnTo>
                    <a:pt x="4870" y="8907"/>
                  </a:lnTo>
                  <a:cubicBezTo>
                    <a:pt x="4941" y="8859"/>
                    <a:pt x="4977" y="8764"/>
                    <a:pt x="4929" y="8681"/>
                  </a:cubicBezTo>
                  <a:cubicBezTo>
                    <a:pt x="4893" y="8627"/>
                    <a:pt x="4838" y="8600"/>
                    <a:pt x="4777" y="8600"/>
                  </a:cubicBezTo>
                  <a:cubicBezTo>
                    <a:pt x="4757" y="8600"/>
                    <a:pt x="4736" y="8603"/>
                    <a:pt x="4715" y="8609"/>
                  </a:cubicBezTo>
                  <a:cubicBezTo>
                    <a:pt x="4703" y="8609"/>
                    <a:pt x="4715" y="8609"/>
                    <a:pt x="4382" y="8800"/>
                  </a:cubicBezTo>
                  <a:lnTo>
                    <a:pt x="4703" y="8240"/>
                  </a:lnTo>
                  <a:lnTo>
                    <a:pt x="4751" y="8300"/>
                  </a:lnTo>
                  <a:cubicBezTo>
                    <a:pt x="4782" y="8356"/>
                    <a:pt x="4837" y="8386"/>
                    <a:pt x="4893" y="8386"/>
                  </a:cubicBezTo>
                  <a:cubicBezTo>
                    <a:pt x="4944" y="8386"/>
                    <a:pt x="4997" y="8362"/>
                    <a:pt x="5036" y="8312"/>
                  </a:cubicBezTo>
                  <a:cubicBezTo>
                    <a:pt x="5072" y="8264"/>
                    <a:pt x="5072" y="8192"/>
                    <a:pt x="5048" y="8133"/>
                  </a:cubicBezTo>
                  <a:lnTo>
                    <a:pt x="4917" y="7895"/>
                  </a:lnTo>
                  <a:cubicBezTo>
                    <a:pt x="4929" y="7859"/>
                    <a:pt x="4977" y="7776"/>
                    <a:pt x="5155" y="7478"/>
                  </a:cubicBezTo>
                  <a:cubicBezTo>
                    <a:pt x="5180" y="7527"/>
                    <a:pt x="5238" y="7559"/>
                    <a:pt x="5295" y="7559"/>
                  </a:cubicBezTo>
                  <a:cubicBezTo>
                    <a:pt x="5321" y="7559"/>
                    <a:pt x="5347" y="7553"/>
                    <a:pt x="5370" y="7538"/>
                  </a:cubicBezTo>
                  <a:cubicBezTo>
                    <a:pt x="5453" y="7490"/>
                    <a:pt x="5477" y="7395"/>
                    <a:pt x="5429" y="7311"/>
                  </a:cubicBezTo>
                  <a:lnTo>
                    <a:pt x="5346" y="7145"/>
                  </a:lnTo>
                  <a:lnTo>
                    <a:pt x="5572" y="6764"/>
                  </a:lnTo>
                  <a:cubicBezTo>
                    <a:pt x="6094" y="7677"/>
                    <a:pt x="6119" y="7717"/>
                    <a:pt x="6120" y="7717"/>
                  </a:cubicBezTo>
                  <a:cubicBezTo>
                    <a:pt x="6120" y="7717"/>
                    <a:pt x="6120" y="7716"/>
                    <a:pt x="6120" y="7716"/>
                  </a:cubicBezTo>
                  <a:lnTo>
                    <a:pt x="6120" y="7716"/>
                  </a:lnTo>
                  <a:cubicBezTo>
                    <a:pt x="6199" y="7843"/>
                    <a:pt x="6337" y="7917"/>
                    <a:pt x="6476" y="7917"/>
                  </a:cubicBezTo>
                  <a:cubicBezTo>
                    <a:pt x="6546" y="7917"/>
                    <a:pt x="6616" y="7899"/>
                    <a:pt x="6679" y="7859"/>
                  </a:cubicBezTo>
                  <a:cubicBezTo>
                    <a:pt x="6715" y="7847"/>
                    <a:pt x="6798" y="7788"/>
                    <a:pt x="7144" y="7597"/>
                  </a:cubicBezTo>
                  <a:cubicBezTo>
                    <a:pt x="7215" y="7550"/>
                    <a:pt x="7251" y="7466"/>
                    <a:pt x="7215" y="7395"/>
                  </a:cubicBezTo>
                  <a:cubicBezTo>
                    <a:pt x="7198" y="7327"/>
                    <a:pt x="7134" y="7296"/>
                    <a:pt x="7063" y="7296"/>
                  </a:cubicBezTo>
                  <a:cubicBezTo>
                    <a:pt x="7035" y="7296"/>
                    <a:pt x="7005" y="7301"/>
                    <a:pt x="6977" y="7311"/>
                  </a:cubicBezTo>
                  <a:lnTo>
                    <a:pt x="6846" y="7395"/>
                  </a:lnTo>
                  <a:cubicBezTo>
                    <a:pt x="6489" y="7585"/>
                    <a:pt x="6501" y="7597"/>
                    <a:pt x="6465" y="7597"/>
                  </a:cubicBezTo>
                  <a:cubicBezTo>
                    <a:pt x="6370" y="7597"/>
                    <a:pt x="6429" y="7597"/>
                    <a:pt x="5751" y="6442"/>
                  </a:cubicBezTo>
                  <a:lnTo>
                    <a:pt x="6120" y="5787"/>
                  </a:lnTo>
                  <a:cubicBezTo>
                    <a:pt x="6179" y="5752"/>
                    <a:pt x="6191" y="5728"/>
                    <a:pt x="6239" y="5728"/>
                  </a:cubicBezTo>
                  <a:cubicBezTo>
                    <a:pt x="6263" y="5728"/>
                    <a:pt x="6298" y="5740"/>
                    <a:pt x="6310" y="5764"/>
                  </a:cubicBezTo>
                  <a:lnTo>
                    <a:pt x="7025" y="6990"/>
                  </a:lnTo>
                  <a:cubicBezTo>
                    <a:pt x="7057" y="7039"/>
                    <a:pt x="7118" y="7071"/>
                    <a:pt x="7176" y="7071"/>
                  </a:cubicBezTo>
                  <a:cubicBezTo>
                    <a:pt x="7203" y="7071"/>
                    <a:pt x="7228" y="7064"/>
                    <a:pt x="7251" y="7049"/>
                  </a:cubicBezTo>
                  <a:cubicBezTo>
                    <a:pt x="7322" y="7002"/>
                    <a:pt x="7358" y="6895"/>
                    <a:pt x="7310" y="6823"/>
                  </a:cubicBezTo>
                  <a:lnTo>
                    <a:pt x="6596" y="5609"/>
                  </a:lnTo>
                  <a:cubicBezTo>
                    <a:pt x="6537" y="5502"/>
                    <a:pt x="6441" y="5442"/>
                    <a:pt x="6322" y="5406"/>
                  </a:cubicBezTo>
                  <a:lnTo>
                    <a:pt x="6822" y="4573"/>
                  </a:lnTo>
                  <a:cubicBezTo>
                    <a:pt x="8573" y="3573"/>
                    <a:pt x="8525" y="3537"/>
                    <a:pt x="8739" y="3537"/>
                  </a:cubicBezTo>
                  <a:cubicBezTo>
                    <a:pt x="8906" y="3537"/>
                    <a:pt x="9049" y="3620"/>
                    <a:pt x="9144" y="3763"/>
                  </a:cubicBezTo>
                  <a:lnTo>
                    <a:pt x="9716" y="4763"/>
                  </a:lnTo>
                  <a:cubicBezTo>
                    <a:pt x="9747" y="4818"/>
                    <a:pt x="9804" y="4847"/>
                    <a:pt x="9859" y="4847"/>
                  </a:cubicBezTo>
                  <a:cubicBezTo>
                    <a:pt x="9888" y="4847"/>
                    <a:pt x="9917" y="4839"/>
                    <a:pt x="9942" y="4823"/>
                  </a:cubicBezTo>
                  <a:cubicBezTo>
                    <a:pt x="10013" y="4787"/>
                    <a:pt x="10049" y="4680"/>
                    <a:pt x="10001" y="4609"/>
                  </a:cubicBezTo>
                  <a:lnTo>
                    <a:pt x="9418" y="3597"/>
                  </a:lnTo>
                  <a:cubicBezTo>
                    <a:pt x="9282" y="3348"/>
                    <a:pt x="9011" y="3202"/>
                    <a:pt x="8736" y="3202"/>
                  </a:cubicBezTo>
                  <a:cubicBezTo>
                    <a:pt x="8602" y="3202"/>
                    <a:pt x="8467" y="3237"/>
                    <a:pt x="8346" y="3311"/>
                  </a:cubicBezTo>
                  <a:lnTo>
                    <a:pt x="7144" y="4013"/>
                  </a:lnTo>
                  <a:lnTo>
                    <a:pt x="7846" y="2811"/>
                  </a:lnTo>
                  <a:cubicBezTo>
                    <a:pt x="7918" y="2692"/>
                    <a:pt x="7941" y="2549"/>
                    <a:pt x="7941" y="2418"/>
                  </a:cubicBezTo>
                  <a:cubicBezTo>
                    <a:pt x="7941" y="2132"/>
                    <a:pt x="7799" y="1870"/>
                    <a:pt x="7560" y="1739"/>
                  </a:cubicBezTo>
                  <a:lnTo>
                    <a:pt x="7203" y="1525"/>
                  </a:lnTo>
                  <a:cubicBezTo>
                    <a:pt x="7181" y="1510"/>
                    <a:pt x="7155" y="1503"/>
                    <a:pt x="7128" y="1503"/>
                  </a:cubicBezTo>
                  <a:cubicBezTo>
                    <a:pt x="7070" y="1503"/>
                    <a:pt x="7010" y="1535"/>
                    <a:pt x="6977" y="1584"/>
                  </a:cubicBezTo>
                  <a:cubicBezTo>
                    <a:pt x="6929" y="1656"/>
                    <a:pt x="6965" y="1763"/>
                    <a:pt x="7037" y="1811"/>
                  </a:cubicBezTo>
                  <a:lnTo>
                    <a:pt x="7394" y="2013"/>
                  </a:lnTo>
                  <a:cubicBezTo>
                    <a:pt x="7608" y="2132"/>
                    <a:pt x="7691" y="2418"/>
                    <a:pt x="7560" y="2644"/>
                  </a:cubicBezTo>
                  <a:lnTo>
                    <a:pt x="6572" y="4335"/>
                  </a:lnTo>
                  <a:lnTo>
                    <a:pt x="6251" y="4918"/>
                  </a:lnTo>
                  <a:lnTo>
                    <a:pt x="5882" y="5561"/>
                  </a:lnTo>
                  <a:lnTo>
                    <a:pt x="5358" y="6454"/>
                  </a:lnTo>
                  <a:cubicBezTo>
                    <a:pt x="5024" y="7002"/>
                    <a:pt x="4751" y="7490"/>
                    <a:pt x="4036" y="8752"/>
                  </a:cubicBezTo>
                  <a:cubicBezTo>
                    <a:pt x="3953" y="8871"/>
                    <a:pt x="3917" y="8966"/>
                    <a:pt x="3881" y="9014"/>
                  </a:cubicBezTo>
                  <a:cubicBezTo>
                    <a:pt x="3884" y="9010"/>
                    <a:pt x="3885" y="9007"/>
                    <a:pt x="3884" y="9007"/>
                  </a:cubicBezTo>
                  <a:lnTo>
                    <a:pt x="3884" y="9007"/>
                  </a:lnTo>
                  <a:cubicBezTo>
                    <a:pt x="3882" y="9007"/>
                    <a:pt x="3851" y="9059"/>
                    <a:pt x="3762" y="9216"/>
                  </a:cubicBezTo>
                  <a:lnTo>
                    <a:pt x="3762" y="8192"/>
                  </a:lnTo>
                  <a:cubicBezTo>
                    <a:pt x="4048" y="8145"/>
                    <a:pt x="4096" y="7895"/>
                    <a:pt x="4191" y="7740"/>
                  </a:cubicBezTo>
                  <a:cubicBezTo>
                    <a:pt x="4191" y="7728"/>
                    <a:pt x="4227" y="7692"/>
                    <a:pt x="4310" y="7538"/>
                  </a:cubicBezTo>
                  <a:cubicBezTo>
                    <a:pt x="4370" y="7430"/>
                    <a:pt x="4310" y="7311"/>
                    <a:pt x="4191" y="7288"/>
                  </a:cubicBezTo>
                  <a:cubicBezTo>
                    <a:pt x="4178" y="7282"/>
                    <a:pt x="4165" y="7280"/>
                    <a:pt x="4152" y="7280"/>
                  </a:cubicBezTo>
                  <a:cubicBezTo>
                    <a:pt x="4103" y="7280"/>
                    <a:pt x="4055" y="7312"/>
                    <a:pt x="4036" y="7359"/>
                  </a:cubicBezTo>
                  <a:cubicBezTo>
                    <a:pt x="4037" y="7358"/>
                    <a:pt x="4037" y="7357"/>
                    <a:pt x="4036" y="7357"/>
                  </a:cubicBezTo>
                  <a:cubicBezTo>
                    <a:pt x="4029" y="7357"/>
                    <a:pt x="3762" y="7824"/>
                    <a:pt x="3762" y="7835"/>
                  </a:cubicBezTo>
                  <a:lnTo>
                    <a:pt x="3762" y="6990"/>
                  </a:lnTo>
                  <a:lnTo>
                    <a:pt x="3917" y="7073"/>
                  </a:lnTo>
                  <a:cubicBezTo>
                    <a:pt x="3942" y="7090"/>
                    <a:pt x="3970" y="7098"/>
                    <a:pt x="3999" y="7098"/>
                  </a:cubicBezTo>
                  <a:cubicBezTo>
                    <a:pt x="4054" y="7098"/>
                    <a:pt x="4108" y="7068"/>
                    <a:pt x="4131" y="7014"/>
                  </a:cubicBezTo>
                  <a:cubicBezTo>
                    <a:pt x="4179" y="6942"/>
                    <a:pt x="4155" y="6835"/>
                    <a:pt x="4072" y="6799"/>
                  </a:cubicBezTo>
                  <a:lnTo>
                    <a:pt x="3762" y="6609"/>
                  </a:lnTo>
                  <a:lnTo>
                    <a:pt x="3762" y="6121"/>
                  </a:lnTo>
                  <a:cubicBezTo>
                    <a:pt x="3834" y="6156"/>
                    <a:pt x="3870" y="6204"/>
                    <a:pt x="3941" y="6204"/>
                  </a:cubicBezTo>
                  <a:cubicBezTo>
                    <a:pt x="4108" y="6204"/>
                    <a:pt x="4167" y="5978"/>
                    <a:pt x="4036" y="5883"/>
                  </a:cubicBezTo>
                  <a:cubicBezTo>
                    <a:pt x="3858" y="5775"/>
                    <a:pt x="3798" y="5752"/>
                    <a:pt x="3774" y="5740"/>
                  </a:cubicBezTo>
                  <a:lnTo>
                    <a:pt x="3774" y="5287"/>
                  </a:lnTo>
                  <a:cubicBezTo>
                    <a:pt x="4905" y="5942"/>
                    <a:pt x="4882" y="5942"/>
                    <a:pt x="5024" y="5942"/>
                  </a:cubicBezTo>
                  <a:cubicBezTo>
                    <a:pt x="5179" y="5942"/>
                    <a:pt x="5310" y="5871"/>
                    <a:pt x="5382" y="5740"/>
                  </a:cubicBezTo>
                  <a:cubicBezTo>
                    <a:pt x="5405" y="5704"/>
                    <a:pt x="5465" y="5621"/>
                    <a:pt x="5655" y="5275"/>
                  </a:cubicBezTo>
                  <a:cubicBezTo>
                    <a:pt x="5724" y="5161"/>
                    <a:pt x="5617" y="5025"/>
                    <a:pt x="5492" y="5025"/>
                  </a:cubicBezTo>
                  <a:cubicBezTo>
                    <a:pt x="5487" y="5025"/>
                    <a:pt x="5482" y="5025"/>
                    <a:pt x="5477" y="5025"/>
                  </a:cubicBezTo>
                  <a:cubicBezTo>
                    <a:pt x="5477" y="5025"/>
                    <a:pt x="5405" y="5037"/>
                    <a:pt x="5358" y="5097"/>
                  </a:cubicBezTo>
                  <a:lnTo>
                    <a:pt x="5084" y="5561"/>
                  </a:lnTo>
                  <a:cubicBezTo>
                    <a:pt x="5068" y="5584"/>
                    <a:pt x="5043" y="5603"/>
                    <a:pt x="5014" y="5603"/>
                  </a:cubicBezTo>
                  <a:cubicBezTo>
                    <a:pt x="4998" y="5603"/>
                    <a:pt x="4982" y="5597"/>
                    <a:pt x="4965" y="5585"/>
                  </a:cubicBezTo>
                  <a:cubicBezTo>
                    <a:pt x="3977" y="5013"/>
                    <a:pt x="3798" y="4906"/>
                    <a:pt x="3762" y="4883"/>
                  </a:cubicBezTo>
                  <a:lnTo>
                    <a:pt x="3762" y="4335"/>
                  </a:lnTo>
                  <a:cubicBezTo>
                    <a:pt x="3881" y="4156"/>
                    <a:pt x="3881" y="4073"/>
                    <a:pt x="3977" y="4073"/>
                  </a:cubicBezTo>
                  <a:cubicBezTo>
                    <a:pt x="3979" y="4073"/>
                    <a:pt x="3981" y="4073"/>
                    <a:pt x="3982" y="4073"/>
                  </a:cubicBezTo>
                  <a:cubicBezTo>
                    <a:pt x="4010" y="4073"/>
                    <a:pt x="4031" y="4094"/>
                    <a:pt x="5239" y="4787"/>
                  </a:cubicBezTo>
                  <a:cubicBezTo>
                    <a:pt x="5261" y="4798"/>
                    <a:pt x="5286" y="4804"/>
                    <a:pt x="5313" y="4804"/>
                  </a:cubicBezTo>
                  <a:cubicBezTo>
                    <a:pt x="5371" y="4804"/>
                    <a:pt x="5432" y="4777"/>
                    <a:pt x="5465" y="4728"/>
                  </a:cubicBezTo>
                  <a:cubicBezTo>
                    <a:pt x="5501" y="4644"/>
                    <a:pt x="5477" y="4549"/>
                    <a:pt x="5405" y="4502"/>
                  </a:cubicBezTo>
                  <a:lnTo>
                    <a:pt x="4179" y="3787"/>
                  </a:lnTo>
                  <a:cubicBezTo>
                    <a:pt x="4120" y="3751"/>
                    <a:pt x="4048" y="3728"/>
                    <a:pt x="3977" y="3728"/>
                  </a:cubicBezTo>
                  <a:cubicBezTo>
                    <a:pt x="3893" y="3728"/>
                    <a:pt x="3822" y="3740"/>
                    <a:pt x="3762" y="3787"/>
                  </a:cubicBezTo>
                  <a:lnTo>
                    <a:pt x="3762" y="2894"/>
                  </a:lnTo>
                  <a:lnTo>
                    <a:pt x="4834" y="1049"/>
                  </a:lnTo>
                  <a:cubicBezTo>
                    <a:pt x="4915" y="910"/>
                    <a:pt x="5075" y="822"/>
                    <a:pt x="5240" y="822"/>
                  </a:cubicBezTo>
                  <a:cubicBezTo>
                    <a:pt x="5316" y="822"/>
                    <a:pt x="5394" y="841"/>
                    <a:pt x="5465" y="882"/>
                  </a:cubicBezTo>
                  <a:lnTo>
                    <a:pt x="6477" y="1465"/>
                  </a:lnTo>
                  <a:cubicBezTo>
                    <a:pt x="6499" y="1480"/>
                    <a:pt x="6525" y="1487"/>
                    <a:pt x="6552" y="1487"/>
                  </a:cubicBezTo>
                  <a:cubicBezTo>
                    <a:pt x="6609" y="1487"/>
                    <a:pt x="6667" y="1455"/>
                    <a:pt x="6691" y="1406"/>
                  </a:cubicBezTo>
                  <a:cubicBezTo>
                    <a:pt x="6739" y="1334"/>
                    <a:pt x="6715" y="1227"/>
                    <a:pt x="6632" y="1180"/>
                  </a:cubicBezTo>
                  <a:lnTo>
                    <a:pt x="5620" y="608"/>
                  </a:lnTo>
                  <a:cubicBezTo>
                    <a:pt x="5496" y="536"/>
                    <a:pt x="5359" y="502"/>
                    <a:pt x="5223" y="502"/>
                  </a:cubicBezTo>
                  <a:cubicBezTo>
                    <a:pt x="4954" y="502"/>
                    <a:pt x="4691" y="637"/>
                    <a:pt x="4548" y="882"/>
                  </a:cubicBezTo>
                  <a:lnTo>
                    <a:pt x="3774" y="2239"/>
                  </a:lnTo>
                  <a:lnTo>
                    <a:pt x="3774" y="799"/>
                  </a:lnTo>
                  <a:cubicBezTo>
                    <a:pt x="3774" y="370"/>
                    <a:pt x="3417" y="13"/>
                    <a:pt x="2988" y="13"/>
                  </a:cubicBezTo>
                  <a:lnTo>
                    <a:pt x="2572" y="13"/>
                  </a:lnTo>
                  <a:cubicBezTo>
                    <a:pt x="2488" y="13"/>
                    <a:pt x="2405" y="84"/>
                    <a:pt x="2405" y="168"/>
                  </a:cubicBezTo>
                  <a:cubicBezTo>
                    <a:pt x="2405" y="263"/>
                    <a:pt x="2488" y="334"/>
                    <a:pt x="2572" y="334"/>
                  </a:cubicBezTo>
                  <a:lnTo>
                    <a:pt x="2988" y="334"/>
                  </a:lnTo>
                  <a:cubicBezTo>
                    <a:pt x="3239" y="334"/>
                    <a:pt x="3453" y="549"/>
                    <a:pt x="3453" y="799"/>
                  </a:cubicBezTo>
                  <a:lnTo>
                    <a:pt x="3453" y="2823"/>
                  </a:lnTo>
                  <a:lnTo>
                    <a:pt x="3453" y="3489"/>
                  </a:lnTo>
                  <a:lnTo>
                    <a:pt x="3453" y="4216"/>
                  </a:lnTo>
                  <a:cubicBezTo>
                    <a:pt x="3453" y="8966"/>
                    <a:pt x="3477" y="9574"/>
                    <a:pt x="3417" y="9847"/>
                  </a:cubicBezTo>
                  <a:cubicBezTo>
                    <a:pt x="3381" y="10026"/>
                    <a:pt x="3298" y="10205"/>
                    <a:pt x="3203" y="10336"/>
                  </a:cubicBezTo>
                  <a:cubicBezTo>
                    <a:pt x="3167" y="10371"/>
                    <a:pt x="3143" y="10407"/>
                    <a:pt x="3108" y="10455"/>
                  </a:cubicBezTo>
                  <a:cubicBezTo>
                    <a:pt x="2858" y="10717"/>
                    <a:pt x="2512" y="10871"/>
                    <a:pt x="2143" y="10871"/>
                  </a:cubicBezTo>
                  <a:lnTo>
                    <a:pt x="1655" y="10871"/>
                  </a:lnTo>
                  <a:cubicBezTo>
                    <a:pt x="917" y="10871"/>
                    <a:pt x="321" y="10276"/>
                    <a:pt x="321" y="9550"/>
                  </a:cubicBezTo>
                  <a:lnTo>
                    <a:pt x="321" y="799"/>
                  </a:lnTo>
                  <a:cubicBezTo>
                    <a:pt x="321" y="549"/>
                    <a:pt x="536" y="334"/>
                    <a:pt x="786" y="334"/>
                  </a:cubicBezTo>
                  <a:lnTo>
                    <a:pt x="1953" y="334"/>
                  </a:lnTo>
                  <a:cubicBezTo>
                    <a:pt x="2036" y="334"/>
                    <a:pt x="2107" y="263"/>
                    <a:pt x="2107" y="168"/>
                  </a:cubicBezTo>
                  <a:cubicBezTo>
                    <a:pt x="2107" y="84"/>
                    <a:pt x="2036" y="1"/>
                    <a:pt x="19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9" name="Google Shape;12669;p62"/>
            <p:cNvSpPr/>
            <p:nvPr/>
          </p:nvSpPr>
          <p:spPr>
            <a:xfrm>
              <a:off x="1605630" y="4063935"/>
              <a:ext cx="46976" cy="76523"/>
            </a:xfrm>
            <a:custGeom>
              <a:avLst/>
              <a:gdLst/>
              <a:ahLst/>
              <a:cxnLst/>
              <a:rect l="l" t="t" r="r" b="b"/>
              <a:pathLst>
                <a:path w="1477" h="2406" extrusionOk="0">
                  <a:moveTo>
                    <a:pt x="417" y="0"/>
                  </a:moveTo>
                  <a:cubicBezTo>
                    <a:pt x="179" y="0"/>
                    <a:pt x="0" y="191"/>
                    <a:pt x="0" y="417"/>
                  </a:cubicBezTo>
                  <a:lnTo>
                    <a:pt x="0" y="2001"/>
                  </a:lnTo>
                  <a:cubicBezTo>
                    <a:pt x="0" y="2239"/>
                    <a:pt x="191" y="2405"/>
                    <a:pt x="417" y="2405"/>
                  </a:cubicBezTo>
                  <a:lnTo>
                    <a:pt x="953" y="2405"/>
                  </a:lnTo>
                  <a:cubicBezTo>
                    <a:pt x="1036" y="2405"/>
                    <a:pt x="1119" y="2334"/>
                    <a:pt x="1119" y="2251"/>
                  </a:cubicBezTo>
                  <a:cubicBezTo>
                    <a:pt x="1119" y="2155"/>
                    <a:pt x="1036" y="2084"/>
                    <a:pt x="953" y="2084"/>
                  </a:cubicBezTo>
                  <a:lnTo>
                    <a:pt x="417" y="2084"/>
                  </a:lnTo>
                  <a:cubicBezTo>
                    <a:pt x="369" y="2084"/>
                    <a:pt x="322" y="2036"/>
                    <a:pt x="322" y="1989"/>
                  </a:cubicBezTo>
                  <a:lnTo>
                    <a:pt x="322" y="417"/>
                  </a:lnTo>
                  <a:cubicBezTo>
                    <a:pt x="322" y="369"/>
                    <a:pt x="369" y="322"/>
                    <a:pt x="417" y="322"/>
                  </a:cubicBezTo>
                  <a:lnTo>
                    <a:pt x="1060" y="322"/>
                  </a:lnTo>
                  <a:cubicBezTo>
                    <a:pt x="1096" y="322"/>
                    <a:pt x="1143" y="369"/>
                    <a:pt x="1143" y="417"/>
                  </a:cubicBezTo>
                  <a:lnTo>
                    <a:pt x="1143" y="1834"/>
                  </a:lnTo>
                  <a:cubicBezTo>
                    <a:pt x="1143" y="1917"/>
                    <a:pt x="1215" y="1989"/>
                    <a:pt x="1310" y="1989"/>
                  </a:cubicBezTo>
                  <a:cubicBezTo>
                    <a:pt x="1393" y="1989"/>
                    <a:pt x="1477" y="1917"/>
                    <a:pt x="1477" y="1834"/>
                  </a:cubicBezTo>
                  <a:lnTo>
                    <a:pt x="1477" y="417"/>
                  </a:lnTo>
                  <a:cubicBezTo>
                    <a:pt x="1477" y="179"/>
                    <a:pt x="1274" y="0"/>
                    <a:pt x="10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0" name="Google Shape;12670;p62"/>
            <p:cNvSpPr/>
            <p:nvPr/>
          </p:nvSpPr>
          <p:spPr>
            <a:xfrm>
              <a:off x="1582158" y="4065462"/>
              <a:ext cx="10623" cy="45449"/>
            </a:xfrm>
            <a:custGeom>
              <a:avLst/>
              <a:gdLst/>
              <a:ahLst/>
              <a:cxnLst/>
              <a:rect l="l" t="t" r="r" b="b"/>
              <a:pathLst>
                <a:path w="334" h="1429" extrusionOk="0">
                  <a:moveTo>
                    <a:pt x="167" y="0"/>
                  </a:moveTo>
                  <a:cubicBezTo>
                    <a:pt x="83" y="0"/>
                    <a:pt x="0" y="71"/>
                    <a:pt x="0" y="167"/>
                  </a:cubicBezTo>
                  <a:lnTo>
                    <a:pt x="0" y="1262"/>
                  </a:lnTo>
                  <a:cubicBezTo>
                    <a:pt x="0" y="1357"/>
                    <a:pt x="83" y="1429"/>
                    <a:pt x="167" y="1429"/>
                  </a:cubicBezTo>
                  <a:cubicBezTo>
                    <a:pt x="262" y="1429"/>
                    <a:pt x="333" y="1357"/>
                    <a:pt x="333" y="1262"/>
                  </a:cubicBezTo>
                  <a:lnTo>
                    <a:pt x="333" y="167"/>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1" name="Google Shape;12671;p62"/>
            <p:cNvSpPr/>
            <p:nvPr/>
          </p:nvSpPr>
          <p:spPr>
            <a:xfrm>
              <a:off x="1582158" y="4121884"/>
              <a:ext cx="10623" cy="17429"/>
            </a:xfrm>
            <a:custGeom>
              <a:avLst/>
              <a:gdLst/>
              <a:ahLst/>
              <a:cxnLst/>
              <a:rect l="l" t="t" r="r" b="b"/>
              <a:pathLst>
                <a:path w="334" h="548" extrusionOk="0">
                  <a:moveTo>
                    <a:pt x="167" y="0"/>
                  </a:moveTo>
                  <a:cubicBezTo>
                    <a:pt x="83" y="0"/>
                    <a:pt x="0" y="71"/>
                    <a:pt x="0" y="155"/>
                  </a:cubicBezTo>
                  <a:lnTo>
                    <a:pt x="0" y="381"/>
                  </a:lnTo>
                  <a:cubicBezTo>
                    <a:pt x="0" y="476"/>
                    <a:pt x="83" y="548"/>
                    <a:pt x="167" y="548"/>
                  </a:cubicBezTo>
                  <a:cubicBezTo>
                    <a:pt x="262" y="548"/>
                    <a:pt x="333" y="476"/>
                    <a:pt x="333" y="381"/>
                  </a:cubicBezTo>
                  <a:lnTo>
                    <a:pt x="333" y="155"/>
                  </a:lnTo>
                  <a:cubicBezTo>
                    <a:pt x="333" y="71"/>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2" name="Google Shape;12672;p62"/>
            <p:cNvSpPr/>
            <p:nvPr/>
          </p:nvSpPr>
          <p:spPr>
            <a:xfrm>
              <a:off x="1497684" y="4121884"/>
              <a:ext cx="10273" cy="17429"/>
            </a:xfrm>
            <a:custGeom>
              <a:avLst/>
              <a:gdLst/>
              <a:ahLst/>
              <a:cxnLst/>
              <a:rect l="l" t="t" r="r" b="b"/>
              <a:pathLst>
                <a:path w="323" h="548" extrusionOk="0">
                  <a:moveTo>
                    <a:pt x="168" y="0"/>
                  </a:moveTo>
                  <a:cubicBezTo>
                    <a:pt x="72" y="0"/>
                    <a:pt x="1" y="71"/>
                    <a:pt x="1" y="155"/>
                  </a:cubicBezTo>
                  <a:lnTo>
                    <a:pt x="1" y="381"/>
                  </a:lnTo>
                  <a:cubicBezTo>
                    <a:pt x="1" y="476"/>
                    <a:pt x="72" y="548"/>
                    <a:pt x="168" y="548"/>
                  </a:cubicBezTo>
                  <a:cubicBezTo>
                    <a:pt x="251" y="548"/>
                    <a:pt x="322" y="476"/>
                    <a:pt x="322" y="381"/>
                  </a:cubicBezTo>
                  <a:lnTo>
                    <a:pt x="322" y="155"/>
                  </a:lnTo>
                  <a:cubicBezTo>
                    <a:pt x="322"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3" name="Google Shape;12673;p62"/>
            <p:cNvSpPr/>
            <p:nvPr/>
          </p:nvSpPr>
          <p:spPr>
            <a:xfrm>
              <a:off x="1360604" y="4091574"/>
              <a:ext cx="43986" cy="43573"/>
            </a:xfrm>
            <a:custGeom>
              <a:avLst/>
              <a:gdLst/>
              <a:ahLst/>
              <a:cxnLst/>
              <a:rect l="l" t="t" r="r" b="b"/>
              <a:pathLst>
                <a:path w="1383" h="1370" extrusionOk="0">
                  <a:moveTo>
                    <a:pt x="691" y="322"/>
                  </a:moveTo>
                  <a:cubicBezTo>
                    <a:pt x="882" y="322"/>
                    <a:pt x="1049" y="489"/>
                    <a:pt x="1049" y="679"/>
                  </a:cubicBezTo>
                  <a:cubicBezTo>
                    <a:pt x="1049" y="870"/>
                    <a:pt x="882" y="1036"/>
                    <a:pt x="691" y="1036"/>
                  </a:cubicBezTo>
                  <a:cubicBezTo>
                    <a:pt x="501" y="1036"/>
                    <a:pt x="334" y="870"/>
                    <a:pt x="334" y="679"/>
                  </a:cubicBezTo>
                  <a:cubicBezTo>
                    <a:pt x="334" y="489"/>
                    <a:pt x="501" y="322"/>
                    <a:pt x="691" y="322"/>
                  </a:cubicBezTo>
                  <a:close/>
                  <a:moveTo>
                    <a:pt x="691" y="1"/>
                  </a:moveTo>
                  <a:cubicBezTo>
                    <a:pt x="322" y="1"/>
                    <a:pt x="1" y="310"/>
                    <a:pt x="1" y="679"/>
                  </a:cubicBezTo>
                  <a:cubicBezTo>
                    <a:pt x="1" y="1048"/>
                    <a:pt x="322" y="1370"/>
                    <a:pt x="691" y="1370"/>
                  </a:cubicBezTo>
                  <a:cubicBezTo>
                    <a:pt x="1061" y="1370"/>
                    <a:pt x="1382" y="1048"/>
                    <a:pt x="1382" y="679"/>
                  </a:cubicBezTo>
                  <a:cubicBezTo>
                    <a:pt x="1382" y="310"/>
                    <a:pt x="1061"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4" name="Google Shape;12674;p62"/>
            <p:cNvSpPr/>
            <p:nvPr/>
          </p:nvSpPr>
          <p:spPr>
            <a:xfrm>
              <a:off x="1344320" y="3832172"/>
              <a:ext cx="76523" cy="46626"/>
            </a:xfrm>
            <a:custGeom>
              <a:avLst/>
              <a:gdLst/>
              <a:ahLst/>
              <a:cxnLst/>
              <a:rect l="l" t="t" r="r" b="b"/>
              <a:pathLst>
                <a:path w="2406" h="1466" extrusionOk="0">
                  <a:moveTo>
                    <a:pt x="418" y="1"/>
                  </a:moveTo>
                  <a:cubicBezTo>
                    <a:pt x="180" y="1"/>
                    <a:pt x="1" y="191"/>
                    <a:pt x="1" y="417"/>
                  </a:cubicBezTo>
                  <a:lnTo>
                    <a:pt x="1" y="1049"/>
                  </a:lnTo>
                  <a:cubicBezTo>
                    <a:pt x="1" y="1287"/>
                    <a:pt x="191" y="1465"/>
                    <a:pt x="418" y="1465"/>
                  </a:cubicBezTo>
                  <a:lnTo>
                    <a:pt x="1989" y="1465"/>
                  </a:lnTo>
                  <a:cubicBezTo>
                    <a:pt x="2227" y="1465"/>
                    <a:pt x="2406" y="1275"/>
                    <a:pt x="2406" y="1049"/>
                  </a:cubicBezTo>
                  <a:lnTo>
                    <a:pt x="2406" y="513"/>
                  </a:lnTo>
                  <a:cubicBezTo>
                    <a:pt x="2406" y="429"/>
                    <a:pt x="2335" y="358"/>
                    <a:pt x="2251" y="358"/>
                  </a:cubicBezTo>
                  <a:cubicBezTo>
                    <a:pt x="2156" y="358"/>
                    <a:pt x="2085" y="429"/>
                    <a:pt x="2085" y="513"/>
                  </a:cubicBezTo>
                  <a:lnTo>
                    <a:pt x="2085" y="1049"/>
                  </a:lnTo>
                  <a:cubicBezTo>
                    <a:pt x="2085" y="1096"/>
                    <a:pt x="2037" y="1144"/>
                    <a:pt x="1989" y="1144"/>
                  </a:cubicBezTo>
                  <a:lnTo>
                    <a:pt x="418" y="1144"/>
                  </a:lnTo>
                  <a:cubicBezTo>
                    <a:pt x="370" y="1144"/>
                    <a:pt x="322" y="1096"/>
                    <a:pt x="322" y="1049"/>
                  </a:cubicBezTo>
                  <a:lnTo>
                    <a:pt x="322" y="417"/>
                  </a:lnTo>
                  <a:cubicBezTo>
                    <a:pt x="322" y="370"/>
                    <a:pt x="370" y="322"/>
                    <a:pt x="418" y="322"/>
                  </a:cubicBezTo>
                  <a:lnTo>
                    <a:pt x="1823" y="322"/>
                  </a:lnTo>
                  <a:cubicBezTo>
                    <a:pt x="1918" y="322"/>
                    <a:pt x="1989" y="251"/>
                    <a:pt x="1989" y="156"/>
                  </a:cubicBezTo>
                  <a:cubicBezTo>
                    <a:pt x="1989" y="72"/>
                    <a:pt x="1918" y="1"/>
                    <a:pt x="18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5" name="Google Shape;12675;p62"/>
            <p:cNvSpPr/>
            <p:nvPr/>
          </p:nvSpPr>
          <p:spPr>
            <a:xfrm>
              <a:off x="1401887" y="3891648"/>
              <a:ext cx="17843" cy="10623"/>
            </a:xfrm>
            <a:custGeom>
              <a:avLst/>
              <a:gdLst/>
              <a:ahLst/>
              <a:cxnLst/>
              <a:rect l="l" t="t" r="r" b="b"/>
              <a:pathLst>
                <a:path w="561" h="334" extrusionOk="0">
                  <a:moveTo>
                    <a:pt x="167" y="0"/>
                  </a:moveTo>
                  <a:cubicBezTo>
                    <a:pt x="72" y="0"/>
                    <a:pt x="1" y="71"/>
                    <a:pt x="1" y="167"/>
                  </a:cubicBezTo>
                  <a:cubicBezTo>
                    <a:pt x="1" y="250"/>
                    <a:pt x="72" y="333"/>
                    <a:pt x="167" y="333"/>
                  </a:cubicBezTo>
                  <a:lnTo>
                    <a:pt x="394" y="333"/>
                  </a:lnTo>
                  <a:cubicBezTo>
                    <a:pt x="477" y="333"/>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6" name="Google Shape;12676;p62"/>
            <p:cNvSpPr/>
            <p:nvPr/>
          </p:nvSpPr>
          <p:spPr>
            <a:xfrm>
              <a:off x="1345465" y="3891648"/>
              <a:ext cx="45863" cy="10623"/>
            </a:xfrm>
            <a:custGeom>
              <a:avLst/>
              <a:gdLst/>
              <a:ahLst/>
              <a:cxnLst/>
              <a:rect l="l" t="t" r="r" b="b"/>
              <a:pathLst>
                <a:path w="1442" h="334" extrusionOk="0">
                  <a:moveTo>
                    <a:pt x="167" y="0"/>
                  </a:moveTo>
                  <a:cubicBezTo>
                    <a:pt x="84" y="0"/>
                    <a:pt x="1" y="71"/>
                    <a:pt x="1" y="167"/>
                  </a:cubicBezTo>
                  <a:cubicBezTo>
                    <a:pt x="1" y="250"/>
                    <a:pt x="84" y="333"/>
                    <a:pt x="167" y="333"/>
                  </a:cubicBezTo>
                  <a:lnTo>
                    <a:pt x="1275" y="333"/>
                  </a:lnTo>
                  <a:cubicBezTo>
                    <a:pt x="1358" y="333"/>
                    <a:pt x="1441" y="250"/>
                    <a:pt x="1441" y="167"/>
                  </a:cubicBezTo>
                  <a:cubicBezTo>
                    <a:pt x="1441" y="71"/>
                    <a:pt x="1358" y="0"/>
                    <a:pt x="1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7" name="Google Shape;12677;p62"/>
            <p:cNvSpPr/>
            <p:nvPr/>
          </p:nvSpPr>
          <p:spPr>
            <a:xfrm>
              <a:off x="1343588" y="3917378"/>
              <a:ext cx="77254" cy="46626"/>
            </a:xfrm>
            <a:custGeom>
              <a:avLst/>
              <a:gdLst/>
              <a:ahLst/>
              <a:cxnLst/>
              <a:rect l="l" t="t" r="r" b="b"/>
              <a:pathLst>
                <a:path w="2429" h="1466" extrusionOk="0">
                  <a:moveTo>
                    <a:pt x="417" y="1"/>
                  </a:moveTo>
                  <a:cubicBezTo>
                    <a:pt x="179" y="1"/>
                    <a:pt x="0" y="191"/>
                    <a:pt x="0" y="417"/>
                  </a:cubicBezTo>
                  <a:lnTo>
                    <a:pt x="0" y="1048"/>
                  </a:lnTo>
                  <a:cubicBezTo>
                    <a:pt x="0" y="1287"/>
                    <a:pt x="203" y="1465"/>
                    <a:pt x="417" y="1465"/>
                  </a:cubicBezTo>
                  <a:lnTo>
                    <a:pt x="2000" y="1465"/>
                  </a:lnTo>
                  <a:cubicBezTo>
                    <a:pt x="2239" y="1465"/>
                    <a:pt x="2417" y="1275"/>
                    <a:pt x="2417" y="1048"/>
                  </a:cubicBezTo>
                  <a:lnTo>
                    <a:pt x="2417" y="513"/>
                  </a:lnTo>
                  <a:cubicBezTo>
                    <a:pt x="2429" y="417"/>
                    <a:pt x="2358" y="334"/>
                    <a:pt x="2274" y="334"/>
                  </a:cubicBezTo>
                  <a:cubicBezTo>
                    <a:pt x="2250" y="334"/>
                    <a:pt x="2239" y="334"/>
                    <a:pt x="2215" y="358"/>
                  </a:cubicBezTo>
                  <a:cubicBezTo>
                    <a:pt x="2155" y="370"/>
                    <a:pt x="2096" y="441"/>
                    <a:pt x="2096" y="513"/>
                  </a:cubicBezTo>
                  <a:lnTo>
                    <a:pt x="2096" y="1048"/>
                  </a:lnTo>
                  <a:cubicBezTo>
                    <a:pt x="2096" y="1096"/>
                    <a:pt x="2048" y="1144"/>
                    <a:pt x="2000" y="1144"/>
                  </a:cubicBezTo>
                  <a:lnTo>
                    <a:pt x="417" y="1144"/>
                  </a:lnTo>
                  <a:cubicBezTo>
                    <a:pt x="381" y="1144"/>
                    <a:pt x="334" y="1096"/>
                    <a:pt x="334" y="1048"/>
                  </a:cubicBezTo>
                  <a:lnTo>
                    <a:pt x="334" y="417"/>
                  </a:lnTo>
                  <a:cubicBezTo>
                    <a:pt x="334" y="370"/>
                    <a:pt x="381" y="322"/>
                    <a:pt x="417" y="322"/>
                  </a:cubicBezTo>
                  <a:lnTo>
                    <a:pt x="1834" y="322"/>
                  </a:lnTo>
                  <a:cubicBezTo>
                    <a:pt x="1929" y="322"/>
                    <a:pt x="2000" y="251"/>
                    <a:pt x="2000" y="155"/>
                  </a:cubicBezTo>
                  <a:cubicBezTo>
                    <a:pt x="2000" y="72"/>
                    <a:pt x="1929"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8" name="Google Shape;12678;p62"/>
            <p:cNvSpPr/>
            <p:nvPr/>
          </p:nvSpPr>
          <p:spPr>
            <a:xfrm>
              <a:off x="1401887" y="3976471"/>
              <a:ext cx="17843" cy="10241"/>
            </a:xfrm>
            <a:custGeom>
              <a:avLst/>
              <a:gdLst/>
              <a:ahLst/>
              <a:cxnLst/>
              <a:rect l="l" t="t" r="r" b="b"/>
              <a:pathLst>
                <a:path w="561" h="322" extrusionOk="0">
                  <a:moveTo>
                    <a:pt x="167" y="0"/>
                  </a:moveTo>
                  <a:cubicBezTo>
                    <a:pt x="72" y="0"/>
                    <a:pt x="1" y="71"/>
                    <a:pt x="1" y="167"/>
                  </a:cubicBezTo>
                  <a:cubicBezTo>
                    <a:pt x="1" y="250"/>
                    <a:pt x="72" y="322"/>
                    <a:pt x="167" y="322"/>
                  </a:cubicBezTo>
                  <a:lnTo>
                    <a:pt x="394" y="322"/>
                  </a:lnTo>
                  <a:cubicBezTo>
                    <a:pt x="477" y="322"/>
                    <a:pt x="560" y="250"/>
                    <a:pt x="560" y="167"/>
                  </a:cubicBezTo>
                  <a:cubicBezTo>
                    <a:pt x="560" y="71"/>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9" name="Google Shape;12679;p62"/>
            <p:cNvSpPr/>
            <p:nvPr/>
          </p:nvSpPr>
          <p:spPr>
            <a:xfrm>
              <a:off x="1345465" y="3976471"/>
              <a:ext cx="45863" cy="10241"/>
            </a:xfrm>
            <a:custGeom>
              <a:avLst/>
              <a:gdLst/>
              <a:ahLst/>
              <a:cxnLst/>
              <a:rect l="l" t="t" r="r" b="b"/>
              <a:pathLst>
                <a:path w="1442" h="322" extrusionOk="0">
                  <a:moveTo>
                    <a:pt x="167" y="0"/>
                  </a:moveTo>
                  <a:cubicBezTo>
                    <a:pt x="84" y="0"/>
                    <a:pt x="1" y="71"/>
                    <a:pt x="1" y="167"/>
                  </a:cubicBezTo>
                  <a:cubicBezTo>
                    <a:pt x="1" y="250"/>
                    <a:pt x="84" y="322"/>
                    <a:pt x="167" y="322"/>
                  </a:cubicBezTo>
                  <a:lnTo>
                    <a:pt x="1275" y="322"/>
                  </a:lnTo>
                  <a:cubicBezTo>
                    <a:pt x="1358" y="322"/>
                    <a:pt x="1441" y="250"/>
                    <a:pt x="1441" y="167"/>
                  </a:cubicBezTo>
                  <a:cubicBezTo>
                    <a:pt x="1441" y="71"/>
                    <a:pt x="1382" y="0"/>
                    <a:pt x="1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0" name="Google Shape;12680;p62"/>
            <p:cNvSpPr/>
            <p:nvPr/>
          </p:nvSpPr>
          <p:spPr>
            <a:xfrm>
              <a:off x="1343588" y="4001057"/>
              <a:ext cx="77636" cy="46626"/>
            </a:xfrm>
            <a:custGeom>
              <a:avLst/>
              <a:gdLst/>
              <a:ahLst/>
              <a:cxnLst/>
              <a:rect l="l" t="t" r="r" b="b"/>
              <a:pathLst>
                <a:path w="2441" h="1466" extrusionOk="0">
                  <a:moveTo>
                    <a:pt x="417" y="1"/>
                  </a:moveTo>
                  <a:cubicBezTo>
                    <a:pt x="179" y="1"/>
                    <a:pt x="0" y="191"/>
                    <a:pt x="0" y="418"/>
                  </a:cubicBezTo>
                  <a:lnTo>
                    <a:pt x="0" y="1049"/>
                  </a:lnTo>
                  <a:cubicBezTo>
                    <a:pt x="0" y="1156"/>
                    <a:pt x="48" y="1263"/>
                    <a:pt x="107" y="1334"/>
                  </a:cubicBezTo>
                  <a:cubicBezTo>
                    <a:pt x="179" y="1430"/>
                    <a:pt x="298" y="1465"/>
                    <a:pt x="417" y="1465"/>
                  </a:cubicBezTo>
                  <a:lnTo>
                    <a:pt x="2000" y="1465"/>
                  </a:lnTo>
                  <a:cubicBezTo>
                    <a:pt x="2131" y="1465"/>
                    <a:pt x="2239" y="1406"/>
                    <a:pt x="2310" y="1323"/>
                  </a:cubicBezTo>
                  <a:cubicBezTo>
                    <a:pt x="2310" y="1323"/>
                    <a:pt x="2417" y="1203"/>
                    <a:pt x="2417" y="1049"/>
                  </a:cubicBezTo>
                  <a:cubicBezTo>
                    <a:pt x="2417" y="525"/>
                    <a:pt x="2441" y="489"/>
                    <a:pt x="2405" y="430"/>
                  </a:cubicBezTo>
                  <a:cubicBezTo>
                    <a:pt x="2370" y="381"/>
                    <a:pt x="2317" y="358"/>
                    <a:pt x="2266" y="358"/>
                  </a:cubicBezTo>
                  <a:cubicBezTo>
                    <a:pt x="2179" y="358"/>
                    <a:pt x="2096" y="421"/>
                    <a:pt x="2096" y="525"/>
                  </a:cubicBezTo>
                  <a:lnTo>
                    <a:pt x="2096" y="1061"/>
                  </a:lnTo>
                  <a:cubicBezTo>
                    <a:pt x="2096" y="1096"/>
                    <a:pt x="2048" y="1144"/>
                    <a:pt x="2000" y="1144"/>
                  </a:cubicBezTo>
                  <a:lnTo>
                    <a:pt x="417" y="1144"/>
                  </a:lnTo>
                  <a:cubicBezTo>
                    <a:pt x="381" y="1144"/>
                    <a:pt x="334" y="1096"/>
                    <a:pt x="334" y="1061"/>
                  </a:cubicBezTo>
                  <a:lnTo>
                    <a:pt x="334" y="418"/>
                  </a:lnTo>
                  <a:cubicBezTo>
                    <a:pt x="334" y="370"/>
                    <a:pt x="381" y="322"/>
                    <a:pt x="417" y="322"/>
                  </a:cubicBezTo>
                  <a:lnTo>
                    <a:pt x="1834" y="322"/>
                  </a:lnTo>
                  <a:cubicBezTo>
                    <a:pt x="1893" y="322"/>
                    <a:pt x="1965" y="287"/>
                    <a:pt x="1988" y="227"/>
                  </a:cubicBezTo>
                  <a:cubicBezTo>
                    <a:pt x="2024" y="120"/>
                    <a:pt x="1941"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1" name="Google Shape;12681;p62"/>
            <p:cNvSpPr/>
            <p:nvPr/>
          </p:nvSpPr>
          <p:spPr>
            <a:xfrm>
              <a:off x="1344702" y="4060150"/>
              <a:ext cx="46626" cy="10623"/>
            </a:xfrm>
            <a:custGeom>
              <a:avLst/>
              <a:gdLst/>
              <a:ahLst/>
              <a:cxnLst/>
              <a:rect l="l" t="t" r="r" b="b"/>
              <a:pathLst>
                <a:path w="1466" h="334" extrusionOk="0">
                  <a:moveTo>
                    <a:pt x="168" y="0"/>
                  </a:moveTo>
                  <a:cubicBezTo>
                    <a:pt x="108" y="12"/>
                    <a:pt x="60" y="48"/>
                    <a:pt x="48" y="96"/>
                  </a:cubicBezTo>
                  <a:cubicBezTo>
                    <a:pt x="1" y="191"/>
                    <a:pt x="72" y="334"/>
                    <a:pt x="191" y="334"/>
                  </a:cubicBezTo>
                  <a:lnTo>
                    <a:pt x="1299" y="334"/>
                  </a:lnTo>
                  <a:cubicBezTo>
                    <a:pt x="1382" y="334"/>
                    <a:pt x="1453" y="250"/>
                    <a:pt x="1453" y="167"/>
                  </a:cubicBezTo>
                  <a:cubicBezTo>
                    <a:pt x="1465" y="72"/>
                    <a:pt x="1382" y="0"/>
                    <a:pt x="1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2" name="Google Shape;12682;p62"/>
            <p:cNvSpPr/>
            <p:nvPr/>
          </p:nvSpPr>
          <p:spPr>
            <a:xfrm>
              <a:off x="1401887" y="4060150"/>
              <a:ext cx="17843" cy="10623"/>
            </a:xfrm>
            <a:custGeom>
              <a:avLst/>
              <a:gdLst/>
              <a:ahLst/>
              <a:cxnLst/>
              <a:rect l="l" t="t" r="r" b="b"/>
              <a:pathLst>
                <a:path w="561" h="334" extrusionOk="0">
                  <a:moveTo>
                    <a:pt x="167" y="0"/>
                  </a:moveTo>
                  <a:cubicBezTo>
                    <a:pt x="72" y="0"/>
                    <a:pt x="1" y="72"/>
                    <a:pt x="1" y="167"/>
                  </a:cubicBezTo>
                  <a:cubicBezTo>
                    <a:pt x="1" y="250"/>
                    <a:pt x="72" y="334"/>
                    <a:pt x="167" y="334"/>
                  </a:cubicBezTo>
                  <a:lnTo>
                    <a:pt x="394" y="334"/>
                  </a:lnTo>
                  <a:cubicBezTo>
                    <a:pt x="477" y="334"/>
                    <a:pt x="560" y="250"/>
                    <a:pt x="560" y="167"/>
                  </a:cubicBezTo>
                  <a:cubicBezTo>
                    <a:pt x="560" y="72"/>
                    <a:pt x="477" y="0"/>
                    <a:pt x="3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3" name="Google Shape;12683;p62"/>
            <p:cNvSpPr/>
            <p:nvPr/>
          </p:nvSpPr>
          <p:spPr>
            <a:xfrm>
              <a:off x="1563584" y="3936365"/>
              <a:ext cx="67077" cy="80276"/>
            </a:xfrm>
            <a:custGeom>
              <a:avLst/>
              <a:gdLst/>
              <a:ahLst/>
              <a:cxnLst/>
              <a:rect l="l" t="t" r="r" b="b"/>
              <a:pathLst>
                <a:path w="2109" h="2524" extrusionOk="0">
                  <a:moveTo>
                    <a:pt x="986" y="0"/>
                  </a:moveTo>
                  <a:cubicBezTo>
                    <a:pt x="915" y="0"/>
                    <a:pt x="842" y="19"/>
                    <a:pt x="775" y="59"/>
                  </a:cubicBezTo>
                  <a:lnTo>
                    <a:pt x="203" y="380"/>
                  </a:lnTo>
                  <a:cubicBezTo>
                    <a:pt x="72" y="451"/>
                    <a:pt x="1" y="594"/>
                    <a:pt x="1" y="737"/>
                  </a:cubicBezTo>
                  <a:cubicBezTo>
                    <a:pt x="1" y="928"/>
                    <a:pt x="60" y="916"/>
                    <a:pt x="846" y="2321"/>
                  </a:cubicBezTo>
                  <a:cubicBezTo>
                    <a:pt x="917" y="2452"/>
                    <a:pt x="1048" y="2523"/>
                    <a:pt x="1203" y="2523"/>
                  </a:cubicBezTo>
                  <a:cubicBezTo>
                    <a:pt x="1382" y="2523"/>
                    <a:pt x="1453" y="2416"/>
                    <a:pt x="1882" y="2190"/>
                  </a:cubicBezTo>
                  <a:cubicBezTo>
                    <a:pt x="1965" y="2154"/>
                    <a:pt x="1989" y="2047"/>
                    <a:pt x="1941" y="1975"/>
                  </a:cubicBezTo>
                  <a:cubicBezTo>
                    <a:pt x="1918" y="1921"/>
                    <a:pt x="1864" y="1892"/>
                    <a:pt x="1809" y="1892"/>
                  </a:cubicBezTo>
                  <a:cubicBezTo>
                    <a:pt x="1780" y="1892"/>
                    <a:pt x="1752" y="1900"/>
                    <a:pt x="1727" y="1916"/>
                  </a:cubicBezTo>
                  <a:cubicBezTo>
                    <a:pt x="1227" y="2190"/>
                    <a:pt x="1251" y="2190"/>
                    <a:pt x="1215" y="2190"/>
                  </a:cubicBezTo>
                  <a:cubicBezTo>
                    <a:pt x="1132" y="2190"/>
                    <a:pt x="1167" y="2178"/>
                    <a:pt x="358" y="785"/>
                  </a:cubicBezTo>
                  <a:cubicBezTo>
                    <a:pt x="322" y="737"/>
                    <a:pt x="334" y="690"/>
                    <a:pt x="382" y="666"/>
                  </a:cubicBezTo>
                  <a:lnTo>
                    <a:pt x="953" y="332"/>
                  </a:lnTo>
                  <a:cubicBezTo>
                    <a:pt x="965" y="324"/>
                    <a:pt x="978" y="320"/>
                    <a:pt x="992" y="320"/>
                  </a:cubicBezTo>
                  <a:cubicBezTo>
                    <a:pt x="1019" y="320"/>
                    <a:pt x="1048" y="336"/>
                    <a:pt x="1072" y="368"/>
                  </a:cubicBezTo>
                  <a:lnTo>
                    <a:pt x="1787" y="1583"/>
                  </a:lnTo>
                  <a:cubicBezTo>
                    <a:pt x="1810" y="1637"/>
                    <a:pt x="1864" y="1666"/>
                    <a:pt x="1919" y="1666"/>
                  </a:cubicBezTo>
                  <a:cubicBezTo>
                    <a:pt x="1948" y="1666"/>
                    <a:pt x="1976" y="1658"/>
                    <a:pt x="2001" y="1642"/>
                  </a:cubicBezTo>
                  <a:cubicBezTo>
                    <a:pt x="2084" y="1606"/>
                    <a:pt x="2108" y="1499"/>
                    <a:pt x="2060" y="1428"/>
                  </a:cubicBezTo>
                  <a:lnTo>
                    <a:pt x="1346" y="201"/>
                  </a:lnTo>
                  <a:cubicBezTo>
                    <a:pt x="1267" y="74"/>
                    <a:pt x="1129" y="0"/>
                    <a:pt x="98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4" name="Google Shape;12684;p62"/>
            <p:cNvSpPr/>
            <p:nvPr/>
          </p:nvSpPr>
          <p:spPr>
            <a:xfrm>
              <a:off x="1569658" y="4013174"/>
              <a:ext cx="15553" cy="16698"/>
            </a:xfrm>
            <a:custGeom>
              <a:avLst/>
              <a:gdLst/>
              <a:ahLst/>
              <a:cxnLst/>
              <a:rect l="l" t="t" r="r" b="b"/>
              <a:pathLst>
                <a:path w="489" h="525" extrusionOk="0">
                  <a:moveTo>
                    <a:pt x="189" y="0"/>
                  </a:moveTo>
                  <a:cubicBezTo>
                    <a:pt x="161" y="0"/>
                    <a:pt x="132" y="8"/>
                    <a:pt x="107" y="25"/>
                  </a:cubicBezTo>
                  <a:cubicBezTo>
                    <a:pt x="24" y="60"/>
                    <a:pt x="0" y="168"/>
                    <a:pt x="48" y="239"/>
                  </a:cubicBezTo>
                  <a:lnTo>
                    <a:pt x="143" y="441"/>
                  </a:lnTo>
                  <a:cubicBezTo>
                    <a:pt x="179" y="501"/>
                    <a:pt x="238" y="525"/>
                    <a:pt x="298" y="525"/>
                  </a:cubicBezTo>
                  <a:cubicBezTo>
                    <a:pt x="417" y="513"/>
                    <a:pt x="488" y="382"/>
                    <a:pt x="429" y="275"/>
                  </a:cubicBezTo>
                  <a:lnTo>
                    <a:pt x="322" y="84"/>
                  </a:lnTo>
                  <a:cubicBezTo>
                    <a:pt x="298" y="30"/>
                    <a:pt x="244"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5" name="Google Shape;12685;p62"/>
            <p:cNvSpPr/>
            <p:nvPr/>
          </p:nvSpPr>
          <p:spPr>
            <a:xfrm>
              <a:off x="1541256" y="3964417"/>
              <a:ext cx="29165" cy="40615"/>
            </a:xfrm>
            <a:custGeom>
              <a:avLst/>
              <a:gdLst/>
              <a:ahLst/>
              <a:cxnLst/>
              <a:rect l="l" t="t" r="r" b="b"/>
              <a:pathLst>
                <a:path w="917" h="1277" extrusionOk="0">
                  <a:moveTo>
                    <a:pt x="182" y="0"/>
                  </a:moveTo>
                  <a:cubicBezTo>
                    <a:pt x="156" y="0"/>
                    <a:pt x="130" y="7"/>
                    <a:pt x="107" y="22"/>
                  </a:cubicBezTo>
                  <a:cubicBezTo>
                    <a:pt x="24" y="69"/>
                    <a:pt x="0" y="165"/>
                    <a:pt x="48" y="248"/>
                  </a:cubicBezTo>
                  <a:lnTo>
                    <a:pt x="596" y="1201"/>
                  </a:lnTo>
                  <a:cubicBezTo>
                    <a:pt x="628" y="1250"/>
                    <a:pt x="684" y="1277"/>
                    <a:pt x="743" y="1277"/>
                  </a:cubicBezTo>
                  <a:cubicBezTo>
                    <a:pt x="769" y="1277"/>
                    <a:pt x="796" y="1271"/>
                    <a:pt x="822" y="1260"/>
                  </a:cubicBezTo>
                  <a:cubicBezTo>
                    <a:pt x="893" y="1212"/>
                    <a:pt x="917" y="1105"/>
                    <a:pt x="881" y="1034"/>
                  </a:cubicBezTo>
                  <a:lnTo>
                    <a:pt x="322" y="81"/>
                  </a:lnTo>
                  <a:cubicBezTo>
                    <a:pt x="297" y="32"/>
                    <a:pt x="239" y="0"/>
                    <a:pt x="1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6" name="Google Shape;12686;p62"/>
            <p:cNvSpPr/>
            <p:nvPr/>
          </p:nvSpPr>
          <p:spPr>
            <a:xfrm>
              <a:off x="1496189" y="4055284"/>
              <a:ext cx="15171" cy="16634"/>
            </a:xfrm>
            <a:custGeom>
              <a:avLst/>
              <a:gdLst/>
              <a:ahLst/>
              <a:cxnLst/>
              <a:rect l="l" t="t" r="r" b="b"/>
              <a:pathLst>
                <a:path w="477" h="523" extrusionOk="0">
                  <a:moveTo>
                    <a:pt x="182" y="1"/>
                  </a:moveTo>
                  <a:cubicBezTo>
                    <a:pt x="156" y="1"/>
                    <a:pt x="130" y="7"/>
                    <a:pt x="108" y="22"/>
                  </a:cubicBezTo>
                  <a:cubicBezTo>
                    <a:pt x="36" y="70"/>
                    <a:pt x="0" y="165"/>
                    <a:pt x="48" y="249"/>
                  </a:cubicBezTo>
                  <a:cubicBezTo>
                    <a:pt x="48" y="249"/>
                    <a:pt x="155" y="427"/>
                    <a:pt x="155" y="439"/>
                  </a:cubicBezTo>
                  <a:cubicBezTo>
                    <a:pt x="194" y="494"/>
                    <a:pt x="259" y="523"/>
                    <a:pt x="309" y="523"/>
                  </a:cubicBezTo>
                  <a:cubicBezTo>
                    <a:pt x="335" y="523"/>
                    <a:pt x="357" y="515"/>
                    <a:pt x="369" y="499"/>
                  </a:cubicBezTo>
                  <a:cubicBezTo>
                    <a:pt x="453" y="451"/>
                    <a:pt x="477" y="344"/>
                    <a:pt x="429" y="272"/>
                  </a:cubicBezTo>
                  <a:lnTo>
                    <a:pt x="334" y="82"/>
                  </a:lnTo>
                  <a:cubicBezTo>
                    <a:pt x="301" y="33"/>
                    <a:pt x="240"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7" name="Google Shape;12687;p62"/>
            <p:cNvSpPr/>
            <p:nvPr/>
          </p:nvSpPr>
          <p:spPr>
            <a:xfrm>
              <a:off x="1468169" y="3851859"/>
              <a:ext cx="78781" cy="69717"/>
            </a:xfrm>
            <a:custGeom>
              <a:avLst/>
              <a:gdLst/>
              <a:ahLst/>
              <a:cxnLst/>
              <a:rect l="l" t="t" r="r" b="b"/>
              <a:pathLst>
                <a:path w="2477" h="2192" extrusionOk="0">
                  <a:moveTo>
                    <a:pt x="738" y="1"/>
                  </a:moveTo>
                  <a:cubicBezTo>
                    <a:pt x="584" y="1"/>
                    <a:pt x="453" y="72"/>
                    <a:pt x="381" y="215"/>
                  </a:cubicBezTo>
                  <a:cubicBezTo>
                    <a:pt x="96" y="727"/>
                    <a:pt x="0" y="787"/>
                    <a:pt x="0" y="989"/>
                  </a:cubicBezTo>
                  <a:cubicBezTo>
                    <a:pt x="0" y="1132"/>
                    <a:pt x="84" y="1263"/>
                    <a:pt x="215" y="1346"/>
                  </a:cubicBezTo>
                  <a:cubicBezTo>
                    <a:pt x="1608" y="2132"/>
                    <a:pt x="1596" y="2192"/>
                    <a:pt x="1786" y="2192"/>
                  </a:cubicBezTo>
                  <a:cubicBezTo>
                    <a:pt x="1941" y="2192"/>
                    <a:pt x="2072" y="2120"/>
                    <a:pt x="2143" y="1977"/>
                  </a:cubicBezTo>
                  <a:lnTo>
                    <a:pt x="2417" y="1525"/>
                  </a:lnTo>
                  <a:cubicBezTo>
                    <a:pt x="2477" y="1418"/>
                    <a:pt x="2441" y="1311"/>
                    <a:pt x="2358" y="1263"/>
                  </a:cubicBezTo>
                  <a:cubicBezTo>
                    <a:pt x="2336" y="1252"/>
                    <a:pt x="2310" y="1247"/>
                    <a:pt x="2284" y="1247"/>
                  </a:cubicBezTo>
                  <a:cubicBezTo>
                    <a:pt x="2226" y="1247"/>
                    <a:pt x="2164" y="1273"/>
                    <a:pt x="2132" y="1322"/>
                  </a:cubicBezTo>
                  <a:lnTo>
                    <a:pt x="1870" y="1787"/>
                  </a:lnTo>
                  <a:cubicBezTo>
                    <a:pt x="1846" y="1819"/>
                    <a:pt x="1817" y="1834"/>
                    <a:pt x="1789" y="1834"/>
                  </a:cubicBezTo>
                  <a:cubicBezTo>
                    <a:pt x="1776" y="1834"/>
                    <a:pt x="1762" y="1830"/>
                    <a:pt x="1751" y="1823"/>
                  </a:cubicBezTo>
                  <a:cubicBezTo>
                    <a:pt x="334" y="989"/>
                    <a:pt x="334" y="1049"/>
                    <a:pt x="334" y="953"/>
                  </a:cubicBezTo>
                  <a:cubicBezTo>
                    <a:pt x="334" y="906"/>
                    <a:pt x="334" y="941"/>
                    <a:pt x="655" y="358"/>
                  </a:cubicBezTo>
                  <a:cubicBezTo>
                    <a:pt x="677" y="329"/>
                    <a:pt x="703" y="314"/>
                    <a:pt x="728" y="314"/>
                  </a:cubicBezTo>
                  <a:cubicBezTo>
                    <a:pt x="744" y="314"/>
                    <a:pt x="760" y="320"/>
                    <a:pt x="774" y="334"/>
                  </a:cubicBezTo>
                  <a:lnTo>
                    <a:pt x="2001" y="1049"/>
                  </a:lnTo>
                  <a:cubicBezTo>
                    <a:pt x="2023" y="1060"/>
                    <a:pt x="2048" y="1065"/>
                    <a:pt x="2074" y="1065"/>
                  </a:cubicBezTo>
                  <a:cubicBezTo>
                    <a:pt x="2133" y="1065"/>
                    <a:pt x="2194" y="1038"/>
                    <a:pt x="2227" y="989"/>
                  </a:cubicBezTo>
                  <a:cubicBezTo>
                    <a:pt x="2262" y="906"/>
                    <a:pt x="2239" y="811"/>
                    <a:pt x="2167" y="763"/>
                  </a:cubicBezTo>
                  <a:cubicBezTo>
                    <a:pt x="929" y="60"/>
                    <a:pt x="929"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8" name="Google Shape;12688;p62"/>
            <p:cNvSpPr/>
            <p:nvPr/>
          </p:nvSpPr>
          <p:spPr>
            <a:xfrm>
              <a:off x="1503377" y="3929368"/>
              <a:ext cx="17843" cy="13740"/>
            </a:xfrm>
            <a:custGeom>
              <a:avLst/>
              <a:gdLst/>
              <a:ahLst/>
              <a:cxnLst/>
              <a:rect l="l" t="t" r="r" b="b"/>
              <a:pathLst>
                <a:path w="561" h="432" extrusionOk="0">
                  <a:moveTo>
                    <a:pt x="189" y="0"/>
                  </a:moveTo>
                  <a:cubicBezTo>
                    <a:pt x="132" y="0"/>
                    <a:pt x="73" y="27"/>
                    <a:pt x="48" y="76"/>
                  </a:cubicBezTo>
                  <a:cubicBezTo>
                    <a:pt x="1" y="159"/>
                    <a:pt x="24" y="255"/>
                    <a:pt x="96" y="302"/>
                  </a:cubicBezTo>
                  <a:lnTo>
                    <a:pt x="298" y="409"/>
                  </a:lnTo>
                  <a:cubicBezTo>
                    <a:pt x="321" y="424"/>
                    <a:pt x="347" y="431"/>
                    <a:pt x="373" y="431"/>
                  </a:cubicBezTo>
                  <a:cubicBezTo>
                    <a:pt x="431" y="431"/>
                    <a:pt x="492" y="399"/>
                    <a:pt x="524" y="350"/>
                  </a:cubicBezTo>
                  <a:cubicBezTo>
                    <a:pt x="560" y="255"/>
                    <a:pt x="536" y="171"/>
                    <a:pt x="465" y="124"/>
                  </a:cubicBezTo>
                  <a:lnTo>
                    <a:pt x="263" y="17"/>
                  </a:lnTo>
                  <a:cubicBezTo>
                    <a:pt x="240" y="6"/>
                    <a:pt x="215" y="0"/>
                    <a:pt x="1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9" name="Google Shape;12689;p62"/>
            <p:cNvSpPr/>
            <p:nvPr/>
          </p:nvSpPr>
          <p:spPr>
            <a:xfrm>
              <a:off x="1454524" y="3900966"/>
              <a:ext cx="42078" cy="27798"/>
            </a:xfrm>
            <a:custGeom>
              <a:avLst/>
              <a:gdLst/>
              <a:ahLst/>
              <a:cxnLst/>
              <a:rect l="l" t="t" r="r" b="b"/>
              <a:pathLst>
                <a:path w="1323" h="874" extrusionOk="0">
                  <a:moveTo>
                    <a:pt x="195" y="0"/>
                  </a:moveTo>
                  <a:cubicBezTo>
                    <a:pt x="137" y="0"/>
                    <a:pt x="81" y="27"/>
                    <a:pt x="48" y="76"/>
                  </a:cubicBezTo>
                  <a:cubicBezTo>
                    <a:pt x="1" y="159"/>
                    <a:pt x="36" y="255"/>
                    <a:pt x="108" y="302"/>
                  </a:cubicBezTo>
                  <a:lnTo>
                    <a:pt x="1060" y="850"/>
                  </a:lnTo>
                  <a:cubicBezTo>
                    <a:pt x="1084" y="874"/>
                    <a:pt x="1120" y="874"/>
                    <a:pt x="1144" y="874"/>
                  </a:cubicBezTo>
                  <a:cubicBezTo>
                    <a:pt x="1203" y="874"/>
                    <a:pt x="1263" y="838"/>
                    <a:pt x="1298" y="779"/>
                  </a:cubicBezTo>
                  <a:cubicBezTo>
                    <a:pt x="1322" y="719"/>
                    <a:pt x="1310" y="612"/>
                    <a:pt x="1227" y="576"/>
                  </a:cubicBezTo>
                  <a:lnTo>
                    <a:pt x="275" y="17"/>
                  </a:lnTo>
                  <a:cubicBezTo>
                    <a:pt x="249" y="6"/>
                    <a:pt x="222"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0" name="Google Shape;12690;p62"/>
            <p:cNvSpPr/>
            <p:nvPr/>
          </p:nvSpPr>
          <p:spPr>
            <a:xfrm>
              <a:off x="1460981" y="4002265"/>
              <a:ext cx="19083" cy="13740"/>
            </a:xfrm>
            <a:custGeom>
              <a:avLst/>
              <a:gdLst/>
              <a:ahLst/>
              <a:cxnLst/>
              <a:rect l="l" t="t" r="r" b="b"/>
              <a:pathLst>
                <a:path w="600" h="432" extrusionOk="0">
                  <a:moveTo>
                    <a:pt x="199" y="1"/>
                  </a:moveTo>
                  <a:cubicBezTo>
                    <a:pt x="141" y="1"/>
                    <a:pt x="80" y="33"/>
                    <a:pt x="48" y="82"/>
                  </a:cubicBezTo>
                  <a:cubicBezTo>
                    <a:pt x="0" y="153"/>
                    <a:pt x="36" y="261"/>
                    <a:pt x="107" y="308"/>
                  </a:cubicBezTo>
                  <a:cubicBezTo>
                    <a:pt x="107" y="308"/>
                    <a:pt x="286" y="403"/>
                    <a:pt x="298" y="403"/>
                  </a:cubicBezTo>
                  <a:cubicBezTo>
                    <a:pt x="328" y="423"/>
                    <a:pt x="358" y="432"/>
                    <a:pt x="386" y="432"/>
                  </a:cubicBezTo>
                  <a:cubicBezTo>
                    <a:pt x="512" y="432"/>
                    <a:pt x="600" y="263"/>
                    <a:pt x="512" y="165"/>
                  </a:cubicBezTo>
                  <a:cubicBezTo>
                    <a:pt x="488" y="130"/>
                    <a:pt x="453" y="130"/>
                    <a:pt x="274" y="22"/>
                  </a:cubicBezTo>
                  <a:cubicBezTo>
                    <a:pt x="251" y="8"/>
                    <a:pt x="226" y="1"/>
                    <a:pt x="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1" name="Google Shape;12691;p62"/>
          <p:cNvSpPr/>
          <p:nvPr/>
        </p:nvSpPr>
        <p:spPr>
          <a:xfrm>
            <a:off x="2787472" y="3804915"/>
            <a:ext cx="89022" cy="360064"/>
          </a:xfrm>
          <a:custGeom>
            <a:avLst/>
            <a:gdLst/>
            <a:ahLst/>
            <a:cxnLst/>
            <a:rect l="l" t="t" r="r" b="b"/>
            <a:pathLst>
              <a:path w="2799" h="11321" extrusionOk="0">
                <a:moveTo>
                  <a:pt x="906" y="1763"/>
                </a:moveTo>
                <a:lnTo>
                  <a:pt x="1858" y="2358"/>
                </a:lnTo>
                <a:lnTo>
                  <a:pt x="1858" y="3310"/>
                </a:lnTo>
                <a:lnTo>
                  <a:pt x="906" y="2715"/>
                </a:lnTo>
                <a:lnTo>
                  <a:pt x="906" y="1763"/>
                </a:lnTo>
                <a:close/>
                <a:moveTo>
                  <a:pt x="906" y="3096"/>
                </a:moveTo>
                <a:lnTo>
                  <a:pt x="1858" y="3691"/>
                </a:lnTo>
                <a:lnTo>
                  <a:pt x="1858" y="4644"/>
                </a:lnTo>
                <a:cubicBezTo>
                  <a:pt x="1144" y="4203"/>
                  <a:pt x="965" y="4084"/>
                  <a:pt x="929" y="4072"/>
                </a:cubicBezTo>
                <a:cubicBezTo>
                  <a:pt x="906" y="3965"/>
                  <a:pt x="906" y="3453"/>
                  <a:pt x="906" y="3096"/>
                </a:cubicBezTo>
                <a:close/>
                <a:moveTo>
                  <a:pt x="906" y="4453"/>
                </a:moveTo>
                <a:lnTo>
                  <a:pt x="1858" y="5049"/>
                </a:lnTo>
                <a:lnTo>
                  <a:pt x="1858" y="6001"/>
                </a:lnTo>
                <a:lnTo>
                  <a:pt x="906" y="5394"/>
                </a:lnTo>
                <a:lnTo>
                  <a:pt x="906" y="4453"/>
                </a:lnTo>
                <a:close/>
                <a:moveTo>
                  <a:pt x="906" y="5799"/>
                </a:moveTo>
                <a:lnTo>
                  <a:pt x="1858" y="6394"/>
                </a:lnTo>
                <a:lnTo>
                  <a:pt x="1858" y="6716"/>
                </a:lnTo>
                <a:lnTo>
                  <a:pt x="906" y="6716"/>
                </a:lnTo>
                <a:lnTo>
                  <a:pt x="906" y="5799"/>
                </a:lnTo>
                <a:close/>
                <a:moveTo>
                  <a:pt x="2441" y="4370"/>
                </a:moveTo>
                <a:lnTo>
                  <a:pt x="2441" y="6811"/>
                </a:lnTo>
                <a:cubicBezTo>
                  <a:pt x="2370" y="6763"/>
                  <a:pt x="2299" y="6728"/>
                  <a:pt x="2203" y="6716"/>
                </a:cubicBezTo>
                <a:lnTo>
                  <a:pt x="2203" y="4370"/>
                </a:lnTo>
                <a:close/>
                <a:moveTo>
                  <a:pt x="679" y="7073"/>
                </a:moveTo>
                <a:cubicBezTo>
                  <a:pt x="2227" y="7073"/>
                  <a:pt x="2144" y="7073"/>
                  <a:pt x="2203" y="7085"/>
                </a:cubicBezTo>
                <a:cubicBezTo>
                  <a:pt x="2561" y="7192"/>
                  <a:pt x="2489" y="7740"/>
                  <a:pt x="2096" y="7740"/>
                </a:cubicBezTo>
                <a:cubicBezTo>
                  <a:pt x="548" y="7740"/>
                  <a:pt x="644" y="7740"/>
                  <a:pt x="584" y="7728"/>
                </a:cubicBezTo>
                <a:cubicBezTo>
                  <a:pt x="465" y="7680"/>
                  <a:pt x="358" y="7585"/>
                  <a:pt x="346" y="7442"/>
                </a:cubicBezTo>
                <a:lnTo>
                  <a:pt x="346" y="7370"/>
                </a:lnTo>
                <a:cubicBezTo>
                  <a:pt x="358" y="7204"/>
                  <a:pt x="513" y="7073"/>
                  <a:pt x="679" y="7073"/>
                </a:cubicBezTo>
                <a:close/>
                <a:moveTo>
                  <a:pt x="334" y="8002"/>
                </a:moveTo>
                <a:cubicBezTo>
                  <a:pt x="405" y="8037"/>
                  <a:pt x="477" y="8073"/>
                  <a:pt x="572" y="8085"/>
                </a:cubicBezTo>
                <a:lnTo>
                  <a:pt x="572" y="8752"/>
                </a:lnTo>
                <a:cubicBezTo>
                  <a:pt x="572" y="8847"/>
                  <a:pt x="644" y="8918"/>
                  <a:pt x="727" y="8918"/>
                </a:cubicBezTo>
                <a:lnTo>
                  <a:pt x="2013" y="8918"/>
                </a:lnTo>
                <a:cubicBezTo>
                  <a:pt x="2096" y="8918"/>
                  <a:pt x="2180" y="8847"/>
                  <a:pt x="2180" y="8752"/>
                </a:cubicBezTo>
                <a:lnTo>
                  <a:pt x="2180" y="8513"/>
                </a:lnTo>
                <a:cubicBezTo>
                  <a:pt x="2180" y="8430"/>
                  <a:pt x="2096" y="8359"/>
                  <a:pt x="2013" y="8359"/>
                </a:cubicBezTo>
                <a:cubicBezTo>
                  <a:pt x="1918" y="8359"/>
                  <a:pt x="1846" y="8430"/>
                  <a:pt x="1846" y="8513"/>
                </a:cubicBezTo>
                <a:lnTo>
                  <a:pt x="1846" y="8597"/>
                </a:lnTo>
                <a:lnTo>
                  <a:pt x="894" y="8597"/>
                </a:lnTo>
                <a:lnTo>
                  <a:pt x="894" y="8097"/>
                </a:lnTo>
                <a:lnTo>
                  <a:pt x="2084" y="8097"/>
                </a:lnTo>
                <a:cubicBezTo>
                  <a:pt x="2203" y="8097"/>
                  <a:pt x="2322" y="8073"/>
                  <a:pt x="2430" y="8013"/>
                </a:cubicBezTo>
                <a:lnTo>
                  <a:pt x="2430" y="9204"/>
                </a:lnTo>
                <a:lnTo>
                  <a:pt x="2251" y="9204"/>
                </a:lnTo>
                <a:cubicBezTo>
                  <a:pt x="2156" y="9204"/>
                  <a:pt x="2084" y="9275"/>
                  <a:pt x="2084" y="9371"/>
                </a:cubicBezTo>
                <a:cubicBezTo>
                  <a:pt x="2084" y="9454"/>
                  <a:pt x="2156" y="9526"/>
                  <a:pt x="2251" y="9526"/>
                </a:cubicBezTo>
                <a:lnTo>
                  <a:pt x="2430" y="9526"/>
                </a:lnTo>
                <a:cubicBezTo>
                  <a:pt x="2430" y="9811"/>
                  <a:pt x="2477" y="10037"/>
                  <a:pt x="2346" y="10323"/>
                </a:cubicBezTo>
                <a:cubicBezTo>
                  <a:pt x="2239" y="10597"/>
                  <a:pt x="2037" y="10740"/>
                  <a:pt x="2013" y="10764"/>
                </a:cubicBezTo>
                <a:cubicBezTo>
                  <a:pt x="1974" y="10793"/>
                  <a:pt x="1728" y="10973"/>
                  <a:pt x="1380" y="10973"/>
                </a:cubicBezTo>
                <a:cubicBezTo>
                  <a:pt x="1302" y="10973"/>
                  <a:pt x="1219" y="10964"/>
                  <a:pt x="1132" y="10942"/>
                </a:cubicBezTo>
                <a:cubicBezTo>
                  <a:pt x="810" y="10871"/>
                  <a:pt x="536" y="10645"/>
                  <a:pt x="417" y="10335"/>
                </a:cubicBezTo>
                <a:cubicBezTo>
                  <a:pt x="298" y="10049"/>
                  <a:pt x="346" y="9871"/>
                  <a:pt x="334" y="9514"/>
                </a:cubicBezTo>
                <a:lnTo>
                  <a:pt x="1560" y="9514"/>
                </a:lnTo>
                <a:cubicBezTo>
                  <a:pt x="1656" y="9514"/>
                  <a:pt x="1727" y="9442"/>
                  <a:pt x="1727" y="9347"/>
                </a:cubicBezTo>
                <a:cubicBezTo>
                  <a:pt x="1727" y="9264"/>
                  <a:pt x="1656" y="9192"/>
                  <a:pt x="1560" y="9192"/>
                </a:cubicBezTo>
                <a:lnTo>
                  <a:pt x="334" y="9192"/>
                </a:lnTo>
                <a:lnTo>
                  <a:pt x="334" y="8002"/>
                </a:lnTo>
                <a:close/>
                <a:moveTo>
                  <a:pt x="882" y="1"/>
                </a:moveTo>
                <a:cubicBezTo>
                  <a:pt x="715" y="1"/>
                  <a:pt x="596" y="143"/>
                  <a:pt x="596" y="286"/>
                </a:cubicBezTo>
                <a:lnTo>
                  <a:pt x="596" y="572"/>
                </a:lnTo>
                <a:cubicBezTo>
                  <a:pt x="596" y="655"/>
                  <a:pt x="667" y="739"/>
                  <a:pt x="763" y="739"/>
                </a:cubicBezTo>
                <a:cubicBezTo>
                  <a:pt x="846" y="739"/>
                  <a:pt x="929" y="655"/>
                  <a:pt x="929" y="572"/>
                </a:cubicBezTo>
                <a:lnTo>
                  <a:pt x="929" y="382"/>
                </a:lnTo>
                <a:lnTo>
                  <a:pt x="1882" y="977"/>
                </a:lnTo>
                <a:lnTo>
                  <a:pt x="1882" y="1953"/>
                </a:lnTo>
                <a:lnTo>
                  <a:pt x="929" y="1358"/>
                </a:lnTo>
                <a:lnTo>
                  <a:pt x="929" y="1239"/>
                </a:lnTo>
                <a:cubicBezTo>
                  <a:pt x="929" y="1155"/>
                  <a:pt x="846" y="1072"/>
                  <a:pt x="763" y="1072"/>
                </a:cubicBezTo>
                <a:cubicBezTo>
                  <a:pt x="667" y="1072"/>
                  <a:pt x="596" y="1155"/>
                  <a:pt x="596" y="1239"/>
                </a:cubicBezTo>
                <a:lnTo>
                  <a:pt x="596" y="4025"/>
                </a:lnTo>
                <a:lnTo>
                  <a:pt x="191" y="4025"/>
                </a:lnTo>
                <a:cubicBezTo>
                  <a:pt x="108" y="4025"/>
                  <a:pt x="24" y="4096"/>
                  <a:pt x="24" y="4192"/>
                </a:cubicBezTo>
                <a:lnTo>
                  <a:pt x="24" y="5716"/>
                </a:lnTo>
                <a:cubicBezTo>
                  <a:pt x="24" y="5811"/>
                  <a:pt x="108" y="5882"/>
                  <a:pt x="191" y="5882"/>
                </a:cubicBezTo>
                <a:cubicBezTo>
                  <a:pt x="286" y="5882"/>
                  <a:pt x="358" y="5811"/>
                  <a:pt x="358" y="5716"/>
                </a:cubicBezTo>
                <a:lnTo>
                  <a:pt x="358" y="4370"/>
                </a:lnTo>
                <a:lnTo>
                  <a:pt x="596" y="4370"/>
                </a:lnTo>
                <a:lnTo>
                  <a:pt x="596" y="6728"/>
                </a:lnTo>
                <a:cubicBezTo>
                  <a:pt x="513" y="6751"/>
                  <a:pt x="429" y="6775"/>
                  <a:pt x="358" y="6823"/>
                </a:cubicBezTo>
                <a:lnTo>
                  <a:pt x="358" y="6418"/>
                </a:lnTo>
                <a:cubicBezTo>
                  <a:pt x="358" y="6335"/>
                  <a:pt x="286" y="6251"/>
                  <a:pt x="191" y="6251"/>
                </a:cubicBezTo>
                <a:cubicBezTo>
                  <a:pt x="108" y="6251"/>
                  <a:pt x="24" y="6335"/>
                  <a:pt x="24" y="6418"/>
                </a:cubicBezTo>
                <a:lnTo>
                  <a:pt x="24" y="9371"/>
                </a:lnTo>
                <a:lnTo>
                  <a:pt x="24" y="9633"/>
                </a:lnTo>
                <a:cubicBezTo>
                  <a:pt x="48" y="9859"/>
                  <a:pt x="1" y="10061"/>
                  <a:pt x="84" y="10347"/>
                </a:cubicBezTo>
                <a:cubicBezTo>
                  <a:pt x="276" y="10971"/>
                  <a:pt x="839" y="11321"/>
                  <a:pt x="1415" y="11321"/>
                </a:cubicBezTo>
                <a:cubicBezTo>
                  <a:pt x="1696" y="11321"/>
                  <a:pt x="1981" y="11237"/>
                  <a:pt x="2227" y="11061"/>
                </a:cubicBezTo>
                <a:lnTo>
                  <a:pt x="2275" y="11026"/>
                </a:lnTo>
                <a:cubicBezTo>
                  <a:pt x="2465" y="10883"/>
                  <a:pt x="2620" y="10692"/>
                  <a:pt x="2703" y="10466"/>
                </a:cubicBezTo>
                <a:cubicBezTo>
                  <a:pt x="2799" y="10145"/>
                  <a:pt x="2775" y="9966"/>
                  <a:pt x="2775" y="9347"/>
                </a:cubicBezTo>
                <a:lnTo>
                  <a:pt x="2775" y="4203"/>
                </a:lnTo>
                <a:cubicBezTo>
                  <a:pt x="2775" y="4108"/>
                  <a:pt x="2691" y="4037"/>
                  <a:pt x="2608" y="4037"/>
                </a:cubicBezTo>
                <a:lnTo>
                  <a:pt x="2203" y="4037"/>
                </a:lnTo>
                <a:lnTo>
                  <a:pt x="2203" y="882"/>
                </a:lnTo>
                <a:cubicBezTo>
                  <a:pt x="2203" y="822"/>
                  <a:pt x="2168" y="763"/>
                  <a:pt x="2132" y="739"/>
                </a:cubicBezTo>
                <a:lnTo>
                  <a:pt x="1025" y="48"/>
                </a:lnTo>
                <a:cubicBezTo>
                  <a:pt x="989" y="24"/>
                  <a:pt x="917"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2" name="Google Shape;12692;p62"/>
          <p:cNvGrpSpPr/>
          <p:nvPr/>
        </p:nvGrpSpPr>
        <p:grpSpPr>
          <a:xfrm>
            <a:off x="859262" y="3353920"/>
            <a:ext cx="306759" cy="351445"/>
            <a:chOff x="859262" y="3353920"/>
            <a:chExt cx="306759" cy="351445"/>
          </a:xfrm>
        </p:grpSpPr>
        <p:sp>
          <p:nvSpPr>
            <p:cNvPr id="12693" name="Google Shape;12693;p62"/>
            <p:cNvSpPr/>
            <p:nvPr/>
          </p:nvSpPr>
          <p:spPr>
            <a:xfrm>
              <a:off x="859262" y="3415718"/>
              <a:ext cx="132563" cy="205937"/>
            </a:xfrm>
            <a:custGeom>
              <a:avLst/>
              <a:gdLst/>
              <a:ahLst/>
              <a:cxnLst/>
              <a:rect l="l" t="t" r="r" b="b"/>
              <a:pathLst>
                <a:path w="4168" h="6475" extrusionOk="0">
                  <a:moveTo>
                    <a:pt x="1444" y="0"/>
                  </a:moveTo>
                  <a:cubicBezTo>
                    <a:pt x="1418" y="0"/>
                    <a:pt x="1392" y="7"/>
                    <a:pt x="1369" y="22"/>
                  </a:cubicBezTo>
                  <a:lnTo>
                    <a:pt x="262" y="665"/>
                  </a:lnTo>
                  <a:cubicBezTo>
                    <a:pt x="0" y="808"/>
                    <a:pt x="0" y="1200"/>
                    <a:pt x="262" y="1367"/>
                  </a:cubicBezTo>
                  <a:lnTo>
                    <a:pt x="1143" y="1867"/>
                  </a:lnTo>
                  <a:lnTo>
                    <a:pt x="429" y="2284"/>
                  </a:lnTo>
                  <a:cubicBezTo>
                    <a:pt x="83" y="2474"/>
                    <a:pt x="83" y="2974"/>
                    <a:pt x="429" y="3165"/>
                  </a:cubicBezTo>
                  <a:lnTo>
                    <a:pt x="1167" y="3594"/>
                  </a:lnTo>
                  <a:lnTo>
                    <a:pt x="417" y="4022"/>
                  </a:lnTo>
                  <a:cubicBezTo>
                    <a:pt x="71" y="4225"/>
                    <a:pt x="71" y="4713"/>
                    <a:pt x="417" y="4903"/>
                  </a:cubicBezTo>
                  <a:lnTo>
                    <a:pt x="1155" y="5332"/>
                  </a:lnTo>
                  <a:lnTo>
                    <a:pt x="917" y="5463"/>
                  </a:lnTo>
                  <a:cubicBezTo>
                    <a:pt x="774" y="5558"/>
                    <a:pt x="833" y="5784"/>
                    <a:pt x="1012" y="5784"/>
                  </a:cubicBezTo>
                  <a:cubicBezTo>
                    <a:pt x="1084" y="5784"/>
                    <a:pt x="1095" y="5749"/>
                    <a:pt x="1488" y="5522"/>
                  </a:cubicBezTo>
                  <a:lnTo>
                    <a:pt x="3119" y="6463"/>
                  </a:lnTo>
                  <a:cubicBezTo>
                    <a:pt x="3155" y="6475"/>
                    <a:pt x="3179" y="6475"/>
                    <a:pt x="3191" y="6475"/>
                  </a:cubicBezTo>
                  <a:cubicBezTo>
                    <a:pt x="3250" y="6475"/>
                    <a:pt x="3310" y="6451"/>
                    <a:pt x="3346" y="6392"/>
                  </a:cubicBezTo>
                  <a:cubicBezTo>
                    <a:pt x="3393" y="6320"/>
                    <a:pt x="3358" y="6213"/>
                    <a:pt x="3286" y="6165"/>
                  </a:cubicBezTo>
                  <a:cubicBezTo>
                    <a:pt x="2643" y="5796"/>
                    <a:pt x="1226" y="4987"/>
                    <a:pt x="560" y="4618"/>
                  </a:cubicBezTo>
                  <a:cubicBezTo>
                    <a:pt x="441" y="4546"/>
                    <a:pt x="441" y="4368"/>
                    <a:pt x="560" y="4308"/>
                  </a:cubicBezTo>
                  <a:lnTo>
                    <a:pt x="1476" y="3772"/>
                  </a:lnTo>
                  <a:cubicBezTo>
                    <a:pt x="1498" y="3782"/>
                    <a:pt x="1520" y="3786"/>
                    <a:pt x="1541" y="3786"/>
                  </a:cubicBezTo>
                  <a:cubicBezTo>
                    <a:pt x="1627" y="3786"/>
                    <a:pt x="1705" y="3717"/>
                    <a:pt x="1715" y="3641"/>
                  </a:cubicBezTo>
                  <a:cubicBezTo>
                    <a:pt x="1715" y="3582"/>
                    <a:pt x="1691" y="3522"/>
                    <a:pt x="1631" y="3486"/>
                  </a:cubicBezTo>
                  <a:lnTo>
                    <a:pt x="1476" y="3403"/>
                  </a:lnTo>
                  <a:lnTo>
                    <a:pt x="560" y="2879"/>
                  </a:lnTo>
                  <a:cubicBezTo>
                    <a:pt x="441" y="2808"/>
                    <a:pt x="441" y="2629"/>
                    <a:pt x="560" y="2570"/>
                  </a:cubicBezTo>
                  <a:lnTo>
                    <a:pt x="1441" y="2058"/>
                  </a:lnTo>
                  <a:lnTo>
                    <a:pt x="3870" y="3439"/>
                  </a:lnTo>
                  <a:cubicBezTo>
                    <a:pt x="3893" y="3463"/>
                    <a:pt x="3929" y="3463"/>
                    <a:pt x="3941" y="3463"/>
                  </a:cubicBezTo>
                  <a:cubicBezTo>
                    <a:pt x="4001" y="3463"/>
                    <a:pt x="4060" y="3427"/>
                    <a:pt x="4084" y="3367"/>
                  </a:cubicBezTo>
                  <a:cubicBezTo>
                    <a:pt x="4167" y="3296"/>
                    <a:pt x="4132" y="3189"/>
                    <a:pt x="4060" y="3153"/>
                  </a:cubicBezTo>
                  <a:cubicBezTo>
                    <a:pt x="1262" y="1558"/>
                    <a:pt x="3215" y="2653"/>
                    <a:pt x="429" y="1069"/>
                  </a:cubicBezTo>
                  <a:cubicBezTo>
                    <a:pt x="381" y="1034"/>
                    <a:pt x="381" y="962"/>
                    <a:pt x="429" y="950"/>
                  </a:cubicBezTo>
                  <a:lnTo>
                    <a:pt x="1524" y="307"/>
                  </a:lnTo>
                  <a:cubicBezTo>
                    <a:pt x="1607" y="260"/>
                    <a:pt x="1631" y="153"/>
                    <a:pt x="1584" y="81"/>
                  </a:cubicBezTo>
                  <a:cubicBezTo>
                    <a:pt x="1559" y="32"/>
                    <a:pt x="1501" y="0"/>
                    <a:pt x="14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4" name="Google Shape;12694;p62"/>
            <p:cNvSpPr/>
            <p:nvPr/>
          </p:nvSpPr>
          <p:spPr>
            <a:xfrm>
              <a:off x="916415" y="3353920"/>
              <a:ext cx="178013" cy="62147"/>
            </a:xfrm>
            <a:custGeom>
              <a:avLst/>
              <a:gdLst/>
              <a:ahLst/>
              <a:cxnLst/>
              <a:rect l="l" t="t" r="r" b="b"/>
              <a:pathLst>
                <a:path w="5597" h="1954" extrusionOk="0">
                  <a:moveTo>
                    <a:pt x="3061" y="0"/>
                  </a:moveTo>
                  <a:cubicBezTo>
                    <a:pt x="2891" y="0"/>
                    <a:pt x="2929" y="33"/>
                    <a:pt x="144" y="1631"/>
                  </a:cubicBezTo>
                  <a:cubicBezTo>
                    <a:pt x="1" y="1727"/>
                    <a:pt x="60" y="1953"/>
                    <a:pt x="239" y="1953"/>
                  </a:cubicBezTo>
                  <a:cubicBezTo>
                    <a:pt x="245" y="1953"/>
                    <a:pt x="249" y="1953"/>
                    <a:pt x="254" y="1953"/>
                  </a:cubicBezTo>
                  <a:cubicBezTo>
                    <a:pt x="317" y="1953"/>
                    <a:pt x="372" y="1901"/>
                    <a:pt x="3049" y="357"/>
                  </a:cubicBezTo>
                  <a:cubicBezTo>
                    <a:pt x="3060" y="350"/>
                    <a:pt x="3067" y="344"/>
                    <a:pt x="3080" y="344"/>
                  </a:cubicBezTo>
                  <a:cubicBezTo>
                    <a:pt x="3151" y="344"/>
                    <a:pt x="3392" y="523"/>
                    <a:pt x="5347" y="1631"/>
                  </a:cubicBezTo>
                  <a:cubicBezTo>
                    <a:pt x="5372" y="1648"/>
                    <a:pt x="5402" y="1656"/>
                    <a:pt x="5431" y="1656"/>
                  </a:cubicBezTo>
                  <a:cubicBezTo>
                    <a:pt x="5485" y="1656"/>
                    <a:pt x="5538" y="1630"/>
                    <a:pt x="5561" y="1584"/>
                  </a:cubicBezTo>
                  <a:cubicBezTo>
                    <a:pt x="5597" y="1488"/>
                    <a:pt x="5561" y="1381"/>
                    <a:pt x="5490" y="1334"/>
                  </a:cubicBezTo>
                  <a:cubicBezTo>
                    <a:pt x="3216" y="48"/>
                    <a:pt x="3263" y="0"/>
                    <a:pt x="3085" y="0"/>
                  </a:cubicBezTo>
                  <a:cubicBezTo>
                    <a:pt x="3076" y="0"/>
                    <a:pt x="3069"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5" name="Google Shape;12695;p62"/>
            <p:cNvSpPr/>
            <p:nvPr/>
          </p:nvSpPr>
          <p:spPr>
            <a:xfrm>
              <a:off x="920582" y="3405858"/>
              <a:ext cx="245439" cy="243817"/>
            </a:xfrm>
            <a:custGeom>
              <a:avLst/>
              <a:gdLst/>
              <a:ahLst/>
              <a:cxnLst/>
              <a:rect l="l" t="t" r="r" b="b"/>
              <a:pathLst>
                <a:path w="7717" h="7666" extrusionOk="0">
                  <a:moveTo>
                    <a:pt x="6359" y="844"/>
                  </a:moveTo>
                  <a:lnTo>
                    <a:pt x="6359" y="1808"/>
                  </a:lnTo>
                  <a:lnTo>
                    <a:pt x="5359" y="1332"/>
                  </a:lnTo>
                  <a:lnTo>
                    <a:pt x="6359" y="844"/>
                  </a:lnTo>
                  <a:close/>
                  <a:moveTo>
                    <a:pt x="5820" y="0"/>
                  </a:moveTo>
                  <a:cubicBezTo>
                    <a:pt x="5762" y="0"/>
                    <a:pt x="5701" y="33"/>
                    <a:pt x="5668" y="82"/>
                  </a:cubicBezTo>
                  <a:cubicBezTo>
                    <a:pt x="5621" y="153"/>
                    <a:pt x="5656" y="260"/>
                    <a:pt x="5728" y="308"/>
                  </a:cubicBezTo>
                  <a:lnTo>
                    <a:pt x="6144" y="546"/>
                  </a:lnTo>
                  <a:lnTo>
                    <a:pt x="4882" y="1153"/>
                  </a:lnTo>
                  <a:cubicBezTo>
                    <a:pt x="4823" y="1177"/>
                    <a:pt x="4799" y="1237"/>
                    <a:pt x="4799" y="1296"/>
                  </a:cubicBezTo>
                  <a:cubicBezTo>
                    <a:pt x="4799" y="1356"/>
                    <a:pt x="4823" y="1415"/>
                    <a:pt x="4882" y="1451"/>
                  </a:cubicBezTo>
                  <a:lnTo>
                    <a:pt x="6144" y="2058"/>
                  </a:lnTo>
                  <a:cubicBezTo>
                    <a:pt x="5656" y="2344"/>
                    <a:pt x="3204" y="3737"/>
                    <a:pt x="2954" y="3892"/>
                  </a:cubicBezTo>
                  <a:cubicBezTo>
                    <a:pt x="2942" y="3898"/>
                    <a:pt x="2930" y="3901"/>
                    <a:pt x="2916" y="3901"/>
                  </a:cubicBezTo>
                  <a:cubicBezTo>
                    <a:pt x="2903" y="3901"/>
                    <a:pt x="2888" y="3898"/>
                    <a:pt x="2870" y="3892"/>
                  </a:cubicBezTo>
                  <a:lnTo>
                    <a:pt x="2668" y="3773"/>
                  </a:lnTo>
                  <a:cubicBezTo>
                    <a:pt x="2645" y="3758"/>
                    <a:pt x="2619" y="3751"/>
                    <a:pt x="2593" y="3751"/>
                  </a:cubicBezTo>
                  <a:cubicBezTo>
                    <a:pt x="2535" y="3751"/>
                    <a:pt x="2474" y="3783"/>
                    <a:pt x="2442" y="3832"/>
                  </a:cubicBezTo>
                  <a:cubicBezTo>
                    <a:pt x="2394" y="3904"/>
                    <a:pt x="2430" y="4011"/>
                    <a:pt x="2501" y="4058"/>
                  </a:cubicBezTo>
                  <a:lnTo>
                    <a:pt x="2715" y="4177"/>
                  </a:lnTo>
                  <a:cubicBezTo>
                    <a:pt x="2775" y="4201"/>
                    <a:pt x="2846" y="4237"/>
                    <a:pt x="2906" y="4237"/>
                  </a:cubicBezTo>
                  <a:cubicBezTo>
                    <a:pt x="2977" y="4237"/>
                    <a:pt x="3037" y="4213"/>
                    <a:pt x="3096" y="4177"/>
                  </a:cubicBezTo>
                  <a:lnTo>
                    <a:pt x="6299" y="2344"/>
                  </a:lnTo>
                  <a:lnTo>
                    <a:pt x="7180" y="2844"/>
                  </a:lnTo>
                  <a:cubicBezTo>
                    <a:pt x="7299" y="2927"/>
                    <a:pt x="7299" y="3106"/>
                    <a:pt x="7180" y="3165"/>
                  </a:cubicBezTo>
                  <a:cubicBezTo>
                    <a:pt x="4823" y="4499"/>
                    <a:pt x="5823" y="3939"/>
                    <a:pt x="2989" y="5559"/>
                  </a:cubicBezTo>
                  <a:cubicBezTo>
                    <a:pt x="2960" y="5570"/>
                    <a:pt x="2930" y="5576"/>
                    <a:pt x="2900" y="5576"/>
                  </a:cubicBezTo>
                  <a:cubicBezTo>
                    <a:pt x="2870" y="5576"/>
                    <a:pt x="2840" y="5570"/>
                    <a:pt x="2811" y="5559"/>
                  </a:cubicBezTo>
                  <a:lnTo>
                    <a:pt x="275" y="4094"/>
                  </a:lnTo>
                  <a:cubicBezTo>
                    <a:pt x="249" y="4083"/>
                    <a:pt x="222" y="4078"/>
                    <a:pt x="196" y="4078"/>
                  </a:cubicBezTo>
                  <a:cubicBezTo>
                    <a:pt x="137" y="4078"/>
                    <a:pt x="81" y="4104"/>
                    <a:pt x="48" y="4154"/>
                  </a:cubicBezTo>
                  <a:cubicBezTo>
                    <a:pt x="1" y="4237"/>
                    <a:pt x="37" y="4332"/>
                    <a:pt x="108" y="4380"/>
                  </a:cubicBezTo>
                  <a:lnTo>
                    <a:pt x="2656" y="5844"/>
                  </a:lnTo>
                  <a:cubicBezTo>
                    <a:pt x="2727" y="5880"/>
                    <a:pt x="2811" y="5916"/>
                    <a:pt x="2906" y="5916"/>
                  </a:cubicBezTo>
                  <a:cubicBezTo>
                    <a:pt x="2989" y="5916"/>
                    <a:pt x="3085" y="5880"/>
                    <a:pt x="3156" y="5844"/>
                  </a:cubicBezTo>
                  <a:lnTo>
                    <a:pt x="6264" y="4070"/>
                  </a:lnTo>
                  <a:lnTo>
                    <a:pt x="7192" y="4606"/>
                  </a:lnTo>
                  <a:cubicBezTo>
                    <a:pt x="7311" y="4678"/>
                    <a:pt x="7311" y="4856"/>
                    <a:pt x="7192" y="4916"/>
                  </a:cubicBezTo>
                  <a:cubicBezTo>
                    <a:pt x="7097" y="4963"/>
                    <a:pt x="7121" y="4963"/>
                    <a:pt x="3013" y="7309"/>
                  </a:cubicBezTo>
                  <a:cubicBezTo>
                    <a:pt x="2983" y="7327"/>
                    <a:pt x="2954" y="7336"/>
                    <a:pt x="2924" y="7336"/>
                  </a:cubicBezTo>
                  <a:cubicBezTo>
                    <a:pt x="2894" y="7336"/>
                    <a:pt x="2864" y="7327"/>
                    <a:pt x="2835" y="7309"/>
                  </a:cubicBezTo>
                  <a:lnTo>
                    <a:pt x="1942" y="6797"/>
                  </a:lnTo>
                  <a:cubicBezTo>
                    <a:pt x="1913" y="6780"/>
                    <a:pt x="1883" y="6773"/>
                    <a:pt x="1854" y="6773"/>
                  </a:cubicBezTo>
                  <a:cubicBezTo>
                    <a:pt x="1798" y="6773"/>
                    <a:pt x="1747" y="6802"/>
                    <a:pt x="1715" y="6856"/>
                  </a:cubicBezTo>
                  <a:cubicBezTo>
                    <a:pt x="1668" y="6928"/>
                    <a:pt x="1703" y="7035"/>
                    <a:pt x="1775" y="7071"/>
                  </a:cubicBezTo>
                  <a:lnTo>
                    <a:pt x="2668" y="7595"/>
                  </a:lnTo>
                  <a:cubicBezTo>
                    <a:pt x="2739" y="7642"/>
                    <a:pt x="2835" y="7666"/>
                    <a:pt x="2918" y="7666"/>
                  </a:cubicBezTo>
                  <a:cubicBezTo>
                    <a:pt x="3013" y="7666"/>
                    <a:pt x="3096" y="7642"/>
                    <a:pt x="3168" y="7595"/>
                  </a:cubicBezTo>
                  <a:lnTo>
                    <a:pt x="6287" y="5821"/>
                  </a:lnTo>
                  <a:lnTo>
                    <a:pt x="7204" y="6356"/>
                  </a:lnTo>
                  <a:cubicBezTo>
                    <a:pt x="7323" y="6440"/>
                    <a:pt x="7323" y="6618"/>
                    <a:pt x="7204" y="6678"/>
                  </a:cubicBezTo>
                  <a:lnTo>
                    <a:pt x="6430" y="7118"/>
                  </a:lnTo>
                  <a:cubicBezTo>
                    <a:pt x="6287" y="7214"/>
                    <a:pt x="6347" y="7428"/>
                    <a:pt x="6502" y="7428"/>
                  </a:cubicBezTo>
                  <a:cubicBezTo>
                    <a:pt x="6585" y="7428"/>
                    <a:pt x="6549" y="7416"/>
                    <a:pt x="7359" y="6975"/>
                  </a:cubicBezTo>
                  <a:cubicBezTo>
                    <a:pt x="7716" y="6761"/>
                    <a:pt x="7716" y="6273"/>
                    <a:pt x="7383" y="6082"/>
                  </a:cubicBezTo>
                  <a:lnTo>
                    <a:pt x="6621" y="5642"/>
                  </a:lnTo>
                  <a:lnTo>
                    <a:pt x="7371" y="5213"/>
                  </a:lnTo>
                  <a:cubicBezTo>
                    <a:pt x="7538" y="5130"/>
                    <a:pt x="7621" y="4963"/>
                    <a:pt x="7621" y="4773"/>
                  </a:cubicBezTo>
                  <a:cubicBezTo>
                    <a:pt x="7621" y="4594"/>
                    <a:pt x="7538" y="4427"/>
                    <a:pt x="7371" y="4320"/>
                  </a:cubicBezTo>
                  <a:lnTo>
                    <a:pt x="6609" y="3892"/>
                  </a:lnTo>
                  <a:lnTo>
                    <a:pt x="7359" y="3463"/>
                  </a:lnTo>
                  <a:cubicBezTo>
                    <a:pt x="7514" y="3368"/>
                    <a:pt x="7609" y="3201"/>
                    <a:pt x="7609" y="3011"/>
                  </a:cubicBezTo>
                  <a:cubicBezTo>
                    <a:pt x="7609" y="2832"/>
                    <a:pt x="7514" y="2665"/>
                    <a:pt x="7359" y="2570"/>
                  </a:cubicBezTo>
                  <a:lnTo>
                    <a:pt x="6668" y="2165"/>
                  </a:lnTo>
                  <a:cubicBezTo>
                    <a:pt x="6668" y="427"/>
                    <a:pt x="6680" y="510"/>
                    <a:pt x="6621" y="451"/>
                  </a:cubicBezTo>
                  <a:cubicBezTo>
                    <a:pt x="6597" y="403"/>
                    <a:pt x="6609" y="439"/>
                    <a:pt x="5894" y="22"/>
                  </a:cubicBezTo>
                  <a:cubicBezTo>
                    <a:pt x="5872" y="7"/>
                    <a:pt x="5846" y="0"/>
                    <a:pt x="58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6" name="Google Shape;12696;p62"/>
            <p:cNvSpPr/>
            <p:nvPr/>
          </p:nvSpPr>
          <p:spPr>
            <a:xfrm>
              <a:off x="986100" y="3642074"/>
              <a:ext cx="129923" cy="63292"/>
            </a:xfrm>
            <a:custGeom>
              <a:avLst/>
              <a:gdLst/>
              <a:ahLst/>
              <a:cxnLst/>
              <a:rect l="l" t="t" r="r" b="b"/>
              <a:pathLst>
                <a:path w="4085" h="1990" extrusionOk="0">
                  <a:moveTo>
                    <a:pt x="3892" y="0"/>
                  </a:moveTo>
                  <a:cubicBezTo>
                    <a:pt x="3864" y="0"/>
                    <a:pt x="3835" y="8"/>
                    <a:pt x="3811" y="25"/>
                  </a:cubicBezTo>
                  <a:lnTo>
                    <a:pt x="965" y="1644"/>
                  </a:lnTo>
                  <a:cubicBezTo>
                    <a:pt x="935" y="1656"/>
                    <a:pt x="906" y="1662"/>
                    <a:pt x="876" y="1662"/>
                  </a:cubicBezTo>
                  <a:cubicBezTo>
                    <a:pt x="846" y="1662"/>
                    <a:pt x="816" y="1656"/>
                    <a:pt x="786" y="1644"/>
                  </a:cubicBezTo>
                  <a:lnTo>
                    <a:pt x="263" y="1346"/>
                  </a:lnTo>
                  <a:cubicBezTo>
                    <a:pt x="240" y="1331"/>
                    <a:pt x="214" y="1325"/>
                    <a:pt x="188" y="1325"/>
                  </a:cubicBezTo>
                  <a:cubicBezTo>
                    <a:pt x="130" y="1325"/>
                    <a:pt x="69" y="1357"/>
                    <a:pt x="36" y="1406"/>
                  </a:cubicBezTo>
                  <a:cubicBezTo>
                    <a:pt x="1" y="1477"/>
                    <a:pt x="24" y="1584"/>
                    <a:pt x="96" y="1632"/>
                  </a:cubicBezTo>
                  <a:cubicBezTo>
                    <a:pt x="572" y="1882"/>
                    <a:pt x="655" y="1989"/>
                    <a:pt x="870" y="1989"/>
                  </a:cubicBezTo>
                  <a:cubicBezTo>
                    <a:pt x="1108" y="1989"/>
                    <a:pt x="965" y="1989"/>
                    <a:pt x="3965" y="287"/>
                  </a:cubicBezTo>
                  <a:cubicBezTo>
                    <a:pt x="4061" y="263"/>
                    <a:pt x="4084" y="156"/>
                    <a:pt x="4025" y="84"/>
                  </a:cubicBezTo>
                  <a:cubicBezTo>
                    <a:pt x="4001" y="29"/>
                    <a:pt x="3947" y="0"/>
                    <a:pt x="389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7" name="Google Shape;12697;p62"/>
            <p:cNvSpPr/>
            <p:nvPr/>
          </p:nvSpPr>
          <p:spPr>
            <a:xfrm>
              <a:off x="862283" y="3599678"/>
              <a:ext cx="118696" cy="84156"/>
            </a:xfrm>
            <a:custGeom>
              <a:avLst/>
              <a:gdLst/>
              <a:ahLst/>
              <a:cxnLst/>
              <a:rect l="l" t="t" r="r" b="b"/>
              <a:pathLst>
                <a:path w="3732" h="2646" extrusionOk="0">
                  <a:moveTo>
                    <a:pt x="366" y="1"/>
                  </a:moveTo>
                  <a:cubicBezTo>
                    <a:pt x="332" y="1"/>
                    <a:pt x="299" y="9"/>
                    <a:pt x="274" y="24"/>
                  </a:cubicBezTo>
                  <a:cubicBezTo>
                    <a:pt x="0" y="250"/>
                    <a:pt x="36" y="679"/>
                    <a:pt x="346" y="858"/>
                  </a:cubicBezTo>
                  <a:cubicBezTo>
                    <a:pt x="3352" y="2574"/>
                    <a:pt x="3447" y="2644"/>
                    <a:pt x="3517" y="2644"/>
                  </a:cubicBezTo>
                  <a:cubicBezTo>
                    <a:pt x="3523" y="2644"/>
                    <a:pt x="3529" y="2644"/>
                    <a:pt x="3536" y="2644"/>
                  </a:cubicBezTo>
                  <a:cubicBezTo>
                    <a:pt x="3544" y="2645"/>
                    <a:pt x="3550" y="2645"/>
                    <a:pt x="3557" y="2645"/>
                  </a:cubicBezTo>
                  <a:cubicBezTo>
                    <a:pt x="3685" y="2645"/>
                    <a:pt x="3732" y="2436"/>
                    <a:pt x="3596" y="2346"/>
                  </a:cubicBezTo>
                  <a:lnTo>
                    <a:pt x="500" y="584"/>
                  </a:lnTo>
                  <a:cubicBezTo>
                    <a:pt x="381" y="524"/>
                    <a:pt x="381" y="358"/>
                    <a:pt x="465" y="286"/>
                  </a:cubicBezTo>
                  <a:cubicBezTo>
                    <a:pt x="536" y="227"/>
                    <a:pt x="536" y="119"/>
                    <a:pt x="500" y="60"/>
                  </a:cubicBezTo>
                  <a:cubicBezTo>
                    <a:pt x="465" y="18"/>
                    <a:pt x="414" y="1"/>
                    <a:pt x="3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98" name="Google Shape;12698;p62"/>
          <p:cNvSpPr/>
          <p:nvPr/>
        </p:nvSpPr>
        <p:spPr>
          <a:xfrm>
            <a:off x="1315918" y="3360631"/>
            <a:ext cx="288599" cy="337515"/>
          </a:xfrm>
          <a:custGeom>
            <a:avLst/>
            <a:gdLst/>
            <a:ahLst/>
            <a:cxnLst/>
            <a:rect l="l" t="t" r="r" b="b"/>
            <a:pathLst>
              <a:path w="9074" h="10612" extrusionOk="0">
                <a:moveTo>
                  <a:pt x="1215" y="396"/>
                </a:moveTo>
                <a:lnTo>
                  <a:pt x="1370" y="682"/>
                </a:lnTo>
                <a:cubicBezTo>
                  <a:pt x="1323" y="706"/>
                  <a:pt x="1269" y="718"/>
                  <a:pt x="1217" y="718"/>
                </a:cubicBezTo>
                <a:cubicBezTo>
                  <a:pt x="1165" y="718"/>
                  <a:pt x="1114" y="706"/>
                  <a:pt x="1073" y="682"/>
                </a:cubicBezTo>
                <a:lnTo>
                  <a:pt x="1215" y="396"/>
                </a:lnTo>
                <a:close/>
                <a:moveTo>
                  <a:pt x="2870" y="396"/>
                </a:moveTo>
                <a:lnTo>
                  <a:pt x="3013" y="682"/>
                </a:lnTo>
                <a:cubicBezTo>
                  <a:pt x="2972" y="706"/>
                  <a:pt x="2921" y="718"/>
                  <a:pt x="2869" y="718"/>
                </a:cubicBezTo>
                <a:cubicBezTo>
                  <a:pt x="2817" y="718"/>
                  <a:pt x="2763" y="706"/>
                  <a:pt x="2716" y="682"/>
                </a:cubicBezTo>
                <a:lnTo>
                  <a:pt x="2870" y="396"/>
                </a:lnTo>
                <a:close/>
                <a:moveTo>
                  <a:pt x="4525" y="420"/>
                </a:moveTo>
                <a:lnTo>
                  <a:pt x="4668" y="694"/>
                </a:lnTo>
                <a:cubicBezTo>
                  <a:pt x="4627" y="718"/>
                  <a:pt x="4576" y="730"/>
                  <a:pt x="4524" y="730"/>
                </a:cubicBezTo>
                <a:cubicBezTo>
                  <a:pt x="4472" y="730"/>
                  <a:pt x="4418" y="718"/>
                  <a:pt x="4371" y="694"/>
                </a:cubicBezTo>
                <a:lnTo>
                  <a:pt x="4525" y="420"/>
                </a:lnTo>
                <a:close/>
                <a:moveTo>
                  <a:pt x="6180" y="420"/>
                </a:moveTo>
                <a:lnTo>
                  <a:pt x="6323" y="694"/>
                </a:lnTo>
                <a:cubicBezTo>
                  <a:pt x="6282" y="718"/>
                  <a:pt x="6231" y="730"/>
                  <a:pt x="6179" y="730"/>
                </a:cubicBezTo>
                <a:cubicBezTo>
                  <a:pt x="6127" y="730"/>
                  <a:pt x="6073" y="718"/>
                  <a:pt x="6026" y="694"/>
                </a:cubicBezTo>
                <a:lnTo>
                  <a:pt x="6180" y="420"/>
                </a:lnTo>
                <a:close/>
                <a:moveTo>
                  <a:pt x="7823" y="420"/>
                </a:moveTo>
                <a:lnTo>
                  <a:pt x="7978" y="694"/>
                </a:lnTo>
                <a:cubicBezTo>
                  <a:pt x="7931" y="718"/>
                  <a:pt x="7877" y="730"/>
                  <a:pt x="7825" y="730"/>
                </a:cubicBezTo>
                <a:cubicBezTo>
                  <a:pt x="7773" y="730"/>
                  <a:pt x="7722" y="718"/>
                  <a:pt x="7681" y="694"/>
                </a:cubicBezTo>
                <a:lnTo>
                  <a:pt x="7823" y="420"/>
                </a:lnTo>
                <a:close/>
                <a:moveTo>
                  <a:pt x="1501" y="980"/>
                </a:moveTo>
                <a:lnTo>
                  <a:pt x="1775" y="1480"/>
                </a:lnTo>
                <a:lnTo>
                  <a:pt x="620" y="1480"/>
                </a:lnTo>
                <a:lnTo>
                  <a:pt x="906" y="980"/>
                </a:lnTo>
                <a:cubicBezTo>
                  <a:pt x="1001" y="1027"/>
                  <a:pt x="1096" y="1051"/>
                  <a:pt x="1204" y="1051"/>
                </a:cubicBezTo>
                <a:cubicBezTo>
                  <a:pt x="1311" y="1051"/>
                  <a:pt x="1406" y="1027"/>
                  <a:pt x="1501" y="980"/>
                </a:cubicBezTo>
                <a:close/>
                <a:moveTo>
                  <a:pt x="3168" y="980"/>
                </a:moveTo>
                <a:lnTo>
                  <a:pt x="3442" y="1480"/>
                </a:lnTo>
                <a:lnTo>
                  <a:pt x="2287" y="1480"/>
                </a:lnTo>
                <a:lnTo>
                  <a:pt x="2573" y="980"/>
                </a:lnTo>
                <a:cubicBezTo>
                  <a:pt x="2668" y="1027"/>
                  <a:pt x="2763" y="1051"/>
                  <a:pt x="2870" y="1051"/>
                </a:cubicBezTo>
                <a:cubicBezTo>
                  <a:pt x="2978" y="1051"/>
                  <a:pt x="3073" y="1027"/>
                  <a:pt x="3168" y="980"/>
                </a:cubicBezTo>
                <a:close/>
                <a:moveTo>
                  <a:pt x="4823" y="992"/>
                </a:moveTo>
                <a:lnTo>
                  <a:pt x="5085" y="1504"/>
                </a:lnTo>
                <a:lnTo>
                  <a:pt x="3942" y="1504"/>
                </a:lnTo>
                <a:lnTo>
                  <a:pt x="4228" y="992"/>
                </a:lnTo>
                <a:cubicBezTo>
                  <a:pt x="4311" y="1039"/>
                  <a:pt x="4418" y="1075"/>
                  <a:pt x="4525" y="1075"/>
                </a:cubicBezTo>
                <a:cubicBezTo>
                  <a:pt x="4633" y="1075"/>
                  <a:pt x="4728" y="1039"/>
                  <a:pt x="4823" y="992"/>
                </a:cubicBezTo>
                <a:close/>
                <a:moveTo>
                  <a:pt x="6478" y="992"/>
                </a:moveTo>
                <a:lnTo>
                  <a:pt x="6740" y="1504"/>
                </a:lnTo>
                <a:lnTo>
                  <a:pt x="5597" y="1504"/>
                </a:lnTo>
                <a:lnTo>
                  <a:pt x="5883" y="992"/>
                </a:lnTo>
                <a:cubicBezTo>
                  <a:pt x="5966" y="1039"/>
                  <a:pt x="6073" y="1075"/>
                  <a:pt x="6180" y="1075"/>
                </a:cubicBezTo>
                <a:cubicBezTo>
                  <a:pt x="6276" y="1075"/>
                  <a:pt x="6383" y="1039"/>
                  <a:pt x="6478" y="992"/>
                </a:cubicBezTo>
                <a:close/>
                <a:moveTo>
                  <a:pt x="8121" y="992"/>
                </a:moveTo>
                <a:lnTo>
                  <a:pt x="8395" y="1504"/>
                </a:lnTo>
                <a:lnTo>
                  <a:pt x="7252" y="1504"/>
                </a:lnTo>
                <a:lnTo>
                  <a:pt x="7526" y="992"/>
                </a:lnTo>
                <a:cubicBezTo>
                  <a:pt x="7621" y="1039"/>
                  <a:pt x="7728" y="1075"/>
                  <a:pt x="7823" y="1075"/>
                </a:cubicBezTo>
                <a:cubicBezTo>
                  <a:pt x="7931" y="1075"/>
                  <a:pt x="8038" y="1039"/>
                  <a:pt x="8121" y="992"/>
                </a:cubicBezTo>
                <a:close/>
                <a:moveTo>
                  <a:pt x="1061" y="1801"/>
                </a:moveTo>
                <a:lnTo>
                  <a:pt x="1061" y="3575"/>
                </a:lnTo>
                <a:lnTo>
                  <a:pt x="549" y="3575"/>
                </a:lnTo>
                <a:lnTo>
                  <a:pt x="549" y="1801"/>
                </a:lnTo>
                <a:close/>
                <a:moveTo>
                  <a:pt x="1894" y="1801"/>
                </a:moveTo>
                <a:lnTo>
                  <a:pt x="1894" y="3575"/>
                </a:lnTo>
                <a:lnTo>
                  <a:pt x="1382" y="3575"/>
                </a:lnTo>
                <a:lnTo>
                  <a:pt x="1382" y="1801"/>
                </a:lnTo>
                <a:close/>
                <a:moveTo>
                  <a:pt x="2704" y="1801"/>
                </a:moveTo>
                <a:lnTo>
                  <a:pt x="2704" y="3575"/>
                </a:lnTo>
                <a:lnTo>
                  <a:pt x="2204" y="3575"/>
                </a:lnTo>
                <a:lnTo>
                  <a:pt x="2204" y="1801"/>
                </a:lnTo>
                <a:close/>
                <a:moveTo>
                  <a:pt x="3037" y="1801"/>
                </a:moveTo>
                <a:lnTo>
                  <a:pt x="3537" y="1813"/>
                </a:lnTo>
                <a:lnTo>
                  <a:pt x="3537" y="3575"/>
                </a:lnTo>
                <a:lnTo>
                  <a:pt x="3037" y="3575"/>
                </a:lnTo>
                <a:lnTo>
                  <a:pt x="3037" y="1801"/>
                </a:lnTo>
                <a:close/>
                <a:moveTo>
                  <a:pt x="4359" y="1813"/>
                </a:moveTo>
                <a:lnTo>
                  <a:pt x="4359" y="3575"/>
                </a:lnTo>
                <a:lnTo>
                  <a:pt x="3859" y="3575"/>
                </a:lnTo>
                <a:lnTo>
                  <a:pt x="3859" y="1813"/>
                </a:lnTo>
                <a:close/>
                <a:moveTo>
                  <a:pt x="5192" y="1813"/>
                </a:moveTo>
                <a:lnTo>
                  <a:pt x="5192" y="3575"/>
                </a:lnTo>
                <a:lnTo>
                  <a:pt x="4692" y="3575"/>
                </a:lnTo>
                <a:lnTo>
                  <a:pt x="4692" y="1813"/>
                </a:lnTo>
                <a:close/>
                <a:moveTo>
                  <a:pt x="6026" y="1813"/>
                </a:moveTo>
                <a:lnTo>
                  <a:pt x="6026" y="3575"/>
                </a:lnTo>
                <a:lnTo>
                  <a:pt x="5525" y="3575"/>
                </a:lnTo>
                <a:lnTo>
                  <a:pt x="5525" y="1813"/>
                </a:lnTo>
                <a:close/>
                <a:moveTo>
                  <a:pt x="6847" y="1813"/>
                </a:moveTo>
                <a:lnTo>
                  <a:pt x="6847" y="3575"/>
                </a:lnTo>
                <a:lnTo>
                  <a:pt x="6335" y="3575"/>
                </a:lnTo>
                <a:lnTo>
                  <a:pt x="6335" y="1813"/>
                </a:lnTo>
                <a:close/>
                <a:moveTo>
                  <a:pt x="7681" y="1813"/>
                </a:moveTo>
                <a:lnTo>
                  <a:pt x="7681" y="3575"/>
                </a:lnTo>
                <a:lnTo>
                  <a:pt x="7169" y="3575"/>
                </a:lnTo>
                <a:lnTo>
                  <a:pt x="7169" y="1813"/>
                </a:lnTo>
                <a:close/>
                <a:moveTo>
                  <a:pt x="8502" y="1813"/>
                </a:moveTo>
                <a:lnTo>
                  <a:pt x="8502" y="3575"/>
                </a:lnTo>
                <a:lnTo>
                  <a:pt x="7990" y="3575"/>
                </a:lnTo>
                <a:lnTo>
                  <a:pt x="7990" y="1813"/>
                </a:lnTo>
                <a:close/>
                <a:moveTo>
                  <a:pt x="1221" y="1"/>
                </a:moveTo>
                <a:cubicBezTo>
                  <a:pt x="1132" y="1"/>
                  <a:pt x="1043" y="45"/>
                  <a:pt x="1001" y="134"/>
                </a:cubicBezTo>
                <a:lnTo>
                  <a:pt x="322" y="1385"/>
                </a:lnTo>
                <a:cubicBezTo>
                  <a:pt x="263" y="1504"/>
                  <a:pt x="227" y="1647"/>
                  <a:pt x="227" y="1789"/>
                </a:cubicBezTo>
                <a:lnTo>
                  <a:pt x="227" y="3599"/>
                </a:lnTo>
                <a:cubicBezTo>
                  <a:pt x="84" y="3659"/>
                  <a:pt x="1" y="3814"/>
                  <a:pt x="1" y="3956"/>
                </a:cubicBezTo>
                <a:lnTo>
                  <a:pt x="1" y="4921"/>
                </a:lnTo>
                <a:cubicBezTo>
                  <a:pt x="1" y="5016"/>
                  <a:pt x="72" y="5087"/>
                  <a:pt x="168" y="5087"/>
                </a:cubicBezTo>
                <a:cubicBezTo>
                  <a:pt x="251" y="5087"/>
                  <a:pt x="322" y="5016"/>
                  <a:pt x="322" y="4921"/>
                </a:cubicBezTo>
                <a:lnTo>
                  <a:pt x="322" y="3956"/>
                </a:lnTo>
                <a:cubicBezTo>
                  <a:pt x="322" y="3909"/>
                  <a:pt x="370" y="3873"/>
                  <a:pt x="418" y="3873"/>
                </a:cubicBezTo>
                <a:lnTo>
                  <a:pt x="8657" y="3873"/>
                </a:lnTo>
                <a:cubicBezTo>
                  <a:pt x="8704" y="3873"/>
                  <a:pt x="8740" y="3897"/>
                  <a:pt x="8752" y="3944"/>
                </a:cubicBezTo>
                <a:lnTo>
                  <a:pt x="8752" y="6552"/>
                </a:lnTo>
                <a:lnTo>
                  <a:pt x="6180" y="6552"/>
                </a:lnTo>
                <a:cubicBezTo>
                  <a:pt x="6085" y="6552"/>
                  <a:pt x="6014" y="6623"/>
                  <a:pt x="6014" y="6707"/>
                </a:cubicBezTo>
                <a:cubicBezTo>
                  <a:pt x="6014" y="6802"/>
                  <a:pt x="6085" y="6873"/>
                  <a:pt x="6180" y="6873"/>
                </a:cubicBezTo>
                <a:lnTo>
                  <a:pt x="8752" y="6873"/>
                </a:lnTo>
                <a:lnTo>
                  <a:pt x="8752" y="7707"/>
                </a:lnTo>
                <a:lnTo>
                  <a:pt x="3918" y="7707"/>
                </a:lnTo>
                <a:cubicBezTo>
                  <a:pt x="3823" y="7707"/>
                  <a:pt x="3751" y="7778"/>
                  <a:pt x="3751" y="7874"/>
                </a:cubicBezTo>
                <a:cubicBezTo>
                  <a:pt x="3751" y="7957"/>
                  <a:pt x="3823" y="8040"/>
                  <a:pt x="3918" y="8040"/>
                </a:cubicBezTo>
                <a:lnTo>
                  <a:pt x="8752" y="8040"/>
                </a:lnTo>
                <a:lnTo>
                  <a:pt x="8752" y="8671"/>
                </a:lnTo>
                <a:lnTo>
                  <a:pt x="8752" y="9767"/>
                </a:lnTo>
                <a:cubicBezTo>
                  <a:pt x="8752" y="10064"/>
                  <a:pt x="8478" y="10302"/>
                  <a:pt x="8169" y="10302"/>
                </a:cubicBezTo>
                <a:lnTo>
                  <a:pt x="918" y="10302"/>
                </a:lnTo>
                <a:cubicBezTo>
                  <a:pt x="596" y="10302"/>
                  <a:pt x="346" y="10064"/>
                  <a:pt x="346" y="9767"/>
                </a:cubicBezTo>
                <a:lnTo>
                  <a:pt x="346" y="8040"/>
                </a:lnTo>
                <a:lnTo>
                  <a:pt x="3287" y="8040"/>
                </a:lnTo>
                <a:cubicBezTo>
                  <a:pt x="3382" y="8040"/>
                  <a:pt x="3454" y="7957"/>
                  <a:pt x="3454" y="7874"/>
                </a:cubicBezTo>
                <a:cubicBezTo>
                  <a:pt x="3454" y="7778"/>
                  <a:pt x="3382" y="7707"/>
                  <a:pt x="3287" y="7707"/>
                </a:cubicBezTo>
                <a:lnTo>
                  <a:pt x="346" y="7707"/>
                </a:lnTo>
                <a:lnTo>
                  <a:pt x="346" y="6873"/>
                </a:lnTo>
                <a:lnTo>
                  <a:pt x="5549" y="6873"/>
                </a:lnTo>
                <a:cubicBezTo>
                  <a:pt x="5645" y="6873"/>
                  <a:pt x="5716" y="6802"/>
                  <a:pt x="5716" y="6707"/>
                </a:cubicBezTo>
                <a:cubicBezTo>
                  <a:pt x="5716" y="6623"/>
                  <a:pt x="5645" y="6552"/>
                  <a:pt x="5549" y="6552"/>
                </a:cubicBezTo>
                <a:lnTo>
                  <a:pt x="346" y="6552"/>
                </a:lnTo>
                <a:lnTo>
                  <a:pt x="346" y="5552"/>
                </a:lnTo>
                <a:cubicBezTo>
                  <a:pt x="346" y="5457"/>
                  <a:pt x="263" y="5385"/>
                  <a:pt x="180" y="5385"/>
                </a:cubicBezTo>
                <a:cubicBezTo>
                  <a:pt x="84" y="5385"/>
                  <a:pt x="13" y="5457"/>
                  <a:pt x="13" y="5552"/>
                </a:cubicBezTo>
                <a:lnTo>
                  <a:pt x="13" y="9743"/>
                </a:lnTo>
                <a:cubicBezTo>
                  <a:pt x="13" y="10219"/>
                  <a:pt x="418" y="10612"/>
                  <a:pt x="918" y="10612"/>
                </a:cubicBezTo>
                <a:lnTo>
                  <a:pt x="8169" y="10612"/>
                </a:lnTo>
                <a:cubicBezTo>
                  <a:pt x="8681" y="10612"/>
                  <a:pt x="9074" y="10219"/>
                  <a:pt x="9074" y="9743"/>
                </a:cubicBezTo>
                <a:cubicBezTo>
                  <a:pt x="9062" y="9707"/>
                  <a:pt x="9062" y="4075"/>
                  <a:pt x="9062" y="3956"/>
                </a:cubicBezTo>
                <a:cubicBezTo>
                  <a:pt x="9050" y="3790"/>
                  <a:pt x="8954" y="3659"/>
                  <a:pt x="8824" y="3599"/>
                </a:cubicBezTo>
                <a:lnTo>
                  <a:pt x="8824" y="1813"/>
                </a:lnTo>
                <a:cubicBezTo>
                  <a:pt x="8824" y="1682"/>
                  <a:pt x="8800" y="1528"/>
                  <a:pt x="8716" y="1408"/>
                </a:cubicBezTo>
                <a:lnTo>
                  <a:pt x="8050" y="146"/>
                </a:lnTo>
                <a:cubicBezTo>
                  <a:pt x="7997" y="64"/>
                  <a:pt x="7913" y="23"/>
                  <a:pt x="7831" y="23"/>
                </a:cubicBezTo>
                <a:cubicBezTo>
                  <a:pt x="7746" y="23"/>
                  <a:pt x="7663" y="67"/>
                  <a:pt x="7621" y="158"/>
                </a:cubicBezTo>
                <a:lnTo>
                  <a:pt x="7335" y="694"/>
                </a:lnTo>
                <a:lnTo>
                  <a:pt x="7014" y="1313"/>
                </a:lnTo>
                <a:lnTo>
                  <a:pt x="6395" y="146"/>
                </a:lnTo>
                <a:cubicBezTo>
                  <a:pt x="6350" y="68"/>
                  <a:pt x="6273" y="31"/>
                  <a:pt x="6194" y="31"/>
                </a:cubicBezTo>
                <a:cubicBezTo>
                  <a:pt x="6106" y="31"/>
                  <a:pt x="6016" y="77"/>
                  <a:pt x="5966" y="158"/>
                </a:cubicBezTo>
                <a:lnTo>
                  <a:pt x="5680" y="694"/>
                </a:lnTo>
                <a:lnTo>
                  <a:pt x="5359" y="1313"/>
                </a:lnTo>
                <a:cubicBezTo>
                  <a:pt x="5287" y="1158"/>
                  <a:pt x="4752" y="146"/>
                  <a:pt x="4752" y="146"/>
                </a:cubicBezTo>
                <a:cubicBezTo>
                  <a:pt x="4696" y="70"/>
                  <a:pt x="4609" y="26"/>
                  <a:pt x="4524" y="26"/>
                </a:cubicBezTo>
                <a:cubicBezTo>
                  <a:pt x="4463" y="26"/>
                  <a:pt x="4403" y="49"/>
                  <a:pt x="4359" y="99"/>
                </a:cubicBezTo>
                <a:cubicBezTo>
                  <a:pt x="4335" y="134"/>
                  <a:pt x="4347" y="99"/>
                  <a:pt x="4037" y="682"/>
                </a:cubicBezTo>
                <a:lnTo>
                  <a:pt x="3716" y="1289"/>
                </a:lnTo>
                <a:lnTo>
                  <a:pt x="3394" y="682"/>
                </a:lnTo>
                <a:cubicBezTo>
                  <a:pt x="3097" y="134"/>
                  <a:pt x="3109" y="146"/>
                  <a:pt x="3085" y="99"/>
                </a:cubicBezTo>
                <a:cubicBezTo>
                  <a:pt x="3030" y="39"/>
                  <a:pt x="2956" y="9"/>
                  <a:pt x="2883" y="9"/>
                </a:cubicBezTo>
                <a:cubicBezTo>
                  <a:pt x="2797" y="9"/>
                  <a:pt x="2713" y="51"/>
                  <a:pt x="2668" y="134"/>
                </a:cubicBezTo>
                <a:cubicBezTo>
                  <a:pt x="2668" y="134"/>
                  <a:pt x="2668" y="134"/>
                  <a:pt x="2668" y="134"/>
                </a:cubicBezTo>
                <a:lnTo>
                  <a:pt x="2668" y="134"/>
                </a:lnTo>
                <a:cubicBezTo>
                  <a:pt x="2668" y="134"/>
                  <a:pt x="2635" y="191"/>
                  <a:pt x="2049" y="1277"/>
                </a:cubicBezTo>
                <a:lnTo>
                  <a:pt x="1727" y="670"/>
                </a:lnTo>
                <a:lnTo>
                  <a:pt x="1442" y="134"/>
                </a:lnTo>
                <a:cubicBezTo>
                  <a:pt x="1400" y="45"/>
                  <a:pt x="1311" y="1"/>
                  <a:pt x="12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99" name="Google Shape;12699;p62"/>
          <p:cNvGrpSpPr/>
          <p:nvPr/>
        </p:nvGrpSpPr>
        <p:grpSpPr>
          <a:xfrm>
            <a:off x="3967437" y="3837102"/>
            <a:ext cx="364708" cy="295405"/>
            <a:chOff x="3967437" y="3837102"/>
            <a:chExt cx="364708" cy="295405"/>
          </a:xfrm>
        </p:grpSpPr>
        <p:sp>
          <p:nvSpPr>
            <p:cNvPr id="12700" name="Google Shape;12700;p62"/>
            <p:cNvSpPr/>
            <p:nvPr/>
          </p:nvSpPr>
          <p:spPr>
            <a:xfrm>
              <a:off x="4178750" y="3868334"/>
              <a:ext cx="153396" cy="264172"/>
            </a:xfrm>
            <a:custGeom>
              <a:avLst/>
              <a:gdLst/>
              <a:ahLst/>
              <a:cxnLst/>
              <a:rect l="l" t="t" r="r" b="b"/>
              <a:pathLst>
                <a:path w="4823" h="8306" extrusionOk="0">
                  <a:moveTo>
                    <a:pt x="4273" y="1"/>
                  </a:moveTo>
                  <a:cubicBezTo>
                    <a:pt x="4217" y="1"/>
                    <a:pt x="4158" y="32"/>
                    <a:pt x="4120" y="78"/>
                  </a:cubicBezTo>
                  <a:cubicBezTo>
                    <a:pt x="4060" y="150"/>
                    <a:pt x="4096" y="257"/>
                    <a:pt x="4167" y="316"/>
                  </a:cubicBezTo>
                  <a:cubicBezTo>
                    <a:pt x="4370" y="471"/>
                    <a:pt x="4489" y="685"/>
                    <a:pt x="4489" y="947"/>
                  </a:cubicBezTo>
                  <a:lnTo>
                    <a:pt x="4489" y="7210"/>
                  </a:lnTo>
                  <a:cubicBezTo>
                    <a:pt x="4489" y="7627"/>
                    <a:pt x="4156" y="7984"/>
                    <a:pt x="3715" y="7984"/>
                  </a:cubicBezTo>
                  <a:lnTo>
                    <a:pt x="167" y="7984"/>
                  </a:lnTo>
                  <a:cubicBezTo>
                    <a:pt x="72" y="7984"/>
                    <a:pt x="0" y="8055"/>
                    <a:pt x="0" y="8151"/>
                  </a:cubicBezTo>
                  <a:cubicBezTo>
                    <a:pt x="0" y="8234"/>
                    <a:pt x="72" y="8305"/>
                    <a:pt x="167" y="8305"/>
                  </a:cubicBezTo>
                  <a:lnTo>
                    <a:pt x="3715" y="8305"/>
                  </a:lnTo>
                  <a:cubicBezTo>
                    <a:pt x="4334" y="8305"/>
                    <a:pt x="4822" y="7817"/>
                    <a:pt x="4822" y="7210"/>
                  </a:cubicBezTo>
                  <a:lnTo>
                    <a:pt x="4822" y="947"/>
                  </a:lnTo>
                  <a:cubicBezTo>
                    <a:pt x="4822" y="590"/>
                    <a:pt x="4644" y="245"/>
                    <a:pt x="4358" y="31"/>
                  </a:cubicBezTo>
                  <a:cubicBezTo>
                    <a:pt x="4333" y="10"/>
                    <a:pt x="4303" y="1"/>
                    <a:pt x="42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1" name="Google Shape;12701;p62"/>
            <p:cNvSpPr/>
            <p:nvPr/>
          </p:nvSpPr>
          <p:spPr>
            <a:xfrm>
              <a:off x="3969346" y="3937447"/>
              <a:ext cx="198431" cy="194678"/>
            </a:xfrm>
            <a:custGeom>
              <a:avLst/>
              <a:gdLst/>
              <a:ahLst/>
              <a:cxnLst/>
              <a:rect l="l" t="t" r="r" b="b"/>
              <a:pathLst>
                <a:path w="6239" h="6121" extrusionOk="0">
                  <a:moveTo>
                    <a:pt x="167" y="1"/>
                  </a:moveTo>
                  <a:cubicBezTo>
                    <a:pt x="83" y="1"/>
                    <a:pt x="0" y="72"/>
                    <a:pt x="0" y="167"/>
                  </a:cubicBezTo>
                  <a:lnTo>
                    <a:pt x="0" y="5025"/>
                  </a:lnTo>
                  <a:cubicBezTo>
                    <a:pt x="0" y="5632"/>
                    <a:pt x="488" y="6121"/>
                    <a:pt x="1107" y="6121"/>
                  </a:cubicBezTo>
                  <a:lnTo>
                    <a:pt x="6060" y="6121"/>
                  </a:lnTo>
                  <a:cubicBezTo>
                    <a:pt x="6144" y="6121"/>
                    <a:pt x="6227" y="6049"/>
                    <a:pt x="6227" y="5954"/>
                  </a:cubicBezTo>
                  <a:cubicBezTo>
                    <a:pt x="6239" y="5870"/>
                    <a:pt x="6168" y="5799"/>
                    <a:pt x="6060" y="5799"/>
                  </a:cubicBezTo>
                  <a:lnTo>
                    <a:pt x="1107" y="5799"/>
                  </a:lnTo>
                  <a:cubicBezTo>
                    <a:pt x="691" y="5799"/>
                    <a:pt x="333" y="5454"/>
                    <a:pt x="333" y="5025"/>
                  </a:cubicBezTo>
                  <a:lnTo>
                    <a:pt x="333" y="167"/>
                  </a:lnTo>
                  <a:cubicBezTo>
                    <a:pt x="333"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2" name="Google Shape;12702;p62"/>
            <p:cNvSpPr/>
            <p:nvPr/>
          </p:nvSpPr>
          <p:spPr>
            <a:xfrm>
              <a:off x="3967437" y="3837102"/>
              <a:ext cx="331376" cy="89786"/>
            </a:xfrm>
            <a:custGeom>
              <a:avLst/>
              <a:gdLst/>
              <a:ahLst/>
              <a:cxnLst/>
              <a:rect l="l" t="t" r="r" b="b"/>
              <a:pathLst>
                <a:path w="10419" h="2823" extrusionOk="0">
                  <a:moveTo>
                    <a:pt x="2739" y="334"/>
                  </a:moveTo>
                  <a:cubicBezTo>
                    <a:pt x="2822" y="334"/>
                    <a:pt x="2894" y="393"/>
                    <a:pt x="2894" y="477"/>
                  </a:cubicBezTo>
                  <a:lnTo>
                    <a:pt x="2894" y="1453"/>
                  </a:lnTo>
                  <a:cubicBezTo>
                    <a:pt x="2894" y="1525"/>
                    <a:pt x="2834" y="1596"/>
                    <a:pt x="2739" y="1596"/>
                  </a:cubicBezTo>
                  <a:cubicBezTo>
                    <a:pt x="2668" y="1596"/>
                    <a:pt x="2596" y="1536"/>
                    <a:pt x="2596" y="1453"/>
                  </a:cubicBezTo>
                  <a:lnTo>
                    <a:pt x="2596" y="477"/>
                  </a:lnTo>
                  <a:cubicBezTo>
                    <a:pt x="2596" y="405"/>
                    <a:pt x="2656" y="334"/>
                    <a:pt x="2739" y="334"/>
                  </a:cubicBezTo>
                  <a:close/>
                  <a:moveTo>
                    <a:pt x="4751" y="334"/>
                  </a:moveTo>
                  <a:cubicBezTo>
                    <a:pt x="4823" y="334"/>
                    <a:pt x="4906" y="393"/>
                    <a:pt x="4906" y="477"/>
                  </a:cubicBezTo>
                  <a:lnTo>
                    <a:pt x="4906" y="1453"/>
                  </a:lnTo>
                  <a:cubicBezTo>
                    <a:pt x="4906" y="1525"/>
                    <a:pt x="4846" y="1596"/>
                    <a:pt x="4751" y="1596"/>
                  </a:cubicBezTo>
                  <a:cubicBezTo>
                    <a:pt x="4680" y="1596"/>
                    <a:pt x="4608" y="1536"/>
                    <a:pt x="4608" y="1453"/>
                  </a:cubicBezTo>
                  <a:lnTo>
                    <a:pt x="4608" y="477"/>
                  </a:lnTo>
                  <a:cubicBezTo>
                    <a:pt x="4608" y="405"/>
                    <a:pt x="4668" y="334"/>
                    <a:pt x="4751" y="334"/>
                  </a:cubicBezTo>
                  <a:close/>
                  <a:moveTo>
                    <a:pt x="6763" y="334"/>
                  </a:moveTo>
                  <a:cubicBezTo>
                    <a:pt x="6835" y="334"/>
                    <a:pt x="6906" y="393"/>
                    <a:pt x="6906" y="477"/>
                  </a:cubicBezTo>
                  <a:lnTo>
                    <a:pt x="6906" y="1453"/>
                  </a:lnTo>
                  <a:cubicBezTo>
                    <a:pt x="6906" y="1525"/>
                    <a:pt x="6847" y="1596"/>
                    <a:pt x="6763" y="1596"/>
                  </a:cubicBezTo>
                  <a:cubicBezTo>
                    <a:pt x="6692" y="1596"/>
                    <a:pt x="6609" y="1536"/>
                    <a:pt x="6609" y="1453"/>
                  </a:cubicBezTo>
                  <a:lnTo>
                    <a:pt x="6609" y="477"/>
                  </a:lnTo>
                  <a:cubicBezTo>
                    <a:pt x="6609" y="405"/>
                    <a:pt x="6668" y="334"/>
                    <a:pt x="6763" y="334"/>
                  </a:cubicBezTo>
                  <a:close/>
                  <a:moveTo>
                    <a:pt x="8775" y="334"/>
                  </a:moveTo>
                  <a:cubicBezTo>
                    <a:pt x="8847" y="334"/>
                    <a:pt x="8918" y="393"/>
                    <a:pt x="8918" y="477"/>
                  </a:cubicBezTo>
                  <a:lnTo>
                    <a:pt x="8918" y="1453"/>
                  </a:lnTo>
                  <a:cubicBezTo>
                    <a:pt x="8918" y="1525"/>
                    <a:pt x="8859" y="1596"/>
                    <a:pt x="8775" y="1596"/>
                  </a:cubicBezTo>
                  <a:cubicBezTo>
                    <a:pt x="8692" y="1596"/>
                    <a:pt x="8621" y="1536"/>
                    <a:pt x="8621" y="1453"/>
                  </a:cubicBezTo>
                  <a:lnTo>
                    <a:pt x="8621" y="1155"/>
                  </a:lnTo>
                  <a:lnTo>
                    <a:pt x="8621" y="810"/>
                  </a:lnTo>
                  <a:lnTo>
                    <a:pt x="8621" y="477"/>
                  </a:lnTo>
                  <a:cubicBezTo>
                    <a:pt x="8621" y="405"/>
                    <a:pt x="8680" y="334"/>
                    <a:pt x="8775" y="334"/>
                  </a:cubicBezTo>
                  <a:close/>
                  <a:moveTo>
                    <a:pt x="2703" y="1"/>
                  </a:moveTo>
                  <a:cubicBezTo>
                    <a:pt x="2429" y="1"/>
                    <a:pt x="2203" y="227"/>
                    <a:pt x="2203" y="501"/>
                  </a:cubicBezTo>
                  <a:lnTo>
                    <a:pt x="2203" y="822"/>
                  </a:lnTo>
                  <a:lnTo>
                    <a:pt x="1108" y="822"/>
                  </a:lnTo>
                  <a:cubicBezTo>
                    <a:pt x="501" y="822"/>
                    <a:pt x="1" y="1310"/>
                    <a:pt x="1" y="1929"/>
                  </a:cubicBezTo>
                  <a:lnTo>
                    <a:pt x="1" y="2656"/>
                  </a:lnTo>
                  <a:cubicBezTo>
                    <a:pt x="1" y="2739"/>
                    <a:pt x="84" y="2822"/>
                    <a:pt x="167" y="2822"/>
                  </a:cubicBezTo>
                  <a:cubicBezTo>
                    <a:pt x="262" y="2822"/>
                    <a:pt x="334" y="2739"/>
                    <a:pt x="334" y="2656"/>
                  </a:cubicBezTo>
                  <a:lnTo>
                    <a:pt x="334" y="1929"/>
                  </a:lnTo>
                  <a:cubicBezTo>
                    <a:pt x="334" y="1513"/>
                    <a:pt x="679" y="1144"/>
                    <a:pt x="1108" y="1144"/>
                  </a:cubicBezTo>
                  <a:lnTo>
                    <a:pt x="2203" y="1144"/>
                  </a:lnTo>
                  <a:lnTo>
                    <a:pt x="2203" y="1441"/>
                  </a:lnTo>
                  <a:cubicBezTo>
                    <a:pt x="2203" y="1715"/>
                    <a:pt x="2429" y="1941"/>
                    <a:pt x="2703" y="1941"/>
                  </a:cubicBezTo>
                  <a:cubicBezTo>
                    <a:pt x="2965" y="1941"/>
                    <a:pt x="3191" y="1715"/>
                    <a:pt x="3191" y="1441"/>
                  </a:cubicBezTo>
                  <a:lnTo>
                    <a:pt x="3191" y="1144"/>
                  </a:lnTo>
                  <a:lnTo>
                    <a:pt x="4227" y="1144"/>
                  </a:lnTo>
                  <a:lnTo>
                    <a:pt x="4227" y="1441"/>
                  </a:lnTo>
                  <a:cubicBezTo>
                    <a:pt x="4227" y="1715"/>
                    <a:pt x="4453" y="1941"/>
                    <a:pt x="4727" y="1941"/>
                  </a:cubicBezTo>
                  <a:cubicBezTo>
                    <a:pt x="4989" y="1941"/>
                    <a:pt x="5215" y="1715"/>
                    <a:pt x="5215" y="1441"/>
                  </a:cubicBezTo>
                  <a:lnTo>
                    <a:pt x="5215" y="1144"/>
                  </a:lnTo>
                  <a:lnTo>
                    <a:pt x="6251" y="1144"/>
                  </a:lnTo>
                  <a:lnTo>
                    <a:pt x="6251" y="1441"/>
                  </a:lnTo>
                  <a:cubicBezTo>
                    <a:pt x="6251" y="1715"/>
                    <a:pt x="6478" y="1941"/>
                    <a:pt x="6751" y="1941"/>
                  </a:cubicBezTo>
                  <a:cubicBezTo>
                    <a:pt x="7013" y="1941"/>
                    <a:pt x="7240" y="1715"/>
                    <a:pt x="7240" y="1441"/>
                  </a:cubicBezTo>
                  <a:lnTo>
                    <a:pt x="7240" y="1144"/>
                  </a:lnTo>
                  <a:lnTo>
                    <a:pt x="8275" y="1144"/>
                  </a:lnTo>
                  <a:lnTo>
                    <a:pt x="8275" y="1441"/>
                  </a:lnTo>
                  <a:cubicBezTo>
                    <a:pt x="8275" y="1715"/>
                    <a:pt x="8502" y="1941"/>
                    <a:pt x="8775" y="1941"/>
                  </a:cubicBezTo>
                  <a:cubicBezTo>
                    <a:pt x="9037" y="1941"/>
                    <a:pt x="9264" y="1715"/>
                    <a:pt x="9264" y="1441"/>
                  </a:cubicBezTo>
                  <a:lnTo>
                    <a:pt x="9264" y="1144"/>
                  </a:lnTo>
                  <a:lnTo>
                    <a:pt x="10264" y="1144"/>
                  </a:lnTo>
                  <a:cubicBezTo>
                    <a:pt x="10347" y="1144"/>
                    <a:pt x="10419" y="1072"/>
                    <a:pt x="10419" y="989"/>
                  </a:cubicBezTo>
                  <a:cubicBezTo>
                    <a:pt x="10419" y="894"/>
                    <a:pt x="10347" y="822"/>
                    <a:pt x="10264" y="822"/>
                  </a:cubicBezTo>
                  <a:lnTo>
                    <a:pt x="9264" y="822"/>
                  </a:lnTo>
                  <a:lnTo>
                    <a:pt x="9264" y="501"/>
                  </a:lnTo>
                  <a:cubicBezTo>
                    <a:pt x="9264" y="227"/>
                    <a:pt x="9037" y="1"/>
                    <a:pt x="8775" y="1"/>
                  </a:cubicBezTo>
                  <a:cubicBezTo>
                    <a:pt x="8502" y="1"/>
                    <a:pt x="8275" y="227"/>
                    <a:pt x="8275" y="501"/>
                  </a:cubicBezTo>
                  <a:lnTo>
                    <a:pt x="8275" y="822"/>
                  </a:lnTo>
                  <a:lnTo>
                    <a:pt x="7240" y="822"/>
                  </a:lnTo>
                  <a:lnTo>
                    <a:pt x="7240" y="501"/>
                  </a:lnTo>
                  <a:cubicBezTo>
                    <a:pt x="7240" y="227"/>
                    <a:pt x="7013" y="1"/>
                    <a:pt x="6751" y="1"/>
                  </a:cubicBezTo>
                  <a:cubicBezTo>
                    <a:pt x="6478" y="1"/>
                    <a:pt x="6251" y="227"/>
                    <a:pt x="6251" y="501"/>
                  </a:cubicBezTo>
                  <a:lnTo>
                    <a:pt x="6251" y="822"/>
                  </a:lnTo>
                  <a:lnTo>
                    <a:pt x="5215" y="822"/>
                  </a:lnTo>
                  <a:lnTo>
                    <a:pt x="5215" y="501"/>
                  </a:lnTo>
                  <a:cubicBezTo>
                    <a:pt x="5215" y="227"/>
                    <a:pt x="4989" y="1"/>
                    <a:pt x="4727" y="1"/>
                  </a:cubicBezTo>
                  <a:cubicBezTo>
                    <a:pt x="4453" y="1"/>
                    <a:pt x="4227" y="227"/>
                    <a:pt x="4227" y="501"/>
                  </a:cubicBezTo>
                  <a:lnTo>
                    <a:pt x="4227" y="822"/>
                  </a:lnTo>
                  <a:lnTo>
                    <a:pt x="3191" y="822"/>
                  </a:lnTo>
                  <a:lnTo>
                    <a:pt x="3191" y="501"/>
                  </a:lnTo>
                  <a:cubicBezTo>
                    <a:pt x="3191" y="227"/>
                    <a:pt x="2965" y="1"/>
                    <a:pt x="2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3" name="Google Shape;12703;p62"/>
            <p:cNvSpPr/>
            <p:nvPr/>
          </p:nvSpPr>
          <p:spPr>
            <a:xfrm>
              <a:off x="3994694" y="3917378"/>
              <a:ext cx="158325" cy="156067"/>
            </a:xfrm>
            <a:custGeom>
              <a:avLst/>
              <a:gdLst/>
              <a:ahLst/>
              <a:cxnLst/>
              <a:rect l="l" t="t" r="r" b="b"/>
              <a:pathLst>
                <a:path w="4978" h="4907" extrusionOk="0">
                  <a:moveTo>
                    <a:pt x="156" y="1"/>
                  </a:moveTo>
                  <a:cubicBezTo>
                    <a:pt x="72" y="1"/>
                    <a:pt x="1" y="72"/>
                    <a:pt x="1" y="155"/>
                  </a:cubicBezTo>
                  <a:lnTo>
                    <a:pt x="1" y="1251"/>
                  </a:lnTo>
                  <a:cubicBezTo>
                    <a:pt x="1" y="2049"/>
                    <a:pt x="656" y="2703"/>
                    <a:pt x="1453" y="2703"/>
                  </a:cubicBezTo>
                  <a:lnTo>
                    <a:pt x="2049" y="2703"/>
                  </a:lnTo>
                  <a:cubicBezTo>
                    <a:pt x="2573" y="2703"/>
                    <a:pt x="2989" y="3120"/>
                    <a:pt x="2989" y="3644"/>
                  </a:cubicBezTo>
                  <a:cubicBezTo>
                    <a:pt x="2989" y="4346"/>
                    <a:pt x="3549" y="4906"/>
                    <a:pt x="4251" y="4906"/>
                  </a:cubicBezTo>
                  <a:lnTo>
                    <a:pt x="4811" y="4906"/>
                  </a:lnTo>
                  <a:cubicBezTo>
                    <a:pt x="4906" y="4906"/>
                    <a:pt x="4978" y="4835"/>
                    <a:pt x="4978" y="4739"/>
                  </a:cubicBezTo>
                  <a:cubicBezTo>
                    <a:pt x="4978" y="4644"/>
                    <a:pt x="4906" y="4561"/>
                    <a:pt x="4799" y="4561"/>
                  </a:cubicBezTo>
                  <a:lnTo>
                    <a:pt x="4239" y="4561"/>
                  </a:lnTo>
                  <a:cubicBezTo>
                    <a:pt x="3716" y="4561"/>
                    <a:pt x="3299" y="4144"/>
                    <a:pt x="3299" y="3632"/>
                  </a:cubicBezTo>
                  <a:cubicBezTo>
                    <a:pt x="3299" y="2930"/>
                    <a:pt x="2739" y="2358"/>
                    <a:pt x="2037" y="2358"/>
                  </a:cubicBezTo>
                  <a:lnTo>
                    <a:pt x="1441" y="2358"/>
                  </a:lnTo>
                  <a:cubicBezTo>
                    <a:pt x="834" y="2358"/>
                    <a:pt x="322" y="1858"/>
                    <a:pt x="322" y="1251"/>
                  </a:cubicBezTo>
                  <a:lnTo>
                    <a:pt x="322" y="155"/>
                  </a:ln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4" name="Google Shape;12704;p62"/>
            <p:cNvSpPr/>
            <p:nvPr/>
          </p:nvSpPr>
          <p:spPr>
            <a:xfrm>
              <a:off x="4160812" y="3927174"/>
              <a:ext cx="155813" cy="149992"/>
            </a:xfrm>
            <a:custGeom>
              <a:avLst/>
              <a:gdLst/>
              <a:ahLst/>
              <a:cxnLst/>
              <a:rect l="l" t="t" r="r" b="b"/>
              <a:pathLst>
                <a:path w="4899" h="4716" extrusionOk="0">
                  <a:moveTo>
                    <a:pt x="3231" y="645"/>
                  </a:moveTo>
                  <a:lnTo>
                    <a:pt x="4124" y="1538"/>
                  </a:lnTo>
                  <a:lnTo>
                    <a:pt x="3838" y="1812"/>
                  </a:lnTo>
                  <a:lnTo>
                    <a:pt x="2945" y="919"/>
                  </a:lnTo>
                  <a:lnTo>
                    <a:pt x="3231" y="645"/>
                  </a:lnTo>
                  <a:close/>
                  <a:moveTo>
                    <a:pt x="2707" y="1157"/>
                  </a:moveTo>
                  <a:lnTo>
                    <a:pt x="3029" y="1491"/>
                  </a:lnTo>
                  <a:lnTo>
                    <a:pt x="1302" y="3217"/>
                  </a:lnTo>
                  <a:lnTo>
                    <a:pt x="981" y="2884"/>
                  </a:lnTo>
                  <a:lnTo>
                    <a:pt x="2707" y="1157"/>
                  </a:lnTo>
                  <a:close/>
                  <a:moveTo>
                    <a:pt x="814" y="3205"/>
                  </a:moveTo>
                  <a:lnTo>
                    <a:pt x="1564" y="3943"/>
                  </a:lnTo>
                  <a:lnTo>
                    <a:pt x="1064" y="4098"/>
                  </a:lnTo>
                  <a:cubicBezTo>
                    <a:pt x="993" y="3919"/>
                    <a:pt x="862" y="3765"/>
                    <a:pt x="671" y="3693"/>
                  </a:cubicBezTo>
                  <a:lnTo>
                    <a:pt x="814" y="3205"/>
                  </a:lnTo>
                  <a:close/>
                  <a:moveTo>
                    <a:pt x="552" y="4015"/>
                  </a:moveTo>
                  <a:cubicBezTo>
                    <a:pt x="624" y="4050"/>
                    <a:pt x="695" y="4122"/>
                    <a:pt x="731" y="4193"/>
                  </a:cubicBezTo>
                  <a:lnTo>
                    <a:pt x="469" y="4288"/>
                  </a:lnTo>
                  <a:lnTo>
                    <a:pt x="469" y="4288"/>
                  </a:lnTo>
                  <a:lnTo>
                    <a:pt x="552" y="4015"/>
                  </a:lnTo>
                  <a:close/>
                  <a:moveTo>
                    <a:pt x="3648" y="1"/>
                  </a:moveTo>
                  <a:cubicBezTo>
                    <a:pt x="3640" y="1"/>
                    <a:pt x="3632" y="1"/>
                    <a:pt x="3624" y="2"/>
                  </a:cubicBezTo>
                  <a:cubicBezTo>
                    <a:pt x="3148" y="86"/>
                    <a:pt x="3005" y="419"/>
                    <a:pt x="2588" y="788"/>
                  </a:cubicBezTo>
                  <a:cubicBezTo>
                    <a:pt x="2588" y="788"/>
                    <a:pt x="707" y="2669"/>
                    <a:pt x="683" y="2705"/>
                  </a:cubicBezTo>
                  <a:cubicBezTo>
                    <a:pt x="517" y="2812"/>
                    <a:pt x="445" y="3276"/>
                    <a:pt x="40" y="4491"/>
                  </a:cubicBezTo>
                  <a:cubicBezTo>
                    <a:pt x="0" y="4612"/>
                    <a:pt x="79" y="4716"/>
                    <a:pt x="191" y="4716"/>
                  </a:cubicBezTo>
                  <a:cubicBezTo>
                    <a:pt x="212" y="4716"/>
                    <a:pt x="233" y="4712"/>
                    <a:pt x="255" y="4705"/>
                  </a:cubicBezTo>
                  <a:lnTo>
                    <a:pt x="1743" y="4241"/>
                  </a:lnTo>
                  <a:cubicBezTo>
                    <a:pt x="2017" y="4158"/>
                    <a:pt x="2124" y="3979"/>
                    <a:pt x="2231" y="3896"/>
                  </a:cubicBezTo>
                  <a:cubicBezTo>
                    <a:pt x="2291" y="3836"/>
                    <a:pt x="2291" y="3717"/>
                    <a:pt x="2231" y="3657"/>
                  </a:cubicBezTo>
                  <a:cubicBezTo>
                    <a:pt x="2201" y="3628"/>
                    <a:pt x="2157" y="3613"/>
                    <a:pt x="2112" y="3613"/>
                  </a:cubicBezTo>
                  <a:cubicBezTo>
                    <a:pt x="2067" y="3613"/>
                    <a:pt x="2023" y="3628"/>
                    <a:pt x="1993" y="3657"/>
                  </a:cubicBezTo>
                  <a:lnTo>
                    <a:pt x="1874" y="3777"/>
                  </a:lnTo>
                  <a:lnTo>
                    <a:pt x="1541" y="3455"/>
                  </a:lnTo>
                  <a:lnTo>
                    <a:pt x="3267" y="1729"/>
                  </a:lnTo>
                  <a:lnTo>
                    <a:pt x="3600" y="2050"/>
                  </a:lnTo>
                  <a:lnTo>
                    <a:pt x="2469" y="3181"/>
                  </a:lnTo>
                  <a:cubicBezTo>
                    <a:pt x="2362" y="3288"/>
                    <a:pt x="2434" y="3467"/>
                    <a:pt x="2588" y="3467"/>
                  </a:cubicBezTo>
                  <a:cubicBezTo>
                    <a:pt x="2719" y="3467"/>
                    <a:pt x="2672" y="3419"/>
                    <a:pt x="3946" y="2169"/>
                  </a:cubicBezTo>
                  <a:lnTo>
                    <a:pt x="4458" y="1657"/>
                  </a:lnTo>
                  <a:cubicBezTo>
                    <a:pt x="4898" y="1240"/>
                    <a:pt x="4862" y="562"/>
                    <a:pt x="4398" y="193"/>
                  </a:cubicBezTo>
                  <a:cubicBezTo>
                    <a:pt x="4368" y="168"/>
                    <a:pt x="4332" y="156"/>
                    <a:pt x="4296" y="156"/>
                  </a:cubicBezTo>
                  <a:cubicBezTo>
                    <a:pt x="4246" y="156"/>
                    <a:pt x="4195" y="180"/>
                    <a:pt x="4160" y="228"/>
                  </a:cubicBezTo>
                  <a:cubicBezTo>
                    <a:pt x="4100" y="300"/>
                    <a:pt x="4124" y="407"/>
                    <a:pt x="4196" y="467"/>
                  </a:cubicBezTo>
                  <a:cubicBezTo>
                    <a:pt x="4339" y="586"/>
                    <a:pt x="4434" y="764"/>
                    <a:pt x="4434" y="955"/>
                  </a:cubicBezTo>
                  <a:cubicBezTo>
                    <a:pt x="4434" y="1074"/>
                    <a:pt x="4398" y="1181"/>
                    <a:pt x="4339" y="1264"/>
                  </a:cubicBezTo>
                  <a:lnTo>
                    <a:pt x="3481" y="407"/>
                  </a:lnTo>
                  <a:cubicBezTo>
                    <a:pt x="3541" y="371"/>
                    <a:pt x="3612" y="348"/>
                    <a:pt x="3684" y="324"/>
                  </a:cubicBezTo>
                  <a:cubicBezTo>
                    <a:pt x="3779" y="312"/>
                    <a:pt x="3838" y="228"/>
                    <a:pt x="3827" y="133"/>
                  </a:cubicBezTo>
                  <a:cubicBezTo>
                    <a:pt x="3805" y="57"/>
                    <a:pt x="3733" y="1"/>
                    <a:pt x="36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705" name="Google Shape;12705;p62"/>
          <p:cNvSpPr/>
          <p:nvPr/>
        </p:nvSpPr>
        <p:spPr>
          <a:xfrm>
            <a:off x="3216521" y="3807937"/>
            <a:ext cx="78049" cy="353417"/>
          </a:xfrm>
          <a:custGeom>
            <a:avLst/>
            <a:gdLst/>
            <a:ahLst/>
            <a:cxnLst/>
            <a:rect l="l" t="t" r="r" b="b"/>
            <a:pathLst>
              <a:path w="2454" h="11112" extrusionOk="0">
                <a:moveTo>
                  <a:pt x="1215" y="501"/>
                </a:moveTo>
                <a:cubicBezTo>
                  <a:pt x="1429" y="894"/>
                  <a:pt x="1453" y="953"/>
                  <a:pt x="1453" y="965"/>
                </a:cubicBezTo>
                <a:cubicBezTo>
                  <a:pt x="1382" y="1013"/>
                  <a:pt x="1286" y="1025"/>
                  <a:pt x="1203" y="1025"/>
                </a:cubicBezTo>
                <a:cubicBezTo>
                  <a:pt x="1108" y="1025"/>
                  <a:pt x="1024" y="1013"/>
                  <a:pt x="941" y="965"/>
                </a:cubicBezTo>
                <a:lnTo>
                  <a:pt x="1215" y="501"/>
                </a:lnTo>
                <a:close/>
                <a:moveTo>
                  <a:pt x="1620" y="1275"/>
                </a:moveTo>
                <a:lnTo>
                  <a:pt x="2001" y="2013"/>
                </a:lnTo>
                <a:lnTo>
                  <a:pt x="429" y="2013"/>
                </a:lnTo>
                <a:lnTo>
                  <a:pt x="810" y="1275"/>
                </a:lnTo>
                <a:cubicBezTo>
                  <a:pt x="929" y="1334"/>
                  <a:pt x="1084" y="1382"/>
                  <a:pt x="1215" y="1382"/>
                </a:cubicBezTo>
                <a:cubicBezTo>
                  <a:pt x="1346" y="1382"/>
                  <a:pt x="1501" y="1358"/>
                  <a:pt x="1620" y="1275"/>
                </a:cubicBezTo>
                <a:close/>
                <a:moveTo>
                  <a:pt x="2108" y="9109"/>
                </a:moveTo>
                <a:lnTo>
                  <a:pt x="2108" y="9752"/>
                </a:lnTo>
                <a:lnTo>
                  <a:pt x="322" y="9752"/>
                </a:lnTo>
                <a:lnTo>
                  <a:pt x="322" y="9109"/>
                </a:lnTo>
                <a:close/>
                <a:moveTo>
                  <a:pt x="1215" y="1"/>
                </a:moveTo>
                <a:cubicBezTo>
                  <a:pt x="1155" y="1"/>
                  <a:pt x="1096" y="25"/>
                  <a:pt x="1072" y="84"/>
                </a:cubicBezTo>
                <a:lnTo>
                  <a:pt x="608" y="965"/>
                </a:lnTo>
                <a:lnTo>
                  <a:pt x="120" y="1894"/>
                </a:lnTo>
                <a:cubicBezTo>
                  <a:pt x="36" y="2037"/>
                  <a:pt x="0" y="2215"/>
                  <a:pt x="0" y="2382"/>
                </a:cubicBezTo>
                <a:lnTo>
                  <a:pt x="0" y="5359"/>
                </a:lnTo>
                <a:cubicBezTo>
                  <a:pt x="0" y="5442"/>
                  <a:pt x="72" y="5525"/>
                  <a:pt x="155" y="5525"/>
                </a:cubicBezTo>
                <a:cubicBezTo>
                  <a:pt x="250" y="5525"/>
                  <a:pt x="322" y="5442"/>
                  <a:pt x="322" y="5359"/>
                </a:cubicBezTo>
                <a:lnTo>
                  <a:pt x="322" y="2346"/>
                </a:lnTo>
                <a:lnTo>
                  <a:pt x="1048" y="2346"/>
                </a:lnTo>
                <a:lnTo>
                  <a:pt x="1048" y="8776"/>
                </a:lnTo>
                <a:lnTo>
                  <a:pt x="322" y="8776"/>
                </a:lnTo>
                <a:lnTo>
                  <a:pt x="322" y="6002"/>
                </a:lnTo>
                <a:cubicBezTo>
                  <a:pt x="322" y="5906"/>
                  <a:pt x="250" y="5835"/>
                  <a:pt x="155" y="5835"/>
                </a:cubicBezTo>
                <a:cubicBezTo>
                  <a:pt x="72" y="5835"/>
                  <a:pt x="0" y="5906"/>
                  <a:pt x="0" y="6002"/>
                </a:cubicBezTo>
                <a:lnTo>
                  <a:pt x="0" y="9895"/>
                </a:lnTo>
                <a:cubicBezTo>
                  <a:pt x="0" y="10121"/>
                  <a:pt x="60" y="10323"/>
                  <a:pt x="179" y="10526"/>
                </a:cubicBezTo>
                <a:cubicBezTo>
                  <a:pt x="203" y="10562"/>
                  <a:pt x="262" y="10597"/>
                  <a:pt x="322" y="10597"/>
                </a:cubicBezTo>
                <a:cubicBezTo>
                  <a:pt x="453" y="10597"/>
                  <a:pt x="536" y="10466"/>
                  <a:pt x="477" y="10347"/>
                </a:cubicBezTo>
                <a:cubicBezTo>
                  <a:pt x="417" y="10252"/>
                  <a:pt x="381" y="10145"/>
                  <a:pt x="370" y="10050"/>
                </a:cubicBezTo>
                <a:lnTo>
                  <a:pt x="2108" y="10050"/>
                </a:lnTo>
                <a:cubicBezTo>
                  <a:pt x="2025" y="10443"/>
                  <a:pt x="1679" y="10764"/>
                  <a:pt x="1251" y="10776"/>
                </a:cubicBezTo>
                <a:cubicBezTo>
                  <a:pt x="1108" y="10776"/>
                  <a:pt x="989" y="10764"/>
                  <a:pt x="893" y="10704"/>
                </a:cubicBezTo>
                <a:cubicBezTo>
                  <a:pt x="869" y="10695"/>
                  <a:pt x="844" y="10691"/>
                  <a:pt x="822" y="10691"/>
                </a:cubicBezTo>
                <a:cubicBezTo>
                  <a:pt x="757" y="10691"/>
                  <a:pt x="702" y="10726"/>
                  <a:pt x="667" y="10788"/>
                </a:cubicBezTo>
                <a:cubicBezTo>
                  <a:pt x="631" y="10883"/>
                  <a:pt x="667" y="10966"/>
                  <a:pt x="751" y="11014"/>
                </a:cubicBezTo>
                <a:cubicBezTo>
                  <a:pt x="907" y="11081"/>
                  <a:pt x="1067" y="11111"/>
                  <a:pt x="1222" y="11111"/>
                </a:cubicBezTo>
                <a:cubicBezTo>
                  <a:pt x="1872" y="11111"/>
                  <a:pt x="2453" y="10577"/>
                  <a:pt x="2453" y="9895"/>
                </a:cubicBezTo>
                <a:lnTo>
                  <a:pt x="2453" y="9895"/>
                </a:lnTo>
                <a:cubicBezTo>
                  <a:pt x="2453" y="9895"/>
                  <a:pt x="2453" y="9895"/>
                  <a:pt x="2453" y="9895"/>
                </a:cubicBezTo>
                <a:cubicBezTo>
                  <a:pt x="2441" y="9895"/>
                  <a:pt x="2441" y="8954"/>
                  <a:pt x="2441" y="8942"/>
                </a:cubicBezTo>
                <a:lnTo>
                  <a:pt x="2441" y="7514"/>
                </a:lnTo>
                <a:cubicBezTo>
                  <a:pt x="2441" y="7418"/>
                  <a:pt x="2358" y="7347"/>
                  <a:pt x="2275" y="7347"/>
                </a:cubicBezTo>
                <a:cubicBezTo>
                  <a:pt x="2179" y="7347"/>
                  <a:pt x="2108" y="7418"/>
                  <a:pt x="2108" y="7514"/>
                </a:cubicBezTo>
                <a:lnTo>
                  <a:pt x="2108" y="8776"/>
                </a:lnTo>
                <a:lnTo>
                  <a:pt x="1382" y="8776"/>
                </a:lnTo>
                <a:lnTo>
                  <a:pt x="1382" y="2346"/>
                </a:lnTo>
                <a:lnTo>
                  <a:pt x="2108" y="2346"/>
                </a:lnTo>
                <a:lnTo>
                  <a:pt x="2108" y="2382"/>
                </a:lnTo>
                <a:lnTo>
                  <a:pt x="2108" y="6859"/>
                </a:lnTo>
                <a:cubicBezTo>
                  <a:pt x="2108" y="6954"/>
                  <a:pt x="2179" y="7025"/>
                  <a:pt x="2275" y="7025"/>
                </a:cubicBezTo>
                <a:cubicBezTo>
                  <a:pt x="2358" y="7025"/>
                  <a:pt x="2441" y="6954"/>
                  <a:pt x="2441" y="6859"/>
                </a:cubicBezTo>
                <a:lnTo>
                  <a:pt x="2441" y="2382"/>
                </a:lnTo>
                <a:cubicBezTo>
                  <a:pt x="2441" y="2215"/>
                  <a:pt x="2394" y="2037"/>
                  <a:pt x="2322" y="1894"/>
                </a:cubicBezTo>
                <a:lnTo>
                  <a:pt x="1370" y="84"/>
                </a:lnTo>
                <a:cubicBezTo>
                  <a:pt x="1334" y="25"/>
                  <a:pt x="1274" y="1"/>
                  <a:pt x="1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6" name="Google Shape;12706;p62"/>
          <p:cNvSpPr/>
          <p:nvPr/>
        </p:nvSpPr>
        <p:spPr>
          <a:xfrm>
            <a:off x="3469466" y="3828197"/>
            <a:ext cx="363563" cy="311657"/>
          </a:xfrm>
          <a:custGeom>
            <a:avLst/>
            <a:gdLst/>
            <a:ahLst/>
            <a:cxnLst/>
            <a:rect l="l" t="t" r="r" b="b"/>
            <a:pathLst>
              <a:path w="11431" h="9799" extrusionOk="0">
                <a:moveTo>
                  <a:pt x="4347" y="1"/>
                </a:moveTo>
                <a:cubicBezTo>
                  <a:pt x="3957" y="1"/>
                  <a:pt x="3588" y="148"/>
                  <a:pt x="3311" y="435"/>
                </a:cubicBezTo>
                <a:lnTo>
                  <a:pt x="3287" y="447"/>
                </a:lnTo>
                <a:lnTo>
                  <a:pt x="3275" y="447"/>
                </a:lnTo>
                <a:cubicBezTo>
                  <a:pt x="3189" y="435"/>
                  <a:pt x="3104" y="429"/>
                  <a:pt x="3019" y="429"/>
                </a:cubicBezTo>
                <a:cubicBezTo>
                  <a:pt x="2531" y="429"/>
                  <a:pt x="2074" y="633"/>
                  <a:pt x="1739" y="1019"/>
                </a:cubicBezTo>
                <a:cubicBezTo>
                  <a:pt x="1358" y="1459"/>
                  <a:pt x="1239" y="2055"/>
                  <a:pt x="1418" y="2602"/>
                </a:cubicBezTo>
                <a:lnTo>
                  <a:pt x="1418" y="2626"/>
                </a:lnTo>
                <a:lnTo>
                  <a:pt x="1406" y="2638"/>
                </a:lnTo>
                <a:cubicBezTo>
                  <a:pt x="549" y="3007"/>
                  <a:pt x="1" y="3841"/>
                  <a:pt x="1" y="4769"/>
                </a:cubicBezTo>
                <a:cubicBezTo>
                  <a:pt x="1" y="5507"/>
                  <a:pt x="346" y="6198"/>
                  <a:pt x="941" y="6627"/>
                </a:cubicBezTo>
                <a:lnTo>
                  <a:pt x="953" y="6638"/>
                </a:lnTo>
                <a:lnTo>
                  <a:pt x="941" y="6650"/>
                </a:lnTo>
                <a:cubicBezTo>
                  <a:pt x="608" y="7281"/>
                  <a:pt x="703" y="7996"/>
                  <a:pt x="1168" y="8532"/>
                </a:cubicBezTo>
                <a:cubicBezTo>
                  <a:pt x="1492" y="8915"/>
                  <a:pt x="1937" y="9116"/>
                  <a:pt x="2409" y="9116"/>
                </a:cubicBezTo>
                <a:cubicBezTo>
                  <a:pt x="2597" y="9116"/>
                  <a:pt x="2788" y="9084"/>
                  <a:pt x="2977" y="9020"/>
                </a:cubicBezTo>
                <a:lnTo>
                  <a:pt x="2989" y="9020"/>
                </a:lnTo>
                <a:lnTo>
                  <a:pt x="3013" y="9032"/>
                </a:lnTo>
                <a:cubicBezTo>
                  <a:pt x="3108" y="9210"/>
                  <a:pt x="3251" y="9377"/>
                  <a:pt x="3406" y="9496"/>
                </a:cubicBezTo>
                <a:cubicBezTo>
                  <a:pt x="3433" y="9523"/>
                  <a:pt x="3473" y="9536"/>
                  <a:pt x="3511" y="9536"/>
                </a:cubicBezTo>
                <a:cubicBezTo>
                  <a:pt x="3524" y="9536"/>
                  <a:pt x="3537" y="9535"/>
                  <a:pt x="3549" y="9532"/>
                </a:cubicBezTo>
                <a:cubicBezTo>
                  <a:pt x="3585" y="9532"/>
                  <a:pt x="3632" y="9496"/>
                  <a:pt x="3668" y="9472"/>
                </a:cubicBezTo>
                <a:cubicBezTo>
                  <a:pt x="3692" y="9436"/>
                  <a:pt x="3704" y="9377"/>
                  <a:pt x="3692" y="9329"/>
                </a:cubicBezTo>
                <a:cubicBezTo>
                  <a:pt x="3692" y="9294"/>
                  <a:pt x="3668" y="9246"/>
                  <a:pt x="3632" y="9210"/>
                </a:cubicBezTo>
                <a:cubicBezTo>
                  <a:pt x="3466" y="9079"/>
                  <a:pt x="3335" y="8913"/>
                  <a:pt x="3263" y="8710"/>
                </a:cubicBezTo>
                <a:cubicBezTo>
                  <a:pt x="3251" y="8663"/>
                  <a:pt x="3204" y="8639"/>
                  <a:pt x="3156" y="8603"/>
                </a:cubicBezTo>
                <a:cubicBezTo>
                  <a:pt x="3132" y="8597"/>
                  <a:pt x="3111" y="8594"/>
                  <a:pt x="3090" y="8594"/>
                </a:cubicBezTo>
                <a:cubicBezTo>
                  <a:pt x="3070" y="8594"/>
                  <a:pt x="3049" y="8597"/>
                  <a:pt x="3025" y="8603"/>
                </a:cubicBezTo>
                <a:cubicBezTo>
                  <a:pt x="2841" y="8695"/>
                  <a:pt x="2642" y="8741"/>
                  <a:pt x="2443" y="8741"/>
                </a:cubicBezTo>
                <a:cubicBezTo>
                  <a:pt x="2177" y="8741"/>
                  <a:pt x="1911" y="8659"/>
                  <a:pt x="1680" y="8496"/>
                </a:cubicBezTo>
                <a:cubicBezTo>
                  <a:pt x="1287" y="8222"/>
                  <a:pt x="1072" y="7758"/>
                  <a:pt x="1120" y="7281"/>
                </a:cubicBezTo>
                <a:cubicBezTo>
                  <a:pt x="1191" y="6615"/>
                  <a:pt x="1763" y="6091"/>
                  <a:pt x="2442" y="6091"/>
                </a:cubicBezTo>
                <a:cubicBezTo>
                  <a:pt x="2537" y="6091"/>
                  <a:pt x="2620" y="6019"/>
                  <a:pt x="2620" y="5912"/>
                </a:cubicBezTo>
                <a:cubicBezTo>
                  <a:pt x="2620" y="5817"/>
                  <a:pt x="2549" y="5734"/>
                  <a:pt x="2442" y="5734"/>
                </a:cubicBezTo>
                <a:cubicBezTo>
                  <a:pt x="1965" y="5734"/>
                  <a:pt x="1501" y="5936"/>
                  <a:pt x="1180" y="6317"/>
                </a:cubicBezTo>
                <a:lnTo>
                  <a:pt x="1168" y="6329"/>
                </a:lnTo>
                <a:lnTo>
                  <a:pt x="1144" y="6317"/>
                </a:lnTo>
                <a:cubicBezTo>
                  <a:pt x="644" y="5936"/>
                  <a:pt x="358" y="5365"/>
                  <a:pt x="358" y="4733"/>
                </a:cubicBezTo>
                <a:cubicBezTo>
                  <a:pt x="358" y="3948"/>
                  <a:pt x="822" y="3233"/>
                  <a:pt x="1549" y="2936"/>
                </a:cubicBezTo>
                <a:lnTo>
                  <a:pt x="1561" y="2912"/>
                </a:lnTo>
                <a:lnTo>
                  <a:pt x="1584" y="2936"/>
                </a:lnTo>
                <a:cubicBezTo>
                  <a:pt x="1882" y="3436"/>
                  <a:pt x="2430" y="3757"/>
                  <a:pt x="3025" y="3757"/>
                </a:cubicBezTo>
                <a:cubicBezTo>
                  <a:pt x="3108" y="3757"/>
                  <a:pt x="3204" y="3674"/>
                  <a:pt x="3204" y="3567"/>
                </a:cubicBezTo>
                <a:cubicBezTo>
                  <a:pt x="3204" y="3471"/>
                  <a:pt x="3132" y="3388"/>
                  <a:pt x="3025" y="3388"/>
                </a:cubicBezTo>
                <a:cubicBezTo>
                  <a:pt x="2501" y="3388"/>
                  <a:pt x="2025" y="3079"/>
                  <a:pt x="1822" y="2614"/>
                </a:cubicBezTo>
                <a:cubicBezTo>
                  <a:pt x="1620" y="2186"/>
                  <a:pt x="1668" y="1709"/>
                  <a:pt x="1942" y="1328"/>
                </a:cubicBezTo>
                <a:cubicBezTo>
                  <a:pt x="2196" y="946"/>
                  <a:pt x="2608" y="744"/>
                  <a:pt x="3058" y="744"/>
                </a:cubicBezTo>
                <a:cubicBezTo>
                  <a:pt x="3071" y="744"/>
                  <a:pt x="3084" y="745"/>
                  <a:pt x="3096" y="745"/>
                </a:cubicBezTo>
                <a:cubicBezTo>
                  <a:pt x="3549" y="769"/>
                  <a:pt x="3930" y="995"/>
                  <a:pt x="4156" y="1388"/>
                </a:cubicBezTo>
                <a:cubicBezTo>
                  <a:pt x="4189" y="1437"/>
                  <a:pt x="4245" y="1464"/>
                  <a:pt x="4307" y="1464"/>
                </a:cubicBezTo>
                <a:cubicBezTo>
                  <a:pt x="4335" y="1464"/>
                  <a:pt x="4365" y="1458"/>
                  <a:pt x="4394" y="1447"/>
                </a:cubicBezTo>
                <a:cubicBezTo>
                  <a:pt x="4466" y="1400"/>
                  <a:pt x="4501" y="1293"/>
                  <a:pt x="4454" y="1209"/>
                </a:cubicBezTo>
                <a:cubicBezTo>
                  <a:pt x="4275" y="923"/>
                  <a:pt x="4037" y="697"/>
                  <a:pt x="3727" y="554"/>
                </a:cubicBezTo>
                <a:lnTo>
                  <a:pt x="3692" y="531"/>
                </a:lnTo>
                <a:lnTo>
                  <a:pt x="3727" y="519"/>
                </a:lnTo>
                <a:cubicBezTo>
                  <a:pt x="3925" y="392"/>
                  <a:pt x="4142" y="329"/>
                  <a:pt x="4362" y="329"/>
                </a:cubicBezTo>
                <a:cubicBezTo>
                  <a:pt x="4553" y="329"/>
                  <a:pt x="4747" y="377"/>
                  <a:pt x="4930" y="471"/>
                </a:cubicBezTo>
                <a:cubicBezTo>
                  <a:pt x="5311" y="685"/>
                  <a:pt x="5537" y="1066"/>
                  <a:pt x="5537" y="1519"/>
                </a:cubicBezTo>
                <a:lnTo>
                  <a:pt x="5537" y="4031"/>
                </a:lnTo>
                <a:lnTo>
                  <a:pt x="5513" y="4031"/>
                </a:lnTo>
                <a:cubicBezTo>
                  <a:pt x="5156" y="4019"/>
                  <a:pt x="4918" y="3888"/>
                  <a:pt x="4751" y="3626"/>
                </a:cubicBezTo>
                <a:cubicBezTo>
                  <a:pt x="4719" y="3577"/>
                  <a:pt x="4652" y="3550"/>
                  <a:pt x="4590" y="3550"/>
                </a:cubicBezTo>
                <a:cubicBezTo>
                  <a:pt x="4562" y="3550"/>
                  <a:pt x="4535" y="3556"/>
                  <a:pt x="4513" y="3567"/>
                </a:cubicBezTo>
                <a:cubicBezTo>
                  <a:pt x="4442" y="3614"/>
                  <a:pt x="4406" y="3733"/>
                  <a:pt x="4454" y="3805"/>
                </a:cubicBezTo>
                <a:cubicBezTo>
                  <a:pt x="4680" y="4162"/>
                  <a:pt x="5037" y="4364"/>
                  <a:pt x="5490" y="4376"/>
                </a:cubicBezTo>
                <a:lnTo>
                  <a:pt x="5513" y="4376"/>
                </a:lnTo>
                <a:lnTo>
                  <a:pt x="5513" y="7008"/>
                </a:lnTo>
                <a:lnTo>
                  <a:pt x="5466" y="6984"/>
                </a:lnTo>
                <a:cubicBezTo>
                  <a:pt x="5240" y="6758"/>
                  <a:pt x="4930" y="6638"/>
                  <a:pt x="4620" y="6638"/>
                </a:cubicBezTo>
                <a:lnTo>
                  <a:pt x="3549" y="6638"/>
                </a:lnTo>
                <a:cubicBezTo>
                  <a:pt x="3454" y="6638"/>
                  <a:pt x="3370" y="6710"/>
                  <a:pt x="3370" y="6817"/>
                </a:cubicBezTo>
                <a:cubicBezTo>
                  <a:pt x="3370" y="6900"/>
                  <a:pt x="3442" y="6996"/>
                  <a:pt x="3549" y="6996"/>
                </a:cubicBezTo>
                <a:lnTo>
                  <a:pt x="4620" y="6996"/>
                </a:lnTo>
                <a:cubicBezTo>
                  <a:pt x="5109" y="6996"/>
                  <a:pt x="5490" y="7400"/>
                  <a:pt x="5490" y="7877"/>
                </a:cubicBezTo>
                <a:lnTo>
                  <a:pt x="5490" y="8258"/>
                </a:lnTo>
                <a:cubicBezTo>
                  <a:pt x="5490" y="8603"/>
                  <a:pt x="5347" y="8924"/>
                  <a:pt x="5073" y="9163"/>
                </a:cubicBezTo>
                <a:cubicBezTo>
                  <a:pt x="4859" y="9347"/>
                  <a:pt x="4589" y="9453"/>
                  <a:pt x="4310" y="9453"/>
                </a:cubicBezTo>
                <a:cubicBezTo>
                  <a:pt x="4247" y="9453"/>
                  <a:pt x="4184" y="9447"/>
                  <a:pt x="4120" y="9436"/>
                </a:cubicBezTo>
                <a:lnTo>
                  <a:pt x="4097" y="9436"/>
                </a:lnTo>
                <a:cubicBezTo>
                  <a:pt x="4061" y="9436"/>
                  <a:pt x="4025" y="9448"/>
                  <a:pt x="3989" y="9460"/>
                </a:cubicBezTo>
                <a:cubicBezTo>
                  <a:pt x="3942" y="9496"/>
                  <a:pt x="3930" y="9544"/>
                  <a:pt x="3918" y="9579"/>
                </a:cubicBezTo>
                <a:cubicBezTo>
                  <a:pt x="3906" y="9675"/>
                  <a:pt x="3966" y="9758"/>
                  <a:pt x="4061" y="9782"/>
                </a:cubicBezTo>
                <a:cubicBezTo>
                  <a:pt x="4137" y="9793"/>
                  <a:pt x="4213" y="9799"/>
                  <a:pt x="4289" y="9799"/>
                </a:cubicBezTo>
                <a:cubicBezTo>
                  <a:pt x="4842" y="9799"/>
                  <a:pt x="5372" y="9500"/>
                  <a:pt x="5644" y="9008"/>
                </a:cubicBezTo>
                <a:lnTo>
                  <a:pt x="5656" y="8972"/>
                </a:lnTo>
                <a:lnTo>
                  <a:pt x="5668" y="9008"/>
                </a:lnTo>
                <a:cubicBezTo>
                  <a:pt x="5951" y="9500"/>
                  <a:pt x="6473" y="9799"/>
                  <a:pt x="7024" y="9799"/>
                </a:cubicBezTo>
                <a:cubicBezTo>
                  <a:pt x="7100" y="9799"/>
                  <a:pt x="7176" y="9793"/>
                  <a:pt x="7252" y="9782"/>
                </a:cubicBezTo>
                <a:cubicBezTo>
                  <a:pt x="7335" y="9758"/>
                  <a:pt x="7418" y="9675"/>
                  <a:pt x="7395" y="9579"/>
                </a:cubicBezTo>
                <a:cubicBezTo>
                  <a:pt x="7395" y="9544"/>
                  <a:pt x="7371" y="9496"/>
                  <a:pt x="7323" y="9460"/>
                </a:cubicBezTo>
                <a:cubicBezTo>
                  <a:pt x="7288" y="9443"/>
                  <a:pt x="7260" y="9432"/>
                  <a:pt x="7228" y="9432"/>
                </a:cubicBezTo>
                <a:cubicBezTo>
                  <a:pt x="7217" y="9432"/>
                  <a:pt x="7205" y="9433"/>
                  <a:pt x="7192" y="9436"/>
                </a:cubicBezTo>
                <a:cubicBezTo>
                  <a:pt x="7129" y="9447"/>
                  <a:pt x="7066" y="9453"/>
                  <a:pt x="7003" y="9453"/>
                </a:cubicBezTo>
                <a:cubicBezTo>
                  <a:pt x="6723" y="9453"/>
                  <a:pt x="6454" y="9347"/>
                  <a:pt x="6240" y="9163"/>
                </a:cubicBezTo>
                <a:cubicBezTo>
                  <a:pt x="5978" y="8948"/>
                  <a:pt x="5823" y="8615"/>
                  <a:pt x="5823" y="8258"/>
                </a:cubicBezTo>
                <a:lnTo>
                  <a:pt x="5823" y="6746"/>
                </a:lnTo>
                <a:cubicBezTo>
                  <a:pt x="5823" y="6246"/>
                  <a:pt x="6228" y="5865"/>
                  <a:pt x="6704" y="5865"/>
                </a:cubicBezTo>
                <a:lnTo>
                  <a:pt x="8252" y="5865"/>
                </a:lnTo>
                <a:cubicBezTo>
                  <a:pt x="8335" y="5865"/>
                  <a:pt x="8430" y="5793"/>
                  <a:pt x="8430" y="5686"/>
                </a:cubicBezTo>
                <a:cubicBezTo>
                  <a:pt x="8430" y="5579"/>
                  <a:pt x="8359" y="5507"/>
                  <a:pt x="8252" y="5507"/>
                </a:cubicBezTo>
                <a:lnTo>
                  <a:pt x="6704" y="5507"/>
                </a:lnTo>
                <a:cubicBezTo>
                  <a:pt x="6383" y="5507"/>
                  <a:pt x="6085" y="5626"/>
                  <a:pt x="5847" y="5853"/>
                </a:cubicBezTo>
                <a:lnTo>
                  <a:pt x="5811" y="5876"/>
                </a:lnTo>
                <a:lnTo>
                  <a:pt x="5811" y="5210"/>
                </a:lnTo>
                <a:lnTo>
                  <a:pt x="5823" y="5210"/>
                </a:lnTo>
                <a:cubicBezTo>
                  <a:pt x="6549" y="5186"/>
                  <a:pt x="7133" y="4591"/>
                  <a:pt x="7133" y="3841"/>
                </a:cubicBezTo>
                <a:cubicBezTo>
                  <a:pt x="7133" y="3757"/>
                  <a:pt x="7061" y="3662"/>
                  <a:pt x="6954" y="3662"/>
                </a:cubicBezTo>
                <a:cubicBezTo>
                  <a:pt x="6859" y="3662"/>
                  <a:pt x="6775" y="3733"/>
                  <a:pt x="6775" y="3841"/>
                </a:cubicBezTo>
                <a:cubicBezTo>
                  <a:pt x="6775" y="4376"/>
                  <a:pt x="6359" y="4829"/>
                  <a:pt x="5823" y="4853"/>
                </a:cubicBezTo>
                <a:lnTo>
                  <a:pt x="5787" y="4853"/>
                </a:lnTo>
                <a:lnTo>
                  <a:pt x="5787" y="1543"/>
                </a:lnTo>
                <a:cubicBezTo>
                  <a:pt x="5787" y="1114"/>
                  <a:pt x="6013" y="709"/>
                  <a:pt x="6406" y="507"/>
                </a:cubicBezTo>
                <a:cubicBezTo>
                  <a:pt x="6582" y="408"/>
                  <a:pt x="6773" y="360"/>
                  <a:pt x="6963" y="360"/>
                </a:cubicBezTo>
                <a:cubicBezTo>
                  <a:pt x="7186" y="360"/>
                  <a:pt x="7410" y="426"/>
                  <a:pt x="7609" y="554"/>
                </a:cubicBezTo>
                <a:lnTo>
                  <a:pt x="7633" y="566"/>
                </a:lnTo>
                <a:lnTo>
                  <a:pt x="7728" y="602"/>
                </a:lnTo>
                <a:cubicBezTo>
                  <a:pt x="7430" y="733"/>
                  <a:pt x="7180" y="971"/>
                  <a:pt x="7002" y="1257"/>
                </a:cubicBezTo>
                <a:cubicBezTo>
                  <a:pt x="6954" y="1328"/>
                  <a:pt x="6966" y="1447"/>
                  <a:pt x="7061" y="1495"/>
                </a:cubicBezTo>
                <a:cubicBezTo>
                  <a:pt x="7086" y="1507"/>
                  <a:pt x="7116" y="1514"/>
                  <a:pt x="7147" y="1514"/>
                </a:cubicBezTo>
                <a:cubicBezTo>
                  <a:pt x="7206" y="1514"/>
                  <a:pt x="7268" y="1490"/>
                  <a:pt x="7299" y="1435"/>
                </a:cubicBezTo>
                <a:cubicBezTo>
                  <a:pt x="7526" y="1054"/>
                  <a:pt x="7918" y="816"/>
                  <a:pt x="8371" y="793"/>
                </a:cubicBezTo>
                <a:cubicBezTo>
                  <a:pt x="8405" y="790"/>
                  <a:pt x="8438" y="789"/>
                  <a:pt x="8471" y="789"/>
                </a:cubicBezTo>
                <a:cubicBezTo>
                  <a:pt x="8895" y="789"/>
                  <a:pt x="9271" y="998"/>
                  <a:pt x="9514" y="1340"/>
                </a:cubicBezTo>
                <a:cubicBezTo>
                  <a:pt x="9788" y="1709"/>
                  <a:pt x="9847" y="2186"/>
                  <a:pt x="9669" y="2602"/>
                </a:cubicBezTo>
                <a:cubicBezTo>
                  <a:pt x="9454" y="3114"/>
                  <a:pt x="8978" y="3436"/>
                  <a:pt x="8430" y="3436"/>
                </a:cubicBezTo>
                <a:cubicBezTo>
                  <a:pt x="8335" y="3436"/>
                  <a:pt x="8252" y="3519"/>
                  <a:pt x="8252" y="3614"/>
                </a:cubicBezTo>
                <a:cubicBezTo>
                  <a:pt x="8252" y="3721"/>
                  <a:pt x="8323" y="3793"/>
                  <a:pt x="8430" y="3793"/>
                </a:cubicBezTo>
                <a:cubicBezTo>
                  <a:pt x="9014" y="3793"/>
                  <a:pt x="9573" y="3483"/>
                  <a:pt x="9871" y="2983"/>
                </a:cubicBezTo>
                <a:lnTo>
                  <a:pt x="9883" y="2959"/>
                </a:lnTo>
                <a:lnTo>
                  <a:pt x="9907" y="2983"/>
                </a:lnTo>
                <a:cubicBezTo>
                  <a:pt x="10562" y="3257"/>
                  <a:pt x="10990" y="3841"/>
                  <a:pt x="11074" y="4555"/>
                </a:cubicBezTo>
                <a:cubicBezTo>
                  <a:pt x="11169" y="5269"/>
                  <a:pt x="10871" y="5936"/>
                  <a:pt x="10300" y="6353"/>
                </a:cubicBezTo>
                <a:lnTo>
                  <a:pt x="10288" y="6377"/>
                </a:lnTo>
                <a:lnTo>
                  <a:pt x="10276" y="6353"/>
                </a:lnTo>
                <a:cubicBezTo>
                  <a:pt x="9966" y="5984"/>
                  <a:pt x="9502" y="5781"/>
                  <a:pt x="9014" y="5781"/>
                </a:cubicBezTo>
                <a:cubicBezTo>
                  <a:pt x="8919" y="5781"/>
                  <a:pt x="8835" y="5853"/>
                  <a:pt x="8835" y="5960"/>
                </a:cubicBezTo>
                <a:cubicBezTo>
                  <a:pt x="8835" y="6055"/>
                  <a:pt x="8907" y="6138"/>
                  <a:pt x="9014" y="6138"/>
                </a:cubicBezTo>
                <a:cubicBezTo>
                  <a:pt x="9633" y="6138"/>
                  <a:pt x="10181" y="6579"/>
                  <a:pt x="10300" y="7186"/>
                </a:cubicBezTo>
                <a:cubicBezTo>
                  <a:pt x="10407" y="7698"/>
                  <a:pt x="10228" y="8186"/>
                  <a:pt x="9812" y="8496"/>
                </a:cubicBezTo>
                <a:cubicBezTo>
                  <a:pt x="9570" y="8688"/>
                  <a:pt x="9281" y="8786"/>
                  <a:pt x="8992" y="8786"/>
                </a:cubicBezTo>
                <a:cubicBezTo>
                  <a:pt x="8796" y="8786"/>
                  <a:pt x="8601" y="8742"/>
                  <a:pt x="8419" y="8651"/>
                </a:cubicBezTo>
                <a:cubicBezTo>
                  <a:pt x="8390" y="8643"/>
                  <a:pt x="8361" y="8632"/>
                  <a:pt x="8332" y="8632"/>
                </a:cubicBezTo>
                <a:cubicBezTo>
                  <a:pt x="8313" y="8632"/>
                  <a:pt x="8294" y="8637"/>
                  <a:pt x="8276" y="8651"/>
                </a:cubicBezTo>
                <a:cubicBezTo>
                  <a:pt x="8240" y="8663"/>
                  <a:pt x="8204" y="8698"/>
                  <a:pt x="8180" y="8758"/>
                </a:cubicBezTo>
                <a:cubicBezTo>
                  <a:pt x="8097" y="8948"/>
                  <a:pt x="7966" y="9127"/>
                  <a:pt x="7799" y="9258"/>
                </a:cubicBezTo>
                <a:cubicBezTo>
                  <a:pt x="7776" y="9294"/>
                  <a:pt x="7740" y="9329"/>
                  <a:pt x="7740" y="9377"/>
                </a:cubicBezTo>
                <a:cubicBezTo>
                  <a:pt x="7740" y="9425"/>
                  <a:pt x="7740" y="9472"/>
                  <a:pt x="7776" y="9508"/>
                </a:cubicBezTo>
                <a:cubicBezTo>
                  <a:pt x="7810" y="9556"/>
                  <a:pt x="7861" y="9581"/>
                  <a:pt x="7912" y="9581"/>
                </a:cubicBezTo>
                <a:cubicBezTo>
                  <a:pt x="7948" y="9581"/>
                  <a:pt x="7984" y="9568"/>
                  <a:pt x="8014" y="9544"/>
                </a:cubicBezTo>
                <a:cubicBezTo>
                  <a:pt x="8180" y="9413"/>
                  <a:pt x="8311" y="9258"/>
                  <a:pt x="8419" y="9079"/>
                </a:cubicBezTo>
                <a:lnTo>
                  <a:pt x="8430" y="9067"/>
                </a:lnTo>
                <a:lnTo>
                  <a:pt x="8442" y="9067"/>
                </a:lnTo>
                <a:cubicBezTo>
                  <a:pt x="8618" y="9127"/>
                  <a:pt x="8801" y="9156"/>
                  <a:pt x="8983" y="9156"/>
                </a:cubicBezTo>
                <a:cubicBezTo>
                  <a:pt x="9343" y="9156"/>
                  <a:pt x="9702" y="9043"/>
                  <a:pt x="10002" y="8829"/>
                </a:cubicBezTo>
                <a:cubicBezTo>
                  <a:pt x="10466" y="8484"/>
                  <a:pt x="10705" y="7960"/>
                  <a:pt x="10681" y="7400"/>
                </a:cubicBezTo>
                <a:cubicBezTo>
                  <a:pt x="10657" y="7162"/>
                  <a:pt x="10597" y="6924"/>
                  <a:pt x="10478" y="6710"/>
                </a:cubicBezTo>
                <a:lnTo>
                  <a:pt x="10466" y="6698"/>
                </a:lnTo>
                <a:lnTo>
                  <a:pt x="10478" y="6686"/>
                </a:lnTo>
                <a:cubicBezTo>
                  <a:pt x="11097" y="6198"/>
                  <a:pt x="11431" y="5507"/>
                  <a:pt x="11431" y="4769"/>
                </a:cubicBezTo>
                <a:cubicBezTo>
                  <a:pt x="11431" y="3841"/>
                  <a:pt x="10883" y="3007"/>
                  <a:pt x="10038" y="2638"/>
                </a:cubicBezTo>
                <a:lnTo>
                  <a:pt x="10026" y="2626"/>
                </a:lnTo>
                <a:lnTo>
                  <a:pt x="10026" y="2602"/>
                </a:lnTo>
                <a:cubicBezTo>
                  <a:pt x="10204" y="2055"/>
                  <a:pt x="10062" y="1459"/>
                  <a:pt x="9693" y="1019"/>
                </a:cubicBezTo>
                <a:cubicBezTo>
                  <a:pt x="9378" y="633"/>
                  <a:pt x="8907" y="429"/>
                  <a:pt x="8421" y="429"/>
                </a:cubicBezTo>
                <a:cubicBezTo>
                  <a:pt x="8337" y="429"/>
                  <a:pt x="8253" y="435"/>
                  <a:pt x="8169" y="447"/>
                </a:cubicBezTo>
                <a:lnTo>
                  <a:pt x="8157" y="447"/>
                </a:lnTo>
                <a:lnTo>
                  <a:pt x="8145" y="435"/>
                </a:lnTo>
                <a:cubicBezTo>
                  <a:pt x="7855" y="156"/>
                  <a:pt x="7473" y="2"/>
                  <a:pt x="7076" y="2"/>
                </a:cubicBezTo>
                <a:cubicBezTo>
                  <a:pt x="7000" y="2"/>
                  <a:pt x="6923" y="7"/>
                  <a:pt x="6847" y="19"/>
                </a:cubicBezTo>
                <a:cubicBezTo>
                  <a:pt x="6371" y="90"/>
                  <a:pt x="5966" y="376"/>
                  <a:pt x="5728" y="793"/>
                </a:cubicBezTo>
                <a:lnTo>
                  <a:pt x="5716" y="816"/>
                </a:lnTo>
                <a:lnTo>
                  <a:pt x="5704" y="793"/>
                </a:lnTo>
                <a:cubicBezTo>
                  <a:pt x="5466" y="376"/>
                  <a:pt x="5061" y="90"/>
                  <a:pt x="4585" y="19"/>
                </a:cubicBezTo>
                <a:cubicBezTo>
                  <a:pt x="4505" y="7"/>
                  <a:pt x="4426" y="1"/>
                  <a:pt x="43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7" name="Google Shape;12707;p62"/>
          <p:cNvSpPr/>
          <p:nvPr/>
        </p:nvSpPr>
        <p:spPr>
          <a:xfrm>
            <a:off x="5314611" y="3818560"/>
            <a:ext cx="324188" cy="324538"/>
          </a:xfrm>
          <a:custGeom>
            <a:avLst/>
            <a:gdLst/>
            <a:ahLst/>
            <a:cxnLst/>
            <a:rect l="l" t="t" r="r" b="b"/>
            <a:pathLst>
              <a:path w="10193" h="10204" extrusionOk="0">
                <a:moveTo>
                  <a:pt x="5096" y="286"/>
                </a:moveTo>
                <a:lnTo>
                  <a:pt x="8668" y="2369"/>
                </a:lnTo>
                <a:lnTo>
                  <a:pt x="8061" y="2369"/>
                </a:lnTo>
                <a:lnTo>
                  <a:pt x="5215" y="726"/>
                </a:lnTo>
                <a:cubicBezTo>
                  <a:pt x="5180" y="703"/>
                  <a:pt x="5138" y="691"/>
                  <a:pt x="5096" y="691"/>
                </a:cubicBezTo>
                <a:cubicBezTo>
                  <a:pt x="5054" y="691"/>
                  <a:pt x="5013" y="703"/>
                  <a:pt x="4977" y="726"/>
                </a:cubicBezTo>
                <a:lnTo>
                  <a:pt x="4215" y="1155"/>
                </a:lnTo>
                <a:cubicBezTo>
                  <a:pt x="4144" y="1191"/>
                  <a:pt x="4132" y="1286"/>
                  <a:pt x="4156" y="1357"/>
                </a:cubicBezTo>
                <a:cubicBezTo>
                  <a:pt x="4188" y="1407"/>
                  <a:pt x="4238" y="1433"/>
                  <a:pt x="4294" y="1433"/>
                </a:cubicBezTo>
                <a:cubicBezTo>
                  <a:pt x="4318" y="1433"/>
                  <a:pt x="4344" y="1428"/>
                  <a:pt x="4370" y="1417"/>
                </a:cubicBezTo>
                <a:lnTo>
                  <a:pt x="5096" y="1000"/>
                </a:lnTo>
                <a:lnTo>
                  <a:pt x="7466" y="2381"/>
                </a:lnTo>
                <a:lnTo>
                  <a:pt x="2715" y="2381"/>
                </a:lnTo>
                <a:lnTo>
                  <a:pt x="3775" y="1774"/>
                </a:lnTo>
                <a:cubicBezTo>
                  <a:pt x="3846" y="1727"/>
                  <a:pt x="3858" y="1643"/>
                  <a:pt x="3834" y="1572"/>
                </a:cubicBezTo>
                <a:cubicBezTo>
                  <a:pt x="3803" y="1517"/>
                  <a:pt x="3751" y="1493"/>
                  <a:pt x="3699" y="1493"/>
                </a:cubicBezTo>
                <a:cubicBezTo>
                  <a:pt x="3672" y="1493"/>
                  <a:pt x="3644" y="1500"/>
                  <a:pt x="3620" y="1512"/>
                </a:cubicBezTo>
                <a:lnTo>
                  <a:pt x="2132" y="2369"/>
                </a:lnTo>
                <a:lnTo>
                  <a:pt x="1524" y="2369"/>
                </a:lnTo>
                <a:lnTo>
                  <a:pt x="5096" y="286"/>
                </a:lnTo>
                <a:close/>
                <a:moveTo>
                  <a:pt x="9156" y="2667"/>
                </a:moveTo>
                <a:lnTo>
                  <a:pt x="9156" y="3382"/>
                </a:lnTo>
                <a:lnTo>
                  <a:pt x="1000" y="3382"/>
                </a:lnTo>
                <a:lnTo>
                  <a:pt x="1000" y="2667"/>
                </a:lnTo>
                <a:close/>
                <a:moveTo>
                  <a:pt x="5894" y="3679"/>
                </a:moveTo>
                <a:cubicBezTo>
                  <a:pt x="5918" y="3679"/>
                  <a:pt x="5953" y="3703"/>
                  <a:pt x="5989" y="3727"/>
                </a:cubicBezTo>
                <a:cubicBezTo>
                  <a:pt x="6013" y="3763"/>
                  <a:pt x="6025" y="3798"/>
                  <a:pt x="6025" y="3834"/>
                </a:cubicBezTo>
                <a:cubicBezTo>
                  <a:pt x="6025" y="3905"/>
                  <a:pt x="5953" y="3965"/>
                  <a:pt x="5882" y="3965"/>
                </a:cubicBezTo>
                <a:cubicBezTo>
                  <a:pt x="5834" y="3965"/>
                  <a:pt x="5811" y="3953"/>
                  <a:pt x="5775" y="3917"/>
                </a:cubicBezTo>
                <a:cubicBezTo>
                  <a:pt x="5738" y="3880"/>
                  <a:pt x="5696" y="3861"/>
                  <a:pt x="5652" y="3861"/>
                </a:cubicBezTo>
                <a:cubicBezTo>
                  <a:pt x="5626" y="3861"/>
                  <a:pt x="5599" y="3868"/>
                  <a:pt x="5572" y="3882"/>
                </a:cubicBezTo>
                <a:cubicBezTo>
                  <a:pt x="5489" y="3905"/>
                  <a:pt x="5453" y="3977"/>
                  <a:pt x="5453" y="4060"/>
                </a:cubicBezTo>
                <a:lnTo>
                  <a:pt x="5453" y="8192"/>
                </a:lnTo>
                <a:lnTo>
                  <a:pt x="4870" y="8192"/>
                </a:lnTo>
                <a:lnTo>
                  <a:pt x="4870" y="4060"/>
                </a:lnTo>
                <a:cubicBezTo>
                  <a:pt x="4870" y="3977"/>
                  <a:pt x="4822" y="3905"/>
                  <a:pt x="4751" y="3882"/>
                </a:cubicBezTo>
                <a:cubicBezTo>
                  <a:pt x="4724" y="3868"/>
                  <a:pt x="4694" y="3861"/>
                  <a:pt x="4664" y="3861"/>
                </a:cubicBezTo>
                <a:cubicBezTo>
                  <a:pt x="4615" y="3861"/>
                  <a:pt x="4566" y="3880"/>
                  <a:pt x="4537" y="3917"/>
                </a:cubicBezTo>
                <a:cubicBezTo>
                  <a:pt x="4513" y="3953"/>
                  <a:pt x="4477" y="3965"/>
                  <a:pt x="4441" y="3965"/>
                </a:cubicBezTo>
                <a:cubicBezTo>
                  <a:pt x="4394" y="3965"/>
                  <a:pt x="4358" y="3953"/>
                  <a:pt x="4334" y="3917"/>
                </a:cubicBezTo>
                <a:cubicBezTo>
                  <a:pt x="4298" y="3893"/>
                  <a:pt x="4287" y="3846"/>
                  <a:pt x="4287" y="3822"/>
                </a:cubicBezTo>
                <a:cubicBezTo>
                  <a:pt x="4287" y="3739"/>
                  <a:pt x="4358" y="3679"/>
                  <a:pt x="4441" y="3679"/>
                </a:cubicBezTo>
                <a:close/>
                <a:moveTo>
                  <a:pt x="2798" y="3703"/>
                </a:moveTo>
                <a:cubicBezTo>
                  <a:pt x="2846" y="3703"/>
                  <a:pt x="2870" y="3715"/>
                  <a:pt x="2905" y="3739"/>
                </a:cubicBezTo>
                <a:cubicBezTo>
                  <a:pt x="2941" y="3774"/>
                  <a:pt x="2953" y="3810"/>
                  <a:pt x="2953" y="3846"/>
                </a:cubicBezTo>
                <a:cubicBezTo>
                  <a:pt x="2953" y="3917"/>
                  <a:pt x="2870" y="3977"/>
                  <a:pt x="2798" y="3977"/>
                </a:cubicBezTo>
                <a:cubicBezTo>
                  <a:pt x="2751" y="3977"/>
                  <a:pt x="2727" y="3965"/>
                  <a:pt x="2691" y="3941"/>
                </a:cubicBezTo>
                <a:cubicBezTo>
                  <a:pt x="2651" y="3901"/>
                  <a:pt x="2605" y="3877"/>
                  <a:pt x="2557" y="3877"/>
                </a:cubicBezTo>
                <a:cubicBezTo>
                  <a:pt x="2534" y="3877"/>
                  <a:pt x="2512" y="3882"/>
                  <a:pt x="2489" y="3893"/>
                </a:cubicBezTo>
                <a:cubicBezTo>
                  <a:pt x="2417" y="3917"/>
                  <a:pt x="2370" y="4001"/>
                  <a:pt x="2370" y="4072"/>
                </a:cubicBezTo>
                <a:lnTo>
                  <a:pt x="2370" y="8204"/>
                </a:lnTo>
                <a:lnTo>
                  <a:pt x="1786" y="8204"/>
                </a:lnTo>
                <a:lnTo>
                  <a:pt x="1786" y="4072"/>
                </a:lnTo>
                <a:cubicBezTo>
                  <a:pt x="1786" y="4001"/>
                  <a:pt x="1739" y="3917"/>
                  <a:pt x="1667" y="3893"/>
                </a:cubicBezTo>
                <a:cubicBezTo>
                  <a:pt x="1644" y="3882"/>
                  <a:pt x="1620" y="3877"/>
                  <a:pt x="1596" y="3877"/>
                </a:cubicBezTo>
                <a:cubicBezTo>
                  <a:pt x="1545" y="3877"/>
                  <a:pt x="1493" y="3901"/>
                  <a:pt x="1453" y="3941"/>
                </a:cubicBezTo>
                <a:cubicBezTo>
                  <a:pt x="1417" y="3965"/>
                  <a:pt x="1381" y="3977"/>
                  <a:pt x="1346" y="3977"/>
                </a:cubicBezTo>
                <a:cubicBezTo>
                  <a:pt x="1298" y="3977"/>
                  <a:pt x="1262" y="3965"/>
                  <a:pt x="1239" y="3941"/>
                </a:cubicBezTo>
                <a:cubicBezTo>
                  <a:pt x="1203" y="3905"/>
                  <a:pt x="1191" y="3858"/>
                  <a:pt x="1191" y="3834"/>
                </a:cubicBezTo>
                <a:cubicBezTo>
                  <a:pt x="1191" y="3763"/>
                  <a:pt x="1262" y="3703"/>
                  <a:pt x="1346" y="3703"/>
                </a:cubicBezTo>
                <a:close/>
                <a:moveTo>
                  <a:pt x="2501" y="8501"/>
                </a:moveTo>
                <a:lnTo>
                  <a:pt x="2501" y="8668"/>
                </a:lnTo>
                <a:lnTo>
                  <a:pt x="1655" y="8668"/>
                </a:lnTo>
                <a:lnTo>
                  <a:pt x="1655" y="8501"/>
                </a:lnTo>
                <a:close/>
                <a:moveTo>
                  <a:pt x="3965" y="3703"/>
                </a:moveTo>
                <a:cubicBezTo>
                  <a:pt x="3953" y="3739"/>
                  <a:pt x="3953" y="3774"/>
                  <a:pt x="3929" y="3822"/>
                </a:cubicBezTo>
                <a:cubicBezTo>
                  <a:pt x="3929" y="3941"/>
                  <a:pt x="3977" y="4060"/>
                  <a:pt x="4048" y="4144"/>
                </a:cubicBezTo>
                <a:cubicBezTo>
                  <a:pt x="4144" y="4239"/>
                  <a:pt x="4239" y="4274"/>
                  <a:pt x="4382" y="4274"/>
                </a:cubicBezTo>
                <a:cubicBezTo>
                  <a:pt x="4429" y="4274"/>
                  <a:pt x="4489" y="4263"/>
                  <a:pt x="4525" y="4251"/>
                </a:cubicBezTo>
                <a:lnTo>
                  <a:pt x="4525" y="8239"/>
                </a:lnTo>
                <a:cubicBezTo>
                  <a:pt x="4453" y="8275"/>
                  <a:pt x="4394" y="8370"/>
                  <a:pt x="4394" y="8465"/>
                </a:cubicBezTo>
                <a:lnTo>
                  <a:pt x="4394" y="8668"/>
                </a:lnTo>
                <a:lnTo>
                  <a:pt x="2786" y="8668"/>
                </a:lnTo>
                <a:lnTo>
                  <a:pt x="2786" y="8465"/>
                </a:lnTo>
                <a:cubicBezTo>
                  <a:pt x="2798" y="8370"/>
                  <a:pt x="2751" y="8287"/>
                  <a:pt x="2667" y="8239"/>
                </a:cubicBezTo>
                <a:lnTo>
                  <a:pt x="2667" y="4251"/>
                </a:lnTo>
                <a:cubicBezTo>
                  <a:pt x="2715" y="4263"/>
                  <a:pt x="2774" y="4274"/>
                  <a:pt x="2822" y="4274"/>
                </a:cubicBezTo>
                <a:cubicBezTo>
                  <a:pt x="3048" y="4274"/>
                  <a:pt x="3251" y="4084"/>
                  <a:pt x="3251" y="3858"/>
                </a:cubicBezTo>
                <a:cubicBezTo>
                  <a:pt x="3251" y="3798"/>
                  <a:pt x="3251" y="3739"/>
                  <a:pt x="3215" y="3703"/>
                </a:cubicBezTo>
                <a:close/>
                <a:moveTo>
                  <a:pt x="5572" y="8501"/>
                </a:moveTo>
                <a:lnTo>
                  <a:pt x="5572" y="8668"/>
                </a:lnTo>
                <a:lnTo>
                  <a:pt x="4727" y="8668"/>
                </a:lnTo>
                <a:lnTo>
                  <a:pt x="4727" y="8501"/>
                </a:lnTo>
                <a:close/>
                <a:moveTo>
                  <a:pt x="8620" y="8501"/>
                </a:moveTo>
                <a:lnTo>
                  <a:pt x="8620" y="8668"/>
                </a:lnTo>
                <a:lnTo>
                  <a:pt x="7775" y="8668"/>
                </a:lnTo>
                <a:lnTo>
                  <a:pt x="7775" y="8501"/>
                </a:lnTo>
                <a:close/>
                <a:moveTo>
                  <a:pt x="8930" y="3703"/>
                </a:moveTo>
                <a:cubicBezTo>
                  <a:pt x="8978" y="3703"/>
                  <a:pt x="9001" y="3715"/>
                  <a:pt x="9037" y="3739"/>
                </a:cubicBezTo>
                <a:cubicBezTo>
                  <a:pt x="9061" y="3774"/>
                  <a:pt x="9085" y="3822"/>
                  <a:pt x="9085" y="3846"/>
                </a:cubicBezTo>
                <a:cubicBezTo>
                  <a:pt x="9073" y="3917"/>
                  <a:pt x="9001" y="3977"/>
                  <a:pt x="8930" y="3977"/>
                </a:cubicBezTo>
                <a:cubicBezTo>
                  <a:pt x="8894" y="3977"/>
                  <a:pt x="8859" y="3965"/>
                  <a:pt x="8823" y="3941"/>
                </a:cubicBezTo>
                <a:cubicBezTo>
                  <a:pt x="8782" y="3901"/>
                  <a:pt x="8736" y="3877"/>
                  <a:pt x="8689" y="3877"/>
                </a:cubicBezTo>
                <a:cubicBezTo>
                  <a:pt x="8666" y="3877"/>
                  <a:pt x="8643" y="3882"/>
                  <a:pt x="8620" y="3893"/>
                </a:cubicBezTo>
                <a:cubicBezTo>
                  <a:pt x="8549" y="3917"/>
                  <a:pt x="8501" y="4001"/>
                  <a:pt x="8501" y="4072"/>
                </a:cubicBezTo>
                <a:lnTo>
                  <a:pt x="8501" y="8204"/>
                </a:lnTo>
                <a:lnTo>
                  <a:pt x="7918" y="8204"/>
                </a:lnTo>
                <a:lnTo>
                  <a:pt x="7918" y="6715"/>
                </a:lnTo>
                <a:cubicBezTo>
                  <a:pt x="7918" y="6632"/>
                  <a:pt x="7858" y="6572"/>
                  <a:pt x="7775" y="6572"/>
                </a:cubicBezTo>
                <a:cubicBezTo>
                  <a:pt x="7680" y="6572"/>
                  <a:pt x="7620" y="6632"/>
                  <a:pt x="7620" y="6715"/>
                </a:cubicBezTo>
                <a:lnTo>
                  <a:pt x="7620" y="8251"/>
                </a:lnTo>
                <a:cubicBezTo>
                  <a:pt x="7549" y="8299"/>
                  <a:pt x="7489" y="8382"/>
                  <a:pt x="7489" y="8477"/>
                </a:cubicBezTo>
                <a:lnTo>
                  <a:pt x="7489" y="8680"/>
                </a:lnTo>
                <a:lnTo>
                  <a:pt x="5882" y="8680"/>
                </a:lnTo>
                <a:lnTo>
                  <a:pt x="5882" y="8477"/>
                </a:lnTo>
                <a:cubicBezTo>
                  <a:pt x="5882" y="8370"/>
                  <a:pt x="5822" y="8299"/>
                  <a:pt x="5751" y="8251"/>
                </a:cubicBezTo>
                <a:lnTo>
                  <a:pt x="5751" y="4263"/>
                </a:lnTo>
                <a:cubicBezTo>
                  <a:pt x="5787" y="4274"/>
                  <a:pt x="5846" y="4298"/>
                  <a:pt x="5894" y="4298"/>
                </a:cubicBezTo>
                <a:cubicBezTo>
                  <a:pt x="6132" y="4298"/>
                  <a:pt x="6323" y="4096"/>
                  <a:pt x="6323" y="3882"/>
                </a:cubicBezTo>
                <a:cubicBezTo>
                  <a:pt x="6323" y="3822"/>
                  <a:pt x="6323" y="3763"/>
                  <a:pt x="6299" y="3715"/>
                </a:cubicBezTo>
                <a:lnTo>
                  <a:pt x="7037" y="3715"/>
                </a:lnTo>
                <a:cubicBezTo>
                  <a:pt x="7025" y="3763"/>
                  <a:pt x="7025" y="3786"/>
                  <a:pt x="7013" y="3834"/>
                </a:cubicBezTo>
                <a:cubicBezTo>
                  <a:pt x="7013" y="3953"/>
                  <a:pt x="7061" y="4072"/>
                  <a:pt x="7132" y="4155"/>
                </a:cubicBezTo>
                <a:cubicBezTo>
                  <a:pt x="7215" y="4251"/>
                  <a:pt x="7323" y="4298"/>
                  <a:pt x="7454" y="4298"/>
                </a:cubicBezTo>
                <a:cubicBezTo>
                  <a:pt x="7501" y="4298"/>
                  <a:pt x="7561" y="4274"/>
                  <a:pt x="7608" y="4263"/>
                </a:cubicBezTo>
                <a:lnTo>
                  <a:pt x="7608" y="5989"/>
                </a:lnTo>
                <a:cubicBezTo>
                  <a:pt x="7608" y="6084"/>
                  <a:pt x="7668" y="6144"/>
                  <a:pt x="7751" y="6144"/>
                </a:cubicBezTo>
                <a:cubicBezTo>
                  <a:pt x="7847" y="6144"/>
                  <a:pt x="7906" y="6084"/>
                  <a:pt x="7906" y="5989"/>
                </a:cubicBezTo>
                <a:lnTo>
                  <a:pt x="7906" y="4072"/>
                </a:lnTo>
                <a:cubicBezTo>
                  <a:pt x="7906" y="4001"/>
                  <a:pt x="7858" y="3917"/>
                  <a:pt x="7787" y="3893"/>
                </a:cubicBezTo>
                <a:cubicBezTo>
                  <a:pt x="7764" y="3882"/>
                  <a:pt x="7739" y="3877"/>
                  <a:pt x="7713" y="3877"/>
                </a:cubicBezTo>
                <a:cubicBezTo>
                  <a:pt x="7659" y="3877"/>
                  <a:pt x="7605" y="3901"/>
                  <a:pt x="7573" y="3941"/>
                </a:cubicBezTo>
                <a:cubicBezTo>
                  <a:pt x="7549" y="3965"/>
                  <a:pt x="7513" y="3977"/>
                  <a:pt x="7477" y="3977"/>
                </a:cubicBezTo>
                <a:cubicBezTo>
                  <a:pt x="7430" y="3977"/>
                  <a:pt x="7394" y="3965"/>
                  <a:pt x="7370" y="3941"/>
                </a:cubicBezTo>
                <a:cubicBezTo>
                  <a:pt x="7335" y="3905"/>
                  <a:pt x="7323" y="3858"/>
                  <a:pt x="7323" y="3834"/>
                </a:cubicBezTo>
                <a:cubicBezTo>
                  <a:pt x="7323" y="3763"/>
                  <a:pt x="7394" y="3703"/>
                  <a:pt x="7477" y="3703"/>
                </a:cubicBezTo>
                <a:close/>
                <a:moveTo>
                  <a:pt x="8990" y="8954"/>
                </a:moveTo>
                <a:cubicBezTo>
                  <a:pt x="9073" y="8954"/>
                  <a:pt x="9132" y="9013"/>
                  <a:pt x="9132" y="9085"/>
                </a:cubicBezTo>
                <a:lnTo>
                  <a:pt x="9132" y="9263"/>
                </a:lnTo>
                <a:lnTo>
                  <a:pt x="4263" y="9263"/>
                </a:lnTo>
                <a:cubicBezTo>
                  <a:pt x="4167" y="9263"/>
                  <a:pt x="4108" y="9323"/>
                  <a:pt x="4108" y="9418"/>
                </a:cubicBezTo>
                <a:cubicBezTo>
                  <a:pt x="4108" y="9501"/>
                  <a:pt x="4167" y="9561"/>
                  <a:pt x="4263" y="9561"/>
                </a:cubicBezTo>
                <a:lnTo>
                  <a:pt x="9311" y="9561"/>
                </a:lnTo>
                <a:cubicBezTo>
                  <a:pt x="9382" y="9561"/>
                  <a:pt x="9454" y="9620"/>
                  <a:pt x="9454" y="9716"/>
                </a:cubicBezTo>
                <a:lnTo>
                  <a:pt x="9454" y="9870"/>
                </a:lnTo>
                <a:lnTo>
                  <a:pt x="738" y="9870"/>
                </a:lnTo>
                <a:lnTo>
                  <a:pt x="738" y="9716"/>
                </a:lnTo>
                <a:cubicBezTo>
                  <a:pt x="738" y="9632"/>
                  <a:pt x="798" y="9561"/>
                  <a:pt x="881" y="9561"/>
                </a:cubicBezTo>
                <a:lnTo>
                  <a:pt x="3513" y="9561"/>
                </a:lnTo>
                <a:cubicBezTo>
                  <a:pt x="3608" y="9561"/>
                  <a:pt x="3667" y="9501"/>
                  <a:pt x="3667" y="9418"/>
                </a:cubicBezTo>
                <a:cubicBezTo>
                  <a:pt x="3667" y="9323"/>
                  <a:pt x="3608" y="9263"/>
                  <a:pt x="3513" y="9263"/>
                </a:cubicBezTo>
                <a:lnTo>
                  <a:pt x="1048" y="9263"/>
                </a:lnTo>
                <a:lnTo>
                  <a:pt x="1048" y="9085"/>
                </a:lnTo>
                <a:cubicBezTo>
                  <a:pt x="1048" y="9013"/>
                  <a:pt x="1108" y="8954"/>
                  <a:pt x="1179" y="8954"/>
                </a:cubicBezTo>
                <a:close/>
                <a:moveTo>
                  <a:pt x="5096" y="0"/>
                </a:moveTo>
                <a:cubicBezTo>
                  <a:pt x="5052" y="0"/>
                  <a:pt x="5007" y="12"/>
                  <a:pt x="4965" y="36"/>
                </a:cubicBezTo>
                <a:lnTo>
                  <a:pt x="858" y="2429"/>
                </a:lnTo>
                <a:cubicBezTo>
                  <a:pt x="834" y="2453"/>
                  <a:pt x="822" y="2453"/>
                  <a:pt x="822" y="2465"/>
                </a:cubicBezTo>
                <a:cubicBezTo>
                  <a:pt x="762" y="2524"/>
                  <a:pt x="715" y="2596"/>
                  <a:pt x="715" y="2691"/>
                </a:cubicBezTo>
                <a:lnTo>
                  <a:pt x="715" y="3429"/>
                </a:lnTo>
                <a:cubicBezTo>
                  <a:pt x="715" y="3560"/>
                  <a:pt x="822" y="3679"/>
                  <a:pt x="941" y="3715"/>
                </a:cubicBezTo>
                <a:cubicBezTo>
                  <a:pt x="929" y="3763"/>
                  <a:pt x="917" y="3798"/>
                  <a:pt x="917" y="3846"/>
                </a:cubicBezTo>
                <a:cubicBezTo>
                  <a:pt x="917" y="3965"/>
                  <a:pt x="953" y="4084"/>
                  <a:pt x="1036" y="4179"/>
                </a:cubicBezTo>
                <a:cubicBezTo>
                  <a:pt x="1119" y="4263"/>
                  <a:pt x="1227" y="4310"/>
                  <a:pt x="1358" y="4310"/>
                </a:cubicBezTo>
                <a:cubicBezTo>
                  <a:pt x="1405" y="4310"/>
                  <a:pt x="1465" y="4298"/>
                  <a:pt x="1512" y="4274"/>
                </a:cubicBezTo>
                <a:lnTo>
                  <a:pt x="1512" y="8263"/>
                </a:lnTo>
                <a:cubicBezTo>
                  <a:pt x="1429" y="8311"/>
                  <a:pt x="1370" y="8406"/>
                  <a:pt x="1370" y="8489"/>
                </a:cubicBezTo>
                <a:lnTo>
                  <a:pt x="1370" y="8704"/>
                </a:lnTo>
                <a:lnTo>
                  <a:pt x="1191" y="8704"/>
                </a:lnTo>
                <a:cubicBezTo>
                  <a:pt x="953" y="8704"/>
                  <a:pt x="762" y="8894"/>
                  <a:pt x="762" y="9132"/>
                </a:cubicBezTo>
                <a:lnTo>
                  <a:pt x="762" y="9323"/>
                </a:lnTo>
                <a:cubicBezTo>
                  <a:pt x="584" y="9382"/>
                  <a:pt x="453" y="9549"/>
                  <a:pt x="453" y="9739"/>
                </a:cubicBezTo>
                <a:lnTo>
                  <a:pt x="453" y="9906"/>
                </a:lnTo>
                <a:lnTo>
                  <a:pt x="155" y="9906"/>
                </a:lnTo>
                <a:cubicBezTo>
                  <a:pt x="60" y="9906"/>
                  <a:pt x="0" y="9966"/>
                  <a:pt x="0" y="10049"/>
                </a:cubicBezTo>
                <a:cubicBezTo>
                  <a:pt x="0" y="10144"/>
                  <a:pt x="60" y="10204"/>
                  <a:pt x="155" y="10204"/>
                </a:cubicBezTo>
                <a:lnTo>
                  <a:pt x="10049" y="10204"/>
                </a:lnTo>
                <a:cubicBezTo>
                  <a:pt x="10133" y="10204"/>
                  <a:pt x="10192" y="10144"/>
                  <a:pt x="10192" y="10049"/>
                </a:cubicBezTo>
                <a:cubicBezTo>
                  <a:pt x="10180" y="9954"/>
                  <a:pt x="10109" y="9870"/>
                  <a:pt x="10037" y="9870"/>
                </a:cubicBezTo>
                <a:lnTo>
                  <a:pt x="9740" y="9870"/>
                </a:lnTo>
                <a:lnTo>
                  <a:pt x="9740" y="9716"/>
                </a:lnTo>
                <a:cubicBezTo>
                  <a:pt x="9740" y="9513"/>
                  <a:pt x="9597" y="9335"/>
                  <a:pt x="9430" y="9299"/>
                </a:cubicBezTo>
                <a:lnTo>
                  <a:pt x="9430" y="9097"/>
                </a:lnTo>
                <a:cubicBezTo>
                  <a:pt x="9430" y="8858"/>
                  <a:pt x="9228" y="8668"/>
                  <a:pt x="8990" y="8668"/>
                </a:cubicBezTo>
                <a:lnTo>
                  <a:pt x="8918" y="8668"/>
                </a:lnTo>
                <a:lnTo>
                  <a:pt x="8918" y="8465"/>
                </a:lnTo>
                <a:cubicBezTo>
                  <a:pt x="8918" y="8358"/>
                  <a:pt x="8859" y="8287"/>
                  <a:pt x="8787" y="8239"/>
                </a:cubicBezTo>
                <a:lnTo>
                  <a:pt x="8787" y="4251"/>
                </a:lnTo>
                <a:cubicBezTo>
                  <a:pt x="8823" y="4263"/>
                  <a:pt x="8894" y="4274"/>
                  <a:pt x="8930" y="4274"/>
                </a:cubicBezTo>
                <a:cubicBezTo>
                  <a:pt x="9168" y="4274"/>
                  <a:pt x="9371" y="4084"/>
                  <a:pt x="9371" y="3858"/>
                </a:cubicBezTo>
                <a:cubicBezTo>
                  <a:pt x="9371" y="3786"/>
                  <a:pt x="9347" y="3715"/>
                  <a:pt x="9323" y="3655"/>
                </a:cubicBezTo>
                <a:cubicBezTo>
                  <a:pt x="9394" y="3608"/>
                  <a:pt x="9454" y="3524"/>
                  <a:pt x="9454" y="3417"/>
                </a:cubicBezTo>
                <a:lnTo>
                  <a:pt x="9454" y="2667"/>
                </a:lnTo>
                <a:cubicBezTo>
                  <a:pt x="9454" y="2572"/>
                  <a:pt x="9394" y="2465"/>
                  <a:pt x="9311" y="2417"/>
                </a:cubicBezTo>
                <a:lnTo>
                  <a:pt x="5227" y="36"/>
                </a:lnTo>
                <a:cubicBezTo>
                  <a:pt x="5185" y="12"/>
                  <a:pt x="5141" y="0"/>
                  <a:pt x="50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708" name="Google Shape;12708;p62"/>
          <p:cNvGrpSpPr/>
          <p:nvPr/>
        </p:nvGrpSpPr>
        <p:grpSpPr>
          <a:xfrm>
            <a:off x="5811827" y="3806451"/>
            <a:ext cx="283743" cy="308444"/>
            <a:chOff x="5964227" y="3858701"/>
            <a:chExt cx="283743" cy="308444"/>
          </a:xfrm>
        </p:grpSpPr>
        <p:sp>
          <p:nvSpPr>
            <p:cNvPr id="12709" name="Google Shape;12709;p62"/>
            <p:cNvSpPr/>
            <p:nvPr/>
          </p:nvSpPr>
          <p:spPr>
            <a:xfrm>
              <a:off x="5964227" y="3858701"/>
              <a:ext cx="283743" cy="308444"/>
            </a:xfrm>
            <a:custGeom>
              <a:avLst/>
              <a:gdLst/>
              <a:ahLst/>
              <a:cxnLst/>
              <a:rect l="l" t="t" r="r" b="b"/>
              <a:pathLst>
                <a:path w="6978" h="7585" extrusionOk="0">
                  <a:moveTo>
                    <a:pt x="6084" y="3060"/>
                  </a:moveTo>
                  <a:cubicBezTo>
                    <a:pt x="6453" y="3120"/>
                    <a:pt x="6739" y="3429"/>
                    <a:pt x="6739" y="3822"/>
                  </a:cubicBezTo>
                  <a:cubicBezTo>
                    <a:pt x="6739" y="4203"/>
                    <a:pt x="6453" y="4525"/>
                    <a:pt x="6084" y="4584"/>
                  </a:cubicBezTo>
                  <a:lnTo>
                    <a:pt x="6084" y="3060"/>
                  </a:lnTo>
                  <a:close/>
                  <a:moveTo>
                    <a:pt x="881" y="2929"/>
                  </a:moveTo>
                  <a:lnTo>
                    <a:pt x="881" y="4715"/>
                  </a:lnTo>
                  <a:lnTo>
                    <a:pt x="607" y="4715"/>
                  </a:lnTo>
                  <a:cubicBezTo>
                    <a:pt x="405" y="4715"/>
                    <a:pt x="226" y="4536"/>
                    <a:pt x="226" y="4322"/>
                  </a:cubicBezTo>
                  <a:lnTo>
                    <a:pt x="226" y="3310"/>
                  </a:lnTo>
                  <a:cubicBezTo>
                    <a:pt x="226" y="3108"/>
                    <a:pt x="405" y="2929"/>
                    <a:pt x="607" y="2929"/>
                  </a:cubicBezTo>
                  <a:close/>
                  <a:moveTo>
                    <a:pt x="1893" y="2917"/>
                  </a:moveTo>
                  <a:lnTo>
                    <a:pt x="1893" y="4715"/>
                  </a:lnTo>
                  <a:lnTo>
                    <a:pt x="1107" y="4715"/>
                  </a:lnTo>
                  <a:lnTo>
                    <a:pt x="1107" y="2917"/>
                  </a:lnTo>
                  <a:close/>
                  <a:moveTo>
                    <a:pt x="2024" y="5596"/>
                  </a:moveTo>
                  <a:lnTo>
                    <a:pt x="2024" y="6108"/>
                  </a:lnTo>
                  <a:lnTo>
                    <a:pt x="1798" y="6108"/>
                  </a:lnTo>
                  <a:lnTo>
                    <a:pt x="1929" y="5596"/>
                  </a:lnTo>
                  <a:close/>
                  <a:moveTo>
                    <a:pt x="1858" y="4953"/>
                  </a:moveTo>
                  <a:lnTo>
                    <a:pt x="1405" y="6620"/>
                  </a:lnTo>
                  <a:lnTo>
                    <a:pt x="1107" y="6620"/>
                  </a:lnTo>
                  <a:lnTo>
                    <a:pt x="1107" y="4953"/>
                  </a:lnTo>
                  <a:close/>
                  <a:moveTo>
                    <a:pt x="5846" y="250"/>
                  </a:moveTo>
                  <a:lnTo>
                    <a:pt x="5846" y="7394"/>
                  </a:lnTo>
                  <a:lnTo>
                    <a:pt x="5322" y="7394"/>
                  </a:lnTo>
                  <a:lnTo>
                    <a:pt x="5322" y="2358"/>
                  </a:lnTo>
                  <a:cubicBezTo>
                    <a:pt x="5322" y="2298"/>
                    <a:pt x="5263" y="2239"/>
                    <a:pt x="5203" y="2239"/>
                  </a:cubicBezTo>
                  <a:cubicBezTo>
                    <a:pt x="5144" y="2239"/>
                    <a:pt x="5084" y="2298"/>
                    <a:pt x="5084" y="2358"/>
                  </a:cubicBezTo>
                  <a:lnTo>
                    <a:pt x="5084" y="6608"/>
                  </a:lnTo>
                  <a:cubicBezTo>
                    <a:pt x="4941" y="6394"/>
                    <a:pt x="4715" y="6108"/>
                    <a:pt x="4417" y="5834"/>
                  </a:cubicBezTo>
                  <a:cubicBezTo>
                    <a:pt x="4096" y="5501"/>
                    <a:pt x="3739" y="5251"/>
                    <a:pt x="3393" y="5072"/>
                  </a:cubicBezTo>
                  <a:cubicBezTo>
                    <a:pt x="2989" y="4858"/>
                    <a:pt x="2572" y="4739"/>
                    <a:pt x="2155" y="4727"/>
                  </a:cubicBezTo>
                  <a:lnTo>
                    <a:pt x="2155" y="2917"/>
                  </a:lnTo>
                  <a:cubicBezTo>
                    <a:pt x="2572" y="2893"/>
                    <a:pt x="2989" y="2774"/>
                    <a:pt x="3393" y="2572"/>
                  </a:cubicBezTo>
                  <a:cubicBezTo>
                    <a:pt x="3751" y="2393"/>
                    <a:pt x="4096" y="2120"/>
                    <a:pt x="4417" y="1810"/>
                  </a:cubicBezTo>
                  <a:cubicBezTo>
                    <a:pt x="4715" y="1524"/>
                    <a:pt x="4941" y="1250"/>
                    <a:pt x="5084" y="1036"/>
                  </a:cubicBezTo>
                  <a:lnTo>
                    <a:pt x="5084" y="1798"/>
                  </a:lnTo>
                  <a:cubicBezTo>
                    <a:pt x="5084" y="1858"/>
                    <a:pt x="5144" y="1917"/>
                    <a:pt x="5203" y="1917"/>
                  </a:cubicBezTo>
                  <a:cubicBezTo>
                    <a:pt x="5263" y="1917"/>
                    <a:pt x="5322" y="1858"/>
                    <a:pt x="5322" y="1798"/>
                  </a:cubicBezTo>
                  <a:lnTo>
                    <a:pt x="5322" y="250"/>
                  </a:lnTo>
                  <a:close/>
                  <a:moveTo>
                    <a:pt x="5203" y="0"/>
                  </a:moveTo>
                  <a:cubicBezTo>
                    <a:pt x="5144" y="0"/>
                    <a:pt x="5084" y="60"/>
                    <a:pt x="5084" y="119"/>
                  </a:cubicBezTo>
                  <a:lnTo>
                    <a:pt x="5084" y="596"/>
                  </a:lnTo>
                  <a:cubicBezTo>
                    <a:pt x="5013" y="715"/>
                    <a:pt x="4715" y="1167"/>
                    <a:pt x="4239" y="1619"/>
                  </a:cubicBezTo>
                  <a:cubicBezTo>
                    <a:pt x="3751" y="2096"/>
                    <a:pt x="2965" y="2655"/>
                    <a:pt x="2024" y="2655"/>
                  </a:cubicBezTo>
                  <a:lnTo>
                    <a:pt x="619" y="2655"/>
                  </a:lnTo>
                  <a:cubicBezTo>
                    <a:pt x="286" y="2655"/>
                    <a:pt x="0" y="2941"/>
                    <a:pt x="0" y="3286"/>
                  </a:cubicBezTo>
                  <a:lnTo>
                    <a:pt x="0" y="4298"/>
                  </a:lnTo>
                  <a:cubicBezTo>
                    <a:pt x="0" y="4632"/>
                    <a:pt x="286" y="4917"/>
                    <a:pt x="619" y="4917"/>
                  </a:cubicBezTo>
                  <a:lnTo>
                    <a:pt x="893" y="4917"/>
                  </a:lnTo>
                  <a:lnTo>
                    <a:pt x="893" y="6703"/>
                  </a:lnTo>
                  <a:cubicBezTo>
                    <a:pt x="893" y="6763"/>
                    <a:pt x="953" y="6822"/>
                    <a:pt x="1012" y="6822"/>
                  </a:cubicBezTo>
                  <a:lnTo>
                    <a:pt x="1512" y="6822"/>
                  </a:lnTo>
                  <a:cubicBezTo>
                    <a:pt x="1572" y="6822"/>
                    <a:pt x="1619" y="6799"/>
                    <a:pt x="1631" y="6739"/>
                  </a:cubicBezTo>
                  <a:lnTo>
                    <a:pt x="1750" y="6322"/>
                  </a:lnTo>
                  <a:lnTo>
                    <a:pt x="2155" y="6322"/>
                  </a:lnTo>
                  <a:cubicBezTo>
                    <a:pt x="2215" y="6322"/>
                    <a:pt x="2274" y="6263"/>
                    <a:pt x="2274" y="6203"/>
                  </a:cubicBezTo>
                  <a:lnTo>
                    <a:pt x="2274" y="5441"/>
                  </a:lnTo>
                  <a:cubicBezTo>
                    <a:pt x="2274" y="5382"/>
                    <a:pt x="2215" y="5322"/>
                    <a:pt x="2155" y="5322"/>
                  </a:cubicBezTo>
                  <a:lnTo>
                    <a:pt x="2012" y="5322"/>
                  </a:lnTo>
                  <a:lnTo>
                    <a:pt x="2108" y="4917"/>
                  </a:lnTo>
                  <a:cubicBezTo>
                    <a:pt x="3024" y="4953"/>
                    <a:pt x="3763" y="5501"/>
                    <a:pt x="4239" y="5965"/>
                  </a:cubicBezTo>
                  <a:cubicBezTo>
                    <a:pt x="4715" y="6430"/>
                    <a:pt x="5013" y="6882"/>
                    <a:pt x="5084" y="6989"/>
                  </a:cubicBezTo>
                  <a:lnTo>
                    <a:pt x="5084" y="7465"/>
                  </a:lnTo>
                  <a:cubicBezTo>
                    <a:pt x="5084" y="7525"/>
                    <a:pt x="5144" y="7584"/>
                    <a:pt x="5203" y="7584"/>
                  </a:cubicBezTo>
                  <a:lnTo>
                    <a:pt x="5965" y="7584"/>
                  </a:lnTo>
                  <a:cubicBezTo>
                    <a:pt x="6025" y="7584"/>
                    <a:pt x="6084" y="7525"/>
                    <a:pt x="6084" y="7465"/>
                  </a:cubicBezTo>
                  <a:lnTo>
                    <a:pt x="6084" y="4775"/>
                  </a:lnTo>
                  <a:cubicBezTo>
                    <a:pt x="6596" y="4715"/>
                    <a:pt x="6977" y="4286"/>
                    <a:pt x="6977" y="3774"/>
                  </a:cubicBezTo>
                  <a:cubicBezTo>
                    <a:pt x="6977" y="3298"/>
                    <a:pt x="6596" y="2870"/>
                    <a:pt x="6084" y="2810"/>
                  </a:cubicBezTo>
                  <a:lnTo>
                    <a:pt x="6084" y="119"/>
                  </a:lnTo>
                  <a:cubicBezTo>
                    <a:pt x="6084" y="60"/>
                    <a:pt x="6025" y="0"/>
                    <a:pt x="5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0" name="Google Shape;12710;p62"/>
            <p:cNvSpPr/>
            <p:nvPr/>
          </p:nvSpPr>
          <p:spPr>
            <a:xfrm>
              <a:off x="6202788" y="3976471"/>
              <a:ext cx="19719" cy="7601"/>
            </a:xfrm>
            <a:custGeom>
              <a:avLst/>
              <a:gdLst/>
              <a:ahLst/>
              <a:cxnLst/>
              <a:rect l="l" t="t" r="r" b="b"/>
              <a:pathLst>
                <a:path w="620" h="239" extrusionOk="0">
                  <a:moveTo>
                    <a:pt x="119" y="0"/>
                  </a:moveTo>
                  <a:cubicBezTo>
                    <a:pt x="60" y="0"/>
                    <a:pt x="0" y="60"/>
                    <a:pt x="0" y="119"/>
                  </a:cubicBezTo>
                  <a:cubicBezTo>
                    <a:pt x="0" y="179"/>
                    <a:pt x="60" y="238"/>
                    <a:pt x="119" y="238"/>
                  </a:cubicBezTo>
                  <a:lnTo>
                    <a:pt x="500" y="238"/>
                  </a:lnTo>
                  <a:cubicBezTo>
                    <a:pt x="560" y="238"/>
                    <a:pt x="619" y="179"/>
                    <a:pt x="619" y="119"/>
                  </a:cubicBezTo>
                  <a:cubicBezTo>
                    <a:pt x="619" y="60"/>
                    <a:pt x="560"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1" name="Google Shape;12711;p62"/>
            <p:cNvSpPr/>
            <p:nvPr/>
          </p:nvSpPr>
          <p:spPr>
            <a:xfrm>
              <a:off x="6186122" y="3930259"/>
              <a:ext cx="17429" cy="16316"/>
            </a:xfrm>
            <a:custGeom>
              <a:avLst/>
              <a:gdLst/>
              <a:ahLst/>
              <a:cxnLst/>
              <a:rect l="l" t="t" r="r" b="b"/>
              <a:pathLst>
                <a:path w="548" h="513" extrusionOk="0">
                  <a:moveTo>
                    <a:pt x="429" y="0"/>
                  </a:moveTo>
                  <a:cubicBezTo>
                    <a:pt x="399" y="0"/>
                    <a:pt x="369" y="12"/>
                    <a:pt x="346" y="36"/>
                  </a:cubicBezTo>
                  <a:lnTo>
                    <a:pt x="72" y="298"/>
                  </a:lnTo>
                  <a:cubicBezTo>
                    <a:pt x="0" y="381"/>
                    <a:pt x="60" y="512"/>
                    <a:pt x="167" y="512"/>
                  </a:cubicBezTo>
                  <a:cubicBezTo>
                    <a:pt x="191" y="512"/>
                    <a:pt x="226" y="501"/>
                    <a:pt x="250" y="477"/>
                  </a:cubicBezTo>
                  <a:lnTo>
                    <a:pt x="524" y="215"/>
                  </a:lnTo>
                  <a:cubicBezTo>
                    <a:pt x="548" y="167"/>
                    <a:pt x="548" y="84"/>
                    <a:pt x="512" y="36"/>
                  </a:cubicBezTo>
                  <a:cubicBezTo>
                    <a:pt x="488" y="12"/>
                    <a:pt x="459" y="0"/>
                    <a:pt x="4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2" name="Google Shape;12712;p62"/>
            <p:cNvSpPr/>
            <p:nvPr/>
          </p:nvSpPr>
          <p:spPr>
            <a:xfrm>
              <a:off x="6187235" y="4013556"/>
              <a:ext cx="16316" cy="15934"/>
            </a:xfrm>
            <a:custGeom>
              <a:avLst/>
              <a:gdLst/>
              <a:ahLst/>
              <a:cxnLst/>
              <a:rect l="l" t="t" r="r" b="b"/>
              <a:pathLst>
                <a:path w="513" h="501" extrusionOk="0">
                  <a:moveTo>
                    <a:pt x="120" y="1"/>
                  </a:moveTo>
                  <a:cubicBezTo>
                    <a:pt x="90" y="1"/>
                    <a:pt x="61" y="13"/>
                    <a:pt x="37" y="37"/>
                  </a:cubicBezTo>
                  <a:cubicBezTo>
                    <a:pt x="1" y="84"/>
                    <a:pt x="1" y="156"/>
                    <a:pt x="37" y="203"/>
                  </a:cubicBezTo>
                  <a:lnTo>
                    <a:pt x="311" y="465"/>
                  </a:lnTo>
                  <a:cubicBezTo>
                    <a:pt x="334" y="489"/>
                    <a:pt x="367" y="501"/>
                    <a:pt x="400" y="501"/>
                  </a:cubicBezTo>
                  <a:cubicBezTo>
                    <a:pt x="433" y="501"/>
                    <a:pt x="465" y="489"/>
                    <a:pt x="489" y="465"/>
                  </a:cubicBezTo>
                  <a:cubicBezTo>
                    <a:pt x="513" y="429"/>
                    <a:pt x="513" y="346"/>
                    <a:pt x="477" y="310"/>
                  </a:cubicBezTo>
                  <a:lnTo>
                    <a:pt x="203" y="37"/>
                  </a:lnTo>
                  <a:cubicBezTo>
                    <a:pt x="180" y="13"/>
                    <a:pt x="150" y="1"/>
                    <a:pt x="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13" name="Google Shape;12713;p62"/>
          <p:cNvGrpSpPr/>
          <p:nvPr/>
        </p:nvGrpSpPr>
        <p:grpSpPr>
          <a:xfrm>
            <a:off x="6243508" y="3873073"/>
            <a:ext cx="320372" cy="213602"/>
            <a:chOff x="6395908" y="3873073"/>
            <a:chExt cx="320372" cy="213602"/>
          </a:xfrm>
        </p:grpSpPr>
        <p:sp>
          <p:nvSpPr>
            <p:cNvPr id="12714" name="Google Shape;12714;p62"/>
            <p:cNvSpPr/>
            <p:nvPr/>
          </p:nvSpPr>
          <p:spPr>
            <a:xfrm>
              <a:off x="6395908" y="3873073"/>
              <a:ext cx="320372" cy="213602"/>
            </a:xfrm>
            <a:custGeom>
              <a:avLst/>
              <a:gdLst/>
              <a:ahLst/>
              <a:cxnLst/>
              <a:rect l="l" t="t" r="r" b="b"/>
              <a:pathLst>
                <a:path w="10073" h="6716" extrusionOk="0">
                  <a:moveTo>
                    <a:pt x="9585" y="310"/>
                  </a:moveTo>
                  <a:cubicBezTo>
                    <a:pt x="9692" y="310"/>
                    <a:pt x="9763" y="394"/>
                    <a:pt x="9763" y="501"/>
                  </a:cubicBezTo>
                  <a:lnTo>
                    <a:pt x="9763" y="6228"/>
                  </a:lnTo>
                  <a:cubicBezTo>
                    <a:pt x="9763" y="6335"/>
                    <a:pt x="9692" y="6406"/>
                    <a:pt x="9585" y="6406"/>
                  </a:cubicBezTo>
                  <a:lnTo>
                    <a:pt x="488" y="6406"/>
                  </a:lnTo>
                  <a:cubicBezTo>
                    <a:pt x="381" y="6406"/>
                    <a:pt x="310" y="6335"/>
                    <a:pt x="310" y="6228"/>
                  </a:cubicBezTo>
                  <a:lnTo>
                    <a:pt x="310" y="501"/>
                  </a:lnTo>
                  <a:cubicBezTo>
                    <a:pt x="310" y="394"/>
                    <a:pt x="381" y="310"/>
                    <a:pt x="488" y="310"/>
                  </a:cubicBezTo>
                  <a:close/>
                  <a:moveTo>
                    <a:pt x="488" y="1"/>
                  </a:moveTo>
                  <a:cubicBezTo>
                    <a:pt x="227" y="1"/>
                    <a:pt x="0" y="227"/>
                    <a:pt x="0" y="501"/>
                  </a:cubicBezTo>
                  <a:lnTo>
                    <a:pt x="0" y="6228"/>
                  </a:lnTo>
                  <a:cubicBezTo>
                    <a:pt x="0" y="6490"/>
                    <a:pt x="227" y="6716"/>
                    <a:pt x="488" y="6716"/>
                  </a:cubicBezTo>
                  <a:lnTo>
                    <a:pt x="9585" y="6716"/>
                  </a:lnTo>
                  <a:cubicBezTo>
                    <a:pt x="9847" y="6716"/>
                    <a:pt x="10073" y="6490"/>
                    <a:pt x="10073" y="6228"/>
                  </a:cubicBezTo>
                  <a:lnTo>
                    <a:pt x="10073" y="501"/>
                  </a:lnTo>
                  <a:cubicBezTo>
                    <a:pt x="10073" y="227"/>
                    <a:pt x="9871" y="1"/>
                    <a:pt x="9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5" name="Google Shape;12715;p62"/>
            <p:cNvSpPr/>
            <p:nvPr/>
          </p:nvSpPr>
          <p:spPr>
            <a:xfrm>
              <a:off x="6427713" y="3894669"/>
              <a:ext cx="256762" cy="171175"/>
            </a:xfrm>
            <a:custGeom>
              <a:avLst/>
              <a:gdLst/>
              <a:ahLst/>
              <a:cxnLst/>
              <a:rect l="l" t="t" r="r" b="b"/>
              <a:pathLst>
                <a:path w="8073" h="5382" extrusionOk="0">
                  <a:moveTo>
                    <a:pt x="7751" y="322"/>
                  </a:moveTo>
                  <a:lnTo>
                    <a:pt x="7751" y="5060"/>
                  </a:lnTo>
                  <a:lnTo>
                    <a:pt x="310" y="5060"/>
                  </a:lnTo>
                  <a:lnTo>
                    <a:pt x="310" y="322"/>
                  </a:lnTo>
                  <a:close/>
                  <a:moveTo>
                    <a:pt x="155" y="0"/>
                  </a:moveTo>
                  <a:cubicBezTo>
                    <a:pt x="72" y="0"/>
                    <a:pt x="0" y="72"/>
                    <a:pt x="0" y="155"/>
                  </a:cubicBezTo>
                  <a:lnTo>
                    <a:pt x="0" y="5215"/>
                  </a:lnTo>
                  <a:cubicBezTo>
                    <a:pt x="0" y="5310"/>
                    <a:pt x="72" y="5382"/>
                    <a:pt x="155" y="5382"/>
                  </a:cubicBezTo>
                  <a:lnTo>
                    <a:pt x="7918" y="5382"/>
                  </a:lnTo>
                  <a:cubicBezTo>
                    <a:pt x="8001" y="5382"/>
                    <a:pt x="8073" y="5310"/>
                    <a:pt x="8073" y="5215"/>
                  </a:cubicBezTo>
                  <a:lnTo>
                    <a:pt x="8073" y="155"/>
                  </a:lnTo>
                  <a:cubicBezTo>
                    <a:pt x="8073" y="72"/>
                    <a:pt x="8001" y="0"/>
                    <a:pt x="7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6" name="Google Shape;12716;p62"/>
            <p:cNvSpPr/>
            <p:nvPr/>
          </p:nvSpPr>
          <p:spPr>
            <a:xfrm>
              <a:off x="6411429" y="3969633"/>
              <a:ext cx="10623" cy="21627"/>
            </a:xfrm>
            <a:custGeom>
              <a:avLst/>
              <a:gdLst/>
              <a:ahLst/>
              <a:cxnLst/>
              <a:rect l="l" t="t" r="r" b="b"/>
              <a:pathLst>
                <a:path w="334" h="680" extrusionOk="0">
                  <a:moveTo>
                    <a:pt x="167" y="1"/>
                  </a:moveTo>
                  <a:cubicBezTo>
                    <a:pt x="72" y="1"/>
                    <a:pt x="0" y="84"/>
                    <a:pt x="0" y="167"/>
                  </a:cubicBezTo>
                  <a:lnTo>
                    <a:pt x="0" y="513"/>
                  </a:lnTo>
                  <a:cubicBezTo>
                    <a:pt x="0" y="596"/>
                    <a:pt x="72" y="679"/>
                    <a:pt x="167" y="679"/>
                  </a:cubicBezTo>
                  <a:cubicBezTo>
                    <a:pt x="251" y="679"/>
                    <a:pt x="334" y="596"/>
                    <a:pt x="334" y="513"/>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7" name="Google Shape;12717;p62"/>
            <p:cNvSpPr/>
            <p:nvPr/>
          </p:nvSpPr>
          <p:spPr>
            <a:xfrm>
              <a:off x="6690136" y="3964704"/>
              <a:ext cx="10623" cy="31487"/>
            </a:xfrm>
            <a:custGeom>
              <a:avLst/>
              <a:gdLst/>
              <a:ahLst/>
              <a:cxnLst/>
              <a:rect l="l" t="t" r="r" b="b"/>
              <a:pathLst>
                <a:path w="334" h="990" extrusionOk="0">
                  <a:moveTo>
                    <a:pt x="167" y="1"/>
                  </a:moveTo>
                  <a:cubicBezTo>
                    <a:pt x="84" y="1"/>
                    <a:pt x="0" y="72"/>
                    <a:pt x="0" y="156"/>
                  </a:cubicBezTo>
                  <a:lnTo>
                    <a:pt x="0" y="834"/>
                  </a:lnTo>
                  <a:cubicBezTo>
                    <a:pt x="0" y="918"/>
                    <a:pt x="84" y="989"/>
                    <a:pt x="167" y="989"/>
                  </a:cubicBezTo>
                  <a:cubicBezTo>
                    <a:pt x="251" y="989"/>
                    <a:pt x="334" y="918"/>
                    <a:pt x="334" y="834"/>
                  </a:cubicBezTo>
                  <a:lnTo>
                    <a:pt x="334" y="156"/>
                  </a:ln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8" name="Google Shape;12718;p62"/>
            <p:cNvSpPr/>
            <p:nvPr/>
          </p:nvSpPr>
          <p:spPr>
            <a:xfrm>
              <a:off x="6690136" y="3894669"/>
              <a:ext cx="10623" cy="10241"/>
            </a:xfrm>
            <a:custGeom>
              <a:avLst/>
              <a:gdLst/>
              <a:ahLst/>
              <a:cxnLst/>
              <a:rect l="l" t="t" r="r" b="b"/>
              <a:pathLst>
                <a:path w="334" h="322" extrusionOk="0">
                  <a:moveTo>
                    <a:pt x="167" y="0"/>
                  </a:moveTo>
                  <a:cubicBezTo>
                    <a:pt x="84" y="0"/>
                    <a:pt x="0" y="72"/>
                    <a:pt x="0" y="155"/>
                  </a:cubicBezTo>
                  <a:cubicBezTo>
                    <a:pt x="0" y="250"/>
                    <a:pt x="84" y="322"/>
                    <a:pt x="167" y="322"/>
                  </a:cubicBezTo>
                  <a:cubicBezTo>
                    <a:pt x="251" y="322"/>
                    <a:pt x="334" y="250"/>
                    <a:pt x="334" y="155"/>
                  </a:cubicBez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9" name="Google Shape;12719;p62"/>
            <p:cNvSpPr/>
            <p:nvPr/>
          </p:nvSpPr>
          <p:spPr>
            <a:xfrm>
              <a:off x="6411429" y="3942758"/>
              <a:ext cx="10623" cy="15553"/>
            </a:xfrm>
            <a:custGeom>
              <a:avLst/>
              <a:gdLst/>
              <a:ahLst/>
              <a:cxnLst/>
              <a:rect l="l" t="t" r="r" b="b"/>
              <a:pathLst>
                <a:path w="334" h="489" extrusionOk="0">
                  <a:moveTo>
                    <a:pt x="167" y="0"/>
                  </a:moveTo>
                  <a:cubicBezTo>
                    <a:pt x="72" y="0"/>
                    <a:pt x="0" y="72"/>
                    <a:pt x="0" y="167"/>
                  </a:cubicBezTo>
                  <a:lnTo>
                    <a:pt x="0" y="334"/>
                  </a:lnTo>
                  <a:cubicBezTo>
                    <a:pt x="0" y="417"/>
                    <a:pt x="72" y="489"/>
                    <a:pt x="167" y="489"/>
                  </a:cubicBezTo>
                  <a:cubicBezTo>
                    <a:pt x="251" y="489"/>
                    <a:pt x="334" y="417"/>
                    <a:pt x="334" y="33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0" name="Google Shape;12720;p62"/>
            <p:cNvSpPr/>
            <p:nvPr/>
          </p:nvSpPr>
          <p:spPr>
            <a:xfrm>
              <a:off x="6411429" y="4001820"/>
              <a:ext cx="10623" cy="15934"/>
            </a:xfrm>
            <a:custGeom>
              <a:avLst/>
              <a:gdLst/>
              <a:ahLst/>
              <a:cxnLst/>
              <a:rect l="l" t="t" r="r" b="b"/>
              <a:pathLst>
                <a:path w="334" h="501" extrusionOk="0">
                  <a:moveTo>
                    <a:pt x="167" y="1"/>
                  </a:moveTo>
                  <a:cubicBezTo>
                    <a:pt x="72" y="1"/>
                    <a:pt x="0" y="84"/>
                    <a:pt x="0" y="167"/>
                  </a:cubicBezTo>
                  <a:lnTo>
                    <a:pt x="0" y="334"/>
                  </a:lnTo>
                  <a:cubicBezTo>
                    <a:pt x="0" y="417"/>
                    <a:pt x="72" y="501"/>
                    <a:pt x="167" y="501"/>
                  </a:cubicBezTo>
                  <a:cubicBezTo>
                    <a:pt x="251" y="501"/>
                    <a:pt x="334" y="417"/>
                    <a:pt x="334" y="334"/>
                  </a:cubicBezTo>
                  <a:lnTo>
                    <a:pt x="334" y="167"/>
                  </a:lnTo>
                  <a:cubicBezTo>
                    <a:pt x="334" y="84"/>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1" name="Google Shape;12721;p62"/>
            <p:cNvSpPr/>
            <p:nvPr/>
          </p:nvSpPr>
          <p:spPr>
            <a:xfrm>
              <a:off x="6448927" y="4017723"/>
              <a:ext cx="214366" cy="32218"/>
            </a:xfrm>
            <a:custGeom>
              <a:avLst/>
              <a:gdLst/>
              <a:ahLst/>
              <a:cxnLst/>
              <a:rect l="l" t="t" r="r" b="b"/>
              <a:pathLst>
                <a:path w="6740" h="1013" extrusionOk="0">
                  <a:moveTo>
                    <a:pt x="1512" y="322"/>
                  </a:moveTo>
                  <a:cubicBezTo>
                    <a:pt x="1619" y="322"/>
                    <a:pt x="1691" y="394"/>
                    <a:pt x="1691" y="501"/>
                  </a:cubicBezTo>
                  <a:cubicBezTo>
                    <a:pt x="1691" y="608"/>
                    <a:pt x="1619" y="679"/>
                    <a:pt x="1512" y="679"/>
                  </a:cubicBezTo>
                  <a:cubicBezTo>
                    <a:pt x="1417" y="679"/>
                    <a:pt x="1334" y="608"/>
                    <a:pt x="1334" y="501"/>
                  </a:cubicBezTo>
                  <a:cubicBezTo>
                    <a:pt x="1334" y="394"/>
                    <a:pt x="1417" y="322"/>
                    <a:pt x="1512" y="322"/>
                  </a:cubicBezTo>
                  <a:close/>
                  <a:moveTo>
                    <a:pt x="1512" y="1"/>
                  </a:moveTo>
                  <a:cubicBezTo>
                    <a:pt x="1298" y="1"/>
                    <a:pt x="1119" y="132"/>
                    <a:pt x="1036" y="334"/>
                  </a:cubicBezTo>
                  <a:lnTo>
                    <a:pt x="167" y="334"/>
                  </a:lnTo>
                  <a:cubicBezTo>
                    <a:pt x="72" y="334"/>
                    <a:pt x="0" y="418"/>
                    <a:pt x="0" y="501"/>
                  </a:cubicBezTo>
                  <a:cubicBezTo>
                    <a:pt x="0" y="596"/>
                    <a:pt x="72" y="668"/>
                    <a:pt x="167" y="668"/>
                  </a:cubicBezTo>
                  <a:lnTo>
                    <a:pt x="1036" y="668"/>
                  </a:lnTo>
                  <a:cubicBezTo>
                    <a:pt x="1096" y="858"/>
                    <a:pt x="1298" y="1013"/>
                    <a:pt x="1512" y="1013"/>
                  </a:cubicBezTo>
                  <a:cubicBezTo>
                    <a:pt x="1739" y="1013"/>
                    <a:pt x="1917" y="870"/>
                    <a:pt x="1989" y="668"/>
                  </a:cubicBezTo>
                  <a:lnTo>
                    <a:pt x="6572" y="668"/>
                  </a:lnTo>
                  <a:cubicBezTo>
                    <a:pt x="6668" y="668"/>
                    <a:pt x="6739" y="596"/>
                    <a:pt x="6739" y="501"/>
                  </a:cubicBezTo>
                  <a:cubicBezTo>
                    <a:pt x="6727" y="418"/>
                    <a:pt x="6668" y="334"/>
                    <a:pt x="6572" y="334"/>
                  </a:cubicBezTo>
                  <a:lnTo>
                    <a:pt x="1989" y="334"/>
                  </a:lnTo>
                  <a:cubicBezTo>
                    <a:pt x="1929" y="144"/>
                    <a:pt x="1739" y="1"/>
                    <a:pt x="1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2" name="Google Shape;12722;p62"/>
            <p:cNvSpPr/>
            <p:nvPr/>
          </p:nvSpPr>
          <p:spPr>
            <a:xfrm>
              <a:off x="6535627" y="3940913"/>
              <a:ext cx="46244" cy="46181"/>
            </a:xfrm>
            <a:custGeom>
              <a:avLst/>
              <a:gdLst/>
              <a:ahLst/>
              <a:cxnLst/>
              <a:rect l="l" t="t" r="r" b="b"/>
              <a:pathLst>
                <a:path w="1454" h="1452" extrusionOk="0">
                  <a:moveTo>
                    <a:pt x="298" y="308"/>
                  </a:moveTo>
                  <a:lnTo>
                    <a:pt x="1096" y="713"/>
                  </a:lnTo>
                  <a:cubicBezTo>
                    <a:pt x="1108" y="713"/>
                    <a:pt x="1132" y="713"/>
                    <a:pt x="1108" y="725"/>
                  </a:cubicBezTo>
                  <a:lnTo>
                    <a:pt x="310" y="1130"/>
                  </a:lnTo>
                  <a:lnTo>
                    <a:pt x="298" y="1130"/>
                  </a:lnTo>
                  <a:lnTo>
                    <a:pt x="298" y="1118"/>
                  </a:lnTo>
                  <a:lnTo>
                    <a:pt x="298" y="332"/>
                  </a:lnTo>
                  <a:lnTo>
                    <a:pt x="298" y="308"/>
                  </a:lnTo>
                  <a:close/>
                  <a:moveTo>
                    <a:pt x="303" y="0"/>
                  </a:moveTo>
                  <a:cubicBezTo>
                    <a:pt x="247" y="0"/>
                    <a:pt x="194" y="15"/>
                    <a:pt x="144" y="46"/>
                  </a:cubicBezTo>
                  <a:cubicBezTo>
                    <a:pt x="36" y="106"/>
                    <a:pt x="1" y="213"/>
                    <a:pt x="1" y="332"/>
                  </a:cubicBezTo>
                  <a:lnTo>
                    <a:pt x="1" y="1130"/>
                  </a:lnTo>
                  <a:cubicBezTo>
                    <a:pt x="1" y="1249"/>
                    <a:pt x="60" y="1356"/>
                    <a:pt x="144" y="1416"/>
                  </a:cubicBezTo>
                  <a:cubicBezTo>
                    <a:pt x="203" y="1440"/>
                    <a:pt x="263" y="1451"/>
                    <a:pt x="322" y="1451"/>
                  </a:cubicBezTo>
                  <a:cubicBezTo>
                    <a:pt x="370" y="1451"/>
                    <a:pt x="429" y="1440"/>
                    <a:pt x="477" y="1428"/>
                  </a:cubicBezTo>
                  <a:lnTo>
                    <a:pt x="1275" y="1023"/>
                  </a:lnTo>
                  <a:cubicBezTo>
                    <a:pt x="1382" y="963"/>
                    <a:pt x="1453" y="856"/>
                    <a:pt x="1453" y="725"/>
                  </a:cubicBezTo>
                  <a:cubicBezTo>
                    <a:pt x="1453" y="594"/>
                    <a:pt x="1370" y="487"/>
                    <a:pt x="1263" y="427"/>
                  </a:cubicBezTo>
                  <a:lnTo>
                    <a:pt x="453" y="35"/>
                  </a:lnTo>
                  <a:cubicBezTo>
                    <a:pt x="403" y="12"/>
                    <a:pt x="352" y="0"/>
                    <a:pt x="3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3" name="Google Shape;12723;p62"/>
            <p:cNvSpPr/>
            <p:nvPr/>
          </p:nvSpPr>
          <p:spPr>
            <a:xfrm>
              <a:off x="6497016" y="3916233"/>
              <a:ext cx="117424" cy="96242"/>
            </a:xfrm>
            <a:custGeom>
              <a:avLst/>
              <a:gdLst/>
              <a:ahLst/>
              <a:cxnLst/>
              <a:rect l="l" t="t" r="r" b="b"/>
              <a:pathLst>
                <a:path w="3692" h="3026" extrusionOk="0">
                  <a:moveTo>
                    <a:pt x="2858" y="299"/>
                  </a:moveTo>
                  <a:cubicBezTo>
                    <a:pt x="3144" y="299"/>
                    <a:pt x="3382" y="537"/>
                    <a:pt x="3382" y="822"/>
                  </a:cubicBezTo>
                  <a:lnTo>
                    <a:pt x="3382" y="2180"/>
                  </a:lnTo>
                  <a:cubicBezTo>
                    <a:pt x="3382" y="2454"/>
                    <a:pt x="3144" y="2692"/>
                    <a:pt x="2858" y="2692"/>
                  </a:cubicBezTo>
                  <a:lnTo>
                    <a:pt x="834" y="2692"/>
                  </a:lnTo>
                  <a:cubicBezTo>
                    <a:pt x="560" y="2692"/>
                    <a:pt x="322" y="2454"/>
                    <a:pt x="322" y="2180"/>
                  </a:cubicBezTo>
                  <a:lnTo>
                    <a:pt x="322" y="822"/>
                  </a:lnTo>
                  <a:cubicBezTo>
                    <a:pt x="322" y="537"/>
                    <a:pt x="560" y="299"/>
                    <a:pt x="834" y="299"/>
                  </a:cubicBezTo>
                  <a:close/>
                  <a:moveTo>
                    <a:pt x="834" y="1"/>
                  </a:moveTo>
                  <a:cubicBezTo>
                    <a:pt x="381" y="1"/>
                    <a:pt x="0" y="370"/>
                    <a:pt x="0" y="834"/>
                  </a:cubicBezTo>
                  <a:lnTo>
                    <a:pt x="0" y="2192"/>
                  </a:lnTo>
                  <a:cubicBezTo>
                    <a:pt x="0" y="2656"/>
                    <a:pt x="381" y="3025"/>
                    <a:pt x="834" y="3025"/>
                  </a:cubicBezTo>
                  <a:lnTo>
                    <a:pt x="2858" y="3025"/>
                  </a:lnTo>
                  <a:cubicBezTo>
                    <a:pt x="3322" y="3025"/>
                    <a:pt x="3691" y="2656"/>
                    <a:pt x="3691" y="2192"/>
                  </a:cubicBezTo>
                  <a:lnTo>
                    <a:pt x="3691" y="834"/>
                  </a:lnTo>
                  <a:cubicBezTo>
                    <a:pt x="3691" y="370"/>
                    <a:pt x="3322" y="1"/>
                    <a:pt x="2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24" name="Google Shape;12724;p62"/>
          <p:cNvGrpSpPr/>
          <p:nvPr/>
        </p:nvGrpSpPr>
        <p:grpSpPr>
          <a:xfrm>
            <a:off x="7262890" y="3802816"/>
            <a:ext cx="357138" cy="352018"/>
            <a:chOff x="7415290" y="3802816"/>
            <a:chExt cx="357138" cy="352018"/>
          </a:xfrm>
        </p:grpSpPr>
        <p:sp>
          <p:nvSpPr>
            <p:cNvPr id="12725" name="Google Shape;12725;p62"/>
            <p:cNvSpPr/>
            <p:nvPr/>
          </p:nvSpPr>
          <p:spPr>
            <a:xfrm>
              <a:off x="7680385" y="3835289"/>
              <a:ext cx="59475" cy="58267"/>
            </a:xfrm>
            <a:custGeom>
              <a:avLst/>
              <a:gdLst/>
              <a:ahLst/>
              <a:cxnLst/>
              <a:rect l="l" t="t" r="r" b="b"/>
              <a:pathLst>
                <a:path w="1870" h="1832" extrusionOk="0">
                  <a:moveTo>
                    <a:pt x="1695" y="1"/>
                  </a:moveTo>
                  <a:cubicBezTo>
                    <a:pt x="1652" y="1"/>
                    <a:pt x="1608" y="16"/>
                    <a:pt x="1572" y="46"/>
                  </a:cubicBezTo>
                  <a:lnTo>
                    <a:pt x="60" y="1546"/>
                  </a:lnTo>
                  <a:cubicBezTo>
                    <a:pt x="0" y="1605"/>
                    <a:pt x="0" y="1713"/>
                    <a:pt x="60" y="1784"/>
                  </a:cubicBezTo>
                  <a:cubicBezTo>
                    <a:pt x="96" y="1820"/>
                    <a:pt x="143" y="1832"/>
                    <a:pt x="179" y="1832"/>
                  </a:cubicBezTo>
                  <a:cubicBezTo>
                    <a:pt x="227" y="1832"/>
                    <a:pt x="274" y="1820"/>
                    <a:pt x="298" y="1784"/>
                  </a:cubicBezTo>
                  <a:lnTo>
                    <a:pt x="1810" y="284"/>
                  </a:lnTo>
                  <a:cubicBezTo>
                    <a:pt x="1870" y="224"/>
                    <a:pt x="1870" y="117"/>
                    <a:pt x="1810" y="46"/>
                  </a:cubicBezTo>
                  <a:cubicBezTo>
                    <a:pt x="1780" y="16"/>
                    <a:pt x="1739" y="1"/>
                    <a:pt x="16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6" name="Google Shape;12726;p62"/>
            <p:cNvSpPr/>
            <p:nvPr/>
          </p:nvSpPr>
          <p:spPr>
            <a:xfrm>
              <a:off x="7659553" y="3805329"/>
              <a:ext cx="30310" cy="76109"/>
            </a:xfrm>
            <a:custGeom>
              <a:avLst/>
              <a:gdLst/>
              <a:ahLst/>
              <a:cxnLst/>
              <a:rect l="l" t="t" r="r" b="b"/>
              <a:pathLst>
                <a:path w="953" h="2393" extrusionOk="0">
                  <a:moveTo>
                    <a:pt x="771" y="1"/>
                  </a:moveTo>
                  <a:cubicBezTo>
                    <a:pt x="703" y="1"/>
                    <a:pt x="639" y="54"/>
                    <a:pt x="620" y="130"/>
                  </a:cubicBezTo>
                  <a:lnTo>
                    <a:pt x="36" y="2178"/>
                  </a:lnTo>
                  <a:cubicBezTo>
                    <a:pt x="0" y="2274"/>
                    <a:pt x="60" y="2357"/>
                    <a:pt x="155" y="2393"/>
                  </a:cubicBezTo>
                  <a:lnTo>
                    <a:pt x="191" y="2393"/>
                  </a:lnTo>
                  <a:cubicBezTo>
                    <a:pt x="274" y="2393"/>
                    <a:pt x="334" y="2345"/>
                    <a:pt x="358" y="2274"/>
                  </a:cubicBezTo>
                  <a:lnTo>
                    <a:pt x="941" y="214"/>
                  </a:lnTo>
                  <a:cubicBezTo>
                    <a:pt x="953" y="107"/>
                    <a:pt x="893" y="23"/>
                    <a:pt x="822" y="11"/>
                  </a:cubicBezTo>
                  <a:cubicBezTo>
                    <a:pt x="805" y="4"/>
                    <a:pt x="788" y="1"/>
                    <a:pt x="7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7" name="Google Shape;12727;p62"/>
            <p:cNvSpPr/>
            <p:nvPr/>
          </p:nvSpPr>
          <p:spPr>
            <a:xfrm>
              <a:off x="7619033" y="3802816"/>
              <a:ext cx="31837" cy="75600"/>
            </a:xfrm>
            <a:custGeom>
              <a:avLst/>
              <a:gdLst/>
              <a:ahLst/>
              <a:cxnLst/>
              <a:rect l="l" t="t" r="r" b="b"/>
              <a:pathLst>
                <a:path w="1001" h="2377" extrusionOk="0">
                  <a:moveTo>
                    <a:pt x="180" y="1"/>
                  </a:moveTo>
                  <a:cubicBezTo>
                    <a:pt x="164" y="1"/>
                    <a:pt x="148" y="3"/>
                    <a:pt x="131" y="7"/>
                  </a:cubicBezTo>
                  <a:cubicBezTo>
                    <a:pt x="48" y="43"/>
                    <a:pt x="1" y="126"/>
                    <a:pt x="24" y="221"/>
                  </a:cubicBezTo>
                  <a:lnTo>
                    <a:pt x="655" y="2257"/>
                  </a:lnTo>
                  <a:cubicBezTo>
                    <a:pt x="667" y="2329"/>
                    <a:pt x="739" y="2376"/>
                    <a:pt x="798" y="2376"/>
                  </a:cubicBezTo>
                  <a:lnTo>
                    <a:pt x="846" y="2376"/>
                  </a:lnTo>
                  <a:cubicBezTo>
                    <a:pt x="953" y="2329"/>
                    <a:pt x="1001" y="2245"/>
                    <a:pt x="965" y="2150"/>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8" name="Google Shape;12728;p62"/>
            <p:cNvSpPr/>
            <p:nvPr/>
          </p:nvSpPr>
          <p:spPr>
            <a:xfrm>
              <a:off x="7693266" y="3885509"/>
              <a:ext cx="76904" cy="28879"/>
            </a:xfrm>
            <a:custGeom>
              <a:avLst/>
              <a:gdLst/>
              <a:ahLst/>
              <a:cxnLst/>
              <a:rect l="l" t="t" r="r" b="b"/>
              <a:pathLst>
                <a:path w="2418" h="908" extrusionOk="0">
                  <a:moveTo>
                    <a:pt x="2222" y="0"/>
                  </a:moveTo>
                  <a:cubicBezTo>
                    <a:pt x="2212" y="0"/>
                    <a:pt x="2201" y="1"/>
                    <a:pt x="2191" y="3"/>
                  </a:cubicBezTo>
                  <a:lnTo>
                    <a:pt x="131" y="586"/>
                  </a:lnTo>
                  <a:cubicBezTo>
                    <a:pt x="48" y="610"/>
                    <a:pt x="0" y="705"/>
                    <a:pt x="12" y="788"/>
                  </a:cubicBezTo>
                  <a:cubicBezTo>
                    <a:pt x="36" y="860"/>
                    <a:pt x="107" y="907"/>
                    <a:pt x="179" y="907"/>
                  </a:cubicBezTo>
                  <a:lnTo>
                    <a:pt x="226" y="907"/>
                  </a:lnTo>
                  <a:lnTo>
                    <a:pt x="2274" y="324"/>
                  </a:lnTo>
                  <a:cubicBezTo>
                    <a:pt x="2369" y="300"/>
                    <a:pt x="2417" y="193"/>
                    <a:pt x="2393" y="122"/>
                  </a:cubicBezTo>
                  <a:cubicBezTo>
                    <a:pt x="2372" y="38"/>
                    <a:pt x="2297"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9" name="Google Shape;12729;p62"/>
            <p:cNvSpPr/>
            <p:nvPr/>
          </p:nvSpPr>
          <p:spPr>
            <a:xfrm>
              <a:off x="7695524" y="3924566"/>
              <a:ext cx="76904" cy="29960"/>
            </a:xfrm>
            <a:custGeom>
              <a:avLst/>
              <a:gdLst/>
              <a:ahLst/>
              <a:cxnLst/>
              <a:rect l="l" t="t" r="r" b="b"/>
              <a:pathLst>
                <a:path w="2418" h="942" extrusionOk="0">
                  <a:moveTo>
                    <a:pt x="180" y="1"/>
                  </a:moveTo>
                  <a:cubicBezTo>
                    <a:pt x="115" y="1"/>
                    <a:pt x="55" y="44"/>
                    <a:pt x="36" y="108"/>
                  </a:cubicBezTo>
                  <a:cubicBezTo>
                    <a:pt x="1" y="203"/>
                    <a:pt x="48" y="287"/>
                    <a:pt x="143" y="322"/>
                  </a:cubicBezTo>
                  <a:lnTo>
                    <a:pt x="2179" y="941"/>
                  </a:lnTo>
                  <a:lnTo>
                    <a:pt x="2227" y="941"/>
                  </a:lnTo>
                  <a:cubicBezTo>
                    <a:pt x="2298" y="941"/>
                    <a:pt x="2358" y="906"/>
                    <a:pt x="2370" y="822"/>
                  </a:cubicBezTo>
                  <a:cubicBezTo>
                    <a:pt x="2418" y="751"/>
                    <a:pt x="2370" y="668"/>
                    <a:pt x="2287" y="632"/>
                  </a:cubicBezTo>
                  <a:lnTo>
                    <a:pt x="239" y="13"/>
                  </a:lnTo>
                  <a:cubicBezTo>
                    <a:pt x="220" y="5"/>
                    <a:pt x="200"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0" name="Google Shape;12730;p62"/>
            <p:cNvSpPr/>
            <p:nvPr/>
          </p:nvSpPr>
          <p:spPr>
            <a:xfrm>
              <a:off x="7473620" y="3916519"/>
              <a:ext cx="75378" cy="85333"/>
            </a:xfrm>
            <a:custGeom>
              <a:avLst/>
              <a:gdLst/>
              <a:ahLst/>
              <a:cxnLst/>
              <a:rect l="l" t="t" r="r" b="b"/>
              <a:pathLst>
                <a:path w="2370" h="2683" extrusionOk="0">
                  <a:moveTo>
                    <a:pt x="2184" y="0"/>
                  </a:moveTo>
                  <a:cubicBezTo>
                    <a:pt x="2139" y="0"/>
                    <a:pt x="2098" y="19"/>
                    <a:pt x="2072" y="51"/>
                  </a:cubicBezTo>
                  <a:lnTo>
                    <a:pt x="60" y="2421"/>
                  </a:lnTo>
                  <a:cubicBezTo>
                    <a:pt x="1" y="2492"/>
                    <a:pt x="12" y="2599"/>
                    <a:pt x="72" y="2647"/>
                  </a:cubicBezTo>
                  <a:cubicBezTo>
                    <a:pt x="108" y="2671"/>
                    <a:pt x="155" y="2683"/>
                    <a:pt x="179" y="2683"/>
                  </a:cubicBezTo>
                  <a:cubicBezTo>
                    <a:pt x="227" y="2683"/>
                    <a:pt x="274" y="2671"/>
                    <a:pt x="298" y="2623"/>
                  </a:cubicBezTo>
                  <a:lnTo>
                    <a:pt x="2310" y="266"/>
                  </a:lnTo>
                  <a:cubicBezTo>
                    <a:pt x="2370" y="182"/>
                    <a:pt x="2370" y="99"/>
                    <a:pt x="2298" y="40"/>
                  </a:cubicBezTo>
                  <a:cubicBezTo>
                    <a:pt x="2261" y="13"/>
                    <a:pt x="2221" y="0"/>
                    <a:pt x="2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1" name="Google Shape;12731;p62"/>
            <p:cNvSpPr/>
            <p:nvPr/>
          </p:nvSpPr>
          <p:spPr>
            <a:xfrm>
              <a:off x="7415290" y="3850078"/>
              <a:ext cx="310576" cy="304756"/>
            </a:xfrm>
            <a:custGeom>
              <a:avLst/>
              <a:gdLst/>
              <a:ahLst/>
              <a:cxnLst/>
              <a:rect l="l" t="t" r="r" b="b"/>
              <a:pathLst>
                <a:path w="9765" h="9582" extrusionOk="0">
                  <a:moveTo>
                    <a:pt x="5716" y="386"/>
                  </a:moveTo>
                  <a:cubicBezTo>
                    <a:pt x="5941" y="386"/>
                    <a:pt x="6202" y="495"/>
                    <a:pt x="6407" y="700"/>
                  </a:cubicBezTo>
                  <a:cubicBezTo>
                    <a:pt x="6645" y="938"/>
                    <a:pt x="6764" y="1259"/>
                    <a:pt x="6704" y="1533"/>
                  </a:cubicBezTo>
                  <a:lnTo>
                    <a:pt x="5573" y="402"/>
                  </a:lnTo>
                  <a:cubicBezTo>
                    <a:pt x="5618" y="391"/>
                    <a:pt x="5666" y="386"/>
                    <a:pt x="5716" y="386"/>
                  </a:cubicBezTo>
                  <a:close/>
                  <a:moveTo>
                    <a:pt x="5144" y="426"/>
                  </a:moveTo>
                  <a:lnTo>
                    <a:pt x="6657" y="1950"/>
                  </a:lnTo>
                  <a:lnTo>
                    <a:pt x="6347" y="2260"/>
                  </a:lnTo>
                  <a:lnTo>
                    <a:pt x="4823" y="747"/>
                  </a:lnTo>
                  <a:lnTo>
                    <a:pt x="5144" y="426"/>
                  </a:lnTo>
                  <a:close/>
                  <a:moveTo>
                    <a:pt x="8341" y="3017"/>
                  </a:moveTo>
                  <a:cubicBezTo>
                    <a:pt x="8572" y="3017"/>
                    <a:pt x="8831" y="3126"/>
                    <a:pt x="9026" y="3331"/>
                  </a:cubicBezTo>
                  <a:cubicBezTo>
                    <a:pt x="9276" y="3569"/>
                    <a:pt x="9383" y="3903"/>
                    <a:pt x="9324" y="4165"/>
                  </a:cubicBezTo>
                  <a:lnTo>
                    <a:pt x="8192" y="3033"/>
                  </a:lnTo>
                  <a:cubicBezTo>
                    <a:pt x="8240" y="3023"/>
                    <a:pt x="8290" y="3017"/>
                    <a:pt x="8341" y="3017"/>
                  </a:cubicBezTo>
                  <a:close/>
                  <a:moveTo>
                    <a:pt x="7776" y="3081"/>
                  </a:moveTo>
                  <a:lnTo>
                    <a:pt x="7800" y="3105"/>
                  </a:lnTo>
                  <a:lnTo>
                    <a:pt x="9288" y="4593"/>
                  </a:lnTo>
                  <a:lnTo>
                    <a:pt x="8978" y="4915"/>
                  </a:lnTo>
                  <a:lnTo>
                    <a:pt x="7466" y="3391"/>
                  </a:lnTo>
                  <a:lnTo>
                    <a:pt x="7776" y="3081"/>
                  </a:lnTo>
                  <a:close/>
                  <a:moveTo>
                    <a:pt x="3966" y="4796"/>
                  </a:moveTo>
                  <a:lnTo>
                    <a:pt x="4942" y="5772"/>
                  </a:lnTo>
                  <a:lnTo>
                    <a:pt x="4335" y="6498"/>
                  </a:lnTo>
                  <a:lnTo>
                    <a:pt x="3239" y="5403"/>
                  </a:lnTo>
                  <a:lnTo>
                    <a:pt x="3966" y="4796"/>
                  </a:lnTo>
                  <a:close/>
                  <a:moveTo>
                    <a:pt x="3573" y="7427"/>
                  </a:moveTo>
                  <a:lnTo>
                    <a:pt x="3680" y="7534"/>
                  </a:lnTo>
                  <a:lnTo>
                    <a:pt x="4930" y="8784"/>
                  </a:lnTo>
                  <a:lnTo>
                    <a:pt x="4442" y="9272"/>
                  </a:lnTo>
                  <a:lnTo>
                    <a:pt x="3085" y="7915"/>
                  </a:lnTo>
                  <a:lnTo>
                    <a:pt x="3573" y="7427"/>
                  </a:lnTo>
                  <a:close/>
                  <a:moveTo>
                    <a:pt x="5101" y="0"/>
                  </a:moveTo>
                  <a:cubicBezTo>
                    <a:pt x="5058" y="0"/>
                    <a:pt x="5013" y="15"/>
                    <a:pt x="4978" y="45"/>
                  </a:cubicBezTo>
                  <a:lnTo>
                    <a:pt x="4525" y="486"/>
                  </a:lnTo>
                  <a:cubicBezTo>
                    <a:pt x="4513" y="486"/>
                    <a:pt x="4490" y="474"/>
                    <a:pt x="4466" y="474"/>
                  </a:cubicBezTo>
                  <a:cubicBezTo>
                    <a:pt x="4430" y="474"/>
                    <a:pt x="4382" y="509"/>
                    <a:pt x="4347" y="533"/>
                  </a:cubicBezTo>
                  <a:lnTo>
                    <a:pt x="1096" y="4474"/>
                  </a:lnTo>
                  <a:lnTo>
                    <a:pt x="1001" y="4391"/>
                  </a:lnTo>
                  <a:cubicBezTo>
                    <a:pt x="971" y="4361"/>
                    <a:pt x="930" y="4346"/>
                    <a:pt x="886" y="4346"/>
                  </a:cubicBezTo>
                  <a:cubicBezTo>
                    <a:pt x="843" y="4346"/>
                    <a:pt x="799" y="4361"/>
                    <a:pt x="763" y="4391"/>
                  </a:cubicBezTo>
                  <a:lnTo>
                    <a:pt x="49" y="5105"/>
                  </a:lnTo>
                  <a:cubicBezTo>
                    <a:pt x="25" y="5129"/>
                    <a:pt x="1" y="5177"/>
                    <a:pt x="1" y="5224"/>
                  </a:cubicBezTo>
                  <a:cubicBezTo>
                    <a:pt x="1" y="5272"/>
                    <a:pt x="25" y="5308"/>
                    <a:pt x="49" y="5343"/>
                  </a:cubicBezTo>
                  <a:lnTo>
                    <a:pt x="703" y="5998"/>
                  </a:lnTo>
                  <a:cubicBezTo>
                    <a:pt x="733" y="6028"/>
                    <a:pt x="775" y="6043"/>
                    <a:pt x="818" y="6043"/>
                  </a:cubicBezTo>
                  <a:cubicBezTo>
                    <a:pt x="861" y="6043"/>
                    <a:pt x="906" y="6028"/>
                    <a:pt x="942" y="5998"/>
                  </a:cubicBezTo>
                  <a:cubicBezTo>
                    <a:pt x="1001" y="5939"/>
                    <a:pt x="1001" y="5831"/>
                    <a:pt x="942" y="5760"/>
                  </a:cubicBezTo>
                  <a:lnTo>
                    <a:pt x="406" y="5224"/>
                  </a:lnTo>
                  <a:lnTo>
                    <a:pt x="894" y="4736"/>
                  </a:lnTo>
                  <a:lnTo>
                    <a:pt x="989" y="4819"/>
                  </a:lnTo>
                  <a:lnTo>
                    <a:pt x="2144" y="5986"/>
                  </a:lnTo>
                  <a:lnTo>
                    <a:pt x="2239" y="6070"/>
                  </a:lnTo>
                  <a:lnTo>
                    <a:pt x="1751" y="6558"/>
                  </a:lnTo>
                  <a:lnTo>
                    <a:pt x="1394" y="6201"/>
                  </a:lnTo>
                  <a:cubicBezTo>
                    <a:pt x="1364" y="6171"/>
                    <a:pt x="1323" y="6156"/>
                    <a:pt x="1279" y="6156"/>
                  </a:cubicBezTo>
                  <a:cubicBezTo>
                    <a:pt x="1236" y="6156"/>
                    <a:pt x="1192" y="6171"/>
                    <a:pt x="1156" y="6201"/>
                  </a:cubicBezTo>
                  <a:cubicBezTo>
                    <a:pt x="1096" y="6260"/>
                    <a:pt x="1096" y="6367"/>
                    <a:pt x="1156" y="6439"/>
                  </a:cubicBezTo>
                  <a:lnTo>
                    <a:pt x="1632" y="6915"/>
                  </a:lnTo>
                  <a:cubicBezTo>
                    <a:pt x="1656" y="6951"/>
                    <a:pt x="1704" y="6963"/>
                    <a:pt x="1751" y="6963"/>
                  </a:cubicBezTo>
                  <a:cubicBezTo>
                    <a:pt x="1787" y="6963"/>
                    <a:pt x="1835" y="6951"/>
                    <a:pt x="1870" y="6915"/>
                  </a:cubicBezTo>
                  <a:lnTo>
                    <a:pt x="2585" y="6201"/>
                  </a:lnTo>
                  <a:cubicBezTo>
                    <a:pt x="2608" y="6177"/>
                    <a:pt x="2620" y="6129"/>
                    <a:pt x="2620" y="6081"/>
                  </a:cubicBezTo>
                  <a:cubicBezTo>
                    <a:pt x="2620" y="6046"/>
                    <a:pt x="2608" y="5998"/>
                    <a:pt x="2585" y="5962"/>
                  </a:cubicBezTo>
                  <a:lnTo>
                    <a:pt x="2489" y="5879"/>
                  </a:lnTo>
                  <a:lnTo>
                    <a:pt x="2906" y="5534"/>
                  </a:lnTo>
                  <a:lnTo>
                    <a:pt x="4049" y="6677"/>
                  </a:lnTo>
                  <a:lnTo>
                    <a:pt x="3716" y="7093"/>
                  </a:lnTo>
                  <a:lnTo>
                    <a:pt x="3620" y="7010"/>
                  </a:lnTo>
                  <a:cubicBezTo>
                    <a:pt x="3597" y="6974"/>
                    <a:pt x="3549" y="6963"/>
                    <a:pt x="3501" y="6963"/>
                  </a:cubicBezTo>
                  <a:cubicBezTo>
                    <a:pt x="3454" y="6963"/>
                    <a:pt x="3418" y="6974"/>
                    <a:pt x="3382" y="7010"/>
                  </a:cubicBezTo>
                  <a:lnTo>
                    <a:pt x="2668" y="7725"/>
                  </a:lnTo>
                  <a:cubicBezTo>
                    <a:pt x="2608" y="7784"/>
                    <a:pt x="2608" y="7891"/>
                    <a:pt x="2668" y="7963"/>
                  </a:cubicBezTo>
                  <a:lnTo>
                    <a:pt x="4251" y="9534"/>
                  </a:lnTo>
                  <a:cubicBezTo>
                    <a:pt x="4275" y="9570"/>
                    <a:pt x="4323" y="9582"/>
                    <a:pt x="4371" y="9582"/>
                  </a:cubicBezTo>
                  <a:cubicBezTo>
                    <a:pt x="4406" y="9582"/>
                    <a:pt x="4454" y="9570"/>
                    <a:pt x="4490" y="9534"/>
                  </a:cubicBezTo>
                  <a:lnTo>
                    <a:pt x="5204" y="8820"/>
                  </a:lnTo>
                  <a:cubicBezTo>
                    <a:pt x="5264" y="8760"/>
                    <a:pt x="5264" y="8665"/>
                    <a:pt x="5204" y="8582"/>
                  </a:cubicBezTo>
                  <a:lnTo>
                    <a:pt x="5109" y="8498"/>
                  </a:lnTo>
                  <a:lnTo>
                    <a:pt x="6966" y="6963"/>
                  </a:lnTo>
                  <a:cubicBezTo>
                    <a:pt x="7049" y="6903"/>
                    <a:pt x="7049" y="6796"/>
                    <a:pt x="6990" y="6736"/>
                  </a:cubicBezTo>
                  <a:cubicBezTo>
                    <a:pt x="6959" y="6699"/>
                    <a:pt x="6915" y="6681"/>
                    <a:pt x="6871" y="6681"/>
                  </a:cubicBezTo>
                  <a:cubicBezTo>
                    <a:pt x="6831" y="6681"/>
                    <a:pt x="6792" y="6696"/>
                    <a:pt x="6764" y="6724"/>
                  </a:cubicBezTo>
                  <a:lnTo>
                    <a:pt x="4871" y="8284"/>
                  </a:lnTo>
                  <a:lnTo>
                    <a:pt x="3918" y="7332"/>
                  </a:lnTo>
                  <a:lnTo>
                    <a:pt x="7073" y="3498"/>
                  </a:lnTo>
                  <a:lnTo>
                    <a:pt x="8693" y="5117"/>
                  </a:lnTo>
                  <a:lnTo>
                    <a:pt x="7252" y="6308"/>
                  </a:lnTo>
                  <a:cubicBezTo>
                    <a:pt x="7180" y="6367"/>
                    <a:pt x="7180" y="6474"/>
                    <a:pt x="7240" y="6534"/>
                  </a:cubicBezTo>
                  <a:cubicBezTo>
                    <a:pt x="7271" y="6571"/>
                    <a:pt x="7315" y="6589"/>
                    <a:pt x="7359" y="6589"/>
                  </a:cubicBezTo>
                  <a:cubicBezTo>
                    <a:pt x="7398" y="6589"/>
                    <a:pt x="7438" y="6574"/>
                    <a:pt x="7466" y="6546"/>
                  </a:cubicBezTo>
                  <a:lnTo>
                    <a:pt x="9050" y="5236"/>
                  </a:lnTo>
                  <a:cubicBezTo>
                    <a:pt x="9085" y="5212"/>
                    <a:pt x="9109" y="5165"/>
                    <a:pt x="9109" y="5117"/>
                  </a:cubicBezTo>
                  <a:cubicBezTo>
                    <a:pt x="9109" y="5105"/>
                    <a:pt x="9109" y="5069"/>
                    <a:pt x="9097" y="5058"/>
                  </a:cubicBezTo>
                  <a:lnTo>
                    <a:pt x="9550" y="4617"/>
                  </a:lnTo>
                  <a:cubicBezTo>
                    <a:pt x="9565" y="4619"/>
                    <a:pt x="9578" y="4620"/>
                    <a:pt x="9591" y="4620"/>
                  </a:cubicBezTo>
                  <a:cubicBezTo>
                    <a:pt x="9704" y="4620"/>
                    <a:pt x="9698" y="4528"/>
                    <a:pt x="9633" y="4474"/>
                  </a:cubicBezTo>
                  <a:lnTo>
                    <a:pt x="9574" y="4415"/>
                  </a:lnTo>
                  <a:cubicBezTo>
                    <a:pt x="9764" y="4022"/>
                    <a:pt x="9645" y="3486"/>
                    <a:pt x="9264" y="3093"/>
                  </a:cubicBezTo>
                  <a:cubicBezTo>
                    <a:pt x="8995" y="2832"/>
                    <a:pt x="8659" y="2694"/>
                    <a:pt x="8348" y="2694"/>
                  </a:cubicBezTo>
                  <a:cubicBezTo>
                    <a:pt x="8204" y="2694"/>
                    <a:pt x="8066" y="2723"/>
                    <a:pt x="7942" y="2783"/>
                  </a:cubicBezTo>
                  <a:lnTo>
                    <a:pt x="7883" y="2724"/>
                  </a:lnTo>
                  <a:cubicBezTo>
                    <a:pt x="7847" y="2688"/>
                    <a:pt x="7800" y="2676"/>
                    <a:pt x="7764" y="2676"/>
                  </a:cubicBezTo>
                  <a:cubicBezTo>
                    <a:pt x="7716" y="2676"/>
                    <a:pt x="7669" y="2688"/>
                    <a:pt x="7645" y="2724"/>
                  </a:cubicBezTo>
                  <a:lnTo>
                    <a:pt x="7192" y="3164"/>
                  </a:lnTo>
                  <a:cubicBezTo>
                    <a:pt x="7180" y="3164"/>
                    <a:pt x="7145" y="3153"/>
                    <a:pt x="7133" y="3153"/>
                  </a:cubicBezTo>
                  <a:cubicBezTo>
                    <a:pt x="7085" y="3153"/>
                    <a:pt x="7049" y="3188"/>
                    <a:pt x="7014" y="3212"/>
                  </a:cubicBezTo>
                  <a:lnTo>
                    <a:pt x="5121" y="5510"/>
                  </a:lnTo>
                  <a:lnTo>
                    <a:pt x="4192" y="4569"/>
                  </a:lnTo>
                  <a:lnTo>
                    <a:pt x="4621" y="4212"/>
                  </a:lnTo>
                  <a:cubicBezTo>
                    <a:pt x="4692" y="4153"/>
                    <a:pt x="4692" y="4045"/>
                    <a:pt x="4632" y="3986"/>
                  </a:cubicBezTo>
                  <a:cubicBezTo>
                    <a:pt x="4601" y="3949"/>
                    <a:pt x="4557" y="3931"/>
                    <a:pt x="4514" y="3931"/>
                  </a:cubicBezTo>
                  <a:cubicBezTo>
                    <a:pt x="4474" y="3931"/>
                    <a:pt x="4435" y="3946"/>
                    <a:pt x="4406" y="3974"/>
                  </a:cubicBezTo>
                  <a:lnTo>
                    <a:pt x="3847" y="4438"/>
                  </a:lnTo>
                  <a:lnTo>
                    <a:pt x="2299" y="5712"/>
                  </a:lnTo>
                  <a:lnTo>
                    <a:pt x="1346" y="4760"/>
                  </a:lnTo>
                  <a:lnTo>
                    <a:pt x="4502" y="926"/>
                  </a:lnTo>
                  <a:lnTo>
                    <a:pt x="6121" y="2545"/>
                  </a:lnTo>
                  <a:lnTo>
                    <a:pt x="4906" y="3557"/>
                  </a:lnTo>
                  <a:cubicBezTo>
                    <a:pt x="4823" y="3617"/>
                    <a:pt x="4823" y="3724"/>
                    <a:pt x="4883" y="3784"/>
                  </a:cubicBezTo>
                  <a:cubicBezTo>
                    <a:pt x="4914" y="3821"/>
                    <a:pt x="4958" y="3839"/>
                    <a:pt x="5001" y="3839"/>
                  </a:cubicBezTo>
                  <a:cubicBezTo>
                    <a:pt x="5041" y="3839"/>
                    <a:pt x="5080" y="3824"/>
                    <a:pt x="5109" y="3795"/>
                  </a:cubicBezTo>
                  <a:lnTo>
                    <a:pt x="6478" y="2664"/>
                  </a:lnTo>
                  <a:cubicBezTo>
                    <a:pt x="6514" y="2629"/>
                    <a:pt x="6537" y="2593"/>
                    <a:pt x="6537" y="2545"/>
                  </a:cubicBezTo>
                  <a:cubicBezTo>
                    <a:pt x="6537" y="2533"/>
                    <a:pt x="6537" y="2498"/>
                    <a:pt x="6526" y="2486"/>
                  </a:cubicBezTo>
                  <a:lnTo>
                    <a:pt x="6966" y="2033"/>
                  </a:lnTo>
                  <a:cubicBezTo>
                    <a:pt x="7002" y="2010"/>
                    <a:pt x="7014" y="1962"/>
                    <a:pt x="7014" y="1914"/>
                  </a:cubicBezTo>
                  <a:cubicBezTo>
                    <a:pt x="7014" y="1879"/>
                    <a:pt x="7002" y="1831"/>
                    <a:pt x="6966" y="1795"/>
                  </a:cubicBezTo>
                  <a:lnTo>
                    <a:pt x="6907" y="1736"/>
                  </a:lnTo>
                  <a:cubicBezTo>
                    <a:pt x="7109" y="1343"/>
                    <a:pt x="6990" y="807"/>
                    <a:pt x="6597" y="414"/>
                  </a:cubicBezTo>
                  <a:cubicBezTo>
                    <a:pt x="6336" y="153"/>
                    <a:pt x="6003" y="15"/>
                    <a:pt x="5688" y="15"/>
                  </a:cubicBezTo>
                  <a:cubicBezTo>
                    <a:pt x="5544" y="15"/>
                    <a:pt x="5403" y="44"/>
                    <a:pt x="5275" y="105"/>
                  </a:cubicBezTo>
                  <a:lnTo>
                    <a:pt x="5216" y="45"/>
                  </a:lnTo>
                  <a:cubicBezTo>
                    <a:pt x="5186" y="15"/>
                    <a:pt x="5144" y="0"/>
                    <a:pt x="51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2" name="Google Shape;12732;p62"/>
            <p:cNvSpPr/>
            <p:nvPr/>
          </p:nvSpPr>
          <p:spPr>
            <a:xfrm>
              <a:off x="7557299" y="4000198"/>
              <a:ext cx="75410" cy="85714"/>
            </a:xfrm>
            <a:custGeom>
              <a:avLst/>
              <a:gdLst/>
              <a:ahLst/>
              <a:cxnLst/>
              <a:rect l="l" t="t" r="r" b="b"/>
              <a:pathLst>
                <a:path w="2371" h="2695" extrusionOk="0">
                  <a:moveTo>
                    <a:pt x="2189" y="1"/>
                  </a:moveTo>
                  <a:cubicBezTo>
                    <a:pt x="2143" y="1"/>
                    <a:pt x="2099" y="19"/>
                    <a:pt x="2072" y="52"/>
                  </a:cubicBezTo>
                  <a:lnTo>
                    <a:pt x="60" y="2421"/>
                  </a:lnTo>
                  <a:cubicBezTo>
                    <a:pt x="1" y="2493"/>
                    <a:pt x="25" y="2600"/>
                    <a:pt x="72" y="2647"/>
                  </a:cubicBezTo>
                  <a:cubicBezTo>
                    <a:pt x="108" y="2671"/>
                    <a:pt x="156" y="2695"/>
                    <a:pt x="179" y="2695"/>
                  </a:cubicBezTo>
                  <a:cubicBezTo>
                    <a:pt x="227" y="2695"/>
                    <a:pt x="275" y="2671"/>
                    <a:pt x="298" y="2635"/>
                  </a:cubicBezTo>
                  <a:lnTo>
                    <a:pt x="2311" y="266"/>
                  </a:lnTo>
                  <a:cubicBezTo>
                    <a:pt x="2370" y="195"/>
                    <a:pt x="2370" y="99"/>
                    <a:pt x="2299" y="40"/>
                  </a:cubicBezTo>
                  <a:cubicBezTo>
                    <a:pt x="2267" y="13"/>
                    <a:pt x="2227" y="1"/>
                    <a:pt x="2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3" name="Google Shape;12733;p62"/>
          <p:cNvGrpSpPr/>
          <p:nvPr/>
        </p:nvGrpSpPr>
        <p:grpSpPr>
          <a:xfrm>
            <a:off x="6737312" y="3833413"/>
            <a:ext cx="355230" cy="293401"/>
            <a:chOff x="6889712" y="3833413"/>
            <a:chExt cx="355230" cy="293401"/>
          </a:xfrm>
        </p:grpSpPr>
        <p:sp>
          <p:nvSpPr>
            <p:cNvPr id="12734" name="Google Shape;12734;p62"/>
            <p:cNvSpPr/>
            <p:nvPr/>
          </p:nvSpPr>
          <p:spPr>
            <a:xfrm>
              <a:off x="6926797" y="3833413"/>
              <a:ext cx="279121" cy="293401"/>
            </a:xfrm>
            <a:custGeom>
              <a:avLst/>
              <a:gdLst/>
              <a:ahLst/>
              <a:cxnLst/>
              <a:rect l="l" t="t" r="r" b="b"/>
              <a:pathLst>
                <a:path w="8776" h="9225" extrusionOk="0">
                  <a:moveTo>
                    <a:pt x="5097" y="3534"/>
                  </a:moveTo>
                  <a:cubicBezTo>
                    <a:pt x="5121" y="3534"/>
                    <a:pt x="5156" y="3546"/>
                    <a:pt x="5180" y="3557"/>
                  </a:cubicBezTo>
                  <a:cubicBezTo>
                    <a:pt x="5228" y="3617"/>
                    <a:pt x="5228" y="3688"/>
                    <a:pt x="5180" y="3736"/>
                  </a:cubicBezTo>
                  <a:cubicBezTo>
                    <a:pt x="5162" y="3760"/>
                    <a:pt x="5130" y="3772"/>
                    <a:pt x="5095" y="3772"/>
                  </a:cubicBezTo>
                  <a:cubicBezTo>
                    <a:pt x="5061" y="3772"/>
                    <a:pt x="5025" y="3760"/>
                    <a:pt x="5002" y="3736"/>
                  </a:cubicBezTo>
                  <a:cubicBezTo>
                    <a:pt x="4978" y="3712"/>
                    <a:pt x="4978" y="3677"/>
                    <a:pt x="4978" y="3653"/>
                  </a:cubicBezTo>
                  <a:cubicBezTo>
                    <a:pt x="4978" y="3617"/>
                    <a:pt x="4990" y="3593"/>
                    <a:pt x="5002" y="3557"/>
                  </a:cubicBezTo>
                  <a:cubicBezTo>
                    <a:pt x="5037" y="3534"/>
                    <a:pt x="5061" y="3534"/>
                    <a:pt x="5097" y="3534"/>
                  </a:cubicBezTo>
                  <a:close/>
                  <a:moveTo>
                    <a:pt x="3710" y="3543"/>
                  </a:moveTo>
                  <a:cubicBezTo>
                    <a:pt x="3742" y="3543"/>
                    <a:pt x="3775" y="3551"/>
                    <a:pt x="3799" y="3569"/>
                  </a:cubicBezTo>
                  <a:cubicBezTo>
                    <a:pt x="3835" y="3605"/>
                    <a:pt x="3835" y="3629"/>
                    <a:pt x="3835" y="3665"/>
                  </a:cubicBezTo>
                  <a:cubicBezTo>
                    <a:pt x="3835" y="3688"/>
                    <a:pt x="3811" y="3724"/>
                    <a:pt x="3799" y="3748"/>
                  </a:cubicBezTo>
                  <a:cubicBezTo>
                    <a:pt x="3775" y="3772"/>
                    <a:pt x="3742" y="3784"/>
                    <a:pt x="3710" y="3784"/>
                  </a:cubicBezTo>
                  <a:cubicBezTo>
                    <a:pt x="3677" y="3784"/>
                    <a:pt x="3644" y="3772"/>
                    <a:pt x="3620" y="3748"/>
                  </a:cubicBezTo>
                  <a:cubicBezTo>
                    <a:pt x="3573" y="3688"/>
                    <a:pt x="3573" y="3617"/>
                    <a:pt x="3620" y="3569"/>
                  </a:cubicBezTo>
                  <a:cubicBezTo>
                    <a:pt x="3644" y="3551"/>
                    <a:pt x="3677" y="3543"/>
                    <a:pt x="3710" y="3543"/>
                  </a:cubicBezTo>
                  <a:close/>
                  <a:moveTo>
                    <a:pt x="8109" y="4498"/>
                  </a:moveTo>
                  <a:lnTo>
                    <a:pt x="8109" y="4665"/>
                  </a:lnTo>
                  <a:lnTo>
                    <a:pt x="8085" y="4665"/>
                  </a:lnTo>
                  <a:cubicBezTo>
                    <a:pt x="8073" y="4843"/>
                    <a:pt x="7764" y="5141"/>
                    <a:pt x="6895" y="5355"/>
                  </a:cubicBezTo>
                  <a:cubicBezTo>
                    <a:pt x="6216" y="5534"/>
                    <a:pt x="5335" y="5629"/>
                    <a:pt x="4406" y="5629"/>
                  </a:cubicBezTo>
                  <a:cubicBezTo>
                    <a:pt x="3501" y="5629"/>
                    <a:pt x="2608" y="5522"/>
                    <a:pt x="1930" y="5355"/>
                  </a:cubicBezTo>
                  <a:cubicBezTo>
                    <a:pt x="1049" y="5141"/>
                    <a:pt x="739" y="4843"/>
                    <a:pt x="739" y="4665"/>
                  </a:cubicBezTo>
                  <a:lnTo>
                    <a:pt x="739" y="4498"/>
                  </a:lnTo>
                  <a:cubicBezTo>
                    <a:pt x="941" y="4665"/>
                    <a:pt x="1251" y="4796"/>
                    <a:pt x="1656" y="4915"/>
                  </a:cubicBezTo>
                  <a:cubicBezTo>
                    <a:pt x="2406" y="5129"/>
                    <a:pt x="3382" y="5248"/>
                    <a:pt x="4418" y="5248"/>
                  </a:cubicBezTo>
                  <a:cubicBezTo>
                    <a:pt x="5466" y="5248"/>
                    <a:pt x="6442" y="5129"/>
                    <a:pt x="7192" y="4915"/>
                  </a:cubicBezTo>
                  <a:cubicBezTo>
                    <a:pt x="7597" y="4796"/>
                    <a:pt x="7907" y="4653"/>
                    <a:pt x="8109" y="4498"/>
                  </a:cubicBezTo>
                  <a:close/>
                  <a:moveTo>
                    <a:pt x="8085" y="5189"/>
                  </a:moveTo>
                  <a:lnTo>
                    <a:pt x="8085" y="7915"/>
                  </a:lnTo>
                  <a:cubicBezTo>
                    <a:pt x="8085" y="8106"/>
                    <a:pt x="7776" y="8356"/>
                    <a:pt x="7085" y="8558"/>
                  </a:cubicBezTo>
                  <a:lnTo>
                    <a:pt x="7085" y="5629"/>
                  </a:lnTo>
                  <a:cubicBezTo>
                    <a:pt x="7442" y="5522"/>
                    <a:pt x="7823" y="5391"/>
                    <a:pt x="8085" y="5189"/>
                  </a:cubicBezTo>
                  <a:close/>
                  <a:moveTo>
                    <a:pt x="739" y="5201"/>
                  </a:moveTo>
                  <a:cubicBezTo>
                    <a:pt x="953" y="5355"/>
                    <a:pt x="1287" y="5510"/>
                    <a:pt x="1727" y="5629"/>
                  </a:cubicBezTo>
                  <a:lnTo>
                    <a:pt x="1727" y="6713"/>
                  </a:lnTo>
                  <a:cubicBezTo>
                    <a:pt x="1727" y="6808"/>
                    <a:pt x="1811" y="6879"/>
                    <a:pt x="1894" y="6879"/>
                  </a:cubicBezTo>
                  <a:cubicBezTo>
                    <a:pt x="1989" y="6879"/>
                    <a:pt x="2061" y="6808"/>
                    <a:pt x="2061" y="6713"/>
                  </a:cubicBezTo>
                  <a:lnTo>
                    <a:pt x="2061" y="5712"/>
                  </a:lnTo>
                  <a:cubicBezTo>
                    <a:pt x="2704" y="5867"/>
                    <a:pt x="3454" y="5939"/>
                    <a:pt x="4263" y="5951"/>
                  </a:cubicBezTo>
                  <a:lnTo>
                    <a:pt x="4263" y="8891"/>
                  </a:lnTo>
                  <a:lnTo>
                    <a:pt x="4251" y="8891"/>
                  </a:lnTo>
                  <a:cubicBezTo>
                    <a:pt x="4097" y="8891"/>
                    <a:pt x="3954" y="8891"/>
                    <a:pt x="3811" y="8868"/>
                  </a:cubicBezTo>
                  <a:cubicBezTo>
                    <a:pt x="3275" y="8844"/>
                    <a:pt x="2775" y="8784"/>
                    <a:pt x="2323" y="8701"/>
                  </a:cubicBezTo>
                  <a:cubicBezTo>
                    <a:pt x="2239" y="8689"/>
                    <a:pt x="2144" y="8665"/>
                    <a:pt x="2061" y="8653"/>
                  </a:cubicBezTo>
                  <a:lnTo>
                    <a:pt x="2061" y="7403"/>
                  </a:lnTo>
                  <a:cubicBezTo>
                    <a:pt x="2061" y="7308"/>
                    <a:pt x="1989" y="7236"/>
                    <a:pt x="1894" y="7236"/>
                  </a:cubicBezTo>
                  <a:cubicBezTo>
                    <a:pt x="1811" y="7236"/>
                    <a:pt x="1727" y="7308"/>
                    <a:pt x="1727" y="7403"/>
                  </a:cubicBezTo>
                  <a:lnTo>
                    <a:pt x="1727" y="8558"/>
                  </a:lnTo>
                  <a:lnTo>
                    <a:pt x="1465" y="8463"/>
                  </a:lnTo>
                  <a:cubicBezTo>
                    <a:pt x="1001" y="8308"/>
                    <a:pt x="739" y="8094"/>
                    <a:pt x="739" y="7915"/>
                  </a:cubicBezTo>
                  <a:lnTo>
                    <a:pt x="739" y="5201"/>
                  </a:lnTo>
                  <a:close/>
                  <a:moveTo>
                    <a:pt x="8582" y="0"/>
                  </a:moveTo>
                  <a:cubicBezTo>
                    <a:pt x="8541" y="0"/>
                    <a:pt x="8496" y="15"/>
                    <a:pt x="8454" y="45"/>
                  </a:cubicBezTo>
                  <a:lnTo>
                    <a:pt x="5775" y="2724"/>
                  </a:lnTo>
                  <a:cubicBezTo>
                    <a:pt x="5502" y="2700"/>
                    <a:pt x="5204" y="2664"/>
                    <a:pt x="4882" y="2664"/>
                  </a:cubicBezTo>
                  <a:cubicBezTo>
                    <a:pt x="4799" y="2664"/>
                    <a:pt x="4728" y="2724"/>
                    <a:pt x="4728" y="2831"/>
                  </a:cubicBezTo>
                  <a:cubicBezTo>
                    <a:pt x="4728" y="2915"/>
                    <a:pt x="4787" y="2998"/>
                    <a:pt x="4882" y="2998"/>
                  </a:cubicBezTo>
                  <a:cubicBezTo>
                    <a:pt x="5097" y="3010"/>
                    <a:pt x="5299" y="3010"/>
                    <a:pt x="5502" y="3034"/>
                  </a:cubicBezTo>
                  <a:lnTo>
                    <a:pt x="5275" y="3260"/>
                  </a:lnTo>
                  <a:cubicBezTo>
                    <a:pt x="5216" y="3234"/>
                    <a:pt x="5151" y="3221"/>
                    <a:pt x="5086" y="3221"/>
                  </a:cubicBezTo>
                  <a:cubicBezTo>
                    <a:pt x="4971" y="3221"/>
                    <a:pt x="4855" y="3263"/>
                    <a:pt x="4763" y="3355"/>
                  </a:cubicBezTo>
                  <a:cubicBezTo>
                    <a:pt x="4680" y="3438"/>
                    <a:pt x="4632" y="3546"/>
                    <a:pt x="4632" y="3665"/>
                  </a:cubicBezTo>
                  <a:cubicBezTo>
                    <a:pt x="4632" y="3784"/>
                    <a:pt x="4680" y="3903"/>
                    <a:pt x="4763" y="3974"/>
                  </a:cubicBezTo>
                  <a:cubicBezTo>
                    <a:pt x="4859" y="4069"/>
                    <a:pt x="4978" y="4105"/>
                    <a:pt x="5085" y="4105"/>
                  </a:cubicBezTo>
                  <a:cubicBezTo>
                    <a:pt x="5204" y="4105"/>
                    <a:pt x="5311" y="4069"/>
                    <a:pt x="5394" y="3974"/>
                  </a:cubicBezTo>
                  <a:cubicBezTo>
                    <a:pt x="5525" y="3843"/>
                    <a:pt x="5549" y="3629"/>
                    <a:pt x="5478" y="3474"/>
                  </a:cubicBezTo>
                  <a:lnTo>
                    <a:pt x="5883" y="3069"/>
                  </a:lnTo>
                  <a:cubicBezTo>
                    <a:pt x="7299" y="3248"/>
                    <a:pt x="8050" y="3653"/>
                    <a:pt x="8050" y="3950"/>
                  </a:cubicBezTo>
                  <a:cubicBezTo>
                    <a:pt x="8050" y="4343"/>
                    <a:pt x="6656" y="4915"/>
                    <a:pt x="4382" y="4915"/>
                  </a:cubicBezTo>
                  <a:cubicBezTo>
                    <a:pt x="2096" y="4915"/>
                    <a:pt x="703" y="4343"/>
                    <a:pt x="703" y="3950"/>
                  </a:cubicBezTo>
                  <a:cubicBezTo>
                    <a:pt x="703" y="3653"/>
                    <a:pt x="1465" y="3248"/>
                    <a:pt x="2870" y="3069"/>
                  </a:cubicBezTo>
                  <a:lnTo>
                    <a:pt x="3275" y="3474"/>
                  </a:lnTo>
                  <a:cubicBezTo>
                    <a:pt x="3204" y="3629"/>
                    <a:pt x="3227" y="3843"/>
                    <a:pt x="3370" y="3974"/>
                  </a:cubicBezTo>
                  <a:cubicBezTo>
                    <a:pt x="3454" y="4069"/>
                    <a:pt x="3573" y="4105"/>
                    <a:pt x="3680" y="4105"/>
                  </a:cubicBezTo>
                  <a:cubicBezTo>
                    <a:pt x="3799" y="4105"/>
                    <a:pt x="3918" y="4069"/>
                    <a:pt x="3989" y="3974"/>
                  </a:cubicBezTo>
                  <a:cubicBezTo>
                    <a:pt x="4085" y="3891"/>
                    <a:pt x="4120" y="3784"/>
                    <a:pt x="4120" y="3665"/>
                  </a:cubicBezTo>
                  <a:cubicBezTo>
                    <a:pt x="4120" y="3546"/>
                    <a:pt x="4085" y="3426"/>
                    <a:pt x="3989" y="3355"/>
                  </a:cubicBezTo>
                  <a:cubicBezTo>
                    <a:pt x="3906" y="3263"/>
                    <a:pt x="3787" y="3221"/>
                    <a:pt x="3672" y="3221"/>
                  </a:cubicBezTo>
                  <a:cubicBezTo>
                    <a:pt x="3608" y="3221"/>
                    <a:pt x="3545" y="3234"/>
                    <a:pt x="3489" y="3260"/>
                  </a:cubicBezTo>
                  <a:lnTo>
                    <a:pt x="3263" y="3034"/>
                  </a:lnTo>
                  <a:cubicBezTo>
                    <a:pt x="3561" y="3010"/>
                    <a:pt x="3870" y="2998"/>
                    <a:pt x="4216" y="2998"/>
                  </a:cubicBezTo>
                  <a:cubicBezTo>
                    <a:pt x="4299" y="2998"/>
                    <a:pt x="4382" y="2915"/>
                    <a:pt x="4382" y="2831"/>
                  </a:cubicBezTo>
                  <a:cubicBezTo>
                    <a:pt x="4382" y="2736"/>
                    <a:pt x="4299" y="2664"/>
                    <a:pt x="4216" y="2664"/>
                  </a:cubicBezTo>
                  <a:cubicBezTo>
                    <a:pt x="3799" y="2664"/>
                    <a:pt x="3382" y="2700"/>
                    <a:pt x="2977" y="2736"/>
                  </a:cubicBezTo>
                  <a:lnTo>
                    <a:pt x="299" y="57"/>
                  </a:lnTo>
                  <a:cubicBezTo>
                    <a:pt x="269" y="27"/>
                    <a:pt x="227" y="12"/>
                    <a:pt x="184" y="12"/>
                  </a:cubicBezTo>
                  <a:cubicBezTo>
                    <a:pt x="141" y="12"/>
                    <a:pt x="96" y="27"/>
                    <a:pt x="60" y="57"/>
                  </a:cubicBezTo>
                  <a:cubicBezTo>
                    <a:pt x="1" y="117"/>
                    <a:pt x="1" y="224"/>
                    <a:pt x="60" y="295"/>
                  </a:cubicBezTo>
                  <a:lnTo>
                    <a:pt x="2561" y="2795"/>
                  </a:lnTo>
                  <a:cubicBezTo>
                    <a:pt x="1322" y="2998"/>
                    <a:pt x="358" y="3379"/>
                    <a:pt x="358" y="3962"/>
                  </a:cubicBezTo>
                  <a:lnTo>
                    <a:pt x="358" y="4236"/>
                  </a:lnTo>
                  <a:lnTo>
                    <a:pt x="358" y="4653"/>
                  </a:lnTo>
                  <a:lnTo>
                    <a:pt x="358" y="7927"/>
                  </a:lnTo>
                  <a:cubicBezTo>
                    <a:pt x="358" y="8165"/>
                    <a:pt x="525" y="8499"/>
                    <a:pt x="1299" y="8796"/>
                  </a:cubicBezTo>
                  <a:cubicBezTo>
                    <a:pt x="1549" y="8880"/>
                    <a:pt x="1858" y="8975"/>
                    <a:pt x="2204" y="9034"/>
                  </a:cubicBezTo>
                  <a:cubicBezTo>
                    <a:pt x="2668" y="9118"/>
                    <a:pt x="3192" y="9177"/>
                    <a:pt x="3739" y="9213"/>
                  </a:cubicBezTo>
                  <a:cubicBezTo>
                    <a:pt x="3942" y="9225"/>
                    <a:pt x="4144" y="9225"/>
                    <a:pt x="4347" y="9225"/>
                  </a:cubicBezTo>
                  <a:cubicBezTo>
                    <a:pt x="4751" y="9225"/>
                    <a:pt x="5156" y="9213"/>
                    <a:pt x="5537" y="9165"/>
                  </a:cubicBezTo>
                  <a:cubicBezTo>
                    <a:pt x="5633" y="9153"/>
                    <a:pt x="5692" y="9082"/>
                    <a:pt x="5692" y="8987"/>
                  </a:cubicBezTo>
                  <a:cubicBezTo>
                    <a:pt x="5668" y="8903"/>
                    <a:pt x="5597" y="8844"/>
                    <a:pt x="5513" y="8844"/>
                  </a:cubicBezTo>
                  <a:cubicBezTo>
                    <a:pt x="5180" y="8868"/>
                    <a:pt x="4859" y="8880"/>
                    <a:pt x="4513" y="8880"/>
                  </a:cubicBezTo>
                  <a:lnTo>
                    <a:pt x="4513" y="5939"/>
                  </a:lnTo>
                  <a:cubicBezTo>
                    <a:pt x="5299" y="5927"/>
                    <a:pt x="6073" y="5855"/>
                    <a:pt x="6716" y="5701"/>
                  </a:cubicBezTo>
                  <a:lnTo>
                    <a:pt x="6716" y="8630"/>
                  </a:lnTo>
                  <a:cubicBezTo>
                    <a:pt x="6537" y="8677"/>
                    <a:pt x="6359" y="8713"/>
                    <a:pt x="6145" y="8737"/>
                  </a:cubicBezTo>
                  <a:cubicBezTo>
                    <a:pt x="6061" y="8749"/>
                    <a:pt x="6002" y="8844"/>
                    <a:pt x="6014" y="8927"/>
                  </a:cubicBezTo>
                  <a:cubicBezTo>
                    <a:pt x="6025" y="9011"/>
                    <a:pt x="6109" y="9070"/>
                    <a:pt x="6180" y="9070"/>
                  </a:cubicBezTo>
                  <a:lnTo>
                    <a:pt x="6204" y="9070"/>
                  </a:lnTo>
                  <a:cubicBezTo>
                    <a:pt x="6383" y="9034"/>
                    <a:pt x="6645" y="8987"/>
                    <a:pt x="6907" y="8915"/>
                  </a:cubicBezTo>
                  <a:cubicBezTo>
                    <a:pt x="6918" y="8915"/>
                    <a:pt x="6918" y="8915"/>
                    <a:pt x="6942" y="8903"/>
                  </a:cubicBezTo>
                  <a:cubicBezTo>
                    <a:pt x="7609" y="8725"/>
                    <a:pt x="8371" y="8415"/>
                    <a:pt x="8371" y="7891"/>
                  </a:cubicBezTo>
                  <a:lnTo>
                    <a:pt x="8371" y="4629"/>
                  </a:lnTo>
                  <a:lnTo>
                    <a:pt x="8371" y="4617"/>
                  </a:lnTo>
                  <a:lnTo>
                    <a:pt x="8371" y="3903"/>
                  </a:lnTo>
                  <a:cubicBezTo>
                    <a:pt x="8371" y="3546"/>
                    <a:pt x="7990" y="3236"/>
                    <a:pt x="7299" y="2998"/>
                  </a:cubicBezTo>
                  <a:cubicBezTo>
                    <a:pt x="6966" y="2891"/>
                    <a:pt x="6585" y="2795"/>
                    <a:pt x="6168" y="2736"/>
                  </a:cubicBezTo>
                  <a:lnTo>
                    <a:pt x="8669" y="236"/>
                  </a:lnTo>
                  <a:cubicBezTo>
                    <a:pt x="8776" y="224"/>
                    <a:pt x="8776" y="117"/>
                    <a:pt x="8692" y="45"/>
                  </a:cubicBezTo>
                  <a:cubicBezTo>
                    <a:pt x="8663" y="15"/>
                    <a:pt x="8624" y="0"/>
                    <a:pt x="85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5" name="Google Shape;12735;p62"/>
            <p:cNvSpPr/>
            <p:nvPr/>
          </p:nvSpPr>
          <p:spPr>
            <a:xfrm>
              <a:off x="6922281" y="3873646"/>
              <a:ext cx="40170" cy="54387"/>
            </a:xfrm>
            <a:custGeom>
              <a:avLst/>
              <a:gdLst/>
              <a:ahLst/>
              <a:cxnLst/>
              <a:rect l="l" t="t" r="r" b="b"/>
              <a:pathLst>
                <a:path w="1263" h="1710" extrusionOk="0">
                  <a:moveTo>
                    <a:pt x="191" y="0"/>
                  </a:moveTo>
                  <a:cubicBezTo>
                    <a:pt x="162" y="0"/>
                    <a:pt x="132" y="9"/>
                    <a:pt x="107" y="30"/>
                  </a:cubicBezTo>
                  <a:cubicBezTo>
                    <a:pt x="24" y="78"/>
                    <a:pt x="0" y="185"/>
                    <a:pt x="60" y="256"/>
                  </a:cubicBezTo>
                  <a:lnTo>
                    <a:pt x="953" y="1638"/>
                  </a:lnTo>
                  <a:cubicBezTo>
                    <a:pt x="976" y="1685"/>
                    <a:pt x="1036" y="1709"/>
                    <a:pt x="1083" y="1709"/>
                  </a:cubicBezTo>
                  <a:cubicBezTo>
                    <a:pt x="1119" y="1709"/>
                    <a:pt x="1143" y="1697"/>
                    <a:pt x="1179" y="1685"/>
                  </a:cubicBezTo>
                  <a:cubicBezTo>
                    <a:pt x="1250" y="1638"/>
                    <a:pt x="1262" y="1530"/>
                    <a:pt x="1214" y="1459"/>
                  </a:cubicBezTo>
                  <a:lnTo>
                    <a:pt x="321" y="78"/>
                  </a:lnTo>
                  <a:cubicBezTo>
                    <a:pt x="298" y="32"/>
                    <a:pt x="245" y="0"/>
                    <a:pt x="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6" name="Google Shape;12736;p62"/>
            <p:cNvSpPr/>
            <p:nvPr/>
          </p:nvSpPr>
          <p:spPr>
            <a:xfrm>
              <a:off x="6889712" y="3913529"/>
              <a:ext cx="56804" cy="29261"/>
            </a:xfrm>
            <a:custGeom>
              <a:avLst/>
              <a:gdLst/>
              <a:ahLst/>
              <a:cxnLst/>
              <a:rect l="l" t="t" r="r" b="b"/>
              <a:pathLst>
                <a:path w="1786" h="920" extrusionOk="0">
                  <a:moveTo>
                    <a:pt x="167" y="1"/>
                  </a:moveTo>
                  <a:cubicBezTo>
                    <a:pt x="103" y="1"/>
                    <a:pt x="50" y="36"/>
                    <a:pt x="24" y="98"/>
                  </a:cubicBezTo>
                  <a:cubicBezTo>
                    <a:pt x="0" y="193"/>
                    <a:pt x="24" y="276"/>
                    <a:pt x="119" y="312"/>
                  </a:cubicBezTo>
                  <a:lnTo>
                    <a:pt x="1536" y="907"/>
                  </a:lnTo>
                  <a:cubicBezTo>
                    <a:pt x="1560" y="919"/>
                    <a:pt x="1584" y="919"/>
                    <a:pt x="1607" y="919"/>
                  </a:cubicBezTo>
                  <a:cubicBezTo>
                    <a:pt x="1667" y="919"/>
                    <a:pt x="1715" y="872"/>
                    <a:pt x="1750" y="812"/>
                  </a:cubicBezTo>
                  <a:cubicBezTo>
                    <a:pt x="1786" y="729"/>
                    <a:pt x="1738" y="634"/>
                    <a:pt x="1667" y="610"/>
                  </a:cubicBezTo>
                  <a:lnTo>
                    <a:pt x="238" y="15"/>
                  </a:lnTo>
                  <a:cubicBezTo>
                    <a:pt x="213" y="5"/>
                    <a:pt x="189"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7" name="Google Shape;12737;p62"/>
            <p:cNvSpPr/>
            <p:nvPr/>
          </p:nvSpPr>
          <p:spPr>
            <a:xfrm>
              <a:off x="7171823" y="3873710"/>
              <a:ext cx="39788" cy="54323"/>
            </a:xfrm>
            <a:custGeom>
              <a:avLst/>
              <a:gdLst/>
              <a:ahLst/>
              <a:cxnLst/>
              <a:rect l="l" t="t" r="r" b="b"/>
              <a:pathLst>
                <a:path w="1251" h="1708" extrusionOk="0">
                  <a:moveTo>
                    <a:pt x="1062" y="0"/>
                  </a:moveTo>
                  <a:cubicBezTo>
                    <a:pt x="1010" y="0"/>
                    <a:pt x="958" y="25"/>
                    <a:pt x="929" y="76"/>
                  </a:cubicBezTo>
                  <a:lnTo>
                    <a:pt x="36" y="1457"/>
                  </a:lnTo>
                  <a:cubicBezTo>
                    <a:pt x="0" y="1528"/>
                    <a:pt x="12" y="1636"/>
                    <a:pt x="84" y="1683"/>
                  </a:cubicBezTo>
                  <a:cubicBezTo>
                    <a:pt x="119" y="1695"/>
                    <a:pt x="143" y="1707"/>
                    <a:pt x="179" y="1707"/>
                  </a:cubicBezTo>
                  <a:cubicBezTo>
                    <a:pt x="238" y="1707"/>
                    <a:pt x="274" y="1683"/>
                    <a:pt x="310" y="1636"/>
                  </a:cubicBezTo>
                  <a:lnTo>
                    <a:pt x="1203" y="254"/>
                  </a:lnTo>
                  <a:cubicBezTo>
                    <a:pt x="1250" y="183"/>
                    <a:pt x="1227" y="76"/>
                    <a:pt x="1155" y="28"/>
                  </a:cubicBezTo>
                  <a:cubicBezTo>
                    <a:pt x="1128" y="10"/>
                    <a:pt x="1095" y="0"/>
                    <a:pt x="10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8" name="Google Shape;12738;p62"/>
            <p:cNvSpPr/>
            <p:nvPr/>
          </p:nvSpPr>
          <p:spPr>
            <a:xfrm>
              <a:off x="7187725" y="3913529"/>
              <a:ext cx="57217" cy="29261"/>
            </a:xfrm>
            <a:custGeom>
              <a:avLst/>
              <a:gdLst/>
              <a:ahLst/>
              <a:cxnLst/>
              <a:rect l="l" t="t" r="r" b="b"/>
              <a:pathLst>
                <a:path w="1799" h="920" extrusionOk="0">
                  <a:moveTo>
                    <a:pt x="1610" y="1"/>
                  </a:moveTo>
                  <a:cubicBezTo>
                    <a:pt x="1588" y="1"/>
                    <a:pt x="1567" y="5"/>
                    <a:pt x="1548" y="15"/>
                  </a:cubicBezTo>
                  <a:lnTo>
                    <a:pt x="119" y="610"/>
                  </a:lnTo>
                  <a:cubicBezTo>
                    <a:pt x="36" y="634"/>
                    <a:pt x="0" y="741"/>
                    <a:pt x="36" y="812"/>
                  </a:cubicBezTo>
                  <a:cubicBezTo>
                    <a:pt x="60" y="872"/>
                    <a:pt x="119" y="919"/>
                    <a:pt x="179" y="919"/>
                  </a:cubicBezTo>
                  <a:cubicBezTo>
                    <a:pt x="191" y="919"/>
                    <a:pt x="227" y="919"/>
                    <a:pt x="238" y="907"/>
                  </a:cubicBezTo>
                  <a:lnTo>
                    <a:pt x="1667" y="312"/>
                  </a:lnTo>
                  <a:cubicBezTo>
                    <a:pt x="1762" y="276"/>
                    <a:pt x="1798" y="181"/>
                    <a:pt x="1762" y="98"/>
                  </a:cubicBezTo>
                  <a:cubicBezTo>
                    <a:pt x="1736" y="36"/>
                    <a:pt x="1671" y="1"/>
                    <a:pt x="16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39" name="Google Shape;12739;p62"/>
          <p:cNvGrpSpPr/>
          <p:nvPr/>
        </p:nvGrpSpPr>
        <p:grpSpPr>
          <a:xfrm>
            <a:off x="7707152" y="3835870"/>
            <a:ext cx="282318" cy="337168"/>
            <a:chOff x="1635875" y="237775"/>
            <a:chExt cx="4370250" cy="5219325"/>
          </a:xfrm>
        </p:grpSpPr>
        <p:sp>
          <p:nvSpPr>
            <p:cNvPr id="12740" name="Google Shape;12740;p62"/>
            <p:cNvSpPr/>
            <p:nvPr/>
          </p:nvSpPr>
          <p:spPr>
            <a:xfrm>
              <a:off x="3572675" y="2020200"/>
              <a:ext cx="583925" cy="556900"/>
            </a:xfrm>
            <a:custGeom>
              <a:avLst/>
              <a:gdLst/>
              <a:ahLst/>
              <a:cxnLst/>
              <a:rect l="l" t="t" r="r" b="b"/>
              <a:pathLst>
                <a:path w="23357" h="22276" extrusionOk="0">
                  <a:moveTo>
                    <a:pt x="11172" y="6159"/>
                  </a:moveTo>
                  <a:cubicBezTo>
                    <a:pt x="12402" y="6159"/>
                    <a:pt x="13657" y="6612"/>
                    <a:pt x="14680" y="7624"/>
                  </a:cubicBezTo>
                  <a:cubicBezTo>
                    <a:pt x="16604" y="9582"/>
                    <a:pt x="16604" y="12746"/>
                    <a:pt x="14680" y="14670"/>
                  </a:cubicBezTo>
                  <a:lnTo>
                    <a:pt x="14680" y="14703"/>
                  </a:lnTo>
                  <a:cubicBezTo>
                    <a:pt x="13658" y="15714"/>
                    <a:pt x="12405" y="16167"/>
                    <a:pt x="11177" y="16167"/>
                  </a:cubicBezTo>
                  <a:cubicBezTo>
                    <a:pt x="8601" y="16167"/>
                    <a:pt x="6133" y="14173"/>
                    <a:pt x="6133" y="11147"/>
                  </a:cubicBezTo>
                  <a:cubicBezTo>
                    <a:pt x="6133" y="8145"/>
                    <a:pt x="8598" y="6159"/>
                    <a:pt x="11172" y="6159"/>
                  </a:cubicBezTo>
                  <a:close/>
                  <a:moveTo>
                    <a:pt x="11218" y="1"/>
                  </a:moveTo>
                  <a:cubicBezTo>
                    <a:pt x="5493" y="1"/>
                    <a:pt x="1" y="4440"/>
                    <a:pt x="1" y="11147"/>
                  </a:cubicBezTo>
                  <a:cubicBezTo>
                    <a:pt x="1" y="15649"/>
                    <a:pt x="2708" y="19694"/>
                    <a:pt x="6883" y="21423"/>
                  </a:cubicBezTo>
                  <a:cubicBezTo>
                    <a:pt x="8258" y="21996"/>
                    <a:pt x="9705" y="22276"/>
                    <a:pt x="11142" y="22276"/>
                  </a:cubicBezTo>
                  <a:cubicBezTo>
                    <a:pt x="14033" y="22276"/>
                    <a:pt x="16882" y="21145"/>
                    <a:pt x="19018" y="19009"/>
                  </a:cubicBezTo>
                  <a:cubicBezTo>
                    <a:pt x="23356" y="14670"/>
                    <a:pt x="23356" y="7624"/>
                    <a:pt x="19018" y="3286"/>
                  </a:cubicBezTo>
                  <a:cubicBezTo>
                    <a:pt x="16749" y="1017"/>
                    <a:pt x="13957" y="1"/>
                    <a:pt x="112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1" name="Google Shape;12741;p62"/>
            <p:cNvSpPr/>
            <p:nvPr/>
          </p:nvSpPr>
          <p:spPr>
            <a:xfrm>
              <a:off x="1635875" y="237775"/>
              <a:ext cx="4370250" cy="5219325"/>
            </a:xfrm>
            <a:custGeom>
              <a:avLst/>
              <a:gdLst/>
              <a:ahLst/>
              <a:cxnLst/>
              <a:rect l="l" t="t" r="r" b="b"/>
              <a:pathLst>
                <a:path w="174810" h="208773" extrusionOk="0">
                  <a:moveTo>
                    <a:pt x="18855" y="146249"/>
                  </a:moveTo>
                  <a:lnTo>
                    <a:pt x="24792" y="152218"/>
                  </a:lnTo>
                  <a:lnTo>
                    <a:pt x="14875" y="160863"/>
                  </a:lnTo>
                  <a:lnTo>
                    <a:pt x="10178" y="156198"/>
                  </a:lnTo>
                  <a:lnTo>
                    <a:pt x="18855" y="146249"/>
                  </a:lnTo>
                  <a:close/>
                  <a:moveTo>
                    <a:pt x="90749" y="190905"/>
                  </a:moveTo>
                  <a:lnTo>
                    <a:pt x="95479" y="195603"/>
                  </a:lnTo>
                  <a:lnTo>
                    <a:pt x="88531" y="200855"/>
                  </a:lnTo>
                  <a:lnTo>
                    <a:pt x="85530" y="197853"/>
                  </a:lnTo>
                  <a:lnTo>
                    <a:pt x="90749" y="190905"/>
                  </a:lnTo>
                  <a:close/>
                  <a:moveTo>
                    <a:pt x="132129" y="0"/>
                  </a:moveTo>
                  <a:cubicBezTo>
                    <a:pt x="124550" y="0"/>
                    <a:pt x="116929" y="2213"/>
                    <a:pt x="110288" y="6734"/>
                  </a:cubicBezTo>
                  <a:cubicBezTo>
                    <a:pt x="108853" y="7712"/>
                    <a:pt x="108494" y="9637"/>
                    <a:pt x="109473" y="11040"/>
                  </a:cubicBezTo>
                  <a:cubicBezTo>
                    <a:pt x="110062" y="11914"/>
                    <a:pt x="111032" y="12383"/>
                    <a:pt x="112019" y="12383"/>
                  </a:cubicBezTo>
                  <a:cubicBezTo>
                    <a:pt x="112615" y="12383"/>
                    <a:pt x="113217" y="12211"/>
                    <a:pt x="113746" y="11855"/>
                  </a:cubicBezTo>
                  <a:cubicBezTo>
                    <a:pt x="119348" y="8059"/>
                    <a:pt x="125738" y="6222"/>
                    <a:pt x="132075" y="6222"/>
                  </a:cubicBezTo>
                  <a:cubicBezTo>
                    <a:pt x="141530" y="6222"/>
                    <a:pt x="150867" y="10312"/>
                    <a:pt x="157293" y="18085"/>
                  </a:cubicBezTo>
                  <a:cubicBezTo>
                    <a:pt x="168058" y="31068"/>
                    <a:pt x="167177" y="50085"/>
                    <a:pt x="155303" y="62057"/>
                  </a:cubicBezTo>
                  <a:cubicBezTo>
                    <a:pt x="144310" y="73050"/>
                    <a:pt x="135373" y="78432"/>
                    <a:pt x="128001" y="78432"/>
                  </a:cubicBezTo>
                  <a:cubicBezTo>
                    <a:pt x="125293" y="78400"/>
                    <a:pt x="122651" y="77715"/>
                    <a:pt x="120302" y="76377"/>
                  </a:cubicBezTo>
                  <a:lnTo>
                    <a:pt x="120204" y="76344"/>
                  </a:lnTo>
                  <a:cubicBezTo>
                    <a:pt x="116029" y="74028"/>
                    <a:pt x="112180" y="70147"/>
                    <a:pt x="108135" y="66069"/>
                  </a:cubicBezTo>
                  <a:lnTo>
                    <a:pt x="106569" y="64503"/>
                  </a:lnTo>
                  <a:lnTo>
                    <a:pt x="105036" y="62970"/>
                  </a:lnTo>
                  <a:cubicBezTo>
                    <a:pt x="100959" y="58925"/>
                    <a:pt x="97110" y="55109"/>
                    <a:pt x="94826" y="50803"/>
                  </a:cubicBezTo>
                  <a:cubicBezTo>
                    <a:pt x="94794" y="50705"/>
                    <a:pt x="94728" y="50640"/>
                    <a:pt x="94696" y="50575"/>
                  </a:cubicBezTo>
                  <a:cubicBezTo>
                    <a:pt x="91010" y="43333"/>
                    <a:pt x="91956" y="34819"/>
                    <a:pt x="103797" y="21315"/>
                  </a:cubicBezTo>
                  <a:cubicBezTo>
                    <a:pt x="104906" y="20010"/>
                    <a:pt x="104775" y="18085"/>
                    <a:pt x="103503" y="16976"/>
                  </a:cubicBezTo>
                  <a:cubicBezTo>
                    <a:pt x="102924" y="16471"/>
                    <a:pt x="102202" y="16223"/>
                    <a:pt x="101483" y="16223"/>
                  </a:cubicBezTo>
                  <a:cubicBezTo>
                    <a:pt x="100624" y="16223"/>
                    <a:pt x="99769" y="16577"/>
                    <a:pt x="99165" y="17270"/>
                  </a:cubicBezTo>
                  <a:cubicBezTo>
                    <a:pt x="88987" y="28915"/>
                    <a:pt x="85171" y="38538"/>
                    <a:pt x="87161" y="47639"/>
                  </a:cubicBezTo>
                  <a:cubicBezTo>
                    <a:pt x="87454" y="49042"/>
                    <a:pt x="87911" y="50412"/>
                    <a:pt x="88466" y="51749"/>
                  </a:cubicBezTo>
                  <a:lnTo>
                    <a:pt x="16898" y="134799"/>
                  </a:lnTo>
                  <a:cubicBezTo>
                    <a:pt x="15430" y="136496"/>
                    <a:pt x="14843" y="138779"/>
                    <a:pt x="15300" y="140964"/>
                  </a:cubicBezTo>
                  <a:lnTo>
                    <a:pt x="5350" y="152381"/>
                  </a:lnTo>
                  <a:cubicBezTo>
                    <a:pt x="3361" y="154665"/>
                    <a:pt x="3459" y="158122"/>
                    <a:pt x="5611" y="160275"/>
                  </a:cubicBezTo>
                  <a:lnTo>
                    <a:pt x="6166" y="160830"/>
                  </a:lnTo>
                  <a:cubicBezTo>
                    <a:pt x="1" y="169963"/>
                    <a:pt x="1143" y="182163"/>
                    <a:pt x="8939" y="189992"/>
                  </a:cubicBezTo>
                  <a:lnTo>
                    <a:pt x="10831" y="191884"/>
                  </a:lnTo>
                  <a:cubicBezTo>
                    <a:pt x="15332" y="196369"/>
                    <a:pt x="21220" y="198612"/>
                    <a:pt x="27104" y="198612"/>
                  </a:cubicBezTo>
                  <a:cubicBezTo>
                    <a:pt x="32988" y="198612"/>
                    <a:pt x="38867" y="196369"/>
                    <a:pt x="43352" y="191884"/>
                  </a:cubicBezTo>
                  <a:lnTo>
                    <a:pt x="76135" y="159101"/>
                  </a:lnTo>
                  <a:cubicBezTo>
                    <a:pt x="79368" y="155770"/>
                    <a:pt x="83668" y="154097"/>
                    <a:pt x="87964" y="154097"/>
                  </a:cubicBezTo>
                  <a:cubicBezTo>
                    <a:pt x="92165" y="154097"/>
                    <a:pt x="96363" y="155696"/>
                    <a:pt x="99556" y="158905"/>
                  </a:cubicBezTo>
                  <a:cubicBezTo>
                    <a:pt x="106048" y="165397"/>
                    <a:pt x="105982" y="175933"/>
                    <a:pt x="99393" y="182326"/>
                  </a:cubicBezTo>
                  <a:lnTo>
                    <a:pt x="95153" y="186600"/>
                  </a:lnTo>
                  <a:lnTo>
                    <a:pt x="94859" y="186306"/>
                  </a:lnTo>
                  <a:cubicBezTo>
                    <a:pt x="93710" y="185157"/>
                    <a:pt x="92220" y="184595"/>
                    <a:pt x="90735" y="184595"/>
                  </a:cubicBezTo>
                  <a:cubicBezTo>
                    <a:pt x="88974" y="184595"/>
                    <a:pt x="87220" y="185386"/>
                    <a:pt x="86052" y="186926"/>
                  </a:cubicBezTo>
                  <a:lnTo>
                    <a:pt x="80474" y="194363"/>
                  </a:lnTo>
                  <a:cubicBezTo>
                    <a:pt x="78908" y="196483"/>
                    <a:pt x="78908" y="199387"/>
                    <a:pt x="80539" y="201474"/>
                  </a:cubicBezTo>
                  <a:lnTo>
                    <a:pt x="78484" y="203529"/>
                  </a:lnTo>
                  <a:cubicBezTo>
                    <a:pt x="77277" y="204736"/>
                    <a:pt x="77277" y="206693"/>
                    <a:pt x="78484" y="207868"/>
                  </a:cubicBezTo>
                  <a:cubicBezTo>
                    <a:pt x="79087" y="208471"/>
                    <a:pt x="79878" y="208773"/>
                    <a:pt x="80665" y="208773"/>
                  </a:cubicBezTo>
                  <a:cubicBezTo>
                    <a:pt x="81452" y="208773"/>
                    <a:pt x="82235" y="208471"/>
                    <a:pt x="82822" y="207868"/>
                  </a:cubicBezTo>
                  <a:lnTo>
                    <a:pt x="84910" y="205813"/>
                  </a:lnTo>
                  <a:cubicBezTo>
                    <a:pt x="85958" y="206645"/>
                    <a:pt x="87236" y="207061"/>
                    <a:pt x="88518" y="207061"/>
                  </a:cubicBezTo>
                  <a:cubicBezTo>
                    <a:pt x="89748" y="207061"/>
                    <a:pt x="90983" y="206677"/>
                    <a:pt x="92021" y="205911"/>
                  </a:cubicBezTo>
                  <a:lnTo>
                    <a:pt x="99458" y="200300"/>
                  </a:lnTo>
                  <a:cubicBezTo>
                    <a:pt x="102264" y="198180"/>
                    <a:pt x="102557" y="194004"/>
                    <a:pt x="100046" y="191493"/>
                  </a:cubicBezTo>
                  <a:lnTo>
                    <a:pt x="99491" y="190938"/>
                  </a:lnTo>
                  <a:lnTo>
                    <a:pt x="103764" y="186697"/>
                  </a:lnTo>
                  <a:cubicBezTo>
                    <a:pt x="112408" y="177825"/>
                    <a:pt x="112311" y="163700"/>
                    <a:pt x="103568" y="154926"/>
                  </a:cubicBezTo>
                  <a:cubicBezTo>
                    <a:pt x="99169" y="150526"/>
                    <a:pt x="93397" y="148324"/>
                    <a:pt x="87623" y="148324"/>
                  </a:cubicBezTo>
                  <a:cubicBezTo>
                    <a:pt x="81923" y="148324"/>
                    <a:pt x="76220" y="150469"/>
                    <a:pt x="71829" y="154763"/>
                  </a:cubicBezTo>
                  <a:lnTo>
                    <a:pt x="39014" y="187546"/>
                  </a:lnTo>
                  <a:cubicBezTo>
                    <a:pt x="35719" y="190824"/>
                    <a:pt x="31414" y="192463"/>
                    <a:pt x="27108" y="192463"/>
                  </a:cubicBezTo>
                  <a:cubicBezTo>
                    <a:pt x="22802" y="192463"/>
                    <a:pt x="18496" y="190824"/>
                    <a:pt x="15202" y="187546"/>
                  </a:cubicBezTo>
                  <a:lnTo>
                    <a:pt x="13277" y="185654"/>
                  </a:lnTo>
                  <a:cubicBezTo>
                    <a:pt x="7895" y="180239"/>
                    <a:pt x="6818" y="171888"/>
                    <a:pt x="10635" y="165299"/>
                  </a:cubicBezTo>
                  <a:lnTo>
                    <a:pt x="10635" y="165299"/>
                  </a:lnTo>
                  <a:lnTo>
                    <a:pt x="10765" y="165429"/>
                  </a:lnTo>
                  <a:cubicBezTo>
                    <a:pt x="11888" y="166552"/>
                    <a:pt x="13367" y="167116"/>
                    <a:pt x="14848" y="167116"/>
                  </a:cubicBezTo>
                  <a:cubicBezTo>
                    <a:pt x="16206" y="167116"/>
                    <a:pt x="17567" y="166642"/>
                    <a:pt x="18659" y="165690"/>
                  </a:cubicBezTo>
                  <a:lnTo>
                    <a:pt x="30076" y="155741"/>
                  </a:lnTo>
                  <a:cubicBezTo>
                    <a:pt x="30533" y="155839"/>
                    <a:pt x="31022" y="155872"/>
                    <a:pt x="31512" y="155904"/>
                  </a:cubicBezTo>
                  <a:cubicBezTo>
                    <a:pt x="33240" y="155904"/>
                    <a:pt x="34937" y="155285"/>
                    <a:pt x="36241" y="154143"/>
                  </a:cubicBezTo>
                  <a:lnTo>
                    <a:pt x="51018" y="141421"/>
                  </a:lnTo>
                  <a:cubicBezTo>
                    <a:pt x="52290" y="140312"/>
                    <a:pt x="52453" y="138387"/>
                    <a:pt x="51344" y="137083"/>
                  </a:cubicBezTo>
                  <a:cubicBezTo>
                    <a:pt x="50733" y="136381"/>
                    <a:pt x="49864" y="136017"/>
                    <a:pt x="48994" y="136017"/>
                  </a:cubicBezTo>
                  <a:cubicBezTo>
                    <a:pt x="48286" y="136017"/>
                    <a:pt x="47577" y="136259"/>
                    <a:pt x="47006" y="136756"/>
                  </a:cubicBezTo>
                  <a:lnTo>
                    <a:pt x="32229" y="149478"/>
                  </a:lnTo>
                  <a:cubicBezTo>
                    <a:pt x="32023" y="149665"/>
                    <a:pt x="31764" y="149756"/>
                    <a:pt x="31500" y="149756"/>
                  </a:cubicBezTo>
                  <a:cubicBezTo>
                    <a:pt x="31304" y="149756"/>
                    <a:pt x="31105" y="149706"/>
                    <a:pt x="30924" y="149609"/>
                  </a:cubicBezTo>
                  <a:lnTo>
                    <a:pt x="30859" y="149543"/>
                  </a:lnTo>
                  <a:cubicBezTo>
                    <a:pt x="30794" y="149511"/>
                    <a:pt x="30761" y="149478"/>
                    <a:pt x="30729" y="149446"/>
                  </a:cubicBezTo>
                  <a:lnTo>
                    <a:pt x="21628" y="140345"/>
                  </a:lnTo>
                  <a:cubicBezTo>
                    <a:pt x="21562" y="140279"/>
                    <a:pt x="21497" y="140182"/>
                    <a:pt x="21465" y="140116"/>
                  </a:cubicBezTo>
                  <a:cubicBezTo>
                    <a:pt x="21204" y="139692"/>
                    <a:pt x="21236" y="139170"/>
                    <a:pt x="21562" y="138812"/>
                  </a:cubicBezTo>
                  <a:lnTo>
                    <a:pt x="91727" y="57392"/>
                  </a:lnTo>
                  <a:cubicBezTo>
                    <a:pt x="94304" y="60948"/>
                    <a:pt x="97534" y="64177"/>
                    <a:pt x="100698" y="67341"/>
                  </a:cubicBezTo>
                  <a:lnTo>
                    <a:pt x="102198" y="68842"/>
                  </a:lnTo>
                  <a:lnTo>
                    <a:pt x="103764" y="70408"/>
                  </a:lnTo>
                  <a:lnTo>
                    <a:pt x="104906" y="71549"/>
                  </a:lnTo>
                  <a:lnTo>
                    <a:pt x="105004" y="71647"/>
                  </a:lnTo>
                  <a:lnTo>
                    <a:pt x="105950" y="72593"/>
                  </a:lnTo>
                  <a:lnTo>
                    <a:pt x="106374" y="72985"/>
                  </a:lnTo>
                  <a:lnTo>
                    <a:pt x="107091" y="73702"/>
                  </a:lnTo>
                  <a:cubicBezTo>
                    <a:pt x="109146" y="75725"/>
                    <a:pt x="111299" y="77617"/>
                    <a:pt x="113615" y="79378"/>
                  </a:cubicBezTo>
                  <a:lnTo>
                    <a:pt x="57901" y="127362"/>
                  </a:lnTo>
                  <a:cubicBezTo>
                    <a:pt x="56629" y="128471"/>
                    <a:pt x="56466" y="130428"/>
                    <a:pt x="57575" y="131700"/>
                  </a:cubicBezTo>
                  <a:cubicBezTo>
                    <a:pt x="58182" y="132414"/>
                    <a:pt x="59033" y="132777"/>
                    <a:pt x="59893" y="132777"/>
                  </a:cubicBezTo>
                  <a:cubicBezTo>
                    <a:pt x="60604" y="132777"/>
                    <a:pt x="61322" y="132529"/>
                    <a:pt x="61913" y="132027"/>
                  </a:cubicBezTo>
                  <a:lnTo>
                    <a:pt x="119193" y="82640"/>
                  </a:lnTo>
                  <a:cubicBezTo>
                    <a:pt x="121966" y="83912"/>
                    <a:pt x="124934" y="84565"/>
                    <a:pt x="127968" y="84565"/>
                  </a:cubicBezTo>
                  <a:lnTo>
                    <a:pt x="128001" y="84565"/>
                  </a:lnTo>
                  <a:cubicBezTo>
                    <a:pt x="137199" y="84565"/>
                    <a:pt x="147246" y="78791"/>
                    <a:pt x="159642" y="66395"/>
                  </a:cubicBezTo>
                  <a:cubicBezTo>
                    <a:pt x="174810" y="51195"/>
                    <a:pt x="174810" y="26599"/>
                    <a:pt x="159642" y="11398"/>
                  </a:cubicBezTo>
                  <a:cubicBezTo>
                    <a:pt x="152117" y="3874"/>
                    <a:pt x="142159" y="0"/>
                    <a:pt x="1321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42" name="Google Shape;12742;p62"/>
          <p:cNvGrpSpPr/>
          <p:nvPr/>
        </p:nvGrpSpPr>
        <p:grpSpPr>
          <a:xfrm>
            <a:off x="3103963" y="3361140"/>
            <a:ext cx="297886" cy="337578"/>
            <a:chOff x="3103963" y="3361140"/>
            <a:chExt cx="297886" cy="337578"/>
          </a:xfrm>
        </p:grpSpPr>
        <p:sp>
          <p:nvSpPr>
            <p:cNvPr id="12743" name="Google Shape;12743;p62"/>
            <p:cNvSpPr/>
            <p:nvPr/>
          </p:nvSpPr>
          <p:spPr>
            <a:xfrm>
              <a:off x="3245305" y="3519402"/>
              <a:ext cx="14026" cy="14408"/>
            </a:xfrm>
            <a:custGeom>
              <a:avLst/>
              <a:gdLst/>
              <a:ahLst/>
              <a:cxnLst/>
              <a:rect l="l" t="t" r="r" b="b"/>
              <a:pathLst>
                <a:path w="441" h="453" extrusionOk="0">
                  <a:moveTo>
                    <a:pt x="227" y="0"/>
                  </a:moveTo>
                  <a:cubicBezTo>
                    <a:pt x="96" y="0"/>
                    <a:pt x="0" y="107"/>
                    <a:pt x="0" y="226"/>
                  </a:cubicBezTo>
                  <a:cubicBezTo>
                    <a:pt x="0" y="357"/>
                    <a:pt x="96" y="453"/>
                    <a:pt x="227" y="453"/>
                  </a:cubicBezTo>
                  <a:cubicBezTo>
                    <a:pt x="346" y="453"/>
                    <a:pt x="441" y="357"/>
                    <a:pt x="441" y="226"/>
                  </a:cubicBezTo>
                  <a:cubicBezTo>
                    <a:pt x="441" y="107"/>
                    <a:pt x="346"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4" name="Google Shape;12744;p62"/>
            <p:cNvSpPr/>
            <p:nvPr/>
          </p:nvSpPr>
          <p:spPr>
            <a:xfrm>
              <a:off x="3284679" y="3597388"/>
              <a:ext cx="74646" cy="74646"/>
            </a:xfrm>
            <a:custGeom>
              <a:avLst/>
              <a:gdLst/>
              <a:ahLst/>
              <a:cxnLst/>
              <a:rect l="l" t="t" r="r" b="b"/>
              <a:pathLst>
                <a:path w="2347" h="2347" extrusionOk="0">
                  <a:moveTo>
                    <a:pt x="1167" y="1"/>
                  </a:moveTo>
                  <a:cubicBezTo>
                    <a:pt x="513" y="1"/>
                    <a:pt x="1" y="513"/>
                    <a:pt x="1" y="1168"/>
                  </a:cubicBezTo>
                  <a:cubicBezTo>
                    <a:pt x="1" y="1823"/>
                    <a:pt x="513" y="2346"/>
                    <a:pt x="1167" y="2346"/>
                  </a:cubicBezTo>
                  <a:cubicBezTo>
                    <a:pt x="1787" y="2346"/>
                    <a:pt x="2287" y="1870"/>
                    <a:pt x="2346" y="1263"/>
                  </a:cubicBezTo>
                  <a:cubicBezTo>
                    <a:pt x="2334" y="1203"/>
                    <a:pt x="2275" y="1132"/>
                    <a:pt x="2179" y="1108"/>
                  </a:cubicBezTo>
                  <a:cubicBezTo>
                    <a:pt x="2096" y="1108"/>
                    <a:pt x="2025" y="1168"/>
                    <a:pt x="2025" y="1263"/>
                  </a:cubicBezTo>
                  <a:cubicBezTo>
                    <a:pt x="1979" y="1706"/>
                    <a:pt x="1609" y="2051"/>
                    <a:pt x="1172" y="2051"/>
                  </a:cubicBezTo>
                  <a:cubicBezTo>
                    <a:pt x="1151" y="2051"/>
                    <a:pt x="1129" y="2050"/>
                    <a:pt x="1108" y="2049"/>
                  </a:cubicBezTo>
                  <a:cubicBezTo>
                    <a:pt x="655" y="2025"/>
                    <a:pt x="298" y="1644"/>
                    <a:pt x="298" y="1192"/>
                  </a:cubicBezTo>
                  <a:cubicBezTo>
                    <a:pt x="298" y="651"/>
                    <a:pt x="733" y="325"/>
                    <a:pt x="1174" y="325"/>
                  </a:cubicBezTo>
                  <a:cubicBezTo>
                    <a:pt x="1451" y="325"/>
                    <a:pt x="1731" y="454"/>
                    <a:pt x="1906" y="739"/>
                  </a:cubicBezTo>
                  <a:cubicBezTo>
                    <a:pt x="1930" y="788"/>
                    <a:pt x="1988" y="820"/>
                    <a:pt x="2045" y="820"/>
                  </a:cubicBezTo>
                  <a:cubicBezTo>
                    <a:pt x="2072" y="820"/>
                    <a:pt x="2097" y="814"/>
                    <a:pt x="2120" y="799"/>
                  </a:cubicBezTo>
                  <a:cubicBezTo>
                    <a:pt x="2203" y="751"/>
                    <a:pt x="2227" y="656"/>
                    <a:pt x="2179" y="572"/>
                  </a:cubicBezTo>
                  <a:cubicBezTo>
                    <a:pt x="1977" y="215"/>
                    <a:pt x="158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5" name="Google Shape;12745;p62"/>
            <p:cNvSpPr/>
            <p:nvPr/>
          </p:nvSpPr>
          <p:spPr>
            <a:xfrm>
              <a:off x="3145692" y="3597483"/>
              <a:ext cx="75028" cy="74933"/>
            </a:xfrm>
            <a:custGeom>
              <a:avLst/>
              <a:gdLst/>
              <a:ahLst/>
              <a:cxnLst/>
              <a:rect l="l" t="t" r="r" b="b"/>
              <a:pathLst>
                <a:path w="2359" h="2356" extrusionOk="0">
                  <a:moveTo>
                    <a:pt x="1176" y="1"/>
                  </a:moveTo>
                  <a:cubicBezTo>
                    <a:pt x="539" y="1"/>
                    <a:pt x="1" y="522"/>
                    <a:pt x="1" y="1189"/>
                  </a:cubicBezTo>
                  <a:cubicBezTo>
                    <a:pt x="1" y="1820"/>
                    <a:pt x="525" y="2355"/>
                    <a:pt x="1180" y="2355"/>
                  </a:cubicBezTo>
                  <a:cubicBezTo>
                    <a:pt x="1715" y="2355"/>
                    <a:pt x="2180" y="1998"/>
                    <a:pt x="2311" y="1486"/>
                  </a:cubicBezTo>
                  <a:cubicBezTo>
                    <a:pt x="2347" y="1379"/>
                    <a:pt x="2358" y="1272"/>
                    <a:pt x="2358" y="1165"/>
                  </a:cubicBezTo>
                  <a:cubicBezTo>
                    <a:pt x="2358" y="903"/>
                    <a:pt x="2251" y="617"/>
                    <a:pt x="2073" y="415"/>
                  </a:cubicBezTo>
                  <a:cubicBezTo>
                    <a:pt x="2037" y="379"/>
                    <a:pt x="1985" y="356"/>
                    <a:pt x="1936" y="356"/>
                  </a:cubicBezTo>
                  <a:cubicBezTo>
                    <a:pt x="1902" y="356"/>
                    <a:pt x="1870" y="367"/>
                    <a:pt x="1846" y="391"/>
                  </a:cubicBezTo>
                  <a:cubicBezTo>
                    <a:pt x="1787" y="450"/>
                    <a:pt x="1775" y="558"/>
                    <a:pt x="1835" y="617"/>
                  </a:cubicBezTo>
                  <a:cubicBezTo>
                    <a:pt x="1966" y="784"/>
                    <a:pt x="2049" y="974"/>
                    <a:pt x="2049" y="1189"/>
                  </a:cubicBezTo>
                  <a:cubicBezTo>
                    <a:pt x="2049" y="1260"/>
                    <a:pt x="2025" y="1331"/>
                    <a:pt x="2013" y="1403"/>
                  </a:cubicBezTo>
                  <a:cubicBezTo>
                    <a:pt x="1906" y="1784"/>
                    <a:pt x="1573" y="2046"/>
                    <a:pt x="1180" y="2046"/>
                  </a:cubicBezTo>
                  <a:cubicBezTo>
                    <a:pt x="703" y="2046"/>
                    <a:pt x="322" y="1653"/>
                    <a:pt x="322" y="1189"/>
                  </a:cubicBezTo>
                  <a:cubicBezTo>
                    <a:pt x="322" y="699"/>
                    <a:pt x="714" y="319"/>
                    <a:pt x="1171" y="319"/>
                  </a:cubicBezTo>
                  <a:cubicBezTo>
                    <a:pt x="1236" y="319"/>
                    <a:pt x="1303" y="327"/>
                    <a:pt x="1370" y="343"/>
                  </a:cubicBezTo>
                  <a:cubicBezTo>
                    <a:pt x="1387" y="347"/>
                    <a:pt x="1403" y="349"/>
                    <a:pt x="1418" y="349"/>
                  </a:cubicBezTo>
                  <a:cubicBezTo>
                    <a:pt x="1489" y="349"/>
                    <a:pt x="1543" y="305"/>
                    <a:pt x="1573" y="236"/>
                  </a:cubicBezTo>
                  <a:cubicBezTo>
                    <a:pt x="1585" y="141"/>
                    <a:pt x="1537" y="69"/>
                    <a:pt x="1454" y="34"/>
                  </a:cubicBezTo>
                  <a:cubicBezTo>
                    <a:pt x="1360" y="11"/>
                    <a:pt x="1267" y="1"/>
                    <a:pt x="117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6" name="Google Shape;12746;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7" name="Google Shape;12747;p62"/>
            <p:cNvSpPr/>
            <p:nvPr/>
          </p:nvSpPr>
          <p:spPr>
            <a:xfrm>
              <a:off x="3277873" y="3490618"/>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8" name="Google Shape;12748;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9" name="Google Shape;12749;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0" name="Google Shape;12750;p62"/>
            <p:cNvSpPr/>
            <p:nvPr/>
          </p:nvSpPr>
          <p:spPr>
            <a:xfrm>
              <a:off x="3103963" y="3361140"/>
              <a:ext cx="297886" cy="337578"/>
            </a:xfrm>
            <a:custGeom>
              <a:avLst/>
              <a:gdLst/>
              <a:ahLst/>
              <a:cxnLst/>
              <a:rect l="l" t="t" r="r" b="b"/>
              <a:pathLst>
                <a:path w="9366" h="10614" extrusionOk="0">
                  <a:moveTo>
                    <a:pt x="3824" y="312"/>
                  </a:moveTo>
                  <a:cubicBezTo>
                    <a:pt x="3859" y="312"/>
                    <a:pt x="3900" y="334"/>
                    <a:pt x="3909" y="369"/>
                  </a:cubicBezTo>
                  <a:cubicBezTo>
                    <a:pt x="4444" y="2345"/>
                    <a:pt x="4516" y="2607"/>
                    <a:pt x="4516" y="2631"/>
                  </a:cubicBezTo>
                  <a:lnTo>
                    <a:pt x="4016" y="4536"/>
                  </a:lnTo>
                  <a:lnTo>
                    <a:pt x="3206" y="1631"/>
                  </a:lnTo>
                  <a:cubicBezTo>
                    <a:pt x="3075" y="1107"/>
                    <a:pt x="3313" y="559"/>
                    <a:pt x="3789" y="321"/>
                  </a:cubicBezTo>
                  <a:cubicBezTo>
                    <a:pt x="3799" y="315"/>
                    <a:pt x="3811" y="312"/>
                    <a:pt x="3824" y="312"/>
                  </a:cubicBezTo>
                  <a:close/>
                  <a:moveTo>
                    <a:pt x="4682" y="4655"/>
                  </a:moveTo>
                  <a:cubicBezTo>
                    <a:pt x="5004" y="4667"/>
                    <a:pt x="5218" y="4988"/>
                    <a:pt x="5147" y="5286"/>
                  </a:cubicBezTo>
                  <a:lnTo>
                    <a:pt x="4790" y="6595"/>
                  </a:lnTo>
                  <a:cubicBezTo>
                    <a:pt x="4766" y="6655"/>
                    <a:pt x="4147" y="8989"/>
                    <a:pt x="4111" y="9072"/>
                  </a:cubicBezTo>
                  <a:cubicBezTo>
                    <a:pt x="3902" y="9809"/>
                    <a:pt x="3226" y="10296"/>
                    <a:pt x="2495" y="10296"/>
                  </a:cubicBezTo>
                  <a:cubicBezTo>
                    <a:pt x="2352" y="10296"/>
                    <a:pt x="2207" y="10278"/>
                    <a:pt x="2063" y="10239"/>
                  </a:cubicBezTo>
                  <a:cubicBezTo>
                    <a:pt x="1158" y="10001"/>
                    <a:pt x="634" y="9072"/>
                    <a:pt x="872" y="8167"/>
                  </a:cubicBezTo>
                  <a:cubicBezTo>
                    <a:pt x="1083" y="7391"/>
                    <a:pt x="1785" y="6913"/>
                    <a:pt x="2515" y="6913"/>
                  </a:cubicBezTo>
                  <a:cubicBezTo>
                    <a:pt x="2815" y="6913"/>
                    <a:pt x="3119" y="6994"/>
                    <a:pt x="3397" y="7167"/>
                  </a:cubicBezTo>
                  <a:cubicBezTo>
                    <a:pt x="3428" y="7186"/>
                    <a:pt x="3461" y="7196"/>
                    <a:pt x="3493" y="7196"/>
                  </a:cubicBezTo>
                  <a:cubicBezTo>
                    <a:pt x="3559" y="7196"/>
                    <a:pt x="3619" y="7156"/>
                    <a:pt x="3635" y="7084"/>
                  </a:cubicBezTo>
                  <a:cubicBezTo>
                    <a:pt x="3659" y="7048"/>
                    <a:pt x="3682" y="6905"/>
                    <a:pt x="3813" y="6393"/>
                  </a:cubicBezTo>
                  <a:lnTo>
                    <a:pt x="3992" y="5762"/>
                  </a:lnTo>
                  <a:lnTo>
                    <a:pt x="4194" y="5024"/>
                  </a:lnTo>
                  <a:cubicBezTo>
                    <a:pt x="4254" y="4821"/>
                    <a:pt x="4444" y="4655"/>
                    <a:pt x="4682" y="4655"/>
                  </a:cubicBezTo>
                  <a:close/>
                  <a:moveTo>
                    <a:pt x="5337" y="5774"/>
                  </a:moveTo>
                  <a:cubicBezTo>
                    <a:pt x="5614" y="6801"/>
                    <a:pt x="5643" y="6918"/>
                    <a:pt x="5642" y="6918"/>
                  </a:cubicBezTo>
                  <a:cubicBezTo>
                    <a:pt x="5641" y="6918"/>
                    <a:pt x="5638" y="6908"/>
                    <a:pt x="5638" y="6908"/>
                  </a:cubicBezTo>
                  <a:lnTo>
                    <a:pt x="5638" y="6908"/>
                  </a:lnTo>
                  <a:cubicBezTo>
                    <a:pt x="5638" y="6908"/>
                    <a:pt x="5647" y="6939"/>
                    <a:pt x="5694" y="7107"/>
                  </a:cubicBezTo>
                  <a:cubicBezTo>
                    <a:pt x="5706" y="7155"/>
                    <a:pt x="5730" y="7203"/>
                    <a:pt x="5778" y="7215"/>
                  </a:cubicBezTo>
                  <a:cubicBezTo>
                    <a:pt x="5800" y="7223"/>
                    <a:pt x="5820" y="7227"/>
                    <a:pt x="5839" y="7227"/>
                  </a:cubicBezTo>
                  <a:cubicBezTo>
                    <a:pt x="5948" y="7227"/>
                    <a:pt x="6017" y="7094"/>
                    <a:pt x="6373" y="7012"/>
                  </a:cubicBezTo>
                  <a:cubicBezTo>
                    <a:pt x="6538" y="6965"/>
                    <a:pt x="6699" y="6943"/>
                    <a:pt x="6855" y="6943"/>
                  </a:cubicBezTo>
                  <a:cubicBezTo>
                    <a:pt x="8084" y="6943"/>
                    <a:pt x="8957" y="8303"/>
                    <a:pt x="8302" y="9465"/>
                  </a:cubicBezTo>
                  <a:cubicBezTo>
                    <a:pt x="7970" y="10039"/>
                    <a:pt x="7408" y="10308"/>
                    <a:pt x="6849" y="10308"/>
                  </a:cubicBezTo>
                  <a:cubicBezTo>
                    <a:pt x="6144" y="10308"/>
                    <a:pt x="5444" y="9880"/>
                    <a:pt x="5218" y="9096"/>
                  </a:cubicBezTo>
                  <a:cubicBezTo>
                    <a:pt x="5183" y="9001"/>
                    <a:pt x="4921" y="8000"/>
                    <a:pt x="4825" y="7667"/>
                  </a:cubicBezTo>
                  <a:cubicBezTo>
                    <a:pt x="4849" y="7619"/>
                    <a:pt x="4885" y="7453"/>
                    <a:pt x="5040" y="6869"/>
                  </a:cubicBezTo>
                  <a:cubicBezTo>
                    <a:pt x="5218" y="6191"/>
                    <a:pt x="5159" y="6453"/>
                    <a:pt x="5337" y="5774"/>
                  </a:cubicBezTo>
                  <a:close/>
                  <a:moveTo>
                    <a:pt x="3839" y="0"/>
                  </a:moveTo>
                  <a:cubicBezTo>
                    <a:pt x="3778" y="0"/>
                    <a:pt x="3716" y="15"/>
                    <a:pt x="3659" y="47"/>
                  </a:cubicBezTo>
                  <a:cubicBezTo>
                    <a:pt x="3063" y="357"/>
                    <a:pt x="2742" y="1035"/>
                    <a:pt x="2920" y="1714"/>
                  </a:cubicBezTo>
                  <a:lnTo>
                    <a:pt x="3849" y="5143"/>
                  </a:lnTo>
                  <a:cubicBezTo>
                    <a:pt x="3670" y="5833"/>
                    <a:pt x="3718" y="5655"/>
                    <a:pt x="3397" y="6810"/>
                  </a:cubicBezTo>
                  <a:cubicBezTo>
                    <a:pt x="3278" y="6750"/>
                    <a:pt x="3158" y="6715"/>
                    <a:pt x="3039" y="6679"/>
                  </a:cubicBezTo>
                  <a:cubicBezTo>
                    <a:pt x="2859" y="6630"/>
                    <a:pt x="2682" y="6607"/>
                    <a:pt x="2510" y="6607"/>
                  </a:cubicBezTo>
                  <a:cubicBezTo>
                    <a:pt x="1060" y="6607"/>
                    <a:pt x="0" y="8245"/>
                    <a:pt x="777" y="9608"/>
                  </a:cubicBezTo>
                  <a:cubicBezTo>
                    <a:pt x="1168" y="10290"/>
                    <a:pt x="1839" y="10613"/>
                    <a:pt x="2507" y="10613"/>
                  </a:cubicBezTo>
                  <a:cubicBezTo>
                    <a:pt x="3342" y="10613"/>
                    <a:pt x="4173" y="10107"/>
                    <a:pt x="4444" y="9167"/>
                  </a:cubicBezTo>
                  <a:lnTo>
                    <a:pt x="4682" y="8262"/>
                  </a:lnTo>
                  <a:cubicBezTo>
                    <a:pt x="4932" y="9215"/>
                    <a:pt x="4921" y="9167"/>
                    <a:pt x="4932" y="9179"/>
                  </a:cubicBezTo>
                  <a:cubicBezTo>
                    <a:pt x="5087" y="9691"/>
                    <a:pt x="5409" y="10084"/>
                    <a:pt x="5873" y="10358"/>
                  </a:cubicBezTo>
                  <a:cubicBezTo>
                    <a:pt x="6181" y="10531"/>
                    <a:pt x="6516" y="10613"/>
                    <a:pt x="6848" y="10613"/>
                  </a:cubicBezTo>
                  <a:cubicBezTo>
                    <a:pt x="7542" y="10613"/>
                    <a:pt x="8221" y="10252"/>
                    <a:pt x="8600" y="9608"/>
                  </a:cubicBezTo>
                  <a:cubicBezTo>
                    <a:pt x="9365" y="8226"/>
                    <a:pt x="8308" y="6606"/>
                    <a:pt x="6852" y="6606"/>
                  </a:cubicBezTo>
                  <a:cubicBezTo>
                    <a:pt x="6677" y="6606"/>
                    <a:pt x="6497" y="6629"/>
                    <a:pt x="6314" y="6679"/>
                  </a:cubicBezTo>
                  <a:cubicBezTo>
                    <a:pt x="6195" y="6715"/>
                    <a:pt x="6064" y="6750"/>
                    <a:pt x="5956" y="6810"/>
                  </a:cubicBezTo>
                  <a:cubicBezTo>
                    <a:pt x="5587" y="5405"/>
                    <a:pt x="5516" y="5179"/>
                    <a:pt x="5516" y="5143"/>
                  </a:cubicBezTo>
                  <a:lnTo>
                    <a:pt x="5778" y="4167"/>
                  </a:lnTo>
                  <a:cubicBezTo>
                    <a:pt x="5814" y="4071"/>
                    <a:pt x="5754" y="4000"/>
                    <a:pt x="5671" y="3976"/>
                  </a:cubicBezTo>
                  <a:cubicBezTo>
                    <a:pt x="5653" y="3969"/>
                    <a:pt x="5637" y="3965"/>
                    <a:pt x="5621" y="3965"/>
                  </a:cubicBezTo>
                  <a:cubicBezTo>
                    <a:pt x="5559" y="3965"/>
                    <a:pt x="5509" y="4015"/>
                    <a:pt x="5480" y="4071"/>
                  </a:cubicBezTo>
                  <a:cubicBezTo>
                    <a:pt x="5468" y="4107"/>
                    <a:pt x="5444" y="4226"/>
                    <a:pt x="5337" y="4655"/>
                  </a:cubicBezTo>
                  <a:cubicBezTo>
                    <a:pt x="5179" y="4455"/>
                    <a:pt x="4939" y="4336"/>
                    <a:pt x="4695" y="4336"/>
                  </a:cubicBezTo>
                  <a:cubicBezTo>
                    <a:pt x="4590" y="4336"/>
                    <a:pt x="4485" y="4358"/>
                    <a:pt x="4385" y="4405"/>
                  </a:cubicBezTo>
                  <a:cubicBezTo>
                    <a:pt x="4444" y="4167"/>
                    <a:pt x="4980" y="2190"/>
                    <a:pt x="5087" y="1797"/>
                  </a:cubicBezTo>
                  <a:cubicBezTo>
                    <a:pt x="5111" y="1702"/>
                    <a:pt x="5052" y="1631"/>
                    <a:pt x="4980" y="1607"/>
                  </a:cubicBezTo>
                  <a:cubicBezTo>
                    <a:pt x="4961" y="1600"/>
                    <a:pt x="4942" y="1596"/>
                    <a:pt x="4925" y="1596"/>
                  </a:cubicBezTo>
                  <a:cubicBezTo>
                    <a:pt x="4858" y="1596"/>
                    <a:pt x="4809" y="1647"/>
                    <a:pt x="4790" y="1714"/>
                  </a:cubicBezTo>
                  <a:lnTo>
                    <a:pt x="4694" y="2023"/>
                  </a:lnTo>
                  <a:cubicBezTo>
                    <a:pt x="4218" y="249"/>
                    <a:pt x="4266" y="416"/>
                    <a:pt x="4218" y="285"/>
                  </a:cubicBezTo>
                  <a:cubicBezTo>
                    <a:pt x="4166" y="111"/>
                    <a:pt x="4005" y="0"/>
                    <a:pt x="38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1" name="Google Shape;12751;p62"/>
            <p:cNvSpPr/>
            <p:nvPr/>
          </p:nvSpPr>
          <p:spPr>
            <a:xfrm>
              <a:off x="3277873" y="3491382"/>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2" name="Google Shape;12752;p62"/>
            <p:cNvSpPr/>
            <p:nvPr/>
          </p:nvSpPr>
          <p:spPr>
            <a:xfrm>
              <a:off x="3278986" y="3524681"/>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3" name="Google Shape;12753;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4" name="Google Shape;12754;p62"/>
            <p:cNvSpPr/>
            <p:nvPr/>
          </p:nvSpPr>
          <p:spPr>
            <a:xfrm>
              <a:off x="3219543" y="3586415"/>
              <a:ext cx="32" cy="32"/>
            </a:xfrm>
            <a:custGeom>
              <a:avLst/>
              <a:gdLst/>
              <a:ahLst/>
              <a:cxnLst/>
              <a:rect l="l" t="t" r="r" b="b"/>
              <a:pathLst>
                <a:path w="1" h="1" extrusionOk="0">
                  <a:moveTo>
                    <a:pt x="1" y="1"/>
                  </a:moveTo>
                  <a:lnTo>
                    <a:pt x="1" y="1"/>
                  </a:ln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5" name="Google Shape;12755;p62"/>
            <p:cNvSpPr/>
            <p:nvPr/>
          </p:nvSpPr>
          <p:spPr>
            <a:xfrm>
              <a:off x="3219543" y="3586415"/>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6" name="Google Shape;12756;p62"/>
            <p:cNvSpPr/>
            <p:nvPr/>
          </p:nvSpPr>
          <p:spPr>
            <a:xfrm>
              <a:off x="3247181" y="3444787"/>
              <a:ext cx="32" cy="32"/>
            </a:xfrm>
            <a:custGeom>
              <a:avLst/>
              <a:gdLst/>
              <a:ahLst/>
              <a:cxnLst/>
              <a:rect l="l" t="t" r="r" b="b"/>
              <a:pathLst>
                <a:path w="1" h="1" extrusionOk="0">
                  <a:moveTo>
                    <a:pt x="1"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7" name="Google Shape;12757;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8" name="Google Shape;12758;p62"/>
            <p:cNvSpPr/>
            <p:nvPr/>
          </p:nvSpPr>
          <p:spPr>
            <a:xfrm>
              <a:off x="3257422" y="3604226"/>
              <a:ext cx="32" cy="32"/>
            </a:xfrm>
            <a:custGeom>
              <a:avLst/>
              <a:gdLst/>
              <a:ahLst/>
              <a:cxnLst/>
              <a:rect l="l" t="t" r="r" b="b"/>
              <a:pathLst>
                <a:path w="1" h="1" extrusionOk="0">
                  <a:moveTo>
                    <a:pt x="0" y="0"/>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9" name="Google Shape;12759;p62"/>
            <p:cNvSpPr/>
            <p:nvPr/>
          </p:nvSpPr>
          <p:spPr>
            <a:xfrm>
              <a:off x="3247181" y="3444787"/>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0" name="Google Shape;12760;p62"/>
            <p:cNvSpPr/>
            <p:nvPr/>
          </p:nvSpPr>
          <p:spPr>
            <a:xfrm>
              <a:off x="3257422" y="360422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1" name="Google Shape;12761;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2" name="Google Shape;12762;p62"/>
            <p:cNvSpPr/>
            <p:nvPr/>
          </p:nvSpPr>
          <p:spPr>
            <a:xfrm>
              <a:off x="3257422" y="360422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3" name="Google Shape;12763;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4" name="Google Shape;12764;p62"/>
            <p:cNvSpPr/>
            <p:nvPr/>
          </p:nvSpPr>
          <p:spPr>
            <a:xfrm>
              <a:off x="3259299" y="3361140"/>
              <a:ext cx="51174" cy="118060"/>
            </a:xfrm>
            <a:custGeom>
              <a:avLst/>
              <a:gdLst/>
              <a:ahLst/>
              <a:cxnLst/>
              <a:rect l="l" t="t" r="r" b="b"/>
              <a:pathLst>
                <a:path w="1609" h="3712" extrusionOk="0">
                  <a:moveTo>
                    <a:pt x="637" y="0"/>
                  </a:moveTo>
                  <a:cubicBezTo>
                    <a:pt x="469" y="0"/>
                    <a:pt x="315" y="111"/>
                    <a:pt x="263" y="285"/>
                  </a:cubicBezTo>
                  <a:cubicBezTo>
                    <a:pt x="215" y="428"/>
                    <a:pt x="263" y="285"/>
                    <a:pt x="37" y="1119"/>
                  </a:cubicBezTo>
                  <a:cubicBezTo>
                    <a:pt x="1" y="1202"/>
                    <a:pt x="60" y="1273"/>
                    <a:pt x="144" y="1309"/>
                  </a:cubicBezTo>
                  <a:cubicBezTo>
                    <a:pt x="156" y="1313"/>
                    <a:pt x="169" y="1314"/>
                    <a:pt x="181" y="1314"/>
                  </a:cubicBezTo>
                  <a:cubicBezTo>
                    <a:pt x="248" y="1314"/>
                    <a:pt x="304" y="1262"/>
                    <a:pt x="334" y="1202"/>
                  </a:cubicBezTo>
                  <a:cubicBezTo>
                    <a:pt x="346" y="1154"/>
                    <a:pt x="394" y="976"/>
                    <a:pt x="560" y="404"/>
                  </a:cubicBezTo>
                  <a:cubicBezTo>
                    <a:pt x="569" y="370"/>
                    <a:pt x="602" y="342"/>
                    <a:pt x="637" y="342"/>
                  </a:cubicBezTo>
                  <a:cubicBezTo>
                    <a:pt x="652" y="342"/>
                    <a:pt x="666" y="346"/>
                    <a:pt x="680" y="357"/>
                  </a:cubicBezTo>
                  <a:cubicBezTo>
                    <a:pt x="1156" y="607"/>
                    <a:pt x="1394" y="1142"/>
                    <a:pt x="1251" y="1666"/>
                  </a:cubicBezTo>
                  <a:lnTo>
                    <a:pt x="763" y="3512"/>
                  </a:lnTo>
                  <a:cubicBezTo>
                    <a:pt x="739" y="3595"/>
                    <a:pt x="799" y="3678"/>
                    <a:pt x="870" y="3702"/>
                  </a:cubicBezTo>
                  <a:cubicBezTo>
                    <a:pt x="885" y="3709"/>
                    <a:pt x="901" y="3712"/>
                    <a:pt x="916" y="3712"/>
                  </a:cubicBezTo>
                  <a:cubicBezTo>
                    <a:pt x="982" y="3712"/>
                    <a:pt x="1041" y="3653"/>
                    <a:pt x="1061" y="3595"/>
                  </a:cubicBezTo>
                  <a:cubicBezTo>
                    <a:pt x="1537" y="1750"/>
                    <a:pt x="1608" y="1702"/>
                    <a:pt x="1608" y="1381"/>
                  </a:cubicBezTo>
                  <a:cubicBezTo>
                    <a:pt x="1596" y="785"/>
                    <a:pt x="1299" y="297"/>
                    <a:pt x="822" y="47"/>
                  </a:cubicBezTo>
                  <a:cubicBezTo>
                    <a:pt x="762" y="15"/>
                    <a:pt x="699" y="0"/>
                    <a:pt x="6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5" name="Google Shape;12765;p62"/>
            <p:cNvSpPr/>
            <p:nvPr/>
          </p:nvSpPr>
          <p:spPr>
            <a:xfrm>
              <a:off x="3269922" y="3398606"/>
              <a:ext cx="32" cy="32"/>
            </a:xfrm>
            <a:custGeom>
              <a:avLst/>
              <a:gdLst/>
              <a:ahLst/>
              <a:cxnLst/>
              <a:rect l="l" t="t" r="r" b="b"/>
              <a:pathLst>
                <a:path w="1" h="1" extrusionOk="0">
                  <a:moveTo>
                    <a:pt x="0" y="0"/>
                  </a:move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6" name="Google Shape;12766;p62"/>
            <p:cNvSpPr/>
            <p:nvPr/>
          </p:nvSpPr>
          <p:spPr>
            <a:xfrm>
              <a:off x="3269922" y="3398606"/>
              <a:ext cx="32" cy="32"/>
            </a:xfrm>
            <a:custGeom>
              <a:avLst/>
              <a:gdLst/>
              <a:ahLst/>
              <a:cxnLst/>
              <a:rect l="l" t="t" r="r" b="b"/>
              <a:pathLst>
                <a:path w="1" h="1" extrusionOk="0">
                  <a:moveTo>
                    <a:pt x="0" y="0"/>
                  </a:moveTo>
                  <a:lnTo>
                    <a:pt x="0" y="0"/>
                  </a:lnTo>
                  <a:lnTo>
                    <a:pt x="0" y="0"/>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67" name="Google Shape;12767;p62"/>
          <p:cNvGrpSpPr/>
          <p:nvPr/>
        </p:nvGrpSpPr>
        <p:grpSpPr>
          <a:xfrm>
            <a:off x="2667821" y="3361108"/>
            <a:ext cx="273046" cy="337801"/>
            <a:chOff x="2667821" y="3361108"/>
            <a:chExt cx="273046" cy="337801"/>
          </a:xfrm>
        </p:grpSpPr>
        <p:sp>
          <p:nvSpPr>
            <p:cNvPr id="12768" name="Google Shape;12768;p62"/>
            <p:cNvSpPr/>
            <p:nvPr/>
          </p:nvSpPr>
          <p:spPr>
            <a:xfrm>
              <a:off x="2799971" y="3361108"/>
              <a:ext cx="10273" cy="36385"/>
            </a:xfrm>
            <a:custGeom>
              <a:avLst/>
              <a:gdLst/>
              <a:ahLst/>
              <a:cxnLst/>
              <a:rect l="l" t="t" r="r" b="b"/>
              <a:pathLst>
                <a:path w="323" h="1144" extrusionOk="0">
                  <a:moveTo>
                    <a:pt x="155" y="0"/>
                  </a:moveTo>
                  <a:cubicBezTo>
                    <a:pt x="72" y="0"/>
                    <a:pt x="1" y="72"/>
                    <a:pt x="1" y="167"/>
                  </a:cubicBezTo>
                  <a:lnTo>
                    <a:pt x="1" y="977"/>
                  </a:lnTo>
                  <a:cubicBezTo>
                    <a:pt x="1" y="1072"/>
                    <a:pt x="72" y="1143"/>
                    <a:pt x="155" y="1143"/>
                  </a:cubicBezTo>
                  <a:cubicBezTo>
                    <a:pt x="251" y="1143"/>
                    <a:pt x="322" y="1072"/>
                    <a:pt x="322" y="977"/>
                  </a:cubicBezTo>
                  <a:lnTo>
                    <a:pt x="322" y="167"/>
                  </a:lnTo>
                  <a:cubicBezTo>
                    <a:pt x="310" y="60"/>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9" name="Google Shape;12769;p62"/>
            <p:cNvSpPr/>
            <p:nvPr/>
          </p:nvSpPr>
          <p:spPr>
            <a:xfrm>
              <a:off x="2838964" y="3371063"/>
              <a:ext cx="22009" cy="34381"/>
            </a:xfrm>
            <a:custGeom>
              <a:avLst/>
              <a:gdLst/>
              <a:ahLst/>
              <a:cxnLst/>
              <a:rect l="l" t="t" r="r" b="b"/>
              <a:pathLst>
                <a:path w="692" h="1081" extrusionOk="0">
                  <a:moveTo>
                    <a:pt x="517" y="0"/>
                  </a:moveTo>
                  <a:cubicBezTo>
                    <a:pt x="454" y="0"/>
                    <a:pt x="385" y="31"/>
                    <a:pt x="358" y="104"/>
                  </a:cubicBezTo>
                  <a:lnTo>
                    <a:pt x="49" y="866"/>
                  </a:lnTo>
                  <a:cubicBezTo>
                    <a:pt x="1" y="961"/>
                    <a:pt x="84" y="1080"/>
                    <a:pt x="203" y="1080"/>
                  </a:cubicBezTo>
                  <a:cubicBezTo>
                    <a:pt x="263" y="1080"/>
                    <a:pt x="322" y="1057"/>
                    <a:pt x="346" y="985"/>
                  </a:cubicBezTo>
                  <a:lnTo>
                    <a:pt x="656" y="223"/>
                  </a:lnTo>
                  <a:cubicBezTo>
                    <a:pt x="691" y="152"/>
                    <a:pt x="644" y="45"/>
                    <a:pt x="572" y="9"/>
                  </a:cubicBezTo>
                  <a:cubicBezTo>
                    <a:pt x="556" y="3"/>
                    <a:pt x="537" y="0"/>
                    <a:pt x="5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0" name="Google Shape;12770;p62"/>
            <p:cNvSpPr/>
            <p:nvPr/>
          </p:nvSpPr>
          <p:spPr>
            <a:xfrm>
              <a:off x="2873822" y="3399815"/>
              <a:ext cx="29197" cy="28338"/>
            </a:xfrm>
            <a:custGeom>
              <a:avLst/>
              <a:gdLst/>
              <a:ahLst/>
              <a:cxnLst/>
              <a:rect l="l" t="t" r="r" b="b"/>
              <a:pathLst>
                <a:path w="918" h="891" extrusionOk="0">
                  <a:moveTo>
                    <a:pt x="744" y="1"/>
                  </a:moveTo>
                  <a:cubicBezTo>
                    <a:pt x="703" y="1"/>
                    <a:pt x="661" y="16"/>
                    <a:pt x="631" y="45"/>
                  </a:cubicBezTo>
                  <a:lnTo>
                    <a:pt x="60" y="629"/>
                  </a:lnTo>
                  <a:cubicBezTo>
                    <a:pt x="0" y="688"/>
                    <a:pt x="0" y="784"/>
                    <a:pt x="60" y="843"/>
                  </a:cubicBezTo>
                  <a:cubicBezTo>
                    <a:pt x="84" y="879"/>
                    <a:pt x="131" y="891"/>
                    <a:pt x="179" y="891"/>
                  </a:cubicBezTo>
                  <a:cubicBezTo>
                    <a:pt x="286" y="891"/>
                    <a:pt x="274" y="831"/>
                    <a:pt x="858" y="272"/>
                  </a:cubicBezTo>
                  <a:cubicBezTo>
                    <a:pt x="917" y="212"/>
                    <a:pt x="917" y="105"/>
                    <a:pt x="858" y="45"/>
                  </a:cubicBezTo>
                  <a:cubicBezTo>
                    <a:pt x="828" y="16"/>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1" name="Google Shape;12771;p62"/>
            <p:cNvSpPr/>
            <p:nvPr/>
          </p:nvSpPr>
          <p:spPr>
            <a:xfrm>
              <a:off x="2894655" y="3442656"/>
              <a:ext cx="37116" cy="19592"/>
            </a:xfrm>
            <a:custGeom>
              <a:avLst/>
              <a:gdLst/>
              <a:ahLst/>
              <a:cxnLst/>
              <a:rect l="l" t="t" r="r" b="b"/>
              <a:pathLst>
                <a:path w="1167" h="616" extrusionOk="0">
                  <a:moveTo>
                    <a:pt x="973" y="1"/>
                  </a:moveTo>
                  <a:cubicBezTo>
                    <a:pt x="955" y="1"/>
                    <a:pt x="936" y="3"/>
                    <a:pt x="917" y="8"/>
                  </a:cubicBezTo>
                  <a:lnTo>
                    <a:pt x="155" y="318"/>
                  </a:lnTo>
                  <a:cubicBezTo>
                    <a:pt x="0" y="377"/>
                    <a:pt x="36" y="615"/>
                    <a:pt x="214" y="615"/>
                  </a:cubicBezTo>
                  <a:cubicBezTo>
                    <a:pt x="274" y="615"/>
                    <a:pt x="238" y="615"/>
                    <a:pt x="1036" y="294"/>
                  </a:cubicBezTo>
                  <a:cubicBezTo>
                    <a:pt x="1131" y="282"/>
                    <a:pt x="1167" y="175"/>
                    <a:pt x="1131" y="103"/>
                  </a:cubicBezTo>
                  <a:cubicBezTo>
                    <a:pt x="1103" y="37"/>
                    <a:pt x="1044" y="1"/>
                    <a:pt x="9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2" name="Google Shape;12772;p62"/>
            <p:cNvSpPr/>
            <p:nvPr/>
          </p:nvSpPr>
          <p:spPr>
            <a:xfrm>
              <a:off x="2904482" y="3493258"/>
              <a:ext cx="36385" cy="10273"/>
            </a:xfrm>
            <a:custGeom>
              <a:avLst/>
              <a:gdLst/>
              <a:ahLst/>
              <a:cxnLst/>
              <a:rect l="l" t="t" r="r" b="b"/>
              <a:pathLst>
                <a:path w="1144" h="323" extrusionOk="0">
                  <a:moveTo>
                    <a:pt x="155" y="1"/>
                  </a:moveTo>
                  <a:cubicBezTo>
                    <a:pt x="72" y="1"/>
                    <a:pt x="1" y="72"/>
                    <a:pt x="1" y="155"/>
                  </a:cubicBezTo>
                  <a:cubicBezTo>
                    <a:pt x="1" y="251"/>
                    <a:pt x="72" y="322"/>
                    <a:pt x="155" y="322"/>
                  </a:cubicBezTo>
                  <a:lnTo>
                    <a:pt x="977" y="322"/>
                  </a:lnTo>
                  <a:cubicBezTo>
                    <a:pt x="1072" y="322"/>
                    <a:pt x="1144" y="251"/>
                    <a:pt x="1144" y="155"/>
                  </a:cubicBezTo>
                  <a:cubicBezTo>
                    <a:pt x="1144" y="72"/>
                    <a:pt x="1072" y="1"/>
                    <a:pt x="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3" name="Google Shape;12773;p62"/>
            <p:cNvSpPr/>
            <p:nvPr/>
          </p:nvSpPr>
          <p:spPr>
            <a:xfrm>
              <a:off x="2895386" y="3533364"/>
              <a:ext cx="35653" cy="20196"/>
            </a:xfrm>
            <a:custGeom>
              <a:avLst/>
              <a:gdLst/>
              <a:ahLst/>
              <a:cxnLst/>
              <a:rect l="l" t="t" r="r" b="b"/>
              <a:pathLst>
                <a:path w="1121" h="635" extrusionOk="0">
                  <a:moveTo>
                    <a:pt x="179" y="0"/>
                  </a:moveTo>
                  <a:cubicBezTo>
                    <a:pt x="118" y="0"/>
                    <a:pt x="54" y="38"/>
                    <a:pt x="37" y="109"/>
                  </a:cubicBezTo>
                  <a:cubicBezTo>
                    <a:pt x="1" y="180"/>
                    <a:pt x="37" y="288"/>
                    <a:pt x="120" y="311"/>
                  </a:cubicBezTo>
                  <a:lnTo>
                    <a:pt x="882" y="621"/>
                  </a:lnTo>
                  <a:cubicBezTo>
                    <a:pt x="901" y="630"/>
                    <a:pt x="922" y="635"/>
                    <a:pt x="943" y="635"/>
                  </a:cubicBezTo>
                  <a:cubicBezTo>
                    <a:pt x="1004" y="635"/>
                    <a:pt x="1067" y="599"/>
                    <a:pt x="1084" y="538"/>
                  </a:cubicBezTo>
                  <a:cubicBezTo>
                    <a:pt x="1120" y="442"/>
                    <a:pt x="1084" y="359"/>
                    <a:pt x="1001" y="323"/>
                  </a:cubicBezTo>
                  <a:lnTo>
                    <a:pt x="239" y="14"/>
                  </a:lnTo>
                  <a:cubicBezTo>
                    <a:pt x="221" y="5"/>
                    <a:pt x="200"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4" name="Google Shape;12774;p62"/>
            <p:cNvSpPr/>
            <p:nvPr/>
          </p:nvSpPr>
          <p:spPr>
            <a:xfrm>
              <a:off x="2872677" y="3567586"/>
              <a:ext cx="30692" cy="28338"/>
            </a:xfrm>
            <a:custGeom>
              <a:avLst/>
              <a:gdLst/>
              <a:ahLst/>
              <a:cxnLst/>
              <a:rect l="l" t="t" r="r" b="b"/>
              <a:pathLst>
                <a:path w="965" h="891" extrusionOk="0">
                  <a:moveTo>
                    <a:pt x="173" y="0"/>
                  </a:moveTo>
                  <a:cubicBezTo>
                    <a:pt x="132" y="0"/>
                    <a:pt x="90" y="15"/>
                    <a:pt x="60" y="45"/>
                  </a:cubicBezTo>
                  <a:cubicBezTo>
                    <a:pt x="1" y="104"/>
                    <a:pt x="1" y="200"/>
                    <a:pt x="60" y="259"/>
                  </a:cubicBezTo>
                  <a:cubicBezTo>
                    <a:pt x="644" y="819"/>
                    <a:pt x="620" y="890"/>
                    <a:pt x="751" y="890"/>
                  </a:cubicBezTo>
                  <a:cubicBezTo>
                    <a:pt x="894" y="890"/>
                    <a:pt x="965" y="712"/>
                    <a:pt x="858" y="616"/>
                  </a:cubicBezTo>
                  <a:lnTo>
                    <a:pt x="286"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5" name="Google Shape;12775;p62"/>
            <p:cNvSpPr/>
            <p:nvPr/>
          </p:nvSpPr>
          <p:spPr>
            <a:xfrm>
              <a:off x="2838233" y="3589818"/>
              <a:ext cx="21214" cy="34318"/>
            </a:xfrm>
            <a:custGeom>
              <a:avLst/>
              <a:gdLst/>
              <a:ahLst/>
              <a:cxnLst/>
              <a:rect l="l" t="t" r="r" b="b"/>
              <a:pathLst>
                <a:path w="667" h="1079" extrusionOk="0">
                  <a:moveTo>
                    <a:pt x="179" y="1"/>
                  </a:moveTo>
                  <a:cubicBezTo>
                    <a:pt x="159" y="1"/>
                    <a:pt x="139" y="4"/>
                    <a:pt x="119" y="13"/>
                  </a:cubicBezTo>
                  <a:cubicBezTo>
                    <a:pt x="48" y="37"/>
                    <a:pt x="0" y="132"/>
                    <a:pt x="24" y="215"/>
                  </a:cubicBezTo>
                  <a:lnTo>
                    <a:pt x="345" y="977"/>
                  </a:lnTo>
                  <a:cubicBezTo>
                    <a:pt x="365" y="1036"/>
                    <a:pt x="425" y="1079"/>
                    <a:pt x="499" y="1079"/>
                  </a:cubicBezTo>
                  <a:cubicBezTo>
                    <a:pt x="514" y="1079"/>
                    <a:pt x="531" y="1077"/>
                    <a:pt x="548" y="1072"/>
                  </a:cubicBezTo>
                  <a:cubicBezTo>
                    <a:pt x="643" y="1037"/>
                    <a:pt x="667" y="929"/>
                    <a:pt x="643" y="858"/>
                  </a:cubicBezTo>
                  <a:lnTo>
                    <a:pt x="322" y="96"/>
                  </a:lnTo>
                  <a:cubicBezTo>
                    <a:pt x="303" y="41"/>
                    <a:pt x="243"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6" name="Google Shape;12776;p62"/>
            <p:cNvSpPr/>
            <p:nvPr/>
          </p:nvSpPr>
          <p:spPr>
            <a:xfrm>
              <a:off x="2747334" y="3589754"/>
              <a:ext cx="21627" cy="34572"/>
            </a:xfrm>
            <a:custGeom>
              <a:avLst/>
              <a:gdLst/>
              <a:ahLst/>
              <a:cxnLst/>
              <a:rect l="l" t="t" r="r" b="b"/>
              <a:pathLst>
                <a:path w="680" h="1087" extrusionOk="0">
                  <a:moveTo>
                    <a:pt x="499" y="1"/>
                  </a:moveTo>
                  <a:cubicBezTo>
                    <a:pt x="438" y="1"/>
                    <a:pt x="375" y="36"/>
                    <a:pt x="358" y="98"/>
                  </a:cubicBezTo>
                  <a:lnTo>
                    <a:pt x="36" y="860"/>
                  </a:lnTo>
                  <a:cubicBezTo>
                    <a:pt x="1" y="967"/>
                    <a:pt x="72" y="1086"/>
                    <a:pt x="191" y="1086"/>
                  </a:cubicBezTo>
                  <a:cubicBezTo>
                    <a:pt x="251" y="1086"/>
                    <a:pt x="310" y="1051"/>
                    <a:pt x="334" y="979"/>
                  </a:cubicBezTo>
                  <a:lnTo>
                    <a:pt x="655" y="217"/>
                  </a:lnTo>
                  <a:cubicBezTo>
                    <a:pt x="679" y="134"/>
                    <a:pt x="632" y="39"/>
                    <a:pt x="560" y="15"/>
                  </a:cubicBezTo>
                  <a:cubicBezTo>
                    <a:pt x="542" y="5"/>
                    <a:pt x="520" y="1"/>
                    <a:pt x="4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7" name="Google Shape;12777;p62"/>
            <p:cNvSpPr/>
            <p:nvPr/>
          </p:nvSpPr>
          <p:spPr>
            <a:xfrm>
              <a:off x="2705319" y="3566441"/>
              <a:ext cx="29547" cy="28625"/>
            </a:xfrm>
            <a:custGeom>
              <a:avLst/>
              <a:gdLst/>
              <a:ahLst/>
              <a:cxnLst/>
              <a:rect l="l" t="t" r="r" b="b"/>
              <a:pathLst>
                <a:path w="929" h="900" extrusionOk="0">
                  <a:moveTo>
                    <a:pt x="744" y="1"/>
                  </a:moveTo>
                  <a:cubicBezTo>
                    <a:pt x="702" y="1"/>
                    <a:pt x="661" y="15"/>
                    <a:pt x="631" y="45"/>
                  </a:cubicBezTo>
                  <a:lnTo>
                    <a:pt x="60" y="629"/>
                  </a:lnTo>
                  <a:cubicBezTo>
                    <a:pt x="0" y="688"/>
                    <a:pt x="0" y="795"/>
                    <a:pt x="60" y="855"/>
                  </a:cubicBezTo>
                  <a:cubicBezTo>
                    <a:pt x="89" y="885"/>
                    <a:pt x="128" y="899"/>
                    <a:pt x="167" y="899"/>
                  </a:cubicBezTo>
                  <a:cubicBezTo>
                    <a:pt x="205" y="899"/>
                    <a:pt x="244" y="885"/>
                    <a:pt x="274" y="855"/>
                  </a:cubicBezTo>
                  <a:lnTo>
                    <a:pt x="857" y="271"/>
                  </a:lnTo>
                  <a:cubicBezTo>
                    <a:pt x="929" y="212"/>
                    <a:pt x="929" y="105"/>
                    <a:pt x="857" y="45"/>
                  </a:cubicBezTo>
                  <a:cubicBezTo>
                    <a:pt x="827" y="15"/>
                    <a:pt x="786" y="1"/>
                    <a:pt x="7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8" name="Google Shape;12778;p62"/>
            <p:cNvSpPr/>
            <p:nvPr/>
          </p:nvSpPr>
          <p:spPr>
            <a:xfrm>
              <a:off x="2676918" y="3532060"/>
              <a:ext cx="35240" cy="20133"/>
            </a:xfrm>
            <a:custGeom>
              <a:avLst/>
              <a:gdLst/>
              <a:ahLst/>
              <a:cxnLst/>
              <a:rect l="l" t="t" r="r" b="b"/>
              <a:pathLst>
                <a:path w="1108" h="633" extrusionOk="0">
                  <a:moveTo>
                    <a:pt x="918" y="1"/>
                  </a:moveTo>
                  <a:cubicBezTo>
                    <a:pt x="903" y="1"/>
                    <a:pt x="886" y="3"/>
                    <a:pt x="869" y="7"/>
                  </a:cubicBezTo>
                  <a:lnTo>
                    <a:pt x="119" y="329"/>
                  </a:lnTo>
                  <a:cubicBezTo>
                    <a:pt x="36" y="352"/>
                    <a:pt x="0" y="448"/>
                    <a:pt x="24" y="531"/>
                  </a:cubicBezTo>
                  <a:cubicBezTo>
                    <a:pt x="53" y="590"/>
                    <a:pt x="115" y="632"/>
                    <a:pt x="182" y="632"/>
                  </a:cubicBezTo>
                  <a:cubicBezTo>
                    <a:pt x="197" y="632"/>
                    <a:pt x="211" y="630"/>
                    <a:pt x="226" y="626"/>
                  </a:cubicBezTo>
                  <a:lnTo>
                    <a:pt x="988" y="305"/>
                  </a:lnTo>
                  <a:cubicBezTo>
                    <a:pt x="1060" y="281"/>
                    <a:pt x="1107" y="174"/>
                    <a:pt x="1084" y="102"/>
                  </a:cubicBezTo>
                  <a:cubicBezTo>
                    <a:pt x="1054" y="44"/>
                    <a:pt x="992" y="1"/>
                    <a:pt x="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9" name="Google Shape;12779;p62"/>
            <p:cNvSpPr/>
            <p:nvPr/>
          </p:nvSpPr>
          <p:spPr>
            <a:xfrm>
              <a:off x="2667821" y="3491763"/>
              <a:ext cx="36385" cy="10241"/>
            </a:xfrm>
            <a:custGeom>
              <a:avLst/>
              <a:gdLst/>
              <a:ahLst/>
              <a:cxnLst/>
              <a:rect l="l" t="t" r="r" b="b"/>
              <a:pathLst>
                <a:path w="1144" h="322" extrusionOk="0">
                  <a:moveTo>
                    <a:pt x="155" y="0"/>
                  </a:moveTo>
                  <a:cubicBezTo>
                    <a:pt x="72" y="0"/>
                    <a:pt x="0" y="72"/>
                    <a:pt x="0" y="167"/>
                  </a:cubicBezTo>
                  <a:cubicBezTo>
                    <a:pt x="0" y="250"/>
                    <a:pt x="72" y="322"/>
                    <a:pt x="155" y="322"/>
                  </a:cubicBezTo>
                  <a:lnTo>
                    <a:pt x="977" y="322"/>
                  </a:lnTo>
                  <a:cubicBezTo>
                    <a:pt x="1072" y="322"/>
                    <a:pt x="1143" y="250"/>
                    <a:pt x="1143" y="167"/>
                  </a:cubicBezTo>
                  <a:cubicBezTo>
                    <a:pt x="1131" y="72"/>
                    <a:pt x="1048" y="0"/>
                    <a:pt x="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0" name="Google Shape;12780;p62"/>
            <p:cNvSpPr/>
            <p:nvPr/>
          </p:nvSpPr>
          <p:spPr>
            <a:xfrm>
              <a:off x="2677267" y="3441702"/>
              <a:ext cx="35653" cy="20069"/>
            </a:xfrm>
            <a:custGeom>
              <a:avLst/>
              <a:gdLst/>
              <a:ahLst/>
              <a:cxnLst/>
              <a:rect l="l" t="t" r="r" b="b"/>
              <a:pathLst>
                <a:path w="1121" h="631" extrusionOk="0">
                  <a:moveTo>
                    <a:pt x="173" y="1"/>
                  </a:moveTo>
                  <a:cubicBezTo>
                    <a:pt x="110" y="1"/>
                    <a:pt x="51" y="36"/>
                    <a:pt x="25" y="98"/>
                  </a:cubicBezTo>
                  <a:cubicBezTo>
                    <a:pt x="1" y="193"/>
                    <a:pt x="25" y="276"/>
                    <a:pt x="120" y="312"/>
                  </a:cubicBezTo>
                  <a:lnTo>
                    <a:pt x="882" y="622"/>
                  </a:lnTo>
                  <a:cubicBezTo>
                    <a:pt x="899" y="627"/>
                    <a:pt x="918" y="630"/>
                    <a:pt x="937" y="630"/>
                  </a:cubicBezTo>
                  <a:cubicBezTo>
                    <a:pt x="999" y="630"/>
                    <a:pt x="1066" y="599"/>
                    <a:pt x="1084" y="526"/>
                  </a:cubicBezTo>
                  <a:cubicBezTo>
                    <a:pt x="1120" y="443"/>
                    <a:pt x="1084" y="348"/>
                    <a:pt x="1001" y="324"/>
                  </a:cubicBezTo>
                  <a:lnTo>
                    <a:pt x="239" y="14"/>
                  </a:lnTo>
                  <a:cubicBezTo>
                    <a:pt x="217" y="5"/>
                    <a:pt x="19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1" name="Google Shape;12781;p62"/>
            <p:cNvSpPr/>
            <p:nvPr/>
          </p:nvSpPr>
          <p:spPr>
            <a:xfrm>
              <a:off x="2706051" y="3399084"/>
              <a:ext cx="30724" cy="28338"/>
            </a:xfrm>
            <a:custGeom>
              <a:avLst/>
              <a:gdLst/>
              <a:ahLst/>
              <a:cxnLst/>
              <a:rect l="l" t="t" r="r" b="b"/>
              <a:pathLst>
                <a:path w="966" h="891" extrusionOk="0">
                  <a:moveTo>
                    <a:pt x="173" y="0"/>
                  </a:moveTo>
                  <a:cubicBezTo>
                    <a:pt x="132" y="0"/>
                    <a:pt x="90" y="15"/>
                    <a:pt x="60" y="45"/>
                  </a:cubicBezTo>
                  <a:cubicBezTo>
                    <a:pt x="1" y="104"/>
                    <a:pt x="1" y="199"/>
                    <a:pt x="60" y="259"/>
                  </a:cubicBezTo>
                  <a:cubicBezTo>
                    <a:pt x="644" y="819"/>
                    <a:pt x="632" y="890"/>
                    <a:pt x="751" y="890"/>
                  </a:cubicBezTo>
                  <a:cubicBezTo>
                    <a:pt x="894" y="890"/>
                    <a:pt x="965" y="723"/>
                    <a:pt x="870" y="616"/>
                  </a:cubicBezTo>
                  <a:lnTo>
                    <a:pt x="287" y="45"/>
                  </a:lnTo>
                  <a:cubicBezTo>
                    <a:pt x="257" y="15"/>
                    <a:pt x="215"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2" name="Google Shape;12782;p62"/>
            <p:cNvSpPr/>
            <p:nvPr/>
          </p:nvSpPr>
          <p:spPr>
            <a:xfrm>
              <a:off x="2748861" y="3370713"/>
              <a:ext cx="21596" cy="34190"/>
            </a:xfrm>
            <a:custGeom>
              <a:avLst/>
              <a:gdLst/>
              <a:ahLst/>
              <a:cxnLst/>
              <a:rect l="l" t="t" r="r" b="b"/>
              <a:pathLst>
                <a:path w="679" h="1075" extrusionOk="0">
                  <a:moveTo>
                    <a:pt x="170" y="1"/>
                  </a:moveTo>
                  <a:cubicBezTo>
                    <a:pt x="153" y="1"/>
                    <a:pt x="136" y="3"/>
                    <a:pt x="119" y="8"/>
                  </a:cubicBezTo>
                  <a:cubicBezTo>
                    <a:pt x="36" y="44"/>
                    <a:pt x="0" y="127"/>
                    <a:pt x="24" y="210"/>
                  </a:cubicBezTo>
                  <a:lnTo>
                    <a:pt x="334" y="972"/>
                  </a:lnTo>
                  <a:cubicBezTo>
                    <a:pt x="362" y="1039"/>
                    <a:pt x="421" y="1075"/>
                    <a:pt x="491" y="1075"/>
                  </a:cubicBezTo>
                  <a:cubicBezTo>
                    <a:pt x="510" y="1075"/>
                    <a:pt x="528" y="1073"/>
                    <a:pt x="548" y="1068"/>
                  </a:cubicBezTo>
                  <a:cubicBezTo>
                    <a:pt x="631" y="1020"/>
                    <a:pt x="679" y="937"/>
                    <a:pt x="631" y="841"/>
                  </a:cubicBezTo>
                  <a:lnTo>
                    <a:pt x="322" y="103"/>
                  </a:lnTo>
                  <a:cubicBezTo>
                    <a:pt x="293" y="37"/>
                    <a:pt x="235"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3" name="Google Shape;12783;p62"/>
            <p:cNvSpPr/>
            <p:nvPr/>
          </p:nvSpPr>
          <p:spPr>
            <a:xfrm>
              <a:off x="2749242" y="3533364"/>
              <a:ext cx="111731" cy="115198"/>
            </a:xfrm>
            <a:custGeom>
              <a:avLst/>
              <a:gdLst/>
              <a:ahLst/>
              <a:cxnLst/>
              <a:rect l="l" t="t" r="r" b="b"/>
              <a:pathLst>
                <a:path w="3513" h="3622" extrusionOk="0">
                  <a:moveTo>
                    <a:pt x="3224" y="0"/>
                  </a:moveTo>
                  <a:cubicBezTo>
                    <a:pt x="3217" y="0"/>
                    <a:pt x="3210" y="1"/>
                    <a:pt x="3203" y="2"/>
                  </a:cubicBezTo>
                  <a:cubicBezTo>
                    <a:pt x="3108" y="14"/>
                    <a:pt x="3048" y="85"/>
                    <a:pt x="3060" y="180"/>
                  </a:cubicBezTo>
                  <a:lnTo>
                    <a:pt x="3155" y="740"/>
                  </a:lnTo>
                  <a:lnTo>
                    <a:pt x="3155" y="776"/>
                  </a:lnTo>
                  <a:cubicBezTo>
                    <a:pt x="3155" y="842"/>
                    <a:pt x="3087" y="909"/>
                    <a:pt x="3017" y="909"/>
                  </a:cubicBezTo>
                  <a:cubicBezTo>
                    <a:pt x="2999" y="909"/>
                    <a:pt x="2982" y="904"/>
                    <a:pt x="2965" y="895"/>
                  </a:cubicBezTo>
                  <a:cubicBezTo>
                    <a:pt x="2965" y="895"/>
                    <a:pt x="1929" y="359"/>
                    <a:pt x="1917" y="347"/>
                  </a:cubicBezTo>
                  <a:cubicBezTo>
                    <a:pt x="1858" y="320"/>
                    <a:pt x="1794" y="308"/>
                    <a:pt x="1731" y="308"/>
                  </a:cubicBezTo>
                  <a:cubicBezTo>
                    <a:pt x="1654" y="308"/>
                    <a:pt x="1578" y="326"/>
                    <a:pt x="1512" y="359"/>
                  </a:cubicBezTo>
                  <a:cubicBezTo>
                    <a:pt x="1453" y="383"/>
                    <a:pt x="548" y="859"/>
                    <a:pt x="500" y="895"/>
                  </a:cubicBezTo>
                  <a:cubicBezTo>
                    <a:pt x="480" y="906"/>
                    <a:pt x="459" y="911"/>
                    <a:pt x="438" y="911"/>
                  </a:cubicBezTo>
                  <a:cubicBezTo>
                    <a:pt x="372" y="911"/>
                    <a:pt x="310" y="857"/>
                    <a:pt x="310" y="776"/>
                  </a:cubicBezTo>
                  <a:cubicBezTo>
                    <a:pt x="310" y="764"/>
                    <a:pt x="310" y="740"/>
                    <a:pt x="345" y="585"/>
                  </a:cubicBezTo>
                  <a:cubicBezTo>
                    <a:pt x="357" y="490"/>
                    <a:pt x="298" y="418"/>
                    <a:pt x="203" y="407"/>
                  </a:cubicBezTo>
                  <a:cubicBezTo>
                    <a:pt x="190" y="403"/>
                    <a:pt x="178" y="401"/>
                    <a:pt x="166" y="401"/>
                  </a:cubicBezTo>
                  <a:cubicBezTo>
                    <a:pt x="99" y="401"/>
                    <a:pt x="44" y="457"/>
                    <a:pt x="24" y="538"/>
                  </a:cubicBezTo>
                  <a:cubicBezTo>
                    <a:pt x="0" y="680"/>
                    <a:pt x="0" y="716"/>
                    <a:pt x="0" y="776"/>
                  </a:cubicBezTo>
                  <a:cubicBezTo>
                    <a:pt x="0" y="1030"/>
                    <a:pt x="223" y="1224"/>
                    <a:pt x="464" y="1224"/>
                  </a:cubicBezTo>
                  <a:cubicBezTo>
                    <a:pt x="527" y="1224"/>
                    <a:pt x="592" y="1210"/>
                    <a:pt x="655" y="1180"/>
                  </a:cubicBezTo>
                  <a:lnTo>
                    <a:pt x="1238" y="883"/>
                  </a:lnTo>
                  <a:lnTo>
                    <a:pt x="1238" y="1454"/>
                  </a:lnTo>
                  <a:cubicBezTo>
                    <a:pt x="1238" y="1550"/>
                    <a:pt x="1310" y="1621"/>
                    <a:pt x="1393" y="1621"/>
                  </a:cubicBezTo>
                  <a:cubicBezTo>
                    <a:pt x="1488" y="1621"/>
                    <a:pt x="1560" y="1550"/>
                    <a:pt x="1560" y="1454"/>
                  </a:cubicBezTo>
                  <a:lnTo>
                    <a:pt x="1560" y="716"/>
                  </a:lnTo>
                  <a:cubicBezTo>
                    <a:pt x="1631" y="689"/>
                    <a:pt x="1683" y="636"/>
                    <a:pt x="1744" y="636"/>
                  </a:cubicBezTo>
                  <a:cubicBezTo>
                    <a:pt x="1764" y="636"/>
                    <a:pt x="1786" y="642"/>
                    <a:pt x="1810" y="657"/>
                  </a:cubicBezTo>
                  <a:lnTo>
                    <a:pt x="1929" y="716"/>
                  </a:lnTo>
                  <a:lnTo>
                    <a:pt x="1929" y="3455"/>
                  </a:lnTo>
                  <a:cubicBezTo>
                    <a:pt x="1929" y="3538"/>
                    <a:pt x="2012" y="3621"/>
                    <a:pt x="2096" y="3621"/>
                  </a:cubicBezTo>
                  <a:cubicBezTo>
                    <a:pt x="2191" y="3621"/>
                    <a:pt x="2262" y="3538"/>
                    <a:pt x="2262" y="3455"/>
                  </a:cubicBezTo>
                  <a:lnTo>
                    <a:pt x="2262" y="883"/>
                  </a:lnTo>
                  <a:cubicBezTo>
                    <a:pt x="2798" y="1145"/>
                    <a:pt x="2870" y="1240"/>
                    <a:pt x="3048" y="1240"/>
                  </a:cubicBezTo>
                  <a:cubicBezTo>
                    <a:pt x="3298" y="1216"/>
                    <a:pt x="3512" y="966"/>
                    <a:pt x="3465" y="704"/>
                  </a:cubicBezTo>
                  <a:lnTo>
                    <a:pt x="3382" y="133"/>
                  </a:lnTo>
                  <a:cubicBezTo>
                    <a:pt x="3360" y="57"/>
                    <a:pt x="3298" y="0"/>
                    <a:pt x="32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4" name="Google Shape;12784;p62"/>
            <p:cNvSpPr/>
            <p:nvPr/>
          </p:nvSpPr>
          <p:spPr>
            <a:xfrm>
              <a:off x="2795010" y="3417371"/>
              <a:ext cx="94365" cy="106960"/>
            </a:xfrm>
            <a:custGeom>
              <a:avLst/>
              <a:gdLst/>
              <a:ahLst/>
              <a:cxnLst/>
              <a:rect l="l" t="t" r="r" b="b"/>
              <a:pathLst>
                <a:path w="2967" h="3363" extrusionOk="0">
                  <a:moveTo>
                    <a:pt x="275" y="1"/>
                  </a:moveTo>
                  <a:cubicBezTo>
                    <a:pt x="121" y="1"/>
                    <a:pt x="0" y="85"/>
                    <a:pt x="49" y="220"/>
                  </a:cubicBezTo>
                  <a:cubicBezTo>
                    <a:pt x="68" y="296"/>
                    <a:pt x="133" y="334"/>
                    <a:pt x="195" y="334"/>
                  </a:cubicBezTo>
                  <a:cubicBezTo>
                    <a:pt x="210" y="334"/>
                    <a:pt x="226" y="332"/>
                    <a:pt x="240" y="327"/>
                  </a:cubicBezTo>
                  <a:cubicBezTo>
                    <a:pt x="253" y="324"/>
                    <a:pt x="266" y="323"/>
                    <a:pt x="280" y="323"/>
                  </a:cubicBezTo>
                  <a:cubicBezTo>
                    <a:pt x="329" y="323"/>
                    <a:pt x="379" y="342"/>
                    <a:pt x="407" y="398"/>
                  </a:cubicBezTo>
                  <a:lnTo>
                    <a:pt x="907" y="1434"/>
                  </a:lnTo>
                  <a:cubicBezTo>
                    <a:pt x="966" y="1565"/>
                    <a:pt x="1097" y="1649"/>
                    <a:pt x="1252" y="1684"/>
                  </a:cubicBezTo>
                  <a:lnTo>
                    <a:pt x="2395" y="1851"/>
                  </a:lnTo>
                  <a:cubicBezTo>
                    <a:pt x="2502" y="1863"/>
                    <a:pt x="2550" y="1994"/>
                    <a:pt x="2466" y="2065"/>
                  </a:cubicBezTo>
                  <a:lnTo>
                    <a:pt x="1657" y="2875"/>
                  </a:lnTo>
                  <a:cubicBezTo>
                    <a:pt x="1562" y="2958"/>
                    <a:pt x="1514" y="3077"/>
                    <a:pt x="1514" y="3196"/>
                  </a:cubicBezTo>
                  <a:cubicBezTo>
                    <a:pt x="1514" y="3292"/>
                    <a:pt x="1597" y="3363"/>
                    <a:pt x="1681" y="3363"/>
                  </a:cubicBezTo>
                  <a:cubicBezTo>
                    <a:pt x="1776" y="3363"/>
                    <a:pt x="1847" y="3292"/>
                    <a:pt x="1847" y="3196"/>
                  </a:cubicBezTo>
                  <a:cubicBezTo>
                    <a:pt x="1847" y="3101"/>
                    <a:pt x="1883" y="3137"/>
                    <a:pt x="2705" y="2303"/>
                  </a:cubicBezTo>
                  <a:cubicBezTo>
                    <a:pt x="2966" y="2030"/>
                    <a:pt x="2812" y="1577"/>
                    <a:pt x="2443" y="1518"/>
                  </a:cubicBezTo>
                  <a:lnTo>
                    <a:pt x="1300" y="1351"/>
                  </a:lnTo>
                  <a:cubicBezTo>
                    <a:pt x="1252" y="1351"/>
                    <a:pt x="1216" y="1327"/>
                    <a:pt x="1192" y="1279"/>
                  </a:cubicBezTo>
                  <a:lnTo>
                    <a:pt x="680" y="255"/>
                  </a:lnTo>
                  <a:cubicBezTo>
                    <a:pt x="594" y="76"/>
                    <a:pt x="42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5" name="Google Shape;12785;p62"/>
            <p:cNvSpPr/>
            <p:nvPr/>
          </p:nvSpPr>
          <p:spPr>
            <a:xfrm>
              <a:off x="2719695" y="3433974"/>
              <a:ext cx="76141" cy="101744"/>
            </a:xfrm>
            <a:custGeom>
              <a:avLst/>
              <a:gdLst/>
              <a:ahLst/>
              <a:cxnLst/>
              <a:rect l="l" t="t" r="r" b="b"/>
              <a:pathLst>
                <a:path w="2394" h="3199" extrusionOk="0">
                  <a:moveTo>
                    <a:pt x="2232" y="0"/>
                  </a:moveTo>
                  <a:cubicBezTo>
                    <a:pt x="2173" y="0"/>
                    <a:pt x="2110" y="39"/>
                    <a:pt x="2084" y="91"/>
                  </a:cubicBezTo>
                  <a:lnTo>
                    <a:pt x="1763" y="757"/>
                  </a:lnTo>
                  <a:cubicBezTo>
                    <a:pt x="1751" y="805"/>
                    <a:pt x="1703" y="817"/>
                    <a:pt x="1655" y="829"/>
                  </a:cubicBezTo>
                  <a:lnTo>
                    <a:pt x="512" y="996"/>
                  </a:lnTo>
                  <a:cubicBezTo>
                    <a:pt x="131" y="1055"/>
                    <a:pt x="0" y="1508"/>
                    <a:pt x="250" y="1758"/>
                  </a:cubicBezTo>
                  <a:cubicBezTo>
                    <a:pt x="1108" y="2603"/>
                    <a:pt x="1132" y="2555"/>
                    <a:pt x="1120" y="2674"/>
                  </a:cubicBezTo>
                  <a:lnTo>
                    <a:pt x="1060" y="3020"/>
                  </a:lnTo>
                  <a:cubicBezTo>
                    <a:pt x="1048" y="3115"/>
                    <a:pt x="1120" y="3198"/>
                    <a:pt x="1203" y="3198"/>
                  </a:cubicBezTo>
                  <a:cubicBezTo>
                    <a:pt x="1286" y="3198"/>
                    <a:pt x="1358" y="3139"/>
                    <a:pt x="1358" y="3067"/>
                  </a:cubicBezTo>
                  <a:lnTo>
                    <a:pt x="1417" y="2722"/>
                  </a:lnTo>
                  <a:cubicBezTo>
                    <a:pt x="1441" y="2579"/>
                    <a:pt x="1382" y="2424"/>
                    <a:pt x="1286" y="2317"/>
                  </a:cubicBezTo>
                  <a:lnTo>
                    <a:pt x="465" y="1519"/>
                  </a:lnTo>
                  <a:cubicBezTo>
                    <a:pt x="393" y="1448"/>
                    <a:pt x="429" y="1305"/>
                    <a:pt x="536" y="1293"/>
                  </a:cubicBezTo>
                  <a:lnTo>
                    <a:pt x="1679" y="1127"/>
                  </a:lnTo>
                  <a:cubicBezTo>
                    <a:pt x="1834" y="1115"/>
                    <a:pt x="1953" y="1007"/>
                    <a:pt x="2025" y="876"/>
                  </a:cubicBezTo>
                  <a:lnTo>
                    <a:pt x="2358" y="210"/>
                  </a:lnTo>
                  <a:cubicBezTo>
                    <a:pt x="2394" y="150"/>
                    <a:pt x="2370" y="55"/>
                    <a:pt x="2298" y="19"/>
                  </a:cubicBezTo>
                  <a:cubicBezTo>
                    <a:pt x="2278" y="6"/>
                    <a:pt x="2256" y="0"/>
                    <a:pt x="22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6" name="Google Shape;12786;p62"/>
            <p:cNvSpPr/>
            <p:nvPr/>
          </p:nvSpPr>
          <p:spPr>
            <a:xfrm>
              <a:off x="2787472" y="3594366"/>
              <a:ext cx="32600" cy="104543"/>
            </a:xfrm>
            <a:custGeom>
              <a:avLst/>
              <a:gdLst/>
              <a:ahLst/>
              <a:cxnLst/>
              <a:rect l="l" t="t" r="r" b="b"/>
              <a:pathLst>
                <a:path w="1025" h="3287" extrusionOk="0">
                  <a:moveTo>
                    <a:pt x="167" y="1"/>
                  </a:moveTo>
                  <a:cubicBezTo>
                    <a:pt x="72" y="1"/>
                    <a:pt x="1" y="72"/>
                    <a:pt x="1" y="167"/>
                  </a:cubicBezTo>
                  <a:lnTo>
                    <a:pt x="1" y="2787"/>
                  </a:lnTo>
                  <a:cubicBezTo>
                    <a:pt x="1" y="3072"/>
                    <a:pt x="227" y="3287"/>
                    <a:pt x="513" y="3287"/>
                  </a:cubicBezTo>
                  <a:cubicBezTo>
                    <a:pt x="786" y="3287"/>
                    <a:pt x="1013" y="3072"/>
                    <a:pt x="1013" y="2787"/>
                  </a:cubicBezTo>
                  <a:lnTo>
                    <a:pt x="1013" y="2156"/>
                  </a:lnTo>
                  <a:cubicBezTo>
                    <a:pt x="1025" y="2072"/>
                    <a:pt x="953" y="2001"/>
                    <a:pt x="882" y="2001"/>
                  </a:cubicBezTo>
                  <a:cubicBezTo>
                    <a:pt x="786" y="2001"/>
                    <a:pt x="715" y="2072"/>
                    <a:pt x="715" y="2156"/>
                  </a:cubicBezTo>
                  <a:lnTo>
                    <a:pt x="715" y="2787"/>
                  </a:lnTo>
                  <a:cubicBezTo>
                    <a:pt x="715" y="2894"/>
                    <a:pt x="620" y="2977"/>
                    <a:pt x="525" y="2977"/>
                  </a:cubicBezTo>
                  <a:cubicBezTo>
                    <a:pt x="417" y="2977"/>
                    <a:pt x="334" y="2894"/>
                    <a:pt x="334" y="2787"/>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87" name="Google Shape;12787;p62"/>
          <p:cNvGrpSpPr/>
          <p:nvPr/>
        </p:nvGrpSpPr>
        <p:grpSpPr>
          <a:xfrm>
            <a:off x="2212469" y="3360313"/>
            <a:ext cx="282715" cy="338660"/>
            <a:chOff x="2212469" y="3360313"/>
            <a:chExt cx="282715" cy="338660"/>
          </a:xfrm>
        </p:grpSpPr>
        <p:sp>
          <p:nvSpPr>
            <p:cNvPr id="12788" name="Google Shape;12788;p62"/>
            <p:cNvSpPr/>
            <p:nvPr/>
          </p:nvSpPr>
          <p:spPr>
            <a:xfrm>
              <a:off x="2282313" y="3360313"/>
              <a:ext cx="212871" cy="200403"/>
            </a:xfrm>
            <a:custGeom>
              <a:avLst/>
              <a:gdLst/>
              <a:ahLst/>
              <a:cxnLst/>
              <a:rect l="l" t="t" r="r" b="b"/>
              <a:pathLst>
                <a:path w="6693" h="6301" extrusionOk="0">
                  <a:moveTo>
                    <a:pt x="2751" y="2573"/>
                  </a:moveTo>
                  <a:lnTo>
                    <a:pt x="4108" y="3919"/>
                  </a:lnTo>
                  <a:lnTo>
                    <a:pt x="2882" y="5157"/>
                  </a:lnTo>
                  <a:lnTo>
                    <a:pt x="1525" y="3800"/>
                  </a:lnTo>
                  <a:lnTo>
                    <a:pt x="2751" y="2573"/>
                  </a:lnTo>
                  <a:close/>
                  <a:moveTo>
                    <a:pt x="5397" y="0"/>
                  </a:moveTo>
                  <a:cubicBezTo>
                    <a:pt x="5323" y="0"/>
                    <a:pt x="5261" y="55"/>
                    <a:pt x="5239" y="121"/>
                  </a:cubicBezTo>
                  <a:cubicBezTo>
                    <a:pt x="5228" y="216"/>
                    <a:pt x="5287" y="287"/>
                    <a:pt x="5359" y="299"/>
                  </a:cubicBezTo>
                  <a:cubicBezTo>
                    <a:pt x="5775" y="383"/>
                    <a:pt x="5990" y="656"/>
                    <a:pt x="6037" y="692"/>
                  </a:cubicBezTo>
                  <a:cubicBezTo>
                    <a:pt x="6478" y="1133"/>
                    <a:pt x="6478" y="1871"/>
                    <a:pt x="6037" y="2335"/>
                  </a:cubicBezTo>
                  <a:lnTo>
                    <a:pt x="5406" y="2954"/>
                  </a:lnTo>
                  <a:lnTo>
                    <a:pt x="3715" y="1264"/>
                  </a:lnTo>
                  <a:lnTo>
                    <a:pt x="4335" y="633"/>
                  </a:lnTo>
                  <a:cubicBezTo>
                    <a:pt x="4466" y="502"/>
                    <a:pt x="4632" y="395"/>
                    <a:pt x="4823" y="347"/>
                  </a:cubicBezTo>
                  <a:cubicBezTo>
                    <a:pt x="4918" y="323"/>
                    <a:pt x="4966" y="228"/>
                    <a:pt x="4930" y="156"/>
                  </a:cubicBezTo>
                  <a:cubicBezTo>
                    <a:pt x="4910" y="88"/>
                    <a:pt x="4842" y="43"/>
                    <a:pt x="4778" y="43"/>
                  </a:cubicBezTo>
                  <a:cubicBezTo>
                    <a:pt x="4765" y="43"/>
                    <a:pt x="4752" y="45"/>
                    <a:pt x="4739" y="49"/>
                  </a:cubicBezTo>
                  <a:cubicBezTo>
                    <a:pt x="4501" y="133"/>
                    <a:pt x="4287" y="240"/>
                    <a:pt x="4108" y="430"/>
                  </a:cubicBezTo>
                  <a:lnTo>
                    <a:pt x="3489" y="1049"/>
                  </a:lnTo>
                  <a:lnTo>
                    <a:pt x="3180" y="752"/>
                  </a:lnTo>
                  <a:cubicBezTo>
                    <a:pt x="3073" y="651"/>
                    <a:pt x="2933" y="600"/>
                    <a:pt x="2794" y="600"/>
                  </a:cubicBezTo>
                  <a:cubicBezTo>
                    <a:pt x="2656" y="600"/>
                    <a:pt x="2519" y="651"/>
                    <a:pt x="2418" y="752"/>
                  </a:cubicBezTo>
                  <a:lnTo>
                    <a:pt x="2049" y="1121"/>
                  </a:lnTo>
                  <a:cubicBezTo>
                    <a:pt x="1834" y="1335"/>
                    <a:pt x="1834" y="1680"/>
                    <a:pt x="2049" y="1883"/>
                  </a:cubicBezTo>
                  <a:lnTo>
                    <a:pt x="2525" y="2359"/>
                  </a:lnTo>
                  <a:lnTo>
                    <a:pt x="60" y="4812"/>
                  </a:lnTo>
                  <a:cubicBezTo>
                    <a:pt x="1" y="4871"/>
                    <a:pt x="1" y="4978"/>
                    <a:pt x="60" y="5038"/>
                  </a:cubicBezTo>
                  <a:cubicBezTo>
                    <a:pt x="90" y="5068"/>
                    <a:pt x="132" y="5083"/>
                    <a:pt x="173" y="5083"/>
                  </a:cubicBezTo>
                  <a:cubicBezTo>
                    <a:pt x="215" y="5083"/>
                    <a:pt x="257" y="5068"/>
                    <a:pt x="286" y="5038"/>
                  </a:cubicBezTo>
                  <a:lnTo>
                    <a:pt x="1287" y="4038"/>
                  </a:lnTo>
                  <a:lnTo>
                    <a:pt x="2644" y="5395"/>
                  </a:lnTo>
                  <a:lnTo>
                    <a:pt x="2001" y="6038"/>
                  </a:lnTo>
                  <a:cubicBezTo>
                    <a:pt x="1894" y="6145"/>
                    <a:pt x="1965" y="6300"/>
                    <a:pt x="2120" y="6300"/>
                  </a:cubicBezTo>
                  <a:cubicBezTo>
                    <a:pt x="2123" y="6300"/>
                    <a:pt x="2125" y="6300"/>
                    <a:pt x="2127" y="6300"/>
                  </a:cubicBezTo>
                  <a:cubicBezTo>
                    <a:pt x="2236" y="6300"/>
                    <a:pt x="2191" y="6277"/>
                    <a:pt x="4370" y="4133"/>
                  </a:cubicBezTo>
                  <a:cubicBezTo>
                    <a:pt x="4454" y="4133"/>
                    <a:pt x="4525" y="4062"/>
                    <a:pt x="4525" y="3966"/>
                  </a:cubicBezTo>
                  <a:cubicBezTo>
                    <a:pt x="4525" y="3859"/>
                    <a:pt x="4442" y="3835"/>
                    <a:pt x="4335" y="3716"/>
                  </a:cubicBezTo>
                  <a:lnTo>
                    <a:pt x="2977" y="2359"/>
                  </a:lnTo>
                  <a:lnTo>
                    <a:pt x="2287" y="1657"/>
                  </a:lnTo>
                  <a:cubicBezTo>
                    <a:pt x="2191" y="1573"/>
                    <a:pt x="2191" y="1430"/>
                    <a:pt x="2287" y="1347"/>
                  </a:cubicBezTo>
                  <a:lnTo>
                    <a:pt x="2656" y="978"/>
                  </a:lnTo>
                  <a:cubicBezTo>
                    <a:pt x="2697" y="930"/>
                    <a:pt x="2754" y="906"/>
                    <a:pt x="2811" y="906"/>
                  </a:cubicBezTo>
                  <a:cubicBezTo>
                    <a:pt x="2867" y="906"/>
                    <a:pt x="2924" y="930"/>
                    <a:pt x="2965" y="978"/>
                  </a:cubicBezTo>
                  <a:lnTo>
                    <a:pt x="5716" y="3728"/>
                  </a:lnTo>
                  <a:cubicBezTo>
                    <a:pt x="5811" y="3812"/>
                    <a:pt x="5811" y="3954"/>
                    <a:pt x="5716" y="4038"/>
                  </a:cubicBezTo>
                  <a:lnTo>
                    <a:pt x="5347" y="4407"/>
                  </a:lnTo>
                  <a:cubicBezTo>
                    <a:pt x="5305" y="4455"/>
                    <a:pt x="5248" y="4478"/>
                    <a:pt x="5192" y="4478"/>
                  </a:cubicBezTo>
                  <a:cubicBezTo>
                    <a:pt x="5135" y="4478"/>
                    <a:pt x="5079" y="4455"/>
                    <a:pt x="5037" y="4407"/>
                  </a:cubicBezTo>
                  <a:lnTo>
                    <a:pt x="4918" y="4288"/>
                  </a:lnTo>
                  <a:cubicBezTo>
                    <a:pt x="4888" y="4258"/>
                    <a:pt x="4847" y="4243"/>
                    <a:pt x="4805" y="4243"/>
                  </a:cubicBezTo>
                  <a:cubicBezTo>
                    <a:pt x="4763" y="4243"/>
                    <a:pt x="4722" y="4258"/>
                    <a:pt x="4692" y="4288"/>
                  </a:cubicBezTo>
                  <a:cubicBezTo>
                    <a:pt x="4632" y="4347"/>
                    <a:pt x="4632" y="4455"/>
                    <a:pt x="4692" y="4514"/>
                  </a:cubicBezTo>
                  <a:lnTo>
                    <a:pt x="4811" y="4633"/>
                  </a:lnTo>
                  <a:cubicBezTo>
                    <a:pt x="4918" y="4740"/>
                    <a:pt x="5055" y="4794"/>
                    <a:pt x="5192" y="4794"/>
                  </a:cubicBezTo>
                  <a:cubicBezTo>
                    <a:pt x="5329" y="4794"/>
                    <a:pt x="5466" y="4740"/>
                    <a:pt x="5573" y="4633"/>
                  </a:cubicBezTo>
                  <a:lnTo>
                    <a:pt x="5942" y="4264"/>
                  </a:lnTo>
                  <a:cubicBezTo>
                    <a:pt x="6156" y="4050"/>
                    <a:pt x="6156" y="3716"/>
                    <a:pt x="5942" y="3502"/>
                  </a:cubicBezTo>
                  <a:lnTo>
                    <a:pt x="5644" y="3204"/>
                  </a:lnTo>
                  <a:lnTo>
                    <a:pt x="6275" y="2585"/>
                  </a:lnTo>
                  <a:cubicBezTo>
                    <a:pt x="6537" y="2300"/>
                    <a:pt x="6692" y="1930"/>
                    <a:pt x="6692" y="1526"/>
                  </a:cubicBezTo>
                  <a:cubicBezTo>
                    <a:pt x="6692" y="823"/>
                    <a:pt x="6216" y="454"/>
                    <a:pt x="6180" y="406"/>
                  </a:cubicBezTo>
                  <a:cubicBezTo>
                    <a:pt x="5978" y="204"/>
                    <a:pt x="5704" y="73"/>
                    <a:pt x="5418" y="2"/>
                  </a:cubicBezTo>
                  <a:cubicBezTo>
                    <a:pt x="5411" y="1"/>
                    <a:pt x="5404" y="0"/>
                    <a:pt x="53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9" name="Google Shape;12789;p62"/>
            <p:cNvSpPr/>
            <p:nvPr/>
          </p:nvSpPr>
          <p:spPr>
            <a:xfrm>
              <a:off x="2234987" y="3526304"/>
              <a:ext cx="106070" cy="94143"/>
            </a:xfrm>
            <a:custGeom>
              <a:avLst/>
              <a:gdLst/>
              <a:ahLst/>
              <a:cxnLst/>
              <a:rect l="l" t="t" r="r" b="b"/>
              <a:pathLst>
                <a:path w="3335" h="2960" extrusionOk="0">
                  <a:moveTo>
                    <a:pt x="1245" y="1"/>
                  </a:moveTo>
                  <a:cubicBezTo>
                    <a:pt x="1203" y="1"/>
                    <a:pt x="1161" y="15"/>
                    <a:pt x="1132" y="45"/>
                  </a:cubicBezTo>
                  <a:cubicBezTo>
                    <a:pt x="1120" y="57"/>
                    <a:pt x="620" y="462"/>
                    <a:pt x="739" y="1152"/>
                  </a:cubicBezTo>
                  <a:lnTo>
                    <a:pt x="227" y="1664"/>
                  </a:lnTo>
                  <a:cubicBezTo>
                    <a:pt x="84" y="1807"/>
                    <a:pt x="0" y="2010"/>
                    <a:pt x="0" y="2200"/>
                  </a:cubicBezTo>
                  <a:cubicBezTo>
                    <a:pt x="0" y="2659"/>
                    <a:pt x="376" y="2960"/>
                    <a:pt x="766" y="2960"/>
                  </a:cubicBezTo>
                  <a:cubicBezTo>
                    <a:pt x="953" y="2960"/>
                    <a:pt x="1144" y="2890"/>
                    <a:pt x="1298" y="2736"/>
                  </a:cubicBezTo>
                  <a:lnTo>
                    <a:pt x="1810" y="2236"/>
                  </a:lnTo>
                  <a:cubicBezTo>
                    <a:pt x="1868" y="2243"/>
                    <a:pt x="1926" y="2247"/>
                    <a:pt x="1984" y="2247"/>
                  </a:cubicBezTo>
                  <a:cubicBezTo>
                    <a:pt x="2308" y="2247"/>
                    <a:pt x="2626" y="2133"/>
                    <a:pt x="2858" y="1891"/>
                  </a:cubicBezTo>
                  <a:lnTo>
                    <a:pt x="3275" y="1474"/>
                  </a:lnTo>
                  <a:cubicBezTo>
                    <a:pt x="3334" y="1414"/>
                    <a:pt x="3334" y="1307"/>
                    <a:pt x="3275" y="1248"/>
                  </a:cubicBezTo>
                  <a:cubicBezTo>
                    <a:pt x="3245" y="1218"/>
                    <a:pt x="3206" y="1203"/>
                    <a:pt x="3168" y="1203"/>
                  </a:cubicBezTo>
                  <a:cubicBezTo>
                    <a:pt x="3129" y="1203"/>
                    <a:pt x="3090" y="1218"/>
                    <a:pt x="3060" y="1248"/>
                  </a:cubicBezTo>
                  <a:lnTo>
                    <a:pt x="2644" y="1664"/>
                  </a:lnTo>
                  <a:cubicBezTo>
                    <a:pt x="2464" y="1844"/>
                    <a:pt x="2237" y="1929"/>
                    <a:pt x="2008" y="1929"/>
                  </a:cubicBezTo>
                  <a:cubicBezTo>
                    <a:pt x="1934" y="1929"/>
                    <a:pt x="1859" y="1920"/>
                    <a:pt x="1786" y="1903"/>
                  </a:cubicBezTo>
                  <a:cubicBezTo>
                    <a:pt x="1772" y="1900"/>
                    <a:pt x="1760" y="1898"/>
                    <a:pt x="1748" y="1898"/>
                  </a:cubicBezTo>
                  <a:cubicBezTo>
                    <a:pt x="1709" y="1898"/>
                    <a:pt x="1680" y="1914"/>
                    <a:pt x="1644" y="1950"/>
                  </a:cubicBezTo>
                  <a:lnTo>
                    <a:pt x="1072" y="2510"/>
                  </a:lnTo>
                  <a:cubicBezTo>
                    <a:pt x="989" y="2605"/>
                    <a:pt x="882" y="2641"/>
                    <a:pt x="762" y="2641"/>
                  </a:cubicBezTo>
                  <a:cubicBezTo>
                    <a:pt x="358" y="2641"/>
                    <a:pt x="167" y="2164"/>
                    <a:pt x="453" y="1891"/>
                  </a:cubicBezTo>
                  <a:lnTo>
                    <a:pt x="1012" y="1319"/>
                  </a:lnTo>
                  <a:cubicBezTo>
                    <a:pt x="1060" y="1283"/>
                    <a:pt x="1072" y="1236"/>
                    <a:pt x="1060" y="1176"/>
                  </a:cubicBezTo>
                  <a:cubicBezTo>
                    <a:pt x="929" y="605"/>
                    <a:pt x="1358" y="283"/>
                    <a:pt x="1358" y="259"/>
                  </a:cubicBezTo>
                  <a:cubicBezTo>
                    <a:pt x="1417" y="200"/>
                    <a:pt x="1417" y="105"/>
                    <a:pt x="1358" y="45"/>
                  </a:cubicBezTo>
                  <a:cubicBezTo>
                    <a:pt x="1328" y="15"/>
                    <a:pt x="1286" y="1"/>
                    <a:pt x="124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0" name="Google Shape;12790;p62"/>
            <p:cNvSpPr/>
            <p:nvPr/>
          </p:nvSpPr>
          <p:spPr>
            <a:xfrm>
              <a:off x="2212469" y="3622386"/>
              <a:ext cx="61924" cy="76586"/>
            </a:xfrm>
            <a:custGeom>
              <a:avLst/>
              <a:gdLst/>
              <a:ahLst/>
              <a:cxnLst/>
              <a:rect l="l" t="t" r="r" b="b"/>
              <a:pathLst>
                <a:path w="1947" h="2408" extrusionOk="0">
                  <a:moveTo>
                    <a:pt x="982" y="322"/>
                  </a:moveTo>
                  <a:lnTo>
                    <a:pt x="1447" y="1382"/>
                  </a:lnTo>
                  <a:cubicBezTo>
                    <a:pt x="1566" y="1680"/>
                    <a:pt x="1387" y="2084"/>
                    <a:pt x="970" y="2084"/>
                  </a:cubicBezTo>
                  <a:cubicBezTo>
                    <a:pt x="589" y="2084"/>
                    <a:pt x="387" y="1691"/>
                    <a:pt x="518" y="1382"/>
                  </a:cubicBezTo>
                  <a:lnTo>
                    <a:pt x="982" y="322"/>
                  </a:lnTo>
                  <a:close/>
                  <a:moveTo>
                    <a:pt x="975" y="1"/>
                  </a:moveTo>
                  <a:cubicBezTo>
                    <a:pt x="863" y="1"/>
                    <a:pt x="750" y="60"/>
                    <a:pt x="697" y="179"/>
                  </a:cubicBezTo>
                  <a:lnTo>
                    <a:pt x="220" y="1263"/>
                  </a:lnTo>
                  <a:cubicBezTo>
                    <a:pt x="0" y="1773"/>
                    <a:pt x="333" y="2407"/>
                    <a:pt x="977" y="2407"/>
                  </a:cubicBezTo>
                  <a:cubicBezTo>
                    <a:pt x="994" y="2407"/>
                    <a:pt x="1012" y="2407"/>
                    <a:pt x="1030" y="2406"/>
                  </a:cubicBezTo>
                  <a:cubicBezTo>
                    <a:pt x="1601" y="2382"/>
                    <a:pt x="1947" y="1775"/>
                    <a:pt x="1720" y="1263"/>
                  </a:cubicBezTo>
                  <a:lnTo>
                    <a:pt x="1244" y="179"/>
                  </a:lnTo>
                  <a:cubicBezTo>
                    <a:pt x="1197" y="60"/>
                    <a:pt x="1086" y="1"/>
                    <a:pt x="9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791" name="Google Shape;12791;p62"/>
          <p:cNvGrpSpPr/>
          <p:nvPr/>
        </p:nvGrpSpPr>
        <p:grpSpPr>
          <a:xfrm>
            <a:off x="1768821" y="3361108"/>
            <a:ext cx="278739" cy="339073"/>
            <a:chOff x="1768821" y="3361108"/>
            <a:chExt cx="278739" cy="339073"/>
          </a:xfrm>
        </p:grpSpPr>
        <p:sp>
          <p:nvSpPr>
            <p:cNvPr id="12792" name="Google Shape;12792;p62"/>
            <p:cNvSpPr/>
            <p:nvPr/>
          </p:nvSpPr>
          <p:spPr>
            <a:xfrm>
              <a:off x="1784374" y="3549744"/>
              <a:ext cx="32218" cy="21564"/>
            </a:xfrm>
            <a:custGeom>
              <a:avLst/>
              <a:gdLst/>
              <a:ahLst/>
              <a:cxnLst/>
              <a:rect l="l" t="t" r="r" b="b"/>
              <a:pathLst>
                <a:path w="1013" h="678" extrusionOk="0">
                  <a:moveTo>
                    <a:pt x="830" y="1"/>
                  </a:moveTo>
                  <a:cubicBezTo>
                    <a:pt x="804" y="1"/>
                    <a:pt x="776" y="8"/>
                    <a:pt x="750" y="23"/>
                  </a:cubicBezTo>
                  <a:lnTo>
                    <a:pt x="143" y="380"/>
                  </a:lnTo>
                  <a:cubicBezTo>
                    <a:pt x="0" y="451"/>
                    <a:pt x="48" y="677"/>
                    <a:pt x="214" y="677"/>
                  </a:cubicBezTo>
                  <a:cubicBezTo>
                    <a:pt x="238" y="677"/>
                    <a:pt x="274" y="677"/>
                    <a:pt x="286" y="665"/>
                  </a:cubicBezTo>
                  <a:lnTo>
                    <a:pt x="893" y="308"/>
                  </a:lnTo>
                  <a:cubicBezTo>
                    <a:pt x="1000" y="261"/>
                    <a:pt x="1012" y="154"/>
                    <a:pt x="976" y="82"/>
                  </a:cubicBezTo>
                  <a:cubicBezTo>
                    <a:pt x="944" y="33"/>
                    <a:pt x="889" y="1"/>
                    <a:pt x="8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3" name="Google Shape;12793;p62"/>
            <p:cNvSpPr/>
            <p:nvPr/>
          </p:nvSpPr>
          <p:spPr>
            <a:xfrm>
              <a:off x="1998326" y="3551652"/>
              <a:ext cx="32218" cy="21532"/>
            </a:xfrm>
            <a:custGeom>
              <a:avLst/>
              <a:gdLst/>
              <a:ahLst/>
              <a:cxnLst/>
              <a:rect l="l" t="t" r="r" b="b"/>
              <a:pathLst>
                <a:path w="1013" h="677" extrusionOk="0">
                  <a:moveTo>
                    <a:pt x="199" y="0"/>
                  </a:moveTo>
                  <a:cubicBezTo>
                    <a:pt x="141" y="0"/>
                    <a:pt x="80" y="33"/>
                    <a:pt x="48" y="82"/>
                  </a:cubicBezTo>
                  <a:cubicBezTo>
                    <a:pt x="0" y="153"/>
                    <a:pt x="36" y="260"/>
                    <a:pt x="107" y="308"/>
                  </a:cubicBezTo>
                  <a:cubicBezTo>
                    <a:pt x="726" y="665"/>
                    <a:pt x="714" y="677"/>
                    <a:pt x="810" y="677"/>
                  </a:cubicBezTo>
                  <a:cubicBezTo>
                    <a:pt x="953" y="677"/>
                    <a:pt x="1012" y="451"/>
                    <a:pt x="881" y="379"/>
                  </a:cubicBezTo>
                  <a:lnTo>
                    <a:pt x="274" y="22"/>
                  </a:lnTo>
                  <a:cubicBezTo>
                    <a:pt x="251" y="7"/>
                    <a:pt x="226" y="0"/>
                    <a:pt x="1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4" name="Google Shape;12794;p62"/>
            <p:cNvSpPr/>
            <p:nvPr/>
          </p:nvSpPr>
          <p:spPr>
            <a:xfrm>
              <a:off x="1826007" y="3466383"/>
              <a:ext cx="142041" cy="233799"/>
            </a:xfrm>
            <a:custGeom>
              <a:avLst/>
              <a:gdLst/>
              <a:ahLst/>
              <a:cxnLst/>
              <a:rect l="l" t="t" r="r" b="b"/>
              <a:pathLst>
                <a:path w="4466" h="7351" extrusionOk="0">
                  <a:moveTo>
                    <a:pt x="1715" y="346"/>
                  </a:moveTo>
                  <a:cubicBezTo>
                    <a:pt x="1882" y="346"/>
                    <a:pt x="2013" y="489"/>
                    <a:pt x="2013" y="643"/>
                  </a:cubicBezTo>
                  <a:lnTo>
                    <a:pt x="2013" y="941"/>
                  </a:lnTo>
                  <a:lnTo>
                    <a:pt x="1668" y="941"/>
                  </a:lnTo>
                  <a:cubicBezTo>
                    <a:pt x="1501" y="941"/>
                    <a:pt x="1370" y="810"/>
                    <a:pt x="1370" y="643"/>
                  </a:cubicBezTo>
                  <a:cubicBezTo>
                    <a:pt x="1370" y="489"/>
                    <a:pt x="1501" y="346"/>
                    <a:pt x="1668" y="346"/>
                  </a:cubicBezTo>
                  <a:close/>
                  <a:moveTo>
                    <a:pt x="3573" y="346"/>
                  </a:moveTo>
                  <a:cubicBezTo>
                    <a:pt x="3739" y="346"/>
                    <a:pt x="3870" y="489"/>
                    <a:pt x="3870" y="643"/>
                  </a:cubicBezTo>
                  <a:cubicBezTo>
                    <a:pt x="3870" y="810"/>
                    <a:pt x="3739" y="941"/>
                    <a:pt x="3573" y="941"/>
                  </a:cubicBezTo>
                  <a:lnTo>
                    <a:pt x="3239" y="941"/>
                  </a:lnTo>
                  <a:lnTo>
                    <a:pt x="3239" y="643"/>
                  </a:lnTo>
                  <a:cubicBezTo>
                    <a:pt x="3239" y="489"/>
                    <a:pt x="3370" y="346"/>
                    <a:pt x="3537" y="346"/>
                  </a:cubicBezTo>
                  <a:close/>
                  <a:moveTo>
                    <a:pt x="3727" y="4370"/>
                  </a:moveTo>
                  <a:lnTo>
                    <a:pt x="3727" y="5049"/>
                  </a:lnTo>
                  <a:lnTo>
                    <a:pt x="1513" y="5049"/>
                  </a:lnTo>
                  <a:lnTo>
                    <a:pt x="1513" y="4370"/>
                  </a:lnTo>
                  <a:close/>
                  <a:moveTo>
                    <a:pt x="3739" y="5370"/>
                  </a:moveTo>
                  <a:lnTo>
                    <a:pt x="3739" y="5799"/>
                  </a:lnTo>
                  <a:lnTo>
                    <a:pt x="3727" y="5799"/>
                  </a:lnTo>
                  <a:cubicBezTo>
                    <a:pt x="3727" y="5930"/>
                    <a:pt x="3620" y="6037"/>
                    <a:pt x="3489" y="6037"/>
                  </a:cubicBezTo>
                  <a:lnTo>
                    <a:pt x="1763" y="6037"/>
                  </a:lnTo>
                  <a:cubicBezTo>
                    <a:pt x="1620" y="6037"/>
                    <a:pt x="1525" y="5930"/>
                    <a:pt x="1525" y="5799"/>
                  </a:cubicBezTo>
                  <a:lnTo>
                    <a:pt x="1525" y="5370"/>
                  </a:lnTo>
                  <a:close/>
                  <a:moveTo>
                    <a:pt x="1656" y="0"/>
                  </a:moveTo>
                  <a:cubicBezTo>
                    <a:pt x="1310" y="0"/>
                    <a:pt x="1037" y="286"/>
                    <a:pt x="1037" y="631"/>
                  </a:cubicBezTo>
                  <a:cubicBezTo>
                    <a:pt x="1037" y="977"/>
                    <a:pt x="1310" y="1262"/>
                    <a:pt x="1656" y="1262"/>
                  </a:cubicBezTo>
                  <a:lnTo>
                    <a:pt x="2001" y="1262"/>
                  </a:lnTo>
                  <a:lnTo>
                    <a:pt x="2001" y="2548"/>
                  </a:lnTo>
                  <a:cubicBezTo>
                    <a:pt x="2001" y="2644"/>
                    <a:pt x="2072" y="2715"/>
                    <a:pt x="2168" y="2715"/>
                  </a:cubicBezTo>
                  <a:cubicBezTo>
                    <a:pt x="2251" y="2715"/>
                    <a:pt x="2322" y="2644"/>
                    <a:pt x="2322" y="2548"/>
                  </a:cubicBezTo>
                  <a:lnTo>
                    <a:pt x="2322" y="1262"/>
                  </a:lnTo>
                  <a:lnTo>
                    <a:pt x="2906" y="1262"/>
                  </a:lnTo>
                  <a:lnTo>
                    <a:pt x="2906" y="4037"/>
                  </a:lnTo>
                  <a:lnTo>
                    <a:pt x="2322" y="4037"/>
                  </a:lnTo>
                  <a:lnTo>
                    <a:pt x="2322" y="3191"/>
                  </a:lnTo>
                  <a:cubicBezTo>
                    <a:pt x="2322" y="3108"/>
                    <a:pt x="2251" y="3025"/>
                    <a:pt x="2168" y="3025"/>
                  </a:cubicBezTo>
                  <a:cubicBezTo>
                    <a:pt x="2072" y="3025"/>
                    <a:pt x="2001" y="3108"/>
                    <a:pt x="2001" y="3191"/>
                  </a:cubicBezTo>
                  <a:lnTo>
                    <a:pt x="2001" y="4060"/>
                  </a:lnTo>
                  <a:lnTo>
                    <a:pt x="1513" y="4060"/>
                  </a:lnTo>
                  <a:cubicBezTo>
                    <a:pt x="1489" y="3596"/>
                    <a:pt x="1298" y="3167"/>
                    <a:pt x="941" y="2846"/>
                  </a:cubicBezTo>
                  <a:cubicBezTo>
                    <a:pt x="679" y="2608"/>
                    <a:pt x="465" y="2310"/>
                    <a:pt x="334" y="1989"/>
                  </a:cubicBezTo>
                  <a:cubicBezTo>
                    <a:pt x="305" y="1930"/>
                    <a:pt x="235" y="1887"/>
                    <a:pt x="165" y="1887"/>
                  </a:cubicBezTo>
                  <a:cubicBezTo>
                    <a:pt x="150" y="1887"/>
                    <a:pt x="135" y="1889"/>
                    <a:pt x="120" y="1893"/>
                  </a:cubicBezTo>
                  <a:cubicBezTo>
                    <a:pt x="48" y="1929"/>
                    <a:pt x="1" y="2036"/>
                    <a:pt x="36" y="2108"/>
                  </a:cubicBezTo>
                  <a:cubicBezTo>
                    <a:pt x="179" y="2477"/>
                    <a:pt x="417" y="2810"/>
                    <a:pt x="715" y="3084"/>
                  </a:cubicBezTo>
                  <a:cubicBezTo>
                    <a:pt x="1001" y="3358"/>
                    <a:pt x="1179" y="3727"/>
                    <a:pt x="1179" y="4120"/>
                  </a:cubicBezTo>
                  <a:lnTo>
                    <a:pt x="1179" y="5823"/>
                  </a:lnTo>
                  <a:cubicBezTo>
                    <a:pt x="1179" y="6096"/>
                    <a:pt x="1358" y="6311"/>
                    <a:pt x="1608" y="6382"/>
                  </a:cubicBezTo>
                  <a:cubicBezTo>
                    <a:pt x="1608" y="6513"/>
                    <a:pt x="1644" y="6644"/>
                    <a:pt x="1703" y="6775"/>
                  </a:cubicBezTo>
                  <a:cubicBezTo>
                    <a:pt x="1738" y="6837"/>
                    <a:pt x="1793" y="6872"/>
                    <a:pt x="1848" y="6872"/>
                  </a:cubicBezTo>
                  <a:cubicBezTo>
                    <a:pt x="1868" y="6872"/>
                    <a:pt x="1887" y="6868"/>
                    <a:pt x="1906" y="6858"/>
                  </a:cubicBezTo>
                  <a:cubicBezTo>
                    <a:pt x="1989" y="6811"/>
                    <a:pt x="2025" y="6715"/>
                    <a:pt x="1989" y="6644"/>
                  </a:cubicBezTo>
                  <a:cubicBezTo>
                    <a:pt x="1953" y="6573"/>
                    <a:pt x="1930" y="6477"/>
                    <a:pt x="1930" y="6394"/>
                  </a:cubicBezTo>
                  <a:lnTo>
                    <a:pt x="3263" y="6394"/>
                  </a:lnTo>
                  <a:cubicBezTo>
                    <a:pt x="3243" y="6759"/>
                    <a:pt x="2922" y="7025"/>
                    <a:pt x="2575" y="7025"/>
                  </a:cubicBezTo>
                  <a:cubicBezTo>
                    <a:pt x="2503" y="7025"/>
                    <a:pt x="2430" y="7014"/>
                    <a:pt x="2358" y="6989"/>
                  </a:cubicBezTo>
                  <a:cubicBezTo>
                    <a:pt x="2336" y="6981"/>
                    <a:pt x="2314" y="6977"/>
                    <a:pt x="2294" y="6977"/>
                  </a:cubicBezTo>
                  <a:cubicBezTo>
                    <a:pt x="2227" y="6977"/>
                    <a:pt x="2171" y="7018"/>
                    <a:pt x="2144" y="7073"/>
                  </a:cubicBezTo>
                  <a:cubicBezTo>
                    <a:pt x="2120" y="7168"/>
                    <a:pt x="2168" y="7251"/>
                    <a:pt x="2239" y="7287"/>
                  </a:cubicBezTo>
                  <a:cubicBezTo>
                    <a:pt x="2356" y="7330"/>
                    <a:pt x="2473" y="7350"/>
                    <a:pt x="2588" y="7350"/>
                  </a:cubicBezTo>
                  <a:cubicBezTo>
                    <a:pt x="3106" y="7350"/>
                    <a:pt x="3563" y="6940"/>
                    <a:pt x="3573" y="6394"/>
                  </a:cubicBezTo>
                  <a:cubicBezTo>
                    <a:pt x="3835" y="6334"/>
                    <a:pt x="4013" y="6108"/>
                    <a:pt x="4013" y="5846"/>
                  </a:cubicBezTo>
                  <a:lnTo>
                    <a:pt x="4013" y="4156"/>
                  </a:lnTo>
                  <a:cubicBezTo>
                    <a:pt x="4013" y="3798"/>
                    <a:pt x="4144" y="3465"/>
                    <a:pt x="4370" y="3203"/>
                  </a:cubicBezTo>
                  <a:cubicBezTo>
                    <a:pt x="4466" y="3108"/>
                    <a:pt x="4454" y="3001"/>
                    <a:pt x="4394" y="2941"/>
                  </a:cubicBezTo>
                  <a:cubicBezTo>
                    <a:pt x="4366" y="2913"/>
                    <a:pt x="4326" y="2898"/>
                    <a:pt x="4287" y="2898"/>
                  </a:cubicBezTo>
                  <a:cubicBezTo>
                    <a:pt x="4243" y="2898"/>
                    <a:pt x="4199" y="2916"/>
                    <a:pt x="4168" y="2953"/>
                  </a:cubicBezTo>
                  <a:cubicBezTo>
                    <a:pt x="3906" y="3251"/>
                    <a:pt x="3739" y="3644"/>
                    <a:pt x="3727" y="4060"/>
                  </a:cubicBezTo>
                  <a:lnTo>
                    <a:pt x="3239" y="4060"/>
                  </a:lnTo>
                  <a:lnTo>
                    <a:pt x="3239" y="1262"/>
                  </a:lnTo>
                  <a:lnTo>
                    <a:pt x="3573" y="1262"/>
                  </a:lnTo>
                  <a:cubicBezTo>
                    <a:pt x="3918" y="1262"/>
                    <a:pt x="4204" y="977"/>
                    <a:pt x="4204" y="631"/>
                  </a:cubicBezTo>
                  <a:cubicBezTo>
                    <a:pt x="4204" y="286"/>
                    <a:pt x="3918" y="0"/>
                    <a:pt x="3573" y="0"/>
                  </a:cubicBezTo>
                  <a:lnTo>
                    <a:pt x="3537" y="0"/>
                  </a:lnTo>
                  <a:cubicBezTo>
                    <a:pt x="3192" y="0"/>
                    <a:pt x="2906" y="286"/>
                    <a:pt x="2906" y="631"/>
                  </a:cubicBezTo>
                  <a:lnTo>
                    <a:pt x="2906" y="929"/>
                  </a:lnTo>
                  <a:lnTo>
                    <a:pt x="2322" y="929"/>
                  </a:lnTo>
                  <a:lnTo>
                    <a:pt x="2322" y="631"/>
                  </a:lnTo>
                  <a:cubicBezTo>
                    <a:pt x="2322" y="286"/>
                    <a:pt x="2049"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5" name="Google Shape;12795;p62"/>
            <p:cNvSpPr/>
            <p:nvPr/>
          </p:nvSpPr>
          <p:spPr>
            <a:xfrm>
              <a:off x="1820345" y="3409706"/>
              <a:ext cx="177631" cy="144236"/>
            </a:xfrm>
            <a:custGeom>
              <a:avLst/>
              <a:gdLst/>
              <a:ahLst/>
              <a:cxnLst/>
              <a:rect l="l" t="t" r="r" b="b"/>
              <a:pathLst>
                <a:path w="5585" h="4535" extrusionOk="0">
                  <a:moveTo>
                    <a:pt x="2818" y="1"/>
                  </a:moveTo>
                  <a:cubicBezTo>
                    <a:pt x="1382" y="1"/>
                    <a:pt x="0" y="1113"/>
                    <a:pt x="0" y="2782"/>
                  </a:cubicBezTo>
                  <a:cubicBezTo>
                    <a:pt x="0" y="2937"/>
                    <a:pt x="24" y="3080"/>
                    <a:pt x="36" y="3223"/>
                  </a:cubicBezTo>
                  <a:cubicBezTo>
                    <a:pt x="47" y="3299"/>
                    <a:pt x="107" y="3355"/>
                    <a:pt x="190" y="3355"/>
                  </a:cubicBezTo>
                  <a:cubicBezTo>
                    <a:pt x="198" y="3355"/>
                    <a:pt x="206" y="3355"/>
                    <a:pt x="214" y="3354"/>
                  </a:cubicBezTo>
                  <a:cubicBezTo>
                    <a:pt x="298" y="3342"/>
                    <a:pt x="357" y="3259"/>
                    <a:pt x="345" y="3175"/>
                  </a:cubicBezTo>
                  <a:cubicBezTo>
                    <a:pt x="333" y="3044"/>
                    <a:pt x="310" y="2925"/>
                    <a:pt x="310" y="2782"/>
                  </a:cubicBezTo>
                  <a:cubicBezTo>
                    <a:pt x="310" y="1416"/>
                    <a:pt x="1429" y="318"/>
                    <a:pt x="2779" y="318"/>
                  </a:cubicBezTo>
                  <a:cubicBezTo>
                    <a:pt x="2793" y="318"/>
                    <a:pt x="2807" y="318"/>
                    <a:pt x="2822" y="318"/>
                  </a:cubicBezTo>
                  <a:cubicBezTo>
                    <a:pt x="4143" y="330"/>
                    <a:pt x="5227" y="1437"/>
                    <a:pt x="5239" y="2759"/>
                  </a:cubicBezTo>
                  <a:lnTo>
                    <a:pt x="5239" y="2782"/>
                  </a:lnTo>
                  <a:cubicBezTo>
                    <a:pt x="5239" y="3318"/>
                    <a:pt x="5060" y="3842"/>
                    <a:pt x="4751" y="4271"/>
                  </a:cubicBezTo>
                  <a:cubicBezTo>
                    <a:pt x="4691" y="4354"/>
                    <a:pt x="4703" y="4437"/>
                    <a:pt x="4775" y="4497"/>
                  </a:cubicBezTo>
                  <a:cubicBezTo>
                    <a:pt x="4809" y="4522"/>
                    <a:pt x="4844" y="4534"/>
                    <a:pt x="4877" y="4534"/>
                  </a:cubicBezTo>
                  <a:cubicBezTo>
                    <a:pt x="4923" y="4534"/>
                    <a:pt x="4966" y="4510"/>
                    <a:pt x="5001" y="4461"/>
                  </a:cubicBezTo>
                  <a:cubicBezTo>
                    <a:pt x="5370" y="3973"/>
                    <a:pt x="5572" y="3390"/>
                    <a:pt x="5572" y="2782"/>
                  </a:cubicBezTo>
                  <a:cubicBezTo>
                    <a:pt x="5584" y="2782"/>
                    <a:pt x="5584" y="2771"/>
                    <a:pt x="5584" y="2759"/>
                  </a:cubicBezTo>
                  <a:cubicBezTo>
                    <a:pt x="5572" y="2032"/>
                    <a:pt x="5286" y="1342"/>
                    <a:pt x="4763" y="818"/>
                  </a:cubicBezTo>
                  <a:cubicBezTo>
                    <a:pt x="4198" y="253"/>
                    <a:pt x="3502" y="1"/>
                    <a:pt x="28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6" name="Google Shape;12796;p62"/>
            <p:cNvSpPr/>
            <p:nvPr/>
          </p:nvSpPr>
          <p:spPr>
            <a:xfrm>
              <a:off x="1904406" y="3361108"/>
              <a:ext cx="10241" cy="32982"/>
            </a:xfrm>
            <a:custGeom>
              <a:avLst/>
              <a:gdLst/>
              <a:ahLst/>
              <a:cxnLst/>
              <a:rect l="l" t="t" r="r" b="b"/>
              <a:pathLst>
                <a:path w="322" h="1037" extrusionOk="0">
                  <a:moveTo>
                    <a:pt x="155" y="0"/>
                  </a:moveTo>
                  <a:cubicBezTo>
                    <a:pt x="72" y="0"/>
                    <a:pt x="0" y="72"/>
                    <a:pt x="0" y="167"/>
                  </a:cubicBezTo>
                  <a:lnTo>
                    <a:pt x="0" y="870"/>
                  </a:lnTo>
                  <a:cubicBezTo>
                    <a:pt x="0" y="965"/>
                    <a:pt x="72" y="1036"/>
                    <a:pt x="155" y="1036"/>
                  </a:cubicBezTo>
                  <a:cubicBezTo>
                    <a:pt x="250" y="1036"/>
                    <a:pt x="322" y="965"/>
                    <a:pt x="322" y="870"/>
                  </a:cubicBezTo>
                  <a:lnTo>
                    <a:pt x="322" y="167"/>
                  </a:lnTo>
                  <a:cubicBezTo>
                    <a:pt x="310" y="60"/>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7" name="Google Shape;12797;p62"/>
            <p:cNvSpPr/>
            <p:nvPr/>
          </p:nvSpPr>
          <p:spPr>
            <a:xfrm>
              <a:off x="1836248" y="3378219"/>
              <a:ext cx="23504" cy="29865"/>
            </a:xfrm>
            <a:custGeom>
              <a:avLst/>
              <a:gdLst/>
              <a:ahLst/>
              <a:cxnLst/>
              <a:rect l="l" t="t" r="r" b="b"/>
              <a:pathLst>
                <a:path w="739" h="939" extrusionOk="0">
                  <a:moveTo>
                    <a:pt x="181" y="0"/>
                  </a:moveTo>
                  <a:cubicBezTo>
                    <a:pt x="154" y="0"/>
                    <a:pt x="125" y="7"/>
                    <a:pt x="95" y="22"/>
                  </a:cubicBezTo>
                  <a:cubicBezTo>
                    <a:pt x="24" y="70"/>
                    <a:pt x="0" y="165"/>
                    <a:pt x="36" y="248"/>
                  </a:cubicBezTo>
                  <a:lnTo>
                    <a:pt x="393" y="855"/>
                  </a:lnTo>
                  <a:cubicBezTo>
                    <a:pt x="429" y="903"/>
                    <a:pt x="488" y="939"/>
                    <a:pt x="536" y="939"/>
                  </a:cubicBezTo>
                  <a:cubicBezTo>
                    <a:pt x="667" y="939"/>
                    <a:pt x="738" y="796"/>
                    <a:pt x="679" y="701"/>
                  </a:cubicBezTo>
                  <a:lnTo>
                    <a:pt x="322" y="82"/>
                  </a:lnTo>
                  <a:cubicBezTo>
                    <a:pt x="289" y="33"/>
                    <a:pt x="23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8" name="Google Shape;12798;p62"/>
            <p:cNvSpPr/>
            <p:nvPr/>
          </p:nvSpPr>
          <p:spPr>
            <a:xfrm>
              <a:off x="1787014" y="3427072"/>
              <a:ext cx="31073" cy="21691"/>
            </a:xfrm>
            <a:custGeom>
              <a:avLst/>
              <a:gdLst/>
              <a:ahLst/>
              <a:cxnLst/>
              <a:rect l="l" t="t" r="r" b="b"/>
              <a:pathLst>
                <a:path w="977" h="682" extrusionOk="0">
                  <a:moveTo>
                    <a:pt x="187" y="0"/>
                  </a:moveTo>
                  <a:cubicBezTo>
                    <a:pt x="129" y="0"/>
                    <a:pt x="69" y="32"/>
                    <a:pt x="36" y="81"/>
                  </a:cubicBezTo>
                  <a:cubicBezTo>
                    <a:pt x="0" y="153"/>
                    <a:pt x="24" y="260"/>
                    <a:pt x="96" y="308"/>
                  </a:cubicBezTo>
                  <a:lnTo>
                    <a:pt x="715" y="665"/>
                  </a:lnTo>
                  <a:cubicBezTo>
                    <a:pt x="737" y="676"/>
                    <a:pt x="762" y="681"/>
                    <a:pt x="788" y="681"/>
                  </a:cubicBezTo>
                  <a:cubicBezTo>
                    <a:pt x="846" y="681"/>
                    <a:pt x="904" y="655"/>
                    <a:pt x="929" y="605"/>
                  </a:cubicBezTo>
                  <a:cubicBezTo>
                    <a:pt x="977" y="510"/>
                    <a:pt x="953" y="427"/>
                    <a:pt x="870" y="379"/>
                  </a:cubicBezTo>
                  <a:lnTo>
                    <a:pt x="262" y="22"/>
                  </a:lnTo>
                  <a:cubicBezTo>
                    <a:pt x="240" y="7"/>
                    <a:pt x="214" y="0"/>
                    <a:pt x="1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9" name="Google Shape;12799;p62"/>
            <p:cNvSpPr/>
            <p:nvPr/>
          </p:nvSpPr>
          <p:spPr>
            <a:xfrm>
              <a:off x="1768821" y="3494021"/>
              <a:ext cx="33363" cy="10623"/>
            </a:xfrm>
            <a:custGeom>
              <a:avLst/>
              <a:gdLst/>
              <a:ahLst/>
              <a:cxnLst/>
              <a:rect l="l" t="t" r="r" b="b"/>
              <a:pathLst>
                <a:path w="1049" h="334" extrusionOk="0">
                  <a:moveTo>
                    <a:pt x="168" y="1"/>
                  </a:moveTo>
                  <a:cubicBezTo>
                    <a:pt x="72" y="1"/>
                    <a:pt x="1" y="72"/>
                    <a:pt x="1" y="167"/>
                  </a:cubicBezTo>
                  <a:cubicBezTo>
                    <a:pt x="1" y="251"/>
                    <a:pt x="72" y="334"/>
                    <a:pt x="168" y="334"/>
                  </a:cubicBezTo>
                  <a:lnTo>
                    <a:pt x="882" y="334"/>
                  </a:lnTo>
                  <a:cubicBezTo>
                    <a:pt x="965" y="334"/>
                    <a:pt x="1049" y="251"/>
                    <a:pt x="1049" y="167"/>
                  </a:cubicBezTo>
                  <a:cubicBezTo>
                    <a:pt x="1049" y="72"/>
                    <a:pt x="965" y="1"/>
                    <a:pt x="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0" name="Google Shape;12800;p62"/>
            <p:cNvSpPr/>
            <p:nvPr/>
          </p:nvSpPr>
          <p:spPr>
            <a:xfrm>
              <a:off x="2014610" y="3495930"/>
              <a:ext cx="32950" cy="10623"/>
            </a:xfrm>
            <a:custGeom>
              <a:avLst/>
              <a:gdLst/>
              <a:ahLst/>
              <a:cxnLst/>
              <a:rect l="l" t="t" r="r" b="b"/>
              <a:pathLst>
                <a:path w="1036" h="334" extrusionOk="0">
                  <a:moveTo>
                    <a:pt x="167" y="0"/>
                  </a:moveTo>
                  <a:cubicBezTo>
                    <a:pt x="71" y="0"/>
                    <a:pt x="0" y="71"/>
                    <a:pt x="0" y="167"/>
                  </a:cubicBezTo>
                  <a:cubicBezTo>
                    <a:pt x="0" y="250"/>
                    <a:pt x="71" y="333"/>
                    <a:pt x="167" y="333"/>
                  </a:cubicBezTo>
                  <a:lnTo>
                    <a:pt x="881" y="333"/>
                  </a:lnTo>
                  <a:cubicBezTo>
                    <a:pt x="964" y="333"/>
                    <a:pt x="1036" y="250"/>
                    <a:pt x="1036" y="167"/>
                  </a:cubicBezTo>
                  <a:cubicBezTo>
                    <a:pt x="1024" y="71"/>
                    <a:pt x="953"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1" name="Google Shape;12801;p62"/>
            <p:cNvSpPr/>
            <p:nvPr/>
          </p:nvSpPr>
          <p:spPr>
            <a:xfrm>
              <a:off x="1999439" y="3428948"/>
              <a:ext cx="31105" cy="21882"/>
            </a:xfrm>
            <a:custGeom>
              <a:avLst/>
              <a:gdLst/>
              <a:ahLst/>
              <a:cxnLst/>
              <a:rect l="l" t="t" r="r" b="b"/>
              <a:pathLst>
                <a:path w="978" h="688" extrusionOk="0">
                  <a:moveTo>
                    <a:pt x="795" y="1"/>
                  </a:moveTo>
                  <a:cubicBezTo>
                    <a:pt x="769" y="1"/>
                    <a:pt x="741" y="8"/>
                    <a:pt x="715" y="22"/>
                  </a:cubicBezTo>
                  <a:lnTo>
                    <a:pt x="108" y="380"/>
                  </a:lnTo>
                  <a:cubicBezTo>
                    <a:pt x="25" y="427"/>
                    <a:pt x="1" y="511"/>
                    <a:pt x="48" y="606"/>
                  </a:cubicBezTo>
                  <a:cubicBezTo>
                    <a:pt x="73" y="655"/>
                    <a:pt x="125" y="687"/>
                    <a:pt x="183" y="687"/>
                  </a:cubicBezTo>
                  <a:cubicBezTo>
                    <a:pt x="209" y="687"/>
                    <a:pt x="237" y="680"/>
                    <a:pt x="263" y="665"/>
                  </a:cubicBezTo>
                  <a:lnTo>
                    <a:pt x="882" y="308"/>
                  </a:lnTo>
                  <a:cubicBezTo>
                    <a:pt x="953" y="249"/>
                    <a:pt x="977" y="153"/>
                    <a:pt x="941" y="82"/>
                  </a:cubicBezTo>
                  <a:cubicBezTo>
                    <a:pt x="909" y="33"/>
                    <a:pt x="854" y="1"/>
                    <a:pt x="7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2" name="Google Shape;12802;p62"/>
            <p:cNvSpPr/>
            <p:nvPr/>
          </p:nvSpPr>
          <p:spPr>
            <a:xfrm>
              <a:off x="1958156" y="3379269"/>
              <a:ext cx="23917" cy="29579"/>
            </a:xfrm>
            <a:custGeom>
              <a:avLst/>
              <a:gdLst/>
              <a:ahLst/>
              <a:cxnLst/>
              <a:rect l="l" t="t" r="r" b="b"/>
              <a:pathLst>
                <a:path w="752" h="930" extrusionOk="0">
                  <a:moveTo>
                    <a:pt x="562" y="0"/>
                  </a:moveTo>
                  <a:cubicBezTo>
                    <a:pt x="506" y="0"/>
                    <a:pt x="449" y="30"/>
                    <a:pt x="418" y="84"/>
                  </a:cubicBezTo>
                  <a:lnTo>
                    <a:pt x="61" y="691"/>
                  </a:lnTo>
                  <a:cubicBezTo>
                    <a:pt x="1" y="799"/>
                    <a:pt x="72" y="930"/>
                    <a:pt x="191" y="930"/>
                  </a:cubicBezTo>
                  <a:cubicBezTo>
                    <a:pt x="251" y="930"/>
                    <a:pt x="299" y="894"/>
                    <a:pt x="334" y="858"/>
                  </a:cubicBezTo>
                  <a:lnTo>
                    <a:pt x="692" y="239"/>
                  </a:lnTo>
                  <a:cubicBezTo>
                    <a:pt x="751" y="168"/>
                    <a:pt x="715" y="72"/>
                    <a:pt x="644" y="25"/>
                  </a:cubicBezTo>
                  <a:cubicBezTo>
                    <a:pt x="619" y="8"/>
                    <a:pt x="591" y="0"/>
                    <a:pt x="5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3" name="Google Shape;12803;p62"/>
          <p:cNvGrpSpPr/>
          <p:nvPr/>
        </p:nvGrpSpPr>
        <p:grpSpPr>
          <a:xfrm>
            <a:off x="5337883" y="3336873"/>
            <a:ext cx="307141" cy="376826"/>
            <a:chOff x="5337883" y="3336873"/>
            <a:chExt cx="307141" cy="376826"/>
          </a:xfrm>
        </p:grpSpPr>
        <p:sp>
          <p:nvSpPr>
            <p:cNvPr id="12804" name="Google Shape;12804;p62"/>
            <p:cNvSpPr/>
            <p:nvPr/>
          </p:nvSpPr>
          <p:spPr>
            <a:xfrm>
              <a:off x="5405659" y="3336873"/>
              <a:ext cx="223844" cy="125375"/>
            </a:xfrm>
            <a:custGeom>
              <a:avLst/>
              <a:gdLst/>
              <a:ahLst/>
              <a:cxnLst/>
              <a:rect l="l" t="t" r="r" b="b"/>
              <a:pathLst>
                <a:path w="7038" h="3942" extrusionOk="0">
                  <a:moveTo>
                    <a:pt x="2882" y="346"/>
                  </a:moveTo>
                  <a:lnTo>
                    <a:pt x="2882" y="679"/>
                  </a:lnTo>
                  <a:lnTo>
                    <a:pt x="2429" y="679"/>
                  </a:lnTo>
                  <a:lnTo>
                    <a:pt x="2429" y="346"/>
                  </a:lnTo>
                  <a:close/>
                  <a:moveTo>
                    <a:pt x="3501" y="1036"/>
                  </a:moveTo>
                  <a:lnTo>
                    <a:pt x="3501" y="1227"/>
                  </a:lnTo>
                  <a:lnTo>
                    <a:pt x="3513" y="1227"/>
                  </a:lnTo>
                  <a:lnTo>
                    <a:pt x="3513" y="1405"/>
                  </a:lnTo>
                  <a:lnTo>
                    <a:pt x="1798" y="1405"/>
                  </a:lnTo>
                  <a:lnTo>
                    <a:pt x="1798" y="1227"/>
                  </a:lnTo>
                  <a:lnTo>
                    <a:pt x="1798" y="1036"/>
                  </a:lnTo>
                  <a:close/>
                  <a:moveTo>
                    <a:pt x="2334" y="0"/>
                  </a:moveTo>
                  <a:cubicBezTo>
                    <a:pt x="2191" y="0"/>
                    <a:pt x="2072" y="119"/>
                    <a:pt x="2072" y="274"/>
                  </a:cubicBezTo>
                  <a:lnTo>
                    <a:pt x="2072" y="703"/>
                  </a:lnTo>
                  <a:lnTo>
                    <a:pt x="1691" y="703"/>
                  </a:lnTo>
                  <a:cubicBezTo>
                    <a:pt x="1560" y="703"/>
                    <a:pt x="1441" y="810"/>
                    <a:pt x="1441" y="953"/>
                  </a:cubicBezTo>
                  <a:lnTo>
                    <a:pt x="1441" y="1060"/>
                  </a:lnTo>
                  <a:lnTo>
                    <a:pt x="179" y="1060"/>
                  </a:lnTo>
                  <a:cubicBezTo>
                    <a:pt x="84" y="1060"/>
                    <a:pt x="0" y="1132"/>
                    <a:pt x="0" y="1239"/>
                  </a:cubicBezTo>
                  <a:cubicBezTo>
                    <a:pt x="0" y="1346"/>
                    <a:pt x="72" y="1417"/>
                    <a:pt x="179" y="1417"/>
                  </a:cubicBezTo>
                  <a:lnTo>
                    <a:pt x="1441" y="1417"/>
                  </a:lnTo>
                  <a:lnTo>
                    <a:pt x="1441" y="1524"/>
                  </a:lnTo>
                  <a:cubicBezTo>
                    <a:pt x="1441" y="1655"/>
                    <a:pt x="1548" y="1774"/>
                    <a:pt x="1691" y="1774"/>
                  </a:cubicBezTo>
                  <a:lnTo>
                    <a:pt x="3596" y="1774"/>
                  </a:lnTo>
                  <a:cubicBezTo>
                    <a:pt x="3739" y="1774"/>
                    <a:pt x="3858" y="1667"/>
                    <a:pt x="3858" y="1524"/>
                  </a:cubicBezTo>
                  <a:lnTo>
                    <a:pt x="3858" y="1417"/>
                  </a:lnTo>
                  <a:lnTo>
                    <a:pt x="6680" y="1417"/>
                  </a:lnTo>
                  <a:lnTo>
                    <a:pt x="6680" y="3763"/>
                  </a:lnTo>
                  <a:cubicBezTo>
                    <a:pt x="6680" y="3858"/>
                    <a:pt x="6751" y="3941"/>
                    <a:pt x="6858" y="3941"/>
                  </a:cubicBezTo>
                  <a:cubicBezTo>
                    <a:pt x="6954" y="3941"/>
                    <a:pt x="7037" y="3870"/>
                    <a:pt x="7037" y="3763"/>
                  </a:cubicBezTo>
                  <a:lnTo>
                    <a:pt x="7037" y="1417"/>
                  </a:lnTo>
                  <a:cubicBezTo>
                    <a:pt x="7025" y="1191"/>
                    <a:pt x="6870" y="1048"/>
                    <a:pt x="6680" y="1048"/>
                  </a:cubicBezTo>
                  <a:lnTo>
                    <a:pt x="3858" y="1048"/>
                  </a:lnTo>
                  <a:lnTo>
                    <a:pt x="3858" y="941"/>
                  </a:lnTo>
                  <a:cubicBezTo>
                    <a:pt x="3858" y="810"/>
                    <a:pt x="3751" y="679"/>
                    <a:pt x="3596" y="679"/>
                  </a:cubicBezTo>
                  <a:lnTo>
                    <a:pt x="3227" y="679"/>
                  </a:lnTo>
                  <a:lnTo>
                    <a:pt x="3227" y="274"/>
                  </a:lnTo>
                  <a:cubicBezTo>
                    <a:pt x="3227" y="119"/>
                    <a:pt x="310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5" name="Google Shape;12805;p62"/>
            <p:cNvSpPr/>
            <p:nvPr/>
          </p:nvSpPr>
          <p:spPr>
            <a:xfrm>
              <a:off x="5337883" y="3369060"/>
              <a:ext cx="307141" cy="344639"/>
            </a:xfrm>
            <a:custGeom>
              <a:avLst/>
              <a:gdLst/>
              <a:ahLst/>
              <a:cxnLst/>
              <a:rect l="l" t="t" r="r" b="b"/>
              <a:pathLst>
                <a:path w="9657" h="10836" extrusionOk="0">
                  <a:moveTo>
                    <a:pt x="5811" y="1774"/>
                  </a:moveTo>
                  <a:lnTo>
                    <a:pt x="6370" y="2572"/>
                  </a:lnTo>
                  <a:lnTo>
                    <a:pt x="6144" y="2453"/>
                  </a:lnTo>
                  <a:cubicBezTo>
                    <a:pt x="6119" y="2445"/>
                    <a:pt x="6087" y="2436"/>
                    <a:pt x="6054" y="2436"/>
                  </a:cubicBezTo>
                  <a:cubicBezTo>
                    <a:pt x="6041" y="2436"/>
                    <a:pt x="6027" y="2438"/>
                    <a:pt x="6013" y="2441"/>
                  </a:cubicBezTo>
                  <a:cubicBezTo>
                    <a:pt x="5965" y="2453"/>
                    <a:pt x="5941" y="2489"/>
                    <a:pt x="5906" y="2536"/>
                  </a:cubicBezTo>
                  <a:lnTo>
                    <a:pt x="5775" y="2798"/>
                  </a:lnTo>
                  <a:lnTo>
                    <a:pt x="5596" y="2548"/>
                  </a:lnTo>
                  <a:cubicBezTo>
                    <a:pt x="5560" y="2501"/>
                    <a:pt x="5501" y="2465"/>
                    <a:pt x="5465" y="2465"/>
                  </a:cubicBezTo>
                  <a:cubicBezTo>
                    <a:pt x="5441" y="2465"/>
                    <a:pt x="5430" y="2465"/>
                    <a:pt x="5406" y="2489"/>
                  </a:cubicBezTo>
                  <a:lnTo>
                    <a:pt x="5203" y="2548"/>
                  </a:lnTo>
                  <a:lnTo>
                    <a:pt x="5811" y="1774"/>
                  </a:lnTo>
                  <a:close/>
                  <a:moveTo>
                    <a:pt x="2870" y="3346"/>
                  </a:moveTo>
                  <a:lnTo>
                    <a:pt x="3179" y="3787"/>
                  </a:lnTo>
                  <a:lnTo>
                    <a:pt x="2905" y="4049"/>
                  </a:lnTo>
                  <a:lnTo>
                    <a:pt x="2798" y="3906"/>
                  </a:lnTo>
                  <a:cubicBezTo>
                    <a:pt x="2763" y="3858"/>
                    <a:pt x="2703" y="3822"/>
                    <a:pt x="2643" y="3822"/>
                  </a:cubicBezTo>
                  <a:lnTo>
                    <a:pt x="2620" y="3822"/>
                  </a:lnTo>
                  <a:lnTo>
                    <a:pt x="2453" y="3858"/>
                  </a:lnTo>
                  <a:lnTo>
                    <a:pt x="2501" y="3822"/>
                  </a:lnTo>
                  <a:lnTo>
                    <a:pt x="2870" y="3346"/>
                  </a:lnTo>
                  <a:close/>
                  <a:moveTo>
                    <a:pt x="6084" y="2870"/>
                  </a:moveTo>
                  <a:lnTo>
                    <a:pt x="6763" y="3227"/>
                  </a:lnTo>
                  <a:lnTo>
                    <a:pt x="7870" y="4811"/>
                  </a:lnTo>
                  <a:lnTo>
                    <a:pt x="1679" y="4811"/>
                  </a:lnTo>
                  <a:lnTo>
                    <a:pt x="2143" y="4275"/>
                  </a:lnTo>
                  <a:lnTo>
                    <a:pt x="2572" y="4203"/>
                  </a:lnTo>
                  <a:lnTo>
                    <a:pt x="2727" y="4418"/>
                  </a:lnTo>
                  <a:cubicBezTo>
                    <a:pt x="2751" y="4465"/>
                    <a:pt x="2798" y="4501"/>
                    <a:pt x="2846" y="4501"/>
                  </a:cubicBezTo>
                  <a:lnTo>
                    <a:pt x="2858" y="4501"/>
                  </a:lnTo>
                  <a:cubicBezTo>
                    <a:pt x="2905" y="4501"/>
                    <a:pt x="2941" y="4477"/>
                    <a:pt x="2977" y="4453"/>
                  </a:cubicBezTo>
                  <a:lnTo>
                    <a:pt x="3358" y="4084"/>
                  </a:lnTo>
                  <a:lnTo>
                    <a:pt x="3525" y="4322"/>
                  </a:lnTo>
                  <a:cubicBezTo>
                    <a:pt x="3560" y="4358"/>
                    <a:pt x="3620" y="4394"/>
                    <a:pt x="3655" y="4394"/>
                  </a:cubicBezTo>
                  <a:cubicBezTo>
                    <a:pt x="3727" y="4394"/>
                    <a:pt x="3763" y="4358"/>
                    <a:pt x="3798" y="4334"/>
                  </a:cubicBezTo>
                  <a:lnTo>
                    <a:pt x="4798" y="3048"/>
                  </a:lnTo>
                  <a:lnTo>
                    <a:pt x="5346" y="2870"/>
                  </a:lnTo>
                  <a:lnTo>
                    <a:pt x="5632" y="3263"/>
                  </a:lnTo>
                  <a:cubicBezTo>
                    <a:pt x="5656" y="3310"/>
                    <a:pt x="5715" y="3334"/>
                    <a:pt x="5763" y="3334"/>
                  </a:cubicBezTo>
                  <a:lnTo>
                    <a:pt x="5775" y="3334"/>
                  </a:lnTo>
                  <a:cubicBezTo>
                    <a:pt x="5834" y="3334"/>
                    <a:pt x="5894" y="3287"/>
                    <a:pt x="5906" y="3227"/>
                  </a:cubicBezTo>
                  <a:lnTo>
                    <a:pt x="6084" y="2870"/>
                  </a:lnTo>
                  <a:close/>
                  <a:moveTo>
                    <a:pt x="8811" y="5132"/>
                  </a:moveTo>
                  <a:lnTo>
                    <a:pt x="8811" y="5537"/>
                  </a:lnTo>
                  <a:lnTo>
                    <a:pt x="750" y="5537"/>
                  </a:lnTo>
                  <a:lnTo>
                    <a:pt x="750" y="5132"/>
                  </a:lnTo>
                  <a:close/>
                  <a:moveTo>
                    <a:pt x="9263" y="5882"/>
                  </a:moveTo>
                  <a:lnTo>
                    <a:pt x="9263" y="6239"/>
                  </a:lnTo>
                  <a:lnTo>
                    <a:pt x="298" y="6239"/>
                  </a:lnTo>
                  <a:lnTo>
                    <a:pt x="298" y="5882"/>
                  </a:lnTo>
                  <a:close/>
                  <a:moveTo>
                    <a:pt x="4239" y="6597"/>
                  </a:moveTo>
                  <a:lnTo>
                    <a:pt x="4239" y="7620"/>
                  </a:lnTo>
                  <a:lnTo>
                    <a:pt x="3167" y="7620"/>
                  </a:lnTo>
                  <a:lnTo>
                    <a:pt x="3465" y="6597"/>
                  </a:lnTo>
                  <a:close/>
                  <a:moveTo>
                    <a:pt x="6084" y="6597"/>
                  </a:moveTo>
                  <a:lnTo>
                    <a:pt x="6382" y="7620"/>
                  </a:lnTo>
                  <a:lnTo>
                    <a:pt x="5310" y="7620"/>
                  </a:lnTo>
                  <a:lnTo>
                    <a:pt x="5310" y="6597"/>
                  </a:lnTo>
                  <a:close/>
                  <a:moveTo>
                    <a:pt x="4941" y="6597"/>
                  </a:moveTo>
                  <a:lnTo>
                    <a:pt x="4941" y="9466"/>
                  </a:lnTo>
                  <a:lnTo>
                    <a:pt x="4953" y="9466"/>
                  </a:lnTo>
                  <a:lnTo>
                    <a:pt x="4596" y="9478"/>
                  </a:lnTo>
                  <a:cubicBezTo>
                    <a:pt x="4596" y="9478"/>
                    <a:pt x="4584" y="9478"/>
                    <a:pt x="4584" y="9466"/>
                  </a:cubicBezTo>
                  <a:lnTo>
                    <a:pt x="4584" y="6597"/>
                  </a:lnTo>
                  <a:close/>
                  <a:moveTo>
                    <a:pt x="3132" y="6585"/>
                  </a:moveTo>
                  <a:lnTo>
                    <a:pt x="1965" y="10514"/>
                  </a:lnTo>
                  <a:lnTo>
                    <a:pt x="1584" y="10514"/>
                  </a:lnTo>
                  <a:lnTo>
                    <a:pt x="1584" y="10490"/>
                  </a:lnTo>
                  <a:lnTo>
                    <a:pt x="2727" y="6585"/>
                  </a:lnTo>
                  <a:close/>
                  <a:moveTo>
                    <a:pt x="6846" y="6597"/>
                  </a:moveTo>
                  <a:lnTo>
                    <a:pt x="7989" y="10514"/>
                  </a:lnTo>
                  <a:lnTo>
                    <a:pt x="7608" y="10526"/>
                  </a:lnTo>
                  <a:lnTo>
                    <a:pt x="7596" y="10526"/>
                  </a:lnTo>
                  <a:lnTo>
                    <a:pt x="6442" y="6597"/>
                  </a:lnTo>
                  <a:close/>
                  <a:moveTo>
                    <a:pt x="786" y="0"/>
                  </a:moveTo>
                  <a:cubicBezTo>
                    <a:pt x="596" y="0"/>
                    <a:pt x="453" y="143"/>
                    <a:pt x="453" y="346"/>
                  </a:cubicBezTo>
                  <a:lnTo>
                    <a:pt x="453" y="5501"/>
                  </a:lnTo>
                  <a:lnTo>
                    <a:pt x="298" y="5501"/>
                  </a:lnTo>
                  <a:cubicBezTo>
                    <a:pt x="131" y="5501"/>
                    <a:pt x="0" y="5644"/>
                    <a:pt x="0" y="5799"/>
                  </a:cubicBezTo>
                  <a:lnTo>
                    <a:pt x="0" y="6251"/>
                  </a:lnTo>
                  <a:cubicBezTo>
                    <a:pt x="0" y="6418"/>
                    <a:pt x="131" y="6549"/>
                    <a:pt x="298" y="6549"/>
                  </a:cubicBezTo>
                  <a:lnTo>
                    <a:pt x="2393" y="6549"/>
                  </a:lnTo>
                  <a:lnTo>
                    <a:pt x="1286" y="10371"/>
                  </a:lnTo>
                  <a:cubicBezTo>
                    <a:pt x="1250" y="10478"/>
                    <a:pt x="1262" y="10597"/>
                    <a:pt x="1346" y="10680"/>
                  </a:cubicBezTo>
                  <a:cubicBezTo>
                    <a:pt x="1417" y="10776"/>
                    <a:pt x="1524" y="10835"/>
                    <a:pt x="1620" y="10835"/>
                  </a:cubicBezTo>
                  <a:lnTo>
                    <a:pt x="2012" y="10835"/>
                  </a:lnTo>
                  <a:cubicBezTo>
                    <a:pt x="2179" y="10835"/>
                    <a:pt x="2310" y="10728"/>
                    <a:pt x="2358" y="10585"/>
                  </a:cubicBezTo>
                  <a:lnTo>
                    <a:pt x="3132" y="7930"/>
                  </a:lnTo>
                  <a:lnTo>
                    <a:pt x="4298" y="7930"/>
                  </a:lnTo>
                  <a:lnTo>
                    <a:pt x="4298" y="9430"/>
                  </a:lnTo>
                  <a:cubicBezTo>
                    <a:pt x="4298" y="9633"/>
                    <a:pt x="4465" y="9787"/>
                    <a:pt x="4656" y="9787"/>
                  </a:cubicBezTo>
                  <a:lnTo>
                    <a:pt x="5001" y="9787"/>
                  </a:lnTo>
                  <a:cubicBezTo>
                    <a:pt x="5191" y="9787"/>
                    <a:pt x="5358" y="9633"/>
                    <a:pt x="5358" y="9430"/>
                  </a:cubicBezTo>
                  <a:lnTo>
                    <a:pt x="5358" y="7930"/>
                  </a:lnTo>
                  <a:lnTo>
                    <a:pt x="6537" y="7930"/>
                  </a:lnTo>
                  <a:lnTo>
                    <a:pt x="7311" y="10585"/>
                  </a:lnTo>
                  <a:cubicBezTo>
                    <a:pt x="7358" y="10728"/>
                    <a:pt x="7489" y="10835"/>
                    <a:pt x="7656" y="10835"/>
                  </a:cubicBezTo>
                  <a:lnTo>
                    <a:pt x="8037" y="10835"/>
                  </a:lnTo>
                  <a:cubicBezTo>
                    <a:pt x="8156" y="10835"/>
                    <a:pt x="8263" y="10787"/>
                    <a:pt x="8323" y="10680"/>
                  </a:cubicBezTo>
                  <a:cubicBezTo>
                    <a:pt x="8394" y="10597"/>
                    <a:pt x="8406" y="10478"/>
                    <a:pt x="8382" y="10371"/>
                  </a:cubicBezTo>
                  <a:lnTo>
                    <a:pt x="7263" y="6549"/>
                  </a:lnTo>
                  <a:lnTo>
                    <a:pt x="9359" y="6549"/>
                  </a:lnTo>
                  <a:cubicBezTo>
                    <a:pt x="9525" y="6549"/>
                    <a:pt x="9656" y="6418"/>
                    <a:pt x="9656" y="6251"/>
                  </a:cubicBezTo>
                  <a:lnTo>
                    <a:pt x="9656" y="5799"/>
                  </a:lnTo>
                  <a:cubicBezTo>
                    <a:pt x="9621" y="5668"/>
                    <a:pt x="9478" y="5537"/>
                    <a:pt x="9323" y="5537"/>
                  </a:cubicBezTo>
                  <a:lnTo>
                    <a:pt x="9168" y="5537"/>
                  </a:lnTo>
                  <a:lnTo>
                    <a:pt x="9168" y="3525"/>
                  </a:lnTo>
                  <a:cubicBezTo>
                    <a:pt x="9168" y="3441"/>
                    <a:pt x="9097" y="3346"/>
                    <a:pt x="8989" y="3346"/>
                  </a:cubicBezTo>
                  <a:cubicBezTo>
                    <a:pt x="8882" y="3346"/>
                    <a:pt x="8811" y="3429"/>
                    <a:pt x="8811" y="3525"/>
                  </a:cubicBezTo>
                  <a:lnTo>
                    <a:pt x="8811" y="4775"/>
                  </a:lnTo>
                  <a:lnTo>
                    <a:pt x="8370" y="4775"/>
                  </a:lnTo>
                  <a:lnTo>
                    <a:pt x="7084" y="2965"/>
                  </a:lnTo>
                  <a:lnTo>
                    <a:pt x="5965" y="1370"/>
                  </a:lnTo>
                  <a:cubicBezTo>
                    <a:pt x="5941" y="1322"/>
                    <a:pt x="5882" y="1298"/>
                    <a:pt x="5834" y="1298"/>
                  </a:cubicBezTo>
                  <a:cubicBezTo>
                    <a:pt x="5775" y="1298"/>
                    <a:pt x="5727" y="1322"/>
                    <a:pt x="5703" y="1358"/>
                  </a:cubicBezTo>
                  <a:lnTo>
                    <a:pt x="3727" y="3906"/>
                  </a:lnTo>
                  <a:lnTo>
                    <a:pt x="3036" y="2929"/>
                  </a:lnTo>
                  <a:cubicBezTo>
                    <a:pt x="3013" y="2894"/>
                    <a:pt x="2965" y="2870"/>
                    <a:pt x="2917" y="2858"/>
                  </a:cubicBezTo>
                  <a:lnTo>
                    <a:pt x="2905" y="2858"/>
                  </a:lnTo>
                  <a:cubicBezTo>
                    <a:pt x="2846" y="2858"/>
                    <a:pt x="2798" y="2894"/>
                    <a:pt x="2774" y="2917"/>
                  </a:cubicBezTo>
                  <a:lnTo>
                    <a:pt x="1346" y="4763"/>
                  </a:lnTo>
                  <a:lnTo>
                    <a:pt x="786" y="4763"/>
                  </a:lnTo>
                  <a:lnTo>
                    <a:pt x="786" y="358"/>
                  </a:lnTo>
                  <a:lnTo>
                    <a:pt x="1548" y="358"/>
                  </a:lnTo>
                  <a:cubicBezTo>
                    <a:pt x="1643" y="358"/>
                    <a:pt x="1727" y="286"/>
                    <a:pt x="1727" y="179"/>
                  </a:cubicBezTo>
                  <a:cubicBezTo>
                    <a:pt x="1727" y="84"/>
                    <a:pt x="1655" y="0"/>
                    <a:pt x="15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06" name="Google Shape;12806;p62"/>
          <p:cNvGrpSpPr/>
          <p:nvPr/>
        </p:nvGrpSpPr>
        <p:grpSpPr>
          <a:xfrm>
            <a:off x="4883835" y="3337255"/>
            <a:ext cx="323425" cy="377557"/>
            <a:chOff x="4883835" y="3337255"/>
            <a:chExt cx="323425" cy="377557"/>
          </a:xfrm>
        </p:grpSpPr>
        <p:sp>
          <p:nvSpPr>
            <p:cNvPr id="12807" name="Google Shape;12807;p62"/>
            <p:cNvSpPr/>
            <p:nvPr/>
          </p:nvSpPr>
          <p:spPr>
            <a:xfrm>
              <a:off x="4883835" y="3447682"/>
              <a:ext cx="323425" cy="142932"/>
            </a:xfrm>
            <a:custGeom>
              <a:avLst/>
              <a:gdLst/>
              <a:ahLst/>
              <a:cxnLst/>
              <a:rect l="l" t="t" r="r" b="b"/>
              <a:pathLst>
                <a:path w="10169" h="4494" extrusionOk="0">
                  <a:moveTo>
                    <a:pt x="7537" y="1993"/>
                  </a:moveTo>
                  <a:lnTo>
                    <a:pt x="7537" y="2005"/>
                  </a:lnTo>
                  <a:lnTo>
                    <a:pt x="7537" y="2279"/>
                  </a:lnTo>
                  <a:lnTo>
                    <a:pt x="7537" y="2291"/>
                  </a:lnTo>
                  <a:lnTo>
                    <a:pt x="7537" y="2577"/>
                  </a:lnTo>
                  <a:cubicBezTo>
                    <a:pt x="7502" y="2589"/>
                    <a:pt x="7442" y="2636"/>
                    <a:pt x="7299" y="2672"/>
                  </a:cubicBezTo>
                  <a:cubicBezTo>
                    <a:pt x="7109" y="2731"/>
                    <a:pt x="6787" y="2791"/>
                    <a:pt x="6371" y="2839"/>
                  </a:cubicBezTo>
                  <a:cubicBezTo>
                    <a:pt x="6347" y="2839"/>
                    <a:pt x="6335" y="2839"/>
                    <a:pt x="6299" y="2851"/>
                  </a:cubicBezTo>
                  <a:cubicBezTo>
                    <a:pt x="5990" y="2886"/>
                    <a:pt x="5656" y="2898"/>
                    <a:pt x="5299" y="2910"/>
                  </a:cubicBezTo>
                  <a:lnTo>
                    <a:pt x="4847" y="2910"/>
                  </a:lnTo>
                  <a:cubicBezTo>
                    <a:pt x="4501" y="2910"/>
                    <a:pt x="4156" y="2886"/>
                    <a:pt x="3846" y="2851"/>
                  </a:cubicBezTo>
                  <a:cubicBezTo>
                    <a:pt x="3811" y="2851"/>
                    <a:pt x="3799" y="2851"/>
                    <a:pt x="3775" y="2839"/>
                  </a:cubicBezTo>
                  <a:cubicBezTo>
                    <a:pt x="3358" y="2791"/>
                    <a:pt x="3037" y="2731"/>
                    <a:pt x="2846" y="2672"/>
                  </a:cubicBezTo>
                  <a:cubicBezTo>
                    <a:pt x="2715" y="2636"/>
                    <a:pt x="2632" y="2601"/>
                    <a:pt x="2620" y="2577"/>
                  </a:cubicBezTo>
                  <a:lnTo>
                    <a:pt x="2620" y="2410"/>
                  </a:lnTo>
                  <a:lnTo>
                    <a:pt x="2620" y="2398"/>
                  </a:lnTo>
                  <a:lnTo>
                    <a:pt x="2620" y="2291"/>
                  </a:lnTo>
                  <a:lnTo>
                    <a:pt x="2620" y="2279"/>
                  </a:lnTo>
                  <a:lnTo>
                    <a:pt x="2620" y="2243"/>
                  </a:lnTo>
                  <a:lnTo>
                    <a:pt x="2620" y="2077"/>
                  </a:lnTo>
                  <a:lnTo>
                    <a:pt x="2620" y="2065"/>
                  </a:lnTo>
                  <a:lnTo>
                    <a:pt x="2620" y="2005"/>
                  </a:lnTo>
                  <a:lnTo>
                    <a:pt x="2620" y="1993"/>
                  </a:lnTo>
                  <a:cubicBezTo>
                    <a:pt x="3263" y="2112"/>
                    <a:pt x="4144" y="2184"/>
                    <a:pt x="5085" y="2184"/>
                  </a:cubicBezTo>
                  <a:cubicBezTo>
                    <a:pt x="6013" y="2184"/>
                    <a:pt x="6906" y="2112"/>
                    <a:pt x="7537" y="1993"/>
                  </a:cubicBezTo>
                  <a:close/>
                  <a:moveTo>
                    <a:pt x="2239" y="2112"/>
                  </a:moveTo>
                  <a:lnTo>
                    <a:pt x="2239" y="2136"/>
                  </a:lnTo>
                  <a:lnTo>
                    <a:pt x="2239" y="2303"/>
                  </a:lnTo>
                  <a:lnTo>
                    <a:pt x="2239" y="2362"/>
                  </a:lnTo>
                  <a:lnTo>
                    <a:pt x="2239" y="2374"/>
                  </a:lnTo>
                  <a:lnTo>
                    <a:pt x="2239" y="2601"/>
                  </a:lnTo>
                  <a:lnTo>
                    <a:pt x="2239" y="2636"/>
                  </a:lnTo>
                  <a:cubicBezTo>
                    <a:pt x="2239" y="2874"/>
                    <a:pt x="2501" y="3017"/>
                    <a:pt x="3156" y="3136"/>
                  </a:cubicBezTo>
                  <a:cubicBezTo>
                    <a:pt x="3668" y="3232"/>
                    <a:pt x="4346" y="3267"/>
                    <a:pt x="5061" y="3267"/>
                  </a:cubicBezTo>
                  <a:cubicBezTo>
                    <a:pt x="5775" y="3267"/>
                    <a:pt x="6454" y="3232"/>
                    <a:pt x="6966" y="3136"/>
                  </a:cubicBezTo>
                  <a:cubicBezTo>
                    <a:pt x="7609" y="3017"/>
                    <a:pt x="7895" y="2874"/>
                    <a:pt x="7895" y="2636"/>
                  </a:cubicBezTo>
                  <a:lnTo>
                    <a:pt x="7895" y="2398"/>
                  </a:lnTo>
                  <a:lnTo>
                    <a:pt x="7895" y="2339"/>
                  </a:lnTo>
                  <a:lnTo>
                    <a:pt x="7895" y="2172"/>
                  </a:lnTo>
                  <a:lnTo>
                    <a:pt x="7895" y="2136"/>
                  </a:lnTo>
                  <a:cubicBezTo>
                    <a:pt x="8073" y="2160"/>
                    <a:pt x="8240" y="2160"/>
                    <a:pt x="8395" y="2172"/>
                  </a:cubicBezTo>
                  <a:lnTo>
                    <a:pt x="8514" y="2172"/>
                  </a:lnTo>
                  <a:cubicBezTo>
                    <a:pt x="8728" y="2184"/>
                    <a:pt x="9049" y="2208"/>
                    <a:pt x="9323" y="2267"/>
                  </a:cubicBezTo>
                  <a:cubicBezTo>
                    <a:pt x="9585" y="2327"/>
                    <a:pt x="9752" y="2410"/>
                    <a:pt x="9764" y="2517"/>
                  </a:cubicBezTo>
                  <a:cubicBezTo>
                    <a:pt x="9766" y="2516"/>
                    <a:pt x="9769" y="2516"/>
                    <a:pt x="9771" y="2516"/>
                  </a:cubicBezTo>
                  <a:cubicBezTo>
                    <a:pt x="9796" y="2516"/>
                    <a:pt x="9769" y="2587"/>
                    <a:pt x="9680" y="2720"/>
                  </a:cubicBezTo>
                  <a:cubicBezTo>
                    <a:pt x="9430" y="3053"/>
                    <a:pt x="8871" y="3398"/>
                    <a:pt x="8204" y="3648"/>
                  </a:cubicBezTo>
                  <a:cubicBezTo>
                    <a:pt x="7323" y="3994"/>
                    <a:pt x="6240" y="4172"/>
                    <a:pt x="5085" y="4172"/>
                  </a:cubicBezTo>
                  <a:cubicBezTo>
                    <a:pt x="3918" y="4172"/>
                    <a:pt x="2846" y="3994"/>
                    <a:pt x="1953" y="3648"/>
                  </a:cubicBezTo>
                  <a:cubicBezTo>
                    <a:pt x="1287" y="3398"/>
                    <a:pt x="739" y="3053"/>
                    <a:pt x="477" y="2720"/>
                  </a:cubicBezTo>
                  <a:cubicBezTo>
                    <a:pt x="370" y="2589"/>
                    <a:pt x="358" y="2505"/>
                    <a:pt x="358" y="2481"/>
                  </a:cubicBezTo>
                  <a:cubicBezTo>
                    <a:pt x="394" y="2374"/>
                    <a:pt x="548" y="2291"/>
                    <a:pt x="810" y="2231"/>
                  </a:cubicBezTo>
                  <a:cubicBezTo>
                    <a:pt x="1072" y="2172"/>
                    <a:pt x="1406" y="2160"/>
                    <a:pt x="1608" y="2136"/>
                  </a:cubicBezTo>
                  <a:lnTo>
                    <a:pt x="1727" y="2136"/>
                  </a:lnTo>
                  <a:cubicBezTo>
                    <a:pt x="1894" y="2124"/>
                    <a:pt x="2060" y="2124"/>
                    <a:pt x="2239" y="2112"/>
                  </a:cubicBezTo>
                  <a:close/>
                  <a:moveTo>
                    <a:pt x="2344" y="1"/>
                  </a:moveTo>
                  <a:cubicBezTo>
                    <a:pt x="2333" y="1"/>
                    <a:pt x="2322" y="2"/>
                    <a:pt x="2310" y="5"/>
                  </a:cubicBezTo>
                  <a:cubicBezTo>
                    <a:pt x="2227" y="17"/>
                    <a:pt x="2144" y="100"/>
                    <a:pt x="2168" y="195"/>
                  </a:cubicBezTo>
                  <a:cubicBezTo>
                    <a:pt x="2239" y="684"/>
                    <a:pt x="2263" y="1207"/>
                    <a:pt x="2287" y="1743"/>
                  </a:cubicBezTo>
                  <a:cubicBezTo>
                    <a:pt x="2084" y="1755"/>
                    <a:pt x="1929" y="1755"/>
                    <a:pt x="1751" y="1767"/>
                  </a:cubicBezTo>
                  <a:lnTo>
                    <a:pt x="1632" y="1767"/>
                  </a:lnTo>
                  <a:cubicBezTo>
                    <a:pt x="1072" y="1803"/>
                    <a:pt x="167" y="1850"/>
                    <a:pt x="48" y="2386"/>
                  </a:cubicBezTo>
                  <a:cubicBezTo>
                    <a:pt x="1" y="2529"/>
                    <a:pt x="84" y="2720"/>
                    <a:pt x="227" y="2922"/>
                  </a:cubicBezTo>
                  <a:cubicBezTo>
                    <a:pt x="525" y="3303"/>
                    <a:pt x="1120" y="3672"/>
                    <a:pt x="1846" y="3958"/>
                  </a:cubicBezTo>
                  <a:cubicBezTo>
                    <a:pt x="2775" y="4315"/>
                    <a:pt x="3906" y="4494"/>
                    <a:pt x="5097" y="4494"/>
                  </a:cubicBezTo>
                  <a:cubicBezTo>
                    <a:pt x="6299" y="4494"/>
                    <a:pt x="7418" y="4315"/>
                    <a:pt x="8335" y="3958"/>
                  </a:cubicBezTo>
                  <a:cubicBezTo>
                    <a:pt x="9073" y="3672"/>
                    <a:pt x="9669" y="3303"/>
                    <a:pt x="9966" y="2922"/>
                  </a:cubicBezTo>
                  <a:cubicBezTo>
                    <a:pt x="10109" y="2743"/>
                    <a:pt x="10169" y="2565"/>
                    <a:pt x="10145" y="2398"/>
                  </a:cubicBezTo>
                  <a:cubicBezTo>
                    <a:pt x="10002" y="1862"/>
                    <a:pt x="9097" y="1815"/>
                    <a:pt x="8561" y="1791"/>
                  </a:cubicBezTo>
                  <a:lnTo>
                    <a:pt x="8442" y="1791"/>
                  </a:lnTo>
                  <a:cubicBezTo>
                    <a:pt x="8276" y="1767"/>
                    <a:pt x="8097" y="1767"/>
                    <a:pt x="7906" y="1755"/>
                  </a:cubicBezTo>
                  <a:cubicBezTo>
                    <a:pt x="7918" y="1219"/>
                    <a:pt x="7966" y="696"/>
                    <a:pt x="8025" y="207"/>
                  </a:cubicBezTo>
                  <a:cubicBezTo>
                    <a:pt x="8037" y="124"/>
                    <a:pt x="7966" y="29"/>
                    <a:pt x="7883" y="17"/>
                  </a:cubicBezTo>
                  <a:cubicBezTo>
                    <a:pt x="7876" y="16"/>
                    <a:pt x="7869" y="16"/>
                    <a:pt x="7862" y="16"/>
                  </a:cubicBezTo>
                  <a:cubicBezTo>
                    <a:pt x="7775" y="16"/>
                    <a:pt x="7702" y="83"/>
                    <a:pt x="7680" y="160"/>
                  </a:cubicBezTo>
                  <a:cubicBezTo>
                    <a:pt x="7621" y="636"/>
                    <a:pt x="7585" y="1136"/>
                    <a:pt x="7561" y="1636"/>
                  </a:cubicBezTo>
                  <a:cubicBezTo>
                    <a:pt x="6954" y="1755"/>
                    <a:pt x="6049" y="1827"/>
                    <a:pt x="5097" y="1827"/>
                  </a:cubicBezTo>
                  <a:cubicBezTo>
                    <a:pt x="4132" y="1827"/>
                    <a:pt x="3251" y="1755"/>
                    <a:pt x="2620" y="1636"/>
                  </a:cubicBezTo>
                  <a:cubicBezTo>
                    <a:pt x="2608" y="1136"/>
                    <a:pt x="2561" y="624"/>
                    <a:pt x="2501" y="148"/>
                  </a:cubicBezTo>
                  <a:cubicBezTo>
                    <a:pt x="2490" y="74"/>
                    <a:pt x="2424" y="1"/>
                    <a:pt x="23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8" name="Google Shape;12808;p62"/>
            <p:cNvSpPr/>
            <p:nvPr/>
          </p:nvSpPr>
          <p:spPr>
            <a:xfrm>
              <a:off x="4931161" y="3600377"/>
              <a:ext cx="228392" cy="114434"/>
            </a:xfrm>
            <a:custGeom>
              <a:avLst/>
              <a:gdLst/>
              <a:ahLst/>
              <a:cxnLst/>
              <a:rect l="l" t="t" r="r" b="b"/>
              <a:pathLst>
                <a:path w="7181" h="3598" extrusionOk="0">
                  <a:moveTo>
                    <a:pt x="3823" y="967"/>
                  </a:moveTo>
                  <a:cubicBezTo>
                    <a:pt x="3906" y="967"/>
                    <a:pt x="3942" y="1014"/>
                    <a:pt x="3978" y="1074"/>
                  </a:cubicBezTo>
                  <a:lnTo>
                    <a:pt x="3978" y="1109"/>
                  </a:lnTo>
                  <a:lnTo>
                    <a:pt x="3978" y="1133"/>
                  </a:lnTo>
                  <a:lnTo>
                    <a:pt x="3978" y="2443"/>
                  </a:lnTo>
                  <a:lnTo>
                    <a:pt x="3978" y="2479"/>
                  </a:lnTo>
                  <a:lnTo>
                    <a:pt x="3978" y="2502"/>
                  </a:lnTo>
                  <a:cubicBezTo>
                    <a:pt x="3966" y="2562"/>
                    <a:pt x="3906" y="2610"/>
                    <a:pt x="3823" y="2610"/>
                  </a:cubicBezTo>
                  <a:lnTo>
                    <a:pt x="3382" y="2610"/>
                  </a:lnTo>
                  <a:cubicBezTo>
                    <a:pt x="3311" y="2610"/>
                    <a:pt x="3263" y="2562"/>
                    <a:pt x="3228" y="2502"/>
                  </a:cubicBezTo>
                  <a:lnTo>
                    <a:pt x="3228" y="2479"/>
                  </a:lnTo>
                  <a:lnTo>
                    <a:pt x="3228" y="2443"/>
                  </a:lnTo>
                  <a:lnTo>
                    <a:pt x="3228" y="1133"/>
                  </a:lnTo>
                  <a:lnTo>
                    <a:pt x="3228" y="1109"/>
                  </a:lnTo>
                  <a:lnTo>
                    <a:pt x="3228" y="1074"/>
                  </a:lnTo>
                  <a:cubicBezTo>
                    <a:pt x="3251" y="1014"/>
                    <a:pt x="3311" y="967"/>
                    <a:pt x="3382" y="967"/>
                  </a:cubicBezTo>
                  <a:close/>
                  <a:moveTo>
                    <a:pt x="6018" y="345"/>
                  </a:moveTo>
                  <a:cubicBezTo>
                    <a:pt x="6123" y="345"/>
                    <a:pt x="6218" y="361"/>
                    <a:pt x="6299" y="395"/>
                  </a:cubicBezTo>
                  <a:cubicBezTo>
                    <a:pt x="6478" y="467"/>
                    <a:pt x="6597" y="586"/>
                    <a:pt x="6668" y="752"/>
                  </a:cubicBezTo>
                  <a:cubicBezTo>
                    <a:pt x="6835" y="1169"/>
                    <a:pt x="6561" y="1717"/>
                    <a:pt x="6561" y="1717"/>
                  </a:cubicBezTo>
                  <a:cubicBezTo>
                    <a:pt x="6537" y="1764"/>
                    <a:pt x="6537" y="1824"/>
                    <a:pt x="6561" y="1871"/>
                  </a:cubicBezTo>
                  <a:cubicBezTo>
                    <a:pt x="6585" y="1883"/>
                    <a:pt x="6835" y="2431"/>
                    <a:pt x="6692" y="2836"/>
                  </a:cubicBezTo>
                  <a:cubicBezTo>
                    <a:pt x="6621" y="3003"/>
                    <a:pt x="6502" y="3122"/>
                    <a:pt x="6311" y="3193"/>
                  </a:cubicBezTo>
                  <a:cubicBezTo>
                    <a:pt x="6237" y="3225"/>
                    <a:pt x="6151" y="3241"/>
                    <a:pt x="6052" y="3241"/>
                  </a:cubicBezTo>
                  <a:cubicBezTo>
                    <a:pt x="5643" y="3241"/>
                    <a:pt x="5033" y="2968"/>
                    <a:pt x="4323" y="2479"/>
                  </a:cubicBezTo>
                  <a:lnTo>
                    <a:pt x="4323" y="2443"/>
                  </a:lnTo>
                  <a:lnTo>
                    <a:pt x="4323" y="2300"/>
                  </a:lnTo>
                  <a:lnTo>
                    <a:pt x="5037" y="2491"/>
                  </a:lnTo>
                  <a:lnTo>
                    <a:pt x="5073" y="2491"/>
                  </a:lnTo>
                  <a:cubicBezTo>
                    <a:pt x="5156" y="2491"/>
                    <a:pt x="5228" y="2443"/>
                    <a:pt x="5240" y="2360"/>
                  </a:cubicBezTo>
                  <a:cubicBezTo>
                    <a:pt x="5275" y="2264"/>
                    <a:pt x="5216" y="2169"/>
                    <a:pt x="5121" y="2133"/>
                  </a:cubicBezTo>
                  <a:lnTo>
                    <a:pt x="4323" y="1907"/>
                  </a:lnTo>
                  <a:lnTo>
                    <a:pt x="4323" y="1657"/>
                  </a:lnTo>
                  <a:lnTo>
                    <a:pt x="5121" y="1431"/>
                  </a:lnTo>
                  <a:cubicBezTo>
                    <a:pt x="5216" y="1407"/>
                    <a:pt x="5275" y="1312"/>
                    <a:pt x="5240" y="1217"/>
                  </a:cubicBezTo>
                  <a:cubicBezTo>
                    <a:pt x="5221" y="1140"/>
                    <a:pt x="5156" y="1087"/>
                    <a:pt x="5076" y="1087"/>
                  </a:cubicBezTo>
                  <a:cubicBezTo>
                    <a:pt x="5056" y="1087"/>
                    <a:pt x="5035" y="1090"/>
                    <a:pt x="5013" y="1098"/>
                  </a:cubicBezTo>
                  <a:lnTo>
                    <a:pt x="4299" y="1288"/>
                  </a:lnTo>
                  <a:lnTo>
                    <a:pt x="4299" y="1133"/>
                  </a:lnTo>
                  <a:lnTo>
                    <a:pt x="4299" y="1109"/>
                  </a:lnTo>
                  <a:cubicBezTo>
                    <a:pt x="5002" y="606"/>
                    <a:pt x="5600" y="345"/>
                    <a:pt x="6018" y="345"/>
                  </a:cubicBezTo>
                  <a:close/>
                  <a:moveTo>
                    <a:pt x="1132" y="359"/>
                  </a:moveTo>
                  <a:cubicBezTo>
                    <a:pt x="1549" y="359"/>
                    <a:pt x="2144" y="633"/>
                    <a:pt x="2858" y="1133"/>
                  </a:cubicBezTo>
                  <a:lnTo>
                    <a:pt x="2858" y="1169"/>
                  </a:lnTo>
                  <a:lnTo>
                    <a:pt x="2858" y="1312"/>
                  </a:lnTo>
                  <a:lnTo>
                    <a:pt x="2144" y="1121"/>
                  </a:lnTo>
                  <a:cubicBezTo>
                    <a:pt x="2131" y="1118"/>
                    <a:pt x="2118" y="1116"/>
                    <a:pt x="2105" y="1116"/>
                  </a:cubicBezTo>
                  <a:cubicBezTo>
                    <a:pt x="2030" y="1116"/>
                    <a:pt x="1948" y="1170"/>
                    <a:pt x="1918" y="1240"/>
                  </a:cubicBezTo>
                  <a:cubicBezTo>
                    <a:pt x="1906" y="1312"/>
                    <a:pt x="1965" y="1419"/>
                    <a:pt x="2061" y="1431"/>
                  </a:cubicBezTo>
                  <a:lnTo>
                    <a:pt x="2858" y="1657"/>
                  </a:lnTo>
                  <a:lnTo>
                    <a:pt x="2858" y="1931"/>
                  </a:lnTo>
                  <a:lnTo>
                    <a:pt x="2061" y="2145"/>
                  </a:lnTo>
                  <a:cubicBezTo>
                    <a:pt x="1965" y="2181"/>
                    <a:pt x="1906" y="2264"/>
                    <a:pt x="1942" y="2372"/>
                  </a:cubicBezTo>
                  <a:cubicBezTo>
                    <a:pt x="1954" y="2443"/>
                    <a:pt x="2025" y="2502"/>
                    <a:pt x="2108" y="2502"/>
                  </a:cubicBezTo>
                  <a:lnTo>
                    <a:pt x="2144" y="2502"/>
                  </a:lnTo>
                  <a:lnTo>
                    <a:pt x="2858" y="2312"/>
                  </a:lnTo>
                  <a:lnTo>
                    <a:pt x="2858" y="2467"/>
                  </a:lnTo>
                  <a:lnTo>
                    <a:pt x="2858" y="2491"/>
                  </a:lnTo>
                  <a:cubicBezTo>
                    <a:pt x="2155" y="2994"/>
                    <a:pt x="1558" y="3255"/>
                    <a:pt x="1146" y="3255"/>
                  </a:cubicBezTo>
                  <a:cubicBezTo>
                    <a:pt x="1042" y="3255"/>
                    <a:pt x="949" y="3239"/>
                    <a:pt x="870" y="3205"/>
                  </a:cubicBezTo>
                  <a:cubicBezTo>
                    <a:pt x="692" y="3134"/>
                    <a:pt x="572" y="3014"/>
                    <a:pt x="489" y="2848"/>
                  </a:cubicBezTo>
                  <a:cubicBezTo>
                    <a:pt x="334" y="2431"/>
                    <a:pt x="596" y="1883"/>
                    <a:pt x="596" y="1883"/>
                  </a:cubicBezTo>
                  <a:cubicBezTo>
                    <a:pt x="632" y="1836"/>
                    <a:pt x="632" y="1776"/>
                    <a:pt x="596" y="1729"/>
                  </a:cubicBezTo>
                  <a:cubicBezTo>
                    <a:pt x="596" y="1729"/>
                    <a:pt x="346" y="1181"/>
                    <a:pt x="489" y="764"/>
                  </a:cubicBezTo>
                  <a:cubicBezTo>
                    <a:pt x="549" y="597"/>
                    <a:pt x="668" y="478"/>
                    <a:pt x="870" y="407"/>
                  </a:cubicBezTo>
                  <a:cubicBezTo>
                    <a:pt x="942" y="383"/>
                    <a:pt x="1025" y="359"/>
                    <a:pt x="1132" y="359"/>
                  </a:cubicBezTo>
                  <a:close/>
                  <a:moveTo>
                    <a:pt x="1141" y="0"/>
                  </a:moveTo>
                  <a:cubicBezTo>
                    <a:pt x="1002" y="0"/>
                    <a:pt x="871" y="23"/>
                    <a:pt x="751" y="74"/>
                  </a:cubicBezTo>
                  <a:cubicBezTo>
                    <a:pt x="477" y="193"/>
                    <a:pt x="287" y="371"/>
                    <a:pt x="180" y="633"/>
                  </a:cubicBezTo>
                  <a:cubicBezTo>
                    <a:pt x="1" y="1074"/>
                    <a:pt x="180" y="1598"/>
                    <a:pt x="251" y="1800"/>
                  </a:cubicBezTo>
                  <a:cubicBezTo>
                    <a:pt x="227" y="1895"/>
                    <a:pt x="168" y="2026"/>
                    <a:pt x="144" y="2193"/>
                  </a:cubicBezTo>
                  <a:cubicBezTo>
                    <a:pt x="72" y="2491"/>
                    <a:pt x="96" y="2741"/>
                    <a:pt x="180" y="2967"/>
                  </a:cubicBezTo>
                  <a:cubicBezTo>
                    <a:pt x="287" y="3217"/>
                    <a:pt x="465" y="3419"/>
                    <a:pt x="751" y="3514"/>
                  </a:cubicBezTo>
                  <a:cubicBezTo>
                    <a:pt x="870" y="3562"/>
                    <a:pt x="1001" y="3598"/>
                    <a:pt x="1144" y="3598"/>
                  </a:cubicBezTo>
                  <a:cubicBezTo>
                    <a:pt x="1727" y="3598"/>
                    <a:pt x="2442" y="3205"/>
                    <a:pt x="3013" y="2800"/>
                  </a:cubicBezTo>
                  <a:cubicBezTo>
                    <a:pt x="3097" y="2895"/>
                    <a:pt x="3228" y="2955"/>
                    <a:pt x="3370" y="2955"/>
                  </a:cubicBezTo>
                  <a:lnTo>
                    <a:pt x="3811" y="2955"/>
                  </a:lnTo>
                  <a:cubicBezTo>
                    <a:pt x="3966" y="2955"/>
                    <a:pt x="4085" y="2895"/>
                    <a:pt x="4168" y="2800"/>
                  </a:cubicBezTo>
                  <a:cubicBezTo>
                    <a:pt x="4752" y="3205"/>
                    <a:pt x="5454" y="3598"/>
                    <a:pt x="6037" y="3598"/>
                  </a:cubicBezTo>
                  <a:cubicBezTo>
                    <a:pt x="6180" y="3598"/>
                    <a:pt x="6311" y="3562"/>
                    <a:pt x="6430" y="3514"/>
                  </a:cubicBezTo>
                  <a:cubicBezTo>
                    <a:pt x="6704" y="3395"/>
                    <a:pt x="6895" y="3217"/>
                    <a:pt x="7002" y="2967"/>
                  </a:cubicBezTo>
                  <a:cubicBezTo>
                    <a:pt x="7180" y="2502"/>
                    <a:pt x="7014" y="1991"/>
                    <a:pt x="6930" y="1788"/>
                  </a:cubicBezTo>
                  <a:cubicBezTo>
                    <a:pt x="6954" y="1705"/>
                    <a:pt x="7014" y="1574"/>
                    <a:pt x="7049" y="1407"/>
                  </a:cubicBezTo>
                  <a:cubicBezTo>
                    <a:pt x="7109" y="1109"/>
                    <a:pt x="7085" y="848"/>
                    <a:pt x="7002" y="633"/>
                  </a:cubicBezTo>
                  <a:cubicBezTo>
                    <a:pt x="6895" y="371"/>
                    <a:pt x="6716" y="181"/>
                    <a:pt x="6430" y="74"/>
                  </a:cubicBezTo>
                  <a:cubicBezTo>
                    <a:pt x="6308" y="23"/>
                    <a:pt x="6175" y="0"/>
                    <a:pt x="6035" y="0"/>
                  </a:cubicBezTo>
                  <a:cubicBezTo>
                    <a:pt x="5449" y="0"/>
                    <a:pt x="4735" y="394"/>
                    <a:pt x="4168" y="788"/>
                  </a:cubicBezTo>
                  <a:cubicBezTo>
                    <a:pt x="4085" y="705"/>
                    <a:pt x="3954" y="645"/>
                    <a:pt x="3811" y="645"/>
                  </a:cubicBezTo>
                  <a:lnTo>
                    <a:pt x="3370" y="645"/>
                  </a:lnTo>
                  <a:cubicBezTo>
                    <a:pt x="3216" y="645"/>
                    <a:pt x="3097" y="705"/>
                    <a:pt x="3013" y="788"/>
                  </a:cubicBezTo>
                  <a:cubicBezTo>
                    <a:pt x="2437" y="394"/>
                    <a:pt x="1721" y="0"/>
                    <a:pt x="11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9" name="Google Shape;12809;p62"/>
            <p:cNvSpPr/>
            <p:nvPr/>
          </p:nvSpPr>
          <p:spPr>
            <a:xfrm>
              <a:off x="4926263" y="3337255"/>
              <a:ext cx="238601" cy="97355"/>
            </a:xfrm>
            <a:custGeom>
              <a:avLst/>
              <a:gdLst/>
              <a:ahLst/>
              <a:cxnLst/>
              <a:rect l="l" t="t" r="r" b="b"/>
              <a:pathLst>
                <a:path w="7502" h="3061" extrusionOk="0">
                  <a:moveTo>
                    <a:pt x="3774" y="346"/>
                  </a:moveTo>
                  <a:cubicBezTo>
                    <a:pt x="4667" y="346"/>
                    <a:pt x="5513" y="405"/>
                    <a:pt x="6168" y="524"/>
                  </a:cubicBezTo>
                  <a:cubicBezTo>
                    <a:pt x="6858" y="643"/>
                    <a:pt x="7096" y="798"/>
                    <a:pt x="7144" y="869"/>
                  </a:cubicBezTo>
                  <a:cubicBezTo>
                    <a:pt x="7096" y="917"/>
                    <a:pt x="6953" y="1000"/>
                    <a:pt x="6572" y="1108"/>
                  </a:cubicBezTo>
                  <a:cubicBezTo>
                    <a:pt x="6561" y="1108"/>
                    <a:pt x="6549" y="1108"/>
                    <a:pt x="6525" y="1120"/>
                  </a:cubicBezTo>
                  <a:lnTo>
                    <a:pt x="6513" y="1120"/>
                  </a:lnTo>
                  <a:cubicBezTo>
                    <a:pt x="6501" y="1120"/>
                    <a:pt x="6489" y="1120"/>
                    <a:pt x="6465" y="1131"/>
                  </a:cubicBezTo>
                  <a:lnTo>
                    <a:pt x="6453" y="1131"/>
                  </a:lnTo>
                  <a:cubicBezTo>
                    <a:pt x="6441" y="1131"/>
                    <a:pt x="6430" y="1131"/>
                    <a:pt x="6430" y="1155"/>
                  </a:cubicBezTo>
                  <a:lnTo>
                    <a:pt x="6406" y="1155"/>
                  </a:lnTo>
                  <a:cubicBezTo>
                    <a:pt x="6394" y="1155"/>
                    <a:pt x="6382" y="1155"/>
                    <a:pt x="6370" y="1167"/>
                  </a:cubicBezTo>
                  <a:lnTo>
                    <a:pt x="6346" y="1167"/>
                  </a:lnTo>
                  <a:cubicBezTo>
                    <a:pt x="6334" y="1167"/>
                    <a:pt x="6310" y="1179"/>
                    <a:pt x="6287" y="1179"/>
                  </a:cubicBezTo>
                  <a:cubicBezTo>
                    <a:pt x="6275" y="1179"/>
                    <a:pt x="6251" y="1191"/>
                    <a:pt x="6215" y="1191"/>
                  </a:cubicBezTo>
                  <a:cubicBezTo>
                    <a:pt x="6203" y="1191"/>
                    <a:pt x="6168" y="1215"/>
                    <a:pt x="6156" y="1215"/>
                  </a:cubicBezTo>
                  <a:cubicBezTo>
                    <a:pt x="6132" y="1215"/>
                    <a:pt x="6084" y="1227"/>
                    <a:pt x="6049" y="1227"/>
                  </a:cubicBezTo>
                  <a:lnTo>
                    <a:pt x="6025" y="1227"/>
                  </a:lnTo>
                  <a:cubicBezTo>
                    <a:pt x="6013" y="1227"/>
                    <a:pt x="5977" y="1227"/>
                    <a:pt x="5965" y="1239"/>
                  </a:cubicBezTo>
                  <a:cubicBezTo>
                    <a:pt x="5929" y="1239"/>
                    <a:pt x="5918" y="1239"/>
                    <a:pt x="5894" y="1250"/>
                  </a:cubicBezTo>
                  <a:lnTo>
                    <a:pt x="5846" y="1250"/>
                  </a:lnTo>
                  <a:cubicBezTo>
                    <a:pt x="5810" y="1250"/>
                    <a:pt x="5787" y="1274"/>
                    <a:pt x="5751" y="1274"/>
                  </a:cubicBezTo>
                  <a:cubicBezTo>
                    <a:pt x="5382" y="1310"/>
                    <a:pt x="4965" y="1358"/>
                    <a:pt x="4525" y="1370"/>
                  </a:cubicBezTo>
                  <a:lnTo>
                    <a:pt x="3048" y="1370"/>
                  </a:lnTo>
                  <a:cubicBezTo>
                    <a:pt x="2620" y="1358"/>
                    <a:pt x="2203" y="1310"/>
                    <a:pt x="1822" y="1274"/>
                  </a:cubicBezTo>
                  <a:lnTo>
                    <a:pt x="1810" y="1274"/>
                  </a:lnTo>
                  <a:cubicBezTo>
                    <a:pt x="1786" y="1274"/>
                    <a:pt x="1750" y="1250"/>
                    <a:pt x="1727" y="1250"/>
                  </a:cubicBezTo>
                  <a:lnTo>
                    <a:pt x="1679" y="1250"/>
                  </a:lnTo>
                  <a:cubicBezTo>
                    <a:pt x="1643" y="1250"/>
                    <a:pt x="1631" y="1250"/>
                    <a:pt x="1608" y="1239"/>
                  </a:cubicBezTo>
                  <a:cubicBezTo>
                    <a:pt x="1584" y="1239"/>
                    <a:pt x="1560" y="1239"/>
                    <a:pt x="1548" y="1227"/>
                  </a:cubicBezTo>
                  <a:lnTo>
                    <a:pt x="1512" y="1227"/>
                  </a:lnTo>
                  <a:cubicBezTo>
                    <a:pt x="1488" y="1227"/>
                    <a:pt x="1441" y="1215"/>
                    <a:pt x="1405" y="1215"/>
                  </a:cubicBezTo>
                  <a:cubicBezTo>
                    <a:pt x="1393" y="1215"/>
                    <a:pt x="1369" y="1191"/>
                    <a:pt x="1346" y="1191"/>
                  </a:cubicBezTo>
                  <a:cubicBezTo>
                    <a:pt x="1310" y="1179"/>
                    <a:pt x="1262" y="1179"/>
                    <a:pt x="1215" y="1167"/>
                  </a:cubicBezTo>
                  <a:lnTo>
                    <a:pt x="1203" y="1167"/>
                  </a:lnTo>
                  <a:cubicBezTo>
                    <a:pt x="1191" y="1167"/>
                    <a:pt x="1167" y="1167"/>
                    <a:pt x="1155" y="1155"/>
                  </a:cubicBezTo>
                  <a:lnTo>
                    <a:pt x="1143" y="1155"/>
                  </a:lnTo>
                  <a:cubicBezTo>
                    <a:pt x="1131" y="1155"/>
                    <a:pt x="1107" y="1155"/>
                    <a:pt x="1096" y="1131"/>
                  </a:cubicBezTo>
                  <a:lnTo>
                    <a:pt x="1084" y="1131"/>
                  </a:lnTo>
                  <a:cubicBezTo>
                    <a:pt x="1072" y="1131"/>
                    <a:pt x="1048" y="1131"/>
                    <a:pt x="1036" y="1120"/>
                  </a:cubicBezTo>
                  <a:lnTo>
                    <a:pt x="1024" y="1120"/>
                  </a:lnTo>
                  <a:cubicBezTo>
                    <a:pt x="1012" y="1120"/>
                    <a:pt x="988" y="1120"/>
                    <a:pt x="976" y="1108"/>
                  </a:cubicBezTo>
                  <a:cubicBezTo>
                    <a:pt x="595" y="1000"/>
                    <a:pt x="453" y="917"/>
                    <a:pt x="417" y="881"/>
                  </a:cubicBezTo>
                  <a:lnTo>
                    <a:pt x="393" y="881"/>
                  </a:lnTo>
                  <a:lnTo>
                    <a:pt x="381" y="869"/>
                  </a:lnTo>
                  <a:cubicBezTo>
                    <a:pt x="429" y="810"/>
                    <a:pt x="679" y="655"/>
                    <a:pt x="1381" y="524"/>
                  </a:cubicBezTo>
                  <a:cubicBezTo>
                    <a:pt x="2036" y="405"/>
                    <a:pt x="2881" y="346"/>
                    <a:pt x="3774" y="346"/>
                  </a:cubicBezTo>
                  <a:close/>
                  <a:moveTo>
                    <a:pt x="3751" y="0"/>
                  </a:moveTo>
                  <a:cubicBezTo>
                    <a:pt x="2774" y="0"/>
                    <a:pt x="1869" y="72"/>
                    <a:pt x="1191" y="215"/>
                  </a:cubicBezTo>
                  <a:cubicBezTo>
                    <a:pt x="405" y="358"/>
                    <a:pt x="24" y="548"/>
                    <a:pt x="0" y="834"/>
                  </a:cubicBezTo>
                  <a:lnTo>
                    <a:pt x="0" y="869"/>
                  </a:lnTo>
                  <a:cubicBezTo>
                    <a:pt x="0" y="953"/>
                    <a:pt x="36" y="1048"/>
                    <a:pt x="107" y="1120"/>
                  </a:cubicBezTo>
                  <a:cubicBezTo>
                    <a:pt x="250" y="1405"/>
                    <a:pt x="488" y="1989"/>
                    <a:pt x="667" y="2894"/>
                  </a:cubicBezTo>
                  <a:cubicBezTo>
                    <a:pt x="677" y="2963"/>
                    <a:pt x="754" y="3033"/>
                    <a:pt x="827" y="3033"/>
                  </a:cubicBezTo>
                  <a:cubicBezTo>
                    <a:pt x="841" y="3033"/>
                    <a:pt x="856" y="3030"/>
                    <a:pt x="869" y="3025"/>
                  </a:cubicBezTo>
                  <a:cubicBezTo>
                    <a:pt x="965" y="3013"/>
                    <a:pt x="1036" y="2905"/>
                    <a:pt x="1012" y="2822"/>
                  </a:cubicBezTo>
                  <a:cubicBezTo>
                    <a:pt x="869" y="2191"/>
                    <a:pt x="726" y="1715"/>
                    <a:pt x="595" y="1370"/>
                  </a:cubicBezTo>
                  <a:lnTo>
                    <a:pt x="595" y="1370"/>
                  </a:lnTo>
                  <a:lnTo>
                    <a:pt x="726" y="1417"/>
                  </a:lnTo>
                  <a:lnTo>
                    <a:pt x="738" y="1417"/>
                  </a:lnTo>
                  <a:cubicBezTo>
                    <a:pt x="750" y="1417"/>
                    <a:pt x="750" y="1417"/>
                    <a:pt x="774" y="1429"/>
                  </a:cubicBezTo>
                  <a:cubicBezTo>
                    <a:pt x="1036" y="1512"/>
                    <a:pt x="1346" y="1560"/>
                    <a:pt x="1703" y="1608"/>
                  </a:cubicBezTo>
                  <a:cubicBezTo>
                    <a:pt x="1738" y="1608"/>
                    <a:pt x="1750" y="1608"/>
                    <a:pt x="1786" y="1631"/>
                  </a:cubicBezTo>
                  <a:lnTo>
                    <a:pt x="1810" y="1631"/>
                  </a:lnTo>
                  <a:cubicBezTo>
                    <a:pt x="2298" y="1691"/>
                    <a:pt x="2858" y="1715"/>
                    <a:pt x="3453" y="1727"/>
                  </a:cubicBezTo>
                  <a:lnTo>
                    <a:pt x="4227" y="1727"/>
                  </a:lnTo>
                  <a:cubicBezTo>
                    <a:pt x="4894" y="1715"/>
                    <a:pt x="5537" y="1655"/>
                    <a:pt x="6072" y="1584"/>
                  </a:cubicBezTo>
                  <a:cubicBezTo>
                    <a:pt x="6108" y="1584"/>
                    <a:pt x="6144" y="1572"/>
                    <a:pt x="6168" y="1572"/>
                  </a:cubicBezTo>
                  <a:lnTo>
                    <a:pt x="6191" y="1572"/>
                  </a:lnTo>
                  <a:cubicBezTo>
                    <a:pt x="6334" y="1536"/>
                    <a:pt x="6465" y="1512"/>
                    <a:pt x="6584" y="1477"/>
                  </a:cubicBezTo>
                  <a:cubicBezTo>
                    <a:pt x="6608" y="1477"/>
                    <a:pt x="6620" y="1465"/>
                    <a:pt x="6644" y="1465"/>
                  </a:cubicBezTo>
                  <a:lnTo>
                    <a:pt x="6680" y="1465"/>
                  </a:lnTo>
                  <a:cubicBezTo>
                    <a:pt x="6751" y="1453"/>
                    <a:pt x="6822" y="1417"/>
                    <a:pt x="6882" y="1405"/>
                  </a:cubicBezTo>
                  <a:lnTo>
                    <a:pt x="6882" y="1405"/>
                  </a:lnTo>
                  <a:cubicBezTo>
                    <a:pt x="6751" y="1751"/>
                    <a:pt x="6608" y="2227"/>
                    <a:pt x="6465" y="2846"/>
                  </a:cubicBezTo>
                  <a:cubicBezTo>
                    <a:pt x="6453" y="2941"/>
                    <a:pt x="6513" y="3036"/>
                    <a:pt x="6608" y="3060"/>
                  </a:cubicBezTo>
                  <a:lnTo>
                    <a:pt x="6632" y="3060"/>
                  </a:lnTo>
                  <a:cubicBezTo>
                    <a:pt x="6703" y="3060"/>
                    <a:pt x="6787" y="3001"/>
                    <a:pt x="6811" y="2917"/>
                  </a:cubicBezTo>
                  <a:cubicBezTo>
                    <a:pt x="7001" y="2012"/>
                    <a:pt x="7239" y="1429"/>
                    <a:pt x="7358" y="1155"/>
                  </a:cubicBezTo>
                  <a:cubicBezTo>
                    <a:pt x="7465" y="1036"/>
                    <a:pt x="7501" y="953"/>
                    <a:pt x="7501" y="858"/>
                  </a:cubicBezTo>
                  <a:lnTo>
                    <a:pt x="7501" y="834"/>
                  </a:lnTo>
                  <a:cubicBezTo>
                    <a:pt x="7465" y="560"/>
                    <a:pt x="7096" y="358"/>
                    <a:pt x="6310" y="215"/>
                  </a:cubicBezTo>
                  <a:cubicBezTo>
                    <a:pt x="5620" y="72"/>
                    <a:pt x="4715" y="0"/>
                    <a:pt x="3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0" name="Google Shape;12810;p62"/>
          <p:cNvGrpSpPr/>
          <p:nvPr/>
        </p:nvGrpSpPr>
        <p:grpSpPr>
          <a:xfrm>
            <a:off x="6193310" y="3407289"/>
            <a:ext cx="352590" cy="237488"/>
            <a:chOff x="6193310" y="3407289"/>
            <a:chExt cx="352590" cy="237488"/>
          </a:xfrm>
        </p:grpSpPr>
        <p:sp>
          <p:nvSpPr>
            <p:cNvPr id="12811" name="Google Shape;12811;p62"/>
            <p:cNvSpPr/>
            <p:nvPr/>
          </p:nvSpPr>
          <p:spPr>
            <a:xfrm>
              <a:off x="6193310" y="3522042"/>
              <a:ext cx="352590" cy="122735"/>
            </a:xfrm>
            <a:custGeom>
              <a:avLst/>
              <a:gdLst/>
              <a:ahLst/>
              <a:cxnLst/>
              <a:rect l="l" t="t" r="r" b="b"/>
              <a:pathLst>
                <a:path w="11086" h="3859" extrusionOk="0">
                  <a:moveTo>
                    <a:pt x="10549" y="310"/>
                  </a:moveTo>
                  <a:cubicBezTo>
                    <a:pt x="10668" y="310"/>
                    <a:pt x="10776" y="417"/>
                    <a:pt x="10776" y="536"/>
                  </a:cubicBezTo>
                  <a:lnTo>
                    <a:pt x="10776" y="3287"/>
                  </a:lnTo>
                  <a:lnTo>
                    <a:pt x="10764" y="3287"/>
                  </a:lnTo>
                  <a:cubicBezTo>
                    <a:pt x="10764" y="3406"/>
                    <a:pt x="10657" y="3513"/>
                    <a:pt x="10538" y="3513"/>
                  </a:cubicBezTo>
                  <a:lnTo>
                    <a:pt x="6811" y="3513"/>
                  </a:lnTo>
                  <a:cubicBezTo>
                    <a:pt x="6692" y="3513"/>
                    <a:pt x="6597" y="3465"/>
                    <a:pt x="6513" y="3394"/>
                  </a:cubicBezTo>
                  <a:lnTo>
                    <a:pt x="5668" y="2620"/>
                  </a:lnTo>
                  <a:cubicBezTo>
                    <a:pt x="5644" y="2584"/>
                    <a:pt x="5608" y="2572"/>
                    <a:pt x="5561" y="2572"/>
                  </a:cubicBezTo>
                  <a:cubicBezTo>
                    <a:pt x="5525" y="2572"/>
                    <a:pt x="5454" y="2584"/>
                    <a:pt x="5430" y="2620"/>
                  </a:cubicBezTo>
                  <a:lnTo>
                    <a:pt x="4584" y="3394"/>
                  </a:lnTo>
                  <a:cubicBezTo>
                    <a:pt x="4489" y="3465"/>
                    <a:pt x="4382" y="3513"/>
                    <a:pt x="4287" y="3513"/>
                  </a:cubicBezTo>
                  <a:lnTo>
                    <a:pt x="560" y="3513"/>
                  </a:lnTo>
                  <a:cubicBezTo>
                    <a:pt x="441" y="3513"/>
                    <a:pt x="334" y="3406"/>
                    <a:pt x="334" y="3287"/>
                  </a:cubicBezTo>
                  <a:lnTo>
                    <a:pt x="334" y="536"/>
                  </a:lnTo>
                  <a:cubicBezTo>
                    <a:pt x="334" y="417"/>
                    <a:pt x="441" y="310"/>
                    <a:pt x="560" y="310"/>
                  </a:cubicBezTo>
                  <a:close/>
                  <a:moveTo>
                    <a:pt x="548" y="1"/>
                  </a:moveTo>
                  <a:cubicBezTo>
                    <a:pt x="251" y="1"/>
                    <a:pt x="0" y="251"/>
                    <a:pt x="0" y="548"/>
                  </a:cubicBezTo>
                  <a:lnTo>
                    <a:pt x="0" y="3299"/>
                  </a:lnTo>
                  <a:cubicBezTo>
                    <a:pt x="0" y="3596"/>
                    <a:pt x="251" y="3858"/>
                    <a:pt x="548" y="3858"/>
                  </a:cubicBezTo>
                  <a:lnTo>
                    <a:pt x="4275" y="3858"/>
                  </a:lnTo>
                  <a:cubicBezTo>
                    <a:pt x="4465" y="3858"/>
                    <a:pt x="4644" y="3775"/>
                    <a:pt x="4787" y="3644"/>
                  </a:cubicBezTo>
                  <a:lnTo>
                    <a:pt x="5537" y="2965"/>
                  </a:lnTo>
                  <a:lnTo>
                    <a:pt x="6275" y="3644"/>
                  </a:lnTo>
                  <a:cubicBezTo>
                    <a:pt x="6430" y="3775"/>
                    <a:pt x="6608" y="3858"/>
                    <a:pt x="6799" y="3858"/>
                  </a:cubicBezTo>
                  <a:lnTo>
                    <a:pt x="10526" y="3858"/>
                  </a:lnTo>
                  <a:cubicBezTo>
                    <a:pt x="10823" y="3858"/>
                    <a:pt x="11073" y="3596"/>
                    <a:pt x="11073" y="3299"/>
                  </a:cubicBezTo>
                  <a:lnTo>
                    <a:pt x="11073" y="548"/>
                  </a:lnTo>
                  <a:cubicBezTo>
                    <a:pt x="11085" y="239"/>
                    <a:pt x="10835" y="1"/>
                    <a:pt x="105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2" name="Google Shape;12812;p62"/>
            <p:cNvSpPr/>
            <p:nvPr/>
          </p:nvSpPr>
          <p:spPr>
            <a:xfrm>
              <a:off x="6217927" y="3546277"/>
              <a:ext cx="132563" cy="73120"/>
            </a:xfrm>
            <a:custGeom>
              <a:avLst/>
              <a:gdLst/>
              <a:ahLst/>
              <a:cxnLst/>
              <a:rect l="l" t="t" r="r" b="b"/>
              <a:pathLst>
                <a:path w="4168" h="2299" extrusionOk="0">
                  <a:moveTo>
                    <a:pt x="3834" y="322"/>
                  </a:moveTo>
                  <a:lnTo>
                    <a:pt x="3834" y="1560"/>
                  </a:lnTo>
                  <a:lnTo>
                    <a:pt x="3382" y="1977"/>
                  </a:lnTo>
                  <a:lnTo>
                    <a:pt x="322" y="1977"/>
                  </a:lnTo>
                  <a:lnTo>
                    <a:pt x="322" y="322"/>
                  </a:lnTo>
                  <a:close/>
                  <a:moveTo>
                    <a:pt x="250" y="1"/>
                  </a:moveTo>
                  <a:cubicBezTo>
                    <a:pt x="119" y="1"/>
                    <a:pt x="0" y="120"/>
                    <a:pt x="0" y="251"/>
                  </a:cubicBezTo>
                  <a:lnTo>
                    <a:pt x="0" y="2048"/>
                  </a:lnTo>
                  <a:cubicBezTo>
                    <a:pt x="0" y="2179"/>
                    <a:pt x="119" y="2298"/>
                    <a:pt x="250" y="2298"/>
                  </a:cubicBezTo>
                  <a:lnTo>
                    <a:pt x="3406" y="2298"/>
                  </a:lnTo>
                  <a:cubicBezTo>
                    <a:pt x="3465" y="2298"/>
                    <a:pt x="3525" y="2275"/>
                    <a:pt x="3572" y="2239"/>
                  </a:cubicBezTo>
                  <a:lnTo>
                    <a:pt x="4072" y="1787"/>
                  </a:lnTo>
                  <a:cubicBezTo>
                    <a:pt x="4120" y="1739"/>
                    <a:pt x="4156" y="1667"/>
                    <a:pt x="4156" y="1608"/>
                  </a:cubicBezTo>
                  <a:lnTo>
                    <a:pt x="4156" y="263"/>
                  </a:lnTo>
                  <a:cubicBezTo>
                    <a:pt x="4168" y="120"/>
                    <a:pt x="4049" y="1"/>
                    <a:pt x="39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3" name="Google Shape;12813;p62"/>
            <p:cNvSpPr/>
            <p:nvPr/>
          </p:nvSpPr>
          <p:spPr>
            <a:xfrm>
              <a:off x="6388720" y="3546277"/>
              <a:ext cx="132563" cy="72738"/>
            </a:xfrm>
            <a:custGeom>
              <a:avLst/>
              <a:gdLst/>
              <a:ahLst/>
              <a:cxnLst/>
              <a:rect l="l" t="t" r="r" b="b"/>
              <a:pathLst>
                <a:path w="4168" h="2287" extrusionOk="0">
                  <a:moveTo>
                    <a:pt x="3846" y="322"/>
                  </a:moveTo>
                  <a:lnTo>
                    <a:pt x="3846" y="1977"/>
                  </a:lnTo>
                  <a:lnTo>
                    <a:pt x="786" y="1977"/>
                  </a:lnTo>
                  <a:lnTo>
                    <a:pt x="333" y="1560"/>
                  </a:lnTo>
                  <a:lnTo>
                    <a:pt x="333" y="322"/>
                  </a:lnTo>
                  <a:close/>
                  <a:moveTo>
                    <a:pt x="250" y="1"/>
                  </a:moveTo>
                  <a:cubicBezTo>
                    <a:pt x="119" y="1"/>
                    <a:pt x="0" y="120"/>
                    <a:pt x="0" y="251"/>
                  </a:cubicBezTo>
                  <a:lnTo>
                    <a:pt x="0" y="1584"/>
                  </a:lnTo>
                  <a:cubicBezTo>
                    <a:pt x="0" y="1667"/>
                    <a:pt x="36" y="1727"/>
                    <a:pt x="72" y="1763"/>
                  </a:cubicBezTo>
                  <a:lnTo>
                    <a:pt x="584" y="2227"/>
                  </a:lnTo>
                  <a:cubicBezTo>
                    <a:pt x="631" y="2275"/>
                    <a:pt x="691" y="2287"/>
                    <a:pt x="750" y="2287"/>
                  </a:cubicBezTo>
                  <a:lnTo>
                    <a:pt x="3905" y="2287"/>
                  </a:lnTo>
                  <a:cubicBezTo>
                    <a:pt x="4036" y="2287"/>
                    <a:pt x="4155" y="2168"/>
                    <a:pt x="4155" y="2037"/>
                  </a:cubicBezTo>
                  <a:lnTo>
                    <a:pt x="4155" y="239"/>
                  </a:lnTo>
                  <a:cubicBezTo>
                    <a:pt x="4167" y="120"/>
                    <a:pt x="4048" y="1"/>
                    <a:pt x="3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4" name="Google Shape;12814;p62"/>
            <p:cNvSpPr/>
            <p:nvPr/>
          </p:nvSpPr>
          <p:spPr>
            <a:xfrm>
              <a:off x="6405736" y="3407289"/>
              <a:ext cx="121591" cy="105306"/>
            </a:xfrm>
            <a:custGeom>
              <a:avLst/>
              <a:gdLst/>
              <a:ahLst/>
              <a:cxnLst/>
              <a:rect l="l" t="t" r="r" b="b"/>
              <a:pathLst>
                <a:path w="3823" h="3311" extrusionOk="0">
                  <a:moveTo>
                    <a:pt x="668" y="1"/>
                  </a:moveTo>
                  <a:cubicBezTo>
                    <a:pt x="299" y="1"/>
                    <a:pt x="1" y="299"/>
                    <a:pt x="1" y="680"/>
                  </a:cubicBezTo>
                  <a:lnTo>
                    <a:pt x="1" y="1775"/>
                  </a:lnTo>
                  <a:cubicBezTo>
                    <a:pt x="1" y="2073"/>
                    <a:pt x="239" y="2311"/>
                    <a:pt x="537" y="2311"/>
                  </a:cubicBezTo>
                  <a:cubicBezTo>
                    <a:pt x="822" y="2311"/>
                    <a:pt x="1049" y="2085"/>
                    <a:pt x="1072" y="1823"/>
                  </a:cubicBezTo>
                  <a:lnTo>
                    <a:pt x="2132" y="3251"/>
                  </a:lnTo>
                  <a:cubicBezTo>
                    <a:pt x="2156" y="3299"/>
                    <a:pt x="2204" y="3311"/>
                    <a:pt x="2263" y="3311"/>
                  </a:cubicBezTo>
                  <a:cubicBezTo>
                    <a:pt x="2287" y="3311"/>
                    <a:pt x="2335" y="3299"/>
                    <a:pt x="2346" y="3275"/>
                  </a:cubicBezTo>
                  <a:cubicBezTo>
                    <a:pt x="2430" y="3216"/>
                    <a:pt x="2442" y="3132"/>
                    <a:pt x="2382" y="3061"/>
                  </a:cubicBezTo>
                  <a:lnTo>
                    <a:pt x="1037" y="1227"/>
                  </a:lnTo>
                  <a:cubicBezTo>
                    <a:pt x="1009" y="1181"/>
                    <a:pt x="953" y="1164"/>
                    <a:pt x="901" y="1164"/>
                  </a:cubicBezTo>
                  <a:cubicBezTo>
                    <a:pt x="886" y="1164"/>
                    <a:pt x="872" y="1165"/>
                    <a:pt x="858" y="1168"/>
                  </a:cubicBezTo>
                  <a:cubicBezTo>
                    <a:pt x="799" y="1180"/>
                    <a:pt x="739" y="1251"/>
                    <a:pt x="739" y="1311"/>
                  </a:cubicBezTo>
                  <a:lnTo>
                    <a:pt x="739" y="1775"/>
                  </a:lnTo>
                  <a:cubicBezTo>
                    <a:pt x="739" y="1894"/>
                    <a:pt x="656" y="1989"/>
                    <a:pt x="537" y="1989"/>
                  </a:cubicBezTo>
                  <a:cubicBezTo>
                    <a:pt x="418" y="1989"/>
                    <a:pt x="322" y="1894"/>
                    <a:pt x="322" y="1775"/>
                  </a:cubicBezTo>
                  <a:lnTo>
                    <a:pt x="322" y="680"/>
                  </a:lnTo>
                  <a:cubicBezTo>
                    <a:pt x="322" y="477"/>
                    <a:pt x="489" y="322"/>
                    <a:pt x="680" y="322"/>
                  </a:cubicBezTo>
                  <a:cubicBezTo>
                    <a:pt x="787" y="322"/>
                    <a:pt x="882" y="358"/>
                    <a:pt x="941" y="418"/>
                  </a:cubicBezTo>
                  <a:lnTo>
                    <a:pt x="3525" y="3204"/>
                  </a:lnTo>
                  <a:cubicBezTo>
                    <a:pt x="3558" y="3236"/>
                    <a:pt x="3605" y="3255"/>
                    <a:pt x="3651" y="3255"/>
                  </a:cubicBezTo>
                  <a:cubicBezTo>
                    <a:pt x="3688" y="3255"/>
                    <a:pt x="3725" y="3242"/>
                    <a:pt x="3751" y="3216"/>
                  </a:cubicBezTo>
                  <a:cubicBezTo>
                    <a:pt x="3811" y="3180"/>
                    <a:pt x="3823" y="3073"/>
                    <a:pt x="3751" y="3001"/>
                  </a:cubicBezTo>
                  <a:lnTo>
                    <a:pt x="1156" y="215"/>
                  </a:lnTo>
                  <a:cubicBezTo>
                    <a:pt x="1025" y="84"/>
                    <a:pt x="846"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5" name="Google Shape;12815;p62"/>
            <p:cNvSpPr/>
            <p:nvPr/>
          </p:nvSpPr>
          <p:spPr>
            <a:xfrm>
              <a:off x="6212616" y="3407289"/>
              <a:ext cx="120827" cy="105306"/>
            </a:xfrm>
            <a:custGeom>
              <a:avLst/>
              <a:gdLst/>
              <a:ahLst/>
              <a:cxnLst/>
              <a:rect l="l" t="t" r="r" b="b"/>
              <a:pathLst>
                <a:path w="3799" h="3311" extrusionOk="0">
                  <a:moveTo>
                    <a:pt x="3132" y="1"/>
                  </a:moveTo>
                  <a:cubicBezTo>
                    <a:pt x="2930" y="1"/>
                    <a:pt x="2751" y="84"/>
                    <a:pt x="2632" y="215"/>
                  </a:cubicBezTo>
                  <a:lnTo>
                    <a:pt x="60" y="2978"/>
                  </a:lnTo>
                  <a:cubicBezTo>
                    <a:pt x="1" y="3037"/>
                    <a:pt x="1" y="3144"/>
                    <a:pt x="72" y="3204"/>
                  </a:cubicBezTo>
                  <a:cubicBezTo>
                    <a:pt x="101" y="3232"/>
                    <a:pt x="140" y="3247"/>
                    <a:pt x="180" y="3247"/>
                  </a:cubicBezTo>
                  <a:cubicBezTo>
                    <a:pt x="223" y="3247"/>
                    <a:pt x="267" y="3229"/>
                    <a:pt x="298" y="3192"/>
                  </a:cubicBezTo>
                  <a:lnTo>
                    <a:pt x="2870" y="418"/>
                  </a:lnTo>
                  <a:cubicBezTo>
                    <a:pt x="2930" y="346"/>
                    <a:pt x="3037" y="311"/>
                    <a:pt x="3132" y="311"/>
                  </a:cubicBezTo>
                  <a:cubicBezTo>
                    <a:pt x="3323" y="311"/>
                    <a:pt x="3489" y="477"/>
                    <a:pt x="3489" y="668"/>
                  </a:cubicBezTo>
                  <a:lnTo>
                    <a:pt x="3489" y="1775"/>
                  </a:lnTo>
                  <a:cubicBezTo>
                    <a:pt x="3489" y="1894"/>
                    <a:pt x="3394" y="1977"/>
                    <a:pt x="3275" y="1977"/>
                  </a:cubicBezTo>
                  <a:cubicBezTo>
                    <a:pt x="3156" y="1977"/>
                    <a:pt x="3061" y="1894"/>
                    <a:pt x="3061" y="1775"/>
                  </a:cubicBezTo>
                  <a:lnTo>
                    <a:pt x="3061" y="1334"/>
                  </a:lnTo>
                  <a:cubicBezTo>
                    <a:pt x="3061" y="1251"/>
                    <a:pt x="3025" y="1192"/>
                    <a:pt x="2953" y="1180"/>
                  </a:cubicBezTo>
                  <a:cubicBezTo>
                    <a:pt x="2937" y="1177"/>
                    <a:pt x="2921" y="1176"/>
                    <a:pt x="2906" y="1176"/>
                  </a:cubicBezTo>
                  <a:cubicBezTo>
                    <a:pt x="2851" y="1176"/>
                    <a:pt x="2800" y="1193"/>
                    <a:pt x="2763" y="1239"/>
                  </a:cubicBezTo>
                  <a:lnTo>
                    <a:pt x="1429" y="3061"/>
                  </a:lnTo>
                  <a:cubicBezTo>
                    <a:pt x="1370" y="3132"/>
                    <a:pt x="1382" y="3239"/>
                    <a:pt x="1465" y="3275"/>
                  </a:cubicBezTo>
                  <a:cubicBezTo>
                    <a:pt x="1489" y="3299"/>
                    <a:pt x="1525" y="3311"/>
                    <a:pt x="1549" y="3311"/>
                  </a:cubicBezTo>
                  <a:cubicBezTo>
                    <a:pt x="1596" y="3311"/>
                    <a:pt x="1656" y="3275"/>
                    <a:pt x="1679" y="3251"/>
                  </a:cubicBezTo>
                  <a:lnTo>
                    <a:pt x="2727" y="1835"/>
                  </a:lnTo>
                  <a:cubicBezTo>
                    <a:pt x="2739" y="2120"/>
                    <a:pt x="2977" y="2323"/>
                    <a:pt x="3263" y="2323"/>
                  </a:cubicBezTo>
                  <a:cubicBezTo>
                    <a:pt x="3561" y="2323"/>
                    <a:pt x="3799" y="2085"/>
                    <a:pt x="3799" y="1787"/>
                  </a:cubicBezTo>
                  <a:lnTo>
                    <a:pt x="3799" y="692"/>
                  </a:lnTo>
                  <a:cubicBezTo>
                    <a:pt x="3799" y="299"/>
                    <a:pt x="3501" y="1"/>
                    <a:pt x="3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16" name="Google Shape;12816;p62"/>
          <p:cNvGrpSpPr/>
          <p:nvPr/>
        </p:nvGrpSpPr>
        <p:grpSpPr>
          <a:xfrm>
            <a:off x="6637117" y="3397843"/>
            <a:ext cx="353735" cy="254504"/>
            <a:chOff x="6637117" y="3397843"/>
            <a:chExt cx="353735" cy="254504"/>
          </a:xfrm>
        </p:grpSpPr>
        <p:sp>
          <p:nvSpPr>
            <p:cNvPr id="12817" name="Google Shape;12817;p62"/>
            <p:cNvSpPr/>
            <p:nvPr/>
          </p:nvSpPr>
          <p:spPr>
            <a:xfrm>
              <a:off x="6637117" y="3397843"/>
              <a:ext cx="353735" cy="254504"/>
            </a:xfrm>
            <a:custGeom>
              <a:avLst/>
              <a:gdLst/>
              <a:ahLst/>
              <a:cxnLst/>
              <a:rect l="l" t="t" r="r" b="b"/>
              <a:pathLst>
                <a:path w="11122" h="8002" extrusionOk="0">
                  <a:moveTo>
                    <a:pt x="1941" y="358"/>
                  </a:moveTo>
                  <a:cubicBezTo>
                    <a:pt x="2001" y="358"/>
                    <a:pt x="2048" y="405"/>
                    <a:pt x="2048" y="465"/>
                  </a:cubicBezTo>
                  <a:lnTo>
                    <a:pt x="2025" y="810"/>
                  </a:lnTo>
                  <a:lnTo>
                    <a:pt x="1334" y="810"/>
                  </a:lnTo>
                  <a:lnTo>
                    <a:pt x="1334" y="465"/>
                  </a:lnTo>
                  <a:cubicBezTo>
                    <a:pt x="1334" y="405"/>
                    <a:pt x="1370" y="358"/>
                    <a:pt x="1429" y="358"/>
                  </a:cubicBezTo>
                  <a:close/>
                  <a:moveTo>
                    <a:pt x="10002" y="1179"/>
                  </a:moveTo>
                  <a:cubicBezTo>
                    <a:pt x="10061" y="1179"/>
                    <a:pt x="10109" y="1227"/>
                    <a:pt x="10109" y="1286"/>
                  </a:cubicBezTo>
                  <a:lnTo>
                    <a:pt x="10097" y="1596"/>
                  </a:lnTo>
                  <a:lnTo>
                    <a:pt x="8752" y="1596"/>
                  </a:lnTo>
                  <a:lnTo>
                    <a:pt x="8752" y="1286"/>
                  </a:lnTo>
                  <a:cubicBezTo>
                    <a:pt x="8752" y="1227"/>
                    <a:pt x="8799" y="1179"/>
                    <a:pt x="8859" y="1179"/>
                  </a:cubicBezTo>
                  <a:close/>
                  <a:moveTo>
                    <a:pt x="1417" y="0"/>
                  </a:moveTo>
                  <a:cubicBezTo>
                    <a:pt x="1179" y="0"/>
                    <a:pt x="989" y="203"/>
                    <a:pt x="989" y="441"/>
                  </a:cubicBezTo>
                  <a:lnTo>
                    <a:pt x="989" y="774"/>
                  </a:lnTo>
                  <a:lnTo>
                    <a:pt x="846" y="774"/>
                  </a:lnTo>
                  <a:cubicBezTo>
                    <a:pt x="655" y="774"/>
                    <a:pt x="477" y="834"/>
                    <a:pt x="334" y="953"/>
                  </a:cubicBezTo>
                  <a:cubicBezTo>
                    <a:pt x="251" y="1012"/>
                    <a:pt x="251" y="1120"/>
                    <a:pt x="298" y="1191"/>
                  </a:cubicBezTo>
                  <a:cubicBezTo>
                    <a:pt x="332" y="1238"/>
                    <a:pt x="382" y="1259"/>
                    <a:pt x="431" y="1259"/>
                  </a:cubicBezTo>
                  <a:cubicBezTo>
                    <a:pt x="468" y="1259"/>
                    <a:pt x="506" y="1247"/>
                    <a:pt x="536" y="1227"/>
                  </a:cubicBezTo>
                  <a:cubicBezTo>
                    <a:pt x="644" y="1132"/>
                    <a:pt x="756" y="1114"/>
                    <a:pt x="865" y="1114"/>
                  </a:cubicBezTo>
                  <a:cubicBezTo>
                    <a:pt x="932" y="1114"/>
                    <a:pt x="998" y="1121"/>
                    <a:pt x="1062" y="1121"/>
                  </a:cubicBezTo>
                  <a:cubicBezTo>
                    <a:pt x="1077" y="1121"/>
                    <a:pt x="1093" y="1121"/>
                    <a:pt x="1108" y="1120"/>
                  </a:cubicBezTo>
                  <a:lnTo>
                    <a:pt x="2489" y="1120"/>
                  </a:lnTo>
                  <a:cubicBezTo>
                    <a:pt x="2751" y="1120"/>
                    <a:pt x="2977" y="1346"/>
                    <a:pt x="2977" y="1608"/>
                  </a:cubicBezTo>
                  <a:lnTo>
                    <a:pt x="2977" y="2239"/>
                  </a:lnTo>
                  <a:cubicBezTo>
                    <a:pt x="2977" y="2322"/>
                    <a:pt x="3049" y="2405"/>
                    <a:pt x="3144" y="2405"/>
                  </a:cubicBezTo>
                  <a:cubicBezTo>
                    <a:pt x="3227" y="2405"/>
                    <a:pt x="3311" y="2322"/>
                    <a:pt x="3311" y="2239"/>
                  </a:cubicBezTo>
                  <a:lnTo>
                    <a:pt x="3311" y="1929"/>
                  </a:lnTo>
                  <a:lnTo>
                    <a:pt x="10311" y="1929"/>
                  </a:lnTo>
                  <a:cubicBezTo>
                    <a:pt x="10573" y="1941"/>
                    <a:pt x="10776" y="2167"/>
                    <a:pt x="10776" y="2417"/>
                  </a:cubicBezTo>
                  <a:lnTo>
                    <a:pt x="10776" y="2608"/>
                  </a:lnTo>
                  <a:lnTo>
                    <a:pt x="10490" y="2608"/>
                  </a:lnTo>
                  <a:cubicBezTo>
                    <a:pt x="10407" y="2608"/>
                    <a:pt x="10335" y="2679"/>
                    <a:pt x="10335" y="2774"/>
                  </a:cubicBezTo>
                  <a:cubicBezTo>
                    <a:pt x="10335" y="2858"/>
                    <a:pt x="10407" y="2941"/>
                    <a:pt x="10490" y="2941"/>
                  </a:cubicBezTo>
                  <a:lnTo>
                    <a:pt x="10776" y="2941"/>
                  </a:lnTo>
                  <a:lnTo>
                    <a:pt x="10776" y="6846"/>
                  </a:lnTo>
                  <a:lnTo>
                    <a:pt x="10014" y="6846"/>
                  </a:lnTo>
                  <a:cubicBezTo>
                    <a:pt x="9764" y="6846"/>
                    <a:pt x="9573" y="6644"/>
                    <a:pt x="9573" y="6406"/>
                  </a:cubicBezTo>
                  <a:lnTo>
                    <a:pt x="9573" y="3382"/>
                  </a:lnTo>
                  <a:cubicBezTo>
                    <a:pt x="9573" y="3191"/>
                    <a:pt x="9704" y="3013"/>
                    <a:pt x="9883" y="2953"/>
                  </a:cubicBezTo>
                  <a:cubicBezTo>
                    <a:pt x="9978" y="2917"/>
                    <a:pt x="10014" y="2834"/>
                    <a:pt x="9990" y="2739"/>
                  </a:cubicBezTo>
                  <a:cubicBezTo>
                    <a:pt x="9962" y="2675"/>
                    <a:pt x="9907" y="2632"/>
                    <a:pt x="9839" y="2632"/>
                  </a:cubicBezTo>
                  <a:cubicBezTo>
                    <a:pt x="9819" y="2632"/>
                    <a:pt x="9797" y="2635"/>
                    <a:pt x="9776" y="2644"/>
                  </a:cubicBezTo>
                  <a:cubicBezTo>
                    <a:pt x="9454" y="2739"/>
                    <a:pt x="9228" y="3036"/>
                    <a:pt x="9228" y="3382"/>
                  </a:cubicBezTo>
                  <a:lnTo>
                    <a:pt x="9228" y="6406"/>
                  </a:lnTo>
                  <a:cubicBezTo>
                    <a:pt x="9228" y="6835"/>
                    <a:pt x="9573" y="7180"/>
                    <a:pt x="10002" y="7180"/>
                  </a:cubicBezTo>
                  <a:lnTo>
                    <a:pt x="10764" y="7180"/>
                  </a:lnTo>
                  <a:cubicBezTo>
                    <a:pt x="10764" y="7442"/>
                    <a:pt x="10538" y="7668"/>
                    <a:pt x="10276" y="7668"/>
                  </a:cubicBezTo>
                  <a:lnTo>
                    <a:pt x="3132" y="7668"/>
                  </a:lnTo>
                  <a:cubicBezTo>
                    <a:pt x="3203" y="7573"/>
                    <a:pt x="3251" y="7466"/>
                    <a:pt x="3275" y="7335"/>
                  </a:cubicBezTo>
                  <a:cubicBezTo>
                    <a:pt x="3287" y="7251"/>
                    <a:pt x="3227" y="7156"/>
                    <a:pt x="3144" y="7144"/>
                  </a:cubicBezTo>
                  <a:cubicBezTo>
                    <a:pt x="3136" y="7143"/>
                    <a:pt x="3128" y="7143"/>
                    <a:pt x="3120" y="7143"/>
                  </a:cubicBezTo>
                  <a:cubicBezTo>
                    <a:pt x="3035" y="7143"/>
                    <a:pt x="2964" y="7199"/>
                    <a:pt x="2953" y="7275"/>
                  </a:cubicBezTo>
                  <a:cubicBezTo>
                    <a:pt x="2906" y="7501"/>
                    <a:pt x="2691" y="7668"/>
                    <a:pt x="2477" y="7668"/>
                  </a:cubicBezTo>
                  <a:lnTo>
                    <a:pt x="751" y="7668"/>
                  </a:lnTo>
                  <a:cubicBezTo>
                    <a:pt x="513" y="7632"/>
                    <a:pt x="334" y="7430"/>
                    <a:pt x="334" y="7180"/>
                  </a:cubicBezTo>
                  <a:lnTo>
                    <a:pt x="334" y="2548"/>
                  </a:lnTo>
                  <a:lnTo>
                    <a:pt x="334" y="1691"/>
                  </a:lnTo>
                  <a:cubicBezTo>
                    <a:pt x="334" y="1596"/>
                    <a:pt x="251" y="1524"/>
                    <a:pt x="167" y="1524"/>
                  </a:cubicBezTo>
                  <a:cubicBezTo>
                    <a:pt x="72" y="1524"/>
                    <a:pt x="1" y="1596"/>
                    <a:pt x="1" y="1691"/>
                  </a:cubicBezTo>
                  <a:lnTo>
                    <a:pt x="1" y="7180"/>
                  </a:lnTo>
                  <a:cubicBezTo>
                    <a:pt x="1" y="7585"/>
                    <a:pt x="298" y="7918"/>
                    <a:pt x="691" y="7978"/>
                  </a:cubicBezTo>
                  <a:cubicBezTo>
                    <a:pt x="703" y="7978"/>
                    <a:pt x="727" y="7978"/>
                    <a:pt x="751" y="8001"/>
                  </a:cubicBezTo>
                  <a:lnTo>
                    <a:pt x="10276" y="8001"/>
                  </a:lnTo>
                  <a:cubicBezTo>
                    <a:pt x="10716" y="8001"/>
                    <a:pt x="11085" y="7620"/>
                    <a:pt x="11085" y="7180"/>
                  </a:cubicBezTo>
                  <a:lnTo>
                    <a:pt x="11085" y="2405"/>
                  </a:lnTo>
                  <a:cubicBezTo>
                    <a:pt x="11121" y="2001"/>
                    <a:pt x="10823" y="1655"/>
                    <a:pt x="10442" y="1596"/>
                  </a:cubicBezTo>
                  <a:lnTo>
                    <a:pt x="10442" y="1262"/>
                  </a:lnTo>
                  <a:cubicBezTo>
                    <a:pt x="10442" y="1024"/>
                    <a:pt x="10240" y="834"/>
                    <a:pt x="10002" y="834"/>
                  </a:cubicBezTo>
                  <a:lnTo>
                    <a:pt x="8859" y="834"/>
                  </a:lnTo>
                  <a:cubicBezTo>
                    <a:pt x="8621" y="834"/>
                    <a:pt x="8430" y="1024"/>
                    <a:pt x="8430" y="1262"/>
                  </a:cubicBezTo>
                  <a:lnTo>
                    <a:pt x="8430" y="1584"/>
                  </a:lnTo>
                  <a:lnTo>
                    <a:pt x="7966" y="1584"/>
                  </a:lnTo>
                  <a:lnTo>
                    <a:pt x="7621" y="834"/>
                  </a:lnTo>
                  <a:cubicBezTo>
                    <a:pt x="7502" y="572"/>
                    <a:pt x="7240" y="405"/>
                    <a:pt x="6942" y="405"/>
                  </a:cubicBezTo>
                  <a:lnTo>
                    <a:pt x="5597" y="405"/>
                  </a:lnTo>
                  <a:cubicBezTo>
                    <a:pt x="5358" y="405"/>
                    <a:pt x="5120" y="524"/>
                    <a:pt x="4989" y="715"/>
                  </a:cubicBezTo>
                  <a:cubicBezTo>
                    <a:pt x="4930" y="798"/>
                    <a:pt x="4966" y="893"/>
                    <a:pt x="5037" y="941"/>
                  </a:cubicBezTo>
                  <a:cubicBezTo>
                    <a:pt x="5064" y="963"/>
                    <a:pt x="5096" y="974"/>
                    <a:pt x="5128" y="974"/>
                  </a:cubicBezTo>
                  <a:cubicBezTo>
                    <a:pt x="5181" y="974"/>
                    <a:pt x="5234" y="945"/>
                    <a:pt x="5263" y="893"/>
                  </a:cubicBezTo>
                  <a:cubicBezTo>
                    <a:pt x="5335" y="798"/>
                    <a:pt x="5466" y="715"/>
                    <a:pt x="5597" y="715"/>
                  </a:cubicBezTo>
                  <a:lnTo>
                    <a:pt x="6942" y="715"/>
                  </a:lnTo>
                  <a:cubicBezTo>
                    <a:pt x="7109" y="715"/>
                    <a:pt x="7252" y="810"/>
                    <a:pt x="7323" y="953"/>
                  </a:cubicBezTo>
                  <a:lnTo>
                    <a:pt x="7609" y="1572"/>
                  </a:lnTo>
                  <a:lnTo>
                    <a:pt x="4942" y="1572"/>
                  </a:lnTo>
                  <a:lnTo>
                    <a:pt x="4989" y="1465"/>
                  </a:lnTo>
                  <a:cubicBezTo>
                    <a:pt x="5037" y="1370"/>
                    <a:pt x="4989" y="1286"/>
                    <a:pt x="4918" y="1239"/>
                  </a:cubicBezTo>
                  <a:cubicBezTo>
                    <a:pt x="4891" y="1225"/>
                    <a:pt x="4866" y="1219"/>
                    <a:pt x="4841" y="1219"/>
                  </a:cubicBezTo>
                  <a:cubicBezTo>
                    <a:pt x="4779" y="1219"/>
                    <a:pt x="4726" y="1259"/>
                    <a:pt x="4692" y="1310"/>
                  </a:cubicBezTo>
                  <a:lnTo>
                    <a:pt x="4573" y="1572"/>
                  </a:lnTo>
                  <a:lnTo>
                    <a:pt x="3311" y="1572"/>
                  </a:lnTo>
                  <a:cubicBezTo>
                    <a:pt x="3299" y="1131"/>
                    <a:pt x="2918" y="774"/>
                    <a:pt x="2489" y="774"/>
                  </a:cubicBezTo>
                  <a:lnTo>
                    <a:pt x="2358" y="774"/>
                  </a:lnTo>
                  <a:lnTo>
                    <a:pt x="2358" y="441"/>
                  </a:lnTo>
                  <a:cubicBezTo>
                    <a:pt x="2358" y="203"/>
                    <a:pt x="2168" y="0"/>
                    <a:pt x="19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8" name="Google Shape;12818;p62"/>
            <p:cNvSpPr/>
            <p:nvPr/>
          </p:nvSpPr>
          <p:spPr>
            <a:xfrm>
              <a:off x="6732532" y="3484925"/>
              <a:ext cx="10273" cy="129923"/>
            </a:xfrm>
            <a:custGeom>
              <a:avLst/>
              <a:gdLst/>
              <a:ahLst/>
              <a:cxnLst/>
              <a:rect l="l" t="t" r="r" b="b"/>
              <a:pathLst>
                <a:path w="323" h="4085" extrusionOk="0">
                  <a:moveTo>
                    <a:pt x="156" y="1"/>
                  </a:moveTo>
                  <a:cubicBezTo>
                    <a:pt x="72" y="1"/>
                    <a:pt x="1" y="84"/>
                    <a:pt x="1" y="167"/>
                  </a:cubicBezTo>
                  <a:lnTo>
                    <a:pt x="1" y="3918"/>
                  </a:lnTo>
                  <a:cubicBezTo>
                    <a:pt x="1" y="4013"/>
                    <a:pt x="72" y="4085"/>
                    <a:pt x="156" y="4085"/>
                  </a:cubicBezTo>
                  <a:cubicBezTo>
                    <a:pt x="251" y="4085"/>
                    <a:pt x="322" y="4013"/>
                    <a:pt x="322" y="3918"/>
                  </a:cubicBezTo>
                  <a:lnTo>
                    <a:pt x="322" y="167"/>
                  </a:lnTo>
                  <a:cubicBezTo>
                    <a:pt x="322" y="84"/>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9" name="Google Shape;12819;p62"/>
            <p:cNvSpPr/>
            <p:nvPr/>
          </p:nvSpPr>
          <p:spPr>
            <a:xfrm>
              <a:off x="6903707" y="3467591"/>
              <a:ext cx="38293" cy="29483"/>
            </a:xfrm>
            <a:custGeom>
              <a:avLst/>
              <a:gdLst/>
              <a:ahLst/>
              <a:cxnLst/>
              <a:rect l="l" t="t" r="r" b="b"/>
              <a:pathLst>
                <a:path w="1204" h="927" extrusionOk="0">
                  <a:moveTo>
                    <a:pt x="728" y="0"/>
                  </a:moveTo>
                  <a:cubicBezTo>
                    <a:pt x="676" y="0"/>
                    <a:pt x="625" y="26"/>
                    <a:pt x="596" y="70"/>
                  </a:cubicBezTo>
                  <a:cubicBezTo>
                    <a:pt x="536" y="153"/>
                    <a:pt x="572" y="248"/>
                    <a:pt x="644" y="296"/>
                  </a:cubicBezTo>
                  <a:cubicBezTo>
                    <a:pt x="775" y="391"/>
                    <a:pt x="703" y="593"/>
                    <a:pt x="548" y="593"/>
                  </a:cubicBezTo>
                  <a:cubicBezTo>
                    <a:pt x="453" y="593"/>
                    <a:pt x="370" y="510"/>
                    <a:pt x="394" y="403"/>
                  </a:cubicBezTo>
                  <a:cubicBezTo>
                    <a:pt x="405" y="308"/>
                    <a:pt x="346" y="224"/>
                    <a:pt x="251" y="212"/>
                  </a:cubicBezTo>
                  <a:cubicBezTo>
                    <a:pt x="238" y="209"/>
                    <a:pt x="225" y="207"/>
                    <a:pt x="213" y="207"/>
                  </a:cubicBezTo>
                  <a:cubicBezTo>
                    <a:pt x="141" y="207"/>
                    <a:pt x="70" y="262"/>
                    <a:pt x="60" y="343"/>
                  </a:cubicBezTo>
                  <a:cubicBezTo>
                    <a:pt x="1" y="653"/>
                    <a:pt x="239" y="927"/>
                    <a:pt x="548" y="927"/>
                  </a:cubicBezTo>
                  <a:cubicBezTo>
                    <a:pt x="1013" y="927"/>
                    <a:pt x="1203" y="308"/>
                    <a:pt x="822" y="34"/>
                  </a:cubicBezTo>
                  <a:cubicBezTo>
                    <a:pt x="794" y="11"/>
                    <a:pt x="761" y="0"/>
                    <a:pt x="72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0" name="Google Shape;12820;p62"/>
            <p:cNvSpPr/>
            <p:nvPr/>
          </p:nvSpPr>
          <p:spPr>
            <a:xfrm>
              <a:off x="6750725" y="3461739"/>
              <a:ext cx="177249" cy="177345"/>
            </a:xfrm>
            <a:custGeom>
              <a:avLst/>
              <a:gdLst/>
              <a:ahLst/>
              <a:cxnLst/>
              <a:rect l="l" t="t" r="r" b="b"/>
              <a:pathLst>
                <a:path w="5573" h="5576" extrusionOk="0">
                  <a:moveTo>
                    <a:pt x="2753" y="0"/>
                  </a:moveTo>
                  <a:cubicBezTo>
                    <a:pt x="2168" y="0"/>
                    <a:pt x="1571" y="186"/>
                    <a:pt x="1048" y="599"/>
                  </a:cubicBezTo>
                  <a:cubicBezTo>
                    <a:pt x="977" y="658"/>
                    <a:pt x="953" y="765"/>
                    <a:pt x="1013" y="837"/>
                  </a:cubicBezTo>
                  <a:cubicBezTo>
                    <a:pt x="1049" y="881"/>
                    <a:pt x="1103" y="906"/>
                    <a:pt x="1156" y="906"/>
                  </a:cubicBezTo>
                  <a:cubicBezTo>
                    <a:pt x="1190" y="906"/>
                    <a:pt x="1223" y="896"/>
                    <a:pt x="1251" y="873"/>
                  </a:cubicBezTo>
                  <a:cubicBezTo>
                    <a:pt x="1711" y="505"/>
                    <a:pt x="2238" y="339"/>
                    <a:pt x="2753" y="339"/>
                  </a:cubicBezTo>
                  <a:cubicBezTo>
                    <a:pt x="4023" y="339"/>
                    <a:pt x="5227" y="1342"/>
                    <a:pt x="5227" y="2790"/>
                  </a:cubicBezTo>
                  <a:cubicBezTo>
                    <a:pt x="5227" y="3373"/>
                    <a:pt x="5013" y="3921"/>
                    <a:pt x="4668" y="4361"/>
                  </a:cubicBezTo>
                  <a:cubicBezTo>
                    <a:pt x="4203" y="4933"/>
                    <a:pt x="3501" y="5242"/>
                    <a:pt x="2775" y="5242"/>
                  </a:cubicBezTo>
                  <a:cubicBezTo>
                    <a:pt x="1417" y="5242"/>
                    <a:pt x="322" y="4147"/>
                    <a:pt x="322" y="2790"/>
                  </a:cubicBezTo>
                  <a:cubicBezTo>
                    <a:pt x="322" y="2242"/>
                    <a:pt x="501" y="1730"/>
                    <a:pt x="822" y="1301"/>
                  </a:cubicBezTo>
                  <a:cubicBezTo>
                    <a:pt x="882" y="1230"/>
                    <a:pt x="870" y="1123"/>
                    <a:pt x="798" y="1075"/>
                  </a:cubicBezTo>
                  <a:cubicBezTo>
                    <a:pt x="763" y="1050"/>
                    <a:pt x="727" y="1038"/>
                    <a:pt x="692" y="1038"/>
                  </a:cubicBezTo>
                  <a:cubicBezTo>
                    <a:pt x="644" y="1038"/>
                    <a:pt x="600" y="1062"/>
                    <a:pt x="572" y="1111"/>
                  </a:cubicBezTo>
                  <a:cubicBezTo>
                    <a:pt x="203" y="1599"/>
                    <a:pt x="0" y="2182"/>
                    <a:pt x="0" y="2790"/>
                  </a:cubicBezTo>
                  <a:cubicBezTo>
                    <a:pt x="0" y="4325"/>
                    <a:pt x="1251" y="5576"/>
                    <a:pt x="2787" y="5576"/>
                  </a:cubicBezTo>
                  <a:cubicBezTo>
                    <a:pt x="3620" y="5576"/>
                    <a:pt x="4394" y="5195"/>
                    <a:pt x="4930" y="4575"/>
                  </a:cubicBezTo>
                  <a:cubicBezTo>
                    <a:pt x="5346" y="4087"/>
                    <a:pt x="5573" y="3444"/>
                    <a:pt x="5573" y="2790"/>
                  </a:cubicBezTo>
                  <a:cubicBezTo>
                    <a:pt x="5564" y="1130"/>
                    <a:pt x="4194" y="0"/>
                    <a:pt x="27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1" name="Google Shape;12821;p62"/>
            <p:cNvSpPr/>
            <p:nvPr/>
          </p:nvSpPr>
          <p:spPr>
            <a:xfrm>
              <a:off x="6778363" y="3495166"/>
              <a:ext cx="134090" cy="110681"/>
            </a:xfrm>
            <a:custGeom>
              <a:avLst/>
              <a:gdLst/>
              <a:ahLst/>
              <a:cxnLst/>
              <a:rect l="l" t="t" r="r" b="b"/>
              <a:pathLst>
                <a:path w="4216" h="3480" extrusionOk="0">
                  <a:moveTo>
                    <a:pt x="1906" y="0"/>
                  </a:moveTo>
                  <a:cubicBezTo>
                    <a:pt x="834" y="0"/>
                    <a:pt x="1" y="965"/>
                    <a:pt x="179" y="2024"/>
                  </a:cubicBezTo>
                  <a:cubicBezTo>
                    <a:pt x="190" y="2100"/>
                    <a:pt x="271" y="2157"/>
                    <a:pt x="348" y="2157"/>
                  </a:cubicBezTo>
                  <a:cubicBezTo>
                    <a:pt x="355" y="2157"/>
                    <a:pt x="363" y="2156"/>
                    <a:pt x="370" y="2155"/>
                  </a:cubicBezTo>
                  <a:cubicBezTo>
                    <a:pt x="465" y="2143"/>
                    <a:pt x="525" y="2048"/>
                    <a:pt x="501" y="1965"/>
                  </a:cubicBezTo>
                  <a:cubicBezTo>
                    <a:pt x="348" y="1037"/>
                    <a:pt x="1082" y="310"/>
                    <a:pt x="1901" y="310"/>
                  </a:cubicBezTo>
                  <a:cubicBezTo>
                    <a:pt x="2228" y="310"/>
                    <a:pt x="2568" y="426"/>
                    <a:pt x="2870" y="691"/>
                  </a:cubicBezTo>
                  <a:cubicBezTo>
                    <a:pt x="3442" y="1215"/>
                    <a:pt x="3477" y="2108"/>
                    <a:pt x="2941" y="2691"/>
                  </a:cubicBezTo>
                  <a:cubicBezTo>
                    <a:pt x="2660" y="2994"/>
                    <a:pt x="2278" y="3142"/>
                    <a:pt x="1899" y="3142"/>
                  </a:cubicBezTo>
                  <a:cubicBezTo>
                    <a:pt x="1444" y="3142"/>
                    <a:pt x="993" y="2928"/>
                    <a:pt x="727" y="2512"/>
                  </a:cubicBezTo>
                  <a:cubicBezTo>
                    <a:pt x="696" y="2466"/>
                    <a:pt x="645" y="2435"/>
                    <a:pt x="590" y="2435"/>
                  </a:cubicBezTo>
                  <a:cubicBezTo>
                    <a:pt x="561" y="2435"/>
                    <a:pt x="530" y="2444"/>
                    <a:pt x="501" y="2465"/>
                  </a:cubicBezTo>
                  <a:cubicBezTo>
                    <a:pt x="429" y="2512"/>
                    <a:pt x="405" y="2620"/>
                    <a:pt x="465" y="2691"/>
                  </a:cubicBezTo>
                  <a:cubicBezTo>
                    <a:pt x="803" y="3212"/>
                    <a:pt x="1362" y="3480"/>
                    <a:pt x="1924" y="3480"/>
                  </a:cubicBezTo>
                  <a:cubicBezTo>
                    <a:pt x="2390" y="3480"/>
                    <a:pt x="2858" y="3295"/>
                    <a:pt x="3203" y="2917"/>
                  </a:cubicBezTo>
                  <a:cubicBezTo>
                    <a:pt x="4215" y="1810"/>
                    <a:pt x="3418" y="0"/>
                    <a:pt x="1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2" name="Google Shape;12822;p62"/>
            <p:cNvSpPr/>
            <p:nvPr/>
          </p:nvSpPr>
          <p:spPr>
            <a:xfrm>
              <a:off x="6820791" y="3521501"/>
              <a:ext cx="49997" cy="41665"/>
            </a:xfrm>
            <a:custGeom>
              <a:avLst/>
              <a:gdLst/>
              <a:ahLst/>
              <a:cxnLst/>
              <a:rect l="l" t="t" r="r" b="b"/>
              <a:pathLst>
                <a:path w="1572" h="1310" extrusionOk="0">
                  <a:moveTo>
                    <a:pt x="756" y="0"/>
                  </a:moveTo>
                  <a:cubicBezTo>
                    <a:pt x="743" y="0"/>
                    <a:pt x="729" y="2"/>
                    <a:pt x="715" y="6"/>
                  </a:cubicBezTo>
                  <a:cubicBezTo>
                    <a:pt x="203" y="101"/>
                    <a:pt x="0" y="744"/>
                    <a:pt x="381" y="1113"/>
                  </a:cubicBezTo>
                  <a:cubicBezTo>
                    <a:pt x="506" y="1244"/>
                    <a:pt x="676" y="1309"/>
                    <a:pt x="845" y="1309"/>
                  </a:cubicBezTo>
                  <a:cubicBezTo>
                    <a:pt x="1015" y="1309"/>
                    <a:pt x="1185" y="1244"/>
                    <a:pt x="1310" y="1113"/>
                  </a:cubicBezTo>
                  <a:cubicBezTo>
                    <a:pt x="1524" y="911"/>
                    <a:pt x="1572" y="613"/>
                    <a:pt x="1453" y="363"/>
                  </a:cubicBezTo>
                  <a:cubicBezTo>
                    <a:pt x="1418" y="301"/>
                    <a:pt x="1356" y="266"/>
                    <a:pt x="1293" y="266"/>
                  </a:cubicBezTo>
                  <a:cubicBezTo>
                    <a:pt x="1271" y="266"/>
                    <a:pt x="1248" y="270"/>
                    <a:pt x="1226" y="280"/>
                  </a:cubicBezTo>
                  <a:cubicBezTo>
                    <a:pt x="1155" y="327"/>
                    <a:pt x="1107" y="422"/>
                    <a:pt x="1155" y="506"/>
                  </a:cubicBezTo>
                  <a:cubicBezTo>
                    <a:pt x="1215" y="625"/>
                    <a:pt x="1191" y="791"/>
                    <a:pt x="1096" y="899"/>
                  </a:cubicBezTo>
                  <a:cubicBezTo>
                    <a:pt x="1024" y="964"/>
                    <a:pt x="938" y="997"/>
                    <a:pt x="851" y="997"/>
                  </a:cubicBezTo>
                  <a:cubicBezTo>
                    <a:pt x="765" y="997"/>
                    <a:pt x="679" y="964"/>
                    <a:pt x="607" y="899"/>
                  </a:cubicBezTo>
                  <a:cubicBezTo>
                    <a:pt x="417" y="696"/>
                    <a:pt x="524" y="375"/>
                    <a:pt x="774" y="327"/>
                  </a:cubicBezTo>
                  <a:cubicBezTo>
                    <a:pt x="869" y="315"/>
                    <a:pt x="929" y="220"/>
                    <a:pt x="905" y="137"/>
                  </a:cubicBezTo>
                  <a:cubicBezTo>
                    <a:pt x="895" y="56"/>
                    <a:pt x="833" y="0"/>
                    <a:pt x="7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23" name="Google Shape;12823;p62"/>
          <p:cNvGrpSpPr/>
          <p:nvPr/>
        </p:nvGrpSpPr>
        <p:grpSpPr>
          <a:xfrm>
            <a:off x="7075994" y="3349531"/>
            <a:ext cx="360637" cy="352336"/>
            <a:chOff x="7075994" y="3349531"/>
            <a:chExt cx="360637" cy="352336"/>
          </a:xfrm>
        </p:grpSpPr>
        <p:sp>
          <p:nvSpPr>
            <p:cNvPr id="12824" name="Google Shape;12824;p62"/>
            <p:cNvSpPr/>
            <p:nvPr/>
          </p:nvSpPr>
          <p:spPr>
            <a:xfrm>
              <a:off x="7277097" y="3607502"/>
              <a:ext cx="56454" cy="57154"/>
            </a:xfrm>
            <a:custGeom>
              <a:avLst/>
              <a:gdLst/>
              <a:ahLst/>
              <a:cxnLst/>
              <a:rect l="l" t="t" r="r" b="b"/>
              <a:pathLst>
                <a:path w="1775" h="1797" extrusionOk="0">
                  <a:moveTo>
                    <a:pt x="871" y="0"/>
                  </a:moveTo>
                  <a:cubicBezTo>
                    <a:pt x="656" y="0"/>
                    <a:pt x="438" y="79"/>
                    <a:pt x="262" y="254"/>
                  </a:cubicBezTo>
                  <a:cubicBezTo>
                    <a:pt x="203" y="314"/>
                    <a:pt x="203" y="421"/>
                    <a:pt x="262" y="493"/>
                  </a:cubicBezTo>
                  <a:cubicBezTo>
                    <a:pt x="292" y="522"/>
                    <a:pt x="331" y="537"/>
                    <a:pt x="372" y="537"/>
                  </a:cubicBezTo>
                  <a:cubicBezTo>
                    <a:pt x="414" y="537"/>
                    <a:pt x="459" y="522"/>
                    <a:pt x="500" y="493"/>
                  </a:cubicBezTo>
                  <a:cubicBezTo>
                    <a:pt x="609" y="391"/>
                    <a:pt x="753" y="335"/>
                    <a:pt x="898" y="335"/>
                  </a:cubicBezTo>
                  <a:cubicBezTo>
                    <a:pt x="1007" y="335"/>
                    <a:pt x="1117" y="367"/>
                    <a:pt x="1215" y="433"/>
                  </a:cubicBezTo>
                  <a:cubicBezTo>
                    <a:pt x="1465" y="612"/>
                    <a:pt x="1536" y="957"/>
                    <a:pt x="1357" y="1231"/>
                  </a:cubicBezTo>
                  <a:cubicBezTo>
                    <a:pt x="1241" y="1398"/>
                    <a:pt x="1069" y="1475"/>
                    <a:pt x="898" y="1475"/>
                  </a:cubicBezTo>
                  <a:cubicBezTo>
                    <a:pt x="632" y="1475"/>
                    <a:pt x="370" y="1288"/>
                    <a:pt x="334" y="969"/>
                  </a:cubicBezTo>
                  <a:cubicBezTo>
                    <a:pt x="322" y="885"/>
                    <a:pt x="238" y="826"/>
                    <a:pt x="155" y="826"/>
                  </a:cubicBezTo>
                  <a:cubicBezTo>
                    <a:pt x="60" y="838"/>
                    <a:pt x="0" y="909"/>
                    <a:pt x="0" y="1005"/>
                  </a:cubicBezTo>
                  <a:cubicBezTo>
                    <a:pt x="58" y="1504"/>
                    <a:pt x="477" y="1797"/>
                    <a:pt x="901" y="1797"/>
                  </a:cubicBezTo>
                  <a:cubicBezTo>
                    <a:pt x="1174" y="1797"/>
                    <a:pt x="1449" y="1675"/>
                    <a:pt x="1631" y="1409"/>
                  </a:cubicBezTo>
                  <a:cubicBezTo>
                    <a:pt x="1727" y="1255"/>
                    <a:pt x="1774" y="1076"/>
                    <a:pt x="1774" y="897"/>
                  </a:cubicBezTo>
                  <a:cubicBezTo>
                    <a:pt x="1774" y="355"/>
                    <a:pt x="1329" y="0"/>
                    <a:pt x="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5" name="Google Shape;12825;p62"/>
            <p:cNvSpPr/>
            <p:nvPr/>
          </p:nvSpPr>
          <p:spPr>
            <a:xfrm>
              <a:off x="7090784" y="3428917"/>
              <a:ext cx="190894" cy="81421"/>
            </a:xfrm>
            <a:custGeom>
              <a:avLst/>
              <a:gdLst/>
              <a:ahLst/>
              <a:cxnLst/>
              <a:rect l="l" t="t" r="r" b="b"/>
              <a:pathLst>
                <a:path w="6002" h="2560" extrusionOk="0">
                  <a:moveTo>
                    <a:pt x="3568" y="0"/>
                  </a:moveTo>
                  <a:cubicBezTo>
                    <a:pt x="2130" y="0"/>
                    <a:pt x="671" y="803"/>
                    <a:pt x="48" y="2333"/>
                  </a:cubicBezTo>
                  <a:cubicBezTo>
                    <a:pt x="0" y="2440"/>
                    <a:pt x="72" y="2559"/>
                    <a:pt x="191" y="2559"/>
                  </a:cubicBezTo>
                  <a:cubicBezTo>
                    <a:pt x="250" y="2559"/>
                    <a:pt x="310" y="2512"/>
                    <a:pt x="346" y="2452"/>
                  </a:cubicBezTo>
                  <a:cubicBezTo>
                    <a:pt x="909" y="1087"/>
                    <a:pt x="2208" y="325"/>
                    <a:pt x="3537" y="325"/>
                  </a:cubicBezTo>
                  <a:cubicBezTo>
                    <a:pt x="4202" y="325"/>
                    <a:pt x="4874" y="516"/>
                    <a:pt x="5465" y="916"/>
                  </a:cubicBezTo>
                  <a:cubicBezTo>
                    <a:pt x="5537" y="976"/>
                    <a:pt x="5608" y="1024"/>
                    <a:pt x="5680" y="1095"/>
                  </a:cubicBezTo>
                  <a:cubicBezTo>
                    <a:pt x="5719" y="1123"/>
                    <a:pt x="5762" y="1138"/>
                    <a:pt x="5802" y="1138"/>
                  </a:cubicBezTo>
                  <a:cubicBezTo>
                    <a:pt x="5846" y="1138"/>
                    <a:pt x="5887" y="1120"/>
                    <a:pt x="5918" y="1083"/>
                  </a:cubicBezTo>
                  <a:cubicBezTo>
                    <a:pt x="6001" y="1012"/>
                    <a:pt x="5977" y="905"/>
                    <a:pt x="5906" y="845"/>
                  </a:cubicBezTo>
                  <a:cubicBezTo>
                    <a:pt x="5250" y="277"/>
                    <a:pt x="4413" y="0"/>
                    <a:pt x="35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6" name="Google Shape;12826;p62"/>
            <p:cNvSpPr/>
            <p:nvPr/>
          </p:nvSpPr>
          <p:spPr>
            <a:xfrm>
              <a:off x="7075994" y="3520102"/>
              <a:ext cx="136762" cy="167072"/>
            </a:xfrm>
            <a:custGeom>
              <a:avLst/>
              <a:gdLst/>
              <a:ahLst/>
              <a:cxnLst/>
              <a:rect l="l" t="t" r="r" b="b"/>
              <a:pathLst>
                <a:path w="4300" h="5253" extrusionOk="0">
                  <a:moveTo>
                    <a:pt x="489" y="1"/>
                  </a:moveTo>
                  <a:cubicBezTo>
                    <a:pt x="404" y="1"/>
                    <a:pt x="332" y="57"/>
                    <a:pt x="311" y="133"/>
                  </a:cubicBezTo>
                  <a:cubicBezTo>
                    <a:pt x="1" y="1621"/>
                    <a:pt x="608" y="3181"/>
                    <a:pt x="1882" y="4050"/>
                  </a:cubicBezTo>
                  <a:cubicBezTo>
                    <a:pt x="1954" y="4110"/>
                    <a:pt x="2847" y="4765"/>
                    <a:pt x="4049" y="5241"/>
                  </a:cubicBezTo>
                  <a:cubicBezTo>
                    <a:pt x="4061" y="5253"/>
                    <a:pt x="4097" y="5253"/>
                    <a:pt x="4109" y="5253"/>
                  </a:cubicBezTo>
                  <a:cubicBezTo>
                    <a:pt x="4168" y="5253"/>
                    <a:pt x="4240" y="5205"/>
                    <a:pt x="4263" y="5146"/>
                  </a:cubicBezTo>
                  <a:cubicBezTo>
                    <a:pt x="4299" y="5050"/>
                    <a:pt x="4263" y="4955"/>
                    <a:pt x="4168" y="4907"/>
                  </a:cubicBezTo>
                  <a:cubicBezTo>
                    <a:pt x="2978" y="4431"/>
                    <a:pt x="2085" y="3764"/>
                    <a:pt x="2073" y="3764"/>
                  </a:cubicBezTo>
                  <a:cubicBezTo>
                    <a:pt x="906" y="2979"/>
                    <a:pt x="346" y="1562"/>
                    <a:pt x="644" y="193"/>
                  </a:cubicBezTo>
                  <a:cubicBezTo>
                    <a:pt x="656" y="97"/>
                    <a:pt x="596" y="14"/>
                    <a:pt x="513" y="2"/>
                  </a:cubicBezTo>
                  <a:cubicBezTo>
                    <a:pt x="505" y="1"/>
                    <a:pt x="497"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7" name="Google Shape;12827;p62"/>
            <p:cNvSpPr/>
            <p:nvPr/>
          </p:nvSpPr>
          <p:spPr>
            <a:xfrm>
              <a:off x="7158560" y="3468609"/>
              <a:ext cx="87496" cy="57249"/>
            </a:xfrm>
            <a:custGeom>
              <a:avLst/>
              <a:gdLst/>
              <a:ahLst/>
              <a:cxnLst/>
              <a:rect l="l" t="t" r="r" b="b"/>
              <a:pathLst>
                <a:path w="2751" h="1800" extrusionOk="0">
                  <a:moveTo>
                    <a:pt x="2222" y="0"/>
                  </a:moveTo>
                  <a:cubicBezTo>
                    <a:pt x="2208" y="0"/>
                    <a:pt x="2194" y="1"/>
                    <a:pt x="2179" y="2"/>
                  </a:cubicBezTo>
                  <a:lnTo>
                    <a:pt x="929" y="61"/>
                  </a:lnTo>
                  <a:cubicBezTo>
                    <a:pt x="572" y="73"/>
                    <a:pt x="346" y="430"/>
                    <a:pt x="477" y="752"/>
                  </a:cubicBezTo>
                  <a:cubicBezTo>
                    <a:pt x="203" y="788"/>
                    <a:pt x="1" y="1026"/>
                    <a:pt x="12" y="1311"/>
                  </a:cubicBezTo>
                  <a:cubicBezTo>
                    <a:pt x="24" y="1573"/>
                    <a:pt x="262" y="1800"/>
                    <a:pt x="536" y="1800"/>
                  </a:cubicBezTo>
                  <a:cubicBezTo>
                    <a:pt x="560" y="1800"/>
                    <a:pt x="548" y="1800"/>
                    <a:pt x="953" y="1788"/>
                  </a:cubicBezTo>
                  <a:cubicBezTo>
                    <a:pt x="1036" y="1788"/>
                    <a:pt x="1108" y="1692"/>
                    <a:pt x="1096" y="1609"/>
                  </a:cubicBezTo>
                  <a:cubicBezTo>
                    <a:pt x="1096" y="1521"/>
                    <a:pt x="1024" y="1453"/>
                    <a:pt x="938" y="1453"/>
                  </a:cubicBezTo>
                  <a:cubicBezTo>
                    <a:pt x="931" y="1453"/>
                    <a:pt x="924" y="1453"/>
                    <a:pt x="917" y="1454"/>
                  </a:cubicBezTo>
                  <a:lnTo>
                    <a:pt x="536" y="1466"/>
                  </a:lnTo>
                  <a:cubicBezTo>
                    <a:pt x="429" y="1466"/>
                    <a:pt x="322" y="1383"/>
                    <a:pt x="322" y="1276"/>
                  </a:cubicBezTo>
                  <a:cubicBezTo>
                    <a:pt x="322" y="1169"/>
                    <a:pt x="405" y="1085"/>
                    <a:pt x="512" y="1085"/>
                  </a:cubicBezTo>
                  <a:lnTo>
                    <a:pt x="655" y="1085"/>
                  </a:lnTo>
                  <a:cubicBezTo>
                    <a:pt x="846" y="1073"/>
                    <a:pt x="929" y="847"/>
                    <a:pt x="798" y="716"/>
                  </a:cubicBezTo>
                  <a:cubicBezTo>
                    <a:pt x="691" y="597"/>
                    <a:pt x="774" y="395"/>
                    <a:pt x="929" y="395"/>
                  </a:cubicBezTo>
                  <a:lnTo>
                    <a:pt x="2179" y="335"/>
                  </a:lnTo>
                  <a:cubicBezTo>
                    <a:pt x="2287" y="335"/>
                    <a:pt x="2394" y="430"/>
                    <a:pt x="2394" y="538"/>
                  </a:cubicBezTo>
                  <a:cubicBezTo>
                    <a:pt x="2394" y="633"/>
                    <a:pt x="2322" y="728"/>
                    <a:pt x="2215" y="728"/>
                  </a:cubicBezTo>
                  <a:lnTo>
                    <a:pt x="2096" y="728"/>
                  </a:lnTo>
                  <a:cubicBezTo>
                    <a:pt x="1906" y="740"/>
                    <a:pt x="1810" y="966"/>
                    <a:pt x="1929" y="1097"/>
                  </a:cubicBezTo>
                  <a:cubicBezTo>
                    <a:pt x="2036" y="1216"/>
                    <a:pt x="1941" y="1395"/>
                    <a:pt x="1786" y="1407"/>
                  </a:cubicBezTo>
                  <a:lnTo>
                    <a:pt x="1572" y="1431"/>
                  </a:lnTo>
                  <a:cubicBezTo>
                    <a:pt x="1489" y="1431"/>
                    <a:pt x="1405" y="1514"/>
                    <a:pt x="1429" y="1609"/>
                  </a:cubicBezTo>
                  <a:cubicBezTo>
                    <a:pt x="1429" y="1686"/>
                    <a:pt x="1501" y="1753"/>
                    <a:pt x="1587" y="1753"/>
                  </a:cubicBezTo>
                  <a:cubicBezTo>
                    <a:pt x="1594" y="1753"/>
                    <a:pt x="1601" y="1753"/>
                    <a:pt x="1608" y="1752"/>
                  </a:cubicBezTo>
                  <a:lnTo>
                    <a:pt x="1810" y="1740"/>
                  </a:lnTo>
                  <a:cubicBezTo>
                    <a:pt x="2156" y="1728"/>
                    <a:pt x="2406" y="1383"/>
                    <a:pt x="2287" y="1038"/>
                  </a:cubicBezTo>
                  <a:cubicBezTo>
                    <a:pt x="2537" y="1014"/>
                    <a:pt x="2751" y="776"/>
                    <a:pt x="2739" y="490"/>
                  </a:cubicBezTo>
                  <a:cubicBezTo>
                    <a:pt x="2716" y="218"/>
                    <a:pt x="2500" y="0"/>
                    <a:pt x="22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8" name="Google Shape;12828;p62"/>
            <p:cNvSpPr/>
            <p:nvPr/>
          </p:nvSpPr>
          <p:spPr>
            <a:xfrm>
              <a:off x="7199461" y="3548567"/>
              <a:ext cx="78399" cy="78749"/>
            </a:xfrm>
            <a:custGeom>
              <a:avLst/>
              <a:gdLst/>
              <a:ahLst/>
              <a:cxnLst/>
              <a:rect l="l" t="t" r="r" b="b"/>
              <a:pathLst>
                <a:path w="2465" h="2476" extrusionOk="0">
                  <a:moveTo>
                    <a:pt x="1751" y="0"/>
                  </a:moveTo>
                  <a:cubicBezTo>
                    <a:pt x="1512" y="0"/>
                    <a:pt x="1465" y="107"/>
                    <a:pt x="393" y="679"/>
                  </a:cubicBezTo>
                  <a:cubicBezTo>
                    <a:pt x="96" y="857"/>
                    <a:pt x="36" y="1274"/>
                    <a:pt x="286" y="1512"/>
                  </a:cubicBezTo>
                  <a:cubicBezTo>
                    <a:pt x="96" y="1655"/>
                    <a:pt x="0" y="1917"/>
                    <a:pt x="96" y="2143"/>
                  </a:cubicBezTo>
                  <a:cubicBezTo>
                    <a:pt x="178" y="2358"/>
                    <a:pt x="376" y="2475"/>
                    <a:pt x="576" y="2475"/>
                  </a:cubicBezTo>
                  <a:cubicBezTo>
                    <a:pt x="665" y="2475"/>
                    <a:pt x="754" y="2452"/>
                    <a:pt x="834" y="2405"/>
                  </a:cubicBezTo>
                  <a:lnTo>
                    <a:pt x="1120" y="2250"/>
                  </a:lnTo>
                  <a:cubicBezTo>
                    <a:pt x="1191" y="2203"/>
                    <a:pt x="1227" y="2096"/>
                    <a:pt x="1179" y="2024"/>
                  </a:cubicBezTo>
                  <a:cubicBezTo>
                    <a:pt x="1146" y="1975"/>
                    <a:pt x="1091" y="1943"/>
                    <a:pt x="1033" y="1943"/>
                  </a:cubicBezTo>
                  <a:cubicBezTo>
                    <a:pt x="1006" y="1943"/>
                    <a:pt x="979" y="1950"/>
                    <a:pt x="953" y="1965"/>
                  </a:cubicBezTo>
                  <a:lnTo>
                    <a:pt x="679" y="2131"/>
                  </a:lnTo>
                  <a:cubicBezTo>
                    <a:pt x="648" y="2149"/>
                    <a:pt x="614" y="2157"/>
                    <a:pt x="582" y="2157"/>
                  </a:cubicBezTo>
                  <a:cubicBezTo>
                    <a:pt x="504" y="2157"/>
                    <a:pt x="430" y="2108"/>
                    <a:pt x="405" y="2024"/>
                  </a:cubicBezTo>
                  <a:cubicBezTo>
                    <a:pt x="381" y="1953"/>
                    <a:pt x="417" y="1834"/>
                    <a:pt x="500" y="1786"/>
                  </a:cubicBezTo>
                  <a:cubicBezTo>
                    <a:pt x="679" y="1679"/>
                    <a:pt x="703" y="1429"/>
                    <a:pt x="524" y="1298"/>
                  </a:cubicBezTo>
                  <a:cubicBezTo>
                    <a:pt x="417" y="1203"/>
                    <a:pt x="441" y="1036"/>
                    <a:pt x="560" y="976"/>
                  </a:cubicBezTo>
                  <a:cubicBezTo>
                    <a:pt x="1715" y="345"/>
                    <a:pt x="1655" y="345"/>
                    <a:pt x="1751" y="345"/>
                  </a:cubicBezTo>
                  <a:cubicBezTo>
                    <a:pt x="1846" y="345"/>
                    <a:pt x="1941" y="429"/>
                    <a:pt x="1941" y="536"/>
                  </a:cubicBezTo>
                  <a:cubicBezTo>
                    <a:pt x="1941" y="702"/>
                    <a:pt x="1774" y="726"/>
                    <a:pt x="1715" y="774"/>
                  </a:cubicBezTo>
                  <a:cubicBezTo>
                    <a:pt x="1548" y="857"/>
                    <a:pt x="1572" y="1095"/>
                    <a:pt x="1751" y="1155"/>
                  </a:cubicBezTo>
                  <a:cubicBezTo>
                    <a:pt x="1893" y="1214"/>
                    <a:pt x="1905" y="1429"/>
                    <a:pt x="1763" y="1512"/>
                  </a:cubicBezTo>
                  <a:lnTo>
                    <a:pt x="1524" y="1655"/>
                  </a:lnTo>
                  <a:cubicBezTo>
                    <a:pt x="1453" y="1691"/>
                    <a:pt x="1417" y="1798"/>
                    <a:pt x="1465" y="1869"/>
                  </a:cubicBezTo>
                  <a:cubicBezTo>
                    <a:pt x="1496" y="1924"/>
                    <a:pt x="1548" y="1953"/>
                    <a:pt x="1603" y="1953"/>
                  </a:cubicBezTo>
                  <a:cubicBezTo>
                    <a:pt x="1632" y="1953"/>
                    <a:pt x="1662" y="1945"/>
                    <a:pt x="1691" y="1929"/>
                  </a:cubicBezTo>
                  <a:lnTo>
                    <a:pt x="1929" y="1798"/>
                  </a:lnTo>
                  <a:cubicBezTo>
                    <a:pt x="2239" y="1619"/>
                    <a:pt x="2298" y="1203"/>
                    <a:pt x="2024" y="964"/>
                  </a:cubicBezTo>
                  <a:cubicBezTo>
                    <a:pt x="2465" y="667"/>
                    <a:pt x="2263"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9" name="Google Shape;12829;p62"/>
            <p:cNvSpPr/>
            <p:nvPr/>
          </p:nvSpPr>
          <p:spPr>
            <a:xfrm>
              <a:off x="7114256" y="3523855"/>
              <a:ext cx="72738" cy="76141"/>
            </a:xfrm>
            <a:custGeom>
              <a:avLst/>
              <a:gdLst/>
              <a:ahLst/>
              <a:cxnLst/>
              <a:rect l="l" t="t" r="r" b="b"/>
              <a:pathLst>
                <a:path w="2287" h="2394" extrusionOk="0">
                  <a:moveTo>
                    <a:pt x="518" y="1"/>
                  </a:moveTo>
                  <a:cubicBezTo>
                    <a:pt x="480" y="1"/>
                    <a:pt x="442" y="5"/>
                    <a:pt x="405" y="15"/>
                  </a:cubicBezTo>
                  <a:cubicBezTo>
                    <a:pt x="167" y="75"/>
                    <a:pt x="0" y="289"/>
                    <a:pt x="0" y="527"/>
                  </a:cubicBezTo>
                  <a:cubicBezTo>
                    <a:pt x="0" y="670"/>
                    <a:pt x="60" y="741"/>
                    <a:pt x="191" y="1098"/>
                  </a:cubicBezTo>
                  <a:cubicBezTo>
                    <a:pt x="217" y="1168"/>
                    <a:pt x="282" y="1212"/>
                    <a:pt x="342" y="1212"/>
                  </a:cubicBezTo>
                  <a:cubicBezTo>
                    <a:pt x="364" y="1212"/>
                    <a:pt x="386" y="1206"/>
                    <a:pt x="405" y="1194"/>
                  </a:cubicBezTo>
                  <a:cubicBezTo>
                    <a:pt x="489" y="1158"/>
                    <a:pt x="536" y="1063"/>
                    <a:pt x="489" y="979"/>
                  </a:cubicBezTo>
                  <a:cubicBezTo>
                    <a:pt x="346" y="587"/>
                    <a:pt x="334" y="587"/>
                    <a:pt x="334" y="527"/>
                  </a:cubicBezTo>
                  <a:cubicBezTo>
                    <a:pt x="334" y="420"/>
                    <a:pt x="417" y="325"/>
                    <a:pt x="512" y="325"/>
                  </a:cubicBezTo>
                  <a:cubicBezTo>
                    <a:pt x="584" y="325"/>
                    <a:pt x="667" y="384"/>
                    <a:pt x="703" y="467"/>
                  </a:cubicBezTo>
                  <a:cubicBezTo>
                    <a:pt x="727" y="503"/>
                    <a:pt x="751" y="729"/>
                    <a:pt x="953" y="729"/>
                  </a:cubicBezTo>
                  <a:cubicBezTo>
                    <a:pt x="1024" y="729"/>
                    <a:pt x="1108" y="682"/>
                    <a:pt x="1143" y="610"/>
                  </a:cubicBezTo>
                  <a:cubicBezTo>
                    <a:pt x="1182" y="550"/>
                    <a:pt x="1245" y="520"/>
                    <a:pt x="1308" y="520"/>
                  </a:cubicBezTo>
                  <a:cubicBezTo>
                    <a:pt x="1382" y="520"/>
                    <a:pt x="1457" y="562"/>
                    <a:pt x="1489" y="646"/>
                  </a:cubicBezTo>
                  <a:cubicBezTo>
                    <a:pt x="1965" y="1860"/>
                    <a:pt x="1953" y="1813"/>
                    <a:pt x="1953" y="1872"/>
                  </a:cubicBezTo>
                  <a:cubicBezTo>
                    <a:pt x="1953" y="1998"/>
                    <a:pt x="1851" y="2071"/>
                    <a:pt x="1752" y="2071"/>
                  </a:cubicBezTo>
                  <a:cubicBezTo>
                    <a:pt x="1682" y="2071"/>
                    <a:pt x="1614" y="2035"/>
                    <a:pt x="1584" y="1956"/>
                  </a:cubicBezTo>
                  <a:lnTo>
                    <a:pt x="1524" y="1813"/>
                  </a:lnTo>
                  <a:cubicBezTo>
                    <a:pt x="1481" y="1719"/>
                    <a:pt x="1394" y="1671"/>
                    <a:pt x="1311" y="1671"/>
                  </a:cubicBezTo>
                  <a:cubicBezTo>
                    <a:pt x="1237" y="1671"/>
                    <a:pt x="1165" y="1710"/>
                    <a:pt x="1132" y="1789"/>
                  </a:cubicBezTo>
                  <a:cubicBezTo>
                    <a:pt x="1099" y="1855"/>
                    <a:pt x="1035" y="1888"/>
                    <a:pt x="971" y="1888"/>
                  </a:cubicBezTo>
                  <a:cubicBezTo>
                    <a:pt x="895" y="1888"/>
                    <a:pt x="818" y="1843"/>
                    <a:pt x="786" y="1753"/>
                  </a:cubicBezTo>
                  <a:lnTo>
                    <a:pt x="727" y="1599"/>
                  </a:lnTo>
                  <a:cubicBezTo>
                    <a:pt x="709" y="1529"/>
                    <a:pt x="647" y="1485"/>
                    <a:pt x="587" y="1485"/>
                  </a:cubicBezTo>
                  <a:cubicBezTo>
                    <a:pt x="565" y="1485"/>
                    <a:pt x="543" y="1491"/>
                    <a:pt x="524" y="1503"/>
                  </a:cubicBezTo>
                  <a:cubicBezTo>
                    <a:pt x="429" y="1539"/>
                    <a:pt x="393" y="1634"/>
                    <a:pt x="429" y="1718"/>
                  </a:cubicBezTo>
                  <a:lnTo>
                    <a:pt x="489" y="1872"/>
                  </a:lnTo>
                  <a:cubicBezTo>
                    <a:pt x="566" y="2089"/>
                    <a:pt x="769" y="2215"/>
                    <a:pt x="976" y="2215"/>
                  </a:cubicBezTo>
                  <a:cubicBezTo>
                    <a:pt x="1088" y="2215"/>
                    <a:pt x="1202" y="2178"/>
                    <a:pt x="1298" y="2099"/>
                  </a:cubicBezTo>
                  <a:cubicBezTo>
                    <a:pt x="1389" y="2281"/>
                    <a:pt x="1578" y="2393"/>
                    <a:pt x="1774" y="2393"/>
                  </a:cubicBezTo>
                  <a:cubicBezTo>
                    <a:pt x="1834" y="2393"/>
                    <a:pt x="1894" y="2383"/>
                    <a:pt x="1953" y="2361"/>
                  </a:cubicBezTo>
                  <a:cubicBezTo>
                    <a:pt x="2144" y="2289"/>
                    <a:pt x="2286" y="2099"/>
                    <a:pt x="2286" y="1872"/>
                  </a:cubicBezTo>
                  <a:cubicBezTo>
                    <a:pt x="2286" y="1718"/>
                    <a:pt x="2239" y="1718"/>
                    <a:pt x="1786" y="527"/>
                  </a:cubicBezTo>
                  <a:cubicBezTo>
                    <a:pt x="1708" y="316"/>
                    <a:pt x="1502" y="187"/>
                    <a:pt x="1296" y="187"/>
                  </a:cubicBezTo>
                  <a:cubicBezTo>
                    <a:pt x="1187" y="187"/>
                    <a:pt x="1079" y="223"/>
                    <a:pt x="989" y="301"/>
                  </a:cubicBezTo>
                  <a:cubicBezTo>
                    <a:pt x="899" y="122"/>
                    <a:pt x="710" y="1"/>
                    <a:pt x="51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0" name="Google Shape;12830;p62"/>
            <p:cNvSpPr/>
            <p:nvPr/>
          </p:nvSpPr>
          <p:spPr>
            <a:xfrm>
              <a:off x="7221057" y="3349531"/>
              <a:ext cx="215574" cy="352336"/>
            </a:xfrm>
            <a:custGeom>
              <a:avLst/>
              <a:gdLst/>
              <a:ahLst/>
              <a:cxnLst/>
              <a:rect l="l" t="t" r="r" b="b"/>
              <a:pathLst>
                <a:path w="6778" h="11078" extrusionOk="0">
                  <a:moveTo>
                    <a:pt x="6543" y="0"/>
                  </a:moveTo>
                  <a:cubicBezTo>
                    <a:pt x="6514" y="0"/>
                    <a:pt x="6483" y="6"/>
                    <a:pt x="6453" y="19"/>
                  </a:cubicBezTo>
                  <a:cubicBezTo>
                    <a:pt x="5834" y="281"/>
                    <a:pt x="5215" y="710"/>
                    <a:pt x="4643" y="1257"/>
                  </a:cubicBezTo>
                  <a:cubicBezTo>
                    <a:pt x="4584" y="1317"/>
                    <a:pt x="4560" y="1424"/>
                    <a:pt x="4643" y="1496"/>
                  </a:cubicBezTo>
                  <a:cubicBezTo>
                    <a:pt x="4675" y="1527"/>
                    <a:pt x="4715" y="1545"/>
                    <a:pt x="4759" y="1545"/>
                  </a:cubicBezTo>
                  <a:cubicBezTo>
                    <a:pt x="4799" y="1545"/>
                    <a:pt x="4842" y="1530"/>
                    <a:pt x="4882" y="1496"/>
                  </a:cubicBezTo>
                  <a:cubicBezTo>
                    <a:pt x="5358" y="1043"/>
                    <a:pt x="5858" y="686"/>
                    <a:pt x="6370" y="436"/>
                  </a:cubicBezTo>
                  <a:lnTo>
                    <a:pt x="6370" y="436"/>
                  </a:lnTo>
                  <a:cubicBezTo>
                    <a:pt x="6001" y="1579"/>
                    <a:pt x="5239" y="2615"/>
                    <a:pt x="4382" y="3448"/>
                  </a:cubicBezTo>
                  <a:cubicBezTo>
                    <a:pt x="4361" y="3441"/>
                    <a:pt x="4342" y="3437"/>
                    <a:pt x="4323" y="3437"/>
                  </a:cubicBezTo>
                  <a:cubicBezTo>
                    <a:pt x="4218" y="3437"/>
                    <a:pt x="4139" y="3540"/>
                    <a:pt x="4179" y="3651"/>
                  </a:cubicBezTo>
                  <a:cubicBezTo>
                    <a:pt x="4072" y="3746"/>
                    <a:pt x="3989" y="3829"/>
                    <a:pt x="3893" y="3901"/>
                  </a:cubicBezTo>
                  <a:cubicBezTo>
                    <a:pt x="3762" y="3698"/>
                    <a:pt x="3548" y="3520"/>
                    <a:pt x="3322" y="3424"/>
                  </a:cubicBezTo>
                  <a:cubicBezTo>
                    <a:pt x="3393" y="3341"/>
                    <a:pt x="3441" y="3234"/>
                    <a:pt x="3524" y="3127"/>
                  </a:cubicBezTo>
                  <a:cubicBezTo>
                    <a:pt x="3703" y="3281"/>
                    <a:pt x="3727" y="3341"/>
                    <a:pt x="3834" y="3341"/>
                  </a:cubicBezTo>
                  <a:cubicBezTo>
                    <a:pt x="3977" y="3341"/>
                    <a:pt x="4060" y="3150"/>
                    <a:pt x="3941" y="3055"/>
                  </a:cubicBezTo>
                  <a:lnTo>
                    <a:pt x="3715" y="2865"/>
                  </a:lnTo>
                  <a:cubicBezTo>
                    <a:pt x="3762" y="2793"/>
                    <a:pt x="3739" y="2817"/>
                    <a:pt x="3774" y="2793"/>
                  </a:cubicBezTo>
                  <a:cubicBezTo>
                    <a:pt x="3774" y="2793"/>
                    <a:pt x="3905" y="2615"/>
                    <a:pt x="3917" y="2591"/>
                  </a:cubicBezTo>
                  <a:lnTo>
                    <a:pt x="4322" y="2936"/>
                  </a:lnTo>
                  <a:cubicBezTo>
                    <a:pt x="4354" y="2963"/>
                    <a:pt x="4394" y="2975"/>
                    <a:pt x="4433" y="2975"/>
                  </a:cubicBezTo>
                  <a:cubicBezTo>
                    <a:pt x="4480" y="2975"/>
                    <a:pt x="4527" y="2957"/>
                    <a:pt x="4560" y="2924"/>
                  </a:cubicBezTo>
                  <a:cubicBezTo>
                    <a:pt x="4620" y="2853"/>
                    <a:pt x="4608" y="2746"/>
                    <a:pt x="4548" y="2686"/>
                  </a:cubicBezTo>
                  <a:lnTo>
                    <a:pt x="4132" y="2329"/>
                  </a:lnTo>
                  <a:cubicBezTo>
                    <a:pt x="4239" y="2198"/>
                    <a:pt x="4346" y="2067"/>
                    <a:pt x="4441" y="1960"/>
                  </a:cubicBezTo>
                  <a:cubicBezTo>
                    <a:pt x="4501" y="1877"/>
                    <a:pt x="4501" y="1769"/>
                    <a:pt x="4429" y="1722"/>
                  </a:cubicBezTo>
                  <a:cubicBezTo>
                    <a:pt x="4395" y="1693"/>
                    <a:pt x="4356" y="1678"/>
                    <a:pt x="4316" y="1678"/>
                  </a:cubicBezTo>
                  <a:cubicBezTo>
                    <a:pt x="4272" y="1678"/>
                    <a:pt x="4228" y="1696"/>
                    <a:pt x="4191" y="1734"/>
                  </a:cubicBezTo>
                  <a:cubicBezTo>
                    <a:pt x="3953" y="1984"/>
                    <a:pt x="3727" y="2269"/>
                    <a:pt x="3512" y="2579"/>
                  </a:cubicBezTo>
                  <a:cubicBezTo>
                    <a:pt x="3512" y="2579"/>
                    <a:pt x="3286" y="2877"/>
                    <a:pt x="2989" y="3353"/>
                  </a:cubicBezTo>
                  <a:cubicBezTo>
                    <a:pt x="2968" y="3352"/>
                    <a:pt x="2948" y="3351"/>
                    <a:pt x="2928" y="3351"/>
                  </a:cubicBezTo>
                  <a:cubicBezTo>
                    <a:pt x="2474" y="3351"/>
                    <a:pt x="2039" y="3609"/>
                    <a:pt x="1846" y="4008"/>
                  </a:cubicBezTo>
                  <a:cubicBezTo>
                    <a:pt x="1750" y="4174"/>
                    <a:pt x="1738" y="4353"/>
                    <a:pt x="1667" y="4484"/>
                  </a:cubicBezTo>
                  <a:cubicBezTo>
                    <a:pt x="1584" y="4603"/>
                    <a:pt x="1488" y="4710"/>
                    <a:pt x="1334" y="4794"/>
                  </a:cubicBezTo>
                  <a:cubicBezTo>
                    <a:pt x="1167" y="4901"/>
                    <a:pt x="1012" y="4948"/>
                    <a:pt x="845" y="4996"/>
                  </a:cubicBezTo>
                  <a:cubicBezTo>
                    <a:pt x="786" y="5008"/>
                    <a:pt x="679" y="5032"/>
                    <a:pt x="572" y="5055"/>
                  </a:cubicBezTo>
                  <a:cubicBezTo>
                    <a:pt x="369" y="5091"/>
                    <a:pt x="274" y="5365"/>
                    <a:pt x="441" y="5508"/>
                  </a:cubicBezTo>
                  <a:cubicBezTo>
                    <a:pt x="560" y="5615"/>
                    <a:pt x="679" y="5722"/>
                    <a:pt x="810" y="5794"/>
                  </a:cubicBezTo>
                  <a:cubicBezTo>
                    <a:pt x="836" y="5809"/>
                    <a:pt x="863" y="5815"/>
                    <a:pt x="890" y="5815"/>
                  </a:cubicBezTo>
                  <a:cubicBezTo>
                    <a:pt x="948" y="5815"/>
                    <a:pt x="1003" y="5783"/>
                    <a:pt x="1036" y="5734"/>
                  </a:cubicBezTo>
                  <a:cubicBezTo>
                    <a:pt x="1084" y="5663"/>
                    <a:pt x="1048" y="5556"/>
                    <a:pt x="976" y="5508"/>
                  </a:cubicBezTo>
                  <a:cubicBezTo>
                    <a:pt x="905" y="5472"/>
                    <a:pt x="822" y="5413"/>
                    <a:pt x="750" y="5353"/>
                  </a:cubicBezTo>
                  <a:cubicBezTo>
                    <a:pt x="1238" y="5234"/>
                    <a:pt x="1679" y="5079"/>
                    <a:pt x="1929" y="4663"/>
                  </a:cubicBezTo>
                  <a:cubicBezTo>
                    <a:pt x="2036" y="4484"/>
                    <a:pt x="2048" y="4293"/>
                    <a:pt x="2119" y="4163"/>
                  </a:cubicBezTo>
                  <a:cubicBezTo>
                    <a:pt x="2261" y="3880"/>
                    <a:pt x="2560" y="3676"/>
                    <a:pt x="2883" y="3676"/>
                  </a:cubicBezTo>
                  <a:cubicBezTo>
                    <a:pt x="3078" y="3676"/>
                    <a:pt x="3281" y="3750"/>
                    <a:pt x="3465" y="3924"/>
                  </a:cubicBezTo>
                  <a:cubicBezTo>
                    <a:pt x="3881" y="4317"/>
                    <a:pt x="3762" y="5020"/>
                    <a:pt x="3203" y="5365"/>
                  </a:cubicBezTo>
                  <a:cubicBezTo>
                    <a:pt x="2842" y="5574"/>
                    <a:pt x="2359" y="5745"/>
                    <a:pt x="1888" y="5745"/>
                  </a:cubicBezTo>
                  <a:cubicBezTo>
                    <a:pt x="1769" y="5745"/>
                    <a:pt x="1651" y="5734"/>
                    <a:pt x="1536" y="5710"/>
                  </a:cubicBezTo>
                  <a:cubicBezTo>
                    <a:pt x="1524" y="5707"/>
                    <a:pt x="1511" y="5705"/>
                    <a:pt x="1498" y="5705"/>
                  </a:cubicBezTo>
                  <a:cubicBezTo>
                    <a:pt x="1426" y="5705"/>
                    <a:pt x="1356" y="5760"/>
                    <a:pt x="1345" y="5841"/>
                  </a:cubicBezTo>
                  <a:cubicBezTo>
                    <a:pt x="1334" y="5925"/>
                    <a:pt x="1393" y="6020"/>
                    <a:pt x="1488" y="6032"/>
                  </a:cubicBezTo>
                  <a:cubicBezTo>
                    <a:pt x="1628" y="6059"/>
                    <a:pt x="1767" y="6071"/>
                    <a:pt x="1906" y="6071"/>
                  </a:cubicBezTo>
                  <a:cubicBezTo>
                    <a:pt x="2074" y="6071"/>
                    <a:pt x="2242" y="6053"/>
                    <a:pt x="2405" y="6020"/>
                  </a:cubicBezTo>
                  <a:cubicBezTo>
                    <a:pt x="2453" y="6937"/>
                    <a:pt x="3060" y="7675"/>
                    <a:pt x="3881" y="8044"/>
                  </a:cubicBezTo>
                  <a:cubicBezTo>
                    <a:pt x="4262" y="8211"/>
                    <a:pt x="4501" y="8592"/>
                    <a:pt x="4501" y="8996"/>
                  </a:cubicBezTo>
                  <a:cubicBezTo>
                    <a:pt x="4501" y="9330"/>
                    <a:pt x="4322" y="9580"/>
                    <a:pt x="4322" y="9580"/>
                  </a:cubicBezTo>
                  <a:cubicBezTo>
                    <a:pt x="3643" y="10415"/>
                    <a:pt x="2769" y="10754"/>
                    <a:pt x="1808" y="10754"/>
                  </a:cubicBezTo>
                  <a:cubicBezTo>
                    <a:pt x="1304" y="10754"/>
                    <a:pt x="775" y="10661"/>
                    <a:pt x="238" y="10497"/>
                  </a:cubicBezTo>
                  <a:cubicBezTo>
                    <a:pt x="219" y="10492"/>
                    <a:pt x="201" y="10489"/>
                    <a:pt x="183" y="10489"/>
                  </a:cubicBezTo>
                  <a:cubicBezTo>
                    <a:pt x="111" y="10489"/>
                    <a:pt x="52" y="10528"/>
                    <a:pt x="24" y="10604"/>
                  </a:cubicBezTo>
                  <a:cubicBezTo>
                    <a:pt x="0" y="10687"/>
                    <a:pt x="36" y="10782"/>
                    <a:pt x="131" y="10806"/>
                  </a:cubicBezTo>
                  <a:cubicBezTo>
                    <a:pt x="703" y="10981"/>
                    <a:pt x="1263" y="11077"/>
                    <a:pt x="1799" y="11077"/>
                  </a:cubicBezTo>
                  <a:cubicBezTo>
                    <a:pt x="2869" y="11077"/>
                    <a:pt x="3838" y="10691"/>
                    <a:pt x="4584" y="9770"/>
                  </a:cubicBezTo>
                  <a:cubicBezTo>
                    <a:pt x="4584" y="9758"/>
                    <a:pt x="4596" y="9758"/>
                    <a:pt x="4596" y="9735"/>
                  </a:cubicBezTo>
                  <a:cubicBezTo>
                    <a:pt x="5072" y="9032"/>
                    <a:pt x="4786" y="8068"/>
                    <a:pt x="4001" y="7711"/>
                  </a:cubicBezTo>
                  <a:cubicBezTo>
                    <a:pt x="3286" y="7401"/>
                    <a:pt x="2738" y="6746"/>
                    <a:pt x="2715" y="5913"/>
                  </a:cubicBezTo>
                  <a:cubicBezTo>
                    <a:pt x="3108" y="5794"/>
                    <a:pt x="3358" y="5627"/>
                    <a:pt x="3370" y="5615"/>
                  </a:cubicBezTo>
                  <a:cubicBezTo>
                    <a:pt x="3893" y="5282"/>
                    <a:pt x="4120" y="4710"/>
                    <a:pt x="4001" y="4198"/>
                  </a:cubicBezTo>
                  <a:cubicBezTo>
                    <a:pt x="5191" y="3210"/>
                    <a:pt x="6346" y="1805"/>
                    <a:pt x="6739" y="257"/>
                  </a:cubicBezTo>
                  <a:cubicBezTo>
                    <a:pt x="6778" y="121"/>
                    <a:pt x="6673" y="0"/>
                    <a:pt x="65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1" name="Google Shape;12831;p62"/>
          <p:cNvGrpSpPr/>
          <p:nvPr/>
        </p:nvGrpSpPr>
        <p:grpSpPr>
          <a:xfrm>
            <a:off x="7651983" y="3349181"/>
            <a:ext cx="107183" cy="352399"/>
            <a:chOff x="7651983" y="3349181"/>
            <a:chExt cx="107183" cy="352399"/>
          </a:xfrm>
        </p:grpSpPr>
        <p:sp>
          <p:nvSpPr>
            <p:cNvPr id="12832" name="Google Shape;12832;p62"/>
            <p:cNvSpPr/>
            <p:nvPr/>
          </p:nvSpPr>
          <p:spPr>
            <a:xfrm>
              <a:off x="7651983" y="3349181"/>
              <a:ext cx="84092" cy="247507"/>
            </a:xfrm>
            <a:custGeom>
              <a:avLst/>
              <a:gdLst/>
              <a:ahLst/>
              <a:cxnLst/>
              <a:rect l="l" t="t" r="r" b="b"/>
              <a:pathLst>
                <a:path w="2644" h="7782" extrusionOk="0">
                  <a:moveTo>
                    <a:pt x="1699" y="0"/>
                  </a:moveTo>
                  <a:cubicBezTo>
                    <a:pt x="1523" y="0"/>
                    <a:pt x="1349" y="75"/>
                    <a:pt x="1227" y="221"/>
                  </a:cubicBezTo>
                  <a:lnTo>
                    <a:pt x="750" y="756"/>
                  </a:lnTo>
                  <a:cubicBezTo>
                    <a:pt x="274" y="1292"/>
                    <a:pt x="0" y="1995"/>
                    <a:pt x="0" y="2721"/>
                  </a:cubicBezTo>
                  <a:lnTo>
                    <a:pt x="0" y="4602"/>
                  </a:lnTo>
                  <a:cubicBezTo>
                    <a:pt x="0" y="4793"/>
                    <a:pt x="381" y="4840"/>
                    <a:pt x="381" y="5138"/>
                  </a:cubicBezTo>
                  <a:cubicBezTo>
                    <a:pt x="381" y="5328"/>
                    <a:pt x="227" y="5388"/>
                    <a:pt x="48" y="5602"/>
                  </a:cubicBezTo>
                  <a:cubicBezTo>
                    <a:pt x="24" y="5626"/>
                    <a:pt x="0" y="5674"/>
                    <a:pt x="0" y="5721"/>
                  </a:cubicBezTo>
                  <a:lnTo>
                    <a:pt x="0" y="6876"/>
                  </a:lnTo>
                  <a:cubicBezTo>
                    <a:pt x="0" y="7162"/>
                    <a:pt x="60" y="7424"/>
                    <a:pt x="167" y="7686"/>
                  </a:cubicBezTo>
                  <a:cubicBezTo>
                    <a:pt x="203" y="7745"/>
                    <a:pt x="262" y="7781"/>
                    <a:pt x="322" y="7781"/>
                  </a:cubicBezTo>
                  <a:cubicBezTo>
                    <a:pt x="441" y="7781"/>
                    <a:pt x="512" y="7662"/>
                    <a:pt x="465" y="7543"/>
                  </a:cubicBezTo>
                  <a:cubicBezTo>
                    <a:pt x="381" y="7341"/>
                    <a:pt x="346" y="6710"/>
                    <a:pt x="334" y="5793"/>
                  </a:cubicBezTo>
                  <a:cubicBezTo>
                    <a:pt x="441" y="5638"/>
                    <a:pt x="703" y="5507"/>
                    <a:pt x="703" y="5150"/>
                  </a:cubicBezTo>
                  <a:cubicBezTo>
                    <a:pt x="703" y="4769"/>
                    <a:pt x="393" y="4614"/>
                    <a:pt x="334" y="4543"/>
                  </a:cubicBezTo>
                  <a:lnTo>
                    <a:pt x="334" y="2757"/>
                  </a:lnTo>
                  <a:cubicBezTo>
                    <a:pt x="334" y="2114"/>
                    <a:pt x="572" y="1495"/>
                    <a:pt x="989" y="1018"/>
                  </a:cubicBezTo>
                  <a:lnTo>
                    <a:pt x="1465" y="483"/>
                  </a:lnTo>
                  <a:cubicBezTo>
                    <a:pt x="1522" y="408"/>
                    <a:pt x="1604" y="372"/>
                    <a:pt x="1687" y="372"/>
                  </a:cubicBezTo>
                  <a:cubicBezTo>
                    <a:pt x="1777" y="372"/>
                    <a:pt x="1867" y="414"/>
                    <a:pt x="1929" y="494"/>
                  </a:cubicBezTo>
                  <a:lnTo>
                    <a:pt x="2310" y="971"/>
                  </a:lnTo>
                  <a:cubicBezTo>
                    <a:pt x="2343" y="1010"/>
                    <a:pt x="2390" y="1028"/>
                    <a:pt x="2438" y="1028"/>
                  </a:cubicBezTo>
                  <a:cubicBezTo>
                    <a:pt x="2477" y="1028"/>
                    <a:pt x="2516" y="1016"/>
                    <a:pt x="2548" y="995"/>
                  </a:cubicBezTo>
                  <a:cubicBezTo>
                    <a:pt x="2620" y="887"/>
                    <a:pt x="2644" y="792"/>
                    <a:pt x="2584" y="721"/>
                  </a:cubicBezTo>
                  <a:lnTo>
                    <a:pt x="2191" y="244"/>
                  </a:lnTo>
                  <a:cubicBezTo>
                    <a:pt x="2064" y="81"/>
                    <a:pt x="1881" y="0"/>
                    <a:pt x="16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3" name="Google Shape;12833;p62"/>
            <p:cNvSpPr/>
            <p:nvPr/>
          </p:nvSpPr>
          <p:spPr>
            <a:xfrm>
              <a:off x="7667885" y="3387379"/>
              <a:ext cx="91280" cy="314202"/>
            </a:xfrm>
            <a:custGeom>
              <a:avLst/>
              <a:gdLst/>
              <a:ahLst/>
              <a:cxnLst/>
              <a:rect l="l" t="t" r="r" b="b"/>
              <a:pathLst>
                <a:path w="2870" h="9879" extrusionOk="0">
                  <a:moveTo>
                    <a:pt x="2334" y="1"/>
                  </a:moveTo>
                  <a:cubicBezTo>
                    <a:pt x="2310" y="1"/>
                    <a:pt x="2286" y="6"/>
                    <a:pt x="2263" y="20"/>
                  </a:cubicBezTo>
                  <a:cubicBezTo>
                    <a:pt x="2179" y="67"/>
                    <a:pt x="2144" y="151"/>
                    <a:pt x="2179" y="246"/>
                  </a:cubicBezTo>
                  <a:cubicBezTo>
                    <a:pt x="2536" y="948"/>
                    <a:pt x="2453" y="1544"/>
                    <a:pt x="2465" y="1639"/>
                  </a:cubicBezTo>
                  <a:lnTo>
                    <a:pt x="2084" y="2044"/>
                  </a:lnTo>
                  <a:cubicBezTo>
                    <a:pt x="1822" y="2318"/>
                    <a:pt x="1858" y="2746"/>
                    <a:pt x="2144" y="2973"/>
                  </a:cubicBezTo>
                  <a:lnTo>
                    <a:pt x="2465" y="3234"/>
                  </a:lnTo>
                  <a:lnTo>
                    <a:pt x="2465" y="5616"/>
                  </a:lnTo>
                  <a:cubicBezTo>
                    <a:pt x="2465" y="5973"/>
                    <a:pt x="2358" y="6306"/>
                    <a:pt x="2155" y="6580"/>
                  </a:cubicBezTo>
                  <a:lnTo>
                    <a:pt x="1334" y="7711"/>
                  </a:lnTo>
                  <a:lnTo>
                    <a:pt x="1334" y="3937"/>
                  </a:lnTo>
                  <a:lnTo>
                    <a:pt x="2084" y="3389"/>
                  </a:lnTo>
                  <a:cubicBezTo>
                    <a:pt x="2155" y="3330"/>
                    <a:pt x="2167" y="3223"/>
                    <a:pt x="2108" y="3151"/>
                  </a:cubicBezTo>
                  <a:cubicBezTo>
                    <a:pt x="2073" y="3102"/>
                    <a:pt x="2022" y="3078"/>
                    <a:pt x="1972" y="3078"/>
                  </a:cubicBezTo>
                  <a:cubicBezTo>
                    <a:pt x="1935" y="3078"/>
                    <a:pt x="1899" y="3091"/>
                    <a:pt x="1870" y="3115"/>
                  </a:cubicBezTo>
                  <a:lnTo>
                    <a:pt x="1322" y="3520"/>
                  </a:lnTo>
                  <a:lnTo>
                    <a:pt x="1322" y="210"/>
                  </a:lnTo>
                  <a:cubicBezTo>
                    <a:pt x="1322" y="127"/>
                    <a:pt x="1251" y="44"/>
                    <a:pt x="1155" y="44"/>
                  </a:cubicBezTo>
                  <a:cubicBezTo>
                    <a:pt x="1072" y="44"/>
                    <a:pt x="989" y="127"/>
                    <a:pt x="989" y="210"/>
                  </a:cubicBezTo>
                  <a:lnTo>
                    <a:pt x="989" y="1270"/>
                  </a:lnTo>
                  <a:lnTo>
                    <a:pt x="608" y="925"/>
                  </a:lnTo>
                  <a:cubicBezTo>
                    <a:pt x="575" y="897"/>
                    <a:pt x="535" y="883"/>
                    <a:pt x="495" y="883"/>
                  </a:cubicBezTo>
                  <a:cubicBezTo>
                    <a:pt x="448" y="883"/>
                    <a:pt x="402" y="903"/>
                    <a:pt x="370" y="948"/>
                  </a:cubicBezTo>
                  <a:cubicBezTo>
                    <a:pt x="310" y="1020"/>
                    <a:pt x="310" y="1127"/>
                    <a:pt x="381" y="1187"/>
                  </a:cubicBezTo>
                  <a:cubicBezTo>
                    <a:pt x="846" y="1579"/>
                    <a:pt x="977" y="1722"/>
                    <a:pt x="989" y="1722"/>
                  </a:cubicBezTo>
                  <a:lnTo>
                    <a:pt x="989" y="4842"/>
                  </a:lnTo>
                  <a:lnTo>
                    <a:pt x="655" y="4532"/>
                  </a:lnTo>
                  <a:cubicBezTo>
                    <a:pt x="615" y="4504"/>
                    <a:pt x="573" y="4489"/>
                    <a:pt x="533" y="4489"/>
                  </a:cubicBezTo>
                  <a:cubicBezTo>
                    <a:pt x="489" y="4489"/>
                    <a:pt x="448" y="4507"/>
                    <a:pt x="417" y="4544"/>
                  </a:cubicBezTo>
                  <a:cubicBezTo>
                    <a:pt x="358" y="4616"/>
                    <a:pt x="358" y="4723"/>
                    <a:pt x="429" y="4782"/>
                  </a:cubicBezTo>
                  <a:lnTo>
                    <a:pt x="989" y="5306"/>
                  </a:lnTo>
                  <a:lnTo>
                    <a:pt x="989" y="7795"/>
                  </a:lnTo>
                  <a:lnTo>
                    <a:pt x="322" y="6854"/>
                  </a:lnTo>
                  <a:cubicBezTo>
                    <a:pt x="283" y="6808"/>
                    <a:pt x="235" y="6782"/>
                    <a:pt x="183" y="6782"/>
                  </a:cubicBezTo>
                  <a:cubicBezTo>
                    <a:pt x="155" y="6782"/>
                    <a:pt x="125" y="6789"/>
                    <a:pt x="96" y="6806"/>
                  </a:cubicBezTo>
                  <a:cubicBezTo>
                    <a:pt x="24" y="6866"/>
                    <a:pt x="12" y="6961"/>
                    <a:pt x="60" y="7033"/>
                  </a:cubicBezTo>
                  <a:lnTo>
                    <a:pt x="989" y="8342"/>
                  </a:lnTo>
                  <a:lnTo>
                    <a:pt x="989" y="8699"/>
                  </a:lnTo>
                  <a:lnTo>
                    <a:pt x="298" y="8033"/>
                  </a:lnTo>
                  <a:cubicBezTo>
                    <a:pt x="268" y="8003"/>
                    <a:pt x="227" y="7988"/>
                    <a:pt x="183" y="7988"/>
                  </a:cubicBezTo>
                  <a:cubicBezTo>
                    <a:pt x="140" y="7988"/>
                    <a:pt x="96" y="8003"/>
                    <a:pt x="60" y="8033"/>
                  </a:cubicBezTo>
                  <a:cubicBezTo>
                    <a:pt x="0" y="8092"/>
                    <a:pt x="0" y="8187"/>
                    <a:pt x="60" y="8271"/>
                  </a:cubicBezTo>
                  <a:lnTo>
                    <a:pt x="977" y="9164"/>
                  </a:lnTo>
                  <a:lnTo>
                    <a:pt x="977" y="9711"/>
                  </a:lnTo>
                  <a:cubicBezTo>
                    <a:pt x="977" y="9795"/>
                    <a:pt x="1048" y="9878"/>
                    <a:pt x="1143" y="9878"/>
                  </a:cubicBezTo>
                  <a:cubicBezTo>
                    <a:pt x="1227" y="9878"/>
                    <a:pt x="1310" y="9795"/>
                    <a:pt x="1310" y="9711"/>
                  </a:cubicBezTo>
                  <a:lnTo>
                    <a:pt x="1310" y="9164"/>
                  </a:lnTo>
                  <a:lnTo>
                    <a:pt x="2263" y="8187"/>
                  </a:lnTo>
                  <a:cubicBezTo>
                    <a:pt x="2322" y="8128"/>
                    <a:pt x="2322" y="8033"/>
                    <a:pt x="2263" y="7949"/>
                  </a:cubicBezTo>
                  <a:cubicBezTo>
                    <a:pt x="2234" y="7915"/>
                    <a:pt x="2195" y="7900"/>
                    <a:pt x="2154" y="7900"/>
                  </a:cubicBezTo>
                  <a:cubicBezTo>
                    <a:pt x="2109" y="7900"/>
                    <a:pt x="2062" y="7918"/>
                    <a:pt x="2024" y="7949"/>
                  </a:cubicBezTo>
                  <a:lnTo>
                    <a:pt x="1286" y="8688"/>
                  </a:lnTo>
                  <a:lnTo>
                    <a:pt x="1286" y="8247"/>
                  </a:lnTo>
                  <a:lnTo>
                    <a:pt x="2382" y="6759"/>
                  </a:lnTo>
                  <a:cubicBezTo>
                    <a:pt x="2632" y="6425"/>
                    <a:pt x="2763" y="6021"/>
                    <a:pt x="2763" y="5604"/>
                  </a:cubicBezTo>
                  <a:lnTo>
                    <a:pt x="2763" y="3151"/>
                  </a:lnTo>
                  <a:cubicBezTo>
                    <a:pt x="2798" y="3115"/>
                    <a:pt x="2763" y="3068"/>
                    <a:pt x="2739" y="3044"/>
                  </a:cubicBezTo>
                  <a:lnTo>
                    <a:pt x="2346" y="2734"/>
                  </a:lnTo>
                  <a:cubicBezTo>
                    <a:pt x="2215" y="2627"/>
                    <a:pt x="2203" y="2413"/>
                    <a:pt x="2322" y="2282"/>
                  </a:cubicBezTo>
                  <a:cubicBezTo>
                    <a:pt x="2715" y="1853"/>
                    <a:pt x="2798" y="1841"/>
                    <a:pt x="2798" y="1722"/>
                  </a:cubicBezTo>
                  <a:cubicBezTo>
                    <a:pt x="2775" y="1568"/>
                    <a:pt x="2870" y="877"/>
                    <a:pt x="2477" y="91"/>
                  </a:cubicBezTo>
                  <a:cubicBezTo>
                    <a:pt x="2451" y="40"/>
                    <a:pt x="2394" y="1"/>
                    <a:pt x="2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34" name="Google Shape;12834;p62"/>
          <p:cNvGrpSpPr/>
          <p:nvPr/>
        </p:nvGrpSpPr>
        <p:grpSpPr>
          <a:xfrm>
            <a:off x="7973468" y="3382322"/>
            <a:ext cx="352590" cy="287072"/>
            <a:chOff x="7973468" y="3382322"/>
            <a:chExt cx="352590" cy="287072"/>
          </a:xfrm>
        </p:grpSpPr>
        <p:sp>
          <p:nvSpPr>
            <p:cNvPr id="12835" name="Google Shape;12835;p62"/>
            <p:cNvSpPr/>
            <p:nvPr/>
          </p:nvSpPr>
          <p:spPr>
            <a:xfrm>
              <a:off x="7973468" y="3382322"/>
              <a:ext cx="352590" cy="287072"/>
            </a:xfrm>
            <a:custGeom>
              <a:avLst/>
              <a:gdLst/>
              <a:ahLst/>
              <a:cxnLst/>
              <a:rect l="l" t="t" r="r" b="b"/>
              <a:pathLst>
                <a:path w="11086" h="9026" extrusionOk="0">
                  <a:moveTo>
                    <a:pt x="5370" y="334"/>
                  </a:moveTo>
                  <a:lnTo>
                    <a:pt x="5370" y="7001"/>
                  </a:lnTo>
                  <a:lnTo>
                    <a:pt x="941" y="7001"/>
                  </a:lnTo>
                  <a:lnTo>
                    <a:pt x="941" y="334"/>
                  </a:lnTo>
                  <a:close/>
                  <a:moveTo>
                    <a:pt x="5370" y="7323"/>
                  </a:moveTo>
                  <a:lnTo>
                    <a:pt x="5370" y="7656"/>
                  </a:lnTo>
                  <a:lnTo>
                    <a:pt x="941" y="7656"/>
                  </a:lnTo>
                  <a:lnTo>
                    <a:pt x="941" y="7323"/>
                  </a:lnTo>
                  <a:close/>
                  <a:moveTo>
                    <a:pt x="10133" y="7323"/>
                  </a:moveTo>
                  <a:lnTo>
                    <a:pt x="10133" y="7656"/>
                  </a:lnTo>
                  <a:lnTo>
                    <a:pt x="5704" y="7656"/>
                  </a:lnTo>
                  <a:lnTo>
                    <a:pt x="5704" y="7323"/>
                  </a:lnTo>
                  <a:close/>
                  <a:moveTo>
                    <a:pt x="5835" y="7977"/>
                  </a:moveTo>
                  <a:lnTo>
                    <a:pt x="5835" y="8680"/>
                  </a:lnTo>
                  <a:lnTo>
                    <a:pt x="5240" y="8692"/>
                  </a:lnTo>
                  <a:cubicBezTo>
                    <a:pt x="5240" y="8692"/>
                    <a:pt x="5228" y="8692"/>
                    <a:pt x="5228" y="8680"/>
                  </a:cubicBezTo>
                  <a:lnTo>
                    <a:pt x="5228" y="7977"/>
                  </a:lnTo>
                  <a:close/>
                  <a:moveTo>
                    <a:pt x="775" y="0"/>
                  </a:moveTo>
                  <a:cubicBezTo>
                    <a:pt x="691" y="0"/>
                    <a:pt x="608" y="72"/>
                    <a:pt x="608" y="167"/>
                  </a:cubicBezTo>
                  <a:lnTo>
                    <a:pt x="608" y="536"/>
                  </a:lnTo>
                  <a:lnTo>
                    <a:pt x="465" y="536"/>
                  </a:lnTo>
                  <a:cubicBezTo>
                    <a:pt x="215" y="536"/>
                    <a:pt x="1" y="738"/>
                    <a:pt x="1" y="1000"/>
                  </a:cubicBezTo>
                  <a:lnTo>
                    <a:pt x="1" y="1715"/>
                  </a:lnTo>
                  <a:cubicBezTo>
                    <a:pt x="1" y="1798"/>
                    <a:pt x="72" y="1881"/>
                    <a:pt x="167" y="1881"/>
                  </a:cubicBezTo>
                  <a:cubicBezTo>
                    <a:pt x="251" y="1881"/>
                    <a:pt x="334" y="1798"/>
                    <a:pt x="334" y="1715"/>
                  </a:cubicBezTo>
                  <a:lnTo>
                    <a:pt x="334" y="1000"/>
                  </a:lnTo>
                  <a:cubicBezTo>
                    <a:pt x="334" y="929"/>
                    <a:pt x="394" y="869"/>
                    <a:pt x="465" y="869"/>
                  </a:cubicBezTo>
                  <a:lnTo>
                    <a:pt x="608" y="869"/>
                  </a:lnTo>
                  <a:lnTo>
                    <a:pt x="608" y="7799"/>
                  </a:lnTo>
                  <a:cubicBezTo>
                    <a:pt x="608" y="7894"/>
                    <a:pt x="691" y="7965"/>
                    <a:pt x="775" y="7965"/>
                  </a:cubicBezTo>
                  <a:lnTo>
                    <a:pt x="4918" y="7965"/>
                  </a:lnTo>
                  <a:lnTo>
                    <a:pt x="4918" y="8335"/>
                  </a:lnTo>
                  <a:lnTo>
                    <a:pt x="465" y="8335"/>
                  </a:lnTo>
                  <a:cubicBezTo>
                    <a:pt x="394" y="8335"/>
                    <a:pt x="334" y="8275"/>
                    <a:pt x="334" y="8204"/>
                  </a:cubicBezTo>
                  <a:lnTo>
                    <a:pt x="334" y="2429"/>
                  </a:lnTo>
                  <a:cubicBezTo>
                    <a:pt x="334" y="2334"/>
                    <a:pt x="251" y="2262"/>
                    <a:pt x="167" y="2262"/>
                  </a:cubicBezTo>
                  <a:cubicBezTo>
                    <a:pt x="72" y="2262"/>
                    <a:pt x="1" y="2334"/>
                    <a:pt x="1" y="2429"/>
                  </a:cubicBezTo>
                  <a:lnTo>
                    <a:pt x="1" y="8204"/>
                  </a:lnTo>
                  <a:cubicBezTo>
                    <a:pt x="1" y="8454"/>
                    <a:pt x="215" y="8668"/>
                    <a:pt x="465" y="8668"/>
                  </a:cubicBezTo>
                  <a:lnTo>
                    <a:pt x="4918" y="8668"/>
                  </a:lnTo>
                  <a:lnTo>
                    <a:pt x="4918" y="8680"/>
                  </a:lnTo>
                  <a:cubicBezTo>
                    <a:pt x="4918" y="8858"/>
                    <a:pt x="5061" y="9025"/>
                    <a:pt x="5251" y="9025"/>
                  </a:cubicBezTo>
                  <a:lnTo>
                    <a:pt x="5835" y="9025"/>
                  </a:lnTo>
                  <a:cubicBezTo>
                    <a:pt x="6013" y="9025"/>
                    <a:pt x="6180" y="8870"/>
                    <a:pt x="6180" y="8680"/>
                  </a:cubicBezTo>
                  <a:lnTo>
                    <a:pt x="6180" y="8668"/>
                  </a:lnTo>
                  <a:lnTo>
                    <a:pt x="10633" y="8668"/>
                  </a:lnTo>
                  <a:cubicBezTo>
                    <a:pt x="10883" y="8668"/>
                    <a:pt x="11085" y="8454"/>
                    <a:pt x="11085" y="8204"/>
                  </a:cubicBezTo>
                  <a:lnTo>
                    <a:pt x="11085" y="1012"/>
                  </a:lnTo>
                  <a:cubicBezTo>
                    <a:pt x="11074" y="762"/>
                    <a:pt x="10871" y="548"/>
                    <a:pt x="10609" y="548"/>
                  </a:cubicBezTo>
                  <a:lnTo>
                    <a:pt x="10466" y="548"/>
                  </a:lnTo>
                  <a:lnTo>
                    <a:pt x="10466" y="179"/>
                  </a:lnTo>
                  <a:cubicBezTo>
                    <a:pt x="10466" y="95"/>
                    <a:pt x="10395" y="12"/>
                    <a:pt x="10300" y="12"/>
                  </a:cubicBezTo>
                  <a:lnTo>
                    <a:pt x="9692" y="12"/>
                  </a:lnTo>
                  <a:cubicBezTo>
                    <a:pt x="9597" y="12"/>
                    <a:pt x="9526" y="95"/>
                    <a:pt x="9526" y="179"/>
                  </a:cubicBezTo>
                  <a:cubicBezTo>
                    <a:pt x="9526" y="274"/>
                    <a:pt x="9597" y="345"/>
                    <a:pt x="9692" y="345"/>
                  </a:cubicBezTo>
                  <a:lnTo>
                    <a:pt x="10133" y="345"/>
                  </a:lnTo>
                  <a:lnTo>
                    <a:pt x="10133" y="5894"/>
                  </a:lnTo>
                  <a:cubicBezTo>
                    <a:pt x="10133" y="5989"/>
                    <a:pt x="10216" y="6060"/>
                    <a:pt x="10300" y="6060"/>
                  </a:cubicBezTo>
                  <a:cubicBezTo>
                    <a:pt x="10395" y="6060"/>
                    <a:pt x="10466" y="5989"/>
                    <a:pt x="10466" y="5894"/>
                  </a:cubicBezTo>
                  <a:lnTo>
                    <a:pt x="10466" y="881"/>
                  </a:lnTo>
                  <a:lnTo>
                    <a:pt x="10609" y="881"/>
                  </a:lnTo>
                  <a:cubicBezTo>
                    <a:pt x="10693" y="881"/>
                    <a:pt x="10752" y="941"/>
                    <a:pt x="10752" y="1012"/>
                  </a:cubicBezTo>
                  <a:lnTo>
                    <a:pt x="10752" y="8204"/>
                  </a:lnTo>
                  <a:cubicBezTo>
                    <a:pt x="10752" y="8275"/>
                    <a:pt x="10693" y="8335"/>
                    <a:pt x="10609" y="8335"/>
                  </a:cubicBezTo>
                  <a:lnTo>
                    <a:pt x="6168" y="8335"/>
                  </a:lnTo>
                  <a:lnTo>
                    <a:pt x="6168" y="7965"/>
                  </a:lnTo>
                  <a:lnTo>
                    <a:pt x="10300" y="7965"/>
                  </a:lnTo>
                  <a:cubicBezTo>
                    <a:pt x="10395" y="7965"/>
                    <a:pt x="10466" y="7882"/>
                    <a:pt x="10466" y="7799"/>
                  </a:cubicBezTo>
                  <a:lnTo>
                    <a:pt x="10466" y="6584"/>
                  </a:lnTo>
                  <a:cubicBezTo>
                    <a:pt x="10466" y="6489"/>
                    <a:pt x="10395" y="6418"/>
                    <a:pt x="10300" y="6418"/>
                  </a:cubicBezTo>
                  <a:cubicBezTo>
                    <a:pt x="10216" y="6418"/>
                    <a:pt x="10133" y="6489"/>
                    <a:pt x="10133" y="6584"/>
                  </a:cubicBezTo>
                  <a:lnTo>
                    <a:pt x="10133" y="7001"/>
                  </a:lnTo>
                  <a:lnTo>
                    <a:pt x="5704" y="7001"/>
                  </a:lnTo>
                  <a:lnTo>
                    <a:pt x="5704" y="334"/>
                  </a:lnTo>
                  <a:lnTo>
                    <a:pt x="9002" y="334"/>
                  </a:lnTo>
                  <a:cubicBezTo>
                    <a:pt x="9097" y="334"/>
                    <a:pt x="9169" y="250"/>
                    <a:pt x="9169" y="167"/>
                  </a:cubicBezTo>
                  <a:cubicBezTo>
                    <a:pt x="9169" y="72"/>
                    <a:pt x="9097" y="0"/>
                    <a:pt x="90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6" name="Google Shape;12836;p62"/>
            <p:cNvSpPr/>
            <p:nvPr/>
          </p:nvSpPr>
          <p:spPr>
            <a:xfrm>
              <a:off x="8051486" y="3417149"/>
              <a:ext cx="73883" cy="10623"/>
            </a:xfrm>
            <a:custGeom>
              <a:avLst/>
              <a:gdLst/>
              <a:ahLst/>
              <a:cxnLst/>
              <a:rect l="l" t="t" r="r" b="b"/>
              <a:pathLst>
                <a:path w="2323" h="334" extrusionOk="0">
                  <a:moveTo>
                    <a:pt x="167" y="1"/>
                  </a:moveTo>
                  <a:cubicBezTo>
                    <a:pt x="84" y="1"/>
                    <a:pt x="0" y="84"/>
                    <a:pt x="0" y="167"/>
                  </a:cubicBezTo>
                  <a:cubicBezTo>
                    <a:pt x="0" y="262"/>
                    <a:pt x="84" y="334"/>
                    <a:pt x="167" y="334"/>
                  </a:cubicBezTo>
                  <a:lnTo>
                    <a:pt x="2167" y="334"/>
                  </a:lnTo>
                  <a:cubicBezTo>
                    <a:pt x="2251" y="334"/>
                    <a:pt x="2322" y="262"/>
                    <a:pt x="2322" y="167"/>
                  </a:cubicBezTo>
                  <a:cubicBezTo>
                    <a:pt x="2322" y="84"/>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7" name="Google Shape;12837;p62"/>
            <p:cNvSpPr/>
            <p:nvPr/>
          </p:nvSpPr>
          <p:spPr>
            <a:xfrm>
              <a:off x="8022702" y="3437981"/>
              <a:ext cx="102667" cy="10623"/>
            </a:xfrm>
            <a:custGeom>
              <a:avLst/>
              <a:gdLst/>
              <a:ahLst/>
              <a:cxnLst/>
              <a:rect l="l" t="t" r="r" b="b"/>
              <a:pathLst>
                <a:path w="3228" h="334" extrusionOk="0">
                  <a:moveTo>
                    <a:pt x="167" y="0"/>
                  </a:moveTo>
                  <a:cubicBezTo>
                    <a:pt x="72" y="0"/>
                    <a:pt x="1" y="84"/>
                    <a:pt x="1" y="167"/>
                  </a:cubicBezTo>
                  <a:cubicBezTo>
                    <a:pt x="12" y="262"/>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8" name="Google Shape;12838;p62"/>
            <p:cNvSpPr/>
            <p:nvPr/>
          </p:nvSpPr>
          <p:spPr>
            <a:xfrm>
              <a:off x="8022702" y="3458432"/>
              <a:ext cx="102667" cy="10623"/>
            </a:xfrm>
            <a:custGeom>
              <a:avLst/>
              <a:gdLst/>
              <a:ahLst/>
              <a:cxnLst/>
              <a:rect l="l" t="t" r="r" b="b"/>
              <a:pathLst>
                <a:path w="3228" h="334" extrusionOk="0">
                  <a:moveTo>
                    <a:pt x="167" y="0"/>
                  </a:moveTo>
                  <a:cubicBezTo>
                    <a:pt x="72" y="0"/>
                    <a:pt x="1" y="84"/>
                    <a:pt x="1" y="167"/>
                  </a:cubicBezTo>
                  <a:cubicBezTo>
                    <a:pt x="12" y="274"/>
                    <a:pt x="72" y="334"/>
                    <a:pt x="167" y="334"/>
                  </a:cubicBezTo>
                  <a:lnTo>
                    <a:pt x="3072" y="334"/>
                  </a:lnTo>
                  <a:cubicBezTo>
                    <a:pt x="3156" y="334"/>
                    <a:pt x="3227" y="262"/>
                    <a:pt x="3227" y="167"/>
                  </a:cubicBezTo>
                  <a:cubicBezTo>
                    <a:pt x="3227" y="84"/>
                    <a:pt x="3156" y="0"/>
                    <a:pt x="3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9" name="Google Shape;12839;p62"/>
            <p:cNvSpPr/>
            <p:nvPr/>
          </p:nvSpPr>
          <p:spPr>
            <a:xfrm>
              <a:off x="8022702" y="3479264"/>
              <a:ext cx="81071" cy="10623"/>
            </a:xfrm>
            <a:custGeom>
              <a:avLst/>
              <a:gdLst/>
              <a:ahLst/>
              <a:cxnLst/>
              <a:rect l="l" t="t" r="r" b="b"/>
              <a:pathLst>
                <a:path w="2549" h="334" extrusionOk="0">
                  <a:moveTo>
                    <a:pt x="167" y="0"/>
                  </a:moveTo>
                  <a:cubicBezTo>
                    <a:pt x="72" y="0"/>
                    <a:pt x="1" y="84"/>
                    <a:pt x="1" y="167"/>
                  </a:cubicBezTo>
                  <a:cubicBezTo>
                    <a:pt x="12" y="262"/>
                    <a:pt x="72" y="334"/>
                    <a:pt x="167" y="334"/>
                  </a:cubicBezTo>
                  <a:lnTo>
                    <a:pt x="2382" y="334"/>
                  </a:lnTo>
                  <a:cubicBezTo>
                    <a:pt x="2477" y="334"/>
                    <a:pt x="2549" y="262"/>
                    <a:pt x="2549" y="167"/>
                  </a:cubicBezTo>
                  <a:cubicBezTo>
                    <a:pt x="2549" y="84"/>
                    <a:pt x="2477" y="0"/>
                    <a:pt x="2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0" name="Google Shape;12840;p62"/>
            <p:cNvSpPr/>
            <p:nvPr/>
          </p:nvSpPr>
          <p:spPr>
            <a:xfrm>
              <a:off x="8051486" y="3520515"/>
              <a:ext cx="73883" cy="10655"/>
            </a:xfrm>
            <a:custGeom>
              <a:avLst/>
              <a:gdLst/>
              <a:ahLst/>
              <a:cxnLst/>
              <a:rect l="l" t="t" r="r" b="b"/>
              <a:pathLst>
                <a:path w="2323" h="335" extrusionOk="0">
                  <a:moveTo>
                    <a:pt x="167" y="1"/>
                  </a:moveTo>
                  <a:cubicBezTo>
                    <a:pt x="84" y="1"/>
                    <a:pt x="0" y="72"/>
                    <a:pt x="0" y="168"/>
                  </a:cubicBezTo>
                  <a:cubicBezTo>
                    <a:pt x="0" y="251"/>
                    <a:pt x="84" y="334"/>
                    <a:pt x="167" y="334"/>
                  </a:cubicBezTo>
                  <a:lnTo>
                    <a:pt x="2167" y="334"/>
                  </a:lnTo>
                  <a:cubicBezTo>
                    <a:pt x="2251" y="334"/>
                    <a:pt x="2322" y="251"/>
                    <a:pt x="2322" y="168"/>
                  </a:cubicBezTo>
                  <a:cubicBezTo>
                    <a:pt x="2322" y="72"/>
                    <a:pt x="2251" y="1"/>
                    <a:pt x="2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1" name="Google Shape;12841;p62"/>
            <p:cNvSpPr/>
            <p:nvPr/>
          </p:nvSpPr>
          <p:spPr>
            <a:xfrm>
              <a:off x="8022702" y="3540966"/>
              <a:ext cx="102667" cy="10273"/>
            </a:xfrm>
            <a:custGeom>
              <a:avLst/>
              <a:gdLst/>
              <a:ahLst/>
              <a:cxnLst/>
              <a:rect l="l" t="t" r="r" b="b"/>
              <a:pathLst>
                <a:path w="3228" h="323" extrusionOk="0">
                  <a:moveTo>
                    <a:pt x="167" y="1"/>
                  </a:moveTo>
                  <a:cubicBezTo>
                    <a:pt x="72" y="1"/>
                    <a:pt x="1" y="72"/>
                    <a:pt x="1" y="168"/>
                  </a:cubicBezTo>
                  <a:cubicBezTo>
                    <a:pt x="12" y="263"/>
                    <a:pt x="72" y="322"/>
                    <a:pt x="167" y="322"/>
                  </a:cubicBezTo>
                  <a:lnTo>
                    <a:pt x="3072" y="322"/>
                  </a:lnTo>
                  <a:cubicBezTo>
                    <a:pt x="3156" y="322"/>
                    <a:pt x="3227" y="251"/>
                    <a:pt x="3227" y="168"/>
                  </a:cubicBezTo>
                  <a:cubicBezTo>
                    <a:pt x="3227" y="72"/>
                    <a:pt x="3156"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2" name="Google Shape;12842;p62"/>
            <p:cNvSpPr/>
            <p:nvPr/>
          </p:nvSpPr>
          <p:spPr>
            <a:xfrm>
              <a:off x="8022702" y="3561798"/>
              <a:ext cx="49266" cy="10273"/>
            </a:xfrm>
            <a:custGeom>
              <a:avLst/>
              <a:gdLst/>
              <a:ahLst/>
              <a:cxnLst/>
              <a:rect l="l" t="t" r="r" b="b"/>
              <a:pathLst>
                <a:path w="1549" h="323" extrusionOk="0">
                  <a:moveTo>
                    <a:pt x="167" y="1"/>
                  </a:moveTo>
                  <a:cubicBezTo>
                    <a:pt x="72" y="1"/>
                    <a:pt x="1" y="72"/>
                    <a:pt x="1" y="167"/>
                  </a:cubicBezTo>
                  <a:cubicBezTo>
                    <a:pt x="12" y="251"/>
                    <a:pt x="72" y="322"/>
                    <a:pt x="167" y="322"/>
                  </a:cubicBezTo>
                  <a:lnTo>
                    <a:pt x="1382" y="322"/>
                  </a:lnTo>
                  <a:cubicBezTo>
                    <a:pt x="1477" y="322"/>
                    <a:pt x="1548" y="251"/>
                    <a:pt x="1548" y="167"/>
                  </a:cubicBezTo>
                  <a:cubicBezTo>
                    <a:pt x="1548" y="72"/>
                    <a:pt x="1477" y="1"/>
                    <a:pt x="13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3" name="Google Shape;12843;p62"/>
            <p:cNvSpPr/>
            <p:nvPr/>
          </p:nvSpPr>
          <p:spPr>
            <a:xfrm>
              <a:off x="8200683" y="3486452"/>
              <a:ext cx="73883" cy="10623"/>
            </a:xfrm>
            <a:custGeom>
              <a:avLst/>
              <a:gdLst/>
              <a:ahLst/>
              <a:cxnLst/>
              <a:rect l="l" t="t" r="r" b="b"/>
              <a:pathLst>
                <a:path w="2323" h="334" extrusionOk="0">
                  <a:moveTo>
                    <a:pt x="167" y="0"/>
                  </a:moveTo>
                  <a:cubicBezTo>
                    <a:pt x="72" y="0"/>
                    <a:pt x="1" y="72"/>
                    <a:pt x="1" y="167"/>
                  </a:cubicBezTo>
                  <a:cubicBezTo>
                    <a:pt x="1" y="250"/>
                    <a:pt x="72" y="334"/>
                    <a:pt x="167" y="334"/>
                  </a:cubicBezTo>
                  <a:lnTo>
                    <a:pt x="2156" y="334"/>
                  </a:lnTo>
                  <a:cubicBezTo>
                    <a:pt x="2251" y="334"/>
                    <a:pt x="2322" y="250"/>
                    <a:pt x="2322" y="167"/>
                  </a:cubicBezTo>
                  <a:cubicBezTo>
                    <a:pt x="2322" y="72"/>
                    <a:pt x="2251" y="0"/>
                    <a:pt x="2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4" name="Google Shape;12844;p62"/>
            <p:cNvSpPr/>
            <p:nvPr/>
          </p:nvSpPr>
          <p:spPr>
            <a:xfrm>
              <a:off x="8171899" y="3506902"/>
              <a:ext cx="102667" cy="10241"/>
            </a:xfrm>
            <a:custGeom>
              <a:avLst/>
              <a:gdLst/>
              <a:ahLst/>
              <a:cxnLst/>
              <a:rect l="l" t="t" r="r" b="b"/>
              <a:pathLst>
                <a:path w="3228" h="322" extrusionOk="0">
                  <a:moveTo>
                    <a:pt x="167" y="0"/>
                  </a:moveTo>
                  <a:cubicBezTo>
                    <a:pt x="72" y="0"/>
                    <a:pt x="1" y="72"/>
                    <a:pt x="1" y="167"/>
                  </a:cubicBezTo>
                  <a:cubicBezTo>
                    <a:pt x="1" y="250"/>
                    <a:pt x="72" y="322"/>
                    <a:pt x="167" y="322"/>
                  </a:cubicBezTo>
                  <a:lnTo>
                    <a:pt x="3061" y="322"/>
                  </a:lnTo>
                  <a:cubicBezTo>
                    <a:pt x="3156" y="322"/>
                    <a:pt x="3227" y="250"/>
                    <a:pt x="3227" y="167"/>
                  </a:cubicBezTo>
                  <a:cubicBezTo>
                    <a:pt x="3227" y="72"/>
                    <a:pt x="3156" y="0"/>
                    <a:pt x="30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5" name="Google Shape;12845;p62"/>
            <p:cNvSpPr/>
            <p:nvPr/>
          </p:nvSpPr>
          <p:spPr>
            <a:xfrm>
              <a:off x="8171899" y="3527735"/>
              <a:ext cx="49266" cy="10241"/>
            </a:xfrm>
            <a:custGeom>
              <a:avLst/>
              <a:gdLst/>
              <a:ahLst/>
              <a:cxnLst/>
              <a:rect l="l" t="t" r="r" b="b"/>
              <a:pathLst>
                <a:path w="1549" h="322" extrusionOk="0">
                  <a:moveTo>
                    <a:pt x="167" y="0"/>
                  </a:moveTo>
                  <a:cubicBezTo>
                    <a:pt x="72" y="0"/>
                    <a:pt x="1" y="72"/>
                    <a:pt x="1" y="167"/>
                  </a:cubicBezTo>
                  <a:cubicBezTo>
                    <a:pt x="1" y="250"/>
                    <a:pt x="72" y="322"/>
                    <a:pt x="167" y="322"/>
                  </a:cubicBezTo>
                  <a:lnTo>
                    <a:pt x="1382" y="322"/>
                  </a:lnTo>
                  <a:cubicBezTo>
                    <a:pt x="1477" y="322"/>
                    <a:pt x="1548" y="250"/>
                    <a:pt x="1548" y="167"/>
                  </a:cubicBezTo>
                  <a:cubicBezTo>
                    <a:pt x="1548" y="72"/>
                    <a:pt x="1477" y="0"/>
                    <a:pt x="13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6" name="Google Shape;12846;p62"/>
            <p:cNvSpPr/>
            <p:nvPr/>
          </p:nvSpPr>
          <p:spPr>
            <a:xfrm>
              <a:off x="8174189" y="3417149"/>
              <a:ext cx="102635" cy="45099"/>
            </a:xfrm>
            <a:custGeom>
              <a:avLst/>
              <a:gdLst/>
              <a:ahLst/>
              <a:cxnLst/>
              <a:rect l="l" t="t" r="r" b="b"/>
              <a:pathLst>
                <a:path w="3227" h="1418" extrusionOk="0">
                  <a:moveTo>
                    <a:pt x="2905" y="334"/>
                  </a:moveTo>
                  <a:lnTo>
                    <a:pt x="2905" y="1096"/>
                  </a:lnTo>
                  <a:lnTo>
                    <a:pt x="333" y="1096"/>
                  </a:lnTo>
                  <a:lnTo>
                    <a:pt x="333" y="334"/>
                  </a:lnTo>
                  <a:close/>
                  <a:moveTo>
                    <a:pt x="167" y="1"/>
                  </a:moveTo>
                  <a:cubicBezTo>
                    <a:pt x="72" y="12"/>
                    <a:pt x="0" y="84"/>
                    <a:pt x="0" y="167"/>
                  </a:cubicBezTo>
                  <a:lnTo>
                    <a:pt x="0" y="1251"/>
                  </a:lnTo>
                  <a:cubicBezTo>
                    <a:pt x="0" y="1346"/>
                    <a:pt x="72" y="1417"/>
                    <a:pt x="167" y="1417"/>
                  </a:cubicBezTo>
                  <a:lnTo>
                    <a:pt x="3072" y="1417"/>
                  </a:lnTo>
                  <a:cubicBezTo>
                    <a:pt x="3155" y="1417"/>
                    <a:pt x="3227" y="1346"/>
                    <a:pt x="3227" y="1251"/>
                  </a:cubicBezTo>
                  <a:lnTo>
                    <a:pt x="3227" y="167"/>
                  </a:lnTo>
                  <a:cubicBezTo>
                    <a:pt x="3227" y="84"/>
                    <a:pt x="3155" y="1"/>
                    <a:pt x="3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2850"/>
        <p:cNvGrpSpPr/>
        <p:nvPr/>
      </p:nvGrpSpPr>
      <p:grpSpPr>
        <a:xfrm>
          <a:off x="0" y="0"/>
          <a:ext cx="0" cy="0"/>
          <a:chOff x="0" y="0"/>
          <a:chExt cx="0" cy="0"/>
        </a:xfrm>
      </p:grpSpPr>
      <p:sp>
        <p:nvSpPr>
          <p:cNvPr id="12851" name="Google Shape;12851;p63"/>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Nature Icons</a:t>
            </a:r>
            <a:endParaRPr>
              <a:solidFill>
                <a:srgbClr val="FFFFFF"/>
              </a:solidFill>
              <a:latin typeface="Arial"/>
              <a:ea typeface="Arial"/>
              <a:cs typeface="Arial"/>
              <a:sym typeface="Arial"/>
            </a:endParaRPr>
          </a:p>
        </p:txBody>
      </p:sp>
      <p:grpSp>
        <p:nvGrpSpPr>
          <p:cNvPr id="12852" name="Google Shape;12852;p63"/>
          <p:cNvGrpSpPr/>
          <p:nvPr/>
        </p:nvGrpSpPr>
        <p:grpSpPr>
          <a:xfrm>
            <a:off x="849677" y="1500658"/>
            <a:ext cx="347872" cy="347488"/>
            <a:chOff x="849677" y="1500658"/>
            <a:chExt cx="347872" cy="347488"/>
          </a:xfrm>
        </p:grpSpPr>
        <p:sp>
          <p:nvSpPr>
            <p:cNvPr id="12853" name="Google Shape;12853;p63"/>
            <p:cNvSpPr/>
            <p:nvPr/>
          </p:nvSpPr>
          <p:spPr>
            <a:xfrm>
              <a:off x="849677" y="1500658"/>
              <a:ext cx="347872" cy="347488"/>
            </a:xfrm>
            <a:custGeom>
              <a:avLst/>
              <a:gdLst/>
              <a:ahLst/>
              <a:cxnLst/>
              <a:rect l="l" t="t" r="r" b="b"/>
              <a:pathLst>
                <a:path w="10871" h="10859" extrusionOk="0">
                  <a:moveTo>
                    <a:pt x="2024" y="989"/>
                  </a:moveTo>
                  <a:cubicBezTo>
                    <a:pt x="2441" y="989"/>
                    <a:pt x="2810" y="1251"/>
                    <a:pt x="2977" y="1620"/>
                  </a:cubicBezTo>
                  <a:cubicBezTo>
                    <a:pt x="2560" y="1834"/>
                    <a:pt x="2179" y="2120"/>
                    <a:pt x="1834" y="2453"/>
                  </a:cubicBezTo>
                  <a:cubicBezTo>
                    <a:pt x="1703" y="2584"/>
                    <a:pt x="1560" y="2715"/>
                    <a:pt x="1441"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84" y="310"/>
                    <a:pt x="2024" y="310"/>
                  </a:cubicBezTo>
                  <a:close/>
                  <a:moveTo>
                    <a:pt x="8847" y="310"/>
                  </a:moveTo>
                  <a:cubicBezTo>
                    <a:pt x="9775" y="310"/>
                    <a:pt x="10549" y="1084"/>
                    <a:pt x="10549" y="2024"/>
                  </a:cubicBezTo>
                  <a:cubicBezTo>
                    <a:pt x="10549" y="2584"/>
                    <a:pt x="10275" y="3108"/>
                    <a:pt x="9823" y="3418"/>
                  </a:cubicBezTo>
                  <a:cubicBezTo>
                    <a:pt x="9764" y="3310"/>
                    <a:pt x="9692" y="3215"/>
                    <a:pt x="9621" y="3120"/>
                  </a:cubicBezTo>
                  <a:cubicBezTo>
                    <a:pt x="9978" y="2870"/>
                    <a:pt x="10180" y="2465"/>
                    <a:pt x="10180" y="2024"/>
                  </a:cubicBezTo>
                  <a:cubicBezTo>
                    <a:pt x="10180" y="1846"/>
                    <a:pt x="10156" y="1667"/>
                    <a:pt x="10073" y="1501"/>
                  </a:cubicBezTo>
                  <a:cubicBezTo>
                    <a:pt x="10053"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23" y="989"/>
                  </a:cubicBezTo>
                  <a:cubicBezTo>
                    <a:pt x="9002" y="989"/>
                    <a:pt x="9204" y="1036"/>
                    <a:pt x="9347" y="1143"/>
                  </a:cubicBezTo>
                  <a:cubicBezTo>
                    <a:pt x="9369" y="1154"/>
                    <a:pt x="9394" y="1160"/>
                    <a:pt x="9421" y="1160"/>
                  </a:cubicBezTo>
                  <a:cubicBezTo>
                    <a:pt x="9479" y="1160"/>
                    <a:pt x="9540" y="1133"/>
                    <a:pt x="9573" y="1084"/>
                  </a:cubicBezTo>
                  <a:cubicBezTo>
                    <a:pt x="9621" y="1001"/>
                    <a:pt x="9585" y="905"/>
                    <a:pt x="9513" y="858"/>
                  </a:cubicBezTo>
                  <a:cubicBezTo>
                    <a:pt x="9299" y="739"/>
                    <a:pt x="9061" y="667"/>
                    <a:pt x="8823" y="667"/>
                  </a:cubicBezTo>
                  <a:cubicBezTo>
                    <a:pt x="8287"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16"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05"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60" y="10859"/>
                    <a:pt x="5430" y="10859"/>
                  </a:cubicBezTo>
                  <a:cubicBezTo>
                    <a:pt x="6799" y="10859"/>
                    <a:pt x="8061" y="10359"/>
                    <a:pt x="9037" y="9418"/>
                  </a:cubicBezTo>
                  <a:cubicBezTo>
                    <a:pt x="10002" y="8490"/>
                    <a:pt x="10526" y="7239"/>
                    <a:pt x="10526" y="5930"/>
                  </a:cubicBezTo>
                  <a:cubicBezTo>
                    <a:pt x="10526" y="5144"/>
                    <a:pt x="10323" y="4382"/>
                    <a:pt x="9978" y="3703"/>
                  </a:cubicBezTo>
                  <a:cubicBezTo>
                    <a:pt x="10526" y="3322"/>
                    <a:pt x="10871" y="2703"/>
                    <a:pt x="10871" y="2024"/>
                  </a:cubicBezTo>
                  <a:cubicBezTo>
                    <a:pt x="10871" y="905"/>
                    <a:pt x="9954" y="0"/>
                    <a:pt x="8847" y="0"/>
                  </a:cubicBezTo>
                  <a:cubicBezTo>
                    <a:pt x="8025" y="0"/>
                    <a:pt x="7275" y="489"/>
                    <a:pt x="6966" y="1251"/>
                  </a:cubicBezTo>
                  <a:cubicBezTo>
                    <a:pt x="6477" y="1096"/>
                    <a:pt x="5965" y="1024"/>
                    <a:pt x="5430" y="1024"/>
                  </a:cubicBezTo>
                  <a:cubicBezTo>
                    <a:pt x="4894" y="1024"/>
                    <a:pt x="4394" y="1096"/>
                    <a:pt x="3894" y="1251"/>
                  </a:cubicBezTo>
                  <a:cubicBezTo>
                    <a:pt x="3584"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4" name="Google Shape;12854;p63"/>
            <p:cNvSpPr/>
            <p:nvPr/>
          </p:nvSpPr>
          <p:spPr>
            <a:xfrm>
              <a:off x="936557" y="1663346"/>
              <a:ext cx="43072" cy="48032"/>
            </a:xfrm>
            <a:custGeom>
              <a:avLst/>
              <a:gdLst/>
              <a:ahLst/>
              <a:cxnLst/>
              <a:rect l="l" t="t" r="r" b="b"/>
              <a:pathLst>
                <a:path w="1346"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45"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50" y="334"/>
                    <a:pt x="833" y="250"/>
                    <a:pt x="833" y="167"/>
                  </a:cubicBezTo>
                  <a:cubicBezTo>
                    <a:pt x="833" y="72"/>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5" name="Google Shape;12855;p63"/>
            <p:cNvSpPr/>
            <p:nvPr/>
          </p:nvSpPr>
          <p:spPr>
            <a:xfrm>
              <a:off x="106682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25" y="596"/>
                    <a:pt x="1025" y="691"/>
                  </a:cubicBezTo>
                  <a:lnTo>
                    <a:pt x="1025" y="846"/>
                  </a:lnTo>
                  <a:cubicBezTo>
                    <a:pt x="1025"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6" name="Google Shape;12856;p63"/>
            <p:cNvSpPr/>
            <p:nvPr/>
          </p:nvSpPr>
          <p:spPr>
            <a:xfrm>
              <a:off x="893101" y="1636178"/>
              <a:ext cx="110144" cy="116352"/>
            </a:xfrm>
            <a:custGeom>
              <a:avLst/>
              <a:gdLst/>
              <a:ahLst/>
              <a:cxnLst/>
              <a:rect l="l" t="t" r="r" b="b"/>
              <a:pathLst>
                <a:path w="3442" h="3636" extrusionOk="0">
                  <a:moveTo>
                    <a:pt x="1926" y="1"/>
                  </a:moveTo>
                  <a:cubicBezTo>
                    <a:pt x="1743" y="1"/>
                    <a:pt x="1556" y="34"/>
                    <a:pt x="1370" y="99"/>
                  </a:cubicBezTo>
                  <a:cubicBezTo>
                    <a:pt x="941" y="254"/>
                    <a:pt x="560" y="576"/>
                    <a:pt x="310" y="992"/>
                  </a:cubicBezTo>
                  <a:cubicBezTo>
                    <a:pt x="84" y="1373"/>
                    <a:pt x="1" y="1802"/>
                    <a:pt x="48" y="2219"/>
                  </a:cubicBezTo>
                  <a:cubicBezTo>
                    <a:pt x="60" y="2302"/>
                    <a:pt x="132" y="2361"/>
                    <a:pt x="227" y="2361"/>
                  </a:cubicBezTo>
                  <a:cubicBezTo>
                    <a:pt x="310" y="2350"/>
                    <a:pt x="370" y="2278"/>
                    <a:pt x="370" y="2183"/>
                  </a:cubicBezTo>
                  <a:cubicBezTo>
                    <a:pt x="346" y="1850"/>
                    <a:pt x="417" y="1469"/>
                    <a:pt x="608" y="1159"/>
                  </a:cubicBezTo>
                  <a:cubicBezTo>
                    <a:pt x="822" y="802"/>
                    <a:pt x="1132" y="540"/>
                    <a:pt x="1489" y="397"/>
                  </a:cubicBezTo>
                  <a:cubicBezTo>
                    <a:pt x="1635" y="348"/>
                    <a:pt x="1782" y="323"/>
                    <a:pt x="1922" y="323"/>
                  </a:cubicBezTo>
                  <a:cubicBezTo>
                    <a:pt x="2125" y="323"/>
                    <a:pt x="2316" y="375"/>
                    <a:pt x="2477" y="480"/>
                  </a:cubicBezTo>
                  <a:cubicBezTo>
                    <a:pt x="2775" y="635"/>
                    <a:pt x="2977" y="933"/>
                    <a:pt x="3049" y="1314"/>
                  </a:cubicBezTo>
                  <a:cubicBezTo>
                    <a:pt x="3120" y="1683"/>
                    <a:pt x="3037" y="2100"/>
                    <a:pt x="2822" y="2457"/>
                  </a:cubicBezTo>
                  <a:cubicBezTo>
                    <a:pt x="2511" y="2985"/>
                    <a:pt x="1984" y="3293"/>
                    <a:pt x="1482" y="3293"/>
                  </a:cubicBezTo>
                  <a:cubicBezTo>
                    <a:pt x="1294" y="3293"/>
                    <a:pt x="1110" y="3250"/>
                    <a:pt x="941" y="3159"/>
                  </a:cubicBezTo>
                  <a:cubicBezTo>
                    <a:pt x="787" y="3064"/>
                    <a:pt x="667" y="2957"/>
                    <a:pt x="584" y="2814"/>
                  </a:cubicBezTo>
                  <a:cubicBezTo>
                    <a:pt x="553" y="2768"/>
                    <a:pt x="498" y="2742"/>
                    <a:pt x="443" y="2742"/>
                  </a:cubicBezTo>
                  <a:cubicBezTo>
                    <a:pt x="413" y="2742"/>
                    <a:pt x="383" y="2749"/>
                    <a:pt x="358" y="2766"/>
                  </a:cubicBezTo>
                  <a:cubicBezTo>
                    <a:pt x="286" y="2814"/>
                    <a:pt x="263" y="2921"/>
                    <a:pt x="310" y="2993"/>
                  </a:cubicBezTo>
                  <a:cubicBezTo>
                    <a:pt x="429" y="3171"/>
                    <a:pt x="596" y="3314"/>
                    <a:pt x="787" y="3433"/>
                  </a:cubicBezTo>
                  <a:cubicBezTo>
                    <a:pt x="1013" y="3576"/>
                    <a:pt x="1251" y="3635"/>
                    <a:pt x="1501" y="3635"/>
                  </a:cubicBezTo>
                  <a:cubicBezTo>
                    <a:pt x="2108" y="3635"/>
                    <a:pt x="2739" y="3254"/>
                    <a:pt x="3108" y="2635"/>
                  </a:cubicBezTo>
                  <a:cubicBezTo>
                    <a:pt x="3346" y="2195"/>
                    <a:pt x="3442" y="1695"/>
                    <a:pt x="3346" y="1254"/>
                  </a:cubicBezTo>
                  <a:cubicBezTo>
                    <a:pt x="3263" y="790"/>
                    <a:pt x="3001" y="421"/>
                    <a:pt x="2632" y="195"/>
                  </a:cubicBezTo>
                  <a:cubicBezTo>
                    <a:pt x="2418" y="64"/>
                    <a:pt x="2177" y="1"/>
                    <a:pt x="19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7" name="Google Shape;12857;p63"/>
            <p:cNvSpPr/>
            <p:nvPr/>
          </p:nvSpPr>
          <p:spPr>
            <a:xfrm>
              <a:off x="1043597" y="1636882"/>
              <a:ext cx="116608" cy="115264"/>
            </a:xfrm>
            <a:custGeom>
              <a:avLst/>
              <a:gdLst/>
              <a:ahLst/>
              <a:cxnLst/>
              <a:rect l="l" t="t" r="r" b="b"/>
              <a:pathLst>
                <a:path w="3644" h="3602" extrusionOk="0">
                  <a:moveTo>
                    <a:pt x="1513" y="292"/>
                  </a:moveTo>
                  <a:cubicBezTo>
                    <a:pt x="1668" y="292"/>
                    <a:pt x="1810" y="327"/>
                    <a:pt x="1965" y="363"/>
                  </a:cubicBezTo>
                  <a:cubicBezTo>
                    <a:pt x="2322" y="506"/>
                    <a:pt x="2632" y="768"/>
                    <a:pt x="2846" y="1125"/>
                  </a:cubicBezTo>
                  <a:cubicBezTo>
                    <a:pt x="3275" y="1887"/>
                    <a:pt x="3120" y="2780"/>
                    <a:pt x="2513" y="3125"/>
                  </a:cubicBezTo>
                  <a:cubicBezTo>
                    <a:pt x="2344" y="3225"/>
                    <a:pt x="2157" y="3271"/>
                    <a:pt x="1965" y="3271"/>
                  </a:cubicBezTo>
                  <a:cubicBezTo>
                    <a:pt x="1467" y="3271"/>
                    <a:pt x="938" y="2956"/>
                    <a:pt x="620" y="2423"/>
                  </a:cubicBezTo>
                  <a:cubicBezTo>
                    <a:pt x="417" y="2066"/>
                    <a:pt x="346" y="1649"/>
                    <a:pt x="405" y="1280"/>
                  </a:cubicBezTo>
                  <a:cubicBezTo>
                    <a:pt x="477" y="899"/>
                    <a:pt x="667" y="601"/>
                    <a:pt x="965" y="446"/>
                  </a:cubicBezTo>
                  <a:cubicBezTo>
                    <a:pt x="1132" y="339"/>
                    <a:pt x="1322" y="292"/>
                    <a:pt x="1513" y="292"/>
                  </a:cubicBezTo>
                  <a:close/>
                  <a:moveTo>
                    <a:pt x="1522" y="0"/>
                  </a:moveTo>
                  <a:cubicBezTo>
                    <a:pt x="1267" y="0"/>
                    <a:pt x="1022" y="66"/>
                    <a:pt x="798" y="184"/>
                  </a:cubicBezTo>
                  <a:cubicBezTo>
                    <a:pt x="429" y="411"/>
                    <a:pt x="179" y="780"/>
                    <a:pt x="84" y="1244"/>
                  </a:cubicBezTo>
                  <a:cubicBezTo>
                    <a:pt x="1" y="1697"/>
                    <a:pt x="108" y="2185"/>
                    <a:pt x="346" y="2601"/>
                  </a:cubicBezTo>
                  <a:cubicBezTo>
                    <a:pt x="703" y="3221"/>
                    <a:pt x="1334" y="3602"/>
                    <a:pt x="1953" y="3602"/>
                  </a:cubicBezTo>
                  <a:cubicBezTo>
                    <a:pt x="2203" y="3602"/>
                    <a:pt x="2441" y="3542"/>
                    <a:pt x="2668" y="3399"/>
                  </a:cubicBezTo>
                  <a:cubicBezTo>
                    <a:pt x="3442" y="2959"/>
                    <a:pt x="3644" y="1875"/>
                    <a:pt x="3120" y="994"/>
                  </a:cubicBezTo>
                  <a:cubicBezTo>
                    <a:pt x="2870" y="565"/>
                    <a:pt x="2501" y="244"/>
                    <a:pt x="2072" y="101"/>
                  </a:cubicBezTo>
                  <a:cubicBezTo>
                    <a:pt x="1886" y="32"/>
                    <a:pt x="1701" y="0"/>
                    <a:pt x="15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8" name="Google Shape;12858;p63"/>
            <p:cNvSpPr/>
            <p:nvPr/>
          </p:nvSpPr>
          <p:spPr>
            <a:xfrm>
              <a:off x="968173" y="1730002"/>
              <a:ext cx="110144" cy="96064"/>
            </a:xfrm>
            <a:custGeom>
              <a:avLst/>
              <a:gdLst/>
              <a:ahLst/>
              <a:cxnLst/>
              <a:rect l="l" t="t" r="r" b="b"/>
              <a:pathLst>
                <a:path w="3442" h="3002" extrusionOk="0">
                  <a:moveTo>
                    <a:pt x="1715" y="287"/>
                  </a:moveTo>
                  <a:cubicBezTo>
                    <a:pt x="2024" y="287"/>
                    <a:pt x="2405" y="430"/>
                    <a:pt x="2405" y="644"/>
                  </a:cubicBezTo>
                  <a:cubicBezTo>
                    <a:pt x="2405" y="823"/>
                    <a:pt x="2108" y="1168"/>
                    <a:pt x="1715" y="1168"/>
                  </a:cubicBezTo>
                  <a:cubicBezTo>
                    <a:pt x="1334" y="1168"/>
                    <a:pt x="1036" y="823"/>
                    <a:pt x="1036" y="644"/>
                  </a:cubicBezTo>
                  <a:cubicBezTo>
                    <a:pt x="1036" y="430"/>
                    <a:pt x="1405" y="287"/>
                    <a:pt x="1715" y="287"/>
                  </a:cubicBezTo>
                  <a:close/>
                  <a:moveTo>
                    <a:pt x="1727" y="2025"/>
                  </a:moveTo>
                  <a:cubicBezTo>
                    <a:pt x="1834" y="2025"/>
                    <a:pt x="1929" y="2025"/>
                    <a:pt x="2024" y="2037"/>
                  </a:cubicBezTo>
                  <a:cubicBezTo>
                    <a:pt x="2185" y="2061"/>
                    <a:pt x="2328" y="2073"/>
                    <a:pt x="2456" y="2073"/>
                  </a:cubicBezTo>
                  <a:cubicBezTo>
                    <a:pt x="2584" y="2073"/>
                    <a:pt x="2697" y="2061"/>
                    <a:pt x="2798" y="2037"/>
                  </a:cubicBezTo>
                  <a:lnTo>
                    <a:pt x="2798" y="2037"/>
                  </a:lnTo>
                  <a:cubicBezTo>
                    <a:pt x="2679" y="2406"/>
                    <a:pt x="2251" y="2692"/>
                    <a:pt x="1727" y="2692"/>
                  </a:cubicBezTo>
                  <a:cubicBezTo>
                    <a:pt x="1215" y="2692"/>
                    <a:pt x="774" y="2418"/>
                    <a:pt x="655" y="2037"/>
                  </a:cubicBezTo>
                  <a:lnTo>
                    <a:pt x="655" y="2037"/>
                  </a:lnTo>
                  <a:cubicBezTo>
                    <a:pt x="762" y="2061"/>
                    <a:pt x="878" y="2073"/>
                    <a:pt x="1006" y="2073"/>
                  </a:cubicBezTo>
                  <a:cubicBezTo>
                    <a:pt x="1134" y="2073"/>
                    <a:pt x="1274" y="2061"/>
                    <a:pt x="1429" y="2037"/>
                  </a:cubicBezTo>
                  <a:cubicBezTo>
                    <a:pt x="1536" y="2025"/>
                    <a:pt x="1631" y="2025"/>
                    <a:pt x="1727" y="2025"/>
                  </a:cubicBezTo>
                  <a:close/>
                  <a:moveTo>
                    <a:pt x="1715" y="1"/>
                  </a:moveTo>
                  <a:cubicBezTo>
                    <a:pt x="1143" y="1"/>
                    <a:pt x="703" y="299"/>
                    <a:pt x="703" y="668"/>
                  </a:cubicBezTo>
                  <a:cubicBezTo>
                    <a:pt x="703" y="858"/>
                    <a:pt x="822" y="1073"/>
                    <a:pt x="1000" y="1239"/>
                  </a:cubicBezTo>
                  <a:cubicBezTo>
                    <a:pt x="1167" y="1370"/>
                    <a:pt x="1346" y="1454"/>
                    <a:pt x="1548" y="1501"/>
                  </a:cubicBezTo>
                  <a:lnTo>
                    <a:pt x="1548" y="1739"/>
                  </a:lnTo>
                  <a:cubicBezTo>
                    <a:pt x="1489" y="1739"/>
                    <a:pt x="1429" y="1763"/>
                    <a:pt x="1369" y="1763"/>
                  </a:cubicBezTo>
                  <a:cubicBezTo>
                    <a:pt x="1243" y="1776"/>
                    <a:pt x="1126" y="1783"/>
                    <a:pt x="1019" y="1783"/>
                  </a:cubicBezTo>
                  <a:cubicBezTo>
                    <a:pt x="724" y="1783"/>
                    <a:pt x="510" y="1731"/>
                    <a:pt x="405" y="1608"/>
                  </a:cubicBezTo>
                  <a:cubicBezTo>
                    <a:pt x="298" y="1501"/>
                    <a:pt x="334" y="1382"/>
                    <a:pt x="334" y="1370"/>
                  </a:cubicBezTo>
                  <a:cubicBezTo>
                    <a:pt x="346" y="1275"/>
                    <a:pt x="286" y="1204"/>
                    <a:pt x="215" y="1180"/>
                  </a:cubicBezTo>
                  <a:cubicBezTo>
                    <a:pt x="200" y="1176"/>
                    <a:pt x="186" y="1174"/>
                    <a:pt x="173" y="1174"/>
                  </a:cubicBezTo>
                  <a:cubicBezTo>
                    <a:pt x="99" y="1174"/>
                    <a:pt x="42" y="1228"/>
                    <a:pt x="12" y="1299"/>
                  </a:cubicBezTo>
                  <a:cubicBezTo>
                    <a:pt x="0" y="1394"/>
                    <a:pt x="0" y="1620"/>
                    <a:pt x="167" y="1799"/>
                  </a:cubicBezTo>
                  <a:cubicBezTo>
                    <a:pt x="191" y="1835"/>
                    <a:pt x="238" y="1858"/>
                    <a:pt x="274" y="1894"/>
                  </a:cubicBezTo>
                  <a:cubicBezTo>
                    <a:pt x="310" y="2513"/>
                    <a:pt x="941" y="3001"/>
                    <a:pt x="1703" y="3001"/>
                  </a:cubicBezTo>
                  <a:cubicBezTo>
                    <a:pt x="2453" y="3001"/>
                    <a:pt x="3084" y="2513"/>
                    <a:pt x="3132" y="1894"/>
                  </a:cubicBezTo>
                  <a:cubicBezTo>
                    <a:pt x="3167" y="1858"/>
                    <a:pt x="3203" y="1835"/>
                    <a:pt x="3227" y="1799"/>
                  </a:cubicBezTo>
                  <a:cubicBezTo>
                    <a:pt x="3429" y="1620"/>
                    <a:pt x="3441" y="1406"/>
                    <a:pt x="3417" y="1299"/>
                  </a:cubicBezTo>
                  <a:cubicBezTo>
                    <a:pt x="3398" y="1223"/>
                    <a:pt x="3341" y="1169"/>
                    <a:pt x="3270" y="1169"/>
                  </a:cubicBezTo>
                  <a:cubicBezTo>
                    <a:pt x="3253" y="1169"/>
                    <a:pt x="3234" y="1173"/>
                    <a:pt x="3215" y="1180"/>
                  </a:cubicBezTo>
                  <a:cubicBezTo>
                    <a:pt x="3132" y="1192"/>
                    <a:pt x="3072" y="1275"/>
                    <a:pt x="3096" y="1370"/>
                  </a:cubicBezTo>
                  <a:cubicBezTo>
                    <a:pt x="3096" y="1370"/>
                    <a:pt x="3108" y="1501"/>
                    <a:pt x="3024" y="1608"/>
                  </a:cubicBezTo>
                  <a:cubicBezTo>
                    <a:pt x="2908" y="1725"/>
                    <a:pt x="2690" y="1781"/>
                    <a:pt x="2385" y="1781"/>
                  </a:cubicBezTo>
                  <a:cubicBezTo>
                    <a:pt x="2286" y="1781"/>
                    <a:pt x="2177" y="1775"/>
                    <a:pt x="2060" y="1763"/>
                  </a:cubicBezTo>
                  <a:cubicBezTo>
                    <a:pt x="2000" y="1739"/>
                    <a:pt x="1941" y="1739"/>
                    <a:pt x="1881" y="1739"/>
                  </a:cubicBezTo>
                  <a:lnTo>
                    <a:pt x="1881" y="1501"/>
                  </a:lnTo>
                  <a:cubicBezTo>
                    <a:pt x="2072" y="1477"/>
                    <a:pt x="2262" y="1382"/>
                    <a:pt x="2429" y="1239"/>
                  </a:cubicBezTo>
                  <a:cubicBezTo>
                    <a:pt x="2620" y="1073"/>
                    <a:pt x="2727" y="858"/>
                    <a:pt x="2727" y="668"/>
                  </a:cubicBezTo>
                  <a:cubicBezTo>
                    <a:pt x="2727" y="299"/>
                    <a:pt x="2274" y="1"/>
                    <a:pt x="1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59" name="Google Shape;12859;p63"/>
          <p:cNvGrpSpPr/>
          <p:nvPr/>
        </p:nvGrpSpPr>
        <p:grpSpPr>
          <a:xfrm>
            <a:off x="1415853" y="1500658"/>
            <a:ext cx="315872" cy="347488"/>
            <a:chOff x="1415853" y="1500658"/>
            <a:chExt cx="315872" cy="347488"/>
          </a:xfrm>
        </p:grpSpPr>
        <p:sp>
          <p:nvSpPr>
            <p:cNvPr id="12860" name="Google Shape;12860;p63"/>
            <p:cNvSpPr/>
            <p:nvPr/>
          </p:nvSpPr>
          <p:spPr>
            <a:xfrm>
              <a:off x="1415853" y="1500658"/>
              <a:ext cx="315872" cy="347488"/>
            </a:xfrm>
            <a:custGeom>
              <a:avLst/>
              <a:gdLst/>
              <a:ahLst/>
              <a:cxnLst/>
              <a:rect l="l" t="t" r="r" b="b"/>
              <a:pathLst>
                <a:path w="9871" h="10859" extrusionOk="0">
                  <a:moveTo>
                    <a:pt x="4894" y="322"/>
                  </a:moveTo>
                  <a:cubicBezTo>
                    <a:pt x="5739" y="322"/>
                    <a:pt x="6465" y="786"/>
                    <a:pt x="6834" y="1465"/>
                  </a:cubicBezTo>
                  <a:cubicBezTo>
                    <a:pt x="6775" y="1429"/>
                    <a:pt x="6727" y="1393"/>
                    <a:pt x="6668" y="1370"/>
                  </a:cubicBezTo>
                  <a:cubicBezTo>
                    <a:pt x="6643" y="1353"/>
                    <a:pt x="6614" y="1345"/>
                    <a:pt x="6586" y="1345"/>
                  </a:cubicBezTo>
                  <a:cubicBezTo>
                    <a:pt x="6532" y="1345"/>
                    <a:pt x="6481" y="1374"/>
                    <a:pt x="6465" y="1429"/>
                  </a:cubicBezTo>
                  <a:cubicBezTo>
                    <a:pt x="6418" y="1501"/>
                    <a:pt x="6441" y="1608"/>
                    <a:pt x="6525" y="1632"/>
                  </a:cubicBezTo>
                  <a:cubicBezTo>
                    <a:pt x="6882" y="1822"/>
                    <a:pt x="7096" y="2179"/>
                    <a:pt x="7120" y="2584"/>
                  </a:cubicBezTo>
                  <a:cubicBezTo>
                    <a:pt x="7084" y="3787"/>
                    <a:pt x="6108" y="4763"/>
                    <a:pt x="4894" y="4763"/>
                  </a:cubicBezTo>
                  <a:cubicBezTo>
                    <a:pt x="3727" y="4763"/>
                    <a:pt x="2739" y="3822"/>
                    <a:pt x="2703" y="2632"/>
                  </a:cubicBezTo>
                  <a:cubicBezTo>
                    <a:pt x="2727" y="2048"/>
                    <a:pt x="3215" y="1584"/>
                    <a:pt x="3810" y="1584"/>
                  </a:cubicBezTo>
                  <a:cubicBezTo>
                    <a:pt x="4132" y="1584"/>
                    <a:pt x="4441" y="1715"/>
                    <a:pt x="4644" y="1965"/>
                  </a:cubicBezTo>
                  <a:cubicBezTo>
                    <a:pt x="4703" y="2036"/>
                    <a:pt x="4798" y="2060"/>
                    <a:pt x="4882" y="2060"/>
                  </a:cubicBezTo>
                  <a:cubicBezTo>
                    <a:pt x="4989" y="2060"/>
                    <a:pt x="5084" y="2013"/>
                    <a:pt x="5144" y="1929"/>
                  </a:cubicBezTo>
                  <a:cubicBezTo>
                    <a:pt x="5334" y="1679"/>
                    <a:pt x="5632" y="1524"/>
                    <a:pt x="5941" y="1501"/>
                  </a:cubicBezTo>
                  <a:cubicBezTo>
                    <a:pt x="6037" y="1501"/>
                    <a:pt x="6096" y="1429"/>
                    <a:pt x="6096" y="1334"/>
                  </a:cubicBezTo>
                  <a:cubicBezTo>
                    <a:pt x="6096" y="1251"/>
                    <a:pt x="6013" y="1191"/>
                    <a:pt x="5929" y="1191"/>
                  </a:cubicBezTo>
                  <a:cubicBezTo>
                    <a:pt x="5525" y="1215"/>
                    <a:pt x="5132" y="1405"/>
                    <a:pt x="4882" y="1739"/>
                  </a:cubicBezTo>
                  <a:cubicBezTo>
                    <a:pt x="4882" y="1739"/>
                    <a:pt x="4870" y="1739"/>
                    <a:pt x="4870" y="1751"/>
                  </a:cubicBezTo>
                  <a:cubicBezTo>
                    <a:pt x="4596" y="1453"/>
                    <a:pt x="4215" y="1274"/>
                    <a:pt x="3798" y="1274"/>
                  </a:cubicBezTo>
                  <a:cubicBezTo>
                    <a:pt x="3453" y="1274"/>
                    <a:pt x="3143" y="1393"/>
                    <a:pt x="2893" y="1608"/>
                  </a:cubicBezTo>
                  <a:cubicBezTo>
                    <a:pt x="3250" y="846"/>
                    <a:pt x="4024" y="322"/>
                    <a:pt x="4894" y="322"/>
                  </a:cubicBezTo>
                  <a:close/>
                  <a:moveTo>
                    <a:pt x="2310" y="4430"/>
                  </a:moveTo>
                  <a:lnTo>
                    <a:pt x="2310" y="4430"/>
                  </a:lnTo>
                  <a:cubicBezTo>
                    <a:pt x="1726" y="5334"/>
                    <a:pt x="1369" y="6489"/>
                    <a:pt x="1357" y="7537"/>
                  </a:cubicBezTo>
                  <a:cubicBezTo>
                    <a:pt x="1146" y="7654"/>
                    <a:pt x="878" y="7684"/>
                    <a:pt x="652" y="7684"/>
                  </a:cubicBezTo>
                  <a:cubicBezTo>
                    <a:pt x="534" y="7684"/>
                    <a:pt x="427" y="7676"/>
                    <a:pt x="345" y="7668"/>
                  </a:cubicBezTo>
                  <a:cubicBezTo>
                    <a:pt x="703" y="6227"/>
                    <a:pt x="1357" y="5334"/>
                    <a:pt x="1857" y="4834"/>
                  </a:cubicBezTo>
                  <a:cubicBezTo>
                    <a:pt x="2024" y="4668"/>
                    <a:pt x="2179" y="4537"/>
                    <a:pt x="2310" y="4430"/>
                  </a:cubicBezTo>
                  <a:close/>
                  <a:moveTo>
                    <a:pt x="7501" y="4430"/>
                  </a:moveTo>
                  <a:cubicBezTo>
                    <a:pt x="7644" y="4537"/>
                    <a:pt x="7799" y="4668"/>
                    <a:pt x="7953" y="4834"/>
                  </a:cubicBezTo>
                  <a:cubicBezTo>
                    <a:pt x="8454" y="5334"/>
                    <a:pt x="9132" y="6251"/>
                    <a:pt x="9466" y="7680"/>
                  </a:cubicBezTo>
                  <a:cubicBezTo>
                    <a:pt x="9400" y="7687"/>
                    <a:pt x="9313" y="7693"/>
                    <a:pt x="9214" y="7693"/>
                  </a:cubicBezTo>
                  <a:cubicBezTo>
                    <a:pt x="8988" y="7693"/>
                    <a:pt x="8701" y="7661"/>
                    <a:pt x="8477" y="7537"/>
                  </a:cubicBezTo>
                  <a:cubicBezTo>
                    <a:pt x="8454" y="6466"/>
                    <a:pt x="8084" y="5323"/>
                    <a:pt x="7501" y="4430"/>
                  </a:cubicBezTo>
                  <a:close/>
                  <a:moveTo>
                    <a:pt x="3727" y="10192"/>
                  </a:moveTo>
                  <a:cubicBezTo>
                    <a:pt x="3965" y="10192"/>
                    <a:pt x="4155" y="10335"/>
                    <a:pt x="4215" y="10549"/>
                  </a:cubicBezTo>
                  <a:lnTo>
                    <a:pt x="2548" y="10549"/>
                  </a:lnTo>
                  <a:cubicBezTo>
                    <a:pt x="2619" y="10335"/>
                    <a:pt x="2822" y="10192"/>
                    <a:pt x="3036" y="10192"/>
                  </a:cubicBezTo>
                  <a:close/>
                  <a:moveTo>
                    <a:pt x="6930" y="4132"/>
                  </a:moveTo>
                  <a:cubicBezTo>
                    <a:pt x="7692" y="5049"/>
                    <a:pt x="8192" y="6406"/>
                    <a:pt x="8192" y="7644"/>
                  </a:cubicBezTo>
                  <a:cubicBezTo>
                    <a:pt x="8156" y="8513"/>
                    <a:pt x="7799" y="9359"/>
                    <a:pt x="7180" y="9966"/>
                  </a:cubicBezTo>
                  <a:cubicBezTo>
                    <a:pt x="7060" y="9906"/>
                    <a:pt x="6930" y="9859"/>
                    <a:pt x="6787" y="9859"/>
                  </a:cubicBezTo>
                  <a:lnTo>
                    <a:pt x="6108" y="9859"/>
                  </a:lnTo>
                  <a:cubicBezTo>
                    <a:pt x="5703" y="9859"/>
                    <a:pt x="5358" y="10156"/>
                    <a:pt x="5286" y="10549"/>
                  </a:cubicBezTo>
                  <a:lnTo>
                    <a:pt x="4560" y="10549"/>
                  </a:lnTo>
                  <a:cubicBezTo>
                    <a:pt x="4489" y="10156"/>
                    <a:pt x="4143" y="9859"/>
                    <a:pt x="3739" y="9859"/>
                  </a:cubicBezTo>
                  <a:lnTo>
                    <a:pt x="3048" y="9859"/>
                  </a:lnTo>
                  <a:cubicBezTo>
                    <a:pt x="2905" y="9859"/>
                    <a:pt x="2774" y="9894"/>
                    <a:pt x="2667" y="9966"/>
                  </a:cubicBezTo>
                  <a:cubicBezTo>
                    <a:pt x="2036" y="9359"/>
                    <a:pt x="1679" y="8525"/>
                    <a:pt x="1679" y="7644"/>
                  </a:cubicBezTo>
                  <a:cubicBezTo>
                    <a:pt x="1679" y="6406"/>
                    <a:pt x="2179" y="5061"/>
                    <a:pt x="2953" y="4132"/>
                  </a:cubicBezTo>
                  <a:cubicBezTo>
                    <a:pt x="2989" y="4180"/>
                    <a:pt x="3036" y="4239"/>
                    <a:pt x="3084" y="4275"/>
                  </a:cubicBezTo>
                  <a:cubicBezTo>
                    <a:pt x="2655" y="5049"/>
                    <a:pt x="2393" y="6049"/>
                    <a:pt x="2393" y="6954"/>
                  </a:cubicBezTo>
                  <a:cubicBezTo>
                    <a:pt x="2393" y="8442"/>
                    <a:pt x="3548" y="9668"/>
                    <a:pt x="4941" y="9668"/>
                  </a:cubicBezTo>
                  <a:cubicBezTo>
                    <a:pt x="6346" y="9668"/>
                    <a:pt x="7489" y="8442"/>
                    <a:pt x="7489" y="6954"/>
                  </a:cubicBezTo>
                  <a:cubicBezTo>
                    <a:pt x="7489" y="6525"/>
                    <a:pt x="7430" y="6096"/>
                    <a:pt x="7322" y="5644"/>
                  </a:cubicBezTo>
                  <a:cubicBezTo>
                    <a:pt x="7312" y="5569"/>
                    <a:pt x="7234" y="5523"/>
                    <a:pt x="7158" y="5523"/>
                  </a:cubicBezTo>
                  <a:cubicBezTo>
                    <a:pt x="7149" y="5523"/>
                    <a:pt x="7140" y="5524"/>
                    <a:pt x="7132" y="5525"/>
                  </a:cubicBezTo>
                  <a:cubicBezTo>
                    <a:pt x="7037" y="5549"/>
                    <a:pt x="7001" y="5632"/>
                    <a:pt x="7013" y="5727"/>
                  </a:cubicBezTo>
                  <a:cubicBezTo>
                    <a:pt x="7120" y="6144"/>
                    <a:pt x="7156" y="6561"/>
                    <a:pt x="7156" y="6954"/>
                  </a:cubicBezTo>
                  <a:cubicBezTo>
                    <a:pt x="7156" y="8287"/>
                    <a:pt x="6168" y="9359"/>
                    <a:pt x="4941" y="9359"/>
                  </a:cubicBezTo>
                  <a:cubicBezTo>
                    <a:pt x="3727" y="9359"/>
                    <a:pt x="2727" y="8287"/>
                    <a:pt x="2727" y="6954"/>
                  </a:cubicBezTo>
                  <a:cubicBezTo>
                    <a:pt x="2727" y="6120"/>
                    <a:pt x="2953" y="5215"/>
                    <a:pt x="3334" y="4501"/>
                  </a:cubicBezTo>
                  <a:cubicBezTo>
                    <a:pt x="3762" y="4858"/>
                    <a:pt x="4334" y="5084"/>
                    <a:pt x="4941" y="5084"/>
                  </a:cubicBezTo>
                  <a:cubicBezTo>
                    <a:pt x="5548" y="5084"/>
                    <a:pt x="6120" y="4858"/>
                    <a:pt x="6549" y="4501"/>
                  </a:cubicBezTo>
                  <a:cubicBezTo>
                    <a:pt x="6644" y="4668"/>
                    <a:pt x="6727" y="4846"/>
                    <a:pt x="6787" y="5037"/>
                  </a:cubicBezTo>
                  <a:cubicBezTo>
                    <a:pt x="6822" y="5096"/>
                    <a:pt x="6882" y="5144"/>
                    <a:pt x="6941" y="5144"/>
                  </a:cubicBezTo>
                  <a:cubicBezTo>
                    <a:pt x="6953" y="5144"/>
                    <a:pt x="6989" y="5144"/>
                    <a:pt x="7001" y="5132"/>
                  </a:cubicBezTo>
                  <a:cubicBezTo>
                    <a:pt x="7084" y="5096"/>
                    <a:pt x="7120" y="5013"/>
                    <a:pt x="7084" y="4918"/>
                  </a:cubicBezTo>
                  <a:cubicBezTo>
                    <a:pt x="7001" y="4691"/>
                    <a:pt x="6894" y="4477"/>
                    <a:pt x="6787" y="4275"/>
                  </a:cubicBezTo>
                  <a:cubicBezTo>
                    <a:pt x="6834" y="4239"/>
                    <a:pt x="6882" y="4180"/>
                    <a:pt x="6930" y="4132"/>
                  </a:cubicBezTo>
                  <a:close/>
                  <a:moveTo>
                    <a:pt x="6787" y="10192"/>
                  </a:moveTo>
                  <a:cubicBezTo>
                    <a:pt x="7025" y="10192"/>
                    <a:pt x="7227" y="10335"/>
                    <a:pt x="7287" y="10549"/>
                  </a:cubicBezTo>
                  <a:lnTo>
                    <a:pt x="5620" y="10549"/>
                  </a:lnTo>
                  <a:cubicBezTo>
                    <a:pt x="5691" y="10335"/>
                    <a:pt x="5882" y="10192"/>
                    <a:pt x="6108" y="10192"/>
                  </a:cubicBezTo>
                  <a:close/>
                  <a:moveTo>
                    <a:pt x="4929" y="0"/>
                  </a:moveTo>
                  <a:cubicBezTo>
                    <a:pt x="3524" y="0"/>
                    <a:pt x="2381" y="1143"/>
                    <a:pt x="2381" y="2536"/>
                  </a:cubicBezTo>
                  <a:cubicBezTo>
                    <a:pt x="2381" y="3001"/>
                    <a:pt x="2500" y="3429"/>
                    <a:pt x="2727" y="3810"/>
                  </a:cubicBezTo>
                  <a:cubicBezTo>
                    <a:pt x="2548" y="3894"/>
                    <a:pt x="2131" y="4132"/>
                    <a:pt x="1667" y="4596"/>
                  </a:cubicBezTo>
                  <a:cubicBezTo>
                    <a:pt x="1107" y="5156"/>
                    <a:pt x="369" y="6156"/>
                    <a:pt x="12" y="7775"/>
                  </a:cubicBezTo>
                  <a:cubicBezTo>
                    <a:pt x="0" y="7823"/>
                    <a:pt x="12" y="7870"/>
                    <a:pt x="36" y="7894"/>
                  </a:cubicBezTo>
                  <a:cubicBezTo>
                    <a:pt x="60" y="7930"/>
                    <a:pt x="95" y="7954"/>
                    <a:pt x="131" y="7978"/>
                  </a:cubicBezTo>
                  <a:cubicBezTo>
                    <a:pt x="155" y="7978"/>
                    <a:pt x="369" y="8013"/>
                    <a:pt x="655" y="8013"/>
                  </a:cubicBezTo>
                  <a:cubicBezTo>
                    <a:pt x="881" y="8013"/>
                    <a:pt x="1143" y="7990"/>
                    <a:pt x="1381" y="7894"/>
                  </a:cubicBezTo>
                  <a:cubicBezTo>
                    <a:pt x="1441" y="8752"/>
                    <a:pt x="1822" y="9561"/>
                    <a:pt x="2429" y="10156"/>
                  </a:cubicBezTo>
                  <a:cubicBezTo>
                    <a:pt x="2310" y="10311"/>
                    <a:pt x="2238" y="10490"/>
                    <a:pt x="2238" y="10692"/>
                  </a:cubicBezTo>
                  <a:cubicBezTo>
                    <a:pt x="2238" y="10787"/>
                    <a:pt x="2310" y="10859"/>
                    <a:pt x="2393" y="10859"/>
                  </a:cubicBezTo>
                  <a:lnTo>
                    <a:pt x="7501" y="10859"/>
                  </a:lnTo>
                  <a:cubicBezTo>
                    <a:pt x="7596" y="10859"/>
                    <a:pt x="7668" y="10787"/>
                    <a:pt x="7668" y="10692"/>
                  </a:cubicBezTo>
                  <a:cubicBezTo>
                    <a:pt x="7668" y="10490"/>
                    <a:pt x="7596" y="10311"/>
                    <a:pt x="7477" y="10156"/>
                  </a:cubicBezTo>
                  <a:cubicBezTo>
                    <a:pt x="8084" y="9549"/>
                    <a:pt x="8454" y="8752"/>
                    <a:pt x="8513" y="7894"/>
                  </a:cubicBezTo>
                  <a:cubicBezTo>
                    <a:pt x="8751" y="7990"/>
                    <a:pt x="9025" y="8013"/>
                    <a:pt x="9239" y="8013"/>
                  </a:cubicBezTo>
                  <a:cubicBezTo>
                    <a:pt x="9525" y="8013"/>
                    <a:pt x="9751" y="7978"/>
                    <a:pt x="9763" y="7978"/>
                  </a:cubicBezTo>
                  <a:cubicBezTo>
                    <a:pt x="9811" y="7954"/>
                    <a:pt x="9835" y="7942"/>
                    <a:pt x="9870" y="7894"/>
                  </a:cubicBezTo>
                  <a:cubicBezTo>
                    <a:pt x="9847" y="7859"/>
                    <a:pt x="9847" y="7811"/>
                    <a:pt x="9847" y="7775"/>
                  </a:cubicBezTo>
                  <a:cubicBezTo>
                    <a:pt x="9489" y="6156"/>
                    <a:pt x="8739" y="5156"/>
                    <a:pt x="8192" y="4596"/>
                  </a:cubicBezTo>
                  <a:cubicBezTo>
                    <a:pt x="7727" y="4132"/>
                    <a:pt x="7311" y="3894"/>
                    <a:pt x="7132" y="3810"/>
                  </a:cubicBezTo>
                  <a:cubicBezTo>
                    <a:pt x="7334" y="3429"/>
                    <a:pt x="7477" y="3001"/>
                    <a:pt x="7477" y="2536"/>
                  </a:cubicBezTo>
                  <a:cubicBezTo>
                    <a:pt x="7477" y="1143"/>
                    <a:pt x="6334" y="0"/>
                    <a:pt x="4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1" name="Google Shape;12861;p63"/>
            <p:cNvSpPr/>
            <p:nvPr/>
          </p:nvSpPr>
          <p:spPr>
            <a:xfrm>
              <a:off x="1524045" y="1565810"/>
              <a:ext cx="32416" cy="37376"/>
            </a:xfrm>
            <a:custGeom>
              <a:avLst/>
              <a:gdLst/>
              <a:ahLst/>
              <a:cxnLst/>
              <a:rect l="l" t="t" r="r" b="b"/>
              <a:pathLst>
                <a:path w="1013" h="1168" extrusionOk="0">
                  <a:moveTo>
                    <a:pt x="524" y="322"/>
                  </a:moveTo>
                  <a:cubicBezTo>
                    <a:pt x="631" y="322"/>
                    <a:pt x="703" y="393"/>
                    <a:pt x="703" y="500"/>
                  </a:cubicBezTo>
                  <a:lnTo>
                    <a:pt x="703" y="667"/>
                  </a:lnTo>
                  <a:cubicBezTo>
                    <a:pt x="703" y="774"/>
                    <a:pt x="631" y="846"/>
                    <a:pt x="524" y="846"/>
                  </a:cubicBezTo>
                  <a:cubicBezTo>
                    <a:pt x="417" y="846"/>
                    <a:pt x="346" y="774"/>
                    <a:pt x="346" y="667"/>
                  </a:cubicBezTo>
                  <a:lnTo>
                    <a:pt x="346" y="500"/>
                  </a:lnTo>
                  <a:cubicBezTo>
                    <a:pt x="346" y="393"/>
                    <a:pt x="417" y="322"/>
                    <a:pt x="524" y="322"/>
                  </a:cubicBezTo>
                  <a:close/>
                  <a:moveTo>
                    <a:pt x="512" y="0"/>
                  </a:moveTo>
                  <a:cubicBezTo>
                    <a:pt x="227" y="0"/>
                    <a:pt x="0" y="227"/>
                    <a:pt x="0" y="500"/>
                  </a:cubicBezTo>
                  <a:lnTo>
                    <a:pt x="0" y="667"/>
                  </a:lnTo>
                  <a:cubicBezTo>
                    <a:pt x="0" y="953"/>
                    <a:pt x="227" y="1167"/>
                    <a:pt x="512" y="1167"/>
                  </a:cubicBezTo>
                  <a:cubicBezTo>
                    <a:pt x="786" y="1167"/>
                    <a:pt x="1012" y="953"/>
                    <a:pt x="1012" y="667"/>
                  </a:cubicBezTo>
                  <a:lnTo>
                    <a:pt x="1012" y="500"/>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2" name="Google Shape;12862;p63"/>
            <p:cNvSpPr/>
            <p:nvPr/>
          </p:nvSpPr>
          <p:spPr>
            <a:xfrm>
              <a:off x="1589965" y="1565810"/>
              <a:ext cx="32416" cy="37376"/>
            </a:xfrm>
            <a:custGeom>
              <a:avLst/>
              <a:gdLst/>
              <a:ahLst/>
              <a:cxnLst/>
              <a:rect l="l" t="t" r="r" b="b"/>
              <a:pathLst>
                <a:path w="1013" h="1168" extrusionOk="0">
                  <a:moveTo>
                    <a:pt x="500" y="322"/>
                  </a:moveTo>
                  <a:cubicBezTo>
                    <a:pt x="607" y="322"/>
                    <a:pt x="679" y="393"/>
                    <a:pt x="679" y="500"/>
                  </a:cubicBezTo>
                  <a:lnTo>
                    <a:pt x="679" y="667"/>
                  </a:lnTo>
                  <a:cubicBezTo>
                    <a:pt x="679" y="774"/>
                    <a:pt x="607" y="846"/>
                    <a:pt x="500" y="846"/>
                  </a:cubicBezTo>
                  <a:cubicBezTo>
                    <a:pt x="393" y="846"/>
                    <a:pt x="322" y="774"/>
                    <a:pt x="322" y="667"/>
                  </a:cubicBezTo>
                  <a:lnTo>
                    <a:pt x="322" y="500"/>
                  </a:lnTo>
                  <a:cubicBezTo>
                    <a:pt x="322" y="393"/>
                    <a:pt x="393" y="322"/>
                    <a:pt x="500" y="322"/>
                  </a:cubicBezTo>
                  <a:close/>
                  <a:moveTo>
                    <a:pt x="500" y="0"/>
                  </a:moveTo>
                  <a:cubicBezTo>
                    <a:pt x="215" y="0"/>
                    <a:pt x="0" y="227"/>
                    <a:pt x="0" y="500"/>
                  </a:cubicBezTo>
                  <a:lnTo>
                    <a:pt x="0" y="667"/>
                  </a:lnTo>
                  <a:cubicBezTo>
                    <a:pt x="0" y="953"/>
                    <a:pt x="215" y="1167"/>
                    <a:pt x="500" y="1167"/>
                  </a:cubicBezTo>
                  <a:cubicBezTo>
                    <a:pt x="786" y="1167"/>
                    <a:pt x="1012" y="953"/>
                    <a:pt x="1012" y="667"/>
                  </a:cubicBezTo>
                  <a:lnTo>
                    <a:pt x="1012" y="500"/>
                  </a:lnTo>
                  <a:cubicBezTo>
                    <a:pt x="988" y="227"/>
                    <a:pt x="774"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3" name="Google Shape;12863;p63"/>
            <p:cNvSpPr/>
            <p:nvPr/>
          </p:nvSpPr>
          <p:spPr>
            <a:xfrm>
              <a:off x="1551085" y="1598386"/>
              <a:ext cx="43488" cy="42496"/>
            </a:xfrm>
            <a:custGeom>
              <a:avLst/>
              <a:gdLst/>
              <a:ahLst/>
              <a:cxnLst/>
              <a:rect l="l" t="t" r="r" b="b"/>
              <a:pathLst>
                <a:path w="1359" h="1328" extrusionOk="0">
                  <a:moveTo>
                    <a:pt x="691" y="352"/>
                  </a:moveTo>
                  <a:lnTo>
                    <a:pt x="977" y="542"/>
                  </a:lnTo>
                  <a:lnTo>
                    <a:pt x="691" y="911"/>
                  </a:lnTo>
                  <a:lnTo>
                    <a:pt x="406" y="542"/>
                  </a:lnTo>
                  <a:lnTo>
                    <a:pt x="691" y="352"/>
                  </a:lnTo>
                  <a:close/>
                  <a:moveTo>
                    <a:pt x="685" y="0"/>
                  </a:moveTo>
                  <a:cubicBezTo>
                    <a:pt x="656" y="0"/>
                    <a:pt x="626" y="6"/>
                    <a:pt x="596" y="18"/>
                  </a:cubicBezTo>
                  <a:lnTo>
                    <a:pt x="96" y="364"/>
                  </a:lnTo>
                  <a:cubicBezTo>
                    <a:pt x="60" y="399"/>
                    <a:pt x="37" y="423"/>
                    <a:pt x="25" y="471"/>
                  </a:cubicBezTo>
                  <a:cubicBezTo>
                    <a:pt x="1" y="518"/>
                    <a:pt x="25" y="554"/>
                    <a:pt x="48" y="590"/>
                  </a:cubicBezTo>
                  <a:lnTo>
                    <a:pt x="560" y="1268"/>
                  </a:lnTo>
                  <a:cubicBezTo>
                    <a:pt x="584" y="1316"/>
                    <a:pt x="632" y="1328"/>
                    <a:pt x="691" y="1328"/>
                  </a:cubicBezTo>
                  <a:cubicBezTo>
                    <a:pt x="739" y="1328"/>
                    <a:pt x="799" y="1304"/>
                    <a:pt x="822" y="1268"/>
                  </a:cubicBezTo>
                  <a:lnTo>
                    <a:pt x="1322" y="590"/>
                  </a:lnTo>
                  <a:cubicBezTo>
                    <a:pt x="1358" y="554"/>
                    <a:pt x="1358" y="518"/>
                    <a:pt x="1358" y="471"/>
                  </a:cubicBezTo>
                  <a:cubicBezTo>
                    <a:pt x="1358" y="423"/>
                    <a:pt x="1334" y="399"/>
                    <a:pt x="1287" y="364"/>
                  </a:cubicBezTo>
                  <a:lnTo>
                    <a:pt x="775" y="18"/>
                  </a:lnTo>
                  <a:cubicBezTo>
                    <a:pt x="745" y="6"/>
                    <a:pt x="715" y="0"/>
                    <a:pt x="6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4" name="Google Shape;12864;p63"/>
          <p:cNvGrpSpPr/>
          <p:nvPr/>
        </p:nvGrpSpPr>
        <p:grpSpPr>
          <a:xfrm>
            <a:off x="4697389" y="1500658"/>
            <a:ext cx="347520" cy="347104"/>
            <a:chOff x="4697389" y="1500658"/>
            <a:chExt cx="347520" cy="347104"/>
          </a:xfrm>
        </p:grpSpPr>
        <p:sp>
          <p:nvSpPr>
            <p:cNvPr id="12865" name="Google Shape;12865;p63"/>
            <p:cNvSpPr/>
            <p:nvPr/>
          </p:nvSpPr>
          <p:spPr>
            <a:xfrm>
              <a:off x="4697389" y="1500658"/>
              <a:ext cx="347520" cy="347104"/>
            </a:xfrm>
            <a:custGeom>
              <a:avLst/>
              <a:gdLst/>
              <a:ahLst/>
              <a:cxnLst/>
              <a:rect l="l" t="t" r="r" b="b"/>
              <a:pathLst>
                <a:path w="10860" h="10847" extrusionOk="0">
                  <a:moveTo>
                    <a:pt x="2082" y="1011"/>
                  </a:moveTo>
                  <a:cubicBezTo>
                    <a:pt x="2474" y="1011"/>
                    <a:pt x="2807" y="1244"/>
                    <a:pt x="2977" y="1608"/>
                  </a:cubicBezTo>
                  <a:cubicBezTo>
                    <a:pt x="2560" y="1810"/>
                    <a:pt x="2191" y="2084"/>
                    <a:pt x="1846" y="2405"/>
                  </a:cubicBezTo>
                  <a:cubicBezTo>
                    <a:pt x="1691" y="2560"/>
                    <a:pt x="1548" y="2703"/>
                    <a:pt x="1417" y="2858"/>
                  </a:cubicBezTo>
                  <a:cubicBezTo>
                    <a:pt x="1156" y="2656"/>
                    <a:pt x="1001" y="2358"/>
                    <a:pt x="1001" y="2036"/>
                  </a:cubicBezTo>
                  <a:cubicBezTo>
                    <a:pt x="1001" y="1465"/>
                    <a:pt x="1453" y="1012"/>
                    <a:pt x="2025" y="1012"/>
                  </a:cubicBezTo>
                  <a:cubicBezTo>
                    <a:pt x="2044" y="1011"/>
                    <a:pt x="2063" y="1011"/>
                    <a:pt x="2082" y="1011"/>
                  </a:cubicBezTo>
                  <a:close/>
                  <a:moveTo>
                    <a:pt x="2025" y="310"/>
                  </a:moveTo>
                  <a:cubicBezTo>
                    <a:pt x="2703" y="310"/>
                    <a:pt x="3322" y="715"/>
                    <a:pt x="3584" y="1322"/>
                  </a:cubicBezTo>
                  <a:cubicBezTo>
                    <a:pt x="3465" y="1370"/>
                    <a:pt x="3358" y="1405"/>
                    <a:pt x="3239" y="1453"/>
                  </a:cubicBezTo>
                  <a:cubicBezTo>
                    <a:pt x="3025" y="977"/>
                    <a:pt x="2549" y="667"/>
                    <a:pt x="2013" y="667"/>
                  </a:cubicBezTo>
                  <a:cubicBezTo>
                    <a:pt x="1263" y="667"/>
                    <a:pt x="655" y="1274"/>
                    <a:pt x="655" y="2024"/>
                  </a:cubicBezTo>
                  <a:cubicBezTo>
                    <a:pt x="655" y="2453"/>
                    <a:pt x="858" y="2834"/>
                    <a:pt x="1191" y="3096"/>
                  </a:cubicBezTo>
                  <a:cubicBezTo>
                    <a:pt x="1120" y="3191"/>
                    <a:pt x="1060" y="3287"/>
                    <a:pt x="977" y="3394"/>
                  </a:cubicBezTo>
                  <a:cubicBezTo>
                    <a:pt x="584" y="3072"/>
                    <a:pt x="310" y="2572"/>
                    <a:pt x="310" y="2024"/>
                  </a:cubicBezTo>
                  <a:cubicBezTo>
                    <a:pt x="310" y="1084"/>
                    <a:pt x="1084" y="310"/>
                    <a:pt x="2025" y="310"/>
                  </a:cubicBezTo>
                  <a:close/>
                  <a:moveTo>
                    <a:pt x="8823" y="310"/>
                  </a:moveTo>
                  <a:cubicBezTo>
                    <a:pt x="9764" y="310"/>
                    <a:pt x="10538" y="1084"/>
                    <a:pt x="10538" y="2024"/>
                  </a:cubicBezTo>
                  <a:cubicBezTo>
                    <a:pt x="10538" y="2572"/>
                    <a:pt x="10264" y="3072"/>
                    <a:pt x="9835" y="3406"/>
                  </a:cubicBezTo>
                  <a:cubicBezTo>
                    <a:pt x="9776" y="3298"/>
                    <a:pt x="9704" y="3191"/>
                    <a:pt x="9633" y="3108"/>
                  </a:cubicBezTo>
                  <a:cubicBezTo>
                    <a:pt x="9954" y="2858"/>
                    <a:pt x="10157" y="2453"/>
                    <a:pt x="10157" y="2036"/>
                  </a:cubicBezTo>
                  <a:cubicBezTo>
                    <a:pt x="10157" y="1858"/>
                    <a:pt x="10133" y="1679"/>
                    <a:pt x="10061" y="1513"/>
                  </a:cubicBezTo>
                  <a:cubicBezTo>
                    <a:pt x="10034" y="1458"/>
                    <a:pt x="9965" y="1417"/>
                    <a:pt x="9902" y="1417"/>
                  </a:cubicBezTo>
                  <a:cubicBezTo>
                    <a:pt x="9882" y="1417"/>
                    <a:pt x="9864" y="1421"/>
                    <a:pt x="9847" y="1429"/>
                  </a:cubicBezTo>
                  <a:cubicBezTo>
                    <a:pt x="9776" y="1453"/>
                    <a:pt x="9728" y="1560"/>
                    <a:pt x="9764" y="1632"/>
                  </a:cubicBezTo>
                  <a:cubicBezTo>
                    <a:pt x="9823" y="1763"/>
                    <a:pt x="9835" y="1905"/>
                    <a:pt x="9835" y="2036"/>
                  </a:cubicBezTo>
                  <a:cubicBezTo>
                    <a:pt x="9835" y="2358"/>
                    <a:pt x="9680" y="2656"/>
                    <a:pt x="9418" y="2858"/>
                  </a:cubicBezTo>
                  <a:cubicBezTo>
                    <a:pt x="9287" y="2703"/>
                    <a:pt x="9145" y="2536"/>
                    <a:pt x="8990" y="2405"/>
                  </a:cubicBezTo>
                  <a:cubicBezTo>
                    <a:pt x="8645" y="2096"/>
                    <a:pt x="8252" y="1822"/>
                    <a:pt x="7859" y="1608"/>
                  </a:cubicBezTo>
                  <a:cubicBezTo>
                    <a:pt x="8014" y="1227"/>
                    <a:pt x="8395" y="989"/>
                    <a:pt x="8787" y="989"/>
                  </a:cubicBezTo>
                  <a:cubicBezTo>
                    <a:pt x="8966" y="989"/>
                    <a:pt x="9168" y="1036"/>
                    <a:pt x="9311" y="1143"/>
                  </a:cubicBezTo>
                  <a:cubicBezTo>
                    <a:pt x="9334" y="1158"/>
                    <a:pt x="9360" y="1165"/>
                    <a:pt x="9386" y="1165"/>
                  </a:cubicBezTo>
                  <a:cubicBezTo>
                    <a:pt x="9444" y="1165"/>
                    <a:pt x="9505" y="1133"/>
                    <a:pt x="9538" y="1084"/>
                  </a:cubicBezTo>
                  <a:cubicBezTo>
                    <a:pt x="9585" y="1012"/>
                    <a:pt x="9549" y="905"/>
                    <a:pt x="9478" y="858"/>
                  </a:cubicBezTo>
                  <a:cubicBezTo>
                    <a:pt x="9264" y="739"/>
                    <a:pt x="9026" y="667"/>
                    <a:pt x="8787" y="667"/>
                  </a:cubicBezTo>
                  <a:cubicBezTo>
                    <a:pt x="8252" y="667"/>
                    <a:pt x="7775" y="977"/>
                    <a:pt x="7561" y="1453"/>
                  </a:cubicBezTo>
                  <a:cubicBezTo>
                    <a:pt x="7454" y="1405"/>
                    <a:pt x="7335" y="1370"/>
                    <a:pt x="7216" y="1322"/>
                  </a:cubicBezTo>
                  <a:cubicBezTo>
                    <a:pt x="7525" y="727"/>
                    <a:pt x="8156" y="310"/>
                    <a:pt x="8823" y="310"/>
                  </a:cubicBezTo>
                  <a:close/>
                  <a:moveTo>
                    <a:pt x="5430" y="6775"/>
                  </a:moveTo>
                  <a:cubicBezTo>
                    <a:pt x="5692" y="6775"/>
                    <a:pt x="5954" y="6882"/>
                    <a:pt x="6144" y="7073"/>
                  </a:cubicBezTo>
                  <a:cubicBezTo>
                    <a:pt x="6323" y="7275"/>
                    <a:pt x="6430" y="7525"/>
                    <a:pt x="6418" y="7787"/>
                  </a:cubicBezTo>
                  <a:lnTo>
                    <a:pt x="6359" y="9204"/>
                  </a:lnTo>
                  <a:cubicBezTo>
                    <a:pt x="6097" y="9299"/>
                    <a:pt x="5775" y="9335"/>
                    <a:pt x="5430" y="9335"/>
                  </a:cubicBezTo>
                  <a:cubicBezTo>
                    <a:pt x="5085" y="9335"/>
                    <a:pt x="4763" y="9299"/>
                    <a:pt x="4513" y="9204"/>
                  </a:cubicBezTo>
                  <a:lnTo>
                    <a:pt x="4454" y="7787"/>
                  </a:lnTo>
                  <a:cubicBezTo>
                    <a:pt x="4430" y="7525"/>
                    <a:pt x="4537" y="7275"/>
                    <a:pt x="4715" y="7073"/>
                  </a:cubicBezTo>
                  <a:cubicBezTo>
                    <a:pt x="4906" y="6882"/>
                    <a:pt x="5168" y="6775"/>
                    <a:pt x="5430" y="6775"/>
                  </a:cubicBezTo>
                  <a:close/>
                  <a:moveTo>
                    <a:pt x="5430" y="1334"/>
                  </a:moveTo>
                  <a:cubicBezTo>
                    <a:pt x="8061" y="1334"/>
                    <a:pt x="10204" y="3322"/>
                    <a:pt x="10204" y="5775"/>
                  </a:cubicBezTo>
                  <a:cubicBezTo>
                    <a:pt x="10204" y="6823"/>
                    <a:pt x="9811" y="7835"/>
                    <a:pt x="9073" y="8644"/>
                  </a:cubicBezTo>
                  <a:cubicBezTo>
                    <a:pt x="8418" y="9359"/>
                    <a:pt x="7549" y="9859"/>
                    <a:pt x="6573" y="10085"/>
                  </a:cubicBezTo>
                  <a:cubicBezTo>
                    <a:pt x="6620" y="9966"/>
                    <a:pt x="6656" y="9835"/>
                    <a:pt x="6656" y="9704"/>
                  </a:cubicBezTo>
                  <a:lnTo>
                    <a:pt x="6668" y="9442"/>
                  </a:lnTo>
                  <a:cubicBezTo>
                    <a:pt x="6740" y="9406"/>
                    <a:pt x="6811" y="9371"/>
                    <a:pt x="6894" y="9311"/>
                  </a:cubicBezTo>
                  <a:cubicBezTo>
                    <a:pt x="6966" y="9263"/>
                    <a:pt x="6978" y="9168"/>
                    <a:pt x="6918" y="9085"/>
                  </a:cubicBezTo>
                  <a:cubicBezTo>
                    <a:pt x="6884" y="9044"/>
                    <a:pt x="6843" y="9023"/>
                    <a:pt x="6798" y="9023"/>
                  </a:cubicBezTo>
                  <a:cubicBezTo>
                    <a:pt x="6764" y="9023"/>
                    <a:pt x="6728" y="9035"/>
                    <a:pt x="6692" y="9061"/>
                  </a:cubicBezTo>
                  <a:lnTo>
                    <a:pt x="6680" y="9073"/>
                  </a:lnTo>
                  <a:lnTo>
                    <a:pt x="6728" y="7835"/>
                  </a:lnTo>
                  <a:cubicBezTo>
                    <a:pt x="6740" y="7478"/>
                    <a:pt x="6609" y="7144"/>
                    <a:pt x="6370" y="6882"/>
                  </a:cubicBezTo>
                  <a:cubicBezTo>
                    <a:pt x="6120" y="6632"/>
                    <a:pt x="5787" y="6489"/>
                    <a:pt x="5430" y="6489"/>
                  </a:cubicBezTo>
                  <a:cubicBezTo>
                    <a:pt x="5073" y="6489"/>
                    <a:pt x="4751" y="6632"/>
                    <a:pt x="4489" y="6882"/>
                  </a:cubicBezTo>
                  <a:cubicBezTo>
                    <a:pt x="4239" y="7144"/>
                    <a:pt x="4120" y="7478"/>
                    <a:pt x="4132" y="7835"/>
                  </a:cubicBezTo>
                  <a:lnTo>
                    <a:pt x="4180" y="9073"/>
                  </a:lnTo>
                  <a:lnTo>
                    <a:pt x="4168" y="9061"/>
                  </a:lnTo>
                  <a:cubicBezTo>
                    <a:pt x="4138" y="9041"/>
                    <a:pt x="4104" y="9032"/>
                    <a:pt x="4070" y="9032"/>
                  </a:cubicBezTo>
                  <a:cubicBezTo>
                    <a:pt x="4023" y="9032"/>
                    <a:pt x="3976" y="9050"/>
                    <a:pt x="3942" y="9085"/>
                  </a:cubicBezTo>
                  <a:cubicBezTo>
                    <a:pt x="3894" y="9168"/>
                    <a:pt x="3918" y="9252"/>
                    <a:pt x="3977" y="9311"/>
                  </a:cubicBezTo>
                  <a:cubicBezTo>
                    <a:pt x="4037" y="9359"/>
                    <a:pt x="4108" y="9406"/>
                    <a:pt x="4192" y="9442"/>
                  </a:cubicBezTo>
                  <a:lnTo>
                    <a:pt x="4215" y="9704"/>
                  </a:lnTo>
                  <a:cubicBezTo>
                    <a:pt x="4215" y="9835"/>
                    <a:pt x="4239" y="9966"/>
                    <a:pt x="4287" y="10085"/>
                  </a:cubicBezTo>
                  <a:cubicBezTo>
                    <a:pt x="3322" y="9859"/>
                    <a:pt x="2441" y="9359"/>
                    <a:pt x="1787" y="8644"/>
                  </a:cubicBezTo>
                  <a:cubicBezTo>
                    <a:pt x="1060" y="7835"/>
                    <a:pt x="655" y="6823"/>
                    <a:pt x="655" y="5775"/>
                  </a:cubicBezTo>
                  <a:cubicBezTo>
                    <a:pt x="655" y="3334"/>
                    <a:pt x="2799" y="1334"/>
                    <a:pt x="5430" y="1334"/>
                  </a:cubicBezTo>
                  <a:close/>
                  <a:moveTo>
                    <a:pt x="6335" y="9549"/>
                  </a:moveTo>
                  <a:lnTo>
                    <a:pt x="6335" y="9668"/>
                  </a:lnTo>
                  <a:cubicBezTo>
                    <a:pt x="6323" y="10156"/>
                    <a:pt x="5918" y="10537"/>
                    <a:pt x="5430" y="10537"/>
                  </a:cubicBezTo>
                  <a:cubicBezTo>
                    <a:pt x="4942" y="10537"/>
                    <a:pt x="4549" y="10145"/>
                    <a:pt x="4525" y="9668"/>
                  </a:cubicBezTo>
                  <a:lnTo>
                    <a:pt x="4525" y="9549"/>
                  </a:lnTo>
                  <a:cubicBezTo>
                    <a:pt x="4787" y="9621"/>
                    <a:pt x="5108" y="9668"/>
                    <a:pt x="5430" y="9668"/>
                  </a:cubicBezTo>
                  <a:cubicBezTo>
                    <a:pt x="5763" y="9668"/>
                    <a:pt x="6073" y="9621"/>
                    <a:pt x="6335" y="9549"/>
                  </a:cubicBezTo>
                  <a:close/>
                  <a:moveTo>
                    <a:pt x="2025" y="0"/>
                  </a:moveTo>
                  <a:cubicBezTo>
                    <a:pt x="905" y="0"/>
                    <a:pt x="1" y="905"/>
                    <a:pt x="1" y="2024"/>
                  </a:cubicBezTo>
                  <a:cubicBezTo>
                    <a:pt x="1" y="2679"/>
                    <a:pt x="322" y="3298"/>
                    <a:pt x="846" y="3668"/>
                  </a:cubicBezTo>
                  <a:cubicBezTo>
                    <a:pt x="501" y="4310"/>
                    <a:pt x="322" y="5025"/>
                    <a:pt x="322" y="5751"/>
                  </a:cubicBezTo>
                  <a:cubicBezTo>
                    <a:pt x="322" y="6882"/>
                    <a:pt x="763" y="7978"/>
                    <a:pt x="1548" y="8835"/>
                  </a:cubicBezTo>
                  <a:cubicBezTo>
                    <a:pt x="2310" y="9668"/>
                    <a:pt x="3358" y="10240"/>
                    <a:pt x="4513" y="10430"/>
                  </a:cubicBezTo>
                  <a:cubicBezTo>
                    <a:pt x="4727" y="10680"/>
                    <a:pt x="5061" y="10847"/>
                    <a:pt x="5430" y="10847"/>
                  </a:cubicBezTo>
                  <a:cubicBezTo>
                    <a:pt x="5799" y="10847"/>
                    <a:pt x="6132" y="10680"/>
                    <a:pt x="6359" y="10430"/>
                  </a:cubicBezTo>
                  <a:cubicBezTo>
                    <a:pt x="7502" y="10240"/>
                    <a:pt x="8537" y="9668"/>
                    <a:pt x="9299" y="8835"/>
                  </a:cubicBezTo>
                  <a:cubicBezTo>
                    <a:pt x="10085" y="7978"/>
                    <a:pt x="10526" y="6882"/>
                    <a:pt x="10526" y="5751"/>
                  </a:cubicBezTo>
                  <a:cubicBezTo>
                    <a:pt x="10526" y="5025"/>
                    <a:pt x="10347" y="4310"/>
                    <a:pt x="10002" y="3668"/>
                  </a:cubicBezTo>
                  <a:cubicBezTo>
                    <a:pt x="10538" y="3298"/>
                    <a:pt x="10859" y="2691"/>
                    <a:pt x="10859" y="2024"/>
                  </a:cubicBezTo>
                  <a:cubicBezTo>
                    <a:pt x="10859" y="905"/>
                    <a:pt x="9954" y="0"/>
                    <a:pt x="8835" y="0"/>
                  </a:cubicBezTo>
                  <a:cubicBezTo>
                    <a:pt x="8025" y="0"/>
                    <a:pt x="7287" y="489"/>
                    <a:pt x="6966" y="1227"/>
                  </a:cubicBezTo>
                  <a:cubicBezTo>
                    <a:pt x="6478" y="1084"/>
                    <a:pt x="5954" y="1012"/>
                    <a:pt x="5430" y="1012"/>
                  </a:cubicBezTo>
                  <a:cubicBezTo>
                    <a:pt x="4906" y="1012"/>
                    <a:pt x="4394" y="1084"/>
                    <a:pt x="3894" y="1227"/>
                  </a:cubicBezTo>
                  <a:cubicBezTo>
                    <a:pt x="3584" y="489"/>
                    <a:pt x="2846" y="0"/>
                    <a:pt x="2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6" name="Google Shape;12866;p63"/>
            <p:cNvSpPr/>
            <p:nvPr/>
          </p:nvSpPr>
          <p:spPr>
            <a:xfrm>
              <a:off x="4773581"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80" y="1870"/>
                    <a:pt x="1513" y="1525"/>
                    <a:pt x="1513" y="1108"/>
                  </a:cubicBezTo>
                  <a:lnTo>
                    <a:pt x="1513" y="763"/>
                  </a:lnTo>
                  <a:cubicBezTo>
                    <a:pt x="1501" y="656"/>
                    <a:pt x="1489" y="536"/>
                    <a:pt x="1430" y="441"/>
                  </a:cubicBezTo>
                  <a:cubicBezTo>
                    <a:pt x="1394" y="380"/>
                    <a:pt x="1340" y="344"/>
                    <a:pt x="1280" y="344"/>
                  </a:cubicBezTo>
                  <a:cubicBezTo>
                    <a:pt x="1259" y="344"/>
                    <a:pt x="1237" y="349"/>
                    <a:pt x="1215" y="358"/>
                  </a:cubicBezTo>
                  <a:cubicBezTo>
                    <a:pt x="1144" y="406"/>
                    <a:pt x="1096" y="489"/>
                    <a:pt x="1144" y="572"/>
                  </a:cubicBezTo>
                  <a:cubicBezTo>
                    <a:pt x="1180"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8" y="263"/>
                    <a:pt x="918" y="167"/>
                  </a:cubicBezTo>
                  <a:cubicBezTo>
                    <a:pt x="918"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7" name="Google Shape;12867;p63"/>
            <p:cNvSpPr/>
            <p:nvPr/>
          </p:nvSpPr>
          <p:spPr>
            <a:xfrm>
              <a:off x="4920653" y="1658002"/>
              <a:ext cx="48416" cy="59840"/>
            </a:xfrm>
            <a:custGeom>
              <a:avLst/>
              <a:gdLst/>
              <a:ahLst/>
              <a:cxnLst/>
              <a:rect l="l" t="t" r="r" b="b"/>
              <a:pathLst>
                <a:path w="1513" h="1870" extrusionOk="0">
                  <a:moveTo>
                    <a:pt x="763" y="1"/>
                  </a:moveTo>
                  <a:cubicBezTo>
                    <a:pt x="346" y="1"/>
                    <a:pt x="1" y="346"/>
                    <a:pt x="1" y="763"/>
                  </a:cubicBezTo>
                  <a:lnTo>
                    <a:pt x="1" y="1108"/>
                  </a:lnTo>
                  <a:cubicBezTo>
                    <a:pt x="1" y="1525"/>
                    <a:pt x="346" y="1870"/>
                    <a:pt x="763" y="1870"/>
                  </a:cubicBezTo>
                  <a:cubicBezTo>
                    <a:pt x="1179" y="1870"/>
                    <a:pt x="1513" y="1525"/>
                    <a:pt x="1513" y="1108"/>
                  </a:cubicBezTo>
                  <a:lnTo>
                    <a:pt x="1513" y="763"/>
                  </a:lnTo>
                  <a:cubicBezTo>
                    <a:pt x="1501" y="656"/>
                    <a:pt x="1477" y="536"/>
                    <a:pt x="1429" y="441"/>
                  </a:cubicBezTo>
                  <a:cubicBezTo>
                    <a:pt x="1394" y="380"/>
                    <a:pt x="1340" y="344"/>
                    <a:pt x="1280" y="344"/>
                  </a:cubicBezTo>
                  <a:cubicBezTo>
                    <a:pt x="1259" y="344"/>
                    <a:pt x="1237" y="349"/>
                    <a:pt x="1215" y="358"/>
                  </a:cubicBezTo>
                  <a:cubicBezTo>
                    <a:pt x="1144" y="406"/>
                    <a:pt x="1096" y="489"/>
                    <a:pt x="1144" y="572"/>
                  </a:cubicBezTo>
                  <a:cubicBezTo>
                    <a:pt x="1179" y="632"/>
                    <a:pt x="1191" y="691"/>
                    <a:pt x="1191" y="763"/>
                  </a:cubicBezTo>
                  <a:lnTo>
                    <a:pt x="1191" y="1108"/>
                  </a:lnTo>
                  <a:cubicBezTo>
                    <a:pt x="1191" y="1346"/>
                    <a:pt x="1001" y="1537"/>
                    <a:pt x="763" y="1537"/>
                  </a:cubicBezTo>
                  <a:cubicBezTo>
                    <a:pt x="525" y="1537"/>
                    <a:pt x="322" y="1346"/>
                    <a:pt x="322" y="1108"/>
                  </a:cubicBezTo>
                  <a:lnTo>
                    <a:pt x="322" y="763"/>
                  </a:lnTo>
                  <a:cubicBezTo>
                    <a:pt x="322" y="525"/>
                    <a:pt x="525" y="334"/>
                    <a:pt x="763" y="334"/>
                  </a:cubicBezTo>
                  <a:cubicBezTo>
                    <a:pt x="846" y="334"/>
                    <a:pt x="917" y="263"/>
                    <a:pt x="917" y="167"/>
                  </a:cubicBezTo>
                  <a:cubicBezTo>
                    <a:pt x="917"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68" name="Google Shape;12868;p63"/>
          <p:cNvGrpSpPr/>
          <p:nvPr/>
        </p:nvGrpSpPr>
        <p:grpSpPr>
          <a:xfrm>
            <a:off x="3603533" y="1964946"/>
            <a:ext cx="347520" cy="353760"/>
            <a:chOff x="3603533" y="1964946"/>
            <a:chExt cx="347520" cy="353760"/>
          </a:xfrm>
        </p:grpSpPr>
        <p:sp>
          <p:nvSpPr>
            <p:cNvPr id="12869" name="Google Shape;12869;p63"/>
            <p:cNvSpPr/>
            <p:nvPr/>
          </p:nvSpPr>
          <p:spPr>
            <a:xfrm>
              <a:off x="3603533" y="1964946"/>
              <a:ext cx="347520" cy="353760"/>
            </a:xfrm>
            <a:custGeom>
              <a:avLst/>
              <a:gdLst/>
              <a:ahLst/>
              <a:cxnLst/>
              <a:rect l="l" t="t" r="r" b="b"/>
              <a:pathLst>
                <a:path w="10860" h="11055" extrusionOk="0">
                  <a:moveTo>
                    <a:pt x="596" y="5672"/>
                  </a:moveTo>
                  <a:cubicBezTo>
                    <a:pt x="608" y="5672"/>
                    <a:pt x="632" y="5672"/>
                    <a:pt x="656" y="5684"/>
                  </a:cubicBezTo>
                  <a:cubicBezTo>
                    <a:pt x="537" y="5863"/>
                    <a:pt x="513" y="6065"/>
                    <a:pt x="548" y="6184"/>
                  </a:cubicBezTo>
                  <a:cubicBezTo>
                    <a:pt x="560" y="6292"/>
                    <a:pt x="668" y="6339"/>
                    <a:pt x="715" y="6351"/>
                  </a:cubicBezTo>
                  <a:cubicBezTo>
                    <a:pt x="679" y="6363"/>
                    <a:pt x="632" y="6387"/>
                    <a:pt x="596" y="6387"/>
                  </a:cubicBezTo>
                  <a:cubicBezTo>
                    <a:pt x="441" y="6387"/>
                    <a:pt x="322" y="6268"/>
                    <a:pt x="322" y="6113"/>
                  </a:cubicBezTo>
                  <a:lnTo>
                    <a:pt x="322" y="5934"/>
                  </a:lnTo>
                  <a:cubicBezTo>
                    <a:pt x="322" y="5792"/>
                    <a:pt x="441" y="5672"/>
                    <a:pt x="596" y="5672"/>
                  </a:cubicBezTo>
                  <a:close/>
                  <a:moveTo>
                    <a:pt x="4918" y="6857"/>
                  </a:moveTo>
                  <a:cubicBezTo>
                    <a:pt x="5037" y="6857"/>
                    <a:pt x="5130" y="6890"/>
                    <a:pt x="5180" y="6946"/>
                  </a:cubicBezTo>
                  <a:cubicBezTo>
                    <a:pt x="5228" y="7018"/>
                    <a:pt x="5204" y="7161"/>
                    <a:pt x="5085" y="7339"/>
                  </a:cubicBezTo>
                  <a:cubicBezTo>
                    <a:pt x="4918" y="7577"/>
                    <a:pt x="4799" y="7828"/>
                    <a:pt x="4739" y="8066"/>
                  </a:cubicBezTo>
                  <a:cubicBezTo>
                    <a:pt x="4478" y="7673"/>
                    <a:pt x="4287" y="7280"/>
                    <a:pt x="4192" y="7066"/>
                  </a:cubicBezTo>
                  <a:cubicBezTo>
                    <a:pt x="4358" y="7018"/>
                    <a:pt x="4466" y="6982"/>
                    <a:pt x="4537" y="6946"/>
                  </a:cubicBezTo>
                  <a:cubicBezTo>
                    <a:pt x="4678" y="6884"/>
                    <a:pt x="4809" y="6857"/>
                    <a:pt x="4918" y="6857"/>
                  </a:cubicBezTo>
                  <a:close/>
                  <a:moveTo>
                    <a:pt x="8464" y="324"/>
                  </a:moveTo>
                  <a:cubicBezTo>
                    <a:pt x="8714" y="324"/>
                    <a:pt x="8950" y="378"/>
                    <a:pt x="9169" y="481"/>
                  </a:cubicBezTo>
                  <a:cubicBezTo>
                    <a:pt x="9645" y="743"/>
                    <a:pt x="9942" y="1220"/>
                    <a:pt x="10097" y="1541"/>
                  </a:cubicBezTo>
                  <a:cubicBezTo>
                    <a:pt x="9938" y="1498"/>
                    <a:pt x="9780" y="1477"/>
                    <a:pt x="9628" y="1477"/>
                  </a:cubicBezTo>
                  <a:cubicBezTo>
                    <a:pt x="9361" y="1477"/>
                    <a:pt x="9112" y="1543"/>
                    <a:pt x="8907" y="1672"/>
                  </a:cubicBezTo>
                  <a:cubicBezTo>
                    <a:pt x="8585" y="1922"/>
                    <a:pt x="8418" y="2315"/>
                    <a:pt x="8466" y="2827"/>
                  </a:cubicBezTo>
                  <a:cubicBezTo>
                    <a:pt x="8526" y="3458"/>
                    <a:pt x="8942" y="4089"/>
                    <a:pt x="9371" y="4756"/>
                  </a:cubicBezTo>
                  <a:cubicBezTo>
                    <a:pt x="9942" y="5625"/>
                    <a:pt x="10538" y="6494"/>
                    <a:pt x="10538" y="7589"/>
                  </a:cubicBezTo>
                  <a:cubicBezTo>
                    <a:pt x="10514" y="8470"/>
                    <a:pt x="10240" y="9268"/>
                    <a:pt x="9728" y="9816"/>
                  </a:cubicBezTo>
                  <a:cubicBezTo>
                    <a:pt x="9192" y="10399"/>
                    <a:pt x="8454" y="10697"/>
                    <a:pt x="7585" y="10697"/>
                  </a:cubicBezTo>
                  <a:lnTo>
                    <a:pt x="4668" y="10697"/>
                  </a:lnTo>
                  <a:cubicBezTo>
                    <a:pt x="4739" y="10494"/>
                    <a:pt x="4930" y="10328"/>
                    <a:pt x="5180" y="10328"/>
                  </a:cubicBezTo>
                  <a:lnTo>
                    <a:pt x="6383" y="10328"/>
                  </a:lnTo>
                  <a:cubicBezTo>
                    <a:pt x="6466" y="10328"/>
                    <a:pt x="6549" y="10256"/>
                    <a:pt x="6549" y="10161"/>
                  </a:cubicBezTo>
                  <a:cubicBezTo>
                    <a:pt x="6549" y="10066"/>
                    <a:pt x="6466" y="9994"/>
                    <a:pt x="6383" y="9994"/>
                  </a:cubicBezTo>
                  <a:lnTo>
                    <a:pt x="5978" y="9994"/>
                  </a:lnTo>
                  <a:cubicBezTo>
                    <a:pt x="5621" y="9768"/>
                    <a:pt x="5180" y="9328"/>
                    <a:pt x="5049" y="8756"/>
                  </a:cubicBezTo>
                  <a:cubicBezTo>
                    <a:pt x="4966" y="8339"/>
                    <a:pt x="5073" y="7911"/>
                    <a:pt x="5370" y="7494"/>
                  </a:cubicBezTo>
                  <a:cubicBezTo>
                    <a:pt x="5668" y="7077"/>
                    <a:pt x="5513" y="6815"/>
                    <a:pt x="5430" y="6720"/>
                  </a:cubicBezTo>
                  <a:cubicBezTo>
                    <a:pt x="5318" y="6588"/>
                    <a:pt x="5135" y="6522"/>
                    <a:pt x="4926" y="6522"/>
                  </a:cubicBezTo>
                  <a:cubicBezTo>
                    <a:pt x="4759" y="6522"/>
                    <a:pt x="4574" y="6564"/>
                    <a:pt x="4394" y="6649"/>
                  </a:cubicBezTo>
                  <a:cubicBezTo>
                    <a:pt x="4281" y="6705"/>
                    <a:pt x="4082" y="6798"/>
                    <a:pt x="3745" y="6798"/>
                  </a:cubicBezTo>
                  <a:cubicBezTo>
                    <a:pt x="3445" y="6798"/>
                    <a:pt x="3034" y="6724"/>
                    <a:pt x="2477" y="6482"/>
                  </a:cubicBezTo>
                  <a:cubicBezTo>
                    <a:pt x="1882" y="6232"/>
                    <a:pt x="1310" y="6125"/>
                    <a:pt x="989" y="6065"/>
                  </a:cubicBezTo>
                  <a:cubicBezTo>
                    <a:pt x="953" y="6053"/>
                    <a:pt x="882" y="6053"/>
                    <a:pt x="846" y="6042"/>
                  </a:cubicBezTo>
                  <a:cubicBezTo>
                    <a:pt x="846" y="5946"/>
                    <a:pt x="870" y="5803"/>
                    <a:pt x="1060" y="5708"/>
                  </a:cubicBezTo>
                  <a:cubicBezTo>
                    <a:pt x="1092" y="5699"/>
                    <a:pt x="1141" y="5695"/>
                    <a:pt x="1201" y="5695"/>
                  </a:cubicBezTo>
                  <a:cubicBezTo>
                    <a:pt x="1298" y="5695"/>
                    <a:pt x="1423" y="5705"/>
                    <a:pt x="1549" y="5720"/>
                  </a:cubicBezTo>
                  <a:cubicBezTo>
                    <a:pt x="1739" y="5737"/>
                    <a:pt x="1967" y="5757"/>
                    <a:pt x="2218" y="5757"/>
                  </a:cubicBezTo>
                  <a:cubicBezTo>
                    <a:pt x="2877" y="5757"/>
                    <a:pt x="3697" y="5613"/>
                    <a:pt x="4430" y="4863"/>
                  </a:cubicBezTo>
                  <a:cubicBezTo>
                    <a:pt x="4489" y="4803"/>
                    <a:pt x="4489" y="4696"/>
                    <a:pt x="4430" y="4637"/>
                  </a:cubicBezTo>
                  <a:cubicBezTo>
                    <a:pt x="4400" y="4607"/>
                    <a:pt x="4358" y="4592"/>
                    <a:pt x="4317" y="4592"/>
                  </a:cubicBezTo>
                  <a:cubicBezTo>
                    <a:pt x="4275" y="4592"/>
                    <a:pt x="4233" y="4607"/>
                    <a:pt x="4204" y="4637"/>
                  </a:cubicBezTo>
                  <a:cubicBezTo>
                    <a:pt x="3608" y="5232"/>
                    <a:pt x="2977" y="5411"/>
                    <a:pt x="2406" y="5446"/>
                  </a:cubicBezTo>
                  <a:cubicBezTo>
                    <a:pt x="2227" y="5387"/>
                    <a:pt x="2072" y="5280"/>
                    <a:pt x="1977" y="5172"/>
                  </a:cubicBezTo>
                  <a:cubicBezTo>
                    <a:pt x="2120" y="5172"/>
                    <a:pt x="2287" y="5161"/>
                    <a:pt x="2465" y="5113"/>
                  </a:cubicBezTo>
                  <a:cubicBezTo>
                    <a:pt x="2549" y="5101"/>
                    <a:pt x="2596" y="5006"/>
                    <a:pt x="2584" y="4922"/>
                  </a:cubicBezTo>
                  <a:cubicBezTo>
                    <a:pt x="2574" y="4839"/>
                    <a:pt x="2499" y="4801"/>
                    <a:pt x="2425" y="4801"/>
                  </a:cubicBezTo>
                  <a:cubicBezTo>
                    <a:pt x="2415" y="4801"/>
                    <a:pt x="2404" y="4802"/>
                    <a:pt x="2394" y="4803"/>
                  </a:cubicBezTo>
                  <a:cubicBezTo>
                    <a:pt x="2241" y="4843"/>
                    <a:pt x="2103" y="4859"/>
                    <a:pt x="1981" y="4859"/>
                  </a:cubicBezTo>
                  <a:cubicBezTo>
                    <a:pt x="1552" y="4859"/>
                    <a:pt x="1310" y="4660"/>
                    <a:pt x="1227" y="4577"/>
                  </a:cubicBezTo>
                  <a:cubicBezTo>
                    <a:pt x="1275" y="4268"/>
                    <a:pt x="1584" y="3148"/>
                    <a:pt x="2703" y="2767"/>
                  </a:cubicBezTo>
                  <a:lnTo>
                    <a:pt x="2703" y="2827"/>
                  </a:lnTo>
                  <a:cubicBezTo>
                    <a:pt x="2703" y="2910"/>
                    <a:pt x="2775" y="2982"/>
                    <a:pt x="2870" y="2982"/>
                  </a:cubicBezTo>
                  <a:cubicBezTo>
                    <a:pt x="2954" y="2982"/>
                    <a:pt x="3037" y="2910"/>
                    <a:pt x="3037" y="2827"/>
                  </a:cubicBezTo>
                  <a:cubicBezTo>
                    <a:pt x="3049" y="2291"/>
                    <a:pt x="3346" y="2065"/>
                    <a:pt x="3489" y="1993"/>
                  </a:cubicBezTo>
                  <a:cubicBezTo>
                    <a:pt x="3823" y="2386"/>
                    <a:pt x="3727" y="2863"/>
                    <a:pt x="3727" y="2898"/>
                  </a:cubicBezTo>
                  <a:cubicBezTo>
                    <a:pt x="3716" y="2982"/>
                    <a:pt x="3775" y="3077"/>
                    <a:pt x="3846" y="3089"/>
                  </a:cubicBezTo>
                  <a:lnTo>
                    <a:pt x="3882" y="3089"/>
                  </a:lnTo>
                  <a:cubicBezTo>
                    <a:pt x="3930" y="3089"/>
                    <a:pt x="3966" y="3077"/>
                    <a:pt x="4001" y="3029"/>
                  </a:cubicBezTo>
                  <a:cubicBezTo>
                    <a:pt x="4132" y="3160"/>
                    <a:pt x="4311" y="3398"/>
                    <a:pt x="4370" y="3696"/>
                  </a:cubicBezTo>
                  <a:cubicBezTo>
                    <a:pt x="4382" y="3779"/>
                    <a:pt x="4442" y="3815"/>
                    <a:pt x="4525" y="3815"/>
                  </a:cubicBezTo>
                  <a:cubicBezTo>
                    <a:pt x="6037" y="3863"/>
                    <a:pt x="7418" y="4684"/>
                    <a:pt x="8192" y="5982"/>
                  </a:cubicBezTo>
                  <a:cubicBezTo>
                    <a:pt x="8538" y="6554"/>
                    <a:pt x="8752" y="7208"/>
                    <a:pt x="8788" y="7863"/>
                  </a:cubicBezTo>
                  <a:cubicBezTo>
                    <a:pt x="8835" y="8566"/>
                    <a:pt x="8704" y="9256"/>
                    <a:pt x="8371" y="9911"/>
                  </a:cubicBezTo>
                  <a:cubicBezTo>
                    <a:pt x="8335" y="9983"/>
                    <a:pt x="8371" y="10090"/>
                    <a:pt x="8454" y="10125"/>
                  </a:cubicBezTo>
                  <a:cubicBezTo>
                    <a:pt x="8478" y="10149"/>
                    <a:pt x="8490" y="10149"/>
                    <a:pt x="8526" y="10149"/>
                  </a:cubicBezTo>
                  <a:cubicBezTo>
                    <a:pt x="8585" y="10149"/>
                    <a:pt x="8645" y="10113"/>
                    <a:pt x="8669" y="10054"/>
                  </a:cubicBezTo>
                  <a:cubicBezTo>
                    <a:pt x="9014" y="9351"/>
                    <a:pt x="9169" y="8613"/>
                    <a:pt x="9121" y="7851"/>
                  </a:cubicBezTo>
                  <a:cubicBezTo>
                    <a:pt x="9073" y="7137"/>
                    <a:pt x="8847" y="6434"/>
                    <a:pt x="8478" y="5815"/>
                  </a:cubicBezTo>
                  <a:cubicBezTo>
                    <a:pt x="8121" y="5208"/>
                    <a:pt x="7633" y="4696"/>
                    <a:pt x="7061" y="4327"/>
                  </a:cubicBezTo>
                  <a:cubicBezTo>
                    <a:pt x="6787" y="3553"/>
                    <a:pt x="6394" y="2172"/>
                    <a:pt x="6847" y="1243"/>
                  </a:cubicBezTo>
                  <a:cubicBezTo>
                    <a:pt x="7025" y="862"/>
                    <a:pt x="7347" y="589"/>
                    <a:pt x="7799" y="446"/>
                  </a:cubicBezTo>
                  <a:cubicBezTo>
                    <a:pt x="8029" y="364"/>
                    <a:pt x="8252" y="324"/>
                    <a:pt x="8464" y="324"/>
                  </a:cubicBezTo>
                  <a:close/>
                  <a:moveTo>
                    <a:pt x="8449" y="0"/>
                  </a:moveTo>
                  <a:cubicBezTo>
                    <a:pt x="8203" y="0"/>
                    <a:pt x="7947" y="46"/>
                    <a:pt x="7680" y="136"/>
                  </a:cubicBezTo>
                  <a:cubicBezTo>
                    <a:pt x="7145" y="315"/>
                    <a:pt x="6752" y="636"/>
                    <a:pt x="6525" y="1112"/>
                  </a:cubicBezTo>
                  <a:cubicBezTo>
                    <a:pt x="6311" y="1577"/>
                    <a:pt x="6252" y="2172"/>
                    <a:pt x="6335" y="2875"/>
                  </a:cubicBezTo>
                  <a:cubicBezTo>
                    <a:pt x="6383" y="3244"/>
                    <a:pt x="6490" y="3660"/>
                    <a:pt x="6621" y="4077"/>
                  </a:cubicBezTo>
                  <a:cubicBezTo>
                    <a:pt x="6025" y="3744"/>
                    <a:pt x="5335" y="3565"/>
                    <a:pt x="4644" y="3529"/>
                  </a:cubicBezTo>
                  <a:cubicBezTo>
                    <a:pt x="4489" y="3065"/>
                    <a:pt x="4180" y="2767"/>
                    <a:pt x="4025" y="2660"/>
                  </a:cubicBezTo>
                  <a:cubicBezTo>
                    <a:pt x="4013" y="2422"/>
                    <a:pt x="3942" y="2065"/>
                    <a:pt x="3668" y="1767"/>
                  </a:cubicBezTo>
                  <a:lnTo>
                    <a:pt x="3704" y="1589"/>
                  </a:lnTo>
                  <a:cubicBezTo>
                    <a:pt x="3716" y="1505"/>
                    <a:pt x="3656" y="1422"/>
                    <a:pt x="3573" y="1410"/>
                  </a:cubicBezTo>
                  <a:cubicBezTo>
                    <a:pt x="3564" y="1409"/>
                    <a:pt x="3556" y="1409"/>
                    <a:pt x="3549" y="1409"/>
                  </a:cubicBezTo>
                  <a:cubicBezTo>
                    <a:pt x="3466" y="1409"/>
                    <a:pt x="3405" y="1465"/>
                    <a:pt x="3394" y="1541"/>
                  </a:cubicBezTo>
                  <a:lnTo>
                    <a:pt x="3358" y="1720"/>
                  </a:lnTo>
                  <a:cubicBezTo>
                    <a:pt x="3192" y="1803"/>
                    <a:pt x="2882" y="1993"/>
                    <a:pt x="2751" y="2434"/>
                  </a:cubicBezTo>
                  <a:cubicBezTo>
                    <a:pt x="1227" y="2839"/>
                    <a:pt x="894" y="4399"/>
                    <a:pt x="894" y="4672"/>
                  </a:cubicBezTo>
                  <a:cubicBezTo>
                    <a:pt x="894" y="4696"/>
                    <a:pt x="906" y="4744"/>
                    <a:pt x="918" y="4756"/>
                  </a:cubicBezTo>
                  <a:cubicBezTo>
                    <a:pt x="929" y="4780"/>
                    <a:pt x="1108" y="5018"/>
                    <a:pt x="1501" y="5149"/>
                  </a:cubicBezTo>
                  <a:cubicBezTo>
                    <a:pt x="1549" y="5208"/>
                    <a:pt x="1620" y="5339"/>
                    <a:pt x="1763" y="5458"/>
                  </a:cubicBezTo>
                  <a:cubicBezTo>
                    <a:pt x="1703" y="5458"/>
                    <a:pt x="1644" y="5446"/>
                    <a:pt x="1584" y="5446"/>
                  </a:cubicBezTo>
                  <a:cubicBezTo>
                    <a:pt x="1447" y="5428"/>
                    <a:pt x="1325" y="5416"/>
                    <a:pt x="1220" y="5416"/>
                  </a:cubicBezTo>
                  <a:cubicBezTo>
                    <a:pt x="1114" y="5416"/>
                    <a:pt x="1025" y="5428"/>
                    <a:pt x="953" y="5458"/>
                  </a:cubicBezTo>
                  <a:cubicBezTo>
                    <a:pt x="929" y="5458"/>
                    <a:pt x="929" y="5470"/>
                    <a:pt x="918" y="5470"/>
                  </a:cubicBezTo>
                  <a:cubicBezTo>
                    <a:pt x="870" y="5446"/>
                    <a:pt x="810" y="5411"/>
                    <a:pt x="751" y="5399"/>
                  </a:cubicBezTo>
                  <a:lnTo>
                    <a:pt x="751" y="5339"/>
                  </a:lnTo>
                  <a:cubicBezTo>
                    <a:pt x="751" y="5256"/>
                    <a:pt x="679" y="5172"/>
                    <a:pt x="596" y="5172"/>
                  </a:cubicBezTo>
                  <a:cubicBezTo>
                    <a:pt x="501" y="5172"/>
                    <a:pt x="429" y="5256"/>
                    <a:pt x="429" y="5339"/>
                  </a:cubicBezTo>
                  <a:lnTo>
                    <a:pt x="429" y="5399"/>
                  </a:lnTo>
                  <a:cubicBezTo>
                    <a:pt x="167" y="5470"/>
                    <a:pt x="1" y="5696"/>
                    <a:pt x="1" y="5970"/>
                  </a:cubicBezTo>
                  <a:lnTo>
                    <a:pt x="1" y="6149"/>
                  </a:lnTo>
                  <a:cubicBezTo>
                    <a:pt x="1" y="6470"/>
                    <a:pt x="263" y="6744"/>
                    <a:pt x="596" y="6744"/>
                  </a:cubicBezTo>
                  <a:cubicBezTo>
                    <a:pt x="798" y="6744"/>
                    <a:pt x="989" y="6637"/>
                    <a:pt x="1096" y="6458"/>
                  </a:cubicBezTo>
                  <a:cubicBezTo>
                    <a:pt x="1430" y="6518"/>
                    <a:pt x="1870" y="6625"/>
                    <a:pt x="2358" y="6827"/>
                  </a:cubicBezTo>
                  <a:cubicBezTo>
                    <a:pt x="2958" y="7080"/>
                    <a:pt x="3399" y="7165"/>
                    <a:pt x="3740" y="7165"/>
                  </a:cubicBezTo>
                  <a:cubicBezTo>
                    <a:pt x="3785" y="7165"/>
                    <a:pt x="3829" y="7164"/>
                    <a:pt x="3870" y="7161"/>
                  </a:cubicBezTo>
                  <a:cubicBezTo>
                    <a:pt x="3954" y="7375"/>
                    <a:pt x="4239" y="8018"/>
                    <a:pt x="4704" y="8542"/>
                  </a:cubicBezTo>
                  <a:cubicBezTo>
                    <a:pt x="4704" y="8661"/>
                    <a:pt x="4716" y="8768"/>
                    <a:pt x="4739" y="8887"/>
                  </a:cubicBezTo>
                  <a:cubicBezTo>
                    <a:pt x="4847" y="9363"/>
                    <a:pt x="5132" y="9756"/>
                    <a:pt x="5454" y="10042"/>
                  </a:cubicBezTo>
                  <a:lnTo>
                    <a:pt x="5180" y="10042"/>
                  </a:lnTo>
                  <a:cubicBezTo>
                    <a:pt x="4692" y="10042"/>
                    <a:pt x="4323" y="10435"/>
                    <a:pt x="4323" y="10887"/>
                  </a:cubicBezTo>
                  <a:cubicBezTo>
                    <a:pt x="4323" y="10983"/>
                    <a:pt x="4394" y="11054"/>
                    <a:pt x="4489" y="11054"/>
                  </a:cubicBezTo>
                  <a:lnTo>
                    <a:pt x="7597" y="11054"/>
                  </a:lnTo>
                  <a:cubicBezTo>
                    <a:pt x="8561" y="11054"/>
                    <a:pt x="9383" y="10709"/>
                    <a:pt x="9978" y="10078"/>
                  </a:cubicBezTo>
                  <a:cubicBezTo>
                    <a:pt x="10550" y="9459"/>
                    <a:pt x="10859" y="8590"/>
                    <a:pt x="10859" y="7613"/>
                  </a:cubicBezTo>
                  <a:cubicBezTo>
                    <a:pt x="10847" y="6399"/>
                    <a:pt x="10204" y="5434"/>
                    <a:pt x="9645" y="4577"/>
                  </a:cubicBezTo>
                  <a:cubicBezTo>
                    <a:pt x="9228" y="3958"/>
                    <a:pt x="8835" y="3363"/>
                    <a:pt x="8776" y="2791"/>
                  </a:cubicBezTo>
                  <a:cubicBezTo>
                    <a:pt x="8752" y="2410"/>
                    <a:pt x="8847" y="2113"/>
                    <a:pt x="9073" y="1946"/>
                  </a:cubicBezTo>
                  <a:cubicBezTo>
                    <a:pt x="9208" y="1850"/>
                    <a:pt x="9386" y="1802"/>
                    <a:pt x="9584" y="1802"/>
                  </a:cubicBezTo>
                  <a:cubicBezTo>
                    <a:pt x="9806" y="1802"/>
                    <a:pt x="10055" y="1862"/>
                    <a:pt x="10300" y="1982"/>
                  </a:cubicBezTo>
                  <a:cubicBezTo>
                    <a:pt x="10320" y="1989"/>
                    <a:pt x="10339" y="1993"/>
                    <a:pt x="10359" y="1993"/>
                  </a:cubicBezTo>
                  <a:cubicBezTo>
                    <a:pt x="10399" y="1993"/>
                    <a:pt x="10439" y="1978"/>
                    <a:pt x="10478" y="1946"/>
                  </a:cubicBezTo>
                  <a:cubicBezTo>
                    <a:pt x="10514" y="1898"/>
                    <a:pt x="10550" y="1839"/>
                    <a:pt x="10514" y="1779"/>
                  </a:cubicBezTo>
                  <a:cubicBezTo>
                    <a:pt x="10502" y="1743"/>
                    <a:pt x="10181" y="672"/>
                    <a:pt x="9300" y="208"/>
                  </a:cubicBezTo>
                  <a:cubicBezTo>
                    <a:pt x="9036" y="69"/>
                    <a:pt x="8751" y="0"/>
                    <a:pt x="84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0" name="Google Shape;12870;p63"/>
            <p:cNvSpPr/>
            <p:nvPr/>
          </p:nvSpPr>
          <p:spPr>
            <a:xfrm>
              <a:off x="3823757" y="2285522"/>
              <a:ext cx="16416" cy="10304"/>
            </a:xfrm>
            <a:custGeom>
              <a:avLst/>
              <a:gdLst/>
              <a:ahLst/>
              <a:cxnLst/>
              <a:rect l="l" t="t" r="r" b="b"/>
              <a:pathLst>
                <a:path w="513" h="322" extrusionOk="0">
                  <a:moveTo>
                    <a:pt x="167" y="0"/>
                  </a:moveTo>
                  <a:cubicBezTo>
                    <a:pt x="84" y="0"/>
                    <a:pt x="1" y="72"/>
                    <a:pt x="1" y="155"/>
                  </a:cubicBezTo>
                  <a:cubicBezTo>
                    <a:pt x="1" y="250"/>
                    <a:pt x="84" y="322"/>
                    <a:pt x="167" y="322"/>
                  </a:cubicBezTo>
                  <a:lnTo>
                    <a:pt x="346" y="322"/>
                  </a:lnTo>
                  <a:cubicBezTo>
                    <a:pt x="441" y="322"/>
                    <a:pt x="513" y="250"/>
                    <a:pt x="513" y="155"/>
                  </a:cubicBezTo>
                  <a:cubicBezTo>
                    <a:pt x="513" y="72"/>
                    <a:pt x="441" y="0"/>
                    <a:pt x="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1" name="Google Shape;12871;p63"/>
            <p:cNvSpPr/>
            <p:nvPr/>
          </p:nvSpPr>
          <p:spPr>
            <a:xfrm>
              <a:off x="3664493" y="2075218"/>
              <a:ext cx="26720" cy="26688"/>
            </a:xfrm>
            <a:custGeom>
              <a:avLst/>
              <a:gdLst/>
              <a:ahLst/>
              <a:cxnLst/>
              <a:rect l="l" t="t" r="r" b="b"/>
              <a:pathLst>
                <a:path w="835" h="834" extrusionOk="0">
                  <a:moveTo>
                    <a:pt x="417" y="321"/>
                  </a:moveTo>
                  <a:cubicBezTo>
                    <a:pt x="477" y="321"/>
                    <a:pt x="513" y="357"/>
                    <a:pt x="513" y="417"/>
                  </a:cubicBezTo>
                  <a:cubicBezTo>
                    <a:pt x="513" y="476"/>
                    <a:pt x="453" y="524"/>
                    <a:pt x="417" y="524"/>
                  </a:cubicBezTo>
                  <a:cubicBezTo>
                    <a:pt x="358" y="524"/>
                    <a:pt x="310" y="476"/>
                    <a:pt x="310" y="417"/>
                  </a:cubicBezTo>
                  <a:cubicBezTo>
                    <a:pt x="310" y="357"/>
                    <a:pt x="346" y="321"/>
                    <a:pt x="417" y="321"/>
                  </a:cubicBezTo>
                  <a:close/>
                  <a:moveTo>
                    <a:pt x="417" y="0"/>
                  </a:moveTo>
                  <a:cubicBezTo>
                    <a:pt x="179" y="0"/>
                    <a:pt x="1" y="202"/>
                    <a:pt x="1" y="417"/>
                  </a:cubicBezTo>
                  <a:cubicBezTo>
                    <a:pt x="1" y="655"/>
                    <a:pt x="191" y="833"/>
                    <a:pt x="417" y="833"/>
                  </a:cubicBezTo>
                  <a:cubicBezTo>
                    <a:pt x="656" y="833"/>
                    <a:pt x="834" y="643"/>
                    <a:pt x="834" y="417"/>
                  </a:cubicBezTo>
                  <a:cubicBezTo>
                    <a:pt x="834" y="202"/>
                    <a:pt x="63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2" name="Google Shape;12872;p63"/>
          <p:cNvGrpSpPr/>
          <p:nvPr/>
        </p:nvGrpSpPr>
        <p:grpSpPr>
          <a:xfrm>
            <a:off x="1950765" y="1964338"/>
            <a:ext cx="357792" cy="352448"/>
            <a:chOff x="1950765" y="1964338"/>
            <a:chExt cx="357792" cy="352448"/>
          </a:xfrm>
        </p:grpSpPr>
        <p:sp>
          <p:nvSpPr>
            <p:cNvPr id="12873" name="Google Shape;12873;p63"/>
            <p:cNvSpPr/>
            <p:nvPr/>
          </p:nvSpPr>
          <p:spPr>
            <a:xfrm>
              <a:off x="2048301" y="2152530"/>
              <a:ext cx="48800" cy="59488"/>
            </a:xfrm>
            <a:custGeom>
              <a:avLst/>
              <a:gdLst/>
              <a:ahLst/>
              <a:cxnLst/>
              <a:rect l="l" t="t" r="r" b="b"/>
              <a:pathLst>
                <a:path w="1525" h="1859" extrusionOk="0">
                  <a:moveTo>
                    <a:pt x="762" y="1"/>
                  </a:moveTo>
                  <a:cubicBezTo>
                    <a:pt x="346" y="1"/>
                    <a:pt x="0" y="334"/>
                    <a:pt x="0" y="751"/>
                  </a:cubicBezTo>
                  <a:lnTo>
                    <a:pt x="0" y="1096"/>
                  </a:lnTo>
                  <a:cubicBezTo>
                    <a:pt x="0" y="1513"/>
                    <a:pt x="346" y="1858"/>
                    <a:pt x="762" y="1858"/>
                  </a:cubicBezTo>
                  <a:cubicBezTo>
                    <a:pt x="1179" y="1858"/>
                    <a:pt x="1524" y="1513"/>
                    <a:pt x="1524" y="1096"/>
                  </a:cubicBezTo>
                  <a:lnTo>
                    <a:pt x="1524" y="751"/>
                  </a:lnTo>
                  <a:cubicBezTo>
                    <a:pt x="1524" y="656"/>
                    <a:pt x="1489" y="549"/>
                    <a:pt x="1453" y="442"/>
                  </a:cubicBezTo>
                  <a:cubicBezTo>
                    <a:pt x="1419" y="390"/>
                    <a:pt x="1360" y="351"/>
                    <a:pt x="1303" y="351"/>
                  </a:cubicBezTo>
                  <a:cubicBezTo>
                    <a:pt x="1280" y="351"/>
                    <a:pt x="1259" y="357"/>
                    <a:pt x="1239" y="370"/>
                  </a:cubicBezTo>
                  <a:cubicBezTo>
                    <a:pt x="1167" y="418"/>
                    <a:pt x="1120" y="501"/>
                    <a:pt x="1167" y="572"/>
                  </a:cubicBezTo>
                  <a:cubicBezTo>
                    <a:pt x="1191" y="632"/>
                    <a:pt x="1215" y="703"/>
                    <a:pt x="1215" y="775"/>
                  </a:cubicBezTo>
                  <a:lnTo>
                    <a:pt x="1215" y="1120"/>
                  </a:lnTo>
                  <a:cubicBezTo>
                    <a:pt x="1215" y="1358"/>
                    <a:pt x="1012" y="1561"/>
                    <a:pt x="762" y="1561"/>
                  </a:cubicBezTo>
                  <a:cubicBezTo>
                    <a:pt x="524" y="1561"/>
                    <a:pt x="322" y="1370"/>
                    <a:pt x="322" y="1120"/>
                  </a:cubicBezTo>
                  <a:lnTo>
                    <a:pt x="322" y="775"/>
                  </a:lnTo>
                  <a:cubicBezTo>
                    <a:pt x="322" y="537"/>
                    <a:pt x="512" y="322"/>
                    <a:pt x="762" y="322"/>
                  </a:cubicBezTo>
                  <a:cubicBezTo>
                    <a:pt x="858" y="322"/>
                    <a:pt x="929" y="251"/>
                    <a:pt x="929" y="156"/>
                  </a:cubicBezTo>
                  <a:cubicBezTo>
                    <a:pt x="929" y="72"/>
                    <a:pt x="858" y="1"/>
                    <a:pt x="7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4" name="Google Shape;12874;p63"/>
            <p:cNvSpPr/>
            <p:nvPr/>
          </p:nvSpPr>
          <p:spPr>
            <a:xfrm>
              <a:off x="2164109" y="2152530"/>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56"/>
                    <a:pt x="1489" y="549"/>
                    <a:pt x="1442" y="442"/>
                  </a:cubicBezTo>
                  <a:cubicBezTo>
                    <a:pt x="1416" y="390"/>
                    <a:pt x="1359" y="351"/>
                    <a:pt x="1303" y="351"/>
                  </a:cubicBezTo>
                  <a:cubicBezTo>
                    <a:pt x="1281" y="351"/>
                    <a:pt x="1259" y="357"/>
                    <a:pt x="1239" y="370"/>
                  </a:cubicBezTo>
                  <a:cubicBezTo>
                    <a:pt x="1168" y="418"/>
                    <a:pt x="1120" y="501"/>
                    <a:pt x="1168" y="572"/>
                  </a:cubicBezTo>
                  <a:cubicBezTo>
                    <a:pt x="1192" y="632"/>
                    <a:pt x="1203" y="703"/>
                    <a:pt x="1203" y="775"/>
                  </a:cubicBezTo>
                  <a:lnTo>
                    <a:pt x="1203" y="1120"/>
                  </a:lnTo>
                  <a:cubicBezTo>
                    <a:pt x="1203" y="1358"/>
                    <a:pt x="1013" y="1561"/>
                    <a:pt x="763" y="1561"/>
                  </a:cubicBezTo>
                  <a:cubicBezTo>
                    <a:pt x="525" y="1561"/>
                    <a:pt x="311" y="1370"/>
                    <a:pt x="311" y="1120"/>
                  </a:cubicBezTo>
                  <a:lnTo>
                    <a:pt x="311" y="775"/>
                  </a:lnTo>
                  <a:cubicBezTo>
                    <a:pt x="311" y="537"/>
                    <a:pt x="513" y="322"/>
                    <a:pt x="763" y="322"/>
                  </a:cubicBezTo>
                  <a:cubicBezTo>
                    <a:pt x="846" y="322"/>
                    <a:pt x="930" y="251"/>
                    <a:pt x="930" y="156"/>
                  </a:cubicBezTo>
                  <a:cubicBezTo>
                    <a:pt x="930" y="72"/>
                    <a:pt x="846"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5" name="Google Shape;12875;p63"/>
            <p:cNvSpPr/>
            <p:nvPr/>
          </p:nvSpPr>
          <p:spPr>
            <a:xfrm>
              <a:off x="2097453" y="2224562"/>
              <a:ext cx="65952" cy="56416"/>
            </a:xfrm>
            <a:custGeom>
              <a:avLst/>
              <a:gdLst/>
              <a:ahLst/>
              <a:cxnLst/>
              <a:rect l="l" t="t" r="r" b="b"/>
              <a:pathLst>
                <a:path w="2061" h="1763" extrusionOk="0">
                  <a:moveTo>
                    <a:pt x="1012" y="322"/>
                  </a:moveTo>
                  <a:cubicBezTo>
                    <a:pt x="1405" y="322"/>
                    <a:pt x="1715" y="560"/>
                    <a:pt x="1715" y="858"/>
                  </a:cubicBezTo>
                  <a:cubicBezTo>
                    <a:pt x="1727" y="1096"/>
                    <a:pt x="1489" y="1250"/>
                    <a:pt x="1191" y="1405"/>
                  </a:cubicBezTo>
                  <a:cubicBezTo>
                    <a:pt x="1131" y="1435"/>
                    <a:pt x="1075" y="1450"/>
                    <a:pt x="1021" y="1450"/>
                  </a:cubicBezTo>
                  <a:cubicBezTo>
                    <a:pt x="968" y="1450"/>
                    <a:pt x="917" y="1435"/>
                    <a:pt x="870" y="1405"/>
                  </a:cubicBezTo>
                  <a:lnTo>
                    <a:pt x="846" y="1405"/>
                  </a:lnTo>
                  <a:cubicBezTo>
                    <a:pt x="548" y="1250"/>
                    <a:pt x="310" y="1096"/>
                    <a:pt x="310" y="858"/>
                  </a:cubicBezTo>
                  <a:cubicBezTo>
                    <a:pt x="310" y="560"/>
                    <a:pt x="631" y="322"/>
                    <a:pt x="1012" y="322"/>
                  </a:cubicBezTo>
                  <a:close/>
                  <a:moveTo>
                    <a:pt x="1024" y="0"/>
                  </a:moveTo>
                  <a:cubicBezTo>
                    <a:pt x="465" y="0"/>
                    <a:pt x="0" y="381"/>
                    <a:pt x="0" y="846"/>
                  </a:cubicBezTo>
                  <a:cubicBezTo>
                    <a:pt x="0" y="1310"/>
                    <a:pt x="417" y="1524"/>
                    <a:pt x="703" y="1679"/>
                  </a:cubicBezTo>
                  <a:lnTo>
                    <a:pt x="715" y="1679"/>
                  </a:lnTo>
                  <a:cubicBezTo>
                    <a:pt x="822" y="1739"/>
                    <a:pt x="929" y="1762"/>
                    <a:pt x="1024" y="1762"/>
                  </a:cubicBezTo>
                  <a:cubicBezTo>
                    <a:pt x="1131" y="1762"/>
                    <a:pt x="1239" y="1739"/>
                    <a:pt x="1346" y="1679"/>
                  </a:cubicBezTo>
                  <a:lnTo>
                    <a:pt x="1358" y="1679"/>
                  </a:lnTo>
                  <a:cubicBezTo>
                    <a:pt x="1643" y="1524"/>
                    <a:pt x="2060" y="1286"/>
                    <a:pt x="2060" y="846"/>
                  </a:cubicBezTo>
                  <a:cubicBezTo>
                    <a:pt x="2060" y="381"/>
                    <a:pt x="1596" y="0"/>
                    <a:pt x="1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6" name="Google Shape;12876;p63"/>
            <p:cNvSpPr/>
            <p:nvPr/>
          </p:nvSpPr>
          <p:spPr>
            <a:xfrm>
              <a:off x="1950765" y="1964338"/>
              <a:ext cx="357792" cy="352448"/>
            </a:xfrm>
            <a:custGeom>
              <a:avLst/>
              <a:gdLst/>
              <a:ahLst/>
              <a:cxnLst/>
              <a:rect l="l" t="t" r="r" b="b"/>
              <a:pathLst>
                <a:path w="11181" h="11014" extrusionOk="0">
                  <a:moveTo>
                    <a:pt x="2155" y="346"/>
                  </a:moveTo>
                  <a:cubicBezTo>
                    <a:pt x="2429" y="357"/>
                    <a:pt x="2715" y="453"/>
                    <a:pt x="2977" y="608"/>
                  </a:cubicBezTo>
                  <a:cubicBezTo>
                    <a:pt x="3453" y="893"/>
                    <a:pt x="3822" y="1358"/>
                    <a:pt x="4025" y="1917"/>
                  </a:cubicBezTo>
                  <a:cubicBezTo>
                    <a:pt x="4049" y="2001"/>
                    <a:pt x="4060" y="2072"/>
                    <a:pt x="4072" y="2132"/>
                  </a:cubicBezTo>
                  <a:cubicBezTo>
                    <a:pt x="3930" y="2203"/>
                    <a:pt x="3763" y="2298"/>
                    <a:pt x="3620" y="2393"/>
                  </a:cubicBezTo>
                  <a:cubicBezTo>
                    <a:pt x="3584" y="2239"/>
                    <a:pt x="3537" y="2072"/>
                    <a:pt x="3477" y="1905"/>
                  </a:cubicBezTo>
                  <a:cubicBezTo>
                    <a:pt x="3275" y="1322"/>
                    <a:pt x="2929" y="846"/>
                    <a:pt x="2501" y="536"/>
                  </a:cubicBezTo>
                  <a:cubicBezTo>
                    <a:pt x="2382" y="453"/>
                    <a:pt x="2263" y="393"/>
                    <a:pt x="2155" y="346"/>
                  </a:cubicBezTo>
                  <a:close/>
                  <a:moveTo>
                    <a:pt x="1582" y="529"/>
                  </a:moveTo>
                  <a:cubicBezTo>
                    <a:pt x="2211" y="529"/>
                    <a:pt x="2889" y="1119"/>
                    <a:pt x="3203" y="2012"/>
                  </a:cubicBezTo>
                  <a:cubicBezTo>
                    <a:pt x="3275" y="2203"/>
                    <a:pt x="3322" y="2417"/>
                    <a:pt x="3346" y="2608"/>
                  </a:cubicBezTo>
                  <a:cubicBezTo>
                    <a:pt x="3048" y="2846"/>
                    <a:pt x="2775" y="3132"/>
                    <a:pt x="2501" y="3453"/>
                  </a:cubicBezTo>
                  <a:cubicBezTo>
                    <a:pt x="2239" y="3786"/>
                    <a:pt x="2001" y="4156"/>
                    <a:pt x="1798" y="4537"/>
                  </a:cubicBezTo>
                  <a:cubicBezTo>
                    <a:pt x="1251" y="4287"/>
                    <a:pt x="810" y="3786"/>
                    <a:pt x="584" y="3144"/>
                  </a:cubicBezTo>
                  <a:cubicBezTo>
                    <a:pt x="370" y="2572"/>
                    <a:pt x="370" y="1977"/>
                    <a:pt x="572" y="1465"/>
                  </a:cubicBezTo>
                  <a:cubicBezTo>
                    <a:pt x="703" y="1108"/>
                    <a:pt x="929" y="810"/>
                    <a:pt x="1203" y="608"/>
                  </a:cubicBezTo>
                  <a:cubicBezTo>
                    <a:pt x="1227" y="596"/>
                    <a:pt x="1251" y="596"/>
                    <a:pt x="1263" y="584"/>
                  </a:cubicBezTo>
                  <a:cubicBezTo>
                    <a:pt x="1366" y="547"/>
                    <a:pt x="1474" y="529"/>
                    <a:pt x="1582" y="529"/>
                  </a:cubicBezTo>
                  <a:close/>
                  <a:moveTo>
                    <a:pt x="9061" y="357"/>
                  </a:moveTo>
                  <a:lnTo>
                    <a:pt x="9061" y="357"/>
                  </a:lnTo>
                  <a:cubicBezTo>
                    <a:pt x="8930" y="417"/>
                    <a:pt x="8811" y="488"/>
                    <a:pt x="8680" y="584"/>
                  </a:cubicBezTo>
                  <a:cubicBezTo>
                    <a:pt x="8609" y="643"/>
                    <a:pt x="8585" y="727"/>
                    <a:pt x="8644" y="810"/>
                  </a:cubicBezTo>
                  <a:cubicBezTo>
                    <a:pt x="8680" y="846"/>
                    <a:pt x="8728" y="869"/>
                    <a:pt x="8787" y="869"/>
                  </a:cubicBezTo>
                  <a:cubicBezTo>
                    <a:pt x="8811" y="869"/>
                    <a:pt x="8859" y="846"/>
                    <a:pt x="8871" y="834"/>
                  </a:cubicBezTo>
                  <a:cubicBezTo>
                    <a:pt x="9134" y="647"/>
                    <a:pt x="9409" y="545"/>
                    <a:pt x="9662" y="545"/>
                  </a:cubicBezTo>
                  <a:cubicBezTo>
                    <a:pt x="9764" y="545"/>
                    <a:pt x="9862" y="561"/>
                    <a:pt x="9954" y="596"/>
                  </a:cubicBezTo>
                  <a:cubicBezTo>
                    <a:pt x="9978" y="596"/>
                    <a:pt x="10002" y="608"/>
                    <a:pt x="10037" y="631"/>
                  </a:cubicBezTo>
                  <a:cubicBezTo>
                    <a:pt x="10311" y="822"/>
                    <a:pt x="10526" y="1119"/>
                    <a:pt x="10657" y="1477"/>
                  </a:cubicBezTo>
                  <a:cubicBezTo>
                    <a:pt x="10847" y="1989"/>
                    <a:pt x="10835" y="2584"/>
                    <a:pt x="10645" y="3155"/>
                  </a:cubicBezTo>
                  <a:cubicBezTo>
                    <a:pt x="10418" y="3775"/>
                    <a:pt x="9978" y="4298"/>
                    <a:pt x="9418" y="4548"/>
                  </a:cubicBezTo>
                  <a:cubicBezTo>
                    <a:pt x="9228" y="4167"/>
                    <a:pt x="8990" y="3810"/>
                    <a:pt x="8728" y="3465"/>
                  </a:cubicBezTo>
                  <a:cubicBezTo>
                    <a:pt x="8454" y="3144"/>
                    <a:pt x="8168" y="2858"/>
                    <a:pt x="7870" y="2620"/>
                  </a:cubicBezTo>
                  <a:cubicBezTo>
                    <a:pt x="7906" y="2429"/>
                    <a:pt x="7954" y="2215"/>
                    <a:pt x="8025" y="2024"/>
                  </a:cubicBezTo>
                  <a:cubicBezTo>
                    <a:pt x="8109" y="1774"/>
                    <a:pt x="8251" y="1536"/>
                    <a:pt x="8394" y="1310"/>
                  </a:cubicBezTo>
                  <a:cubicBezTo>
                    <a:pt x="8454" y="1239"/>
                    <a:pt x="8430" y="1131"/>
                    <a:pt x="8371" y="1084"/>
                  </a:cubicBezTo>
                  <a:cubicBezTo>
                    <a:pt x="8340" y="1062"/>
                    <a:pt x="8309" y="1053"/>
                    <a:pt x="8278" y="1053"/>
                  </a:cubicBezTo>
                  <a:cubicBezTo>
                    <a:pt x="8225" y="1053"/>
                    <a:pt x="8175" y="1081"/>
                    <a:pt x="8144" y="1119"/>
                  </a:cubicBezTo>
                  <a:cubicBezTo>
                    <a:pt x="7966" y="1358"/>
                    <a:pt x="7835" y="1620"/>
                    <a:pt x="7728" y="1905"/>
                  </a:cubicBezTo>
                  <a:cubicBezTo>
                    <a:pt x="7668" y="2072"/>
                    <a:pt x="7620" y="2227"/>
                    <a:pt x="7597" y="2393"/>
                  </a:cubicBezTo>
                  <a:cubicBezTo>
                    <a:pt x="7442" y="2286"/>
                    <a:pt x="7299" y="2203"/>
                    <a:pt x="7132" y="2132"/>
                  </a:cubicBezTo>
                  <a:cubicBezTo>
                    <a:pt x="7156" y="2060"/>
                    <a:pt x="7180" y="1977"/>
                    <a:pt x="7204" y="1917"/>
                  </a:cubicBezTo>
                  <a:cubicBezTo>
                    <a:pt x="7418" y="1358"/>
                    <a:pt x="7787" y="893"/>
                    <a:pt x="8251" y="608"/>
                  </a:cubicBezTo>
                  <a:cubicBezTo>
                    <a:pt x="8513" y="465"/>
                    <a:pt x="8787" y="369"/>
                    <a:pt x="9061" y="357"/>
                  </a:cubicBezTo>
                  <a:close/>
                  <a:moveTo>
                    <a:pt x="5620" y="2072"/>
                  </a:moveTo>
                  <a:cubicBezTo>
                    <a:pt x="6632" y="2072"/>
                    <a:pt x="7680" y="2655"/>
                    <a:pt x="8502" y="3667"/>
                  </a:cubicBezTo>
                  <a:cubicBezTo>
                    <a:pt x="9311" y="4679"/>
                    <a:pt x="9775" y="5965"/>
                    <a:pt x="9775" y="7204"/>
                  </a:cubicBezTo>
                  <a:cubicBezTo>
                    <a:pt x="9764" y="7656"/>
                    <a:pt x="9645" y="8085"/>
                    <a:pt x="9418" y="8466"/>
                  </a:cubicBezTo>
                  <a:cubicBezTo>
                    <a:pt x="9121" y="8454"/>
                    <a:pt x="8834" y="8450"/>
                    <a:pt x="8581" y="8450"/>
                  </a:cubicBezTo>
                  <a:cubicBezTo>
                    <a:pt x="8076" y="8450"/>
                    <a:pt x="7708" y="8466"/>
                    <a:pt x="7668" y="8466"/>
                  </a:cubicBezTo>
                  <a:cubicBezTo>
                    <a:pt x="7573" y="8466"/>
                    <a:pt x="7501" y="8549"/>
                    <a:pt x="7513" y="8632"/>
                  </a:cubicBezTo>
                  <a:cubicBezTo>
                    <a:pt x="7513" y="8721"/>
                    <a:pt x="7585" y="8788"/>
                    <a:pt x="7662" y="8788"/>
                  </a:cubicBezTo>
                  <a:cubicBezTo>
                    <a:pt x="7668" y="8788"/>
                    <a:pt x="7674" y="8788"/>
                    <a:pt x="7680" y="8787"/>
                  </a:cubicBezTo>
                  <a:cubicBezTo>
                    <a:pt x="7688" y="8787"/>
                    <a:pt x="8003" y="8771"/>
                    <a:pt x="8455" y="8771"/>
                  </a:cubicBezTo>
                  <a:cubicBezTo>
                    <a:pt x="8681" y="8771"/>
                    <a:pt x="8942" y="8775"/>
                    <a:pt x="9216" y="8787"/>
                  </a:cubicBezTo>
                  <a:cubicBezTo>
                    <a:pt x="9144" y="8882"/>
                    <a:pt x="9061" y="8978"/>
                    <a:pt x="8978" y="9085"/>
                  </a:cubicBezTo>
                  <a:lnTo>
                    <a:pt x="8740" y="9323"/>
                  </a:lnTo>
                  <a:cubicBezTo>
                    <a:pt x="7990" y="9109"/>
                    <a:pt x="7394" y="9001"/>
                    <a:pt x="7370" y="8990"/>
                  </a:cubicBezTo>
                  <a:cubicBezTo>
                    <a:pt x="7362" y="8988"/>
                    <a:pt x="7354" y="8988"/>
                    <a:pt x="7346" y="8988"/>
                  </a:cubicBezTo>
                  <a:cubicBezTo>
                    <a:pt x="7261" y="8988"/>
                    <a:pt x="7191" y="9044"/>
                    <a:pt x="7180" y="9120"/>
                  </a:cubicBezTo>
                  <a:cubicBezTo>
                    <a:pt x="7156" y="9216"/>
                    <a:pt x="7216" y="9299"/>
                    <a:pt x="7311" y="9323"/>
                  </a:cubicBezTo>
                  <a:cubicBezTo>
                    <a:pt x="7323" y="9323"/>
                    <a:pt x="7799" y="9406"/>
                    <a:pt x="8418" y="9573"/>
                  </a:cubicBezTo>
                  <a:cubicBezTo>
                    <a:pt x="7990" y="9871"/>
                    <a:pt x="7478" y="10109"/>
                    <a:pt x="6894" y="10240"/>
                  </a:cubicBezTo>
                  <a:cubicBezTo>
                    <a:pt x="6918" y="10192"/>
                    <a:pt x="6966" y="10168"/>
                    <a:pt x="6989" y="10121"/>
                  </a:cubicBezTo>
                  <a:cubicBezTo>
                    <a:pt x="7037" y="10049"/>
                    <a:pt x="7025" y="9942"/>
                    <a:pt x="6954" y="9894"/>
                  </a:cubicBezTo>
                  <a:cubicBezTo>
                    <a:pt x="6924" y="9882"/>
                    <a:pt x="6892" y="9875"/>
                    <a:pt x="6862" y="9875"/>
                  </a:cubicBezTo>
                  <a:cubicBezTo>
                    <a:pt x="6808" y="9875"/>
                    <a:pt x="6758" y="9896"/>
                    <a:pt x="6727" y="9942"/>
                  </a:cubicBezTo>
                  <a:cubicBezTo>
                    <a:pt x="6608" y="10109"/>
                    <a:pt x="6430" y="10216"/>
                    <a:pt x="6216" y="10216"/>
                  </a:cubicBezTo>
                  <a:cubicBezTo>
                    <a:pt x="6096" y="10216"/>
                    <a:pt x="6001" y="10180"/>
                    <a:pt x="5894" y="10109"/>
                  </a:cubicBezTo>
                  <a:cubicBezTo>
                    <a:pt x="5811" y="10055"/>
                    <a:pt x="5712" y="10028"/>
                    <a:pt x="5616" y="10028"/>
                  </a:cubicBezTo>
                  <a:cubicBezTo>
                    <a:pt x="5519" y="10028"/>
                    <a:pt x="5424" y="10055"/>
                    <a:pt x="5346" y="10109"/>
                  </a:cubicBezTo>
                  <a:cubicBezTo>
                    <a:pt x="5239" y="10168"/>
                    <a:pt x="5132" y="10216"/>
                    <a:pt x="5013" y="10216"/>
                  </a:cubicBezTo>
                  <a:cubicBezTo>
                    <a:pt x="4811" y="10216"/>
                    <a:pt x="4632" y="10109"/>
                    <a:pt x="4513" y="9942"/>
                  </a:cubicBezTo>
                  <a:cubicBezTo>
                    <a:pt x="4482" y="9896"/>
                    <a:pt x="4427" y="9875"/>
                    <a:pt x="4373" y="9875"/>
                  </a:cubicBezTo>
                  <a:cubicBezTo>
                    <a:pt x="4343" y="9875"/>
                    <a:pt x="4312" y="9882"/>
                    <a:pt x="4287" y="9894"/>
                  </a:cubicBezTo>
                  <a:cubicBezTo>
                    <a:pt x="4215" y="9942"/>
                    <a:pt x="4203" y="10049"/>
                    <a:pt x="4239" y="10121"/>
                  </a:cubicBezTo>
                  <a:cubicBezTo>
                    <a:pt x="4275" y="10168"/>
                    <a:pt x="4299" y="10216"/>
                    <a:pt x="4346" y="10240"/>
                  </a:cubicBezTo>
                  <a:cubicBezTo>
                    <a:pt x="3763" y="10109"/>
                    <a:pt x="3263" y="9882"/>
                    <a:pt x="2810" y="9573"/>
                  </a:cubicBezTo>
                  <a:cubicBezTo>
                    <a:pt x="3441" y="9406"/>
                    <a:pt x="3918" y="9323"/>
                    <a:pt x="3930" y="9323"/>
                  </a:cubicBezTo>
                  <a:cubicBezTo>
                    <a:pt x="4025" y="9299"/>
                    <a:pt x="4072" y="9216"/>
                    <a:pt x="4060" y="9120"/>
                  </a:cubicBezTo>
                  <a:cubicBezTo>
                    <a:pt x="4050" y="9044"/>
                    <a:pt x="3969" y="8988"/>
                    <a:pt x="3892" y="8988"/>
                  </a:cubicBezTo>
                  <a:cubicBezTo>
                    <a:pt x="3884" y="8988"/>
                    <a:pt x="3877" y="8988"/>
                    <a:pt x="3870" y="8990"/>
                  </a:cubicBezTo>
                  <a:cubicBezTo>
                    <a:pt x="3822" y="8990"/>
                    <a:pt x="3227" y="9109"/>
                    <a:pt x="2501" y="9323"/>
                  </a:cubicBezTo>
                  <a:cubicBezTo>
                    <a:pt x="2406" y="9240"/>
                    <a:pt x="2334" y="9168"/>
                    <a:pt x="2263" y="9085"/>
                  </a:cubicBezTo>
                  <a:cubicBezTo>
                    <a:pt x="2167" y="8990"/>
                    <a:pt x="2096" y="8882"/>
                    <a:pt x="2025" y="8787"/>
                  </a:cubicBezTo>
                  <a:cubicBezTo>
                    <a:pt x="2298" y="8775"/>
                    <a:pt x="2558" y="8771"/>
                    <a:pt x="2783" y="8771"/>
                  </a:cubicBezTo>
                  <a:cubicBezTo>
                    <a:pt x="3232" y="8771"/>
                    <a:pt x="3545" y="8787"/>
                    <a:pt x="3560" y="8787"/>
                  </a:cubicBezTo>
                  <a:cubicBezTo>
                    <a:pt x="3644" y="8787"/>
                    <a:pt x="3715" y="8728"/>
                    <a:pt x="3715" y="8632"/>
                  </a:cubicBezTo>
                  <a:cubicBezTo>
                    <a:pt x="3715" y="8549"/>
                    <a:pt x="3656" y="8466"/>
                    <a:pt x="3572" y="8466"/>
                  </a:cubicBezTo>
                  <a:cubicBezTo>
                    <a:pt x="3533" y="8466"/>
                    <a:pt x="3160" y="8450"/>
                    <a:pt x="2651" y="8450"/>
                  </a:cubicBezTo>
                  <a:cubicBezTo>
                    <a:pt x="2396" y="8450"/>
                    <a:pt x="2108" y="8454"/>
                    <a:pt x="1810" y="8466"/>
                  </a:cubicBezTo>
                  <a:cubicBezTo>
                    <a:pt x="1596" y="8073"/>
                    <a:pt x="1477" y="7632"/>
                    <a:pt x="1477" y="7204"/>
                  </a:cubicBezTo>
                  <a:cubicBezTo>
                    <a:pt x="1477" y="5965"/>
                    <a:pt x="1929" y="4679"/>
                    <a:pt x="2751" y="3667"/>
                  </a:cubicBezTo>
                  <a:cubicBezTo>
                    <a:pt x="3572" y="2655"/>
                    <a:pt x="4608" y="2072"/>
                    <a:pt x="5620" y="2072"/>
                  </a:cubicBezTo>
                  <a:close/>
                  <a:moveTo>
                    <a:pt x="5605" y="10335"/>
                  </a:moveTo>
                  <a:cubicBezTo>
                    <a:pt x="5641" y="10335"/>
                    <a:pt x="5680" y="10347"/>
                    <a:pt x="5715" y="10371"/>
                  </a:cubicBezTo>
                  <a:cubicBezTo>
                    <a:pt x="5858" y="10478"/>
                    <a:pt x="6037" y="10525"/>
                    <a:pt x="6216" y="10525"/>
                  </a:cubicBezTo>
                  <a:cubicBezTo>
                    <a:pt x="6311" y="10525"/>
                    <a:pt x="6394" y="10502"/>
                    <a:pt x="6477" y="10478"/>
                  </a:cubicBezTo>
                  <a:lnTo>
                    <a:pt x="6477" y="10478"/>
                  </a:lnTo>
                  <a:cubicBezTo>
                    <a:pt x="6204" y="10644"/>
                    <a:pt x="5906" y="10716"/>
                    <a:pt x="5608" y="10716"/>
                  </a:cubicBezTo>
                  <a:cubicBezTo>
                    <a:pt x="5311" y="10716"/>
                    <a:pt x="5013" y="10644"/>
                    <a:pt x="4751" y="10478"/>
                  </a:cubicBezTo>
                  <a:lnTo>
                    <a:pt x="4751" y="10478"/>
                  </a:lnTo>
                  <a:cubicBezTo>
                    <a:pt x="4834" y="10502"/>
                    <a:pt x="4918" y="10525"/>
                    <a:pt x="5001" y="10525"/>
                  </a:cubicBezTo>
                  <a:cubicBezTo>
                    <a:pt x="5180" y="10525"/>
                    <a:pt x="5358" y="10478"/>
                    <a:pt x="5513" y="10371"/>
                  </a:cubicBezTo>
                  <a:cubicBezTo>
                    <a:pt x="5537" y="10347"/>
                    <a:pt x="5570" y="10335"/>
                    <a:pt x="5605" y="10335"/>
                  </a:cubicBezTo>
                  <a:close/>
                  <a:moveTo>
                    <a:pt x="2035" y="1"/>
                  </a:moveTo>
                  <a:cubicBezTo>
                    <a:pt x="1822" y="1"/>
                    <a:pt x="1610" y="39"/>
                    <a:pt x="1405" y="119"/>
                  </a:cubicBezTo>
                  <a:cubicBezTo>
                    <a:pt x="846" y="310"/>
                    <a:pt x="429" y="738"/>
                    <a:pt x="215" y="1358"/>
                  </a:cubicBezTo>
                  <a:cubicBezTo>
                    <a:pt x="0" y="1929"/>
                    <a:pt x="0" y="2620"/>
                    <a:pt x="227" y="3239"/>
                  </a:cubicBezTo>
                  <a:cubicBezTo>
                    <a:pt x="477" y="3953"/>
                    <a:pt x="989" y="4537"/>
                    <a:pt x="1608" y="4822"/>
                  </a:cubicBezTo>
                  <a:cubicBezTo>
                    <a:pt x="1263" y="5584"/>
                    <a:pt x="1084" y="6406"/>
                    <a:pt x="1084" y="7204"/>
                  </a:cubicBezTo>
                  <a:cubicBezTo>
                    <a:pt x="1084" y="7632"/>
                    <a:pt x="1191" y="8085"/>
                    <a:pt x="1382" y="8489"/>
                  </a:cubicBezTo>
                  <a:cubicBezTo>
                    <a:pt x="953" y="8513"/>
                    <a:pt x="524" y="8561"/>
                    <a:pt x="167" y="8644"/>
                  </a:cubicBezTo>
                  <a:cubicBezTo>
                    <a:pt x="72" y="8668"/>
                    <a:pt x="36" y="8751"/>
                    <a:pt x="48" y="8847"/>
                  </a:cubicBezTo>
                  <a:cubicBezTo>
                    <a:pt x="60" y="8918"/>
                    <a:pt x="131" y="8966"/>
                    <a:pt x="215" y="8966"/>
                  </a:cubicBezTo>
                  <a:lnTo>
                    <a:pt x="239" y="8966"/>
                  </a:lnTo>
                  <a:cubicBezTo>
                    <a:pt x="608" y="8870"/>
                    <a:pt x="1084" y="8823"/>
                    <a:pt x="1560" y="8799"/>
                  </a:cubicBezTo>
                  <a:cubicBezTo>
                    <a:pt x="1667" y="8978"/>
                    <a:pt x="1798" y="9144"/>
                    <a:pt x="1953" y="9287"/>
                  </a:cubicBezTo>
                  <a:lnTo>
                    <a:pt x="2072" y="9406"/>
                  </a:lnTo>
                  <a:cubicBezTo>
                    <a:pt x="1667" y="9525"/>
                    <a:pt x="1239" y="9680"/>
                    <a:pt x="834" y="9859"/>
                  </a:cubicBezTo>
                  <a:cubicBezTo>
                    <a:pt x="762" y="9882"/>
                    <a:pt x="715" y="9990"/>
                    <a:pt x="762" y="10061"/>
                  </a:cubicBezTo>
                  <a:cubicBezTo>
                    <a:pt x="786" y="10121"/>
                    <a:pt x="846" y="10156"/>
                    <a:pt x="905" y="10156"/>
                  </a:cubicBezTo>
                  <a:cubicBezTo>
                    <a:pt x="929" y="10156"/>
                    <a:pt x="953" y="10156"/>
                    <a:pt x="965" y="10132"/>
                  </a:cubicBezTo>
                  <a:cubicBezTo>
                    <a:pt x="1417" y="9942"/>
                    <a:pt x="1905" y="9775"/>
                    <a:pt x="2358" y="9644"/>
                  </a:cubicBezTo>
                  <a:cubicBezTo>
                    <a:pt x="2870" y="10061"/>
                    <a:pt x="3501" y="10359"/>
                    <a:pt x="4227" y="10525"/>
                  </a:cubicBezTo>
                  <a:cubicBezTo>
                    <a:pt x="4596" y="10835"/>
                    <a:pt x="5073" y="11014"/>
                    <a:pt x="5573" y="11014"/>
                  </a:cubicBezTo>
                  <a:cubicBezTo>
                    <a:pt x="6061" y="11014"/>
                    <a:pt x="6537" y="10835"/>
                    <a:pt x="6906" y="10525"/>
                  </a:cubicBezTo>
                  <a:cubicBezTo>
                    <a:pt x="7620" y="10359"/>
                    <a:pt x="8263" y="10061"/>
                    <a:pt x="8787" y="9644"/>
                  </a:cubicBezTo>
                  <a:cubicBezTo>
                    <a:pt x="9240" y="9775"/>
                    <a:pt x="9740" y="9942"/>
                    <a:pt x="10168" y="10132"/>
                  </a:cubicBezTo>
                  <a:cubicBezTo>
                    <a:pt x="10180" y="10156"/>
                    <a:pt x="10216" y="10156"/>
                    <a:pt x="10228" y="10156"/>
                  </a:cubicBezTo>
                  <a:cubicBezTo>
                    <a:pt x="10287" y="10156"/>
                    <a:pt x="10347" y="10121"/>
                    <a:pt x="10371" y="10061"/>
                  </a:cubicBezTo>
                  <a:cubicBezTo>
                    <a:pt x="10407" y="9990"/>
                    <a:pt x="10371" y="9882"/>
                    <a:pt x="10299" y="9859"/>
                  </a:cubicBezTo>
                  <a:cubicBezTo>
                    <a:pt x="9918" y="9680"/>
                    <a:pt x="9478" y="9525"/>
                    <a:pt x="9061" y="9406"/>
                  </a:cubicBezTo>
                  <a:lnTo>
                    <a:pt x="9180" y="9287"/>
                  </a:lnTo>
                  <a:cubicBezTo>
                    <a:pt x="9335" y="9144"/>
                    <a:pt x="9466" y="8966"/>
                    <a:pt x="9573" y="8799"/>
                  </a:cubicBezTo>
                  <a:cubicBezTo>
                    <a:pt x="10049" y="8823"/>
                    <a:pt x="10526" y="8870"/>
                    <a:pt x="10895" y="8966"/>
                  </a:cubicBezTo>
                  <a:lnTo>
                    <a:pt x="10930" y="8966"/>
                  </a:lnTo>
                  <a:cubicBezTo>
                    <a:pt x="11002" y="8966"/>
                    <a:pt x="11061" y="8918"/>
                    <a:pt x="11085" y="8847"/>
                  </a:cubicBezTo>
                  <a:cubicBezTo>
                    <a:pt x="11133" y="8751"/>
                    <a:pt x="11085" y="8680"/>
                    <a:pt x="11002" y="8644"/>
                  </a:cubicBezTo>
                  <a:cubicBezTo>
                    <a:pt x="10645" y="8573"/>
                    <a:pt x="10216" y="8513"/>
                    <a:pt x="9775" y="8489"/>
                  </a:cubicBezTo>
                  <a:cubicBezTo>
                    <a:pt x="9978" y="8085"/>
                    <a:pt x="10073" y="7644"/>
                    <a:pt x="10073" y="7204"/>
                  </a:cubicBezTo>
                  <a:cubicBezTo>
                    <a:pt x="10073" y="6406"/>
                    <a:pt x="9895" y="5584"/>
                    <a:pt x="9561" y="4822"/>
                  </a:cubicBezTo>
                  <a:cubicBezTo>
                    <a:pt x="10168" y="4525"/>
                    <a:pt x="10692" y="3941"/>
                    <a:pt x="10942" y="3239"/>
                  </a:cubicBezTo>
                  <a:cubicBezTo>
                    <a:pt x="11169" y="2608"/>
                    <a:pt x="11180" y="1929"/>
                    <a:pt x="10954" y="1358"/>
                  </a:cubicBezTo>
                  <a:cubicBezTo>
                    <a:pt x="10728" y="762"/>
                    <a:pt x="10311" y="334"/>
                    <a:pt x="9764" y="119"/>
                  </a:cubicBezTo>
                  <a:cubicBezTo>
                    <a:pt x="9561" y="49"/>
                    <a:pt x="9352" y="14"/>
                    <a:pt x="9141" y="14"/>
                  </a:cubicBezTo>
                  <a:cubicBezTo>
                    <a:pt x="8782" y="14"/>
                    <a:pt x="8418" y="115"/>
                    <a:pt x="8073" y="310"/>
                  </a:cubicBezTo>
                  <a:cubicBezTo>
                    <a:pt x="7537" y="631"/>
                    <a:pt x="7120" y="1155"/>
                    <a:pt x="6882" y="1786"/>
                  </a:cubicBezTo>
                  <a:cubicBezTo>
                    <a:pt x="6858" y="1846"/>
                    <a:pt x="6835" y="1905"/>
                    <a:pt x="6823" y="1977"/>
                  </a:cubicBezTo>
                  <a:cubicBezTo>
                    <a:pt x="6418" y="1810"/>
                    <a:pt x="6001" y="1727"/>
                    <a:pt x="5584" y="1727"/>
                  </a:cubicBezTo>
                  <a:cubicBezTo>
                    <a:pt x="5168" y="1727"/>
                    <a:pt x="4763" y="1822"/>
                    <a:pt x="4346" y="1977"/>
                  </a:cubicBezTo>
                  <a:cubicBezTo>
                    <a:pt x="4334" y="1917"/>
                    <a:pt x="4299" y="1858"/>
                    <a:pt x="4287" y="1786"/>
                  </a:cubicBezTo>
                  <a:cubicBezTo>
                    <a:pt x="4060" y="1143"/>
                    <a:pt x="3632" y="619"/>
                    <a:pt x="3096" y="310"/>
                  </a:cubicBezTo>
                  <a:cubicBezTo>
                    <a:pt x="2753" y="109"/>
                    <a:pt x="2392" y="1"/>
                    <a:pt x="20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77" name="Google Shape;12877;p63"/>
          <p:cNvGrpSpPr/>
          <p:nvPr/>
        </p:nvGrpSpPr>
        <p:grpSpPr>
          <a:xfrm>
            <a:off x="7435629" y="1964690"/>
            <a:ext cx="367712" cy="353248"/>
            <a:chOff x="7435629" y="1964690"/>
            <a:chExt cx="367712" cy="353248"/>
          </a:xfrm>
        </p:grpSpPr>
        <p:sp>
          <p:nvSpPr>
            <p:cNvPr id="12878" name="Google Shape;12878;p63"/>
            <p:cNvSpPr/>
            <p:nvPr/>
          </p:nvSpPr>
          <p:spPr>
            <a:xfrm>
              <a:off x="7586125" y="2054258"/>
              <a:ext cx="65952" cy="62880"/>
            </a:xfrm>
            <a:custGeom>
              <a:avLst/>
              <a:gdLst/>
              <a:ahLst/>
              <a:cxnLst/>
              <a:rect l="l" t="t" r="r" b="b"/>
              <a:pathLst>
                <a:path w="2061" h="1965" extrusionOk="0">
                  <a:moveTo>
                    <a:pt x="1037" y="334"/>
                  </a:moveTo>
                  <a:cubicBezTo>
                    <a:pt x="1120" y="334"/>
                    <a:pt x="1299" y="405"/>
                    <a:pt x="1465" y="560"/>
                  </a:cubicBezTo>
                  <a:cubicBezTo>
                    <a:pt x="1596" y="679"/>
                    <a:pt x="1691" y="798"/>
                    <a:pt x="1715" y="917"/>
                  </a:cubicBezTo>
                  <a:cubicBezTo>
                    <a:pt x="1489" y="774"/>
                    <a:pt x="1215" y="691"/>
                    <a:pt x="1037" y="691"/>
                  </a:cubicBezTo>
                  <a:cubicBezTo>
                    <a:pt x="858" y="691"/>
                    <a:pt x="572" y="774"/>
                    <a:pt x="346" y="917"/>
                  </a:cubicBezTo>
                  <a:cubicBezTo>
                    <a:pt x="382" y="810"/>
                    <a:pt x="465" y="667"/>
                    <a:pt x="596" y="560"/>
                  </a:cubicBezTo>
                  <a:cubicBezTo>
                    <a:pt x="763" y="405"/>
                    <a:pt x="941" y="334"/>
                    <a:pt x="1037" y="334"/>
                  </a:cubicBezTo>
                  <a:close/>
                  <a:moveTo>
                    <a:pt x="1025" y="1012"/>
                  </a:moveTo>
                  <a:cubicBezTo>
                    <a:pt x="1191" y="1012"/>
                    <a:pt x="1477" y="1119"/>
                    <a:pt x="1620" y="1238"/>
                  </a:cubicBezTo>
                  <a:cubicBezTo>
                    <a:pt x="1596" y="1298"/>
                    <a:pt x="1537" y="1369"/>
                    <a:pt x="1465" y="1429"/>
                  </a:cubicBezTo>
                  <a:cubicBezTo>
                    <a:pt x="1299" y="1584"/>
                    <a:pt x="1120" y="1655"/>
                    <a:pt x="1037" y="1655"/>
                  </a:cubicBezTo>
                  <a:cubicBezTo>
                    <a:pt x="941" y="1655"/>
                    <a:pt x="763" y="1584"/>
                    <a:pt x="596" y="1429"/>
                  </a:cubicBezTo>
                  <a:cubicBezTo>
                    <a:pt x="525" y="1369"/>
                    <a:pt x="465" y="1310"/>
                    <a:pt x="418" y="1238"/>
                  </a:cubicBezTo>
                  <a:cubicBezTo>
                    <a:pt x="584" y="1119"/>
                    <a:pt x="870" y="1012"/>
                    <a:pt x="1025" y="1012"/>
                  </a:cubicBezTo>
                  <a:close/>
                  <a:moveTo>
                    <a:pt x="1037" y="0"/>
                  </a:moveTo>
                  <a:cubicBezTo>
                    <a:pt x="668" y="0"/>
                    <a:pt x="1" y="512"/>
                    <a:pt x="1" y="988"/>
                  </a:cubicBezTo>
                  <a:cubicBezTo>
                    <a:pt x="1" y="1465"/>
                    <a:pt x="668" y="1965"/>
                    <a:pt x="1037" y="1965"/>
                  </a:cubicBezTo>
                  <a:cubicBezTo>
                    <a:pt x="1394" y="1965"/>
                    <a:pt x="2061" y="1465"/>
                    <a:pt x="2061" y="988"/>
                  </a:cubicBezTo>
                  <a:cubicBezTo>
                    <a:pt x="2061" y="512"/>
                    <a:pt x="139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9" name="Google Shape;12879;p63"/>
            <p:cNvSpPr/>
            <p:nvPr/>
          </p:nvSpPr>
          <p:spPr>
            <a:xfrm>
              <a:off x="7553357" y="2030994"/>
              <a:ext cx="32416" cy="38144"/>
            </a:xfrm>
            <a:custGeom>
              <a:avLst/>
              <a:gdLst/>
              <a:ahLst/>
              <a:cxnLst/>
              <a:rect l="l" t="t" r="r" b="b"/>
              <a:pathLst>
                <a:path w="1013" h="1192" extrusionOk="0">
                  <a:moveTo>
                    <a:pt x="513" y="334"/>
                  </a:moveTo>
                  <a:cubicBezTo>
                    <a:pt x="608" y="334"/>
                    <a:pt x="691" y="418"/>
                    <a:pt x="691" y="513"/>
                  </a:cubicBezTo>
                  <a:lnTo>
                    <a:pt x="691" y="691"/>
                  </a:lnTo>
                  <a:cubicBezTo>
                    <a:pt x="691" y="787"/>
                    <a:pt x="596" y="870"/>
                    <a:pt x="513" y="870"/>
                  </a:cubicBezTo>
                  <a:cubicBezTo>
                    <a:pt x="406" y="870"/>
                    <a:pt x="334" y="775"/>
                    <a:pt x="334" y="691"/>
                  </a:cubicBezTo>
                  <a:lnTo>
                    <a:pt x="334" y="513"/>
                  </a:lnTo>
                  <a:cubicBezTo>
                    <a:pt x="334" y="406"/>
                    <a:pt x="418" y="334"/>
                    <a:pt x="513" y="334"/>
                  </a:cubicBezTo>
                  <a:close/>
                  <a:moveTo>
                    <a:pt x="513" y="1"/>
                  </a:moveTo>
                  <a:cubicBezTo>
                    <a:pt x="227" y="1"/>
                    <a:pt x="1" y="227"/>
                    <a:pt x="1" y="501"/>
                  </a:cubicBezTo>
                  <a:lnTo>
                    <a:pt x="1" y="680"/>
                  </a:lnTo>
                  <a:cubicBezTo>
                    <a:pt x="1" y="965"/>
                    <a:pt x="227" y="1192"/>
                    <a:pt x="513" y="1192"/>
                  </a:cubicBezTo>
                  <a:cubicBezTo>
                    <a:pt x="787" y="1192"/>
                    <a:pt x="1013" y="965"/>
                    <a:pt x="1013" y="680"/>
                  </a:cubicBezTo>
                  <a:lnTo>
                    <a:pt x="1013" y="501"/>
                  </a:lnTo>
                  <a:cubicBezTo>
                    <a:pt x="1013" y="239"/>
                    <a:pt x="775"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0" name="Google Shape;12880;p63"/>
            <p:cNvSpPr/>
            <p:nvPr/>
          </p:nvSpPr>
          <p:spPr>
            <a:xfrm>
              <a:off x="7652429" y="2030994"/>
              <a:ext cx="32416" cy="38144"/>
            </a:xfrm>
            <a:custGeom>
              <a:avLst/>
              <a:gdLst/>
              <a:ahLst/>
              <a:cxnLst/>
              <a:rect l="l" t="t" r="r" b="b"/>
              <a:pathLst>
                <a:path w="1013" h="1192" extrusionOk="0">
                  <a:moveTo>
                    <a:pt x="524" y="334"/>
                  </a:moveTo>
                  <a:cubicBezTo>
                    <a:pt x="632" y="334"/>
                    <a:pt x="703" y="418"/>
                    <a:pt x="703" y="513"/>
                  </a:cubicBezTo>
                  <a:lnTo>
                    <a:pt x="703" y="691"/>
                  </a:lnTo>
                  <a:cubicBezTo>
                    <a:pt x="703" y="787"/>
                    <a:pt x="608" y="870"/>
                    <a:pt x="524" y="870"/>
                  </a:cubicBezTo>
                  <a:cubicBezTo>
                    <a:pt x="417" y="870"/>
                    <a:pt x="346" y="775"/>
                    <a:pt x="346" y="691"/>
                  </a:cubicBezTo>
                  <a:lnTo>
                    <a:pt x="346" y="513"/>
                  </a:lnTo>
                  <a:cubicBezTo>
                    <a:pt x="346" y="406"/>
                    <a:pt x="429" y="334"/>
                    <a:pt x="524" y="334"/>
                  </a:cubicBezTo>
                  <a:close/>
                  <a:moveTo>
                    <a:pt x="512" y="1"/>
                  </a:moveTo>
                  <a:cubicBezTo>
                    <a:pt x="227" y="1"/>
                    <a:pt x="0" y="227"/>
                    <a:pt x="0" y="501"/>
                  </a:cubicBezTo>
                  <a:lnTo>
                    <a:pt x="0" y="680"/>
                  </a:lnTo>
                  <a:cubicBezTo>
                    <a:pt x="0" y="965"/>
                    <a:pt x="227" y="1192"/>
                    <a:pt x="512" y="1192"/>
                  </a:cubicBezTo>
                  <a:cubicBezTo>
                    <a:pt x="786" y="1192"/>
                    <a:pt x="1013" y="965"/>
                    <a:pt x="1013" y="680"/>
                  </a:cubicBezTo>
                  <a:lnTo>
                    <a:pt x="1013" y="501"/>
                  </a:lnTo>
                  <a:cubicBezTo>
                    <a:pt x="1013" y="239"/>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1" name="Google Shape;12881;p63"/>
            <p:cNvSpPr/>
            <p:nvPr/>
          </p:nvSpPr>
          <p:spPr>
            <a:xfrm>
              <a:off x="7435629" y="1964690"/>
              <a:ext cx="367712" cy="353248"/>
            </a:xfrm>
            <a:custGeom>
              <a:avLst/>
              <a:gdLst/>
              <a:ahLst/>
              <a:cxnLst/>
              <a:rect l="l" t="t" r="r" b="b"/>
              <a:pathLst>
                <a:path w="11491" h="11039" extrusionOk="0">
                  <a:moveTo>
                    <a:pt x="572" y="2549"/>
                  </a:moveTo>
                  <a:lnTo>
                    <a:pt x="572" y="2549"/>
                  </a:lnTo>
                  <a:cubicBezTo>
                    <a:pt x="1418" y="3275"/>
                    <a:pt x="2323" y="3692"/>
                    <a:pt x="2715" y="3847"/>
                  </a:cubicBezTo>
                  <a:cubicBezTo>
                    <a:pt x="2668" y="3990"/>
                    <a:pt x="2596" y="4121"/>
                    <a:pt x="2501" y="4240"/>
                  </a:cubicBezTo>
                  <a:cubicBezTo>
                    <a:pt x="2394" y="4395"/>
                    <a:pt x="2311" y="4537"/>
                    <a:pt x="2215" y="4704"/>
                  </a:cubicBezTo>
                  <a:cubicBezTo>
                    <a:pt x="2181" y="4706"/>
                    <a:pt x="2147" y="4706"/>
                    <a:pt x="2113" y="4706"/>
                  </a:cubicBezTo>
                  <a:cubicBezTo>
                    <a:pt x="1579" y="4706"/>
                    <a:pt x="1163" y="4529"/>
                    <a:pt x="894" y="4204"/>
                  </a:cubicBezTo>
                  <a:cubicBezTo>
                    <a:pt x="501" y="3692"/>
                    <a:pt x="525" y="2954"/>
                    <a:pt x="572" y="2549"/>
                  </a:cubicBezTo>
                  <a:close/>
                  <a:moveTo>
                    <a:pt x="5730" y="346"/>
                  </a:moveTo>
                  <a:cubicBezTo>
                    <a:pt x="5745" y="346"/>
                    <a:pt x="5760" y="346"/>
                    <a:pt x="5775" y="346"/>
                  </a:cubicBezTo>
                  <a:cubicBezTo>
                    <a:pt x="7037" y="382"/>
                    <a:pt x="8133" y="1347"/>
                    <a:pt x="8288" y="2597"/>
                  </a:cubicBezTo>
                  <a:cubicBezTo>
                    <a:pt x="8323" y="2787"/>
                    <a:pt x="8323" y="2978"/>
                    <a:pt x="8311" y="3180"/>
                  </a:cubicBezTo>
                  <a:cubicBezTo>
                    <a:pt x="8276" y="3514"/>
                    <a:pt x="8347" y="3859"/>
                    <a:pt x="8502" y="4192"/>
                  </a:cubicBezTo>
                  <a:cubicBezTo>
                    <a:pt x="8536" y="4244"/>
                    <a:pt x="8589" y="4283"/>
                    <a:pt x="8652" y="4283"/>
                  </a:cubicBezTo>
                  <a:cubicBezTo>
                    <a:pt x="8676" y="4283"/>
                    <a:pt x="8702" y="4277"/>
                    <a:pt x="8728" y="4264"/>
                  </a:cubicBezTo>
                  <a:cubicBezTo>
                    <a:pt x="8800" y="4216"/>
                    <a:pt x="8847" y="4133"/>
                    <a:pt x="8800" y="4037"/>
                  </a:cubicBezTo>
                  <a:cubicBezTo>
                    <a:pt x="8764" y="3978"/>
                    <a:pt x="8752" y="3930"/>
                    <a:pt x="8728" y="3871"/>
                  </a:cubicBezTo>
                  <a:cubicBezTo>
                    <a:pt x="9109" y="3716"/>
                    <a:pt x="10014" y="3299"/>
                    <a:pt x="10871" y="2585"/>
                  </a:cubicBezTo>
                  <a:lnTo>
                    <a:pt x="10871" y="2585"/>
                  </a:lnTo>
                  <a:cubicBezTo>
                    <a:pt x="10943" y="2954"/>
                    <a:pt x="10978" y="3692"/>
                    <a:pt x="10574" y="4204"/>
                  </a:cubicBezTo>
                  <a:cubicBezTo>
                    <a:pt x="10288" y="4549"/>
                    <a:pt x="9835" y="4728"/>
                    <a:pt x="9240" y="4728"/>
                  </a:cubicBezTo>
                  <a:cubicBezTo>
                    <a:pt x="9216" y="4680"/>
                    <a:pt x="9181" y="4621"/>
                    <a:pt x="9169" y="4573"/>
                  </a:cubicBezTo>
                  <a:cubicBezTo>
                    <a:pt x="9144" y="4524"/>
                    <a:pt x="9086" y="4492"/>
                    <a:pt x="9025" y="4492"/>
                  </a:cubicBezTo>
                  <a:cubicBezTo>
                    <a:pt x="8997" y="4492"/>
                    <a:pt x="8969" y="4499"/>
                    <a:pt x="8942" y="4514"/>
                  </a:cubicBezTo>
                  <a:cubicBezTo>
                    <a:pt x="8871" y="4561"/>
                    <a:pt x="8847" y="4668"/>
                    <a:pt x="8883" y="4740"/>
                  </a:cubicBezTo>
                  <a:cubicBezTo>
                    <a:pt x="9169" y="5228"/>
                    <a:pt x="9335" y="5800"/>
                    <a:pt x="9359" y="6371"/>
                  </a:cubicBezTo>
                  <a:lnTo>
                    <a:pt x="8680" y="6716"/>
                  </a:lnTo>
                  <a:lnTo>
                    <a:pt x="7728" y="6073"/>
                  </a:lnTo>
                  <a:cubicBezTo>
                    <a:pt x="7704" y="6059"/>
                    <a:pt x="7675" y="6053"/>
                    <a:pt x="7645" y="6053"/>
                  </a:cubicBezTo>
                  <a:cubicBezTo>
                    <a:pt x="7599" y="6053"/>
                    <a:pt x="7550" y="6068"/>
                    <a:pt x="7514" y="6097"/>
                  </a:cubicBezTo>
                  <a:lnTo>
                    <a:pt x="7335" y="6276"/>
                  </a:lnTo>
                  <a:cubicBezTo>
                    <a:pt x="7276" y="6335"/>
                    <a:pt x="7276" y="6431"/>
                    <a:pt x="7335" y="6490"/>
                  </a:cubicBezTo>
                  <a:cubicBezTo>
                    <a:pt x="7365" y="6520"/>
                    <a:pt x="7407" y="6535"/>
                    <a:pt x="7448" y="6535"/>
                  </a:cubicBezTo>
                  <a:cubicBezTo>
                    <a:pt x="7490" y="6535"/>
                    <a:pt x="7532" y="6520"/>
                    <a:pt x="7561" y="6490"/>
                  </a:cubicBezTo>
                  <a:lnTo>
                    <a:pt x="7633" y="6419"/>
                  </a:lnTo>
                  <a:lnTo>
                    <a:pt x="8561" y="7026"/>
                  </a:lnTo>
                  <a:cubicBezTo>
                    <a:pt x="8585" y="7050"/>
                    <a:pt x="8621" y="7062"/>
                    <a:pt x="8645" y="7062"/>
                  </a:cubicBezTo>
                  <a:cubicBezTo>
                    <a:pt x="8680" y="7062"/>
                    <a:pt x="8692" y="7062"/>
                    <a:pt x="8728" y="7050"/>
                  </a:cubicBezTo>
                  <a:lnTo>
                    <a:pt x="9871" y="6478"/>
                  </a:lnTo>
                  <a:lnTo>
                    <a:pt x="9871" y="6573"/>
                  </a:lnTo>
                  <a:cubicBezTo>
                    <a:pt x="9871" y="8859"/>
                    <a:pt x="8014" y="10717"/>
                    <a:pt x="5716" y="10717"/>
                  </a:cubicBezTo>
                  <a:cubicBezTo>
                    <a:pt x="3430" y="10717"/>
                    <a:pt x="1561" y="8859"/>
                    <a:pt x="1561" y="6573"/>
                  </a:cubicBezTo>
                  <a:cubicBezTo>
                    <a:pt x="1561" y="6454"/>
                    <a:pt x="1561" y="6335"/>
                    <a:pt x="1584" y="6216"/>
                  </a:cubicBezTo>
                  <a:lnTo>
                    <a:pt x="2180" y="6704"/>
                  </a:lnTo>
                  <a:cubicBezTo>
                    <a:pt x="2209" y="6728"/>
                    <a:pt x="2242" y="6740"/>
                    <a:pt x="2275" y="6740"/>
                  </a:cubicBezTo>
                  <a:cubicBezTo>
                    <a:pt x="2308" y="6740"/>
                    <a:pt x="2340" y="6728"/>
                    <a:pt x="2370" y="6704"/>
                  </a:cubicBezTo>
                  <a:lnTo>
                    <a:pt x="2954" y="6276"/>
                  </a:lnTo>
                  <a:lnTo>
                    <a:pt x="4263" y="7585"/>
                  </a:lnTo>
                  <a:cubicBezTo>
                    <a:pt x="4287" y="7609"/>
                    <a:pt x="4335" y="7621"/>
                    <a:pt x="4382" y="7621"/>
                  </a:cubicBezTo>
                  <a:cubicBezTo>
                    <a:pt x="4418" y="7621"/>
                    <a:pt x="4466" y="7609"/>
                    <a:pt x="4501" y="7585"/>
                  </a:cubicBezTo>
                  <a:lnTo>
                    <a:pt x="5394" y="6645"/>
                  </a:lnTo>
                  <a:lnTo>
                    <a:pt x="6311" y="7562"/>
                  </a:lnTo>
                  <a:cubicBezTo>
                    <a:pt x="6341" y="7591"/>
                    <a:pt x="6383" y="7606"/>
                    <a:pt x="6424" y="7606"/>
                  </a:cubicBezTo>
                  <a:cubicBezTo>
                    <a:pt x="6466" y="7606"/>
                    <a:pt x="6508" y="7591"/>
                    <a:pt x="6537" y="7562"/>
                  </a:cubicBezTo>
                  <a:lnTo>
                    <a:pt x="7061" y="7050"/>
                  </a:lnTo>
                  <a:cubicBezTo>
                    <a:pt x="7121" y="6990"/>
                    <a:pt x="7121" y="6883"/>
                    <a:pt x="7061" y="6823"/>
                  </a:cubicBezTo>
                  <a:cubicBezTo>
                    <a:pt x="7031" y="6794"/>
                    <a:pt x="6990" y="6779"/>
                    <a:pt x="6948" y="6779"/>
                  </a:cubicBezTo>
                  <a:cubicBezTo>
                    <a:pt x="6906" y="6779"/>
                    <a:pt x="6865" y="6794"/>
                    <a:pt x="6835" y="6823"/>
                  </a:cubicBezTo>
                  <a:lnTo>
                    <a:pt x="6430" y="7228"/>
                  </a:lnTo>
                  <a:lnTo>
                    <a:pt x="5513" y="6300"/>
                  </a:lnTo>
                  <a:cubicBezTo>
                    <a:pt x="5478" y="6276"/>
                    <a:pt x="5430" y="6252"/>
                    <a:pt x="5394" y="6252"/>
                  </a:cubicBezTo>
                  <a:cubicBezTo>
                    <a:pt x="5347" y="6252"/>
                    <a:pt x="5299" y="6276"/>
                    <a:pt x="5275" y="6300"/>
                  </a:cubicBezTo>
                  <a:lnTo>
                    <a:pt x="4382" y="7240"/>
                  </a:lnTo>
                  <a:lnTo>
                    <a:pt x="3085" y="5942"/>
                  </a:lnTo>
                  <a:cubicBezTo>
                    <a:pt x="3053" y="5911"/>
                    <a:pt x="3012" y="5896"/>
                    <a:pt x="2971" y="5896"/>
                  </a:cubicBezTo>
                  <a:cubicBezTo>
                    <a:pt x="2934" y="5896"/>
                    <a:pt x="2898" y="5908"/>
                    <a:pt x="2870" y="5931"/>
                  </a:cubicBezTo>
                  <a:lnTo>
                    <a:pt x="2275" y="6371"/>
                  </a:lnTo>
                  <a:lnTo>
                    <a:pt x="2096" y="6228"/>
                  </a:lnTo>
                  <a:cubicBezTo>
                    <a:pt x="2156" y="5585"/>
                    <a:pt x="2382" y="4990"/>
                    <a:pt x="2751" y="4466"/>
                  </a:cubicBezTo>
                  <a:cubicBezTo>
                    <a:pt x="3025" y="4085"/>
                    <a:pt x="3156" y="3621"/>
                    <a:pt x="3132" y="3133"/>
                  </a:cubicBezTo>
                  <a:lnTo>
                    <a:pt x="3132" y="2954"/>
                  </a:lnTo>
                  <a:cubicBezTo>
                    <a:pt x="3132" y="2251"/>
                    <a:pt x="3406" y="1585"/>
                    <a:pt x="3906" y="1097"/>
                  </a:cubicBezTo>
                  <a:cubicBezTo>
                    <a:pt x="4395" y="607"/>
                    <a:pt x="5044" y="346"/>
                    <a:pt x="5730" y="346"/>
                  </a:cubicBezTo>
                  <a:close/>
                  <a:moveTo>
                    <a:pt x="5778" y="1"/>
                  </a:moveTo>
                  <a:cubicBezTo>
                    <a:pt x="5008" y="1"/>
                    <a:pt x="4264" y="298"/>
                    <a:pt x="3716" y="835"/>
                  </a:cubicBezTo>
                  <a:cubicBezTo>
                    <a:pt x="3144" y="1394"/>
                    <a:pt x="2835" y="2132"/>
                    <a:pt x="2835" y="2918"/>
                  </a:cubicBezTo>
                  <a:lnTo>
                    <a:pt x="2835" y="3121"/>
                  </a:lnTo>
                  <a:cubicBezTo>
                    <a:pt x="2846" y="3252"/>
                    <a:pt x="2835" y="3394"/>
                    <a:pt x="2823" y="3537"/>
                  </a:cubicBezTo>
                  <a:cubicBezTo>
                    <a:pt x="2382" y="3359"/>
                    <a:pt x="1430" y="2906"/>
                    <a:pt x="584" y="2121"/>
                  </a:cubicBezTo>
                  <a:cubicBezTo>
                    <a:pt x="552" y="2089"/>
                    <a:pt x="515" y="2073"/>
                    <a:pt x="484" y="2073"/>
                  </a:cubicBezTo>
                  <a:cubicBezTo>
                    <a:pt x="468" y="2073"/>
                    <a:pt x="453" y="2077"/>
                    <a:pt x="441" y="2085"/>
                  </a:cubicBezTo>
                  <a:cubicBezTo>
                    <a:pt x="382" y="2109"/>
                    <a:pt x="334" y="2144"/>
                    <a:pt x="334" y="2204"/>
                  </a:cubicBezTo>
                  <a:cubicBezTo>
                    <a:pt x="322" y="2263"/>
                    <a:pt x="1" y="3573"/>
                    <a:pt x="679" y="4407"/>
                  </a:cubicBezTo>
                  <a:cubicBezTo>
                    <a:pt x="989" y="4811"/>
                    <a:pt x="1477" y="5026"/>
                    <a:pt x="2096" y="5049"/>
                  </a:cubicBezTo>
                  <a:cubicBezTo>
                    <a:pt x="1989" y="5347"/>
                    <a:pt x="1894" y="5657"/>
                    <a:pt x="1846" y="5978"/>
                  </a:cubicBezTo>
                  <a:lnTo>
                    <a:pt x="1584" y="5752"/>
                  </a:lnTo>
                  <a:cubicBezTo>
                    <a:pt x="1553" y="5720"/>
                    <a:pt x="1516" y="5710"/>
                    <a:pt x="1477" y="5710"/>
                  </a:cubicBezTo>
                  <a:cubicBezTo>
                    <a:pt x="1457" y="5710"/>
                    <a:pt x="1438" y="5712"/>
                    <a:pt x="1418" y="5716"/>
                  </a:cubicBezTo>
                  <a:cubicBezTo>
                    <a:pt x="1358" y="5752"/>
                    <a:pt x="1334" y="5800"/>
                    <a:pt x="1311" y="5859"/>
                  </a:cubicBezTo>
                  <a:cubicBezTo>
                    <a:pt x="1299" y="6097"/>
                    <a:pt x="1287" y="6335"/>
                    <a:pt x="1287" y="6550"/>
                  </a:cubicBezTo>
                  <a:cubicBezTo>
                    <a:pt x="1287" y="9026"/>
                    <a:pt x="3287" y="11038"/>
                    <a:pt x="5763" y="11038"/>
                  </a:cubicBezTo>
                  <a:cubicBezTo>
                    <a:pt x="8228" y="11038"/>
                    <a:pt x="10240" y="9026"/>
                    <a:pt x="10240" y="6550"/>
                  </a:cubicBezTo>
                  <a:lnTo>
                    <a:pt x="10240" y="6192"/>
                  </a:lnTo>
                  <a:cubicBezTo>
                    <a:pt x="10240" y="6115"/>
                    <a:pt x="10179" y="6048"/>
                    <a:pt x="10094" y="6048"/>
                  </a:cubicBezTo>
                  <a:cubicBezTo>
                    <a:pt x="10087" y="6048"/>
                    <a:pt x="10081" y="6049"/>
                    <a:pt x="10074" y="6050"/>
                  </a:cubicBezTo>
                  <a:cubicBezTo>
                    <a:pt x="10050" y="6050"/>
                    <a:pt x="10014" y="6061"/>
                    <a:pt x="9990" y="6073"/>
                  </a:cubicBezTo>
                  <a:lnTo>
                    <a:pt x="9728" y="6216"/>
                  </a:lnTo>
                  <a:cubicBezTo>
                    <a:pt x="9693" y="5811"/>
                    <a:pt x="9585" y="5407"/>
                    <a:pt x="9442" y="5038"/>
                  </a:cubicBezTo>
                  <a:cubicBezTo>
                    <a:pt x="10074" y="5002"/>
                    <a:pt x="10550" y="4799"/>
                    <a:pt x="10871" y="4395"/>
                  </a:cubicBezTo>
                  <a:cubicBezTo>
                    <a:pt x="11490" y="3573"/>
                    <a:pt x="11181" y="2251"/>
                    <a:pt x="11169" y="2204"/>
                  </a:cubicBezTo>
                  <a:cubicBezTo>
                    <a:pt x="11157" y="2144"/>
                    <a:pt x="11109" y="2109"/>
                    <a:pt x="11062" y="2085"/>
                  </a:cubicBezTo>
                  <a:cubicBezTo>
                    <a:pt x="11047" y="2082"/>
                    <a:pt x="11032" y="2080"/>
                    <a:pt x="11018" y="2080"/>
                  </a:cubicBezTo>
                  <a:cubicBezTo>
                    <a:pt x="10975" y="2080"/>
                    <a:pt x="10937" y="2094"/>
                    <a:pt x="10919" y="2121"/>
                  </a:cubicBezTo>
                  <a:cubicBezTo>
                    <a:pt x="10062" y="2906"/>
                    <a:pt x="9097" y="3359"/>
                    <a:pt x="8680" y="3537"/>
                  </a:cubicBezTo>
                  <a:cubicBezTo>
                    <a:pt x="8669" y="3418"/>
                    <a:pt x="8645" y="3299"/>
                    <a:pt x="8669" y="3180"/>
                  </a:cubicBezTo>
                  <a:cubicBezTo>
                    <a:pt x="8680" y="2966"/>
                    <a:pt x="8680" y="2740"/>
                    <a:pt x="8657" y="2537"/>
                  </a:cubicBezTo>
                  <a:cubicBezTo>
                    <a:pt x="8454" y="1120"/>
                    <a:pt x="7240" y="37"/>
                    <a:pt x="5823" y="1"/>
                  </a:cubicBezTo>
                  <a:cubicBezTo>
                    <a:pt x="5808" y="1"/>
                    <a:pt x="5793" y="1"/>
                    <a:pt x="57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2" name="Google Shape;12882;p63"/>
          <p:cNvGrpSpPr/>
          <p:nvPr/>
        </p:nvGrpSpPr>
        <p:grpSpPr>
          <a:xfrm>
            <a:off x="2512749" y="1965042"/>
            <a:ext cx="333024" cy="352896"/>
            <a:chOff x="2512749" y="1965042"/>
            <a:chExt cx="333024" cy="352896"/>
          </a:xfrm>
        </p:grpSpPr>
        <p:sp>
          <p:nvSpPr>
            <p:cNvPr id="12883" name="Google Shape;12883;p63"/>
            <p:cNvSpPr/>
            <p:nvPr/>
          </p:nvSpPr>
          <p:spPr>
            <a:xfrm>
              <a:off x="2590829" y="2129682"/>
              <a:ext cx="49568" cy="60224"/>
            </a:xfrm>
            <a:custGeom>
              <a:avLst/>
              <a:gdLst/>
              <a:ahLst/>
              <a:cxnLst/>
              <a:rect l="l" t="t" r="r" b="b"/>
              <a:pathLst>
                <a:path w="1549" h="1882" extrusionOk="0">
                  <a:moveTo>
                    <a:pt x="775" y="1"/>
                  </a:moveTo>
                  <a:cubicBezTo>
                    <a:pt x="358" y="1"/>
                    <a:pt x="1" y="346"/>
                    <a:pt x="1" y="775"/>
                  </a:cubicBezTo>
                  <a:lnTo>
                    <a:pt x="1" y="1120"/>
                  </a:lnTo>
                  <a:cubicBezTo>
                    <a:pt x="1" y="1537"/>
                    <a:pt x="346" y="1882"/>
                    <a:pt x="775" y="1882"/>
                  </a:cubicBezTo>
                  <a:cubicBezTo>
                    <a:pt x="1203" y="1882"/>
                    <a:pt x="1549" y="1548"/>
                    <a:pt x="1549" y="1120"/>
                  </a:cubicBezTo>
                  <a:lnTo>
                    <a:pt x="1549" y="775"/>
                  </a:lnTo>
                  <a:cubicBezTo>
                    <a:pt x="1537" y="667"/>
                    <a:pt x="1525" y="548"/>
                    <a:pt x="1465" y="441"/>
                  </a:cubicBezTo>
                  <a:cubicBezTo>
                    <a:pt x="1431" y="390"/>
                    <a:pt x="1372" y="351"/>
                    <a:pt x="1315" y="351"/>
                  </a:cubicBezTo>
                  <a:cubicBezTo>
                    <a:pt x="1293" y="351"/>
                    <a:pt x="1271" y="356"/>
                    <a:pt x="1251" y="370"/>
                  </a:cubicBezTo>
                  <a:cubicBezTo>
                    <a:pt x="1180" y="417"/>
                    <a:pt x="1132" y="501"/>
                    <a:pt x="1180" y="584"/>
                  </a:cubicBezTo>
                  <a:cubicBezTo>
                    <a:pt x="1203" y="644"/>
                    <a:pt x="1227" y="703"/>
                    <a:pt x="1227" y="775"/>
                  </a:cubicBezTo>
                  <a:lnTo>
                    <a:pt x="1227" y="1120"/>
                  </a:lnTo>
                  <a:cubicBezTo>
                    <a:pt x="1227" y="1358"/>
                    <a:pt x="1025" y="1560"/>
                    <a:pt x="775" y="1560"/>
                  </a:cubicBezTo>
                  <a:cubicBezTo>
                    <a:pt x="525" y="1560"/>
                    <a:pt x="334" y="1370"/>
                    <a:pt x="334" y="1120"/>
                  </a:cubicBezTo>
                  <a:lnTo>
                    <a:pt x="334" y="775"/>
                  </a:lnTo>
                  <a:cubicBezTo>
                    <a:pt x="334" y="536"/>
                    <a:pt x="525" y="322"/>
                    <a:pt x="775" y="322"/>
                  </a:cubicBezTo>
                  <a:cubicBezTo>
                    <a:pt x="870" y="322"/>
                    <a:pt x="942" y="251"/>
                    <a:pt x="942" y="167"/>
                  </a:cubicBezTo>
                  <a:cubicBezTo>
                    <a:pt x="942" y="72"/>
                    <a:pt x="870" y="1"/>
                    <a:pt x="7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4" name="Google Shape;12884;p63"/>
            <p:cNvSpPr/>
            <p:nvPr/>
          </p:nvSpPr>
          <p:spPr>
            <a:xfrm>
              <a:off x="2718477" y="2129682"/>
              <a:ext cx="49568" cy="60224"/>
            </a:xfrm>
            <a:custGeom>
              <a:avLst/>
              <a:gdLst/>
              <a:ahLst/>
              <a:cxnLst/>
              <a:rect l="l" t="t" r="r" b="b"/>
              <a:pathLst>
                <a:path w="1549" h="1882" extrusionOk="0">
                  <a:moveTo>
                    <a:pt x="774" y="1"/>
                  </a:moveTo>
                  <a:cubicBezTo>
                    <a:pt x="358" y="1"/>
                    <a:pt x="1" y="346"/>
                    <a:pt x="1" y="775"/>
                  </a:cubicBezTo>
                  <a:lnTo>
                    <a:pt x="1" y="1120"/>
                  </a:lnTo>
                  <a:cubicBezTo>
                    <a:pt x="1" y="1537"/>
                    <a:pt x="346" y="1882"/>
                    <a:pt x="774" y="1882"/>
                  </a:cubicBezTo>
                  <a:cubicBezTo>
                    <a:pt x="1191" y="1882"/>
                    <a:pt x="1548" y="1548"/>
                    <a:pt x="1548" y="1120"/>
                  </a:cubicBezTo>
                  <a:lnTo>
                    <a:pt x="1548" y="775"/>
                  </a:lnTo>
                  <a:cubicBezTo>
                    <a:pt x="1536" y="667"/>
                    <a:pt x="1501" y="548"/>
                    <a:pt x="1465" y="441"/>
                  </a:cubicBezTo>
                  <a:cubicBezTo>
                    <a:pt x="1431" y="390"/>
                    <a:pt x="1372" y="351"/>
                    <a:pt x="1315" y="351"/>
                  </a:cubicBezTo>
                  <a:cubicBezTo>
                    <a:pt x="1292" y="351"/>
                    <a:pt x="1271" y="356"/>
                    <a:pt x="1251" y="370"/>
                  </a:cubicBezTo>
                  <a:cubicBezTo>
                    <a:pt x="1179" y="417"/>
                    <a:pt x="1132" y="501"/>
                    <a:pt x="1179" y="584"/>
                  </a:cubicBezTo>
                  <a:cubicBezTo>
                    <a:pt x="1203" y="644"/>
                    <a:pt x="1215" y="703"/>
                    <a:pt x="1215" y="775"/>
                  </a:cubicBezTo>
                  <a:lnTo>
                    <a:pt x="1215" y="1120"/>
                  </a:lnTo>
                  <a:cubicBezTo>
                    <a:pt x="1215" y="1358"/>
                    <a:pt x="1024" y="1560"/>
                    <a:pt x="774" y="1560"/>
                  </a:cubicBezTo>
                  <a:cubicBezTo>
                    <a:pt x="536" y="1560"/>
                    <a:pt x="322" y="1370"/>
                    <a:pt x="322" y="1120"/>
                  </a:cubicBezTo>
                  <a:lnTo>
                    <a:pt x="322" y="775"/>
                  </a:lnTo>
                  <a:cubicBezTo>
                    <a:pt x="322" y="536"/>
                    <a:pt x="524" y="322"/>
                    <a:pt x="774" y="322"/>
                  </a:cubicBezTo>
                  <a:cubicBezTo>
                    <a:pt x="870" y="322"/>
                    <a:pt x="941" y="251"/>
                    <a:pt x="941" y="167"/>
                  </a:cubicBezTo>
                  <a:cubicBezTo>
                    <a:pt x="941" y="72"/>
                    <a:pt x="870" y="1"/>
                    <a:pt x="7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5" name="Google Shape;12885;p63"/>
            <p:cNvSpPr/>
            <p:nvPr/>
          </p:nvSpPr>
          <p:spPr>
            <a:xfrm>
              <a:off x="2624365" y="2242994"/>
              <a:ext cx="110528" cy="52064"/>
            </a:xfrm>
            <a:custGeom>
              <a:avLst/>
              <a:gdLst/>
              <a:ahLst/>
              <a:cxnLst/>
              <a:rect l="l" t="t" r="r" b="b"/>
              <a:pathLst>
                <a:path w="3454" h="1627" extrusionOk="0">
                  <a:moveTo>
                    <a:pt x="1870" y="365"/>
                  </a:moveTo>
                  <a:cubicBezTo>
                    <a:pt x="1882" y="365"/>
                    <a:pt x="1882" y="389"/>
                    <a:pt x="1906" y="389"/>
                  </a:cubicBezTo>
                  <a:cubicBezTo>
                    <a:pt x="2001" y="460"/>
                    <a:pt x="2120" y="508"/>
                    <a:pt x="2239" y="555"/>
                  </a:cubicBezTo>
                  <a:lnTo>
                    <a:pt x="2239" y="793"/>
                  </a:lnTo>
                  <a:cubicBezTo>
                    <a:pt x="2239" y="1091"/>
                    <a:pt x="2001" y="1329"/>
                    <a:pt x="1703" y="1329"/>
                  </a:cubicBezTo>
                  <a:cubicBezTo>
                    <a:pt x="1406" y="1329"/>
                    <a:pt x="1168" y="1091"/>
                    <a:pt x="1168" y="793"/>
                  </a:cubicBezTo>
                  <a:lnTo>
                    <a:pt x="1168" y="555"/>
                  </a:lnTo>
                  <a:cubicBezTo>
                    <a:pt x="1287" y="520"/>
                    <a:pt x="1406" y="460"/>
                    <a:pt x="1513" y="389"/>
                  </a:cubicBezTo>
                  <a:cubicBezTo>
                    <a:pt x="1525" y="389"/>
                    <a:pt x="1525" y="365"/>
                    <a:pt x="1537" y="365"/>
                  </a:cubicBezTo>
                  <a:lnTo>
                    <a:pt x="1537" y="603"/>
                  </a:lnTo>
                  <a:cubicBezTo>
                    <a:pt x="1537" y="698"/>
                    <a:pt x="1620" y="770"/>
                    <a:pt x="1703" y="770"/>
                  </a:cubicBezTo>
                  <a:cubicBezTo>
                    <a:pt x="1799" y="770"/>
                    <a:pt x="1870" y="698"/>
                    <a:pt x="1870" y="603"/>
                  </a:cubicBezTo>
                  <a:lnTo>
                    <a:pt x="1870" y="365"/>
                  </a:lnTo>
                  <a:close/>
                  <a:moveTo>
                    <a:pt x="173" y="0"/>
                  </a:moveTo>
                  <a:cubicBezTo>
                    <a:pt x="132" y="0"/>
                    <a:pt x="91" y="18"/>
                    <a:pt x="60" y="55"/>
                  </a:cubicBezTo>
                  <a:cubicBezTo>
                    <a:pt x="1" y="115"/>
                    <a:pt x="1" y="222"/>
                    <a:pt x="72" y="282"/>
                  </a:cubicBezTo>
                  <a:cubicBezTo>
                    <a:pt x="298" y="472"/>
                    <a:pt x="572" y="591"/>
                    <a:pt x="870" y="591"/>
                  </a:cubicBezTo>
                  <a:lnTo>
                    <a:pt x="894" y="591"/>
                  </a:lnTo>
                  <a:lnTo>
                    <a:pt x="894" y="770"/>
                  </a:lnTo>
                  <a:cubicBezTo>
                    <a:pt x="894" y="1246"/>
                    <a:pt x="1275" y="1627"/>
                    <a:pt x="1739" y="1627"/>
                  </a:cubicBezTo>
                  <a:cubicBezTo>
                    <a:pt x="2203" y="1627"/>
                    <a:pt x="2584" y="1234"/>
                    <a:pt x="2584" y="770"/>
                  </a:cubicBezTo>
                  <a:lnTo>
                    <a:pt x="2584" y="591"/>
                  </a:lnTo>
                  <a:lnTo>
                    <a:pt x="2596" y="591"/>
                  </a:lnTo>
                  <a:cubicBezTo>
                    <a:pt x="2894" y="591"/>
                    <a:pt x="3180" y="496"/>
                    <a:pt x="3406" y="282"/>
                  </a:cubicBezTo>
                  <a:cubicBezTo>
                    <a:pt x="3454" y="234"/>
                    <a:pt x="3454" y="139"/>
                    <a:pt x="3394" y="55"/>
                  </a:cubicBezTo>
                  <a:cubicBezTo>
                    <a:pt x="3361" y="23"/>
                    <a:pt x="3314" y="4"/>
                    <a:pt x="3268" y="4"/>
                  </a:cubicBezTo>
                  <a:cubicBezTo>
                    <a:pt x="3231" y="4"/>
                    <a:pt x="3195" y="17"/>
                    <a:pt x="3168" y="43"/>
                  </a:cubicBezTo>
                  <a:cubicBezTo>
                    <a:pt x="3001" y="198"/>
                    <a:pt x="2799" y="270"/>
                    <a:pt x="2584" y="270"/>
                  </a:cubicBezTo>
                  <a:cubicBezTo>
                    <a:pt x="2406" y="270"/>
                    <a:pt x="2239" y="210"/>
                    <a:pt x="2096" y="115"/>
                  </a:cubicBezTo>
                  <a:cubicBezTo>
                    <a:pt x="1983" y="43"/>
                    <a:pt x="1852" y="8"/>
                    <a:pt x="1721" y="8"/>
                  </a:cubicBezTo>
                  <a:cubicBezTo>
                    <a:pt x="1590" y="8"/>
                    <a:pt x="1459" y="43"/>
                    <a:pt x="1346" y="115"/>
                  </a:cubicBezTo>
                  <a:cubicBezTo>
                    <a:pt x="1203" y="222"/>
                    <a:pt x="1037" y="270"/>
                    <a:pt x="858" y="270"/>
                  </a:cubicBezTo>
                  <a:cubicBezTo>
                    <a:pt x="656" y="270"/>
                    <a:pt x="441" y="198"/>
                    <a:pt x="275" y="43"/>
                  </a:cubicBezTo>
                  <a:cubicBezTo>
                    <a:pt x="246" y="15"/>
                    <a:pt x="210"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6" name="Google Shape;12886;p63"/>
            <p:cNvSpPr/>
            <p:nvPr/>
          </p:nvSpPr>
          <p:spPr>
            <a:xfrm>
              <a:off x="2654477" y="2194834"/>
              <a:ext cx="49184" cy="38144"/>
            </a:xfrm>
            <a:custGeom>
              <a:avLst/>
              <a:gdLst/>
              <a:ahLst/>
              <a:cxnLst/>
              <a:rect l="l" t="t" r="r" b="b"/>
              <a:pathLst>
                <a:path w="1537" h="1192" extrusionOk="0">
                  <a:moveTo>
                    <a:pt x="1131" y="346"/>
                  </a:moveTo>
                  <a:cubicBezTo>
                    <a:pt x="1155" y="346"/>
                    <a:pt x="1167" y="346"/>
                    <a:pt x="1167" y="358"/>
                  </a:cubicBezTo>
                  <a:cubicBezTo>
                    <a:pt x="1203" y="358"/>
                    <a:pt x="1203" y="370"/>
                    <a:pt x="1179" y="393"/>
                  </a:cubicBezTo>
                  <a:lnTo>
                    <a:pt x="798" y="870"/>
                  </a:lnTo>
                  <a:cubicBezTo>
                    <a:pt x="786" y="882"/>
                    <a:pt x="786" y="882"/>
                    <a:pt x="762" y="882"/>
                  </a:cubicBezTo>
                  <a:cubicBezTo>
                    <a:pt x="750" y="882"/>
                    <a:pt x="750" y="882"/>
                    <a:pt x="738" y="870"/>
                  </a:cubicBezTo>
                  <a:lnTo>
                    <a:pt x="346" y="393"/>
                  </a:lnTo>
                  <a:cubicBezTo>
                    <a:pt x="334" y="370"/>
                    <a:pt x="334" y="358"/>
                    <a:pt x="346" y="358"/>
                  </a:cubicBezTo>
                  <a:cubicBezTo>
                    <a:pt x="357" y="358"/>
                    <a:pt x="357" y="346"/>
                    <a:pt x="381" y="346"/>
                  </a:cubicBezTo>
                  <a:close/>
                  <a:moveTo>
                    <a:pt x="393" y="1"/>
                  </a:moveTo>
                  <a:cubicBezTo>
                    <a:pt x="262" y="1"/>
                    <a:pt x="131" y="72"/>
                    <a:pt x="60" y="215"/>
                  </a:cubicBezTo>
                  <a:cubicBezTo>
                    <a:pt x="0" y="334"/>
                    <a:pt x="24" y="477"/>
                    <a:pt x="107" y="584"/>
                  </a:cubicBezTo>
                  <a:lnTo>
                    <a:pt x="500" y="1060"/>
                  </a:lnTo>
                  <a:cubicBezTo>
                    <a:pt x="572" y="1144"/>
                    <a:pt x="655" y="1191"/>
                    <a:pt x="774" y="1191"/>
                  </a:cubicBezTo>
                  <a:cubicBezTo>
                    <a:pt x="881" y="1191"/>
                    <a:pt x="989" y="1144"/>
                    <a:pt x="1060" y="1060"/>
                  </a:cubicBezTo>
                  <a:lnTo>
                    <a:pt x="1453" y="584"/>
                  </a:lnTo>
                  <a:cubicBezTo>
                    <a:pt x="1524" y="477"/>
                    <a:pt x="1536" y="334"/>
                    <a:pt x="1477" y="215"/>
                  </a:cubicBezTo>
                  <a:cubicBezTo>
                    <a:pt x="1417" y="96"/>
                    <a:pt x="1298" y="1"/>
                    <a:pt x="1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7" name="Google Shape;12887;p63"/>
            <p:cNvSpPr/>
            <p:nvPr/>
          </p:nvSpPr>
          <p:spPr>
            <a:xfrm>
              <a:off x="2512749" y="1965042"/>
              <a:ext cx="333024" cy="352896"/>
            </a:xfrm>
            <a:custGeom>
              <a:avLst/>
              <a:gdLst/>
              <a:ahLst/>
              <a:cxnLst/>
              <a:rect l="l" t="t" r="r" b="b"/>
              <a:pathLst>
                <a:path w="10407" h="11028" extrusionOk="0">
                  <a:moveTo>
                    <a:pt x="1038" y="321"/>
                  </a:moveTo>
                  <a:cubicBezTo>
                    <a:pt x="1078" y="321"/>
                    <a:pt x="1119" y="335"/>
                    <a:pt x="1155" y="371"/>
                  </a:cubicBezTo>
                  <a:lnTo>
                    <a:pt x="3108" y="1955"/>
                  </a:lnTo>
                  <a:cubicBezTo>
                    <a:pt x="2881" y="2062"/>
                    <a:pt x="2667" y="2181"/>
                    <a:pt x="2441" y="2300"/>
                  </a:cubicBezTo>
                  <a:lnTo>
                    <a:pt x="846" y="502"/>
                  </a:lnTo>
                  <a:cubicBezTo>
                    <a:pt x="869" y="431"/>
                    <a:pt x="905" y="371"/>
                    <a:pt x="965" y="335"/>
                  </a:cubicBezTo>
                  <a:cubicBezTo>
                    <a:pt x="988" y="326"/>
                    <a:pt x="1012" y="321"/>
                    <a:pt x="1038" y="321"/>
                  </a:cubicBezTo>
                  <a:close/>
                  <a:moveTo>
                    <a:pt x="869" y="990"/>
                  </a:moveTo>
                  <a:lnTo>
                    <a:pt x="2191" y="2479"/>
                  </a:lnTo>
                  <a:cubicBezTo>
                    <a:pt x="2012" y="2610"/>
                    <a:pt x="1834" y="2752"/>
                    <a:pt x="1667" y="2907"/>
                  </a:cubicBezTo>
                  <a:cubicBezTo>
                    <a:pt x="1357" y="3205"/>
                    <a:pt x="1084" y="3538"/>
                    <a:pt x="869" y="3895"/>
                  </a:cubicBezTo>
                  <a:lnTo>
                    <a:pt x="869" y="990"/>
                  </a:lnTo>
                  <a:close/>
                  <a:moveTo>
                    <a:pt x="9373" y="324"/>
                  </a:moveTo>
                  <a:cubicBezTo>
                    <a:pt x="9394" y="324"/>
                    <a:pt x="9414" y="328"/>
                    <a:pt x="9430" y="335"/>
                  </a:cubicBezTo>
                  <a:cubicBezTo>
                    <a:pt x="9489" y="371"/>
                    <a:pt x="9537" y="431"/>
                    <a:pt x="9537" y="502"/>
                  </a:cubicBezTo>
                  <a:lnTo>
                    <a:pt x="9228" y="859"/>
                  </a:lnTo>
                  <a:cubicBezTo>
                    <a:pt x="9168" y="919"/>
                    <a:pt x="9168" y="1026"/>
                    <a:pt x="9239" y="1086"/>
                  </a:cubicBezTo>
                  <a:cubicBezTo>
                    <a:pt x="9275" y="1109"/>
                    <a:pt x="9323" y="1121"/>
                    <a:pt x="9347" y="1121"/>
                  </a:cubicBezTo>
                  <a:cubicBezTo>
                    <a:pt x="9394" y="1121"/>
                    <a:pt x="9442" y="1109"/>
                    <a:pt x="9466" y="1062"/>
                  </a:cubicBezTo>
                  <a:lnTo>
                    <a:pt x="9537" y="990"/>
                  </a:lnTo>
                  <a:lnTo>
                    <a:pt x="9537" y="3895"/>
                  </a:lnTo>
                  <a:cubicBezTo>
                    <a:pt x="9323" y="3538"/>
                    <a:pt x="9049" y="3205"/>
                    <a:pt x="8739" y="2907"/>
                  </a:cubicBezTo>
                  <a:cubicBezTo>
                    <a:pt x="8573" y="2764"/>
                    <a:pt x="8394" y="2610"/>
                    <a:pt x="8215" y="2479"/>
                  </a:cubicBezTo>
                  <a:lnTo>
                    <a:pt x="9001" y="1586"/>
                  </a:lnTo>
                  <a:cubicBezTo>
                    <a:pt x="9061" y="1526"/>
                    <a:pt x="9061" y="1419"/>
                    <a:pt x="8989" y="1359"/>
                  </a:cubicBezTo>
                  <a:cubicBezTo>
                    <a:pt x="8962" y="1332"/>
                    <a:pt x="8925" y="1317"/>
                    <a:pt x="8887" y="1317"/>
                  </a:cubicBezTo>
                  <a:cubicBezTo>
                    <a:pt x="8842" y="1317"/>
                    <a:pt x="8795" y="1338"/>
                    <a:pt x="8763" y="1383"/>
                  </a:cubicBezTo>
                  <a:lnTo>
                    <a:pt x="7942" y="2300"/>
                  </a:lnTo>
                  <a:cubicBezTo>
                    <a:pt x="7739" y="2169"/>
                    <a:pt x="7513" y="2050"/>
                    <a:pt x="7275" y="1955"/>
                  </a:cubicBezTo>
                  <a:lnTo>
                    <a:pt x="9239" y="371"/>
                  </a:lnTo>
                  <a:cubicBezTo>
                    <a:pt x="9279" y="339"/>
                    <a:pt x="9329" y="324"/>
                    <a:pt x="9373" y="324"/>
                  </a:cubicBezTo>
                  <a:close/>
                  <a:moveTo>
                    <a:pt x="5191" y="1859"/>
                  </a:moveTo>
                  <a:cubicBezTo>
                    <a:pt x="7787" y="1859"/>
                    <a:pt x="9882" y="3836"/>
                    <a:pt x="9882" y="6277"/>
                  </a:cubicBezTo>
                  <a:cubicBezTo>
                    <a:pt x="9882" y="6753"/>
                    <a:pt x="9811" y="7217"/>
                    <a:pt x="9656" y="7646"/>
                  </a:cubicBezTo>
                  <a:cubicBezTo>
                    <a:pt x="8940" y="7550"/>
                    <a:pt x="8096" y="7537"/>
                    <a:pt x="7673" y="7537"/>
                  </a:cubicBezTo>
                  <a:cubicBezTo>
                    <a:pt x="7520" y="7537"/>
                    <a:pt x="7422" y="7539"/>
                    <a:pt x="7406" y="7539"/>
                  </a:cubicBezTo>
                  <a:cubicBezTo>
                    <a:pt x="7323" y="7539"/>
                    <a:pt x="7251" y="7610"/>
                    <a:pt x="7251" y="7705"/>
                  </a:cubicBezTo>
                  <a:cubicBezTo>
                    <a:pt x="7251" y="7789"/>
                    <a:pt x="7323" y="7872"/>
                    <a:pt x="7406" y="7872"/>
                  </a:cubicBezTo>
                  <a:cubicBezTo>
                    <a:pt x="7415" y="7872"/>
                    <a:pt x="7581" y="7867"/>
                    <a:pt x="7836" y="7867"/>
                  </a:cubicBezTo>
                  <a:cubicBezTo>
                    <a:pt x="8260" y="7867"/>
                    <a:pt x="8930" y="7881"/>
                    <a:pt x="9525" y="7955"/>
                  </a:cubicBezTo>
                  <a:cubicBezTo>
                    <a:pt x="9418" y="8194"/>
                    <a:pt x="9287" y="8432"/>
                    <a:pt x="9156" y="8646"/>
                  </a:cubicBezTo>
                  <a:cubicBezTo>
                    <a:pt x="8204" y="8289"/>
                    <a:pt x="7203" y="8086"/>
                    <a:pt x="7156" y="8075"/>
                  </a:cubicBezTo>
                  <a:cubicBezTo>
                    <a:pt x="7149" y="8074"/>
                    <a:pt x="7141" y="8073"/>
                    <a:pt x="7134" y="8073"/>
                  </a:cubicBezTo>
                  <a:cubicBezTo>
                    <a:pt x="7057" y="8073"/>
                    <a:pt x="6976" y="8129"/>
                    <a:pt x="6965" y="8206"/>
                  </a:cubicBezTo>
                  <a:cubicBezTo>
                    <a:pt x="6953" y="8301"/>
                    <a:pt x="7013" y="8384"/>
                    <a:pt x="7096" y="8408"/>
                  </a:cubicBezTo>
                  <a:cubicBezTo>
                    <a:pt x="7120" y="8408"/>
                    <a:pt x="8049" y="8598"/>
                    <a:pt x="8966" y="8920"/>
                  </a:cubicBezTo>
                  <a:cubicBezTo>
                    <a:pt x="8108" y="10015"/>
                    <a:pt x="6739" y="10706"/>
                    <a:pt x="5191" y="10706"/>
                  </a:cubicBezTo>
                  <a:cubicBezTo>
                    <a:pt x="3667" y="10706"/>
                    <a:pt x="2298" y="10015"/>
                    <a:pt x="1429" y="8920"/>
                  </a:cubicBezTo>
                  <a:cubicBezTo>
                    <a:pt x="2334" y="8598"/>
                    <a:pt x="3274" y="8420"/>
                    <a:pt x="3286" y="8408"/>
                  </a:cubicBezTo>
                  <a:cubicBezTo>
                    <a:pt x="3382" y="8384"/>
                    <a:pt x="3441" y="8301"/>
                    <a:pt x="3429" y="8206"/>
                  </a:cubicBezTo>
                  <a:cubicBezTo>
                    <a:pt x="3407" y="8129"/>
                    <a:pt x="3336" y="8073"/>
                    <a:pt x="3251" y="8073"/>
                  </a:cubicBezTo>
                  <a:cubicBezTo>
                    <a:pt x="3243" y="8073"/>
                    <a:pt x="3235" y="8074"/>
                    <a:pt x="3227" y="8075"/>
                  </a:cubicBezTo>
                  <a:cubicBezTo>
                    <a:pt x="3167" y="8086"/>
                    <a:pt x="2191" y="8289"/>
                    <a:pt x="1238" y="8646"/>
                  </a:cubicBezTo>
                  <a:cubicBezTo>
                    <a:pt x="1084" y="8420"/>
                    <a:pt x="965" y="8194"/>
                    <a:pt x="869" y="7955"/>
                  </a:cubicBezTo>
                  <a:cubicBezTo>
                    <a:pt x="1465" y="7881"/>
                    <a:pt x="2134" y="7867"/>
                    <a:pt x="2556" y="7867"/>
                  </a:cubicBezTo>
                  <a:cubicBezTo>
                    <a:pt x="2809" y="7867"/>
                    <a:pt x="2972" y="7872"/>
                    <a:pt x="2977" y="7872"/>
                  </a:cubicBezTo>
                  <a:cubicBezTo>
                    <a:pt x="3072" y="7872"/>
                    <a:pt x="3143" y="7789"/>
                    <a:pt x="3143" y="7705"/>
                  </a:cubicBezTo>
                  <a:cubicBezTo>
                    <a:pt x="3143" y="7610"/>
                    <a:pt x="3072" y="7539"/>
                    <a:pt x="2977" y="7539"/>
                  </a:cubicBezTo>
                  <a:cubicBezTo>
                    <a:pt x="2961" y="7539"/>
                    <a:pt x="2865" y="7537"/>
                    <a:pt x="2713" y="7537"/>
                  </a:cubicBezTo>
                  <a:cubicBezTo>
                    <a:pt x="2296" y="7537"/>
                    <a:pt x="1460" y="7550"/>
                    <a:pt x="726" y="7646"/>
                  </a:cubicBezTo>
                  <a:cubicBezTo>
                    <a:pt x="584" y="7217"/>
                    <a:pt x="512" y="6753"/>
                    <a:pt x="512" y="6277"/>
                  </a:cubicBezTo>
                  <a:cubicBezTo>
                    <a:pt x="512" y="3836"/>
                    <a:pt x="2608" y="1859"/>
                    <a:pt x="5191" y="1859"/>
                  </a:cubicBezTo>
                  <a:close/>
                  <a:moveTo>
                    <a:pt x="1042" y="0"/>
                  </a:moveTo>
                  <a:cubicBezTo>
                    <a:pt x="968" y="0"/>
                    <a:pt x="893" y="17"/>
                    <a:pt x="822" y="50"/>
                  </a:cubicBezTo>
                  <a:cubicBezTo>
                    <a:pt x="643" y="145"/>
                    <a:pt x="536" y="324"/>
                    <a:pt x="536" y="514"/>
                  </a:cubicBezTo>
                  <a:lnTo>
                    <a:pt x="536" y="4538"/>
                  </a:lnTo>
                  <a:cubicBezTo>
                    <a:pt x="310" y="5086"/>
                    <a:pt x="191" y="5669"/>
                    <a:pt x="191" y="6277"/>
                  </a:cubicBezTo>
                  <a:cubicBezTo>
                    <a:pt x="191" y="6765"/>
                    <a:pt x="262" y="7241"/>
                    <a:pt x="417" y="7705"/>
                  </a:cubicBezTo>
                  <a:cubicBezTo>
                    <a:pt x="310" y="7717"/>
                    <a:pt x="226" y="7753"/>
                    <a:pt x="131" y="7765"/>
                  </a:cubicBezTo>
                  <a:cubicBezTo>
                    <a:pt x="48" y="7789"/>
                    <a:pt x="0" y="7884"/>
                    <a:pt x="12" y="7955"/>
                  </a:cubicBezTo>
                  <a:cubicBezTo>
                    <a:pt x="36" y="8027"/>
                    <a:pt x="107" y="8075"/>
                    <a:pt x="167" y="8075"/>
                  </a:cubicBezTo>
                  <a:lnTo>
                    <a:pt x="203" y="8075"/>
                  </a:lnTo>
                  <a:cubicBezTo>
                    <a:pt x="310" y="8051"/>
                    <a:pt x="417" y="8027"/>
                    <a:pt x="524" y="8003"/>
                  </a:cubicBezTo>
                  <a:cubicBezTo>
                    <a:pt x="631" y="8265"/>
                    <a:pt x="762" y="8527"/>
                    <a:pt x="929" y="8765"/>
                  </a:cubicBezTo>
                  <a:cubicBezTo>
                    <a:pt x="762" y="8837"/>
                    <a:pt x="595" y="8908"/>
                    <a:pt x="453" y="8979"/>
                  </a:cubicBezTo>
                  <a:cubicBezTo>
                    <a:pt x="369" y="9027"/>
                    <a:pt x="345" y="9122"/>
                    <a:pt x="369" y="9206"/>
                  </a:cubicBezTo>
                  <a:cubicBezTo>
                    <a:pt x="405" y="9265"/>
                    <a:pt x="465" y="9301"/>
                    <a:pt x="524" y="9301"/>
                  </a:cubicBezTo>
                  <a:cubicBezTo>
                    <a:pt x="548" y="9301"/>
                    <a:pt x="560" y="9301"/>
                    <a:pt x="595" y="9277"/>
                  </a:cubicBezTo>
                  <a:cubicBezTo>
                    <a:pt x="762" y="9194"/>
                    <a:pt x="941" y="9122"/>
                    <a:pt x="1119" y="9039"/>
                  </a:cubicBezTo>
                  <a:cubicBezTo>
                    <a:pt x="1286" y="9253"/>
                    <a:pt x="1453" y="9456"/>
                    <a:pt x="1655" y="9634"/>
                  </a:cubicBezTo>
                  <a:cubicBezTo>
                    <a:pt x="2608" y="10527"/>
                    <a:pt x="3858" y="11027"/>
                    <a:pt x="5191" y="11027"/>
                  </a:cubicBezTo>
                  <a:cubicBezTo>
                    <a:pt x="6537" y="11027"/>
                    <a:pt x="7787" y="10527"/>
                    <a:pt x="8739" y="9634"/>
                  </a:cubicBezTo>
                  <a:cubicBezTo>
                    <a:pt x="8930" y="9444"/>
                    <a:pt x="9108" y="9253"/>
                    <a:pt x="9275" y="9039"/>
                  </a:cubicBezTo>
                  <a:cubicBezTo>
                    <a:pt x="9454" y="9122"/>
                    <a:pt x="9632" y="9194"/>
                    <a:pt x="9787" y="9277"/>
                  </a:cubicBezTo>
                  <a:cubicBezTo>
                    <a:pt x="9823" y="9301"/>
                    <a:pt x="9835" y="9301"/>
                    <a:pt x="9870" y="9301"/>
                  </a:cubicBezTo>
                  <a:cubicBezTo>
                    <a:pt x="9930" y="9301"/>
                    <a:pt x="9990" y="9265"/>
                    <a:pt x="10013" y="9206"/>
                  </a:cubicBezTo>
                  <a:cubicBezTo>
                    <a:pt x="10061" y="9134"/>
                    <a:pt x="10025" y="9027"/>
                    <a:pt x="9942" y="8979"/>
                  </a:cubicBezTo>
                  <a:cubicBezTo>
                    <a:pt x="9787" y="8908"/>
                    <a:pt x="9632" y="8837"/>
                    <a:pt x="9466" y="8765"/>
                  </a:cubicBezTo>
                  <a:cubicBezTo>
                    <a:pt x="9632" y="8527"/>
                    <a:pt x="9763" y="8265"/>
                    <a:pt x="9870" y="8003"/>
                  </a:cubicBezTo>
                  <a:cubicBezTo>
                    <a:pt x="9978" y="8015"/>
                    <a:pt x="10073" y="8051"/>
                    <a:pt x="10180" y="8075"/>
                  </a:cubicBezTo>
                  <a:lnTo>
                    <a:pt x="10228" y="8075"/>
                  </a:lnTo>
                  <a:cubicBezTo>
                    <a:pt x="10299" y="8075"/>
                    <a:pt x="10359" y="8027"/>
                    <a:pt x="10371" y="7955"/>
                  </a:cubicBezTo>
                  <a:cubicBezTo>
                    <a:pt x="10406" y="7872"/>
                    <a:pt x="10347" y="7777"/>
                    <a:pt x="10275" y="7765"/>
                  </a:cubicBezTo>
                  <a:cubicBezTo>
                    <a:pt x="10180" y="7729"/>
                    <a:pt x="10085" y="7717"/>
                    <a:pt x="9990" y="7705"/>
                  </a:cubicBezTo>
                  <a:cubicBezTo>
                    <a:pt x="10132" y="7241"/>
                    <a:pt x="10216" y="6765"/>
                    <a:pt x="10216" y="6277"/>
                  </a:cubicBezTo>
                  <a:cubicBezTo>
                    <a:pt x="10216" y="5669"/>
                    <a:pt x="10097" y="5086"/>
                    <a:pt x="9870" y="4538"/>
                  </a:cubicBezTo>
                  <a:lnTo>
                    <a:pt x="9870" y="514"/>
                  </a:lnTo>
                  <a:cubicBezTo>
                    <a:pt x="9870" y="324"/>
                    <a:pt x="9763" y="145"/>
                    <a:pt x="9585" y="50"/>
                  </a:cubicBezTo>
                  <a:cubicBezTo>
                    <a:pt x="9514" y="17"/>
                    <a:pt x="9439" y="0"/>
                    <a:pt x="9365" y="0"/>
                  </a:cubicBezTo>
                  <a:cubicBezTo>
                    <a:pt x="9253" y="0"/>
                    <a:pt x="9142" y="38"/>
                    <a:pt x="9049" y="109"/>
                  </a:cubicBezTo>
                  <a:lnTo>
                    <a:pt x="6942" y="1812"/>
                  </a:lnTo>
                  <a:cubicBezTo>
                    <a:pt x="6382" y="1621"/>
                    <a:pt x="5810" y="1514"/>
                    <a:pt x="5191" y="1514"/>
                  </a:cubicBezTo>
                  <a:cubicBezTo>
                    <a:pt x="4584" y="1514"/>
                    <a:pt x="4001" y="1621"/>
                    <a:pt x="3453" y="1812"/>
                  </a:cubicBezTo>
                  <a:lnTo>
                    <a:pt x="1357" y="109"/>
                  </a:lnTo>
                  <a:cubicBezTo>
                    <a:pt x="1264" y="38"/>
                    <a:pt x="1154" y="0"/>
                    <a:pt x="10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88" name="Google Shape;12888;p63"/>
          <p:cNvGrpSpPr/>
          <p:nvPr/>
        </p:nvGrpSpPr>
        <p:grpSpPr>
          <a:xfrm>
            <a:off x="1398317" y="1981778"/>
            <a:ext cx="365792" cy="335392"/>
            <a:chOff x="1398317" y="1981778"/>
            <a:chExt cx="365792" cy="335392"/>
          </a:xfrm>
        </p:grpSpPr>
        <p:sp>
          <p:nvSpPr>
            <p:cNvPr id="12889" name="Google Shape;12889;p63"/>
            <p:cNvSpPr/>
            <p:nvPr/>
          </p:nvSpPr>
          <p:spPr>
            <a:xfrm>
              <a:off x="1398317" y="1981778"/>
              <a:ext cx="365792" cy="335392"/>
            </a:xfrm>
            <a:custGeom>
              <a:avLst/>
              <a:gdLst/>
              <a:ahLst/>
              <a:cxnLst/>
              <a:rect l="l" t="t" r="r" b="b"/>
              <a:pathLst>
                <a:path w="11431" h="10481" extrusionOk="0">
                  <a:moveTo>
                    <a:pt x="1882" y="717"/>
                  </a:moveTo>
                  <a:cubicBezTo>
                    <a:pt x="1905" y="801"/>
                    <a:pt x="1929" y="848"/>
                    <a:pt x="1965" y="932"/>
                  </a:cubicBezTo>
                  <a:cubicBezTo>
                    <a:pt x="2132" y="1277"/>
                    <a:pt x="2441" y="1706"/>
                    <a:pt x="3084" y="1944"/>
                  </a:cubicBezTo>
                  <a:cubicBezTo>
                    <a:pt x="2917" y="2146"/>
                    <a:pt x="2775" y="2372"/>
                    <a:pt x="2655" y="2610"/>
                  </a:cubicBezTo>
                  <a:cubicBezTo>
                    <a:pt x="1739" y="2003"/>
                    <a:pt x="1739" y="1217"/>
                    <a:pt x="1882" y="717"/>
                  </a:cubicBezTo>
                  <a:close/>
                  <a:moveTo>
                    <a:pt x="9573" y="717"/>
                  </a:moveTo>
                  <a:cubicBezTo>
                    <a:pt x="9597" y="836"/>
                    <a:pt x="9633" y="955"/>
                    <a:pt x="9633" y="1110"/>
                  </a:cubicBezTo>
                  <a:cubicBezTo>
                    <a:pt x="9656" y="1717"/>
                    <a:pt x="9383" y="2229"/>
                    <a:pt x="8799" y="2610"/>
                  </a:cubicBezTo>
                  <a:cubicBezTo>
                    <a:pt x="8680" y="2372"/>
                    <a:pt x="8549" y="2146"/>
                    <a:pt x="8370" y="1944"/>
                  </a:cubicBezTo>
                  <a:cubicBezTo>
                    <a:pt x="9002" y="1694"/>
                    <a:pt x="9323" y="1277"/>
                    <a:pt x="9478" y="932"/>
                  </a:cubicBezTo>
                  <a:cubicBezTo>
                    <a:pt x="9513" y="860"/>
                    <a:pt x="9537" y="777"/>
                    <a:pt x="9573" y="717"/>
                  </a:cubicBezTo>
                  <a:close/>
                  <a:moveTo>
                    <a:pt x="548" y="2658"/>
                  </a:moveTo>
                  <a:lnTo>
                    <a:pt x="2358" y="3563"/>
                  </a:lnTo>
                  <a:cubicBezTo>
                    <a:pt x="2310" y="3837"/>
                    <a:pt x="2298" y="4134"/>
                    <a:pt x="2322" y="4432"/>
                  </a:cubicBezTo>
                  <a:cubicBezTo>
                    <a:pt x="2163" y="4457"/>
                    <a:pt x="2014" y="4470"/>
                    <a:pt x="1875" y="4470"/>
                  </a:cubicBezTo>
                  <a:cubicBezTo>
                    <a:pt x="1483" y="4470"/>
                    <a:pt x="1173" y="4369"/>
                    <a:pt x="953" y="4158"/>
                  </a:cubicBezTo>
                  <a:cubicBezTo>
                    <a:pt x="524" y="3742"/>
                    <a:pt x="524" y="3015"/>
                    <a:pt x="548" y="2658"/>
                  </a:cubicBezTo>
                  <a:close/>
                  <a:moveTo>
                    <a:pt x="10895" y="2646"/>
                  </a:moveTo>
                  <a:lnTo>
                    <a:pt x="10895" y="2646"/>
                  </a:lnTo>
                  <a:cubicBezTo>
                    <a:pt x="10930" y="3015"/>
                    <a:pt x="10930" y="3742"/>
                    <a:pt x="10490" y="4158"/>
                  </a:cubicBezTo>
                  <a:cubicBezTo>
                    <a:pt x="10270" y="4369"/>
                    <a:pt x="9960" y="4470"/>
                    <a:pt x="9568" y="4470"/>
                  </a:cubicBezTo>
                  <a:cubicBezTo>
                    <a:pt x="9429" y="4470"/>
                    <a:pt x="9280" y="4457"/>
                    <a:pt x="9121" y="4432"/>
                  </a:cubicBezTo>
                  <a:cubicBezTo>
                    <a:pt x="9156" y="4134"/>
                    <a:pt x="9144" y="3849"/>
                    <a:pt x="9097" y="3551"/>
                  </a:cubicBezTo>
                  <a:lnTo>
                    <a:pt x="10895" y="2646"/>
                  </a:lnTo>
                  <a:close/>
                  <a:moveTo>
                    <a:pt x="5727" y="1003"/>
                  </a:moveTo>
                  <a:cubicBezTo>
                    <a:pt x="6644" y="1003"/>
                    <a:pt x="7489" y="1396"/>
                    <a:pt x="8085" y="2087"/>
                  </a:cubicBezTo>
                  <a:cubicBezTo>
                    <a:pt x="8668" y="2777"/>
                    <a:pt x="8918" y="3682"/>
                    <a:pt x="8787" y="4575"/>
                  </a:cubicBezTo>
                  <a:lnTo>
                    <a:pt x="8347" y="7409"/>
                  </a:lnTo>
                  <a:cubicBezTo>
                    <a:pt x="8251" y="8064"/>
                    <a:pt x="7906" y="8635"/>
                    <a:pt x="7394" y="9052"/>
                  </a:cubicBezTo>
                  <a:cubicBezTo>
                    <a:pt x="7275" y="8504"/>
                    <a:pt x="6799" y="8099"/>
                    <a:pt x="6227" y="8099"/>
                  </a:cubicBezTo>
                  <a:lnTo>
                    <a:pt x="5215" y="8099"/>
                  </a:lnTo>
                  <a:cubicBezTo>
                    <a:pt x="4644" y="8099"/>
                    <a:pt x="4156" y="8504"/>
                    <a:pt x="4037" y="9052"/>
                  </a:cubicBezTo>
                  <a:cubicBezTo>
                    <a:pt x="3525" y="8635"/>
                    <a:pt x="3191" y="8064"/>
                    <a:pt x="3084" y="7409"/>
                  </a:cubicBezTo>
                  <a:lnTo>
                    <a:pt x="2655" y="4575"/>
                  </a:lnTo>
                  <a:cubicBezTo>
                    <a:pt x="2548" y="3932"/>
                    <a:pt x="2655" y="3301"/>
                    <a:pt x="2929" y="2730"/>
                  </a:cubicBezTo>
                  <a:cubicBezTo>
                    <a:pt x="2964" y="2730"/>
                    <a:pt x="3169" y="2755"/>
                    <a:pt x="3475" y="2755"/>
                  </a:cubicBezTo>
                  <a:cubicBezTo>
                    <a:pt x="3589" y="2755"/>
                    <a:pt x="3718" y="2751"/>
                    <a:pt x="3858" y="2741"/>
                  </a:cubicBezTo>
                  <a:cubicBezTo>
                    <a:pt x="4418" y="2718"/>
                    <a:pt x="4894" y="2646"/>
                    <a:pt x="5299" y="2491"/>
                  </a:cubicBezTo>
                  <a:lnTo>
                    <a:pt x="5299" y="2491"/>
                  </a:lnTo>
                  <a:lnTo>
                    <a:pt x="5215" y="2860"/>
                  </a:lnTo>
                  <a:cubicBezTo>
                    <a:pt x="5192" y="2920"/>
                    <a:pt x="5215" y="2968"/>
                    <a:pt x="5239" y="3015"/>
                  </a:cubicBezTo>
                  <a:cubicBezTo>
                    <a:pt x="5275" y="3039"/>
                    <a:pt x="5311" y="3075"/>
                    <a:pt x="5358" y="3075"/>
                  </a:cubicBezTo>
                  <a:lnTo>
                    <a:pt x="5394" y="3075"/>
                  </a:lnTo>
                  <a:cubicBezTo>
                    <a:pt x="5430" y="3075"/>
                    <a:pt x="6644" y="2896"/>
                    <a:pt x="7370" y="2360"/>
                  </a:cubicBezTo>
                  <a:cubicBezTo>
                    <a:pt x="7442" y="2301"/>
                    <a:pt x="7454" y="2206"/>
                    <a:pt x="7394" y="2134"/>
                  </a:cubicBezTo>
                  <a:cubicBezTo>
                    <a:pt x="7360" y="2094"/>
                    <a:pt x="7319" y="2072"/>
                    <a:pt x="7276" y="2072"/>
                  </a:cubicBezTo>
                  <a:cubicBezTo>
                    <a:pt x="7244" y="2072"/>
                    <a:pt x="7211" y="2085"/>
                    <a:pt x="7180" y="2110"/>
                  </a:cubicBezTo>
                  <a:cubicBezTo>
                    <a:pt x="6716" y="2468"/>
                    <a:pt x="5965" y="2646"/>
                    <a:pt x="5596" y="2718"/>
                  </a:cubicBezTo>
                  <a:lnTo>
                    <a:pt x="5715" y="2265"/>
                  </a:lnTo>
                  <a:cubicBezTo>
                    <a:pt x="5727" y="2206"/>
                    <a:pt x="5715" y="2146"/>
                    <a:pt x="5656" y="2110"/>
                  </a:cubicBezTo>
                  <a:cubicBezTo>
                    <a:pt x="5628" y="2082"/>
                    <a:pt x="5592" y="2071"/>
                    <a:pt x="5555" y="2071"/>
                  </a:cubicBezTo>
                  <a:cubicBezTo>
                    <a:pt x="5529" y="2071"/>
                    <a:pt x="5502" y="2077"/>
                    <a:pt x="5477" y="2087"/>
                  </a:cubicBezTo>
                  <a:cubicBezTo>
                    <a:pt x="4891" y="2384"/>
                    <a:pt x="4113" y="2450"/>
                    <a:pt x="3585" y="2450"/>
                  </a:cubicBezTo>
                  <a:cubicBezTo>
                    <a:pt x="3394" y="2450"/>
                    <a:pt x="3236" y="2441"/>
                    <a:pt x="3132" y="2432"/>
                  </a:cubicBezTo>
                  <a:cubicBezTo>
                    <a:pt x="3203" y="2313"/>
                    <a:pt x="3287" y="2206"/>
                    <a:pt x="3382" y="2087"/>
                  </a:cubicBezTo>
                  <a:cubicBezTo>
                    <a:pt x="3977" y="1408"/>
                    <a:pt x="4822" y="1003"/>
                    <a:pt x="5727" y="1003"/>
                  </a:cubicBezTo>
                  <a:close/>
                  <a:moveTo>
                    <a:pt x="6215" y="8421"/>
                  </a:moveTo>
                  <a:cubicBezTo>
                    <a:pt x="6656" y="8421"/>
                    <a:pt x="7013" y="8730"/>
                    <a:pt x="7085" y="9147"/>
                  </a:cubicBezTo>
                  <a:lnTo>
                    <a:pt x="7108" y="9349"/>
                  </a:lnTo>
                  <a:cubicBezTo>
                    <a:pt x="7156" y="9564"/>
                    <a:pt x="7097" y="9766"/>
                    <a:pt x="6966" y="9921"/>
                  </a:cubicBezTo>
                  <a:cubicBezTo>
                    <a:pt x="6835" y="10088"/>
                    <a:pt x="6644" y="10171"/>
                    <a:pt x="6430" y="10171"/>
                  </a:cubicBezTo>
                  <a:lnTo>
                    <a:pt x="5013" y="10171"/>
                  </a:lnTo>
                  <a:cubicBezTo>
                    <a:pt x="4811" y="10171"/>
                    <a:pt x="4608" y="10076"/>
                    <a:pt x="4477" y="9921"/>
                  </a:cubicBezTo>
                  <a:cubicBezTo>
                    <a:pt x="4346" y="9754"/>
                    <a:pt x="4287" y="9552"/>
                    <a:pt x="4310" y="9349"/>
                  </a:cubicBezTo>
                  <a:lnTo>
                    <a:pt x="4346" y="9147"/>
                  </a:lnTo>
                  <a:cubicBezTo>
                    <a:pt x="4418" y="8730"/>
                    <a:pt x="4775" y="8421"/>
                    <a:pt x="5203" y="8421"/>
                  </a:cubicBezTo>
                  <a:close/>
                  <a:moveTo>
                    <a:pt x="1937" y="1"/>
                  </a:moveTo>
                  <a:cubicBezTo>
                    <a:pt x="1876" y="1"/>
                    <a:pt x="1817" y="34"/>
                    <a:pt x="1786" y="86"/>
                  </a:cubicBezTo>
                  <a:cubicBezTo>
                    <a:pt x="1774" y="98"/>
                    <a:pt x="1524" y="527"/>
                    <a:pt x="1489" y="1098"/>
                  </a:cubicBezTo>
                  <a:cubicBezTo>
                    <a:pt x="1465" y="1610"/>
                    <a:pt x="1620" y="2337"/>
                    <a:pt x="2513" y="2908"/>
                  </a:cubicBezTo>
                  <a:cubicBezTo>
                    <a:pt x="2477" y="3015"/>
                    <a:pt x="2441" y="3111"/>
                    <a:pt x="2417" y="3218"/>
                  </a:cubicBezTo>
                  <a:lnTo>
                    <a:pt x="477" y="2253"/>
                  </a:lnTo>
                  <a:cubicBezTo>
                    <a:pt x="453" y="2241"/>
                    <a:pt x="426" y="2235"/>
                    <a:pt x="401" y="2235"/>
                  </a:cubicBezTo>
                  <a:cubicBezTo>
                    <a:pt x="375" y="2235"/>
                    <a:pt x="352" y="2241"/>
                    <a:pt x="334" y="2253"/>
                  </a:cubicBezTo>
                  <a:cubicBezTo>
                    <a:pt x="286" y="2289"/>
                    <a:pt x="250" y="2313"/>
                    <a:pt x="239" y="2372"/>
                  </a:cubicBezTo>
                  <a:cubicBezTo>
                    <a:pt x="227" y="2432"/>
                    <a:pt x="0" y="3694"/>
                    <a:pt x="715" y="4384"/>
                  </a:cubicBezTo>
                  <a:cubicBezTo>
                    <a:pt x="1001" y="4646"/>
                    <a:pt x="1370" y="4789"/>
                    <a:pt x="1846" y="4789"/>
                  </a:cubicBezTo>
                  <a:cubicBezTo>
                    <a:pt x="2013" y="4789"/>
                    <a:pt x="2179" y="4765"/>
                    <a:pt x="2370" y="4742"/>
                  </a:cubicBezTo>
                  <a:lnTo>
                    <a:pt x="2786" y="7444"/>
                  </a:lnTo>
                  <a:cubicBezTo>
                    <a:pt x="2906" y="8242"/>
                    <a:pt x="3346" y="8956"/>
                    <a:pt x="3989" y="9409"/>
                  </a:cubicBezTo>
                  <a:cubicBezTo>
                    <a:pt x="3977" y="9659"/>
                    <a:pt x="4060" y="9921"/>
                    <a:pt x="4227" y="10123"/>
                  </a:cubicBezTo>
                  <a:cubicBezTo>
                    <a:pt x="4418" y="10349"/>
                    <a:pt x="4703" y="10480"/>
                    <a:pt x="5013" y="10480"/>
                  </a:cubicBezTo>
                  <a:lnTo>
                    <a:pt x="6430" y="10480"/>
                  </a:lnTo>
                  <a:cubicBezTo>
                    <a:pt x="6727" y="10480"/>
                    <a:pt x="7013" y="10349"/>
                    <a:pt x="7216" y="10123"/>
                  </a:cubicBezTo>
                  <a:cubicBezTo>
                    <a:pt x="7382" y="9933"/>
                    <a:pt x="7478" y="9683"/>
                    <a:pt x="7454" y="9409"/>
                  </a:cubicBezTo>
                  <a:cubicBezTo>
                    <a:pt x="8109" y="8945"/>
                    <a:pt x="8549" y="8242"/>
                    <a:pt x="8668" y="7444"/>
                  </a:cubicBezTo>
                  <a:lnTo>
                    <a:pt x="9085" y="4742"/>
                  </a:lnTo>
                  <a:cubicBezTo>
                    <a:pt x="9263" y="4765"/>
                    <a:pt x="9442" y="4789"/>
                    <a:pt x="9597" y="4789"/>
                  </a:cubicBezTo>
                  <a:cubicBezTo>
                    <a:pt x="10073" y="4789"/>
                    <a:pt x="10454" y="4646"/>
                    <a:pt x="10728" y="4384"/>
                  </a:cubicBezTo>
                  <a:cubicBezTo>
                    <a:pt x="11430" y="3694"/>
                    <a:pt x="11204" y="2420"/>
                    <a:pt x="11192" y="2372"/>
                  </a:cubicBezTo>
                  <a:cubicBezTo>
                    <a:pt x="11180" y="2325"/>
                    <a:pt x="11145" y="2289"/>
                    <a:pt x="11109" y="2253"/>
                  </a:cubicBezTo>
                  <a:cubicBezTo>
                    <a:pt x="11085" y="2241"/>
                    <a:pt x="11058" y="2235"/>
                    <a:pt x="11032" y="2235"/>
                  </a:cubicBezTo>
                  <a:cubicBezTo>
                    <a:pt x="11005" y="2235"/>
                    <a:pt x="10978" y="2241"/>
                    <a:pt x="10954" y="2253"/>
                  </a:cubicBezTo>
                  <a:lnTo>
                    <a:pt x="9025" y="3218"/>
                  </a:lnTo>
                  <a:cubicBezTo>
                    <a:pt x="8990" y="3122"/>
                    <a:pt x="8966" y="3015"/>
                    <a:pt x="8918" y="2908"/>
                  </a:cubicBezTo>
                  <a:cubicBezTo>
                    <a:pt x="9811" y="2337"/>
                    <a:pt x="9978" y="1610"/>
                    <a:pt x="9942" y="1098"/>
                  </a:cubicBezTo>
                  <a:cubicBezTo>
                    <a:pt x="9918" y="527"/>
                    <a:pt x="9656" y="98"/>
                    <a:pt x="9644" y="86"/>
                  </a:cubicBezTo>
                  <a:cubicBezTo>
                    <a:pt x="9624" y="34"/>
                    <a:pt x="9558" y="1"/>
                    <a:pt x="9494" y="1"/>
                  </a:cubicBezTo>
                  <a:cubicBezTo>
                    <a:pt x="9484" y="1"/>
                    <a:pt x="9475" y="1"/>
                    <a:pt x="9466" y="3"/>
                  </a:cubicBezTo>
                  <a:cubicBezTo>
                    <a:pt x="9394" y="27"/>
                    <a:pt x="9347" y="86"/>
                    <a:pt x="9347" y="158"/>
                  </a:cubicBezTo>
                  <a:cubicBezTo>
                    <a:pt x="9347" y="158"/>
                    <a:pt x="9347" y="467"/>
                    <a:pt x="9168" y="813"/>
                  </a:cubicBezTo>
                  <a:cubicBezTo>
                    <a:pt x="8966" y="1241"/>
                    <a:pt x="8609" y="1527"/>
                    <a:pt x="8132" y="1682"/>
                  </a:cubicBezTo>
                  <a:cubicBezTo>
                    <a:pt x="7489" y="1051"/>
                    <a:pt x="6620" y="694"/>
                    <a:pt x="5715" y="694"/>
                  </a:cubicBezTo>
                  <a:cubicBezTo>
                    <a:pt x="4811" y="694"/>
                    <a:pt x="3941" y="1051"/>
                    <a:pt x="3310" y="1682"/>
                  </a:cubicBezTo>
                  <a:cubicBezTo>
                    <a:pt x="2810" y="1527"/>
                    <a:pt x="2453" y="1241"/>
                    <a:pt x="2263" y="813"/>
                  </a:cubicBezTo>
                  <a:cubicBezTo>
                    <a:pt x="2096" y="467"/>
                    <a:pt x="2084" y="170"/>
                    <a:pt x="2084" y="158"/>
                  </a:cubicBezTo>
                  <a:cubicBezTo>
                    <a:pt x="2084" y="86"/>
                    <a:pt x="2036" y="27"/>
                    <a:pt x="1965" y="3"/>
                  </a:cubicBezTo>
                  <a:cubicBezTo>
                    <a:pt x="1956" y="1"/>
                    <a:pt x="1946" y="1"/>
                    <a:pt x="19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0" name="Google Shape;12890;p63"/>
            <p:cNvSpPr/>
            <p:nvPr/>
          </p:nvSpPr>
          <p:spPr>
            <a:xfrm>
              <a:off x="1498893"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72" y="1549"/>
                    <a:pt x="1370" y="1251"/>
                    <a:pt x="1370" y="858"/>
                  </a:cubicBezTo>
                  <a:lnTo>
                    <a:pt x="1370" y="680"/>
                  </a:lnTo>
                  <a:cubicBezTo>
                    <a:pt x="1370" y="596"/>
                    <a:pt x="1298" y="513"/>
                    <a:pt x="1203" y="513"/>
                  </a:cubicBezTo>
                  <a:cubicBezTo>
                    <a:pt x="1120" y="513"/>
                    <a:pt x="1036" y="596"/>
                    <a:pt x="1036" y="680"/>
                  </a:cubicBezTo>
                  <a:lnTo>
                    <a:pt x="1036" y="858"/>
                  </a:lnTo>
                  <a:cubicBezTo>
                    <a:pt x="1036"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1" name="Google Shape;12891;p63"/>
            <p:cNvSpPr/>
            <p:nvPr/>
          </p:nvSpPr>
          <p:spPr>
            <a:xfrm>
              <a:off x="1620429" y="2108338"/>
              <a:ext cx="43840" cy="49568"/>
            </a:xfrm>
            <a:custGeom>
              <a:avLst/>
              <a:gdLst/>
              <a:ahLst/>
              <a:cxnLst/>
              <a:rect l="l" t="t" r="r" b="b"/>
              <a:pathLst>
                <a:path w="1370" h="1549" extrusionOk="0">
                  <a:moveTo>
                    <a:pt x="679" y="1"/>
                  </a:moveTo>
                  <a:cubicBezTo>
                    <a:pt x="310" y="1"/>
                    <a:pt x="1" y="299"/>
                    <a:pt x="1" y="680"/>
                  </a:cubicBezTo>
                  <a:lnTo>
                    <a:pt x="1" y="858"/>
                  </a:lnTo>
                  <a:cubicBezTo>
                    <a:pt x="1" y="1227"/>
                    <a:pt x="298" y="1549"/>
                    <a:pt x="679" y="1549"/>
                  </a:cubicBezTo>
                  <a:cubicBezTo>
                    <a:pt x="1048" y="1549"/>
                    <a:pt x="1370" y="1251"/>
                    <a:pt x="1370" y="858"/>
                  </a:cubicBezTo>
                  <a:lnTo>
                    <a:pt x="1370" y="680"/>
                  </a:lnTo>
                  <a:cubicBezTo>
                    <a:pt x="1370" y="596"/>
                    <a:pt x="1287" y="513"/>
                    <a:pt x="1203" y="513"/>
                  </a:cubicBezTo>
                  <a:cubicBezTo>
                    <a:pt x="1108" y="513"/>
                    <a:pt x="1037" y="596"/>
                    <a:pt x="1037" y="680"/>
                  </a:cubicBezTo>
                  <a:lnTo>
                    <a:pt x="1037" y="858"/>
                  </a:lnTo>
                  <a:cubicBezTo>
                    <a:pt x="1037" y="1049"/>
                    <a:pt x="870" y="1215"/>
                    <a:pt x="679" y="1215"/>
                  </a:cubicBezTo>
                  <a:cubicBezTo>
                    <a:pt x="489" y="1215"/>
                    <a:pt x="322" y="1049"/>
                    <a:pt x="322" y="858"/>
                  </a:cubicBezTo>
                  <a:lnTo>
                    <a:pt x="322" y="680"/>
                  </a:lnTo>
                  <a:cubicBezTo>
                    <a:pt x="322" y="489"/>
                    <a:pt x="489" y="322"/>
                    <a:pt x="679" y="322"/>
                  </a:cubicBezTo>
                  <a:cubicBezTo>
                    <a:pt x="775" y="322"/>
                    <a:pt x="846" y="251"/>
                    <a:pt x="846" y="156"/>
                  </a:cubicBezTo>
                  <a:cubicBezTo>
                    <a:pt x="846" y="72"/>
                    <a:pt x="775"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2" name="Google Shape;12892;p63"/>
            <p:cNvSpPr/>
            <p:nvPr/>
          </p:nvSpPr>
          <p:spPr>
            <a:xfrm>
              <a:off x="1548813" y="2263314"/>
              <a:ext cx="15264" cy="21088"/>
            </a:xfrm>
            <a:custGeom>
              <a:avLst/>
              <a:gdLst/>
              <a:ahLst/>
              <a:cxnLst/>
              <a:rect l="l" t="t" r="r" b="b"/>
              <a:pathLst>
                <a:path w="477" h="659" extrusionOk="0">
                  <a:moveTo>
                    <a:pt x="283" y="0"/>
                  </a:moveTo>
                  <a:cubicBezTo>
                    <a:pt x="240" y="0"/>
                    <a:pt x="200" y="19"/>
                    <a:pt x="167" y="51"/>
                  </a:cubicBezTo>
                  <a:cubicBezTo>
                    <a:pt x="48" y="182"/>
                    <a:pt x="0" y="337"/>
                    <a:pt x="0" y="492"/>
                  </a:cubicBezTo>
                  <a:cubicBezTo>
                    <a:pt x="0" y="587"/>
                    <a:pt x="72" y="659"/>
                    <a:pt x="167" y="659"/>
                  </a:cubicBezTo>
                  <a:cubicBezTo>
                    <a:pt x="250" y="659"/>
                    <a:pt x="334" y="587"/>
                    <a:pt x="334" y="492"/>
                  </a:cubicBezTo>
                  <a:cubicBezTo>
                    <a:pt x="334" y="408"/>
                    <a:pt x="358" y="337"/>
                    <a:pt x="417" y="254"/>
                  </a:cubicBezTo>
                  <a:cubicBezTo>
                    <a:pt x="477" y="194"/>
                    <a:pt x="465" y="99"/>
                    <a:pt x="393" y="39"/>
                  </a:cubicBezTo>
                  <a:cubicBezTo>
                    <a:pt x="356" y="13"/>
                    <a:pt x="318" y="0"/>
                    <a:pt x="28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3" name="Google Shape;12893;p63"/>
            <p:cNvSpPr/>
            <p:nvPr/>
          </p:nvSpPr>
          <p:spPr>
            <a:xfrm>
              <a:off x="1599469" y="2263186"/>
              <a:ext cx="15296" cy="21216"/>
            </a:xfrm>
            <a:custGeom>
              <a:avLst/>
              <a:gdLst/>
              <a:ahLst/>
              <a:cxnLst/>
              <a:rect l="l" t="t" r="r" b="b"/>
              <a:pathLst>
                <a:path w="478" h="663" extrusionOk="0">
                  <a:moveTo>
                    <a:pt x="180" y="0"/>
                  </a:moveTo>
                  <a:cubicBezTo>
                    <a:pt x="140" y="0"/>
                    <a:pt x="101" y="15"/>
                    <a:pt x="72" y="43"/>
                  </a:cubicBezTo>
                  <a:cubicBezTo>
                    <a:pt x="1" y="91"/>
                    <a:pt x="1" y="198"/>
                    <a:pt x="60" y="258"/>
                  </a:cubicBezTo>
                  <a:cubicBezTo>
                    <a:pt x="120" y="341"/>
                    <a:pt x="144" y="412"/>
                    <a:pt x="144" y="496"/>
                  </a:cubicBezTo>
                  <a:cubicBezTo>
                    <a:pt x="144" y="591"/>
                    <a:pt x="215" y="663"/>
                    <a:pt x="310" y="663"/>
                  </a:cubicBezTo>
                  <a:cubicBezTo>
                    <a:pt x="394" y="663"/>
                    <a:pt x="477" y="591"/>
                    <a:pt x="477" y="496"/>
                  </a:cubicBezTo>
                  <a:cubicBezTo>
                    <a:pt x="453" y="353"/>
                    <a:pt x="394" y="186"/>
                    <a:pt x="299" y="55"/>
                  </a:cubicBezTo>
                  <a:cubicBezTo>
                    <a:pt x="267" y="18"/>
                    <a:pt x="223"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4" name="Google Shape;12894;p63"/>
            <p:cNvSpPr/>
            <p:nvPr/>
          </p:nvSpPr>
          <p:spPr>
            <a:xfrm>
              <a:off x="1631117" y="2062130"/>
              <a:ext cx="22496" cy="23392"/>
            </a:xfrm>
            <a:custGeom>
              <a:avLst/>
              <a:gdLst/>
              <a:ahLst/>
              <a:cxnLst/>
              <a:rect l="l" t="t" r="r" b="b"/>
              <a:pathLst>
                <a:path w="703" h="731" extrusionOk="0">
                  <a:moveTo>
                    <a:pt x="521" y="0"/>
                  </a:moveTo>
                  <a:cubicBezTo>
                    <a:pt x="470" y="0"/>
                    <a:pt x="422" y="24"/>
                    <a:pt x="393" y="76"/>
                  </a:cubicBezTo>
                  <a:cubicBezTo>
                    <a:pt x="286" y="207"/>
                    <a:pt x="179" y="338"/>
                    <a:pt x="60" y="457"/>
                  </a:cubicBezTo>
                  <a:cubicBezTo>
                    <a:pt x="0" y="516"/>
                    <a:pt x="0" y="623"/>
                    <a:pt x="60" y="683"/>
                  </a:cubicBezTo>
                  <a:cubicBezTo>
                    <a:pt x="95" y="707"/>
                    <a:pt x="143" y="730"/>
                    <a:pt x="179" y="730"/>
                  </a:cubicBezTo>
                  <a:cubicBezTo>
                    <a:pt x="226" y="730"/>
                    <a:pt x="274" y="707"/>
                    <a:pt x="298" y="683"/>
                  </a:cubicBezTo>
                  <a:cubicBezTo>
                    <a:pt x="441" y="552"/>
                    <a:pt x="560" y="397"/>
                    <a:pt x="655" y="254"/>
                  </a:cubicBezTo>
                  <a:cubicBezTo>
                    <a:pt x="703" y="195"/>
                    <a:pt x="691" y="88"/>
                    <a:pt x="619" y="28"/>
                  </a:cubicBezTo>
                  <a:cubicBezTo>
                    <a:pt x="587" y="10"/>
                    <a:pt x="553" y="0"/>
                    <a:pt x="5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5" name="Google Shape;12895;p63"/>
          <p:cNvGrpSpPr/>
          <p:nvPr/>
        </p:nvGrpSpPr>
        <p:grpSpPr>
          <a:xfrm>
            <a:off x="3052237" y="2003570"/>
            <a:ext cx="353600" cy="314752"/>
            <a:chOff x="3052237" y="2003570"/>
            <a:chExt cx="353600" cy="314752"/>
          </a:xfrm>
        </p:grpSpPr>
        <p:sp>
          <p:nvSpPr>
            <p:cNvPr id="12896" name="Google Shape;12896;p63"/>
            <p:cNvSpPr/>
            <p:nvPr/>
          </p:nvSpPr>
          <p:spPr>
            <a:xfrm>
              <a:off x="3261773" y="2108338"/>
              <a:ext cx="48800" cy="59488"/>
            </a:xfrm>
            <a:custGeom>
              <a:avLst/>
              <a:gdLst/>
              <a:ahLst/>
              <a:cxnLst/>
              <a:rect l="l" t="t" r="r" b="b"/>
              <a:pathLst>
                <a:path w="1525" h="1859" extrusionOk="0">
                  <a:moveTo>
                    <a:pt x="763" y="1"/>
                  </a:moveTo>
                  <a:cubicBezTo>
                    <a:pt x="346" y="1"/>
                    <a:pt x="1" y="334"/>
                    <a:pt x="1" y="751"/>
                  </a:cubicBezTo>
                  <a:lnTo>
                    <a:pt x="1" y="1096"/>
                  </a:lnTo>
                  <a:cubicBezTo>
                    <a:pt x="1" y="1513"/>
                    <a:pt x="346" y="1858"/>
                    <a:pt x="763" y="1858"/>
                  </a:cubicBezTo>
                  <a:cubicBezTo>
                    <a:pt x="1180" y="1858"/>
                    <a:pt x="1525" y="1513"/>
                    <a:pt x="1525" y="1096"/>
                  </a:cubicBezTo>
                  <a:lnTo>
                    <a:pt x="1525" y="751"/>
                  </a:lnTo>
                  <a:cubicBezTo>
                    <a:pt x="1525" y="668"/>
                    <a:pt x="1489" y="549"/>
                    <a:pt x="1453" y="441"/>
                  </a:cubicBezTo>
                  <a:cubicBezTo>
                    <a:pt x="1419" y="390"/>
                    <a:pt x="1360" y="351"/>
                    <a:pt x="1303" y="351"/>
                  </a:cubicBezTo>
                  <a:cubicBezTo>
                    <a:pt x="1281" y="351"/>
                    <a:pt x="1259" y="357"/>
                    <a:pt x="1239" y="370"/>
                  </a:cubicBezTo>
                  <a:cubicBezTo>
                    <a:pt x="1168" y="418"/>
                    <a:pt x="1120" y="501"/>
                    <a:pt x="1168" y="572"/>
                  </a:cubicBezTo>
                  <a:cubicBezTo>
                    <a:pt x="1191" y="632"/>
                    <a:pt x="1215" y="691"/>
                    <a:pt x="1215" y="775"/>
                  </a:cubicBezTo>
                  <a:lnTo>
                    <a:pt x="1215" y="1108"/>
                  </a:lnTo>
                  <a:cubicBezTo>
                    <a:pt x="1215" y="1346"/>
                    <a:pt x="1013" y="1561"/>
                    <a:pt x="763" y="1561"/>
                  </a:cubicBezTo>
                  <a:cubicBezTo>
                    <a:pt x="525" y="1561"/>
                    <a:pt x="322" y="1370"/>
                    <a:pt x="322" y="1108"/>
                  </a:cubicBezTo>
                  <a:lnTo>
                    <a:pt x="322" y="775"/>
                  </a:lnTo>
                  <a:cubicBezTo>
                    <a:pt x="322" y="537"/>
                    <a:pt x="513" y="322"/>
                    <a:pt x="763" y="322"/>
                  </a:cubicBezTo>
                  <a:cubicBezTo>
                    <a:pt x="858" y="322"/>
                    <a:pt x="930" y="251"/>
                    <a:pt x="930" y="156"/>
                  </a:cubicBezTo>
                  <a:cubicBezTo>
                    <a:pt x="930" y="72"/>
                    <a:pt x="858" y="1"/>
                    <a:pt x="7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7" name="Google Shape;12897;p63"/>
            <p:cNvSpPr/>
            <p:nvPr/>
          </p:nvSpPr>
          <p:spPr>
            <a:xfrm>
              <a:off x="3146349" y="2108338"/>
              <a:ext cx="48416" cy="59488"/>
            </a:xfrm>
            <a:custGeom>
              <a:avLst/>
              <a:gdLst/>
              <a:ahLst/>
              <a:cxnLst/>
              <a:rect l="l" t="t" r="r" b="b"/>
              <a:pathLst>
                <a:path w="1513" h="1859" extrusionOk="0">
                  <a:moveTo>
                    <a:pt x="750" y="1"/>
                  </a:moveTo>
                  <a:cubicBezTo>
                    <a:pt x="334" y="1"/>
                    <a:pt x="0" y="334"/>
                    <a:pt x="0" y="751"/>
                  </a:cubicBezTo>
                  <a:lnTo>
                    <a:pt x="0" y="1096"/>
                  </a:lnTo>
                  <a:cubicBezTo>
                    <a:pt x="0" y="1513"/>
                    <a:pt x="334" y="1858"/>
                    <a:pt x="750" y="1858"/>
                  </a:cubicBezTo>
                  <a:cubicBezTo>
                    <a:pt x="1167" y="1858"/>
                    <a:pt x="1512" y="1513"/>
                    <a:pt x="1512" y="1096"/>
                  </a:cubicBezTo>
                  <a:lnTo>
                    <a:pt x="1512" y="751"/>
                  </a:lnTo>
                  <a:cubicBezTo>
                    <a:pt x="1512" y="668"/>
                    <a:pt x="1489" y="549"/>
                    <a:pt x="1441" y="441"/>
                  </a:cubicBezTo>
                  <a:cubicBezTo>
                    <a:pt x="1407" y="390"/>
                    <a:pt x="1354" y="351"/>
                    <a:pt x="1296" y="351"/>
                  </a:cubicBezTo>
                  <a:cubicBezTo>
                    <a:pt x="1273" y="351"/>
                    <a:pt x="1250" y="357"/>
                    <a:pt x="1227" y="370"/>
                  </a:cubicBezTo>
                  <a:cubicBezTo>
                    <a:pt x="1155" y="418"/>
                    <a:pt x="1108" y="501"/>
                    <a:pt x="1155" y="572"/>
                  </a:cubicBezTo>
                  <a:cubicBezTo>
                    <a:pt x="1191" y="632"/>
                    <a:pt x="1203" y="691"/>
                    <a:pt x="1203" y="775"/>
                  </a:cubicBezTo>
                  <a:lnTo>
                    <a:pt x="1203" y="1108"/>
                  </a:lnTo>
                  <a:cubicBezTo>
                    <a:pt x="1203" y="1346"/>
                    <a:pt x="1012" y="1561"/>
                    <a:pt x="750" y="1561"/>
                  </a:cubicBezTo>
                  <a:cubicBezTo>
                    <a:pt x="512" y="1561"/>
                    <a:pt x="310" y="1370"/>
                    <a:pt x="310" y="1108"/>
                  </a:cubicBezTo>
                  <a:lnTo>
                    <a:pt x="310" y="775"/>
                  </a:lnTo>
                  <a:cubicBezTo>
                    <a:pt x="310" y="537"/>
                    <a:pt x="500" y="322"/>
                    <a:pt x="750" y="322"/>
                  </a:cubicBezTo>
                  <a:cubicBezTo>
                    <a:pt x="846" y="322"/>
                    <a:pt x="917" y="251"/>
                    <a:pt x="917" y="156"/>
                  </a:cubicBezTo>
                  <a:cubicBezTo>
                    <a:pt x="917" y="72"/>
                    <a:pt x="846" y="1"/>
                    <a:pt x="75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8" name="Google Shape;12898;p63"/>
            <p:cNvSpPr/>
            <p:nvPr/>
          </p:nvSpPr>
          <p:spPr>
            <a:xfrm>
              <a:off x="3052237" y="2003570"/>
              <a:ext cx="353600" cy="314752"/>
            </a:xfrm>
            <a:custGeom>
              <a:avLst/>
              <a:gdLst/>
              <a:ahLst/>
              <a:cxnLst/>
              <a:rect l="l" t="t" r="r" b="b"/>
              <a:pathLst>
                <a:path w="11050" h="9836" extrusionOk="0">
                  <a:moveTo>
                    <a:pt x="2227" y="334"/>
                  </a:moveTo>
                  <a:cubicBezTo>
                    <a:pt x="2477" y="334"/>
                    <a:pt x="2786" y="429"/>
                    <a:pt x="3013" y="513"/>
                  </a:cubicBezTo>
                  <a:cubicBezTo>
                    <a:pt x="2144" y="989"/>
                    <a:pt x="2013" y="2049"/>
                    <a:pt x="1882" y="3061"/>
                  </a:cubicBezTo>
                  <a:cubicBezTo>
                    <a:pt x="1786" y="3894"/>
                    <a:pt x="1667" y="4763"/>
                    <a:pt x="1179" y="5275"/>
                  </a:cubicBezTo>
                  <a:cubicBezTo>
                    <a:pt x="1138" y="5316"/>
                    <a:pt x="1091" y="5329"/>
                    <a:pt x="1054" y="5329"/>
                  </a:cubicBezTo>
                  <a:cubicBezTo>
                    <a:pt x="1038" y="5329"/>
                    <a:pt x="1023" y="5326"/>
                    <a:pt x="1012" y="5323"/>
                  </a:cubicBezTo>
                  <a:cubicBezTo>
                    <a:pt x="953" y="5311"/>
                    <a:pt x="893" y="5263"/>
                    <a:pt x="881" y="5204"/>
                  </a:cubicBezTo>
                  <a:cubicBezTo>
                    <a:pt x="798" y="4906"/>
                    <a:pt x="691" y="4418"/>
                    <a:pt x="703" y="3668"/>
                  </a:cubicBezTo>
                  <a:cubicBezTo>
                    <a:pt x="715" y="2918"/>
                    <a:pt x="512" y="2620"/>
                    <a:pt x="346" y="2513"/>
                  </a:cubicBezTo>
                  <a:cubicBezTo>
                    <a:pt x="465" y="2037"/>
                    <a:pt x="1012" y="334"/>
                    <a:pt x="2227" y="334"/>
                  </a:cubicBezTo>
                  <a:close/>
                  <a:moveTo>
                    <a:pt x="5513" y="5847"/>
                  </a:moveTo>
                  <a:cubicBezTo>
                    <a:pt x="5977" y="5847"/>
                    <a:pt x="6370" y="6085"/>
                    <a:pt x="6370" y="6382"/>
                  </a:cubicBezTo>
                  <a:cubicBezTo>
                    <a:pt x="6370" y="6632"/>
                    <a:pt x="6001" y="6811"/>
                    <a:pt x="5739" y="6930"/>
                  </a:cubicBezTo>
                  <a:lnTo>
                    <a:pt x="5715" y="6930"/>
                  </a:lnTo>
                  <a:cubicBezTo>
                    <a:pt x="5650" y="6960"/>
                    <a:pt x="5576" y="6975"/>
                    <a:pt x="5501" y="6975"/>
                  </a:cubicBezTo>
                  <a:cubicBezTo>
                    <a:pt x="5427" y="6975"/>
                    <a:pt x="5352" y="6960"/>
                    <a:pt x="5287" y="6930"/>
                  </a:cubicBezTo>
                  <a:lnTo>
                    <a:pt x="5275" y="6930"/>
                  </a:lnTo>
                  <a:cubicBezTo>
                    <a:pt x="5001" y="6811"/>
                    <a:pt x="4632" y="6632"/>
                    <a:pt x="4632" y="6382"/>
                  </a:cubicBezTo>
                  <a:cubicBezTo>
                    <a:pt x="4632" y="6097"/>
                    <a:pt x="5037" y="5847"/>
                    <a:pt x="5513" y="5847"/>
                  </a:cubicBezTo>
                  <a:close/>
                  <a:moveTo>
                    <a:pt x="8847" y="298"/>
                  </a:moveTo>
                  <a:cubicBezTo>
                    <a:pt x="10061" y="298"/>
                    <a:pt x="10597" y="1989"/>
                    <a:pt x="10716" y="2465"/>
                  </a:cubicBezTo>
                  <a:cubicBezTo>
                    <a:pt x="10502" y="2620"/>
                    <a:pt x="10276" y="2918"/>
                    <a:pt x="10287" y="3656"/>
                  </a:cubicBezTo>
                  <a:cubicBezTo>
                    <a:pt x="10299" y="4406"/>
                    <a:pt x="10204" y="4894"/>
                    <a:pt x="10109" y="5192"/>
                  </a:cubicBezTo>
                  <a:cubicBezTo>
                    <a:pt x="10097" y="5251"/>
                    <a:pt x="10037" y="5299"/>
                    <a:pt x="9978" y="5311"/>
                  </a:cubicBezTo>
                  <a:cubicBezTo>
                    <a:pt x="9968" y="5311"/>
                    <a:pt x="9955" y="5312"/>
                    <a:pt x="9940" y="5312"/>
                  </a:cubicBezTo>
                  <a:cubicBezTo>
                    <a:pt x="9902" y="5312"/>
                    <a:pt x="9854" y="5306"/>
                    <a:pt x="9811" y="5263"/>
                  </a:cubicBezTo>
                  <a:cubicBezTo>
                    <a:pt x="9311" y="4739"/>
                    <a:pt x="9204" y="3882"/>
                    <a:pt x="9097" y="3049"/>
                  </a:cubicBezTo>
                  <a:cubicBezTo>
                    <a:pt x="9025" y="2501"/>
                    <a:pt x="8966" y="1918"/>
                    <a:pt x="8763" y="1441"/>
                  </a:cubicBezTo>
                  <a:cubicBezTo>
                    <a:pt x="8745" y="1369"/>
                    <a:pt x="8678" y="1337"/>
                    <a:pt x="8616" y="1337"/>
                  </a:cubicBezTo>
                  <a:cubicBezTo>
                    <a:pt x="8597" y="1337"/>
                    <a:pt x="8578" y="1340"/>
                    <a:pt x="8561" y="1346"/>
                  </a:cubicBezTo>
                  <a:cubicBezTo>
                    <a:pt x="8466" y="1382"/>
                    <a:pt x="8442" y="1489"/>
                    <a:pt x="8466" y="1560"/>
                  </a:cubicBezTo>
                  <a:cubicBezTo>
                    <a:pt x="8656" y="1989"/>
                    <a:pt x="8716" y="2525"/>
                    <a:pt x="8787" y="3072"/>
                  </a:cubicBezTo>
                  <a:cubicBezTo>
                    <a:pt x="8871" y="3787"/>
                    <a:pt x="8966" y="4513"/>
                    <a:pt x="9311" y="5097"/>
                  </a:cubicBezTo>
                  <a:cubicBezTo>
                    <a:pt x="9228" y="5739"/>
                    <a:pt x="8966" y="6251"/>
                    <a:pt x="8752" y="6561"/>
                  </a:cubicBezTo>
                  <a:cubicBezTo>
                    <a:pt x="8561" y="6847"/>
                    <a:pt x="8323" y="7085"/>
                    <a:pt x="8085" y="7263"/>
                  </a:cubicBezTo>
                  <a:cubicBezTo>
                    <a:pt x="8073" y="6978"/>
                    <a:pt x="7906" y="6704"/>
                    <a:pt x="7632" y="6513"/>
                  </a:cubicBezTo>
                  <a:cubicBezTo>
                    <a:pt x="7382" y="6323"/>
                    <a:pt x="7037" y="6216"/>
                    <a:pt x="6680" y="6204"/>
                  </a:cubicBezTo>
                  <a:cubicBezTo>
                    <a:pt x="6585" y="5799"/>
                    <a:pt x="6108" y="5513"/>
                    <a:pt x="5513" y="5513"/>
                  </a:cubicBezTo>
                  <a:cubicBezTo>
                    <a:pt x="4918" y="5513"/>
                    <a:pt x="4441" y="5811"/>
                    <a:pt x="4334" y="6204"/>
                  </a:cubicBezTo>
                  <a:cubicBezTo>
                    <a:pt x="4263" y="6204"/>
                    <a:pt x="4191" y="6216"/>
                    <a:pt x="4108" y="6216"/>
                  </a:cubicBezTo>
                  <a:cubicBezTo>
                    <a:pt x="4025" y="6228"/>
                    <a:pt x="3965" y="6311"/>
                    <a:pt x="3977" y="6394"/>
                  </a:cubicBezTo>
                  <a:cubicBezTo>
                    <a:pt x="3989" y="6466"/>
                    <a:pt x="4049" y="6525"/>
                    <a:pt x="4144" y="6525"/>
                  </a:cubicBezTo>
                  <a:lnTo>
                    <a:pt x="4168" y="6525"/>
                  </a:lnTo>
                  <a:cubicBezTo>
                    <a:pt x="4227" y="6513"/>
                    <a:pt x="4287" y="6513"/>
                    <a:pt x="4346" y="6513"/>
                  </a:cubicBezTo>
                  <a:cubicBezTo>
                    <a:pt x="4453" y="6871"/>
                    <a:pt x="4870" y="7061"/>
                    <a:pt x="5156" y="7192"/>
                  </a:cubicBezTo>
                  <a:lnTo>
                    <a:pt x="5168" y="7192"/>
                  </a:lnTo>
                  <a:cubicBezTo>
                    <a:pt x="5287" y="7240"/>
                    <a:pt x="5406" y="7275"/>
                    <a:pt x="5525" y="7275"/>
                  </a:cubicBezTo>
                  <a:cubicBezTo>
                    <a:pt x="5644" y="7275"/>
                    <a:pt x="5763" y="7240"/>
                    <a:pt x="5882" y="7192"/>
                  </a:cubicBezTo>
                  <a:lnTo>
                    <a:pt x="5894" y="7192"/>
                  </a:lnTo>
                  <a:cubicBezTo>
                    <a:pt x="6192" y="7061"/>
                    <a:pt x="6608" y="6871"/>
                    <a:pt x="6704" y="6513"/>
                  </a:cubicBezTo>
                  <a:cubicBezTo>
                    <a:pt x="7299" y="6525"/>
                    <a:pt x="7787" y="6882"/>
                    <a:pt x="7787" y="7299"/>
                  </a:cubicBezTo>
                  <a:cubicBezTo>
                    <a:pt x="7787" y="7728"/>
                    <a:pt x="7287" y="8085"/>
                    <a:pt x="6656" y="8085"/>
                  </a:cubicBezTo>
                  <a:cubicBezTo>
                    <a:pt x="6346" y="8085"/>
                    <a:pt x="6049" y="8002"/>
                    <a:pt x="5834" y="7835"/>
                  </a:cubicBezTo>
                  <a:cubicBezTo>
                    <a:pt x="5745" y="7769"/>
                    <a:pt x="5641" y="7737"/>
                    <a:pt x="5537" y="7737"/>
                  </a:cubicBezTo>
                  <a:cubicBezTo>
                    <a:pt x="5433" y="7737"/>
                    <a:pt x="5328" y="7769"/>
                    <a:pt x="5239" y="7835"/>
                  </a:cubicBezTo>
                  <a:cubicBezTo>
                    <a:pt x="5025" y="8002"/>
                    <a:pt x="4739" y="8085"/>
                    <a:pt x="4430" y="8085"/>
                  </a:cubicBezTo>
                  <a:cubicBezTo>
                    <a:pt x="3799" y="8085"/>
                    <a:pt x="3298" y="7740"/>
                    <a:pt x="3298" y="7299"/>
                  </a:cubicBezTo>
                  <a:cubicBezTo>
                    <a:pt x="3298" y="7109"/>
                    <a:pt x="3394" y="6930"/>
                    <a:pt x="3572" y="6775"/>
                  </a:cubicBezTo>
                  <a:cubicBezTo>
                    <a:pt x="3656" y="6716"/>
                    <a:pt x="3656" y="6621"/>
                    <a:pt x="3608" y="6561"/>
                  </a:cubicBezTo>
                  <a:cubicBezTo>
                    <a:pt x="3578" y="6523"/>
                    <a:pt x="3519" y="6500"/>
                    <a:pt x="3465" y="6500"/>
                  </a:cubicBezTo>
                  <a:cubicBezTo>
                    <a:pt x="3434" y="6500"/>
                    <a:pt x="3404" y="6508"/>
                    <a:pt x="3382" y="6525"/>
                  </a:cubicBezTo>
                  <a:cubicBezTo>
                    <a:pt x="3132" y="6716"/>
                    <a:pt x="2989" y="6978"/>
                    <a:pt x="2977" y="7240"/>
                  </a:cubicBezTo>
                  <a:cubicBezTo>
                    <a:pt x="2739" y="7061"/>
                    <a:pt x="2501" y="6823"/>
                    <a:pt x="2310" y="6549"/>
                  </a:cubicBezTo>
                  <a:cubicBezTo>
                    <a:pt x="2096" y="6228"/>
                    <a:pt x="1834" y="5739"/>
                    <a:pt x="1763" y="5085"/>
                  </a:cubicBezTo>
                  <a:cubicBezTo>
                    <a:pt x="2096" y="4513"/>
                    <a:pt x="2191" y="3775"/>
                    <a:pt x="2275" y="3061"/>
                  </a:cubicBezTo>
                  <a:cubicBezTo>
                    <a:pt x="2358" y="2489"/>
                    <a:pt x="2417" y="1953"/>
                    <a:pt x="2596" y="1513"/>
                  </a:cubicBezTo>
                  <a:cubicBezTo>
                    <a:pt x="2786" y="1048"/>
                    <a:pt x="3072" y="786"/>
                    <a:pt x="3489" y="632"/>
                  </a:cubicBezTo>
                  <a:cubicBezTo>
                    <a:pt x="3627" y="681"/>
                    <a:pt x="3748" y="700"/>
                    <a:pt x="3863" y="700"/>
                  </a:cubicBezTo>
                  <a:cubicBezTo>
                    <a:pt x="4027" y="700"/>
                    <a:pt x="4178" y="662"/>
                    <a:pt x="4346" y="620"/>
                  </a:cubicBezTo>
                  <a:cubicBezTo>
                    <a:pt x="4620" y="548"/>
                    <a:pt x="4953" y="453"/>
                    <a:pt x="5573" y="453"/>
                  </a:cubicBezTo>
                  <a:cubicBezTo>
                    <a:pt x="6180" y="453"/>
                    <a:pt x="6501" y="548"/>
                    <a:pt x="6787" y="620"/>
                  </a:cubicBezTo>
                  <a:cubicBezTo>
                    <a:pt x="6954" y="667"/>
                    <a:pt x="7120" y="715"/>
                    <a:pt x="7275" y="715"/>
                  </a:cubicBezTo>
                  <a:cubicBezTo>
                    <a:pt x="7394" y="715"/>
                    <a:pt x="7525" y="691"/>
                    <a:pt x="7656" y="632"/>
                  </a:cubicBezTo>
                  <a:cubicBezTo>
                    <a:pt x="7870" y="715"/>
                    <a:pt x="8073" y="834"/>
                    <a:pt x="8216" y="989"/>
                  </a:cubicBezTo>
                  <a:cubicBezTo>
                    <a:pt x="8245" y="1019"/>
                    <a:pt x="8287" y="1034"/>
                    <a:pt x="8329" y="1034"/>
                  </a:cubicBezTo>
                  <a:cubicBezTo>
                    <a:pt x="8371" y="1034"/>
                    <a:pt x="8412" y="1019"/>
                    <a:pt x="8442" y="989"/>
                  </a:cubicBezTo>
                  <a:cubicBezTo>
                    <a:pt x="8501" y="929"/>
                    <a:pt x="8501" y="822"/>
                    <a:pt x="8442" y="763"/>
                  </a:cubicBezTo>
                  <a:cubicBezTo>
                    <a:pt x="8323" y="644"/>
                    <a:pt x="8192" y="548"/>
                    <a:pt x="8049" y="465"/>
                  </a:cubicBezTo>
                  <a:cubicBezTo>
                    <a:pt x="8287" y="382"/>
                    <a:pt x="8585" y="298"/>
                    <a:pt x="8847" y="298"/>
                  </a:cubicBezTo>
                  <a:close/>
                  <a:moveTo>
                    <a:pt x="3929" y="8395"/>
                  </a:moveTo>
                  <a:lnTo>
                    <a:pt x="3929" y="8395"/>
                  </a:lnTo>
                  <a:cubicBezTo>
                    <a:pt x="4072" y="8418"/>
                    <a:pt x="4215" y="8430"/>
                    <a:pt x="4382" y="8430"/>
                  </a:cubicBezTo>
                  <a:lnTo>
                    <a:pt x="4489" y="8430"/>
                  </a:lnTo>
                  <a:lnTo>
                    <a:pt x="4489" y="8787"/>
                  </a:lnTo>
                  <a:lnTo>
                    <a:pt x="4489" y="8906"/>
                  </a:lnTo>
                  <a:cubicBezTo>
                    <a:pt x="4227" y="8764"/>
                    <a:pt x="4049" y="8585"/>
                    <a:pt x="3929" y="8395"/>
                  </a:cubicBezTo>
                  <a:close/>
                  <a:moveTo>
                    <a:pt x="7061" y="8395"/>
                  </a:moveTo>
                  <a:lnTo>
                    <a:pt x="7061" y="8395"/>
                  </a:lnTo>
                  <a:cubicBezTo>
                    <a:pt x="6942" y="8585"/>
                    <a:pt x="6763" y="8764"/>
                    <a:pt x="6513" y="8906"/>
                  </a:cubicBezTo>
                  <a:lnTo>
                    <a:pt x="6513" y="8787"/>
                  </a:lnTo>
                  <a:lnTo>
                    <a:pt x="6513" y="8430"/>
                  </a:lnTo>
                  <a:lnTo>
                    <a:pt x="6608" y="8430"/>
                  </a:lnTo>
                  <a:cubicBezTo>
                    <a:pt x="6763" y="8430"/>
                    <a:pt x="6906" y="8418"/>
                    <a:pt x="7061" y="8395"/>
                  </a:cubicBezTo>
                  <a:close/>
                  <a:moveTo>
                    <a:pt x="5656" y="8168"/>
                  </a:moveTo>
                  <a:cubicBezTo>
                    <a:pt x="5823" y="8275"/>
                    <a:pt x="6001" y="8347"/>
                    <a:pt x="6192" y="8395"/>
                  </a:cubicBezTo>
                  <a:lnTo>
                    <a:pt x="6192" y="8787"/>
                  </a:lnTo>
                  <a:cubicBezTo>
                    <a:pt x="6192" y="9180"/>
                    <a:pt x="5882" y="9490"/>
                    <a:pt x="5489" y="9490"/>
                  </a:cubicBezTo>
                  <a:cubicBezTo>
                    <a:pt x="5108" y="9490"/>
                    <a:pt x="4799" y="9180"/>
                    <a:pt x="4799" y="8787"/>
                  </a:cubicBezTo>
                  <a:lnTo>
                    <a:pt x="4799" y="8395"/>
                  </a:lnTo>
                  <a:cubicBezTo>
                    <a:pt x="4989" y="8347"/>
                    <a:pt x="5180" y="8275"/>
                    <a:pt x="5334" y="8168"/>
                  </a:cubicBezTo>
                  <a:lnTo>
                    <a:pt x="5334" y="8633"/>
                  </a:lnTo>
                  <a:cubicBezTo>
                    <a:pt x="5334" y="8716"/>
                    <a:pt x="5406" y="8787"/>
                    <a:pt x="5489" y="8787"/>
                  </a:cubicBezTo>
                  <a:cubicBezTo>
                    <a:pt x="5584" y="8787"/>
                    <a:pt x="5656" y="8716"/>
                    <a:pt x="5656" y="8633"/>
                  </a:cubicBezTo>
                  <a:lnTo>
                    <a:pt x="5656" y="8168"/>
                  </a:lnTo>
                  <a:close/>
                  <a:moveTo>
                    <a:pt x="2239" y="1"/>
                  </a:moveTo>
                  <a:cubicBezTo>
                    <a:pt x="1536" y="1"/>
                    <a:pt x="929" y="441"/>
                    <a:pt x="477" y="1287"/>
                  </a:cubicBezTo>
                  <a:cubicBezTo>
                    <a:pt x="155" y="1906"/>
                    <a:pt x="24" y="2513"/>
                    <a:pt x="24" y="2537"/>
                  </a:cubicBezTo>
                  <a:cubicBezTo>
                    <a:pt x="0" y="2584"/>
                    <a:pt x="0" y="2632"/>
                    <a:pt x="36" y="2680"/>
                  </a:cubicBezTo>
                  <a:cubicBezTo>
                    <a:pt x="60" y="2703"/>
                    <a:pt x="96" y="2727"/>
                    <a:pt x="143" y="2727"/>
                  </a:cubicBezTo>
                  <a:cubicBezTo>
                    <a:pt x="167" y="2751"/>
                    <a:pt x="405" y="2882"/>
                    <a:pt x="393" y="3656"/>
                  </a:cubicBezTo>
                  <a:cubicBezTo>
                    <a:pt x="381" y="4430"/>
                    <a:pt x="477" y="4977"/>
                    <a:pt x="584" y="5287"/>
                  </a:cubicBezTo>
                  <a:cubicBezTo>
                    <a:pt x="643" y="5466"/>
                    <a:pt x="774" y="5585"/>
                    <a:pt x="953" y="5632"/>
                  </a:cubicBezTo>
                  <a:cubicBezTo>
                    <a:pt x="1001" y="5656"/>
                    <a:pt x="1036" y="5656"/>
                    <a:pt x="1072" y="5656"/>
                  </a:cubicBezTo>
                  <a:cubicBezTo>
                    <a:pt x="1215" y="5656"/>
                    <a:pt x="1334" y="5597"/>
                    <a:pt x="1429" y="5501"/>
                  </a:cubicBezTo>
                  <a:lnTo>
                    <a:pt x="1453" y="5489"/>
                  </a:lnTo>
                  <a:cubicBezTo>
                    <a:pt x="1667" y="6549"/>
                    <a:pt x="2370" y="7371"/>
                    <a:pt x="3037" y="7716"/>
                  </a:cubicBezTo>
                  <a:cubicBezTo>
                    <a:pt x="3120" y="7871"/>
                    <a:pt x="3239" y="8014"/>
                    <a:pt x="3394" y="8133"/>
                  </a:cubicBezTo>
                  <a:lnTo>
                    <a:pt x="3537" y="8228"/>
                  </a:lnTo>
                  <a:cubicBezTo>
                    <a:pt x="3668" y="8633"/>
                    <a:pt x="4037" y="9121"/>
                    <a:pt x="4668" y="9347"/>
                  </a:cubicBezTo>
                  <a:cubicBezTo>
                    <a:pt x="4846" y="9645"/>
                    <a:pt x="5168" y="9835"/>
                    <a:pt x="5537" y="9835"/>
                  </a:cubicBezTo>
                  <a:cubicBezTo>
                    <a:pt x="5918" y="9835"/>
                    <a:pt x="6239" y="9645"/>
                    <a:pt x="6418" y="9347"/>
                  </a:cubicBezTo>
                  <a:cubicBezTo>
                    <a:pt x="7049" y="9121"/>
                    <a:pt x="7406" y="8633"/>
                    <a:pt x="7549" y="8228"/>
                  </a:cubicBezTo>
                  <a:lnTo>
                    <a:pt x="7680" y="8133"/>
                  </a:lnTo>
                  <a:cubicBezTo>
                    <a:pt x="7847" y="8014"/>
                    <a:pt x="7966" y="7883"/>
                    <a:pt x="8037" y="7716"/>
                  </a:cubicBezTo>
                  <a:cubicBezTo>
                    <a:pt x="8692" y="7371"/>
                    <a:pt x="9406" y="6549"/>
                    <a:pt x="9633" y="5489"/>
                  </a:cubicBezTo>
                  <a:lnTo>
                    <a:pt x="9644" y="5501"/>
                  </a:lnTo>
                  <a:cubicBezTo>
                    <a:pt x="9740" y="5608"/>
                    <a:pt x="9871" y="5656"/>
                    <a:pt x="10002" y="5656"/>
                  </a:cubicBezTo>
                  <a:cubicBezTo>
                    <a:pt x="10049" y="5656"/>
                    <a:pt x="10085" y="5656"/>
                    <a:pt x="10121" y="5632"/>
                  </a:cubicBezTo>
                  <a:cubicBezTo>
                    <a:pt x="10299" y="5585"/>
                    <a:pt x="10442" y="5454"/>
                    <a:pt x="10502" y="5287"/>
                  </a:cubicBezTo>
                  <a:cubicBezTo>
                    <a:pt x="10585" y="4977"/>
                    <a:pt x="10704" y="4442"/>
                    <a:pt x="10692" y="3656"/>
                  </a:cubicBezTo>
                  <a:cubicBezTo>
                    <a:pt x="10680" y="2882"/>
                    <a:pt x="10918" y="2751"/>
                    <a:pt x="10942" y="2727"/>
                  </a:cubicBezTo>
                  <a:cubicBezTo>
                    <a:pt x="10990" y="2727"/>
                    <a:pt x="11014" y="2703"/>
                    <a:pt x="11049" y="2680"/>
                  </a:cubicBezTo>
                  <a:cubicBezTo>
                    <a:pt x="11002" y="2644"/>
                    <a:pt x="11014" y="2596"/>
                    <a:pt x="11002" y="2537"/>
                  </a:cubicBezTo>
                  <a:cubicBezTo>
                    <a:pt x="11002" y="2513"/>
                    <a:pt x="10871" y="1906"/>
                    <a:pt x="10537" y="1287"/>
                  </a:cubicBezTo>
                  <a:cubicBezTo>
                    <a:pt x="10097" y="441"/>
                    <a:pt x="9490" y="1"/>
                    <a:pt x="8787" y="1"/>
                  </a:cubicBezTo>
                  <a:cubicBezTo>
                    <a:pt x="8263" y="1"/>
                    <a:pt x="7597" y="310"/>
                    <a:pt x="7525" y="358"/>
                  </a:cubicBezTo>
                  <a:cubicBezTo>
                    <a:pt x="7410" y="398"/>
                    <a:pt x="7314" y="415"/>
                    <a:pt x="7221" y="415"/>
                  </a:cubicBezTo>
                  <a:cubicBezTo>
                    <a:pt x="7093" y="415"/>
                    <a:pt x="6970" y="382"/>
                    <a:pt x="6811" y="334"/>
                  </a:cubicBezTo>
                  <a:cubicBezTo>
                    <a:pt x="6537" y="263"/>
                    <a:pt x="6156" y="155"/>
                    <a:pt x="5513" y="155"/>
                  </a:cubicBezTo>
                  <a:cubicBezTo>
                    <a:pt x="4870" y="155"/>
                    <a:pt x="4489" y="263"/>
                    <a:pt x="4215" y="334"/>
                  </a:cubicBezTo>
                  <a:cubicBezTo>
                    <a:pt x="4049" y="382"/>
                    <a:pt x="3932" y="415"/>
                    <a:pt x="3806" y="415"/>
                  </a:cubicBezTo>
                  <a:cubicBezTo>
                    <a:pt x="3716" y="415"/>
                    <a:pt x="3621" y="398"/>
                    <a:pt x="3501" y="358"/>
                  </a:cubicBezTo>
                  <a:cubicBezTo>
                    <a:pt x="3429" y="310"/>
                    <a:pt x="2763" y="1"/>
                    <a:pt x="2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99" name="Google Shape;12899;p63"/>
          <p:cNvGrpSpPr/>
          <p:nvPr/>
        </p:nvGrpSpPr>
        <p:grpSpPr>
          <a:xfrm>
            <a:off x="1404013" y="2958066"/>
            <a:ext cx="368096" cy="223968"/>
            <a:chOff x="1404013" y="2958066"/>
            <a:chExt cx="368096" cy="223968"/>
          </a:xfrm>
        </p:grpSpPr>
        <p:sp>
          <p:nvSpPr>
            <p:cNvPr id="12900" name="Google Shape;12900;p63"/>
            <p:cNvSpPr/>
            <p:nvPr/>
          </p:nvSpPr>
          <p:spPr>
            <a:xfrm>
              <a:off x="1426893" y="3073426"/>
              <a:ext cx="40032" cy="45760"/>
            </a:xfrm>
            <a:custGeom>
              <a:avLst/>
              <a:gdLst/>
              <a:ahLst/>
              <a:cxnLst/>
              <a:rect l="l" t="t" r="r" b="b"/>
              <a:pathLst>
                <a:path w="1251" h="1430" extrusionOk="0">
                  <a:moveTo>
                    <a:pt x="631" y="0"/>
                  </a:moveTo>
                  <a:cubicBezTo>
                    <a:pt x="286" y="0"/>
                    <a:pt x="0" y="286"/>
                    <a:pt x="0" y="631"/>
                  </a:cubicBezTo>
                  <a:lnTo>
                    <a:pt x="0" y="810"/>
                  </a:lnTo>
                  <a:cubicBezTo>
                    <a:pt x="0" y="1155"/>
                    <a:pt x="286" y="1429"/>
                    <a:pt x="631" y="1429"/>
                  </a:cubicBezTo>
                  <a:cubicBezTo>
                    <a:pt x="965" y="1429"/>
                    <a:pt x="1251" y="1155"/>
                    <a:pt x="1251" y="810"/>
                  </a:cubicBezTo>
                  <a:lnTo>
                    <a:pt x="1251" y="703"/>
                  </a:lnTo>
                  <a:cubicBezTo>
                    <a:pt x="1239" y="619"/>
                    <a:pt x="1167" y="536"/>
                    <a:pt x="1072" y="536"/>
                  </a:cubicBezTo>
                  <a:cubicBezTo>
                    <a:pt x="989" y="536"/>
                    <a:pt x="905" y="619"/>
                    <a:pt x="905" y="703"/>
                  </a:cubicBezTo>
                  <a:lnTo>
                    <a:pt x="905" y="798"/>
                  </a:lnTo>
                  <a:cubicBezTo>
                    <a:pt x="905" y="941"/>
                    <a:pt x="786" y="1072"/>
                    <a:pt x="631" y="1072"/>
                  </a:cubicBezTo>
                  <a:cubicBezTo>
                    <a:pt x="477" y="1072"/>
                    <a:pt x="346" y="953"/>
                    <a:pt x="346" y="798"/>
                  </a:cubicBezTo>
                  <a:lnTo>
                    <a:pt x="346" y="619"/>
                  </a:lnTo>
                  <a:cubicBezTo>
                    <a:pt x="346" y="465"/>
                    <a:pt x="465" y="334"/>
                    <a:pt x="631" y="334"/>
                  </a:cubicBezTo>
                  <a:cubicBezTo>
                    <a:pt x="715" y="334"/>
                    <a:pt x="786" y="262"/>
                    <a:pt x="786" y="167"/>
                  </a:cubicBezTo>
                  <a:cubicBezTo>
                    <a:pt x="786" y="72"/>
                    <a:pt x="715" y="0"/>
                    <a:pt x="63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1" name="Google Shape;12901;p63"/>
            <p:cNvSpPr/>
            <p:nvPr/>
          </p:nvSpPr>
          <p:spPr>
            <a:xfrm>
              <a:off x="1404013" y="2958066"/>
              <a:ext cx="368096" cy="223968"/>
            </a:xfrm>
            <a:custGeom>
              <a:avLst/>
              <a:gdLst/>
              <a:ahLst/>
              <a:cxnLst/>
              <a:rect l="l" t="t" r="r" b="b"/>
              <a:pathLst>
                <a:path w="11503" h="6999" extrusionOk="0">
                  <a:moveTo>
                    <a:pt x="7800" y="2593"/>
                  </a:moveTo>
                  <a:lnTo>
                    <a:pt x="7895" y="2855"/>
                  </a:lnTo>
                  <a:cubicBezTo>
                    <a:pt x="7811" y="2831"/>
                    <a:pt x="7740" y="2820"/>
                    <a:pt x="7669" y="2796"/>
                  </a:cubicBezTo>
                  <a:cubicBezTo>
                    <a:pt x="7716" y="2712"/>
                    <a:pt x="7752" y="2653"/>
                    <a:pt x="7800" y="2593"/>
                  </a:cubicBezTo>
                  <a:close/>
                  <a:moveTo>
                    <a:pt x="4656" y="2820"/>
                  </a:moveTo>
                  <a:lnTo>
                    <a:pt x="4656" y="2820"/>
                  </a:lnTo>
                  <a:cubicBezTo>
                    <a:pt x="4347" y="3212"/>
                    <a:pt x="3263" y="3582"/>
                    <a:pt x="2430" y="3772"/>
                  </a:cubicBezTo>
                  <a:cubicBezTo>
                    <a:pt x="2370" y="3570"/>
                    <a:pt x="2263" y="3379"/>
                    <a:pt x="2132" y="3248"/>
                  </a:cubicBezTo>
                  <a:cubicBezTo>
                    <a:pt x="2096" y="3224"/>
                    <a:pt x="2049" y="3177"/>
                    <a:pt x="2013" y="3141"/>
                  </a:cubicBezTo>
                  <a:cubicBezTo>
                    <a:pt x="2537" y="3010"/>
                    <a:pt x="3466" y="2831"/>
                    <a:pt x="4656" y="2820"/>
                  </a:cubicBezTo>
                  <a:close/>
                  <a:moveTo>
                    <a:pt x="5049" y="2820"/>
                  </a:moveTo>
                  <a:cubicBezTo>
                    <a:pt x="5371" y="2820"/>
                    <a:pt x="5704" y="2855"/>
                    <a:pt x="6061" y="2879"/>
                  </a:cubicBezTo>
                  <a:lnTo>
                    <a:pt x="4883" y="4224"/>
                  </a:lnTo>
                  <a:cubicBezTo>
                    <a:pt x="4097" y="4129"/>
                    <a:pt x="3490" y="4022"/>
                    <a:pt x="3073" y="3951"/>
                  </a:cubicBezTo>
                  <a:cubicBezTo>
                    <a:pt x="3251" y="3903"/>
                    <a:pt x="3454" y="3832"/>
                    <a:pt x="3644" y="3760"/>
                  </a:cubicBezTo>
                  <a:cubicBezTo>
                    <a:pt x="4454" y="3462"/>
                    <a:pt x="4918" y="3165"/>
                    <a:pt x="5049" y="2820"/>
                  </a:cubicBezTo>
                  <a:close/>
                  <a:moveTo>
                    <a:pt x="8431" y="3355"/>
                  </a:moveTo>
                  <a:lnTo>
                    <a:pt x="8431" y="3355"/>
                  </a:lnTo>
                  <a:cubicBezTo>
                    <a:pt x="9240" y="3605"/>
                    <a:pt x="10014" y="3951"/>
                    <a:pt x="10764" y="4367"/>
                  </a:cubicBezTo>
                  <a:cubicBezTo>
                    <a:pt x="10109" y="4379"/>
                    <a:pt x="9455" y="4415"/>
                    <a:pt x="8812" y="4415"/>
                  </a:cubicBezTo>
                  <a:lnTo>
                    <a:pt x="8431" y="3355"/>
                  </a:lnTo>
                  <a:close/>
                  <a:moveTo>
                    <a:pt x="9586" y="4725"/>
                  </a:moveTo>
                  <a:lnTo>
                    <a:pt x="9990" y="5070"/>
                  </a:lnTo>
                  <a:cubicBezTo>
                    <a:pt x="9752" y="5201"/>
                    <a:pt x="9466" y="5320"/>
                    <a:pt x="9181" y="5427"/>
                  </a:cubicBezTo>
                  <a:lnTo>
                    <a:pt x="8931" y="4736"/>
                  </a:lnTo>
                  <a:cubicBezTo>
                    <a:pt x="9157" y="4736"/>
                    <a:pt x="9359" y="4736"/>
                    <a:pt x="9586" y="4725"/>
                  </a:cubicBezTo>
                  <a:close/>
                  <a:moveTo>
                    <a:pt x="2489" y="4177"/>
                  </a:moveTo>
                  <a:cubicBezTo>
                    <a:pt x="2668" y="4224"/>
                    <a:pt x="2954" y="4284"/>
                    <a:pt x="3347" y="4355"/>
                  </a:cubicBezTo>
                  <a:cubicBezTo>
                    <a:pt x="3239" y="4594"/>
                    <a:pt x="2978" y="5153"/>
                    <a:pt x="2489" y="5689"/>
                  </a:cubicBezTo>
                  <a:cubicBezTo>
                    <a:pt x="2335" y="5665"/>
                    <a:pt x="2216" y="5653"/>
                    <a:pt x="2132" y="5629"/>
                  </a:cubicBezTo>
                  <a:cubicBezTo>
                    <a:pt x="2358" y="5248"/>
                    <a:pt x="2489" y="4772"/>
                    <a:pt x="2489" y="4320"/>
                  </a:cubicBezTo>
                  <a:lnTo>
                    <a:pt x="2489" y="4177"/>
                  </a:lnTo>
                  <a:close/>
                  <a:moveTo>
                    <a:pt x="3704" y="4403"/>
                  </a:moveTo>
                  <a:cubicBezTo>
                    <a:pt x="3978" y="4439"/>
                    <a:pt x="4275" y="4486"/>
                    <a:pt x="4621" y="4522"/>
                  </a:cubicBezTo>
                  <a:cubicBezTo>
                    <a:pt x="4597" y="4522"/>
                    <a:pt x="3454" y="5832"/>
                    <a:pt x="3454" y="5832"/>
                  </a:cubicBezTo>
                  <a:cubicBezTo>
                    <a:pt x="3251" y="5796"/>
                    <a:pt x="3049" y="5784"/>
                    <a:pt x="2894" y="5748"/>
                  </a:cubicBezTo>
                  <a:cubicBezTo>
                    <a:pt x="3370" y="5177"/>
                    <a:pt x="3632" y="4594"/>
                    <a:pt x="3704" y="4403"/>
                  </a:cubicBezTo>
                  <a:close/>
                  <a:moveTo>
                    <a:pt x="1251" y="3224"/>
                  </a:moveTo>
                  <a:cubicBezTo>
                    <a:pt x="1835" y="3224"/>
                    <a:pt x="2156" y="3605"/>
                    <a:pt x="2156" y="4308"/>
                  </a:cubicBezTo>
                  <a:cubicBezTo>
                    <a:pt x="2156" y="4713"/>
                    <a:pt x="2037" y="5129"/>
                    <a:pt x="1846" y="5451"/>
                  </a:cubicBezTo>
                  <a:cubicBezTo>
                    <a:pt x="1668" y="5748"/>
                    <a:pt x="1442" y="5927"/>
                    <a:pt x="1251" y="5927"/>
                  </a:cubicBezTo>
                  <a:cubicBezTo>
                    <a:pt x="1061" y="5927"/>
                    <a:pt x="834" y="5748"/>
                    <a:pt x="656" y="5451"/>
                  </a:cubicBezTo>
                  <a:cubicBezTo>
                    <a:pt x="465" y="5129"/>
                    <a:pt x="346" y="4713"/>
                    <a:pt x="346" y="4308"/>
                  </a:cubicBezTo>
                  <a:cubicBezTo>
                    <a:pt x="346" y="3605"/>
                    <a:pt x="668" y="3224"/>
                    <a:pt x="1251" y="3224"/>
                  </a:cubicBezTo>
                  <a:close/>
                  <a:moveTo>
                    <a:pt x="7454" y="3081"/>
                  </a:moveTo>
                  <a:cubicBezTo>
                    <a:pt x="7657" y="3129"/>
                    <a:pt x="7835" y="3177"/>
                    <a:pt x="8026" y="3224"/>
                  </a:cubicBezTo>
                  <a:lnTo>
                    <a:pt x="8454" y="4391"/>
                  </a:lnTo>
                  <a:lnTo>
                    <a:pt x="8264" y="4391"/>
                  </a:lnTo>
                  <a:cubicBezTo>
                    <a:pt x="8169" y="4391"/>
                    <a:pt x="8097" y="4474"/>
                    <a:pt x="8097" y="4558"/>
                  </a:cubicBezTo>
                  <a:cubicBezTo>
                    <a:pt x="8097" y="4653"/>
                    <a:pt x="8169" y="4725"/>
                    <a:pt x="8264" y="4725"/>
                  </a:cubicBezTo>
                  <a:lnTo>
                    <a:pt x="8573" y="4725"/>
                  </a:lnTo>
                  <a:lnTo>
                    <a:pt x="8859" y="5510"/>
                  </a:lnTo>
                  <a:cubicBezTo>
                    <a:pt x="8526" y="5629"/>
                    <a:pt x="8157" y="5725"/>
                    <a:pt x="7776" y="5796"/>
                  </a:cubicBezTo>
                  <a:cubicBezTo>
                    <a:pt x="7085" y="5915"/>
                    <a:pt x="6347" y="5975"/>
                    <a:pt x="5537" y="5975"/>
                  </a:cubicBezTo>
                  <a:cubicBezTo>
                    <a:pt x="5752" y="5677"/>
                    <a:pt x="6073" y="5201"/>
                    <a:pt x="6418" y="4701"/>
                  </a:cubicBezTo>
                  <a:cubicBezTo>
                    <a:pt x="6788" y="4713"/>
                    <a:pt x="7157" y="4736"/>
                    <a:pt x="7538" y="4736"/>
                  </a:cubicBezTo>
                  <a:cubicBezTo>
                    <a:pt x="7621" y="4736"/>
                    <a:pt x="7692" y="4665"/>
                    <a:pt x="7692" y="4570"/>
                  </a:cubicBezTo>
                  <a:cubicBezTo>
                    <a:pt x="7692" y="4486"/>
                    <a:pt x="7621" y="4415"/>
                    <a:pt x="7538" y="4391"/>
                  </a:cubicBezTo>
                  <a:cubicBezTo>
                    <a:pt x="7216" y="4379"/>
                    <a:pt x="6919" y="4379"/>
                    <a:pt x="6621" y="4355"/>
                  </a:cubicBezTo>
                  <a:cubicBezTo>
                    <a:pt x="6919" y="3903"/>
                    <a:pt x="7216" y="3462"/>
                    <a:pt x="7454" y="3081"/>
                  </a:cubicBezTo>
                  <a:close/>
                  <a:moveTo>
                    <a:pt x="7406" y="1933"/>
                  </a:moveTo>
                  <a:cubicBezTo>
                    <a:pt x="7423" y="1933"/>
                    <a:pt x="7435" y="1935"/>
                    <a:pt x="7442" y="1938"/>
                  </a:cubicBezTo>
                  <a:cubicBezTo>
                    <a:pt x="7466" y="1938"/>
                    <a:pt x="7550" y="1974"/>
                    <a:pt x="7597" y="2058"/>
                  </a:cubicBezTo>
                  <a:lnTo>
                    <a:pt x="7645" y="2212"/>
                  </a:lnTo>
                  <a:cubicBezTo>
                    <a:pt x="6978" y="3224"/>
                    <a:pt x="5323" y="5737"/>
                    <a:pt x="5073" y="5987"/>
                  </a:cubicBezTo>
                  <a:cubicBezTo>
                    <a:pt x="4940" y="6127"/>
                    <a:pt x="4780" y="6199"/>
                    <a:pt x="4592" y="6199"/>
                  </a:cubicBezTo>
                  <a:cubicBezTo>
                    <a:pt x="4477" y="6199"/>
                    <a:pt x="4351" y="6172"/>
                    <a:pt x="4216" y="6118"/>
                  </a:cubicBezTo>
                  <a:cubicBezTo>
                    <a:pt x="4049" y="6058"/>
                    <a:pt x="3918" y="5975"/>
                    <a:pt x="3823" y="5915"/>
                  </a:cubicBezTo>
                  <a:lnTo>
                    <a:pt x="7264" y="1998"/>
                  </a:lnTo>
                  <a:cubicBezTo>
                    <a:pt x="7306" y="1947"/>
                    <a:pt x="7366" y="1933"/>
                    <a:pt x="7406" y="1933"/>
                  </a:cubicBezTo>
                  <a:close/>
                  <a:moveTo>
                    <a:pt x="525" y="1"/>
                  </a:moveTo>
                  <a:cubicBezTo>
                    <a:pt x="480" y="1"/>
                    <a:pt x="436" y="16"/>
                    <a:pt x="406" y="45"/>
                  </a:cubicBezTo>
                  <a:cubicBezTo>
                    <a:pt x="394" y="69"/>
                    <a:pt x="1" y="462"/>
                    <a:pt x="1" y="1438"/>
                  </a:cubicBezTo>
                  <a:cubicBezTo>
                    <a:pt x="1" y="2248"/>
                    <a:pt x="394" y="2784"/>
                    <a:pt x="632" y="3046"/>
                  </a:cubicBezTo>
                  <a:cubicBezTo>
                    <a:pt x="537" y="3105"/>
                    <a:pt x="453" y="3165"/>
                    <a:pt x="370" y="3236"/>
                  </a:cubicBezTo>
                  <a:cubicBezTo>
                    <a:pt x="132" y="3486"/>
                    <a:pt x="13" y="3843"/>
                    <a:pt x="13" y="4320"/>
                  </a:cubicBezTo>
                  <a:cubicBezTo>
                    <a:pt x="13" y="4784"/>
                    <a:pt x="156" y="5260"/>
                    <a:pt x="370" y="5641"/>
                  </a:cubicBezTo>
                  <a:cubicBezTo>
                    <a:pt x="632" y="6058"/>
                    <a:pt x="942" y="6284"/>
                    <a:pt x="1263" y="6284"/>
                  </a:cubicBezTo>
                  <a:cubicBezTo>
                    <a:pt x="1501" y="6284"/>
                    <a:pt x="1739" y="6153"/>
                    <a:pt x="1942" y="5927"/>
                  </a:cubicBezTo>
                  <a:cubicBezTo>
                    <a:pt x="1966" y="5939"/>
                    <a:pt x="2037" y="5939"/>
                    <a:pt x="2132" y="5975"/>
                  </a:cubicBezTo>
                  <a:lnTo>
                    <a:pt x="1715" y="6677"/>
                  </a:lnTo>
                  <a:lnTo>
                    <a:pt x="715" y="6677"/>
                  </a:lnTo>
                  <a:cubicBezTo>
                    <a:pt x="632" y="6677"/>
                    <a:pt x="549" y="6749"/>
                    <a:pt x="549" y="6832"/>
                  </a:cubicBezTo>
                  <a:cubicBezTo>
                    <a:pt x="549" y="6927"/>
                    <a:pt x="632" y="6999"/>
                    <a:pt x="715" y="6999"/>
                  </a:cubicBezTo>
                  <a:lnTo>
                    <a:pt x="1704" y="6999"/>
                  </a:lnTo>
                  <a:cubicBezTo>
                    <a:pt x="1823" y="6999"/>
                    <a:pt x="1942" y="6939"/>
                    <a:pt x="2001" y="6832"/>
                  </a:cubicBezTo>
                  <a:lnTo>
                    <a:pt x="2477" y="6034"/>
                  </a:lnTo>
                  <a:cubicBezTo>
                    <a:pt x="2597" y="6046"/>
                    <a:pt x="2728" y="6082"/>
                    <a:pt x="2894" y="6094"/>
                  </a:cubicBezTo>
                  <a:lnTo>
                    <a:pt x="2894" y="6653"/>
                  </a:lnTo>
                  <a:cubicBezTo>
                    <a:pt x="2894" y="6653"/>
                    <a:pt x="2894" y="6677"/>
                    <a:pt x="2870" y="6677"/>
                  </a:cubicBezTo>
                  <a:lnTo>
                    <a:pt x="2513" y="6677"/>
                  </a:lnTo>
                  <a:cubicBezTo>
                    <a:pt x="2430" y="6677"/>
                    <a:pt x="2358" y="6749"/>
                    <a:pt x="2358" y="6832"/>
                  </a:cubicBezTo>
                  <a:cubicBezTo>
                    <a:pt x="2358" y="6927"/>
                    <a:pt x="2430" y="6999"/>
                    <a:pt x="2513" y="6999"/>
                  </a:cubicBezTo>
                  <a:lnTo>
                    <a:pt x="2870" y="6999"/>
                  </a:lnTo>
                  <a:cubicBezTo>
                    <a:pt x="3073" y="6999"/>
                    <a:pt x="3216" y="6856"/>
                    <a:pt x="3216" y="6653"/>
                  </a:cubicBezTo>
                  <a:lnTo>
                    <a:pt x="3216" y="6153"/>
                  </a:lnTo>
                  <a:cubicBezTo>
                    <a:pt x="3347" y="6165"/>
                    <a:pt x="3501" y="6177"/>
                    <a:pt x="3644" y="6201"/>
                  </a:cubicBezTo>
                  <a:cubicBezTo>
                    <a:pt x="3751" y="6272"/>
                    <a:pt x="3918" y="6356"/>
                    <a:pt x="4097" y="6439"/>
                  </a:cubicBezTo>
                  <a:cubicBezTo>
                    <a:pt x="4275" y="6510"/>
                    <a:pt x="4454" y="6534"/>
                    <a:pt x="4621" y="6534"/>
                  </a:cubicBezTo>
                  <a:cubicBezTo>
                    <a:pt x="4859" y="6534"/>
                    <a:pt x="5073" y="6451"/>
                    <a:pt x="5275" y="6296"/>
                  </a:cubicBezTo>
                  <a:lnTo>
                    <a:pt x="5609" y="6296"/>
                  </a:lnTo>
                  <a:cubicBezTo>
                    <a:pt x="6895" y="6296"/>
                    <a:pt x="8026" y="6153"/>
                    <a:pt x="8990" y="5856"/>
                  </a:cubicBezTo>
                  <a:lnTo>
                    <a:pt x="9288" y="6653"/>
                  </a:lnTo>
                  <a:cubicBezTo>
                    <a:pt x="9359" y="6868"/>
                    <a:pt x="9562" y="6999"/>
                    <a:pt x="9776" y="6999"/>
                  </a:cubicBezTo>
                  <a:lnTo>
                    <a:pt x="10788" y="6999"/>
                  </a:lnTo>
                  <a:cubicBezTo>
                    <a:pt x="10883" y="6999"/>
                    <a:pt x="10955" y="6927"/>
                    <a:pt x="10955" y="6832"/>
                  </a:cubicBezTo>
                  <a:cubicBezTo>
                    <a:pt x="10955" y="6749"/>
                    <a:pt x="10883" y="6677"/>
                    <a:pt x="10788" y="6677"/>
                  </a:cubicBezTo>
                  <a:lnTo>
                    <a:pt x="9776" y="6677"/>
                  </a:lnTo>
                  <a:cubicBezTo>
                    <a:pt x="9705" y="6677"/>
                    <a:pt x="9633" y="6630"/>
                    <a:pt x="9597" y="6558"/>
                  </a:cubicBezTo>
                  <a:lnTo>
                    <a:pt x="9300" y="5760"/>
                  </a:lnTo>
                  <a:cubicBezTo>
                    <a:pt x="9693" y="5629"/>
                    <a:pt x="10050" y="5463"/>
                    <a:pt x="10371" y="5272"/>
                  </a:cubicBezTo>
                  <a:cubicBezTo>
                    <a:pt x="10419" y="5248"/>
                    <a:pt x="10455" y="5201"/>
                    <a:pt x="10467" y="5141"/>
                  </a:cubicBezTo>
                  <a:cubicBezTo>
                    <a:pt x="10478" y="5082"/>
                    <a:pt x="10455" y="5034"/>
                    <a:pt x="10407" y="4986"/>
                  </a:cubicBezTo>
                  <a:lnTo>
                    <a:pt x="10109" y="4736"/>
                  </a:lnTo>
                  <a:cubicBezTo>
                    <a:pt x="10514" y="4725"/>
                    <a:pt x="10931" y="4713"/>
                    <a:pt x="11348" y="4677"/>
                  </a:cubicBezTo>
                  <a:cubicBezTo>
                    <a:pt x="11419" y="4677"/>
                    <a:pt x="11479" y="4617"/>
                    <a:pt x="11491" y="4558"/>
                  </a:cubicBezTo>
                  <a:cubicBezTo>
                    <a:pt x="11502" y="4463"/>
                    <a:pt x="11479" y="4379"/>
                    <a:pt x="11419" y="4355"/>
                  </a:cubicBezTo>
                  <a:cubicBezTo>
                    <a:pt x="10431" y="3736"/>
                    <a:pt x="9395" y="3272"/>
                    <a:pt x="8288" y="2950"/>
                  </a:cubicBezTo>
                  <a:lnTo>
                    <a:pt x="7919" y="1938"/>
                  </a:lnTo>
                  <a:cubicBezTo>
                    <a:pt x="7859" y="1760"/>
                    <a:pt x="7716" y="1641"/>
                    <a:pt x="7514" y="1617"/>
                  </a:cubicBezTo>
                  <a:cubicBezTo>
                    <a:pt x="7480" y="1610"/>
                    <a:pt x="7446" y="1607"/>
                    <a:pt x="7411" y="1607"/>
                  </a:cubicBezTo>
                  <a:cubicBezTo>
                    <a:pt x="7265" y="1607"/>
                    <a:pt x="7122" y="1668"/>
                    <a:pt x="7026" y="1784"/>
                  </a:cubicBezTo>
                  <a:lnTo>
                    <a:pt x="6323" y="2569"/>
                  </a:lnTo>
                  <a:cubicBezTo>
                    <a:pt x="5785" y="2506"/>
                    <a:pt x="5273" y="2481"/>
                    <a:pt x="4799" y="2481"/>
                  </a:cubicBezTo>
                  <a:cubicBezTo>
                    <a:pt x="3040" y="2481"/>
                    <a:pt x="1788" y="2833"/>
                    <a:pt x="1525" y="2927"/>
                  </a:cubicBezTo>
                  <a:cubicBezTo>
                    <a:pt x="1430" y="2903"/>
                    <a:pt x="1346" y="2891"/>
                    <a:pt x="1239" y="2891"/>
                  </a:cubicBezTo>
                  <a:lnTo>
                    <a:pt x="1168" y="2891"/>
                  </a:lnTo>
                  <a:cubicBezTo>
                    <a:pt x="989" y="2462"/>
                    <a:pt x="823" y="1879"/>
                    <a:pt x="942" y="1343"/>
                  </a:cubicBezTo>
                  <a:cubicBezTo>
                    <a:pt x="1013" y="998"/>
                    <a:pt x="1168" y="843"/>
                    <a:pt x="1180" y="843"/>
                  </a:cubicBezTo>
                  <a:cubicBezTo>
                    <a:pt x="1239" y="784"/>
                    <a:pt x="1239" y="664"/>
                    <a:pt x="1180" y="605"/>
                  </a:cubicBezTo>
                  <a:cubicBezTo>
                    <a:pt x="1150" y="575"/>
                    <a:pt x="1105" y="560"/>
                    <a:pt x="1061" y="560"/>
                  </a:cubicBezTo>
                  <a:cubicBezTo>
                    <a:pt x="1016" y="560"/>
                    <a:pt x="971" y="575"/>
                    <a:pt x="942" y="605"/>
                  </a:cubicBezTo>
                  <a:cubicBezTo>
                    <a:pt x="906" y="629"/>
                    <a:pt x="287" y="1272"/>
                    <a:pt x="727" y="2653"/>
                  </a:cubicBezTo>
                  <a:cubicBezTo>
                    <a:pt x="549" y="2415"/>
                    <a:pt x="334" y="2010"/>
                    <a:pt x="334" y="1438"/>
                  </a:cubicBezTo>
                  <a:cubicBezTo>
                    <a:pt x="334" y="629"/>
                    <a:pt x="644" y="307"/>
                    <a:pt x="644" y="283"/>
                  </a:cubicBezTo>
                  <a:cubicBezTo>
                    <a:pt x="703" y="224"/>
                    <a:pt x="703" y="105"/>
                    <a:pt x="644" y="45"/>
                  </a:cubicBezTo>
                  <a:cubicBezTo>
                    <a:pt x="614" y="16"/>
                    <a:pt x="569" y="1"/>
                    <a:pt x="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02" name="Google Shape;12902;p63"/>
          <p:cNvSpPr/>
          <p:nvPr/>
        </p:nvSpPr>
        <p:spPr>
          <a:xfrm>
            <a:off x="4147597" y="2886354"/>
            <a:ext cx="367712" cy="367680"/>
          </a:xfrm>
          <a:custGeom>
            <a:avLst/>
            <a:gdLst/>
            <a:ahLst/>
            <a:cxnLst/>
            <a:rect l="l" t="t" r="r" b="b"/>
            <a:pathLst>
              <a:path w="11491" h="11490" extrusionOk="0">
                <a:moveTo>
                  <a:pt x="5585" y="1643"/>
                </a:moveTo>
                <a:lnTo>
                  <a:pt x="5585" y="3013"/>
                </a:lnTo>
                <a:cubicBezTo>
                  <a:pt x="5322" y="3482"/>
                  <a:pt x="4845" y="3751"/>
                  <a:pt x="4340" y="3751"/>
                </a:cubicBezTo>
                <a:cubicBezTo>
                  <a:pt x="4204" y="3751"/>
                  <a:pt x="4066" y="3732"/>
                  <a:pt x="3930" y="3691"/>
                </a:cubicBezTo>
                <a:lnTo>
                  <a:pt x="2966" y="2727"/>
                </a:lnTo>
                <a:lnTo>
                  <a:pt x="2966" y="2727"/>
                </a:lnTo>
                <a:cubicBezTo>
                  <a:pt x="3070" y="2737"/>
                  <a:pt x="3176" y="2742"/>
                  <a:pt x="3281" y="2742"/>
                </a:cubicBezTo>
                <a:cubicBezTo>
                  <a:pt x="3666" y="2742"/>
                  <a:pt x="4051" y="2672"/>
                  <a:pt x="4406" y="2513"/>
                </a:cubicBezTo>
                <a:cubicBezTo>
                  <a:pt x="4871" y="2322"/>
                  <a:pt x="5275" y="2024"/>
                  <a:pt x="5585" y="1643"/>
                </a:cubicBezTo>
                <a:close/>
                <a:moveTo>
                  <a:pt x="5573" y="3560"/>
                </a:moveTo>
                <a:lnTo>
                  <a:pt x="5573" y="5322"/>
                </a:lnTo>
                <a:lnTo>
                  <a:pt x="4323" y="4084"/>
                </a:lnTo>
                <a:cubicBezTo>
                  <a:pt x="4799" y="4084"/>
                  <a:pt x="5240" y="3882"/>
                  <a:pt x="5573" y="3560"/>
                </a:cubicBezTo>
                <a:close/>
                <a:moveTo>
                  <a:pt x="5918" y="3560"/>
                </a:moveTo>
                <a:cubicBezTo>
                  <a:pt x="6240" y="3882"/>
                  <a:pt x="6692" y="4084"/>
                  <a:pt x="7168" y="4084"/>
                </a:cubicBezTo>
                <a:lnTo>
                  <a:pt x="5918" y="5322"/>
                </a:lnTo>
                <a:lnTo>
                  <a:pt x="5918" y="3560"/>
                </a:lnTo>
                <a:close/>
                <a:moveTo>
                  <a:pt x="2727" y="2965"/>
                </a:moveTo>
                <a:lnTo>
                  <a:pt x="3692" y="3929"/>
                </a:lnTo>
                <a:cubicBezTo>
                  <a:pt x="3894" y="4572"/>
                  <a:pt x="3608" y="5251"/>
                  <a:pt x="3013" y="5584"/>
                </a:cubicBezTo>
                <a:lnTo>
                  <a:pt x="1644" y="5584"/>
                </a:lnTo>
                <a:cubicBezTo>
                  <a:pt x="2025" y="5275"/>
                  <a:pt x="2323" y="4870"/>
                  <a:pt x="2525" y="4406"/>
                </a:cubicBezTo>
                <a:cubicBezTo>
                  <a:pt x="2716" y="3941"/>
                  <a:pt x="2775" y="3453"/>
                  <a:pt x="2727" y="2965"/>
                </a:cubicBezTo>
                <a:close/>
                <a:moveTo>
                  <a:pt x="4085" y="4334"/>
                </a:moveTo>
                <a:lnTo>
                  <a:pt x="5335" y="5584"/>
                </a:lnTo>
                <a:lnTo>
                  <a:pt x="3561" y="5584"/>
                </a:lnTo>
                <a:cubicBezTo>
                  <a:pt x="3894" y="5251"/>
                  <a:pt x="4085" y="4799"/>
                  <a:pt x="4085" y="4334"/>
                </a:cubicBezTo>
                <a:close/>
                <a:moveTo>
                  <a:pt x="7407" y="4334"/>
                </a:moveTo>
                <a:cubicBezTo>
                  <a:pt x="7407" y="4810"/>
                  <a:pt x="7585" y="5251"/>
                  <a:pt x="7919" y="5584"/>
                </a:cubicBezTo>
                <a:lnTo>
                  <a:pt x="6156" y="5584"/>
                </a:lnTo>
                <a:lnTo>
                  <a:pt x="7407" y="4334"/>
                </a:lnTo>
                <a:close/>
                <a:moveTo>
                  <a:pt x="5918" y="1643"/>
                </a:moveTo>
                <a:cubicBezTo>
                  <a:pt x="6228" y="2024"/>
                  <a:pt x="6633" y="2322"/>
                  <a:pt x="7085" y="2513"/>
                </a:cubicBezTo>
                <a:cubicBezTo>
                  <a:pt x="7457" y="2665"/>
                  <a:pt x="7843" y="2741"/>
                  <a:pt x="8239" y="2741"/>
                </a:cubicBezTo>
                <a:cubicBezTo>
                  <a:pt x="8338" y="2741"/>
                  <a:pt x="8438" y="2736"/>
                  <a:pt x="8538" y="2727"/>
                </a:cubicBezTo>
                <a:lnTo>
                  <a:pt x="8538" y="2727"/>
                </a:lnTo>
                <a:lnTo>
                  <a:pt x="8502" y="2751"/>
                </a:lnTo>
                <a:cubicBezTo>
                  <a:pt x="8442" y="2810"/>
                  <a:pt x="8442" y="2929"/>
                  <a:pt x="8502" y="2989"/>
                </a:cubicBezTo>
                <a:cubicBezTo>
                  <a:pt x="8538" y="3025"/>
                  <a:pt x="8573" y="3036"/>
                  <a:pt x="8621" y="3036"/>
                </a:cubicBezTo>
                <a:cubicBezTo>
                  <a:pt x="8669" y="3036"/>
                  <a:pt x="8716" y="3025"/>
                  <a:pt x="8740" y="2989"/>
                </a:cubicBezTo>
                <a:lnTo>
                  <a:pt x="8764" y="2965"/>
                </a:lnTo>
                <a:lnTo>
                  <a:pt x="8764" y="2965"/>
                </a:lnTo>
                <a:cubicBezTo>
                  <a:pt x="8716" y="3453"/>
                  <a:pt x="8788" y="3941"/>
                  <a:pt x="8978" y="4406"/>
                </a:cubicBezTo>
                <a:cubicBezTo>
                  <a:pt x="9169" y="4870"/>
                  <a:pt x="9466" y="5275"/>
                  <a:pt x="9859" y="5584"/>
                </a:cubicBezTo>
                <a:lnTo>
                  <a:pt x="8490" y="5584"/>
                </a:lnTo>
                <a:cubicBezTo>
                  <a:pt x="7895" y="5251"/>
                  <a:pt x="7609" y="4572"/>
                  <a:pt x="7799" y="3929"/>
                </a:cubicBezTo>
                <a:lnTo>
                  <a:pt x="8204" y="3525"/>
                </a:lnTo>
                <a:cubicBezTo>
                  <a:pt x="8264" y="3465"/>
                  <a:pt x="8264" y="3346"/>
                  <a:pt x="8204" y="3286"/>
                </a:cubicBezTo>
                <a:cubicBezTo>
                  <a:pt x="8175" y="3257"/>
                  <a:pt x="8130" y="3242"/>
                  <a:pt x="8085" y="3242"/>
                </a:cubicBezTo>
                <a:cubicBezTo>
                  <a:pt x="8041" y="3242"/>
                  <a:pt x="7996" y="3257"/>
                  <a:pt x="7966" y="3286"/>
                </a:cubicBezTo>
                <a:lnTo>
                  <a:pt x="7561" y="3691"/>
                </a:lnTo>
                <a:cubicBezTo>
                  <a:pt x="7428" y="3731"/>
                  <a:pt x="7293" y="3750"/>
                  <a:pt x="7160" y="3750"/>
                </a:cubicBezTo>
                <a:cubicBezTo>
                  <a:pt x="6652" y="3750"/>
                  <a:pt x="6171" y="3472"/>
                  <a:pt x="5906" y="3001"/>
                </a:cubicBezTo>
                <a:lnTo>
                  <a:pt x="5906" y="1643"/>
                </a:lnTo>
                <a:close/>
                <a:moveTo>
                  <a:pt x="5347" y="5906"/>
                </a:moveTo>
                <a:lnTo>
                  <a:pt x="4097" y="7156"/>
                </a:lnTo>
                <a:cubicBezTo>
                  <a:pt x="4097" y="6680"/>
                  <a:pt x="3918" y="6239"/>
                  <a:pt x="3573" y="5906"/>
                </a:cubicBezTo>
                <a:close/>
                <a:moveTo>
                  <a:pt x="7942" y="5906"/>
                </a:moveTo>
                <a:cubicBezTo>
                  <a:pt x="7609" y="6239"/>
                  <a:pt x="7418" y="6704"/>
                  <a:pt x="7418" y="7156"/>
                </a:cubicBezTo>
                <a:lnTo>
                  <a:pt x="6168" y="5906"/>
                </a:lnTo>
                <a:close/>
                <a:moveTo>
                  <a:pt x="5585" y="6144"/>
                </a:moveTo>
                <a:lnTo>
                  <a:pt x="5585" y="7918"/>
                </a:lnTo>
                <a:cubicBezTo>
                  <a:pt x="5263" y="7585"/>
                  <a:pt x="4811" y="7394"/>
                  <a:pt x="4335" y="7394"/>
                </a:cubicBezTo>
                <a:lnTo>
                  <a:pt x="5585" y="6144"/>
                </a:lnTo>
                <a:close/>
                <a:moveTo>
                  <a:pt x="5918" y="6144"/>
                </a:moveTo>
                <a:lnTo>
                  <a:pt x="7168" y="7394"/>
                </a:lnTo>
                <a:cubicBezTo>
                  <a:pt x="6680" y="7394"/>
                  <a:pt x="6240" y="7573"/>
                  <a:pt x="5918" y="7918"/>
                </a:cubicBezTo>
                <a:lnTo>
                  <a:pt x="5918" y="6144"/>
                </a:lnTo>
                <a:close/>
                <a:moveTo>
                  <a:pt x="9859" y="5906"/>
                </a:moveTo>
                <a:cubicBezTo>
                  <a:pt x="9466" y="6215"/>
                  <a:pt x="9169" y="6620"/>
                  <a:pt x="8978" y="7085"/>
                </a:cubicBezTo>
                <a:cubicBezTo>
                  <a:pt x="8788" y="7549"/>
                  <a:pt x="8728" y="8037"/>
                  <a:pt x="8776" y="8525"/>
                </a:cubicBezTo>
                <a:lnTo>
                  <a:pt x="7799" y="7561"/>
                </a:lnTo>
                <a:cubicBezTo>
                  <a:pt x="7609" y="6918"/>
                  <a:pt x="7895" y="6239"/>
                  <a:pt x="8490" y="5906"/>
                </a:cubicBezTo>
                <a:close/>
                <a:moveTo>
                  <a:pt x="3001" y="5906"/>
                </a:moveTo>
                <a:cubicBezTo>
                  <a:pt x="3597" y="6239"/>
                  <a:pt x="3870" y="6918"/>
                  <a:pt x="3680" y="7561"/>
                </a:cubicBezTo>
                <a:lnTo>
                  <a:pt x="3275" y="7966"/>
                </a:lnTo>
                <a:cubicBezTo>
                  <a:pt x="3216" y="8025"/>
                  <a:pt x="3216" y="8144"/>
                  <a:pt x="3275" y="8204"/>
                </a:cubicBezTo>
                <a:cubicBezTo>
                  <a:pt x="3311" y="8228"/>
                  <a:pt x="3358" y="8251"/>
                  <a:pt x="3394" y="8251"/>
                </a:cubicBezTo>
                <a:cubicBezTo>
                  <a:pt x="3442" y="8251"/>
                  <a:pt x="3489" y="8228"/>
                  <a:pt x="3513" y="8204"/>
                </a:cubicBezTo>
                <a:lnTo>
                  <a:pt x="3918" y="7799"/>
                </a:lnTo>
                <a:cubicBezTo>
                  <a:pt x="4051" y="7759"/>
                  <a:pt x="4186" y="7740"/>
                  <a:pt x="4320" y="7740"/>
                </a:cubicBezTo>
                <a:cubicBezTo>
                  <a:pt x="4828" y="7740"/>
                  <a:pt x="5309" y="8018"/>
                  <a:pt x="5573" y="8490"/>
                </a:cubicBezTo>
                <a:lnTo>
                  <a:pt x="5573" y="9844"/>
                </a:lnTo>
                <a:lnTo>
                  <a:pt x="5573" y="9844"/>
                </a:lnTo>
                <a:cubicBezTo>
                  <a:pt x="5265" y="9458"/>
                  <a:pt x="4865" y="9166"/>
                  <a:pt x="4406" y="8978"/>
                </a:cubicBezTo>
                <a:cubicBezTo>
                  <a:pt x="4049" y="8823"/>
                  <a:pt x="3668" y="8751"/>
                  <a:pt x="3275" y="8751"/>
                </a:cubicBezTo>
                <a:cubicBezTo>
                  <a:pt x="3180" y="8751"/>
                  <a:pt x="3061" y="8751"/>
                  <a:pt x="2954" y="8763"/>
                </a:cubicBezTo>
                <a:lnTo>
                  <a:pt x="2977" y="8740"/>
                </a:lnTo>
                <a:cubicBezTo>
                  <a:pt x="3037" y="8680"/>
                  <a:pt x="3037" y="8561"/>
                  <a:pt x="2977" y="8501"/>
                </a:cubicBezTo>
                <a:cubicBezTo>
                  <a:pt x="2948" y="8472"/>
                  <a:pt x="2903" y="8457"/>
                  <a:pt x="2858" y="8457"/>
                </a:cubicBezTo>
                <a:cubicBezTo>
                  <a:pt x="2814" y="8457"/>
                  <a:pt x="2769" y="8472"/>
                  <a:pt x="2739" y="8501"/>
                </a:cubicBezTo>
                <a:lnTo>
                  <a:pt x="2716" y="8525"/>
                </a:lnTo>
                <a:cubicBezTo>
                  <a:pt x="2775" y="8037"/>
                  <a:pt x="2704" y="7549"/>
                  <a:pt x="2501" y="7085"/>
                </a:cubicBezTo>
                <a:cubicBezTo>
                  <a:pt x="2311" y="6620"/>
                  <a:pt x="2013" y="6227"/>
                  <a:pt x="1632" y="5906"/>
                </a:cubicBezTo>
                <a:close/>
                <a:moveTo>
                  <a:pt x="7165" y="7740"/>
                </a:moveTo>
                <a:cubicBezTo>
                  <a:pt x="7297" y="7740"/>
                  <a:pt x="7430" y="7759"/>
                  <a:pt x="7561" y="7799"/>
                </a:cubicBezTo>
                <a:lnTo>
                  <a:pt x="8538" y="8763"/>
                </a:lnTo>
                <a:cubicBezTo>
                  <a:pt x="8447" y="8757"/>
                  <a:pt x="8357" y="8754"/>
                  <a:pt x="8267" y="8754"/>
                </a:cubicBezTo>
                <a:cubicBezTo>
                  <a:pt x="7861" y="8754"/>
                  <a:pt x="7465" y="8822"/>
                  <a:pt x="7085" y="8978"/>
                </a:cubicBezTo>
                <a:cubicBezTo>
                  <a:pt x="6633" y="9168"/>
                  <a:pt x="6228" y="9466"/>
                  <a:pt x="5918" y="9847"/>
                </a:cubicBezTo>
                <a:lnTo>
                  <a:pt x="5918" y="8490"/>
                </a:lnTo>
                <a:cubicBezTo>
                  <a:pt x="6173" y="8018"/>
                  <a:pt x="6660" y="7740"/>
                  <a:pt x="7165" y="7740"/>
                </a:cubicBezTo>
                <a:close/>
                <a:moveTo>
                  <a:pt x="5752" y="0"/>
                </a:moveTo>
                <a:cubicBezTo>
                  <a:pt x="5656" y="0"/>
                  <a:pt x="5585" y="72"/>
                  <a:pt x="5585" y="167"/>
                </a:cubicBezTo>
                <a:lnTo>
                  <a:pt x="5585" y="1024"/>
                </a:lnTo>
                <a:cubicBezTo>
                  <a:pt x="5299" y="1560"/>
                  <a:pt x="4847" y="1977"/>
                  <a:pt x="4287" y="2203"/>
                </a:cubicBezTo>
                <a:cubicBezTo>
                  <a:pt x="3970" y="2334"/>
                  <a:pt x="3626" y="2397"/>
                  <a:pt x="3281" y="2397"/>
                </a:cubicBezTo>
                <a:cubicBezTo>
                  <a:pt x="3029" y="2397"/>
                  <a:pt x="2778" y="2364"/>
                  <a:pt x="2537" y="2298"/>
                </a:cubicBezTo>
                <a:lnTo>
                  <a:pt x="1918" y="1679"/>
                </a:lnTo>
                <a:cubicBezTo>
                  <a:pt x="1894" y="1649"/>
                  <a:pt x="1849" y="1634"/>
                  <a:pt x="1803" y="1634"/>
                </a:cubicBezTo>
                <a:cubicBezTo>
                  <a:pt x="1757" y="1634"/>
                  <a:pt x="1709" y="1649"/>
                  <a:pt x="1680" y="1679"/>
                </a:cubicBezTo>
                <a:cubicBezTo>
                  <a:pt x="1620" y="1739"/>
                  <a:pt x="1620" y="1858"/>
                  <a:pt x="1680" y="1917"/>
                </a:cubicBezTo>
                <a:lnTo>
                  <a:pt x="2299" y="2536"/>
                </a:lnTo>
                <a:cubicBezTo>
                  <a:pt x="2477" y="3108"/>
                  <a:pt x="2442" y="3727"/>
                  <a:pt x="2204" y="4287"/>
                </a:cubicBezTo>
                <a:cubicBezTo>
                  <a:pt x="1977" y="4834"/>
                  <a:pt x="1549" y="5299"/>
                  <a:pt x="1025" y="5584"/>
                </a:cubicBezTo>
                <a:lnTo>
                  <a:pt x="168" y="5584"/>
                </a:lnTo>
                <a:cubicBezTo>
                  <a:pt x="84" y="5584"/>
                  <a:pt x="1" y="5656"/>
                  <a:pt x="1" y="5751"/>
                </a:cubicBezTo>
                <a:cubicBezTo>
                  <a:pt x="1" y="5834"/>
                  <a:pt x="84" y="5906"/>
                  <a:pt x="168" y="5906"/>
                </a:cubicBezTo>
                <a:lnTo>
                  <a:pt x="1025" y="5906"/>
                </a:lnTo>
                <a:cubicBezTo>
                  <a:pt x="1573" y="6192"/>
                  <a:pt x="1977" y="6656"/>
                  <a:pt x="2204" y="7204"/>
                </a:cubicBezTo>
                <a:cubicBezTo>
                  <a:pt x="2430" y="7751"/>
                  <a:pt x="2465" y="8382"/>
                  <a:pt x="2299" y="8966"/>
                </a:cubicBezTo>
                <a:lnTo>
                  <a:pt x="1680" y="9573"/>
                </a:lnTo>
                <a:cubicBezTo>
                  <a:pt x="1620" y="9632"/>
                  <a:pt x="1620" y="9752"/>
                  <a:pt x="1680" y="9811"/>
                </a:cubicBezTo>
                <a:cubicBezTo>
                  <a:pt x="1715" y="9835"/>
                  <a:pt x="1763" y="9859"/>
                  <a:pt x="1799" y="9859"/>
                </a:cubicBezTo>
                <a:cubicBezTo>
                  <a:pt x="1846" y="9859"/>
                  <a:pt x="1894" y="9835"/>
                  <a:pt x="1918" y="9811"/>
                </a:cubicBezTo>
                <a:lnTo>
                  <a:pt x="2537" y="9204"/>
                </a:lnTo>
                <a:cubicBezTo>
                  <a:pt x="2786" y="9126"/>
                  <a:pt x="3044" y="9087"/>
                  <a:pt x="3302" y="9087"/>
                </a:cubicBezTo>
                <a:cubicBezTo>
                  <a:pt x="3636" y="9087"/>
                  <a:pt x="3971" y="9153"/>
                  <a:pt x="4287" y="9287"/>
                </a:cubicBezTo>
                <a:cubicBezTo>
                  <a:pt x="4835" y="9513"/>
                  <a:pt x="5299" y="9942"/>
                  <a:pt x="5585" y="10466"/>
                </a:cubicBezTo>
                <a:lnTo>
                  <a:pt x="5585" y="11323"/>
                </a:lnTo>
                <a:cubicBezTo>
                  <a:pt x="5585" y="11418"/>
                  <a:pt x="5656" y="11490"/>
                  <a:pt x="5752" y="11490"/>
                </a:cubicBezTo>
                <a:cubicBezTo>
                  <a:pt x="5835" y="11490"/>
                  <a:pt x="5906" y="11418"/>
                  <a:pt x="5906" y="11323"/>
                </a:cubicBezTo>
                <a:lnTo>
                  <a:pt x="5906" y="10466"/>
                </a:lnTo>
                <a:cubicBezTo>
                  <a:pt x="6192" y="9930"/>
                  <a:pt x="6656" y="9513"/>
                  <a:pt x="7204" y="9287"/>
                </a:cubicBezTo>
                <a:cubicBezTo>
                  <a:pt x="7522" y="9159"/>
                  <a:pt x="7859" y="9095"/>
                  <a:pt x="8198" y="9095"/>
                </a:cubicBezTo>
                <a:cubicBezTo>
                  <a:pt x="8456" y="9095"/>
                  <a:pt x="8714" y="9132"/>
                  <a:pt x="8966" y="9204"/>
                </a:cubicBezTo>
                <a:lnTo>
                  <a:pt x="9574" y="9811"/>
                </a:lnTo>
                <a:cubicBezTo>
                  <a:pt x="9609" y="9835"/>
                  <a:pt x="9645" y="9859"/>
                  <a:pt x="9693" y="9859"/>
                </a:cubicBezTo>
                <a:cubicBezTo>
                  <a:pt x="9740" y="9859"/>
                  <a:pt x="9776" y="9835"/>
                  <a:pt x="9812" y="9811"/>
                </a:cubicBezTo>
                <a:cubicBezTo>
                  <a:pt x="9871" y="9752"/>
                  <a:pt x="9871" y="9632"/>
                  <a:pt x="9812" y="9573"/>
                </a:cubicBezTo>
                <a:lnTo>
                  <a:pt x="9204" y="8966"/>
                </a:lnTo>
                <a:cubicBezTo>
                  <a:pt x="9026" y="8382"/>
                  <a:pt x="9050" y="7775"/>
                  <a:pt x="9288" y="7204"/>
                </a:cubicBezTo>
                <a:cubicBezTo>
                  <a:pt x="9514" y="6656"/>
                  <a:pt x="9943" y="6192"/>
                  <a:pt x="10466" y="5906"/>
                </a:cubicBezTo>
                <a:lnTo>
                  <a:pt x="11324" y="5906"/>
                </a:lnTo>
                <a:cubicBezTo>
                  <a:pt x="11419" y="5906"/>
                  <a:pt x="11490" y="5834"/>
                  <a:pt x="11490" y="5751"/>
                </a:cubicBezTo>
                <a:cubicBezTo>
                  <a:pt x="11490" y="5656"/>
                  <a:pt x="11419" y="5584"/>
                  <a:pt x="11336" y="5584"/>
                </a:cubicBezTo>
                <a:lnTo>
                  <a:pt x="10466" y="5584"/>
                </a:lnTo>
                <a:cubicBezTo>
                  <a:pt x="9931" y="5299"/>
                  <a:pt x="9514" y="4834"/>
                  <a:pt x="9288" y="4287"/>
                </a:cubicBezTo>
                <a:cubicBezTo>
                  <a:pt x="9073" y="3739"/>
                  <a:pt x="9038" y="3108"/>
                  <a:pt x="9204" y="2536"/>
                </a:cubicBezTo>
                <a:lnTo>
                  <a:pt x="9812" y="1917"/>
                </a:lnTo>
                <a:cubicBezTo>
                  <a:pt x="9871" y="1858"/>
                  <a:pt x="9871" y="1739"/>
                  <a:pt x="9812" y="1679"/>
                </a:cubicBezTo>
                <a:cubicBezTo>
                  <a:pt x="9782" y="1649"/>
                  <a:pt x="9737" y="1634"/>
                  <a:pt x="9693" y="1634"/>
                </a:cubicBezTo>
                <a:cubicBezTo>
                  <a:pt x="9648" y="1634"/>
                  <a:pt x="9603" y="1649"/>
                  <a:pt x="9574" y="1679"/>
                </a:cubicBezTo>
                <a:lnTo>
                  <a:pt x="8966" y="2298"/>
                </a:lnTo>
                <a:cubicBezTo>
                  <a:pt x="8720" y="2374"/>
                  <a:pt x="8470" y="2411"/>
                  <a:pt x="8220" y="2411"/>
                </a:cubicBezTo>
                <a:cubicBezTo>
                  <a:pt x="7877" y="2411"/>
                  <a:pt x="7535" y="2341"/>
                  <a:pt x="7204" y="2203"/>
                </a:cubicBezTo>
                <a:cubicBezTo>
                  <a:pt x="6656" y="1977"/>
                  <a:pt x="6192" y="1548"/>
                  <a:pt x="5918" y="1024"/>
                </a:cubicBezTo>
                <a:lnTo>
                  <a:pt x="5918" y="167"/>
                </a:lnTo>
                <a:cubicBezTo>
                  <a:pt x="5918" y="72"/>
                  <a:pt x="5835" y="0"/>
                  <a:pt x="57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3" name="Google Shape;12903;p63"/>
          <p:cNvSpPr/>
          <p:nvPr/>
        </p:nvSpPr>
        <p:spPr>
          <a:xfrm>
            <a:off x="880141" y="2886290"/>
            <a:ext cx="323520" cy="367360"/>
          </a:xfrm>
          <a:custGeom>
            <a:avLst/>
            <a:gdLst/>
            <a:ahLst/>
            <a:cxnLst/>
            <a:rect l="l" t="t" r="r" b="b"/>
            <a:pathLst>
              <a:path w="10110" h="11480" extrusionOk="0">
                <a:moveTo>
                  <a:pt x="4240" y="2681"/>
                </a:moveTo>
                <a:cubicBezTo>
                  <a:pt x="4347" y="2681"/>
                  <a:pt x="4442" y="2777"/>
                  <a:pt x="4442" y="2872"/>
                </a:cubicBezTo>
                <a:cubicBezTo>
                  <a:pt x="4442" y="2979"/>
                  <a:pt x="4347" y="3062"/>
                  <a:pt x="4240" y="3062"/>
                </a:cubicBezTo>
                <a:cubicBezTo>
                  <a:pt x="4144" y="3050"/>
                  <a:pt x="4049" y="2979"/>
                  <a:pt x="4049" y="2872"/>
                </a:cubicBezTo>
                <a:cubicBezTo>
                  <a:pt x="4049" y="2765"/>
                  <a:pt x="4144" y="2681"/>
                  <a:pt x="4240" y="2681"/>
                </a:cubicBezTo>
                <a:close/>
                <a:moveTo>
                  <a:pt x="5692" y="2681"/>
                </a:moveTo>
                <a:cubicBezTo>
                  <a:pt x="5787" y="2681"/>
                  <a:pt x="5883" y="2777"/>
                  <a:pt x="5883" y="2872"/>
                </a:cubicBezTo>
                <a:cubicBezTo>
                  <a:pt x="5883" y="2979"/>
                  <a:pt x="5787" y="3062"/>
                  <a:pt x="5692" y="3062"/>
                </a:cubicBezTo>
                <a:cubicBezTo>
                  <a:pt x="5585" y="3062"/>
                  <a:pt x="5490" y="2979"/>
                  <a:pt x="5490" y="2872"/>
                </a:cubicBezTo>
                <a:cubicBezTo>
                  <a:pt x="5490" y="2777"/>
                  <a:pt x="5585" y="2681"/>
                  <a:pt x="5692" y="2681"/>
                </a:cubicBezTo>
                <a:close/>
                <a:moveTo>
                  <a:pt x="4978" y="1788"/>
                </a:moveTo>
                <a:cubicBezTo>
                  <a:pt x="5299" y="1788"/>
                  <a:pt x="5585" y="2038"/>
                  <a:pt x="5752" y="2348"/>
                </a:cubicBezTo>
                <a:lnTo>
                  <a:pt x="5692" y="2348"/>
                </a:lnTo>
                <a:cubicBezTo>
                  <a:pt x="5394" y="2348"/>
                  <a:pt x="5168" y="2598"/>
                  <a:pt x="5168" y="2872"/>
                </a:cubicBezTo>
                <a:cubicBezTo>
                  <a:pt x="5168" y="3158"/>
                  <a:pt x="5371" y="3384"/>
                  <a:pt x="5656" y="3396"/>
                </a:cubicBezTo>
                <a:cubicBezTo>
                  <a:pt x="5478" y="3539"/>
                  <a:pt x="5228" y="3598"/>
                  <a:pt x="4990" y="3598"/>
                </a:cubicBezTo>
                <a:cubicBezTo>
                  <a:pt x="4751" y="3598"/>
                  <a:pt x="4466" y="3539"/>
                  <a:pt x="4287" y="3396"/>
                </a:cubicBezTo>
                <a:cubicBezTo>
                  <a:pt x="4561" y="3384"/>
                  <a:pt x="4775" y="3146"/>
                  <a:pt x="4775" y="2872"/>
                </a:cubicBezTo>
                <a:cubicBezTo>
                  <a:pt x="4775" y="2574"/>
                  <a:pt x="4537" y="2348"/>
                  <a:pt x="4263" y="2348"/>
                </a:cubicBezTo>
                <a:lnTo>
                  <a:pt x="4204" y="2348"/>
                </a:lnTo>
                <a:cubicBezTo>
                  <a:pt x="4359" y="2038"/>
                  <a:pt x="4644" y="1788"/>
                  <a:pt x="4978" y="1788"/>
                </a:cubicBezTo>
                <a:close/>
                <a:moveTo>
                  <a:pt x="4978" y="3943"/>
                </a:moveTo>
                <a:cubicBezTo>
                  <a:pt x="5275" y="3943"/>
                  <a:pt x="5525" y="4455"/>
                  <a:pt x="5525" y="5039"/>
                </a:cubicBezTo>
                <a:cubicBezTo>
                  <a:pt x="5525" y="5610"/>
                  <a:pt x="5252" y="6122"/>
                  <a:pt x="4978" y="6122"/>
                </a:cubicBezTo>
                <a:cubicBezTo>
                  <a:pt x="4680" y="6122"/>
                  <a:pt x="4418" y="5610"/>
                  <a:pt x="4418" y="5039"/>
                </a:cubicBezTo>
                <a:cubicBezTo>
                  <a:pt x="4418" y="4455"/>
                  <a:pt x="4680" y="3943"/>
                  <a:pt x="4978" y="3943"/>
                </a:cubicBezTo>
                <a:close/>
                <a:moveTo>
                  <a:pt x="5064" y="6488"/>
                </a:moveTo>
                <a:cubicBezTo>
                  <a:pt x="5446" y="6488"/>
                  <a:pt x="5749" y="6618"/>
                  <a:pt x="6002" y="6848"/>
                </a:cubicBezTo>
                <a:cubicBezTo>
                  <a:pt x="6204" y="7063"/>
                  <a:pt x="6347" y="7360"/>
                  <a:pt x="6406" y="7706"/>
                </a:cubicBezTo>
                <a:cubicBezTo>
                  <a:pt x="6311" y="7789"/>
                  <a:pt x="6192" y="7860"/>
                  <a:pt x="6049" y="7920"/>
                </a:cubicBezTo>
                <a:cubicBezTo>
                  <a:pt x="5954" y="7956"/>
                  <a:pt x="5906" y="8051"/>
                  <a:pt x="5954" y="8146"/>
                </a:cubicBezTo>
                <a:cubicBezTo>
                  <a:pt x="5990" y="8206"/>
                  <a:pt x="6049" y="8253"/>
                  <a:pt x="6109" y="8253"/>
                </a:cubicBezTo>
                <a:cubicBezTo>
                  <a:pt x="6121" y="8253"/>
                  <a:pt x="6145" y="8253"/>
                  <a:pt x="6168" y="8230"/>
                </a:cubicBezTo>
                <a:cubicBezTo>
                  <a:pt x="6252" y="8194"/>
                  <a:pt x="6347" y="8158"/>
                  <a:pt x="6418" y="8111"/>
                </a:cubicBezTo>
                <a:lnTo>
                  <a:pt x="6418" y="8111"/>
                </a:lnTo>
                <a:cubicBezTo>
                  <a:pt x="6418" y="8408"/>
                  <a:pt x="6347" y="8753"/>
                  <a:pt x="6216" y="9063"/>
                </a:cubicBezTo>
                <a:cubicBezTo>
                  <a:pt x="6073" y="9158"/>
                  <a:pt x="5894" y="9230"/>
                  <a:pt x="5692" y="9289"/>
                </a:cubicBezTo>
                <a:cubicBezTo>
                  <a:pt x="5597" y="9325"/>
                  <a:pt x="5537" y="9408"/>
                  <a:pt x="5561" y="9492"/>
                </a:cubicBezTo>
                <a:cubicBezTo>
                  <a:pt x="5585" y="9575"/>
                  <a:pt x="5656" y="9611"/>
                  <a:pt x="5728" y="9611"/>
                </a:cubicBezTo>
                <a:lnTo>
                  <a:pt x="5775" y="9611"/>
                </a:lnTo>
                <a:cubicBezTo>
                  <a:pt x="5847" y="9599"/>
                  <a:pt x="5918" y="9575"/>
                  <a:pt x="6002" y="9539"/>
                </a:cubicBezTo>
                <a:lnTo>
                  <a:pt x="6002" y="9539"/>
                </a:lnTo>
                <a:cubicBezTo>
                  <a:pt x="5966" y="9599"/>
                  <a:pt x="5942" y="9646"/>
                  <a:pt x="5906" y="9706"/>
                </a:cubicBezTo>
                <a:cubicBezTo>
                  <a:pt x="5609" y="10170"/>
                  <a:pt x="5252" y="10444"/>
                  <a:pt x="4966" y="10444"/>
                </a:cubicBezTo>
                <a:cubicBezTo>
                  <a:pt x="4692" y="10444"/>
                  <a:pt x="4335" y="10170"/>
                  <a:pt x="4037" y="9706"/>
                </a:cubicBezTo>
                <a:cubicBezTo>
                  <a:pt x="4001" y="9646"/>
                  <a:pt x="3978" y="9599"/>
                  <a:pt x="3942" y="9539"/>
                </a:cubicBezTo>
                <a:lnTo>
                  <a:pt x="3942" y="9539"/>
                </a:lnTo>
                <a:cubicBezTo>
                  <a:pt x="4251" y="9646"/>
                  <a:pt x="4609" y="9706"/>
                  <a:pt x="4966" y="9706"/>
                </a:cubicBezTo>
                <a:cubicBezTo>
                  <a:pt x="5061" y="9706"/>
                  <a:pt x="5132" y="9634"/>
                  <a:pt x="5132" y="9539"/>
                </a:cubicBezTo>
                <a:cubicBezTo>
                  <a:pt x="5132" y="9456"/>
                  <a:pt x="5061" y="9373"/>
                  <a:pt x="4966" y="9373"/>
                </a:cubicBezTo>
                <a:cubicBezTo>
                  <a:pt x="4478" y="9373"/>
                  <a:pt x="4037" y="9277"/>
                  <a:pt x="3716" y="9063"/>
                </a:cubicBezTo>
                <a:cubicBezTo>
                  <a:pt x="3597" y="8753"/>
                  <a:pt x="3525" y="8408"/>
                  <a:pt x="3525" y="8111"/>
                </a:cubicBezTo>
                <a:lnTo>
                  <a:pt x="3525" y="8111"/>
                </a:lnTo>
                <a:cubicBezTo>
                  <a:pt x="3882" y="8325"/>
                  <a:pt x="4418" y="8456"/>
                  <a:pt x="4966" y="8456"/>
                </a:cubicBezTo>
                <a:cubicBezTo>
                  <a:pt x="5085" y="8456"/>
                  <a:pt x="5228" y="8456"/>
                  <a:pt x="5347" y="8444"/>
                </a:cubicBezTo>
                <a:cubicBezTo>
                  <a:pt x="5430" y="8420"/>
                  <a:pt x="5502" y="8349"/>
                  <a:pt x="5490" y="8265"/>
                </a:cubicBezTo>
                <a:cubicBezTo>
                  <a:pt x="5479" y="8177"/>
                  <a:pt x="5416" y="8109"/>
                  <a:pt x="5332" y="8109"/>
                </a:cubicBezTo>
                <a:cubicBezTo>
                  <a:pt x="5325" y="8109"/>
                  <a:pt x="5318" y="8110"/>
                  <a:pt x="5311" y="8111"/>
                </a:cubicBezTo>
                <a:cubicBezTo>
                  <a:pt x="5192" y="8122"/>
                  <a:pt x="5085" y="8122"/>
                  <a:pt x="4966" y="8122"/>
                </a:cubicBezTo>
                <a:cubicBezTo>
                  <a:pt x="4394" y="8122"/>
                  <a:pt x="3835" y="7980"/>
                  <a:pt x="3537" y="7741"/>
                </a:cubicBezTo>
                <a:cubicBezTo>
                  <a:pt x="3597" y="7384"/>
                  <a:pt x="3739" y="7087"/>
                  <a:pt x="3942" y="6872"/>
                </a:cubicBezTo>
                <a:cubicBezTo>
                  <a:pt x="4192" y="6622"/>
                  <a:pt x="4549" y="6491"/>
                  <a:pt x="4966" y="6491"/>
                </a:cubicBezTo>
                <a:cubicBezTo>
                  <a:pt x="4999" y="6489"/>
                  <a:pt x="5032" y="6488"/>
                  <a:pt x="5064" y="6488"/>
                </a:cubicBezTo>
                <a:close/>
                <a:moveTo>
                  <a:pt x="2134" y="1"/>
                </a:moveTo>
                <a:cubicBezTo>
                  <a:pt x="2057" y="1"/>
                  <a:pt x="1976" y="57"/>
                  <a:pt x="1965" y="133"/>
                </a:cubicBezTo>
                <a:cubicBezTo>
                  <a:pt x="1954" y="229"/>
                  <a:pt x="2013" y="312"/>
                  <a:pt x="2096" y="324"/>
                </a:cubicBezTo>
                <a:cubicBezTo>
                  <a:pt x="2644" y="431"/>
                  <a:pt x="3216" y="1145"/>
                  <a:pt x="3561" y="1776"/>
                </a:cubicBezTo>
                <a:cubicBezTo>
                  <a:pt x="3620" y="1884"/>
                  <a:pt x="3739" y="1955"/>
                  <a:pt x="3859" y="1955"/>
                </a:cubicBezTo>
                <a:lnTo>
                  <a:pt x="4085" y="1955"/>
                </a:lnTo>
                <a:cubicBezTo>
                  <a:pt x="3870" y="2217"/>
                  <a:pt x="3763" y="2550"/>
                  <a:pt x="3763" y="2860"/>
                </a:cubicBezTo>
                <a:cubicBezTo>
                  <a:pt x="3763" y="3205"/>
                  <a:pt x="3906" y="3467"/>
                  <a:pt x="4156" y="3669"/>
                </a:cubicBezTo>
                <a:cubicBezTo>
                  <a:pt x="4263" y="3741"/>
                  <a:pt x="4382" y="3800"/>
                  <a:pt x="4513" y="3848"/>
                </a:cubicBezTo>
                <a:cubicBezTo>
                  <a:pt x="4406" y="3967"/>
                  <a:pt x="4323" y="4110"/>
                  <a:pt x="4263" y="4289"/>
                </a:cubicBezTo>
                <a:lnTo>
                  <a:pt x="2513" y="3812"/>
                </a:lnTo>
                <a:cubicBezTo>
                  <a:pt x="2454" y="3800"/>
                  <a:pt x="2394" y="3765"/>
                  <a:pt x="2358" y="3729"/>
                </a:cubicBezTo>
                <a:lnTo>
                  <a:pt x="834" y="2205"/>
                </a:lnTo>
                <a:cubicBezTo>
                  <a:pt x="805" y="2175"/>
                  <a:pt x="760" y="2160"/>
                  <a:pt x="715" y="2160"/>
                </a:cubicBezTo>
                <a:cubicBezTo>
                  <a:pt x="671" y="2160"/>
                  <a:pt x="626" y="2175"/>
                  <a:pt x="596" y="2205"/>
                </a:cubicBezTo>
                <a:cubicBezTo>
                  <a:pt x="537" y="2265"/>
                  <a:pt x="537" y="2384"/>
                  <a:pt x="596" y="2443"/>
                </a:cubicBezTo>
                <a:lnTo>
                  <a:pt x="2120" y="3967"/>
                </a:lnTo>
                <a:cubicBezTo>
                  <a:pt x="2204" y="4050"/>
                  <a:pt x="2311" y="4110"/>
                  <a:pt x="2430" y="4146"/>
                </a:cubicBezTo>
                <a:lnTo>
                  <a:pt x="4180" y="4622"/>
                </a:lnTo>
                <a:cubicBezTo>
                  <a:pt x="4156" y="4753"/>
                  <a:pt x="4156" y="4884"/>
                  <a:pt x="4156" y="5015"/>
                </a:cubicBezTo>
                <a:cubicBezTo>
                  <a:pt x="4156" y="5074"/>
                  <a:pt x="4156" y="5158"/>
                  <a:pt x="4168" y="5217"/>
                </a:cubicBezTo>
                <a:lnTo>
                  <a:pt x="2501" y="5217"/>
                </a:lnTo>
                <a:cubicBezTo>
                  <a:pt x="2382" y="5217"/>
                  <a:pt x="2251" y="5241"/>
                  <a:pt x="2144" y="5301"/>
                </a:cubicBezTo>
                <a:lnTo>
                  <a:pt x="108" y="6491"/>
                </a:lnTo>
                <a:cubicBezTo>
                  <a:pt x="37" y="6539"/>
                  <a:pt x="1" y="6646"/>
                  <a:pt x="49" y="6717"/>
                </a:cubicBezTo>
                <a:cubicBezTo>
                  <a:pt x="72" y="6777"/>
                  <a:pt x="132" y="6801"/>
                  <a:pt x="191" y="6801"/>
                </a:cubicBezTo>
                <a:cubicBezTo>
                  <a:pt x="227" y="6801"/>
                  <a:pt x="251" y="6801"/>
                  <a:pt x="287" y="6777"/>
                </a:cubicBezTo>
                <a:lnTo>
                  <a:pt x="2323" y="5586"/>
                </a:lnTo>
                <a:cubicBezTo>
                  <a:pt x="2382" y="5551"/>
                  <a:pt x="2442" y="5539"/>
                  <a:pt x="2513" y="5539"/>
                </a:cubicBezTo>
                <a:lnTo>
                  <a:pt x="4240" y="5539"/>
                </a:lnTo>
                <a:cubicBezTo>
                  <a:pt x="4299" y="5789"/>
                  <a:pt x="4406" y="6015"/>
                  <a:pt x="4537" y="6170"/>
                </a:cubicBezTo>
                <a:cubicBezTo>
                  <a:pt x="4263" y="6241"/>
                  <a:pt x="4001" y="6384"/>
                  <a:pt x="3799" y="6587"/>
                </a:cubicBezTo>
                <a:cubicBezTo>
                  <a:pt x="3668" y="6717"/>
                  <a:pt x="3549" y="6884"/>
                  <a:pt x="3466" y="7075"/>
                </a:cubicBezTo>
                <a:lnTo>
                  <a:pt x="2418" y="7837"/>
                </a:lnTo>
                <a:cubicBezTo>
                  <a:pt x="2299" y="7920"/>
                  <a:pt x="2204" y="8039"/>
                  <a:pt x="2156" y="8194"/>
                </a:cubicBezTo>
                <a:lnTo>
                  <a:pt x="1132" y="11254"/>
                </a:lnTo>
                <a:cubicBezTo>
                  <a:pt x="1108" y="11349"/>
                  <a:pt x="1144" y="11432"/>
                  <a:pt x="1239" y="11468"/>
                </a:cubicBezTo>
                <a:cubicBezTo>
                  <a:pt x="1251" y="11468"/>
                  <a:pt x="1263" y="11480"/>
                  <a:pt x="1299" y="11480"/>
                </a:cubicBezTo>
                <a:cubicBezTo>
                  <a:pt x="1370" y="11480"/>
                  <a:pt x="1430" y="11432"/>
                  <a:pt x="1465" y="11361"/>
                </a:cubicBezTo>
                <a:lnTo>
                  <a:pt x="2489" y="8289"/>
                </a:lnTo>
                <a:cubicBezTo>
                  <a:pt x="2513" y="8218"/>
                  <a:pt x="2561" y="8158"/>
                  <a:pt x="2620" y="8111"/>
                </a:cubicBezTo>
                <a:lnTo>
                  <a:pt x="3323" y="7610"/>
                </a:lnTo>
                <a:lnTo>
                  <a:pt x="3323" y="7610"/>
                </a:lnTo>
                <a:cubicBezTo>
                  <a:pt x="3287" y="7741"/>
                  <a:pt x="3287" y="7896"/>
                  <a:pt x="3287" y="8039"/>
                </a:cubicBezTo>
                <a:cubicBezTo>
                  <a:pt x="3287" y="9301"/>
                  <a:pt x="4240" y="10766"/>
                  <a:pt x="5073" y="10766"/>
                </a:cubicBezTo>
                <a:cubicBezTo>
                  <a:pt x="5906" y="10766"/>
                  <a:pt x="6859" y="9325"/>
                  <a:pt x="6859" y="8039"/>
                </a:cubicBezTo>
                <a:cubicBezTo>
                  <a:pt x="6859" y="7896"/>
                  <a:pt x="6847" y="7741"/>
                  <a:pt x="6835" y="7610"/>
                </a:cubicBezTo>
                <a:lnTo>
                  <a:pt x="6835" y="7610"/>
                </a:lnTo>
                <a:lnTo>
                  <a:pt x="7538" y="8111"/>
                </a:lnTo>
                <a:cubicBezTo>
                  <a:pt x="7597" y="8158"/>
                  <a:pt x="7633" y="8218"/>
                  <a:pt x="7669" y="8289"/>
                </a:cubicBezTo>
                <a:lnTo>
                  <a:pt x="8692" y="11361"/>
                </a:lnTo>
                <a:cubicBezTo>
                  <a:pt x="8728" y="11432"/>
                  <a:pt x="8788" y="11480"/>
                  <a:pt x="8859" y="11480"/>
                </a:cubicBezTo>
                <a:cubicBezTo>
                  <a:pt x="8871" y="11480"/>
                  <a:pt x="8883" y="11480"/>
                  <a:pt x="8919" y="11468"/>
                </a:cubicBezTo>
                <a:cubicBezTo>
                  <a:pt x="9002" y="11432"/>
                  <a:pt x="9050" y="11349"/>
                  <a:pt x="9026" y="11254"/>
                </a:cubicBezTo>
                <a:lnTo>
                  <a:pt x="7990" y="8194"/>
                </a:lnTo>
                <a:cubicBezTo>
                  <a:pt x="7954" y="8039"/>
                  <a:pt x="7859" y="7920"/>
                  <a:pt x="7740" y="7837"/>
                </a:cubicBezTo>
                <a:lnTo>
                  <a:pt x="6680" y="7075"/>
                </a:lnTo>
                <a:cubicBezTo>
                  <a:pt x="6597" y="6884"/>
                  <a:pt x="6490" y="6717"/>
                  <a:pt x="6359" y="6587"/>
                </a:cubicBezTo>
                <a:cubicBezTo>
                  <a:pt x="6145" y="6372"/>
                  <a:pt x="5906" y="6241"/>
                  <a:pt x="5609" y="6170"/>
                </a:cubicBezTo>
                <a:cubicBezTo>
                  <a:pt x="5752" y="6003"/>
                  <a:pt x="5847" y="5789"/>
                  <a:pt x="5906" y="5539"/>
                </a:cubicBezTo>
                <a:lnTo>
                  <a:pt x="7633" y="5539"/>
                </a:lnTo>
                <a:cubicBezTo>
                  <a:pt x="7692" y="5539"/>
                  <a:pt x="7776" y="5551"/>
                  <a:pt x="7835" y="5586"/>
                </a:cubicBezTo>
                <a:lnTo>
                  <a:pt x="9871" y="6777"/>
                </a:lnTo>
                <a:cubicBezTo>
                  <a:pt x="9895" y="6789"/>
                  <a:pt x="9931" y="6801"/>
                  <a:pt x="9955" y="6801"/>
                </a:cubicBezTo>
                <a:cubicBezTo>
                  <a:pt x="10014" y="6801"/>
                  <a:pt x="10074" y="6777"/>
                  <a:pt x="10109" y="6717"/>
                </a:cubicBezTo>
                <a:cubicBezTo>
                  <a:pt x="10014" y="6658"/>
                  <a:pt x="9990" y="6551"/>
                  <a:pt x="9919" y="6503"/>
                </a:cubicBezTo>
                <a:lnTo>
                  <a:pt x="7871" y="5313"/>
                </a:lnTo>
                <a:cubicBezTo>
                  <a:pt x="7776" y="5253"/>
                  <a:pt x="7633" y="5229"/>
                  <a:pt x="7514" y="5229"/>
                </a:cubicBezTo>
                <a:lnTo>
                  <a:pt x="5847" y="5229"/>
                </a:lnTo>
                <a:cubicBezTo>
                  <a:pt x="5847" y="5170"/>
                  <a:pt x="5871" y="5110"/>
                  <a:pt x="5871" y="5039"/>
                </a:cubicBezTo>
                <a:cubicBezTo>
                  <a:pt x="5871" y="4896"/>
                  <a:pt x="5847" y="4765"/>
                  <a:pt x="5835" y="4634"/>
                </a:cubicBezTo>
                <a:lnTo>
                  <a:pt x="7597" y="4158"/>
                </a:lnTo>
                <a:cubicBezTo>
                  <a:pt x="7716" y="4122"/>
                  <a:pt x="7811" y="4062"/>
                  <a:pt x="7907" y="3979"/>
                </a:cubicBezTo>
                <a:lnTo>
                  <a:pt x="9419" y="2455"/>
                </a:lnTo>
                <a:cubicBezTo>
                  <a:pt x="9478" y="2396"/>
                  <a:pt x="9478" y="2276"/>
                  <a:pt x="9419" y="2217"/>
                </a:cubicBezTo>
                <a:cubicBezTo>
                  <a:pt x="9389" y="2187"/>
                  <a:pt x="9344" y="2172"/>
                  <a:pt x="9300" y="2172"/>
                </a:cubicBezTo>
                <a:cubicBezTo>
                  <a:pt x="9255" y="2172"/>
                  <a:pt x="9210" y="2187"/>
                  <a:pt x="9181" y="2217"/>
                </a:cubicBezTo>
                <a:lnTo>
                  <a:pt x="7657" y="3729"/>
                </a:lnTo>
                <a:cubicBezTo>
                  <a:pt x="7609" y="3765"/>
                  <a:pt x="7549" y="3800"/>
                  <a:pt x="7490" y="3812"/>
                </a:cubicBezTo>
                <a:lnTo>
                  <a:pt x="5752" y="4289"/>
                </a:lnTo>
                <a:cubicBezTo>
                  <a:pt x="5692" y="4110"/>
                  <a:pt x="5597" y="3967"/>
                  <a:pt x="5490" y="3848"/>
                </a:cubicBezTo>
                <a:cubicBezTo>
                  <a:pt x="5633" y="3800"/>
                  <a:pt x="5752" y="3741"/>
                  <a:pt x="5847" y="3669"/>
                </a:cubicBezTo>
                <a:cubicBezTo>
                  <a:pt x="6109" y="3467"/>
                  <a:pt x="6240" y="3193"/>
                  <a:pt x="6240" y="2860"/>
                </a:cubicBezTo>
                <a:cubicBezTo>
                  <a:pt x="6240" y="2550"/>
                  <a:pt x="6121" y="2217"/>
                  <a:pt x="5930" y="1955"/>
                </a:cubicBezTo>
                <a:lnTo>
                  <a:pt x="6145" y="1955"/>
                </a:lnTo>
                <a:cubicBezTo>
                  <a:pt x="6287" y="1955"/>
                  <a:pt x="6383" y="1884"/>
                  <a:pt x="6442" y="1776"/>
                </a:cubicBezTo>
                <a:cubicBezTo>
                  <a:pt x="6787" y="1145"/>
                  <a:pt x="7359" y="431"/>
                  <a:pt x="7907" y="324"/>
                </a:cubicBezTo>
                <a:cubicBezTo>
                  <a:pt x="7990" y="312"/>
                  <a:pt x="8050" y="229"/>
                  <a:pt x="8038" y="133"/>
                </a:cubicBezTo>
                <a:cubicBezTo>
                  <a:pt x="8027" y="57"/>
                  <a:pt x="7946" y="1"/>
                  <a:pt x="7869" y="1"/>
                </a:cubicBezTo>
                <a:cubicBezTo>
                  <a:pt x="7861" y="1"/>
                  <a:pt x="7854" y="1"/>
                  <a:pt x="7847" y="2"/>
                </a:cubicBezTo>
                <a:cubicBezTo>
                  <a:pt x="7490" y="74"/>
                  <a:pt x="7121" y="336"/>
                  <a:pt x="6740" y="764"/>
                </a:cubicBezTo>
                <a:cubicBezTo>
                  <a:pt x="6466" y="1086"/>
                  <a:pt x="6252" y="1431"/>
                  <a:pt x="6168" y="1610"/>
                </a:cubicBezTo>
                <a:lnTo>
                  <a:pt x="5585" y="1610"/>
                </a:lnTo>
                <a:cubicBezTo>
                  <a:pt x="5406" y="1491"/>
                  <a:pt x="5216" y="1431"/>
                  <a:pt x="5002" y="1431"/>
                </a:cubicBezTo>
                <a:cubicBezTo>
                  <a:pt x="4799" y="1431"/>
                  <a:pt x="4597" y="1491"/>
                  <a:pt x="4418" y="1610"/>
                </a:cubicBezTo>
                <a:lnTo>
                  <a:pt x="3847" y="1610"/>
                </a:lnTo>
                <a:cubicBezTo>
                  <a:pt x="3739" y="1431"/>
                  <a:pt x="3549" y="1086"/>
                  <a:pt x="3263" y="764"/>
                </a:cubicBezTo>
                <a:cubicBezTo>
                  <a:pt x="2894" y="336"/>
                  <a:pt x="2537" y="74"/>
                  <a:pt x="2156" y="2"/>
                </a:cubicBezTo>
                <a:cubicBezTo>
                  <a:pt x="2149" y="1"/>
                  <a:pt x="2142" y="1"/>
                  <a:pt x="21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4" name="Google Shape;12904;p63"/>
          <p:cNvGrpSpPr/>
          <p:nvPr/>
        </p:nvGrpSpPr>
        <p:grpSpPr>
          <a:xfrm>
            <a:off x="1951149" y="2885202"/>
            <a:ext cx="370368" cy="367328"/>
            <a:chOff x="1951149" y="2885202"/>
            <a:chExt cx="370368" cy="367328"/>
          </a:xfrm>
        </p:grpSpPr>
        <p:sp>
          <p:nvSpPr>
            <p:cNvPr id="12905" name="Google Shape;12905;p63"/>
            <p:cNvSpPr/>
            <p:nvPr/>
          </p:nvSpPr>
          <p:spPr>
            <a:xfrm>
              <a:off x="1951149" y="2885202"/>
              <a:ext cx="370368" cy="367328"/>
            </a:xfrm>
            <a:custGeom>
              <a:avLst/>
              <a:gdLst/>
              <a:ahLst/>
              <a:cxnLst/>
              <a:rect l="l" t="t" r="r" b="b"/>
              <a:pathLst>
                <a:path w="11574" h="11479" extrusionOk="0">
                  <a:moveTo>
                    <a:pt x="4632" y="1287"/>
                  </a:moveTo>
                  <a:cubicBezTo>
                    <a:pt x="4691" y="1358"/>
                    <a:pt x="4727" y="1465"/>
                    <a:pt x="4727" y="1548"/>
                  </a:cubicBezTo>
                  <a:cubicBezTo>
                    <a:pt x="4727" y="1810"/>
                    <a:pt x="4513" y="2013"/>
                    <a:pt x="4263" y="2013"/>
                  </a:cubicBezTo>
                  <a:cubicBezTo>
                    <a:pt x="4072" y="2013"/>
                    <a:pt x="3906" y="1894"/>
                    <a:pt x="3834" y="1715"/>
                  </a:cubicBezTo>
                  <a:cubicBezTo>
                    <a:pt x="4048" y="1537"/>
                    <a:pt x="4334" y="1394"/>
                    <a:pt x="4632" y="1287"/>
                  </a:cubicBezTo>
                  <a:close/>
                  <a:moveTo>
                    <a:pt x="6954" y="1287"/>
                  </a:moveTo>
                  <a:cubicBezTo>
                    <a:pt x="7263" y="1394"/>
                    <a:pt x="7537" y="1537"/>
                    <a:pt x="7763" y="1739"/>
                  </a:cubicBezTo>
                  <a:cubicBezTo>
                    <a:pt x="7680" y="1918"/>
                    <a:pt x="7513" y="2037"/>
                    <a:pt x="7323" y="2037"/>
                  </a:cubicBezTo>
                  <a:cubicBezTo>
                    <a:pt x="7073" y="2037"/>
                    <a:pt x="6870" y="1822"/>
                    <a:pt x="6870" y="1572"/>
                  </a:cubicBezTo>
                  <a:cubicBezTo>
                    <a:pt x="6870" y="1453"/>
                    <a:pt x="6894" y="1358"/>
                    <a:pt x="6954" y="1287"/>
                  </a:cubicBezTo>
                  <a:close/>
                  <a:moveTo>
                    <a:pt x="2477" y="5049"/>
                  </a:moveTo>
                  <a:cubicBezTo>
                    <a:pt x="2620" y="5049"/>
                    <a:pt x="2751" y="5168"/>
                    <a:pt x="2751" y="5335"/>
                  </a:cubicBezTo>
                  <a:cubicBezTo>
                    <a:pt x="2751" y="5501"/>
                    <a:pt x="2632" y="5620"/>
                    <a:pt x="2477" y="5620"/>
                  </a:cubicBezTo>
                  <a:cubicBezTo>
                    <a:pt x="2310" y="5620"/>
                    <a:pt x="2191" y="5489"/>
                    <a:pt x="2191" y="5335"/>
                  </a:cubicBezTo>
                  <a:cubicBezTo>
                    <a:pt x="2191" y="5192"/>
                    <a:pt x="2310" y="5049"/>
                    <a:pt x="2477" y="5049"/>
                  </a:cubicBezTo>
                  <a:close/>
                  <a:moveTo>
                    <a:pt x="9132" y="5049"/>
                  </a:moveTo>
                  <a:cubicBezTo>
                    <a:pt x="9275" y="5049"/>
                    <a:pt x="9406" y="5168"/>
                    <a:pt x="9406" y="5335"/>
                  </a:cubicBezTo>
                  <a:cubicBezTo>
                    <a:pt x="9406" y="5489"/>
                    <a:pt x="9287" y="5620"/>
                    <a:pt x="9132" y="5620"/>
                  </a:cubicBezTo>
                  <a:cubicBezTo>
                    <a:pt x="8978" y="5620"/>
                    <a:pt x="8847" y="5501"/>
                    <a:pt x="8847" y="5335"/>
                  </a:cubicBezTo>
                  <a:cubicBezTo>
                    <a:pt x="8847" y="5192"/>
                    <a:pt x="8966" y="5049"/>
                    <a:pt x="9132" y="5049"/>
                  </a:cubicBezTo>
                  <a:close/>
                  <a:moveTo>
                    <a:pt x="3453" y="9549"/>
                  </a:moveTo>
                  <a:cubicBezTo>
                    <a:pt x="3667" y="9549"/>
                    <a:pt x="3834" y="9716"/>
                    <a:pt x="3834" y="9919"/>
                  </a:cubicBezTo>
                  <a:cubicBezTo>
                    <a:pt x="3834" y="10073"/>
                    <a:pt x="3739" y="10204"/>
                    <a:pt x="3596" y="10264"/>
                  </a:cubicBezTo>
                  <a:cubicBezTo>
                    <a:pt x="3429" y="10109"/>
                    <a:pt x="3263" y="9930"/>
                    <a:pt x="3132" y="9740"/>
                  </a:cubicBezTo>
                  <a:cubicBezTo>
                    <a:pt x="3191" y="9621"/>
                    <a:pt x="3322" y="9549"/>
                    <a:pt x="3453" y="9549"/>
                  </a:cubicBezTo>
                  <a:close/>
                  <a:moveTo>
                    <a:pt x="8132" y="9549"/>
                  </a:moveTo>
                  <a:cubicBezTo>
                    <a:pt x="8263" y="9549"/>
                    <a:pt x="8394" y="9621"/>
                    <a:pt x="8454" y="9740"/>
                  </a:cubicBezTo>
                  <a:cubicBezTo>
                    <a:pt x="8323" y="9930"/>
                    <a:pt x="8156" y="10109"/>
                    <a:pt x="8001" y="10264"/>
                  </a:cubicBezTo>
                  <a:cubicBezTo>
                    <a:pt x="7858" y="10204"/>
                    <a:pt x="7763" y="10073"/>
                    <a:pt x="7763" y="9919"/>
                  </a:cubicBezTo>
                  <a:cubicBezTo>
                    <a:pt x="7763" y="9716"/>
                    <a:pt x="7918" y="9549"/>
                    <a:pt x="8132" y="9549"/>
                  </a:cubicBezTo>
                  <a:close/>
                  <a:moveTo>
                    <a:pt x="5775" y="1072"/>
                  </a:moveTo>
                  <a:cubicBezTo>
                    <a:pt x="6061" y="1072"/>
                    <a:pt x="6346" y="1108"/>
                    <a:pt x="6596" y="1167"/>
                  </a:cubicBezTo>
                  <a:cubicBezTo>
                    <a:pt x="6537" y="1287"/>
                    <a:pt x="6501" y="1406"/>
                    <a:pt x="6501" y="1537"/>
                  </a:cubicBezTo>
                  <a:cubicBezTo>
                    <a:pt x="6501" y="1989"/>
                    <a:pt x="6858" y="2346"/>
                    <a:pt x="7311" y="2346"/>
                  </a:cubicBezTo>
                  <a:cubicBezTo>
                    <a:pt x="7597" y="2346"/>
                    <a:pt x="7847" y="2191"/>
                    <a:pt x="7989" y="1965"/>
                  </a:cubicBezTo>
                  <a:cubicBezTo>
                    <a:pt x="8204" y="2227"/>
                    <a:pt x="8323" y="2501"/>
                    <a:pt x="8323" y="2799"/>
                  </a:cubicBezTo>
                  <a:cubicBezTo>
                    <a:pt x="8323" y="3001"/>
                    <a:pt x="8228" y="3144"/>
                    <a:pt x="8037" y="3275"/>
                  </a:cubicBezTo>
                  <a:cubicBezTo>
                    <a:pt x="7966" y="3322"/>
                    <a:pt x="7930" y="3430"/>
                    <a:pt x="7989" y="3513"/>
                  </a:cubicBezTo>
                  <a:cubicBezTo>
                    <a:pt x="8019" y="3565"/>
                    <a:pt x="8072" y="3594"/>
                    <a:pt x="8127" y="3594"/>
                  </a:cubicBezTo>
                  <a:cubicBezTo>
                    <a:pt x="8161" y="3594"/>
                    <a:pt x="8196" y="3583"/>
                    <a:pt x="8228" y="3561"/>
                  </a:cubicBezTo>
                  <a:cubicBezTo>
                    <a:pt x="8370" y="3477"/>
                    <a:pt x="8466" y="3370"/>
                    <a:pt x="8549" y="3251"/>
                  </a:cubicBezTo>
                  <a:cubicBezTo>
                    <a:pt x="8740" y="3263"/>
                    <a:pt x="8906" y="3382"/>
                    <a:pt x="8990" y="3549"/>
                  </a:cubicBezTo>
                  <a:cubicBezTo>
                    <a:pt x="9180" y="3930"/>
                    <a:pt x="9335" y="4346"/>
                    <a:pt x="9442" y="4787"/>
                  </a:cubicBezTo>
                  <a:cubicBezTo>
                    <a:pt x="9347" y="4739"/>
                    <a:pt x="9240" y="4704"/>
                    <a:pt x="9144" y="4704"/>
                  </a:cubicBezTo>
                  <a:cubicBezTo>
                    <a:pt x="8799" y="4704"/>
                    <a:pt x="8513" y="4989"/>
                    <a:pt x="8513" y="5335"/>
                  </a:cubicBezTo>
                  <a:cubicBezTo>
                    <a:pt x="8513" y="5680"/>
                    <a:pt x="8799" y="5954"/>
                    <a:pt x="9144" y="5954"/>
                  </a:cubicBezTo>
                  <a:cubicBezTo>
                    <a:pt x="9323" y="5954"/>
                    <a:pt x="9466" y="5882"/>
                    <a:pt x="9585" y="5763"/>
                  </a:cubicBezTo>
                  <a:cubicBezTo>
                    <a:pt x="9597" y="5918"/>
                    <a:pt x="9597" y="6073"/>
                    <a:pt x="9597" y="6240"/>
                  </a:cubicBezTo>
                  <a:cubicBezTo>
                    <a:pt x="9585" y="7466"/>
                    <a:pt x="9228" y="8597"/>
                    <a:pt x="8668" y="9454"/>
                  </a:cubicBezTo>
                  <a:cubicBezTo>
                    <a:pt x="8537" y="9311"/>
                    <a:pt x="8335" y="9204"/>
                    <a:pt x="8132" y="9204"/>
                  </a:cubicBezTo>
                  <a:cubicBezTo>
                    <a:pt x="7739" y="9204"/>
                    <a:pt x="7418" y="9514"/>
                    <a:pt x="7418" y="9919"/>
                  </a:cubicBezTo>
                  <a:cubicBezTo>
                    <a:pt x="7418" y="10157"/>
                    <a:pt x="7537" y="10359"/>
                    <a:pt x="7716" y="10502"/>
                  </a:cubicBezTo>
                  <a:cubicBezTo>
                    <a:pt x="7144" y="10942"/>
                    <a:pt x="6489" y="11192"/>
                    <a:pt x="5775" y="11192"/>
                  </a:cubicBezTo>
                  <a:cubicBezTo>
                    <a:pt x="5084" y="11192"/>
                    <a:pt x="4406" y="10942"/>
                    <a:pt x="3846" y="10502"/>
                  </a:cubicBezTo>
                  <a:cubicBezTo>
                    <a:pt x="4025" y="10359"/>
                    <a:pt x="4144" y="10157"/>
                    <a:pt x="4144" y="9919"/>
                  </a:cubicBezTo>
                  <a:cubicBezTo>
                    <a:pt x="4144" y="9526"/>
                    <a:pt x="3822" y="9204"/>
                    <a:pt x="3429" y="9204"/>
                  </a:cubicBezTo>
                  <a:cubicBezTo>
                    <a:pt x="3215" y="9204"/>
                    <a:pt x="3025" y="9288"/>
                    <a:pt x="2894" y="9454"/>
                  </a:cubicBezTo>
                  <a:cubicBezTo>
                    <a:pt x="2322" y="8597"/>
                    <a:pt x="1977" y="7466"/>
                    <a:pt x="1977" y="6228"/>
                  </a:cubicBezTo>
                  <a:cubicBezTo>
                    <a:pt x="1977" y="6061"/>
                    <a:pt x="1977" y="5918"/>
                    <a:pt x="2001" y="5751"/>
                  </a:cubicBezTo>
                  <a:cubicBezTo>
                    <a:pt x="2120" y="5870"/>
                    <a:pt x="2263" y="5942"/>
                    <a:pt x="2441" y="5942"/>
                  </a:cubicBezTo>
                  <a:cubicBezTo>
                    <a:pt x="2786" y="5942"/>
                    <a:pt x="3072" y="5656"/>
                    <a:pt x="3072" y="5323"/>
                  </a:cubicBezTo>
                  <a:cubicBezTo>
                    <a:pt x="3072" y="4977"/>
                    <a:pt x="2786" y="4692"/>
                    <a:pt x="2441" y="4692"/>
                  </a:cubicBezTo>
                  <a:cubicBezTo>
                    <a:pt x="2334" y="4692"/>
                    <a:pt x="2239" y="4727"/>
                    <a:pt x="2143" y="4763"/>
                  </a:cubicBezTo>
                  <a:cubicBezTo>
                    <a:pt x="2251" y="4335"/>
                    <a:pt x="2394" y="3918"/>
                    <a:pt x="2596" y="3537"/>
                  </a:cubicBezTo>
                  <a:cubicBezTo>
                    <a:pt x="2679" y="3370"/>
                    <a:pt x="2846" y="3251"/>
                    <a:pt x="3025" y="3239"/>
                  </a:cubicBezTo>
                  <a:cubicBezTo>
                    <a:pt x="3156" y="3453"/>
                    <a:pt x="3429" y="3632"/>
                    <a:pt x="3810" y="3751"/>
                  </a:cubicBezTo>
                  <a:cubicBezTo>
                    <a:pt x="4227" y="3870"/>
                    <a:pt x="4810" y="3954"/>
                    <a:pt x="5596" y="3954"/>
                  </a:cubicBezTo>
                  <a:lnTo>
                    <a:pt x="5596" y="10621"/>
                  </a:lnTo>
                  <a:cubicBezTo>
                    <a:pt x="5596" y="10704"/>
                    <a:pt x="5668" y="10776"/>
                    <a:pt x="5763" y="10776"/>
                  </a:cubicBezTo>
                  <a:cubicBezTo>
                    <a:pt x="5846" y="10776"/>
                    <a:pt x="5930" y="10704"/>
                    <a:pt x="5930" y="10621"/>
                  </a:cubicBezTo>
                  <a:lnTo>
                    <a:pt x="5930" y="3954"/>
                  </a:lnTo>
                  <a:cubicBezTo>
                    <a:pt x="6537" y="3954"/>
                    <a:pt x="7025" y="3906"/>
                    <a:pt x="7418" y="3834"/>
                  </a:cubicBezTo>
                  <a:cubicBezTo>
                    <a:pt x="7501" y="3811"/>
                    <a:pt x="7561" y="3727"/>
                    <a:pt x="7549" y="3632"/>
                  </a:cubicBezTo>
                  <a:cubicBezTo>
                    <a:pt x="7538" y="3556"/>
                    <a:pt x="7457" y="3500"/>
                    <a:pt x="7380" y="3500"/>
                  </a:cubicBezTo>
                  <a:cubicBezTo>
                    <a:pt x="7373" y="3500"/>
                    <a:pt x="7366" y="3500"/>
                    <a:pt x="7358" y="3501"/>
                  </a:cubicBezTo>
                  <a:cubicBezTo>
                    <a:pt x="6966" y="3573"/>
                    <a:pt x="6442" y="3620"/>
                    <a:pt x="5763" y="3620"/>
                  </a:cubicBezTo>
                  <a:cubicBezTo>
                    <a:pt x="4037" y="3620"/>
                    <a:pt x="3227" y="3358"/>
                    <a:pt x="3227" y="2799"/>
                  </a:cubicBezTo>
                  <a:cubicBezTo>
                    <a:pt x="3227" y="2501"/>
                    <a:pt x="3346" y="2203"/>
                    <a:pt x="3560" y="1965"/>
                  </a:cubicBezTo>
                  <a:cubicBezTo>
                    <a:pt x="3703" y="2191"/>
                    <a:pt x="3965" y="2346"/>
                    <a:pt x="4239" y="2346"/>
                  </a:cubicBezTo>
                  <a:cubicBezTo>
                    <a:pt x="4691" y="2346"/>
                    <a:pt x="5049" y="1989"/>
                    <a:pt x="5049" y="1537"/>
                  </a:cubicBezTo>
                  <a:cubicBezTo>
                    <a:pt x="5049" y="1406"/>
                    <a:pt x="5013" y="1287"/>
                    <a:pt x="4953" y="1167"/>
                  </a:cubicBezTo>
                  <a:cubicBezTo>
                    <a:pt x="5215" y="1108"/>
                    <a:pt x="5489" y="1072"/>
                    <a:pt x="5775" y="1072"/>
                  </a:cubicBezTo>
                  <a:close/>
                  <a:moveTo>
                    <a:pt x="3632" y="1"/>
                  </a:moveTo>
                  <a:cubicBezTo>
                    <a:pt x="3548" y="1"/>
                    <a:pt x="3465" y="84"/>
                    <a:pt x="3465" y="167"/>
                  </a:cubicBezTo>
                  <a:cubicBezTo>
                    <a:pt x="3465" y="263"/>
                    <a:pt x="3548" y="334"/>
                    <a:pt x="3632" y="334"/>
                  </a:cubicBezTo>
                  <a:cubicBezTo>
                    <a:pt x="3834" y="334"/>
                    <a:pt x="3906" y="334"/>
                    <a:pt x="3977" y="370"/>
                  </a:cubicBezTo>
                  <a:cubicBezTo>
                    <a:pt x="4048" y="394"/>
                    <a:pt x="4132" y="465"/>
                    <a:pt x="4287" y="608"/>
                  </a:cubicBezTo>
                  <a:cubicBezTo>
                    <a:pt x="4382" y="679"/>
                    <a:pt x="4501" y="786"/>
                    <a:pt x="4632" y="906"/>
                  </a:cubicBezTo>
                  <a:cubicBezTo>
                    <a:pt x="4322" y="1001"/>
                    <a:pt x="4037" y="1144"/>
                    <a:pt x="3787" y="1322"/>
                  </a:cubicBezTo>
                  <a:cubicBezTo>
                    <a:pt x="3441" y="1560"/>
                    <a:pt x="3191" y="1858"/>
                    <a:pt x="3060" y="2168"/>
                  </a:cubicBezTo>
                  <a:lnTo>
                    <a:pt x="2382" y="2168"/>
                  </a:lnTo>
                  <a:cubicBezTo>
                    <a:pt x="2322" y="2168"/>
                    <a:pt x="2263" y="2132"/>
                    <a:pt x="2239" y="2096"/>
                  </a:cubicBezTo>
                  <a:lnTo>
                    <a:pt x="1453" y="989"/>
                  </a:lnTo>
                  <a:cubicBezTo>
                    <a:pt x="1415" y="943"/>
                    <a:pt x="1357" y="922"/>
                    <a:pt x="1302" y="922"/>
                  </a:cubicBezTo>
                  <a:cubicBezTo>
                    <a:pt x="1271" y="922"/>
                    <a:pt x="1240" y="928"/>
                    <a:pt x="1215" y="941"/>
                  </a:cubicBezTo>
                  <a:cubicBezTo>
                    <a:pt x="1131" y="1001"/>
                    <a:pt x="1120" y="1108"/>
                    <a:pt x="1167" y="1179"/>
                  </a:cubicBezTo>
                  <a:lnTo>
                    <a:pt x="1953" y="2287"/>
                  </a:lnTo>
                  <a:cubicBezTo>
                    <a:pt x="2060" y="2418"/>
                    <a:pt x="2203" y="2513"/>
                    <a:pt x="2382" y="2513"/>
                  </a:cubicBezTo>
                  <a:lnTo>
                    <a:pt x="2953" y="2513"/>
                  </a:lnTo>
                  <a:cubicBezTo>
                    <a:pt x="2941" y="2596"/>
                    <a:pt x="2917" y="2703"/>
                    <a:pt x="2917" y="2787"/>
                  </a:cubicBezTo>
                  <a:lnTo>
                    <a:pt x="2917" y="2906"/>
                  </a:lnTo>
                  <a:cubicBezTo>
                    <a:pt x="2655" y="2953"/>
                    <a:pt x="2417" y="3132"/>
                    <a:pt x="2298" y="3382"/>
                  </a:cubicBezTo>
                  <a:cubicBezTo>
                    <a:pt x="2072" y="3846"/>
                    <a:pt x="1893" y="4358"/>
                    <a:pt x="1786" y="4870"/>
                  </a:cubicBezTo>
                  <a:lnTo>
                    <a:pt x="1572" y="4870"/>
                  </a:lnTo>
                  <a:cubicBezTo>
                    <a:pt x="1310" y="4870"/>
                    <a:pt x="1108" y="5037"/>
                    <a:pt x="1048" y="5287"/>
                  </a:cubicBezTo>
                  <a:lnTo>
                    <a:pt x="798" y="6466"/>
                  </a:lnTo>
                  <a:cubicBezTo>
                    <a:pt x="774" y="6525"/>
                    <a:pt x="750" y="6573"/>
                    <a:pt x="691" y="6597"/>
                  </a:cubicBezTo>
                  <a:lnTo>
                    <a:pt x="119" y="6882"/>
                  </a:lnTo>
                  <a:cubicBezTo>
                    <a:pt x="36" y="6930"/>
                    <a:pt x="0" y="7037"/>
                    <a:pt x="48" y="7109"/>
                  </a:cubicBezTo>
                  <a:cubicBezTo>
                    <a:pt x="84" y="7168"/>
                    <a:pt x="143" y="7192"/>
                    <a:pt x="203" y="7192"/>
                  </a:cubicBezTo>
                  <a:cubicBezTo>
                    <a:pt x="227" y="7192"/>
                    <a:pt x="238" y="7192"/>
                    <a:pt x="274" y="7180"/>
                  </a:cubicBezTo>
                  <a:lnTo>
                    <a:pt x="834" y="6894"/>
                  </a:lnTo>
                  <a:cubicBezTo>
                    <a:pt x="989" y="6823"/>
                    <a:pt x="1072" y="6692"/>
                    <a:pt x="1120" y="6537"/>
                  </a:cubicBezTo>
                  <a:lnTo>
                    <a:pt x="1370" y="5370"/>
                  </a:lnTo>
                  <a:cubicBezTo>
                    <a:pt x="1393" y="5275"/>
                    <a:pt x="1465" y="5216"/>
                    <a:pt x="1572" y="5216"/>
                  </a:cubicBezTo>
                  <a:lnTo>
                    <a:pt x="1727" y="5216"/>
                  </a:lnTo>
                  <a:cubicBezTo>
                    <a:pt x="1691" y="5549"/>
                    <a:pt x="1655" y="5882"/>
                    <a:pt x="1655" y="6216"/>
                  </a:cubicBezTo>
                  <a:cubicBezTo>
                    <a:pt x="1655" y="6799"/>
                    <a:pt x="1727" y="7359"/>
                    <a:pt x="1870" y="7894"/>
                  </a:cubicBezTo>
                  <a:lnTo>
                    <a:pt x="1489" y="8204"/>
                  </a:lnTo>
                  <a:cubicBezTo>
                    <a:pt x="1358" y="8311"/>
                    <a:pt x="1298" y="8490"/>
                    <a:pt x="1310" y="8656"/>
                  </a:cubicBezTo>
                  <a:lnTo>
                    <a:pt x="1477" y="10442"/>
                  </a:lnTo>
                  <a:cubicBezTo>
                    <a:pt x="1489" y="10526"/>
                    <a:pt x="1548" y="10585"/>
                    <a:pt x="1643" y="10585"/>
                  </a:cubicBezTo>
                  <a:lnTo>
                    <a:pt x="1655" y="10585"/>
                  </a:lnTo>
                  <a:cubicBezTo>
                    <a:pt x="1751" y="10573"/>
                    <a:pt x="1822" y="10502"/>
                    <a:pt x="1810" y="10407"/>
                  </a:cubicBezTo>
                  <a:lnTo>
                    <a:pt x="1643" y="8621"/>
                  </a:lnTo>
                  <a:cubicBezTo>
                    <a:pt x="1643" y="8561"/>
                    <a:pt x="1655" y="8502"/>
                    <a:pt x="1715" y="8466"/>
                  </a:cubicBezTo>
                  <a:lnTo>
                    <a:pt x="1965" y="8240"/>
                  </a:lnTo>
                  <a:cubicBezTo>
                    <a:pt x="2179" y="8859"/>
                    <a:pt x="2465" y="9430"/>
                    <a:pt x="2846" y="9919"/>
                  </a:cubicBezTo>
                  <a:cubicBezTo>
                    <a:pt x="3620" y="10931"/>
                    <a:pt x="4668" y="11478"/>
                    <a:pt x="5775" y="11478"/>
                  </a:cubicBezTo>
                  <a:cubicBezTo>
                    <a:pt x="6894" y="11478"/>
                    <a:pt x="7942" y="10931"/>
                    <a:pt x="8716" y="9919"/>
                  </a:cubicBezTo>
                  <a:cubicBezTo>
                    <a:pt x="9097" y="9430"/>
                    <a:pt x="9382" y="8847"/>
                    <a:pt x="9585" y="8240"/>
                  </a:cubicBezTo>
                  <a:lnTo>
                    <a:pt x="9847" y="8466"/>
                  </a:lnTo>
                  <a:cubicBezTo>
                    <a:pt x="9883" y="8502"/>
                    <a:pt x="9918" y="8561"/>
                    <a:pt x="9918" y="8621"/>
                  </a:cubicBezTo>
                  <a:lnTo>
                    <a:pt x="9752" y="10407"/>
                  </a:lnTo>
                  <a:cubicBezTo>
                    <a:pt x="9740" y="10502"/>
                    <a:pt x="9811" y="10585"/>
                    <a:pt x="9906" y="10585"/>
                  </a:cubicBezTo>
                  <a:lnTo>
                    <a:pt x="9918" y="10585"/>
                  </a:lnTo>
                  <a:cubicBezTo>
                    <a:pt x="10002" y="10585"/>
                    <a:pt x="10085" y="10526"/>
                    <a:pt x="10085" y="10442"/>
                  </a:cubicBezTo>
                  <a:lnTo>
                    <a:pt x="10240" y="8656"/>
                  </a:lnTo>
                  <a:cubicBezTo>
                    <a:pt x="10264" y="8478"/>
                    <a:pt x="10180" y="8311"/>
                    <a:pt x="10061" y="8204"/>
                  </a:cubicBezTo>
                  <a:lnTo>
                    <a:pt x="9692" y="7894"/>
                  </a:lnTo>
                  <a:cubicBezTo>
                    <a:pt x="9823" y="7359"/>
                    <a:pt x="9906" y="6799"/>
                    <a:pt x="9906" y="6216"/>
                  </a:cubicBezTo>
                  <a:cubicBezTo>
                    <a:pt x="9906" y="5870"/>
                    <a:pt x="9871" y="5549"/>
                    <a:pt x="9823" y="5216"/>
                  </a:cubicBezTo>
                  <a:lnTo>
                    <a:pt x="9990" y="5216"/>
                  </a:lnTo>
                  <a:cubicBezTo>
                    <a:pt x="10085" y="5216"/>
                    <a:pt x="10156" y="5275"/>
                    <a:pt x="10180" y="5370"/>
                  </a:cubicBezTo>
                  <a:lnTo>
                    <a:pt x="10442" y="6537"/>
                  </a:lnTo>
                  <a:cubicBezTo>
                    <a:pt x="10466" y="6692"/>
                    <a:pt x="10573" y="6823"/>
                    <a:pt x="10716" y="6894"/>
                  </a:cubicBezTo>
                  <a:lnTo>
                    <a:pt x="11287" y="7180"/>
                  </a:lnTo>
                  <a:cubicBezTo>
                    <a:pt x="11311" y="7192"/>
                    <a:pt x="11335" y="7192"/>
                    <a:pt x="11359" y="7192"/>
                  </a:cubicBezTo>
                  <a:cubicBezTo>
                    <a:pt x="11418" y="7192"/>
                    <a:pt x="11478" y="7168"/>
                    <a:pt x="11514" y="7109"/>
                  </a:cubicBezTo>
                  <a:cubicBezTo>
                    <a:pt x="11573" y="7037"/>
                    <a:pt x="11526" y="6930"/>
                    <a:pt x="11454" y="6882"/>
                  </a:cubicBezTo>
                  <a:lnTo>
                    <a:pt x="10883" y="6597"/>
                  </a:lnTo>
                  <a:cubicBezTo>
                    <a:pt x="10835" y="6573"/>
                    <a:pt x="10787" y="6525"/>
                    <a:pt x="10776" y="6466"/>
                  </a:cubicBezTo>
                  <a:lnTo>
                    <a:pt x="10525" y="5287"/>
                  </a:lnTo>
                  <a:cubicBezTo>
                    <a:pt x="10466" y="5049"/>
                    <a:pt x="10264" y="4870"/>
                    <a:pt x="10002" y="4870"/>
                  </a:cubicBezTo>
                  <a:lnTo>
                    <a:pt x="9787" y="4870"/>
                  </a:lnTo>
                  <a:cubicBezTo>
                    <a:pt x="9680" y="4358"/>
                    <a:pt x="9502" y="3846"/>
                    <a:pt x="9275" y="3382"/>
                  </a:cubicBezTo>
                  <a:cubicBezTo>
                    <a:pt x="9156" y="3132"/>
                    <a:pt x="8918" y="2965"/>
                    <a:pt x="8656" y="2906"/>
                  </a:cubicBezTo>
                  <a:lnTo>
                    <a:pt x="8656" y="2787"/>
                  </a:lnTo>
                  <a:cubicBezTo>
                    <a:pt x="8656" y="2703"/>
                    <a:pt x="8632" y="2596"/>
                    <a:pt x="8620" y="2513"/>
                  </a:cubicBezTo>
                  <a:lnTo>
                    <a:pt x="9192" y="2513"/>
                  </a:lnTo>
                  <a:cubicBezTo>
                    <a:pt x="9347" y="2513"/>
                    <a:pt x="9513" y="2418"/>
                    <a:pt x="9621" y="2287"/>
                  </a:cubicBezTo>
                  <a:lnTo>
                    <a:pt x="10406" y="1179"/>
                  </a:lnTo>
                  <a:cubicBezTo>
                    <a:pt x="10466" y="1108"/>
                    <a:pt x="10442" y="1001"/>
                    <a:pt x="10359" y="941"/>
                  </a:cubicBezTo>
                  <a:cubicBezTo>
                    <a:pt x="10334" y="920"/>
                    <a:pt x="10304" y="911"/>
                    <a:pt x="10274" y="911"/>
                  </a:cubicBezTo>
                  <a:cubicBezTo>
                    <a:pt x="10218" y="911"/>
                    <a:pt x="10159" y="942"/>
                    <a:pt x="10121" y="989"/>
                  </a:cubicBezTo>
                  <a:lnTo>
                    <a:pt x="9335" y="2096"/>
                  </a:lnTo>
                  <a:cubicBezTo>
                    <a:pt x="9311" y="2132"/>
                    <a:pt x="9252" y="2168"/>
                    <a:pt x="9192" y="2168"/>
                  </a:cubicBezTo>
                  <a:lnTo>
                    <a:pt x="8513" y="2168"/>
                  </a:lnTo>
                  <a:cubicBezTo>
                    <a:pt x="8382" y="1834"/>
                    <a:pt x="8132" y="1560"/>
                    <a:pt x="7787" y="1322"/>
                  </a:cubicBezTo>
                  <a:cubicBezTo>
                    <a:pt x="7537" y="1144"/>
                    <a:pt x="7251" y="1001"/>
                    <a:pt x="6942" y="906"/>
                  </a:cubicBezTo>
                  <a:cubicBezTo>
                    <a:pt x="7085" y="786"/>
                    <a:pt x="7204" y="679"/>
                    <a:pt x="7287" y="608"/>
                  </a:cubicBezTo>
                  <a:cubicBezTo>
                    <a:pt x="7442" y="465"/>
                    <a:pt x="7525" y="394"/>
                    <a:pt x="7597" y="370"/>
                  </a:cubicBezTo>
                  <a:cubicBezTo>
                    <a:pt x="7656" y="334"/>
                    <a:pt x="7739" y="334"/>
                    <a:pt x="7942" y="334"/>
                  </a:cubicBezTo>
                  <a:cubicBezTo>
                    <a:pt x="8025" y="334"/>
                    <a:pt x="8097" y="263"/>
                    <a:pt x="8097" y="167"/>
                  </a:cubicBezTo>
                  <a:cubicBezTo>
                    <a:pt x="8097" y="84"/>
                    <a:pt x="8025" y="1"/>
                    <a:pt x="7942" y="1"/>
                  </a:cubicBezTo>
                  <a:cubicBezTo>
                    <a:pt x="7489" y="1"/>
                    <a:pt x="7442" y="24"/>
                    <a:pt x="7073" y="346"/>
                  </a:cubicBezTo>
                  <a:cubicBezTo>
                    <a:pt x="6966" y="441"/>
                    <a:pt x="6751" y="632"/>
                    <a:pt x="6537" y="798"/>
                  </a:cubicBezTo>
                  <a:cubicBezTo>
                    <a:pt x="6299" y="751"/>
                    <a:pt x="6049" y="715"/>
                    <a:pt x="5775" y="715"/>
                  </a:cubicBezTo>
                  <a:cubicBezTo>
                    <a:pt x="5525" y="715"/>
                    <a:pt x="5275" y="751"/>
                    <a:pt x="5037" y="798"/>
                  </a:cubicBezTo>
                  <a:cubicBezTo>
                    <a:pt x="4822" y="632"/>
                    <a:pt x="4608" y="441"/>
                    <a:pt x="4501" y="346"/>
                  </a:cubicBezTo>
                  <a:cubicBezTo>
                    <a:pt x="4108" y="24"/>
                    <a:pt x="4084" y="1"/>
                    <a:pt x="3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6" name="Google Shape;12906;p63"/>
            <p:cNvSpPr/>
            <p:nvPr/>
          </p:nvSpPr>
          <p:spPr>
            <a:xfrm>
              <a:off x="2061645" y="3093618"/>
              <a:ext cx="51456" cy="51456"/>
            </a:xfrm>
            <a:custGeom>
              <a:avLst/>
              <a:gdLst/>
              <a:ahLst/>
              <a:cxnLst/>
              <a:rect l="l" t="t" r="r" b="b"/>
              <a:pathLst>
                <a:path w="1608" h="1608" extrusionOk="0">
                  <a:moveTo>
                    <a:pt x="810" y="0"/>
                  </a:moveTo>
                  <a:cubicBezTo>
                    <a:pt x="357" y="0"/>
                    <a:pt x="0" y="358"/>
                    <a:pt x="0" y="798"/>
                  </a:cubicBezTo>
                  <a:cubicBezTo>
                    <a:pt x="0" y="1251"/>
                    <a:pt x="357" y="1608"/>
                    <a:pt x="810" y="1608"/>
                  </a:cubicBezTo>
                  <a:cubicBezTo>
                    <a:pt x="1250" y="1608"/>
                    <a:pt x="1608" y="1251"/>
                    <a:pt x="1608" y="798"/>
                  </a:cubicBezTo>
                  <a:cubicBezTo>
                    <a:pt x="1608" y="727"/>
                    <a:pt x="1596" y="655"/>
                    <a:pt x="1584" y="584"/>
                  </a:cubicBezTo>
                  <a:cubicBezTo>
                    <a:pt x="1555" y="508"/>
                    <a:pt x="1496" y="454"/>
                    <a:pt x="1425" y="454"/>
                  </a:cubicBezTo>
                  <a:cubicBezTo>
                    <a:pt x="1407" y="454"/>
                    <a:pt x="1388" y="458"/>
                    <a:pt x="1369" y="465"/>
                  </a:cubicBezTo>
                  <a:cubicBezTo>
                    <a:pt x="1286" y="489"/>
                    <a:pt x="1227" y="584"/>
                    <a:pt x="1250" y="667"/>
                  </a:cubicBezTo>
                  <a:cubicBezTo>
                    <a:pt x="1274" y="715"/>
                    <a:pt x="1274" y="739"/>
                    <a:pt x="1274" y="786"/>
                  </a:cubicBezTo>
                  <a:cubicBezTo>
                    <a:pt x="1274" y="1036"/>
                    <a:pt x="1060" y="1251"/>
                    <a:pt x="810" y="1251"/>
                  </a:cubicBezTo>
                  <a:cubicBezTo>
                    <a:pt x="560" y="1251"/>
                    <a:pt x="345" y="1036"/>
                    <a:pt x="345" y="786"/>
                  </a:cubicBezTo>
                  <a:cubicBezTo>
                    <a:pt x="345" y="536"/>
                    <a:pt x="560" y="322"/>
                    <a:pt x="810" y="322"/>
                  </a:cubicBezTo>
                  <a:cubicBezTo>
                    <a:pt x="893" y="322"/>
                    <a:pt x="976" y="250"/>
                    <a:pt x="976" y="155"/>
                  </a:cubicBezTo>
                  <a:cubicBezTo>
                    <a:pt x="976" y="72"/>
                    <a:pt x="893" y="0"/>
                    <a:pt x="8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07" name="Google Shape;12907;p63"/>
            <p:cNvSpPr/>
            <p:nvPr/>
          </p:nvSpPr>
          <p:spPr>
            <a:xfrm>
              <a:off x="2159565" y="3093618"/>
              <a:ext cx="51456" cy="51456"/>
            </a:xfrm>
            <a:custGeom>
              <a:avLst/>
              <a:gdLst/>
              <a:ahLst/>
              <a:cxnLst/>
              <a:rect l="l" t="t" r="r" b="b"/>
              <a:pathLst>
                <a:path w="1608" h="1608" extrusionOk="0">
                  <a:moveTo>
                    <a:pt x="798" y="0"/>
                  </a:moveTo>
                  <a:cubicBezTo>
                    <a:pt x="357" y="0"/>
                    <a:pt x="0" y="358"/>
                    <a:pt x="0" y="798"/>
                  </a:cubicBezTo>
                  <a:cubicBezTo>
                    <a:pt x="0" y="1251"/>
                    <a:pt x="357" y="1608"/>
                    <a:pt x="798" y="1608"/>
                  </a:cubicBezTo>
                  <a:cubicBezTo>
                    <a:pt x="1250" y="1608"/>
                    <a:pt x="1607" y="1251"/>
                    <a:pt x="1607" y="798"/>
                  </a:cubicBezTo>
                  <a:cubicBezTo>
                    <a:pt x="1607" y="727"/>
                    <a:pt x="1607" y="655"/>
                    <a:pt x="1572" y="584"/>
                  </a:cubicBezTo>
                  <a:cubicBezTo>
                    <a:pt x="1553" y="508"/>
                    <a:pt x="1488" y="454"/>
                    <a:pt x="1420" y="454"/>
                  </a:cubicBezTo>
                  <a:cubicBezTo>
                    <a:pt x="1403" y="454"/>
                    <a:pt x="1386" y="458"/>
                    <a:pt x="1369" y="465"/>
                  </a:cubicBezTo>
                  <a:cubicBezTo>
                    <a:pt x="1274" y="489"/>
                    <a:pt x="1215" y="584"/>
                    <a:pt x="1250" y="667"/>
                  </a:cubicBezTo>
                  <a:cubicBezTo>
                    <a:pt x="1262" y="715"/>
                    <a:pt x="1262" y="739"/>
                    <a:pt x="1262" y="786"/>
                  </a:cubicBezTo>
                  <a:cubicBezTo>
                    <a:pt x="1262" y="1036"/>
                    <a:pt x="1048" y="1251"/>
                    <a:pt x="798" y="1251"/>
                  </a:cubicBezTo>
                  <a:cubicBezTo>
                    <a:pt x="548" y="1251"/>
                    <a:pt x="333" y="1036"/>
                    <a:pt x="333" y="786"/>
                  </a:cubicBezTo>
                  <a:cubicBezTo>
                    <a:pt x="333" y="536"/>
                    <a:pt x="548" y="322"/>
                    <a:pt x="798" y="322"/>
                  </a:cubicBezTo>
                  <a:cubicBezTo>
                    <a:pt x="893" y="322"/>
                    <a:pt x="964" y="250"/>
                    <a:pt x="964" y="155"/>
                  </a:cubicBezTo>
                  <a:cubicBezTo>
                    <a:pt x="964" y="72"/>
                    <a:pt x="893" y="0"/>
                    <a:pt x="79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08" name="Google Shape;12908;p63"/>
          <p:cNvGrpSpPr/>
          <p:nvPr/>
        </p:nvGrpSpPr>
        <p:grpSpPr>
          <a:xfrm>
            <a:off x="2501677" y="2906162"/>
            <a:ext cx="367328" cy="327296"/>
            <a:chOff x="2501677" y="2906162"/>
            <a:chExt cx="367328" cy="327296"/>
          </a:xfrm>
        </p:grpSpPr>
        <p:sp>
          <p:nvSpPr>
            <p:cNvPr id="12909" name="Google Shape;12909;p63"/>
            <p:cNvSpPr/>
            <p:nvPr/>
          </p:nvSpPr>
          <p:spPr>
            <a:xfrm>
              <a:off x="2670093" y="3049810"/>
              <a:ext cx="131488" cy="107456"/>
            </a:xfrm>
            <a:custGeom>
              <a:avLst/>
              <a:gdLst/>
              <a:ahLst/>
              <a:cxnLst/>
              <a:rect l="l" t="t" r="r" b="b"/>
              <a:pathLst>
                <a:path w="4109" h="3358" extrusionOk="0">
                  <a:moveTo>
                    <a:pt x="2263" y="0"/>
                  </a:moveTo>
                  <a:cubicBezTo>
                    <a:pt x="1012" y="0"/>
                    <a:pt x="0" y="1012"/>
                    <a:pt x="0" y="2262"/>
                  </a:cubicBezTo>
                  <a:cubicBezTo>
                    <a:pt x="0" y="2346"/>
                    <a:pt x="72" y="2429"/>
                    <a:pt x="155" y="2429"/>
                  </a:cubicBezTo>
                  <a:cubicBezTo>
                    <a:pt x="250" y="2429"/>
                    <a:pt x="322" y="2346"/>
                    <a:pt x="322" y="2262"/>
                  </a:cubicBezTo>
                  <a:cubicBezTo>
                    <a:pt x="322" y="1203"/>
                    <a:pt x="1191" y="345"/>
                    <a:pt x="2239" y="345"/>
                  </a:cubicBezTo>
                  <a:cubicBezTo>
                    <a:pt x="3072" y="345"/>
                    <a:pt x="3751" y="1012"/>
                    <a:pt x="3751" y="1846"/>
                  </a:cubicBezTo>
                  <a:cubicBezTo>
                    <a:pt x="3751" y="2489"/>
                    <a:pt x="3227" y="3024"/>
                    <a:pt x="2572" y="3024"/>
                  </a:cubicBezTo>
                  <a:cubicBezTo>
                    <a:pt x="2084" y="3024"/>
                    <a:pt x="1667" y="2620"/>
                    <a:pt x="1667" y="2108"/>
                  </a:cubicBezTo>
                  <a:cubicBezTo>
                    <a:pt x="1667" y="1727"/>
                    <a:pt x="1977" y="1429"/>
                    <a:pt x="2346" y="1429"/>
                  </a:cubicBezTo>
                  <a:cubicBezTo>
                    <a:pt x="2441" y="1429"/>
                    <a:pt x="2513" y="1357"/>
                    <a:pt x="2513" y="1262"/>
                  </a:cubicBezTo>
                  <a:cubicBezTo>
                    <a:pt x="2513" y="1167"/>
                    <a:pt x="2441" y="1096"/>
                    <a:pt x="2346" y="1096"/>
                  </a:cubicBezTo>
                  <a:cubicBezTo>
                    <a:pt x="1786" y="1096"/>
                    <a:pt x="1322" y="1560"/>
                    <a:pt x="1322" y="2119"/>
                  </a:cubicBezTo>
                  <a:cubicBezTo>
                    <a:pt x="1322" y="2810"/>
                    <a:pt x="1870" y="3358"/>
                    <a:pt x="2560" y="3358"/>
                  </a:cubicBezTo>
                  <a:cubicBezTo>
                    <a:pt x="3394" y="3358"/>
                    <a:pt x="4060" y="2691"/>
                    <a:pt x="4060" y="1858"/>
                  </a:cubicBezTo>
                  <a:cubicBezTo>
                    <a:pt x="4108" y="810"/>
                    <a:pt x="3287" y="0"/>
                    <a:pt x="22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0" name="Google Shape;12910;p63"/>
            <p:cNvSpPr/>
            <p:nvPr/>
          </p:nvSpPr>
          <p:spPr>
            <a:xfrm>
              <a:off x="2760397" y="3097522"/>
              <a:ext cx="13344" cy="19360"/>
            </a:xfrm>
            <a:custGeom>
              <a:avLst/>
              <a:gdLst/>
              <a:ahLst/>
              <a:cxnLst/>
              <a:rect l="l" t="t" r="r" b="b"/>
              <a:pathLst>
                <a:path w="417" h="605" extrusionOk="0">
                  <a:moveTo>
                    <a:pt x="186" y="1"/>
                  </a:moveTo>
                  <a:cubicBezTo>
                    <a:pt x="164" y="1"/>
                    <a:pt x="142" y="4"/>
                    <a:pt x="119" y="9"/>
                  </a:cubicBezTo>
                  <a:cubicBezTo>
                    <a:pt x="36" y="45"/>
                    <a:pt x="0" y="140"/>
                    <a:pt x="36" y="236"/>
                  </a:cubicBezTo>
                  <a:cubicBezTo>
                    <a:pt x="60" y="295"/>
                    <a:pt x="72" y="367"/>
                    <a:pt x="72" y="438"/>
                  </a:cubicBezTo>
                  <a:cubicBezTo>
                    <a:pt x="72" y="533"/>
                    <a:pt x="155" y="605"/>
                    <a:pt x="238" y="605"/>
                  </a:cubicBezTo>
                  <a:cubicBezTo>
                    <a:pt x="334" y="605"/>
                    <a:pt x="405" y="533"/>
                    <a:pt x="405" y="438"/>
                  </a:cubicBezTo>
                  <a:cubicBezTo>
                    <a:pt x="417" y="319"/>
                    <a:pt x="393" y="200"/>
                    <a:pt x="346" y="105"/>
                  </a:cubicBezTo>
                  <a:cubicBezTo>
                    <a:pt x="318" y="32"/>
                    <a:pt x="256"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1" name="Google Shape;12911;p63"/>
            <p:cNvSpPr/>
            <p:nvPr/>
          </p:nvSpPr>
          <p:spPr>
            <a:xfrm>
              <a:off x="2501677" y="2906162"/>
              <a:ext cx="367328" cy="327296"/>
            </a:xfrm>
            <a:custGeom>
              <a:avLst/>
              <a:gdLst/>
              <a:ahLst/>
              <a:cxnLst/>
              <a:rect l="l" t="t" r="r" b="b"/>
              <a:pathLst>
                <a:path w="11479" h="10228" extrusionOk="0">
                  <a:moveTo>
                    <a:pt x="703" y="346"/>
                  </a:moveTo>
                  <a:cubicBezTo>
                    <a:pt x="811" y="346"/>
                    <a:pt x="894" y="441"/>
                    <a:pt x="894" y="548"/>
                  </a:cubicBezTo>
                  <a:cubicBezTo>
                    <a:pt x="894" y="643"/>
                    <a:pt x="811" y="739"/>
                    <a:pt x="703" y="739"/>
                  </a:cubicBezTo>
                  <a:cubicBezTo>
                    <a:pt x="596" y="739"/>
                    <a:pt x="513" y="643"/>
                    <a:pt x="513" y="548"/>
                  </a:cubicBezTo>
                  <a:cubicBezTo>
                    <a:pt x="513" y="441"/>
                    <a:pt x="596" y="346"/>
                    <a:pt x="703" y="346"/>
                  </a:cubicBezTo>
                  <a:close/>
                  <a:moveTo>
                    <a:pt x="2144" y="346"/>
                  </a:moveTo>
                  <a:cubicBezTo>
                    <a:pt x="2251" y="346"/>
                    <a:pt x="2335" y="441"/>
                    <a:pt x="2335" y="536"/>
                  </a:cubicBezTo>
                  <a:cubicBezTo>
                    <a:pt x="2335" y="643"/>
                    <a:pt x="2251" y="739"/>
                    <a:pt x="2144" y="739"/>
                  </a:cubicBezTo>
                  <a:cubicBezTo>
                    <a:pt x="2049" y="739"/>
                    <a:pt x="1954" y="643"/>
                    <a:pt x="1954" y="536"/>
                  </a:cubicBezTo>
                  <a:cubicBezTo>
                    <a:pt x="1954" y="441"/>
                    <a:pt x="2037" y="346"/>
                    <a:pt x="2144" y="346"/>
                  </a:cubicBezTo>
                  <a:close/>
                  <a:moveTo>
                    <a:pt x="7240" y="2167"/>
                  </a:moveTo>
                  <a:cubicBezTo>
                    <a:pt x="9395" y="2167"/>
                    <a:pt x="11145" y="3918"/>
                    <a:pt x="11145" y="6085"/>
                  </a:cubicBezTo>
                  <a:cubicBezTo>
                    <a:pt x="11145" y="7787"/>
                    <a:pt x="9764" y="9168"/>
                    <a:pt x="8050" y="9168"/>
                  </a:cubicBezTo>
                  <a:cubicBezTo>
                    <a:pt x="7514" y="9168"/>
                    <a:pt x="7014" y="9013"/>
                    <a:pt x="6597" y="8680"/>
                  </a:cubicBezTo>
                  <a:cubicBezTo>
                    <a:pt x="6180" y="8371"/>
                    <a:pt x="5883" y="7942"/>
                    <a:pt x="5716" y="7454"/>
                  </a:cubicBezTo>
                  <a:cubicBezTo>
                    <a:pt x="5692" y="7370"/>
                    <a:pt x="5633" y="7335"/>
                    <a:pt x="5561" y="7335"/>
                  </a:cubicBezTo>
                  <a:cubicBezTo>
                    <a:pt x="5537" y="7335"/>
                    <a:pt x="5525" y="7335"/>
                    <a:pt x="5513" y="7347"/>
                  </a:cubicBezTo>
                  <a:cubicBezTo>
                    <a:pt x="5418" y="7370"/>
                    <a:pt x="5383" y="7466"/>
                    <a:pt x="5406" y="7549"/>
                  </a:cubicBezTo>
                  <a:cubicBezTo>
                    <a:pt x="5454" y="7692"/>
                    <a:pt x="5502" y="7823"/>
                    <a:pt x="5561" y="7942"/>
                  </a:cubicBezTo>
                  <a:cubicBezTo>
                    <a:pt x="5190" y="8141"/>
                    <a:pt x="4851" y="8237"/>
                    <a:pt x="4541" y="8237"/>
                  </a:cubicBezTo>
                  <a:cubicBezTo>
                    <a:pt x="4314" y="8237"/>
                    <a:pt x="4103" y="8186"/>
                    <a:pt x="3906" y="8085"/>
                  </a:cubicBezTo>
                  <a:cubicBezTo>
                    <a:pt x="3347" y="7787"/>
                    <a:pt x="3097" y="7168"/>
                    <a:pt x="3073" y="6823"/>
                  </a:cubicBezTo>
                  <a:cubicBezTo>
                    <a:pt x="2930" y="5573"/>
                    <a:pt x="3323" y="4358"/>
                    <a:pt x="4120" y="3477"/>
                  </a:cubicBezTo>
                  <a:cubicBezTo>
                    <a:pt x="4906" y="2620"/>
                    <a:pt x="6002" y="2167"/>
                    <a:pt x="7240" y="2167"/>
                  </a:cubicBezTo>
                  <a:close/>
                  <a:moveTo>
                    <a:pt x="1430" y="2703"/>
                  </a:moveTo>
                  <a:cubicBezTo>
                    <a:pt x="1834" y="2703"/>
                    <a:pt x="2156" y="3025"/>
                    <a:pt x="2156" y="3429"/>
                  </a:cubicBezTo>
                  <a:lnTo>
                    <a:pt x="2156" y="5763"/>
                  </a:lnTo>
                  <a:cubicBezTo>
                    <a:pt x="2156" y="6180"/>
                    <a:pt x="2370" y="6573"/>
                    <a:pt x="2716" y="6811"/>
                  </a:cubicBezTo>
                  <a:lnTo>
                    <a:pt x="2716" y="6882"/>
                  </a:lnTo>
                  <a:cubicBezTo>
                    <a:pt x="2751" y="7299"/>
                    <a:pt x="3049" y="8061"/>
                    <a:pt x="3728" y="8418"/>
                  </a:cubicBezTo>
                  <a:cubicBezTo>
                    <a:pt x="3978" y="8549"/>
                    <a:pt x="4240" y="8609"/>
                    <a:pt x="4501" y="8609"/>
                  </a:cubicBezTo>
                  <a:cubicBezTo>
                    <a:pt x="4942" y="8609"/>
                    <a:pt x="5359" y="8442"/>
                    <a:pt x="5704" y="8263"/>
                  </a:cubicBezTo>
                  <a:cubicBezTo>
                    <a:pt x="5883" y="8549"/>
                    <a:pt x="6109" y="8787"/>
                    <a:pt x="6371" y="8990"/>
                  </a:cubicBezTo>
                  <a:cubicBezTo>
                    <a:pt x="6859" y="9347"/>
                    <a:pt x="7430" y="9549"/>
                    <a:pt x="8038" y="9549"/>
                  </a:cubicBezTo>
                  <a:cubicBezTo>
                    <a:pt x="8704" y="9549"/>
                    <a:pt x="9323" y="9359"/>
                    <a:pt x="9859" y="9025"/>
                  </a:cubicBezTo>
                  <a:lnTo>
                    <a:pt x="10705" y="9585"/>
                  </a:lnTo>
                  <a:cubicBezTo>
                    <a:pt x="10752" y="9621"/>
                    <a:pt x="10776" y="9680"/>
                    <a:pt x="10776" y="9740"/>
                  </a:cubicBezTo>
                  <a:cubicBezTo>
                    <a:pt x="10800" y="9811"/>
                    <a:pt x="10705" y="9906"/>
                    <a:pt x="10597" y="9906"/>
                  </a:cubicBezTo>
                  <a:lnTo>
                    <a:pt x="4478" y="9906"/>
                  </a:lnTo>
                  <a:cubicBezTo>
                    <a:pt x="2596" y="9906"/>
                    <a:pt x="1061" y="8371"/>
                    <a:pt x="1061" y="6477"/>
                  </a:cubicBezTo>
                  <a:lnTo>
                    <a:pt x="1061" y="4477"/>
                  </a:lnTo>
                  <a:cubicBezTo>
                    <a:pt x="1120" y="4489"/>
                    <a:pt x="1180" y="4489"/>
                    <a:pt x="1251" y="4489"/>
                  </a:cubicBezTo>
                  <a:cubicBezTo>
                    <a:pt x="1346" y="4489"/>
                    <a:pt x="1418" y="4418"/>
                    <a:pt x="1418" y="4322"/>
                  </a:cubicBezTo>
                  <a:cubicBezTo>
                    <a:pt x="1418" y="4239"/>
                    <a:pt x="1346" y="4156"/>
                    <a:pt x="1251" y="4156"/>
                  </a:cubicBezTo>
                  <a:cubicBezTo>
                    <a:pt x="751" y="4156"/>
                    <a:pt x="346" y="3763"/>
                    <a:pt x="346" y="3251"/>
                  </a:cubicBezTo>
                  <a:lnTo>
                    <a:pt x="346" y="3072"/>
                  </a:lnTo>
                  <a:cubicBezTo>
                    <a:pt x="346" y="2870"/>
                    <a:pt x="513" y="2703"/>
                    <a:pt x="715" y="2703"/>
                  </a:cubicBezTo>
                  <a:close/>
                  <a:moveTo>
                    <a:pt x="715" y="0"/>
                  </a:moveTo>
                  <a:cubicBezTo>
                    <a:pt x="418" y="0"/>
                    <a:pt x="203" y="239"/>
                    <a:pt x="203" y="524"/>
                  </a:cubicBezTo>
                  <a:cubicBezTo>
                    <a:pt x="203" y="810"/>
                    <a:pt x="418" y="1036"/>
                    <a:pt x="691" y="1048"/>
                  </a:cubicBezTo>
                  <a:lnTo>
                    <a:pt x="953" y="2322"/>
                  </a:lnTo>
                  <a:lnTo>
                    <a:pt x="715" y="2322"/>
                  </a:lnTo>
                  <a:cubicBezTo>
                    <a:pt x="334" y="2322"/>
                    <a:pt x="1" y="2644"/>
                    <a:pt x="1" y="3037"/>
                  </a:cubicBezTo>
                  <a:lnTo>
                    <a:pt x="1" y="3215"/>
                  </a:lnTo>
                  <a:cubicBezTo>
                    <a:pt x="1" y="3727"/>
                    <a:pt x="299" y="4156"/>
                    <a:pt x="715" y="4358"/>
                  </a:cubicBezTo>
                  <a:lnTo>
                    <a:pt x="715" y="6466"/>
                  </a:lnTo>
                  <a:cubicBezTo>
                    <a:pt x="715" y="8549"/>
                    <a:pt x="2418" y="10228"/>
                    <a:pt x="4478" y="10228"/>
                  </a:cubicBezTo>
                  <a:lnTo>
                    <a:pt x="10597" y="10228"/>
                  </a:lnTo>
                  <a:cubicBezTo>
                    <a:pt x="10883" y="10228"/>
                    <a:pt x="11121" y="9990"/>
                    <a:pt x="11121" y="9716"/>
                  </a:cubicBezTo>
                  <a:cubicBezTo>
                    <a:pt x="11121" y="9549"/>
                    <a:pt x="11038" y="9383"/>
                    <a:pt x="10895" y="9299"/>
                  </a:cubicBezTo>
                  <a:lnTo>
                    <a:pt x="10157" y="8799"/>
                  </a:lnTo>
                  <a:cubicBezTo>
                    <a:pt x="10955" y="8180"/>
                    <a:pt x="11479" y="7192"/>
                    <a:pt x="11479" y="6096"/>
                  </a:cubicBezTo>
                  <a:cubicBezTo>
                    <a:pt x="11479" y="3739"/>
                    <a:pt x="9574" y="1834"/>
                    <a:pt x="7216" y="1834"/>
                  </a:cubicBezTo>
                  <a:cubicBezTo>
                    <a:pt x="5894" y="1834"/>
                    <a:pt x="4704" y="2346"/>
                    <a:pt x="3859" y="3251"/>
                  </a:cubicBezTo>
                  <a:cubicBezTo>
                    <a:pt x="3108" y="4072"/>
                    <a:pt x="2692" y="5168"/>
                    <a:pt x="2680" y="6335"/>
                  </a:cubicBezTo>
                  <a:cubicBezTo>
                    <a:pt x="2549" y="6168"/>
                    <a:pt x="2477" y="5977"/>
                    <a:pt x="2477" y="5751"/>
                  </a:cubicBezTo>
                  <a:lnTo>
                    <a:pt x="2477" y="3418"/>
                  </a:lnTo>
                  <a:cubicBezTo>
                    <a:pt x="2477" y="3001"/>
                    <a:pt x="2215" y="2632"/>
                    <a:pt x="1882" y="2453"/>
                  </a:cubicBezTo>
                  <a:lnTo>
                    <a:pt x="2156" y="1060"/>
                  </a:lnTo>
                  <a:cubicBezTo>
                    <a:pt x="2442" y="1048"/>
                    <a:pt x="2656" y="810"/>
                    <a:pt x="2656" y="548"/>
                  </a:cubicBezTo>
                  <a:cubicBezTo>
                    <a:pt x="2656" y="251"/>
                    <a:pt x="2418" y="24"/>
                    <a:pt x="2132" y="24"/>
                  </a:cubicBezTo>
                  <a:cubicBezTo>
                    <a:pt x="1834" y="24"/>
                    <a:pt x="1608" y="262"/>
                    <a:pt x="1608" y="548"/>
                  </a:cubicBezTo>
                  <a:cubicBezTo>
                    <a:pt x="1608" y="727"/>
                    <a:pt x="1703" y="882"/>
                    <a:pt x="1846" y="977"/>
                  </a:cubicBezTo>
                  <a:lnTo>
                    <a:pt x="1561" y="2358"/>
                  </a:lnTo>
                  <a:cubicBezTo>
                    <a:pt x="1525" y="2358"/>
                    <a:pt x="1477" y="2346"/>
                    <a:pt x="1418" y="2346"/>
                  </a:cubicBezTo>
                  <a:lnTo>
                    <a:pt x="1287" y="2346"/>
                  </a:lnTo>
                  <a:lnTo>
                    <a:pt x="1001" y="977"/>
                  </a:lnTo>
                  <a:cubicBezTo>
                    <a:pt x="1144" y="882"/>
                    <a:pt x="1239" y="715"/>
                    <a:pt x="1239" y="524"/>
                  </a:cubicBezTo>
                  <a:cubicBezTo>
                    <a:pt x="1239" y="227"/>
                    <a:pt x="1001" y="0"/>
                    <a:pt x="7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2" name="Google Shape;12912;p63"/>
          <p:cNvSpPr/>
          <p:nvPr/>
        </p:nvSpPr>
        <p:spPr>
          <a:xfrm>
            <a:off x="3597837" y="2929394"/>
            <a:ext cx="368832" cy="281600"/>
          </a:xfrm>
          <a:custGeom>
            <a:avLst/>
            <a:gdLst/>
            <a:ahLst/>
            <a:cxnLst/>
            <a:rect l="l" t="t" r="r" b="b"/>
            <a:pathLst>
              <a:path w="11526" h="8800" extrusionOk="0">
                <a:moveTo>
                  <a:pt x="5787" y="3215"/>
                </a:moveTo>
                <a:cubicBezTo>
                  <a:pt x="5894" y="3215"/>
                  <a:pt x="5977" y="3299"/>
                  <a:pt x="5977" y="3406"/>
                </a:cubicBezTo>
                <a:cubicBezTo>
                  <a:pt x="5977" y="3501"/>
                  <a:pt x="5894" y="3596"/>
                  <a:pt x="5787" y="3596"/>
                </a:cubicBezTo>
                <a:cubicBezTo>
                  <a:pt x="5679" y="3596"/>
                  <a:pt x="5596" y="3501"/>
                  <a:pt x="5596" y="3406"/>
                </a:cubicBezTo>
                <a:cubicBezTo>
                  <a:pt x="5596" y="3299"/>
                  <a:pt x="5679" y="3215"/>
                  <a:pt x="5787" y="3215"/>
                </a:cubicBezTo>
                <a:close/>
                <a:moveTo>
                  <a:pt x="10632" y="346"/>
                </a:moveTo>
                <a:cubicBezTo>
                  <a:pt x="10894" y="346"/>
                  <a:pt x="11049" y="394"/>
                  <a:pt x="11133" y="489"/>
                </a:cubicBezTo>
                <a:cubicBezTo>
                  <a:pt x="11192" y="537"/>
                  <a:pt x="11192" y="620"/>
                  <a:pt x="11192" y="703"/>
                </a:cubicBezTo>
                <a:cubicBezTo>
                  <a:pt x="11192" y="858"/>
                  <a:pt x="11049" y="1084"/>
                  <a:pt x="10918" y="1334"/>
                </a:cubicBezTo>
                <a:lnTo>
                  <a:pt x="10787" y="1560"/>
                </a:lnTo>
                <a:cubicBezTo>
                  <a:pt x="10656" y="1346"/>
                  <a:pt x="10394" y="1096"/>
                  <a:pt x="9942" y="953"/>
                </a:cubicBezTo>
                <a:cubicBezTo>
                  <a:pt x="9922" y="945"/>
                  <a:pt x="9902" y="941"/>
                  <a:pt x="9882" y="941"/>
                </a:cubicBezTo>
                <a:cubicBezTo>
                  <a:pt x="9817" y="941"/>
                  <a:pt x="9755" y="982"/>
                  <a:pt x="9728" y="1037"/>
                </a:cubicBezTo>
                <a:cubicBezTo>
                  <a:pt x="9680" y="1132"/>
                  <a:pt x="9728" y="1227"/>
                  <a:pt x="9835" y="1275"/>
                </a:cubicBezTo>
                <a:cubicBezTo>
                  <a:pt x="10442" y="1489"/>
                  <a:pt x="10597" y="1882"/>
                  <a:pt x="10609" y="1941"/>
                </a:cubicBezTo>
                <a:cubicBezTo>
                  <a:pt x="10418" y="2394"/>
                  <a:pt x="10299" y="2894"/>
                  <a:pt x="10490" y="3477"/>
                </a:cubicBezTo>
                <a:cubicBezTo>
                  <a:pt x="10501" y="3537"/>
                  <a:pt x="10501" y="3585"/>
                  <a:pt x="10454" y="3632"/>
                </a:cubicBezTo>
                <a:cubicBezTo>
                  <a:pt x="10192" y="3977"/>
                  <a:pt x="8823" y="4108"/>
                  <a:pt x="8239" y="4132"/>
                </a:cubicBezTo>
                <a:cubicBezTo>
                  <a:pt x="7799" y="4156"/>
                  <a:pt x="7376" y="4165"/>
                  <a:pt x="7041" y="4165"/>
                </a:cubicBezTo>
                <a:cubicBezTo>
                  <a:pt x="6706" y="4165"/>
                  <a:pt x="6459" y="4156"/>
                  <a:pt x="6370" y="4144"/>
                </a:cubicBezTo>
                <a:cubicBezTo>
                  <a:pt x="6346" y="4108"/>
                  <a:pt x="6334" y="4073"/>
                  <a:pt x="6322" y="4037"/>
                </a:cubicBezTo>
                <a:cubicBezTo>
                  <a:pt x="6310" y="4025"/>
                  <a:pt x="6322" y="3966"/>
                  <a:pt x="6322" y="3966"/>
                </a:cubicBezTo>
                <a:cubicBezTo>
                  <a:pt x="6346" y="3835"/>
                  <a:pt x="6763" y="2906"/>
                  <a:pt x="7525" y="2037"/>
                </a:cubicBezTo>
                <a:cubicBezTo>
                  <a:pt x="7763" y="1751"/>
                  <a:pt x="8061" y="1465"/>
                  <a:pt x="8406" y="1203"/>
                </a:cubicBezTo>
                <a:cubicBezTo>
                  <a:pt x="8692" y="1156"/>
                  <a:pt x="8954" y="1156"/>
                  <a:pt x="9192" y="1156"/>
                </a:cubicBezTo>
                <a:cubicBezTo>
                  <a:pt x="9287" y="1156"/>
                  <a:pt x="9370" y="1096"/>
                  <a:pt x="9370" y="1001"/>
                </a:cubicBezTo>
                <a:cubicBezTo>
                  <a:pt x="9382" y="918"/>
                  <a:pt x="9311" y="822"/>
                  <a:pt x="9204" y="822"/>
                </a:cubicBezTo>
                <a:lnTo>
                  <a:pt x="8954" y="822"/>
                </a:lnTo>
                <a:cubicBezTo>
                  <a:pt x="9442" y="548"/>
                  <a:pt x="10013" y="346"/>
                  <a:pt x="10632" y="346"/>
                </a:cubicBezTo>
                <a:close/>
                <a:moveTo>
                  <a:pt x="917" y="334"/>
                </a:moveTo>
                <a:cubicBezTo>
                  <a:pt x="1548" y="334"/>
                  <a:pt x="2108" y="537"/>
                  <a:pt x="2596" y="810"/>
                </a:cubicBezTo>
                <a:lnTo>
                  <a:pt x="2358" y="810"/>
                </a:lnTo>
                <a:cubicBezTo>
                  <a:pt x="2274" y="810"/>
                  <a:pt x="2191" y="894"/>
                  <a:pt x="2191" y="989"/>
                </a:cubicBezTo>
                <a:cubicBezTo>
                  <a:pt x="2191" y="1084"/>
                  <a:pt x="2286" y="1156"/>
                  <a:pt x="2381" y="1156"/>
                </a:cubicBezTo>
                <a:cubicBezTo>
                  <a:pt x="2438" y="1153"/>
                  <a:pt x="2495" y="1151"/>
                  <a:pt x="2554" y="1151"/>
                </a:cubicBezTo>
                <a:cubicBezTo>
                  <a:pt x="2745" y="1151"/>
                  <a:pt x="2949" y="1167"/>
                  <a:pt x="3167" y="1203"/>
                </a:cubicBezTo>
                <a:cubicBezTo>
                  <a:pt x="3501" y="1465"/>
                  <a:pt x="3798" y="1763"/>
                  <a:pt x="4036" y="2037"/>
                </a:cubicBezTo>
                <a:cubicBezTo>
                  <a:pt x="4798" y="2918"/>
                  <a:pt x="5227" y="3823"/>
                  <a:pt x="5251" y="3966"/>
                </a:cubicBezTo>
                <a:lnTo>
                  <a:pt x="5251" y="4061"/>
                </a:lnTo>
                <a:cubicBezTo>
                  <a:pt x="5227" y="4085"/>
                  <a:pt x="5215" y="4120"/>
                  <a:pt x="5203" y="4168"/>
                </a:cubicBezTo>
                <a:cubicBezTo>
                  <a:pt x="5120" y="4168"/>
                  <a:pt x="4867" y="4174"/>
                  <a:pt x="4525" y="4174"/>
                </a:cubicBezTo>
                <a:cubicBezTo>
                  <a:pt x="4182" y="4174"/>
                  <a:pt x="3751" y="4168"/>
                  <a:pt x="3310" y="4144"/>
                </a:cubicBezTo>
                <a:cubicBezTo>
                  <a:pt x="2751" y="4085"/>
                  <a:pt x="1369" y="3966"/>
                  <a:pt x="1096" y="3608"/>
                </a:cubicBezTo>
                <a:cubicBezTo>
                  <a:pt x="1072" y="3573"/>
                  <a:pt x="1048" y="3525"/>
                  <a:pt x="1072" y="3465"/>
                </a:cubicBezTo>
                <a:cubicBezTo>
                  <a:pt x="1262" y="2894"/>
                  <a:pt x="1143" y="2382"/>
                  <a:pt x="953" y="1930"/>
                </a:cubicBezTo>
                <a:cubicBezTo>
                  <a:pt x="965" y="1870"/>
                  <a:pt x="1096" y="1465"/>
                  <a:pt x="1727" y="1263"/>
                </a:cubicBezTo>
                <a:cubicBezTo>
                  <a:pt x="1798" y="1227"/>
                  <a:pt x="1858" y="1156"/>
                  <a:pt x="1846" y="1072"/>
                </a:cubicBezTo>
                <a:cubicBezTo>
                  <a:pt x="1825" y="981"/>
                  <a:pt x="1753" y="924"/>
                  <a:pt x="1666" y="924"/>
                </a:cubicBezTo>
                <a:cubicBezTo>
                  <a:pt x="1651" y="924"/>
                  <a:pt x="1635" y="926"/>
                  <a:pt x="1619" y="929"/>
                </a:cubicBezTo>
                <a:cubicBezTo>
                  <a:pt x="1155" y="1084"/>
                  <a:pt x="905" y="1346"/>
                  <a:pt x="774" y="1549"/>
                </a:cubicBezTo>
                <a:lnTo>
                  <a:pt x="631" y="1322"/>
                </a:lnTo>
                <a:cubicBezTo>
                  <a:pt x="500" y="1072"/>
                  <a:pt x="369" y="846"/>
                  <a:pt x="369" y="691"/>
                </a:cubicBezTo>
                <a:cubicBezTo>
                  <a:pt x="369" y="620"/>
                  <a:pt x="369" y="537"/>
                  <a:pt x="429" y="477"/>
                </a:cubicBezTo>
                <a:cubicBezTo>
                  <a:pt x="500" y="382"/>
                  <a:pt x="667" y="334"/>
                  <a:pt x="917" y="334"/>
                </a:cubicBezTo>
                <a:close/>
                <a:moveTo>
                  <a:pt x="6680" y="4478"/>
                </a:moveTo>
                <a:lnTo>
                  <a:pt x="8751" y="5716"/>
                </a:lnTo>
                <a:lnTo>
                  <a:pt x="8751" y="5716"/>
                </a:lnTo>
                <a:lnTo>
                  <a:pt x="7108" y="5609"/>
                </a:lnTo>
                <a:lnTo>
                  <a:pt x="6501" y="4870"/>
                </a:lnTo>
                <a:lnTo>
                  <a:pt x="6453" y="4478"/>
                </a:lnTo>
                <a:close/>
                <a:moveTo>
                  <a:pt x="5120" y="4478"/>
                </a:moveTo>
                <a:cubicBezTo>
                  <a:pt x="5096" y="4597"/>
                  <a:pt x="5084" y="4728"/>
                  <a:pt x="5072" y="4882"/>
                </a:cubicBezTo>
                <a:lnTo>
                  <a:pt x="4441" y="5609"/>
                </a:lnTo>
                <a:lnTo>
                  <a:pt x="2810" y="5716"/>
                </a:lnTo>
                <a:lnTo>
                  <a:pt x="4882" y="4478"/>
                </a:lnTo>
                <a:close/>
                <a:moveTo>
                  <a:pt x="2322" y="4358"/>
                </a:moveTo>
                <a:cubicBezTo>
                  <a:pt x="2596" y="4394"/>
                  <a:pt x="2929" y="4430"/>
                  <a:pt x="3298" y="4442"/>
                </a:cubicBezTo>
                <a:cubicBezTo>
                  <a:pt x="3632" y="4466"/>
                  <a:pt x="3941" y="4478"/>
                  <a:pt x="4227" y="4478"/>
                </a:cubicBezTo>
                <a:lnTo>
                  <a:pt x="2060" y="5751"/>
                </a:lnTo>
                <a:lnTo>
                  <a:pt x="1381" y="5799"/>
                </a:lnTo>
                <a:cubicBezTo>
                  <a:pt x="1453" y="5275"/>
                  <a:pt x="1786" y="4775"/>
                  <a:pt x="2322" y="4358"/>
                </a:cubicBezTo>
                <a:close/>
                <a:moveTo>
                  <a:pt x="9239" y="4370"/>
                </a:moveTo>
                <a:cubicBezTo>
                  <a:pt x="9787" y="4775"/>
                  <a:pt x="10097" y="5275"/>
                  <a:pt x="10180" y="5811"/>
                </a:cubicBezTo>
                <a:lnTo>
                  <a:pt x="9489" y="5775"/>
                </a:lnTo>
                <a:lnTo>
                  <a:pt x="7334" y="4489"/>
                </a:lnTo>
                <a:cubicBezTo>
                  <a:pt x="7620" y="4489"/>
                  <a:pt x="7930" y="4478"/>
                  <a:pt x="8251" y="4466"/>
                </a:cubicBezTo>
                <a:cubicBezTo>
                  <a:pt x="8632" y="4442"/>
                  <a:pt x="8954" y="4418"/>
                  <a:pt x="9239" y="4370"/>
                </a:cubicBezTo>
                <a:close/>
                <a:moveTo>
                  <a:pt x="5787" y="3942"/>
                </a:moveTo>
                <a:cubicBezTo>
                  <a:pt x="5846" y="3942"/>
                  <a:pt x="5953" y="4025"/>
                  <a:pt x="6013" y="4180"/>
                </a:cubicBezTo>
                <a:cubicBezTo>
                  <a:pt x="6096" y="4370"/>
                  <a:pt x="6156" y="4656"/>
                  <a:pt x="6156" y="4930"/>
                </a:cubicBezTo>
                <a:cubicBezTo>
                  <a:pt x="6156" y="5216"/>
                  <a:pt x="6108" y="5501"/>
                  <a:pt x="6013" y="5692"/>
                </a:cubicBezTo>
                <a:cubicBezTo>
                  <a:pt x="5953" y="5847"/>
                  <a:pt x="5858" y="5930"/>
                  <a:pt x="5787" y="5930"/>
                </a:cubicBezTo>
                <a:cubicBezTo>
                  <a:pt x="5715" y="5930"/>
                  <a:pt x="5620" y="5847"/>
                  <a:pt x="5560" y="5692"/>
                </a:cubicBezTo>
                <a:cubicBezTo>
                  <a:pt x="5477" y="5501"/>
                  <a:pt x="5418" y="5216"/>
                  <a:pt x="5418" y="4930"/>
                </a:cubicBezTo>
                <a:cubicBezTo>
                  <a:pt x="5418" y="4656"/>
                  <a:pt x="5453" y="4370"/>
                  <a:pt x="5560" y="4180"/>
                </a:cubicBezTo>
                <a:cubicBezTo>
                  <a:pt x="5632" y="4025"/>
                  <a:pt x="5727" y="3942"/>
                  <a:pt x="5787" y="3942"/>
                </a:cubicBezTo>
                <a:close/>
                <a:moveTo>
                  <a:pt x="5096" y="5370"/>
                </a:moveTo>
                <a:cubicBezTo>
                  <a:pt x="5179" y="5787"/>
                  <a:pt x="5334" y="6097"/>
                  <a:pt x="5548" y="6216"/>
                </a:cubicBezTo>
                <a:cubicBezTo>
                  <a:pt x="5477" y="6442"/>
                  <a:pt x="5298" y="6859"/>
                  <a:pt x="5084" y="7275"/>
                </a:cubicBezTo>
                <a:cubicBezTo>
                  <a:pt x="4906" y="7633"/>
                  <a:pt x="4739" y="7895"/>
                  <a:pt x="4584" y="8109"/>
                </a:cubicBezTo>
                <a:cubicBezTo>
                  <a:pt x="4358" y="8407"/>
                  <a:pt x="4203" y="8442"/>
                  <a:pt x="4144" y="8466"/>
                </a:cubicBezTo>
                <a:cubicBezTo>
                  <a:pt x="4068" y="8471"/>
                  <a:pt x="3994" y="8474"/>
                  <a:pt x="3920" y="8474"/>
                </a:cubicBezTo>
                <a:cubicBezTo>
                  <a:pt x="3493" y="8474"/>
                  <a:pt x="3094" y="8384"/>
                  <a:pt x="2739" y="8180"/>
                </a:cubicBezTo>
                <a:lnTo>
                  <a:pt x="2977" y="7895"/>
                </a:lnTo>
                <a:cubicBezTo>
                  <a:pt x="3036" y="7823"/>
                  <a:pt x="3012" y="7716"/>
                  <a:pt x="2953" y="7656"/>
                </a:cubicBezTo>
                <a:cubicBezTo>
                  <a:pt x="2924" y="7632"/>
                  <a:pt x="2889" y="7622"/>
                  <a:pt x="2854" y="7622"/>
                </a:cubicBezTo>
                <a:cubicBezTo>
                  <a:pt x="2803" y="7622"/>
                  <a:pt x="2750" y="7645"/>
                  <a:pt x="2715" y="7680"/>
                </a:cubicBezTo>
                <a:lnTo>
                  <a:pt x="2453" y="7990"/>
                </a:lnTo>
                <a:cubicBezTo>
                  <a:pt x="2215" y="7811"/>
                  <a:pt x="1989" y="7573"/>
                  <a:pt x="1786" y="7275"/>
                </a:cubicBezTo>
                <a:cubicBezTo>
                  <a:pt x="1524" y="6918"/>
                  <a:pt x="1393" y="6525"/>
                  <a:pt x="1369" y="6156"/>
                </a:cubicBezTo>
                <a:lnTo>
                  <a:pt x="4144" y="5978"/>
                </a:lnTo>
                <a:lnTo>
                  <a:pt x="3179" y="7121"/>
                </a:lnTo>
                <a:cubicBezTo>
                  <a:pt x="3120" y="7204"/>
                  <a:pt x="3132" y="7299"/>
                  <a:pt x="3191" y="7359"/>
                </a:cubicBezTo>
                <a:cubicBezTo>
                  <a:pt x="3227" y="7395"/>
                  <a:pt x="3274" y="7406"/>
                  <a:pt x="3298" y="7406"/>
                </a:cubicBezTo>
                <a:cubicBezTo>
                  <a:pt x="3346" y="7406"/>
                  <a:pt x="3393" y="7395"/>
                  <a:pt x="3429" y="7347"/>
                </a:cubicBezTo>
                <a:lnTo>
                  <a:pt x="5096" y="5370"/>
                </a:lnTo>
                <a:close/>
                <a:moveTo>
                  <a:pt x="6465" y="5370"/>
                </a:moveTo>
                <a:lnTo>
                  <a:pt x="8132" y="7335"/>
                </a:lnTo>
                <a:cubicBezTo>
                  <a:pt x="8168" y="7371"/>
                  <a:pt x="8215" y="7395"/>
                  <a:pt x="8275" y="7395"/>
                </a:cubicBezTo>
                <a:cubicBezTo>
                  <a:pt x="8311" y="7395"/>
                  <a:pt x="8346" y="7371"/>
                  <a:pt x="8370" y="7347"/>
                </a:cubicBezTo>
                <a:cubicBezTo>
                  <a:pt x="8454" y="7287"/>
                  <a:pt x="8454" y="7180"/>
                  <a:pt x="8394" y="7109"/>
                </a:cubicBezTo>
                <a:lnTo>
                  <a:pt x="7418" y="5966"/>
                </a:lnTo>
                <a:lnTo>
                  <a:pt x="10204" y="6144"/>
                </a:lnTo>
                <a:cubicBezTo>
                  <a:pt x="10180" y="6513"/>
                  <a:pt x="10037" y="6906"/>
                  <a:pt x="9787" y="7275"/>
                </a:cubicBezTo>
                <a:cubicBezTo>
                  <a:pt x="9585" y="7573"/>
                  <a:pt x="9358" y="7811"/>
                  <a:pt x="9120" y="7990"/>
                </a:cubicBezTo>
                <a:lnTo>
                  <a:pt x="8847" y="7668"/>
                </a:lnTo>
                <a:cubicBezTo>
                  <a:pt x="8815" y="7631"/>
                  <a:pt x="8774" y="7613"/>
                  <a:pt x="8731" y="7613"/>
                </a:cubicBezTo>
                <a:cubicBezTo>
                  <a:pt x="8691" y="7613"/>
                  <a:pt x="8648" y="7628"/>
                  <a:pt x="8608" y="7656"/>
                </a:cubicBezTo>
                <a:cubicBezTo>
                  <a:pt x="8537" y="7716"/>
                  <a:pt x="8537" y="7823"/>
                  <a:pt x="8596" y="7895"/>
                </a:cubicBezTo>
                <a:lnTo>
                  <a:pt x="8835" y="8180"/>
                </a:lnTo>
                <a:cubicBezTo>
                  <a:pt x="8479" y="8384"/>
                  <a:pt x="8080" y="8474"/>
                  <a:pt x="7645" y="8474"/>
                </a:cubicBezTo>
                <a:cubicBezTo>
                  <a:pt x="7571" y="8474"/>
                  <a:pt x="7495" y="8471"/>
                  <a:pt x="7418" y="8466"/>
                </a:cubicBezTo>
                <a:cubicBezTo>
                  <a:pt x="7358" y="8466"/>
                  <a:pt x="7215" y="8407"/>
                  <a:pt x="6989" y="8109"/>
                </a:cubicBezTo>
                <a:cubicBezTo>
                  <a:pt x="6822" y="7895"/>
                  <a:pt x="6668" y="7609"/>
                  <a:pt x="6489" y="7275"/>
                </a:cubicBezTo>
                <a:cubicBezTo>
                  <a:pt x="6275" y="6859"/>
                  <a:pt x="6096" y="6442"/>
                  <a:pt x="6013" y="6216"/>
                </a:cubicBezTo>
                <a:cubicBezTo>
                  <a:pt x="6227" y="6097"/>
                  <a:pt x="6394" y="5763"/>
                  <a:pt x="6465" y="5370"/>
                </a:cubicBezTo>
                <a:close/>
                <a:moveTo>
                  <a:pt x="869" y="1"/>
                </a:moveTo>
                <a:cubicBezTo>
                  <a:pt x="500" y="1"/>
                  <a:pt x="262" y="84"/>
                  <a:pt x="119" y="263"/>
                </a:cubicBezTo>
                <a:cubicBezTo>
                  <a:pt x="0" y="429"/>
                  <a:pt x="0" y="608"/>
                  <a:pt x="0" y="703"/>
                </a:cubicBezTo>
                <a:cubicBezTo>
                  <a:pt x="0" y="953"/>
                  <a:pt x="143" y="1203"/>
                  <a:pt x="310" y="1501"/>
                </a:cubicBezTo>
                <a:cubicBezTo>
                  <a:pt x="595" y="2001"/>
                  <a:pt x="965" y="2644"/>
                  <a:pt x="715" y="3358"/>
                </a:cubicBezTo>
                <a:cubicBezTo>
                  <a:pt x="655" y="3525"/>
                  <a:pt x="679" y="3680"/>
                  <a:pt x="786" y="3823"/>
                </a:cubicBezTo>
                <a:cubicBezTo>
                  <a:pt x="929" y="4025"/>
                  <a:pt x="1286" y="4192"/>
                  <a:pt x="1822" y="4299"/>
                </a:cubicBezTo>
                <a:cubicBezTo>
                  <a:pt x="857" y="5156"/>
                  <a:pt x="715" y="6394"/>
                  <a:pt x="1453" y="7466"/>
                </a:cubicBezTo>
                <a:cubicBezTo>
                  <a:pt x="1858" y="8026"/>
                  <a:pt x="2322" y="8418"/>
                  <a:pt x="2834" y="8621"/>
                </a:cubicBezTo>
                <a:cubicBezTo>
                  <a:pt x="3155" y="8740"/>
                  <a:pt x="3477" y="8799"/>
                  <a:pt x="3834" y="8799"/>
                </a:cubicBezTo>
                <a:cubicBezTo>
                  <a:pt x="3929" y="8799"/>
                  <a:pt x="4024" y="8799"/>
                  <a:pt x="4120" y="8788"/>
                </a:cubicBezTo>
                <a:cubicBezTo>
                  <a:pt x="4322" y="8776"/>
                  <a:pt x="4548" y="8609"/>
                  <a:pt x="4786" y="8311"/>
                </a:cubicBezTo>
                <a:cubicBezTo>
                  <a:pt x="4953" y="8085"/>
                  <a:pt x="5144" y="7787"/>
                  <a:pt x="5322" y="7418"/>
                </a:cubicBezTo>
                <a:cubicBezTo>
                  <a:pt x="5418" y="7252"/>
                  <a:pt x="5489" y="7097"/>
                  <a:pt x="5548" y="6942"/>
                </a:cubicBezTo>
                <a:lnTo>
                  <a:pt x="5548" y="7537"/>
                </a:lnTo>
                <a:cubicBezTo>
                  <a:pt x="5548" y="7633"/>
                  <a:pt x="5620" y="7704"/>
                  <a:pt x="5715" y="7704"/>
                </a:cubicBezTo>
                <a:cubicBezTo>
                  <a:pt x="5799" y="7704"/>
                  <a:pt x="5870" y="7633"/>
                  <a:pt x="5870" y="7537"/>
                </a:cubicBezTo>
                <a:lnTo>
                  <a:pt x="5870" y="6954"/>
                </a:lnTo>
                <a:cubicBezTo>
                  <a:pt x="5929" y="7109"/>
                  <a:pt x="6013" y="7252"/>
                  <a:pt x="6096" y="7418"/>
                </a:cubicBezTo>
                <a:cubicBezTo>
                  <a:pt x="6287" y="7787"/>
                  <a:pt x="6465" y="8085"/>
                  <a:pt x="6632" y="8311"/>
                </a:cubicBezTo>
                <a:cubicBezTo>
                  <a:pt x="6870" y="8621"/>
                  <a:pt x="7096" y="8776"/>
                  <a:pt x="7299" y="8788"/>
                </a:cubicBezTo>
                <a:cubicBezTo>
                  <a:pt x="7406" y="8799"/>
                  <a:pt x="7501" y="8799"/>
                  <a:pt x="7584" y="8799"/>
                </a:cubicBezTo>
                <a:cubicBezTo>
                  <a:pt x="7942" y="8799"/>
                  <a:pt x="8275" y="8740"/>
                  <a:pt x="8585" y="8621"/>
                </a:cubicBezTo>
                <a:cubicBezTo>
                  <a:pt x="9108" y="8418"/>
                  <a:pt x="9585" y="8026"/>
                  <a:pt x="9966" y="7466"/>
                </a:cubicBezTo>
                <a:cubicBezTo>
                  <a:pt x="10728" y="6394"/>
                  <a:pt x="10561" y="5156"/>
                  <a:pt x="9597" y="4299"/>
                </a:cubicBezTo>
                <a:cubicBezTo>
                  <a:pt x="10144" y="4192"/>
                  <a:pt x="10490" y="4025"/>
                  <a:pt x="10632" y="3823"/>
                </a:cubicBezTo>
                <a:cubicBezTo>
                  <a:pt x="10740" y="3680"/>
                  <a:pt x="10775" y="3525"/>
                  <a:pt x="10716" y="3358"/>
                </a:cubicBezTo>
                <a:cubicBezTo>
                  <a:pt x="10478" y="2644"/>
                  <a:pt x="10835" y="2001"/>
                  <a:pt x="11109" y="1501"/>
                </a:cubicBezTo>
                <a:cubicBezTo>
                  <a:pt x="11275" y="1203"/>
                  <a:pt x="11430" y="941"/>
                  <a:pt x="11430" y="703"/>
                </a:cubicBezTo>
                <a:cubicBezTo>
                  <a:pt x="11525" y="608"/>
                  <a:pt x="11525" y="406"/>
                  <a:pt x="11394" y="263"/>
                </a:cubicBezTo>
                <a:cubicBezTo>
                  <a:pt x="11252" y="84"/>
                  <a:pt x="11013" y="1"/>
                  <a:pt x="10632" y="1"/>
                </a:cubicBezTo>
                <a:cubicBezTo>
                  <a:pt x="9120" y="1"/>
                  <a:pt x="7942" y="989"/>
                  <a:pt x="7215" y="1846"/>
                </a:cubicBezTo>
                <a:cubicBezTo>
                  <a:pt x="6787" y="2346"/>
                  <a:pt x="6465" y="2834"/>
                  <a:pt x="6287" y="3144"/>
                </a:cubicBezTo>
                <a:cubicBezTo>
                  <a:pt x="6275" y="3168"/>
                  <a:pt x="6275" y="3180"/>
                  <a:pt x="6263" y="3204"/>
                </a:cubicBezTo>
                <a:cubicBezTo>
                  <a:pt x="6227" y="3132"/>
                  <a:pt x="6180" y="3061"/>
                  <a:pt x="6120" y="3013"/>
                </a:cubicBezTo>
                <a:cubicBezTo>
                  <a:pt x="6168" y="2846"/>
                  <a:pt x="6287" y="2442"/>
                  <a:pt x="6441" y="2013"/>
                </a:cubicBezTo>
                <a:cubicBezTo>
                  <a:pt x="6775" y="1084"/>
                  <a:pt x="6977" y="1049"/>
                  <a:pt x="6977" y="1049"/>
                </a:cubicBezTo>
                <a:cubicBezTo>
                  <a:pt x="6977" y="1049"/>
                  <a:pt x="7001" y="1060"/>
                  <a:pt x="7049" y="1144"/>
                </a:cubicBezTo>
                <a:cubicBezTo>
                  <a:pt x="7081" y="1193"/>
                  <a:pt x="7136" y="1225"/>
                  <a:pt x="7195" y="1225"/>
                </a:cubicBezTo>
                <a:cubicBezTo>
                  <a:pt x="7221" y="1225"/>
                  <a:pt x="7249" y="1218"/>
                  <a:pt x="7275" y="1203"/>
                </a:cubicBezTo>
                <a:cubicBezTo>
                  <a:pt x="7346" y="1156"/>
                  <a:pt x="7382" y="1049"/>
                  <a:pt x="7334" y="977"/>
                </a:cubicBezTo>
                <a:cubicBezTo>
                  <a:pt x="7205" y="779"/>
                  <a:pt x="7068" y="721"/>
                  <a:pt x="6971" y="721"/>
                </a:cubicBezTo>
                <a:cubicBezTo>
                  <a:pt x="6951" y="721"/>
                  <a:pt x="6934" y="723"/>
                  <a:pt x="6918" y="727"/>
                </a:cubicBezTo>
                <a:cubicBezTo>
                  <a:pt x="6561" y="763"/>
                  <a:pt x="6287" y="1394"/>
                  <a:pt x="6096" y="1930"/>
                </a:cubicBezTo>
                <a:cubicBezTo>
                  <a:pt x="5965" y="2311"/>
                  <a:pt x="5858" y="2692"/>
                  <a:pt x="5799" y="2870"/>
                </a:cubicBezTo>
                <a:lnTo>
                  <a:pt x="5715" y="2870"/>
                </a:lnTo>
                <a:cubicBezTo>
                  <a:pt x="5668" y="2668"/>
                  <a:pt x="5548" y="2299"/>
                  <a:pt x="5418" y="1930"/>
                </a:cubicBezTo>
                <a:cubicBezTo>
                  <a:pt x="5215" y="1394"/>
                  <a:pt x="4953" y="763"/>
                  <a:pt x="4596" y="727"/>
                </a:cubicBezTo>
                <a:cubicBezTo>
                  <a:pt x="4576" y="723"/>
                  <a:pt x="4555" y="721"/>
                  <a:pt x="4533" y="721"/>
                </a:cubicBezTo>
                <a:cubicBezTo>
                  <a:pt x="4422" y="721"/>
                  <a:pt x="4288" y="779"/>
                  <a:pt x="4179" y="977"/>
                </a:cubicBezTo>
                <a:cubicBezTo>
                  <a:pt x="4132" y="1049"/>
                  <a:pt x="4167" y="1156"/>
                  <a:pt x="4239" y="1203"/>
                </a:cubicBezTo>
                <a:cubicBezTo>
                  <a:pt x="4261" y="1214"/>
                  <a:pt x="4286" y="1220"/>
                  <a:pt x="4313" y="1220"/>
                </a:cubicBezTo>
                <a:cubicBezTo>
                  <a:pt x="4371" y="1220"/>
                  <a:pt x="4432" y="1193"/>
                  <a:pt x="4465" y="1144"/>
                </a:cubicBezTo>
                <a:cubicBezTo>
                  <a:pt x="4501" y="1049"/>
                  <a:pt x="4536" y="1049"/>
                  <a:pt x="4536" y="1049"/>
                </a:cubicBezTo>
                <a:cubicBezTo>
                  <a:pt x="4536" y="1049"/>
                  <a:pt x="4727" y="1084"/>
                  <a:pt x="5072" y="2013"/>
                </a:cubicBezTo>
                <a:cubicBezTo>
                  <a:pt x="5215" y="2430"/>
                  <a:pt x="5334" y="2846"/>
                  <a:pt x="5382" y="3013"/>
                </a:cubicBezTo>
                <a:cubicBezTo>
                  <a:pt x="5322" y="3073"/>
                  <a:pt x="5275" y="3132"/>
                  <a:pt x="5251" y="3204"/>
                </a:cubicBezTo>
                <a:cubicBezTo>
                  <a:pt x="5239" y="3180"/>
                  <a:pt x="5215" y="3168"/>
                  <a:pt x="5215" y="3144"/>
                </a:cubicBezTo>
                <a:cubicBezTo>
                  <a:pt x="5037" y="2834"/>
                  <a:pt x="4727" y="2346"/>
                  <a:pt x="4298" y="1846"/>
                </a:cubicBezTo>
                <a:cubicBezTo>
                  <a:pt x="3584" y="989"/>
                  <a:pt x="2393"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3" name="Google Shape;12913;p63"/>
          <p:cNvGrpSpPr/>
          <p:nvPr/>
        </p:nvGrpSpPr>
        <p:grpSpPr>
          <a:xfrm>
            <a:off x="3050317" y="2893714"/>
            <a:ext cx="367712" cy="354240"/>
            <a:chOff x="3050317" y="2893714"/>
            <a:chExt cx="367712" cy="354240"/>
          </a:xfrm>
        </p:grpSpPr>
        <p:sp>
          <p:nvSpPr>
            <p:cNvPr id="12914" name="Google Shape;12914;p63"/>
            <p:cNvSpPr/>
            <p:nvPr/>
          </p:nvSpPr>
          <p:spPr>
            <a:xfrm>
              <a:off x="3079661" y="2945010"/>
              <a:ext cx="33184" cy="33184"/>
            </a:xfrm>
            <a:custGeom>
              <a:avLst/>
              <a:gdLst/>
              <a:ahLst/>
              <a:cxnLst/>
              <a:rect l="l" t="t" r="r" b="b"/>
              <a:pathLst>
                <a:path w="1037" h="1037" extrusionOk="0">
                  <a:moveTo>
                    <a:pt x="513" y="346"/>
                  </a:moveTo>
                  <a:cubicBezTo>
                    <a:pt x="620" y="346"/>
                    <a:pt x="703" y="430"/>
                    <a:pt x="703" y="537"/>
                  </a:cubicBezTo>
                  <a:cubicBezTo>
                    <a:pt x="691" y="644"/>
                    <a:pt x="620" y="727"/>
                    <a:pt x="513" y="727"/>
                  </a:cubicBezTo>
                  <a:cubicBezTo>
                    <a:pt x="405" y="727"/>
                    <a:pt x="322" y="644"/>
                    <a:pt x="322" y="537"/>
                  </a:cubicBezTo>
                  <a:cubicBezTo>
                    <a:pt x="322" y="430"/>
                    <a:pt x="417" y="346"/>
                    <a:pt x="513" y="346"/>
                  </a:cubicBezTo>
                  <a:close/>
                  <a:moveTo>
                    <a:pt x="513" y="1"/>
                  </a:moveTo>
                  <a:cubicBezTo>
                    <a:pt x="215" y="1"/>
                    <a:pt x="1" y="239"/>
                    <a:pt x="1" y="513"/>
                  </a:cubicBezTo>
                  <a:cubicBezTo>
                    <a:pt x="1" y="811"/>
                    <a:pt x="239" y="1037"/>
                    <a:pt x="513" y="1037"/>
                  </a:cubicBezTo>
                  <a:cubicBezTo>
                    <a:pt x="810" y="1037"/>
                    <a:pt x="1037" y="799"/>
                    <a:pt x="1037" y="513"/>
                  </a:cubicBezTo>
                  <a:cubicBezTo>
                    <a:pt x="1037" y="239"/>
                    <a:pt x="798" y="1"/>
                    <a:pt x="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5" name="Google Shape;12915;p63"/>
            <p:cNvSpPr/>
            <p:nvPr/>
          </p:nvSpPr>
          <p:spPr>
            <a:xfrm>
              <a:off x="3050317" y="2893714"/>
              <a:ext cx="367712" cy="354240"/>
            </a:xfrm>
            <a:custGeom>
              <a:avLst/>
              <a:gdLst/>
              <a:ahLst/>
              <a:cxnLst/>
              <a:rect l="l" t="t" r="r" b="b"/>
              <a:pathLst>
                <a:path w="11491" h="11070" extrusionOk="0">
                  <a:moveTo>
                    <a:pt x="4156" y="5604"/>
                  </a:moveTo>
                  <a:lnTo>
                    <a:pt x="4156" y="5676"/>
                  </a:lnTo>
                  <a:cubicBezTo>
                    <a:pt x="4156" y="5795"/>
                    <a:pt x="4168" y="5902"/>
                    <a:pt x="4192" y="6021"/>
                  </a:cubicBezTo>
                  <a:lnTo>
                    <a:pt x="3847" y="5914"/>
                  </a:lnTo>
                  <a:cubicBezTo>
                    <a:pt x="3799" y="5902"/>
                    <a:pt x="3787" y="5854"/>
                    <a:pt x="3787" y="5843"/>
                  </a:cubicBezTo>
                  <a:cubicBezTo>
                    <a:pt x="3787" y="5831"/>
                    <a:pt x="3787" y="5783"/>
                    <a:pt x="3835" y="5771"/>
                  </a:cubicBezTo>
                  <a:lnTo>
                    <a:pt x="4156" y="5604"/>
                  </a:lnTo>
                  <a:close/>
                  <a:moveTo>
                    <a:pt x="4430" y="8748"/>
                  </a:moveTo>
                  <a:cubicBezTo>
                    <a:pt x="4501" y="8867"/>
                    <a:pt x="4585" y="8986"/>
                    <a:pt x="4692" y="9069"/>
                  </a:cubicBezTo>
                  <a:lnTo>
                    <a:pt x="4335" y="9188"/>
                  </a:lnTo>
                  <a:cubicBezTo>
                    <a:pt x="4323" y="9194"/>
                    <a:pt x="4313" y="9196"/>
                    <a:pt x="4304" y="9196"/>
                  </a:cubicBezTo>
                  <a:cubicBezTo>
                    <a:pt x="4276" y="9196"/>
                    <a:pt x="4260" y="9173"/>
                    <a:pt x="4251" y="9164"/>
                  </a:cubicBezTo>
                  <a:cubicBezTo>
                    <a:pt x="4228" y="9141"/>
                    <a:pt x="4216" y="9117"/>
                    <a:pt x="4251" y="9069"/>
                  </a:cubicBezTo>
                  <a:lnTo>
                    <a:pt x="4430" y="8748"/>
                  </a:lnTo>
                  <a:close/>
                  <a:moveTo>
                    <a:pt x="10657" y="9295"/>
                  </a:moveTo>
                  <a:lnTo>
                    <a:pt x="10681" y="9545"/>
                  </a:lnTo>
                  <a:cubicBezTo>
                    <a:pt x="10693" y="9593"/>
                    <a:pt x="10645" y="9605"/>
                    <a:pt x="10633" y="9629"/>
                  </a:cubicBezTo>
                  <a:cubicBezTo>
                    <a:pt x="10628" y="9629"/>
                    <a:pt x="10618" y="9631"/>
                    <a:pt x="10605" y="9631"/>
                  </a:cubicBezTo>
                  <a:cubicBezTo>
                    <a:pt x="10585" y="9631"/>
                    <a:pt x="10559" y="9626"/>
                    <a:pt x="10538" y="9605"/>
                  </a:cubicBezTo>
                  <a:lnTo>
                    <a:pt x="10347" y="9426"/>
                  </a:lnTo>
                  <a:cubicBezTo>
                    <a:pt x="10455" y="9402"/>
                    <a:pt x="10562" y="9355"/>
                    <a:pt x="10657" y="9295"/>
                  </a:cubicBezTo>
                  <a:close/>
                  <a:moveTo>
                    <a:pt x="3847" y="1128"/>
                  </a:moveTo>
                  <a:cubicBezTo>
                    <a:pt x="4454" y="1128"/>
                    <a:pt x="4978" y="1556"/>
                    <a:pt x="5097" y="2152"/>
                  </a:cubicBezTo>
                  <a:cubicBezTo>
                    <a:pt x="5097" y="2175"/>
                    <a:pt x="5097" y="2235"/>
                    <a:pt x="5073" y="2330"/>
                  </a:cubicBezTo>
                  <a:cubicBezTo>
                    <a:pt x="5061" y="2414"/>
                    <a:pt x="5121" y="2509"/>
                    <a:pt x="5216" y="2521"/>
                  </a:cubicBezTo>
                  <a:lnTo>
                    <a:pt x="5240" y="2521"/>
                  </a:lnTo>
                  <a:cubicBezTo>
                    <a:pt x="5311" y="2521"/>
                    <a:pt x="5394" y="2461"/>
                    <a:pt x="5406" y="2390"/>
                  </a:cubicBezTo>
                  <a:cubicBezTo>
                    <a:pt x="5418" y="2330"/>
                    <a:pt x="5418" y="2283"/>
                    <a:pt x="5418" y="2259"/>
                  </a:cubicBezTo>
                  <a:cubicBezTo>
                    <a:pt x="5549" y="2211"/>
                    <a:pt x="5692" y="2199"/>
                    <a:pt x="5823" y="2199"/>
                  </a:cubicBezTo>
                  <a:cubicBezTo>
                    <a:pt x="6526" y="2199"/>
                    <a:pt x="7085" y="2759"/>
                    <a:pt x="7085" y="3461"/>
                  </a:cubicBezTo>
                  <a:cubicBezTo>
                    <a:pt x="7085" y="3854"/>
                    <a:pt x="6907" y="4223"/>
                    <a:pt x="6597" y="4461"/>
                  </a:cubicBezTo>
                  <a:cubicBezTo>
                    <a:pt x="6537" y="4473"/>
                    <a:pt x="6490" y="4497"/>
                    <a:pt x="6430" y="4521"/>
                  </a:cubicBezTo>
                  <a:cubicBezTo>
                    <a:pt x="6347" y="4545"/>
                    <a:pt x="6299" y="4640"/>
                    <a:pt x="6311" y="4723"/>
                  </a:cubicBezTo>
                  <a:cubicBezTo>
                    <a:pt x="6335" y="4795"/>
                    <a:pt x="6406" y="4842"/>
                    <a:pt x="6478" y="4842"/>
                  </a:cubicBezTo>
                  <a:lnTo>
                    <a:pt x="6526" y="4842"/>
                  </a:lnTo>
                  <a:cubicBezTo>
                    <a:pt x="6573" y="4831"/>
                    <a:pt x="6597" y="4819"/>
                    <a:pt x="6645" y="4795"/>
                  </a:cubicBezTo>
                  <a:cubicBezTo>
                    <a:pt x="6895" y="5045"/>
                    <a:pt x="7049" y="5366"/>
                    <a:pt x="7049" y="5723"/>
                  </a:cubicBezTo>
                  <a:cubicBezTo>
                    <a:pt x="7049" y="6081"/>
                    <a:pt x="6895" y="6426"/>
                    <a:pt x="6609" y="6676"/>
                  </a:cubicBezTo>
                  <a:lnTo>
                    <a:pt x="6478" y="6724"/>
                  </a:lnTo>
                  <a:cubicBezTo>
                    <a:pt x="6395" y="6747"/>
                    <a:pt x="6347" y="6843"/>
                    <a:pt x="6371" y="6926"/>
                  </a:cubicBezTo>
                  <a:cubicBezTo>
                    <a:pt x="6406" y="6997"/>
                    <a:pt x="6466" y="7045"/>
                    <a:pt x="6537" y="7045"/>
                  </a:cubicBezTo>
                  <a:cubicBezTo>
                    <a:pt x="6549" y="7045"/>
                    <a:pt x="6573" y="7045"/>
                    <a:pt x="6597" y="7033"/>
                  </a:cubicBezTo>
                  <a:cubicBezTo>
                    <a:pt x="6633" y="7021"/>
                    <a:pt x="6656" y="7021"/>
                    <a:pt x="6692" y="6997"/>
                  </a:cubicBezTo>
                  <a:cubicBezTo>
                    <a:pt x="6847" y="7164"/>
                    <a:pt x="6966" y="7355"/>
                    <a:pt x="7026" y="7581"/>
                  </a:cubicBezTo>
                  <a:lnTo>
                    <a:pt x="7026" y="7759"/>
                  </a:lnTo>
                  <a:cubicBezTo>
                    <a:pt x="7026" y="7855"/>
                    <a:pt x="7109" y="7938"/>
                    <a:pt x="7192" y="7938"/>
                  </a:cubicBezTo>
                  <a:lnTo>
                    <a:pt x="7204" y="7938"/>
                  </a:lnTo>
                  <a:cubicBezTo>
                    <a:pt x="7299" y="7938"/>
                    <a:pt x="7371" y="7867"/>
                    <a:pt x="7371" y="7771"/>
                  </a:cubicBezTo>
                  <a:lnTo>
                    <a:pt x="7371" y="7652"/>
                  </a:lnTo>
                  <a:cubicBezTo>
                    <a:pt x="7538" y="7581"/>
                    <a:pt x="7704" y="7557"/>
                    <a:pt x="7883" y="7557"/>
                  </a:cubicBezTo>
                  <a:cubicBezTo>
                    <a:pt x="8073" y="7557"/>
                    <a:pt x="8264" y="7593"/>
                    <a:pt x="8442" y="7688"/>
                  </a:cubicBezTo>
                  <a:cubicBezTo>
                    <a:pt x="8442" y="7688"/>
                    <a:pt x="8550" y="7736"/>
                    <a:pt x="8681" y="7855"/>
                  </a:cubicBezTo>
                  <a:cubicBezTo>
                    <a:pt x="8716" y="7879"/>
                    <a:pt x="8752" y="7890"/>
                    <a:pt x="8800" y="7890"/>
                  </a:cubicBezTo>
                  <a:cubicBezTo>
                    <a:pt x="8847" y="7890"/>
                    <a:pt x="8895" y="7879"/>
                    <a:pt x="8919" y="7831"/>
                  </a:cubicBezTo>
                  <a:cubicBezTo>
                    <a:pt x="8978" y="7759"/>
                    <a:pt x="8978" y="7652"/>
                    <a:pt x="8907" y="7593"/>
                  </a:cubicBezTo>
                  <a:cubicBezTo>
                    <a:pt x="8823" y="7533"/>
                    <a:pt x="8776" y="7474"/>
                    <a:pt x="8716" y="7450"/>
                  </a:cubicBezTo>
                  <a:cubicBezTo>
                    <a:pt x="8907" y="6974"/>
                    <a:pt x="9371" y="6640"/>
                    <a:pt x="9883" y="6640"/>
                  </a:cubicBezTo>
                  <a:cubicBezTo>
                    <a:pt x="10586" y="6640"/>
                    <a:pt x="11157" y="7212"/>
                    <a:pt x="11157" y="7914"/>
                  </a:cubicBezTo>
                  <a:cubicBezTo>
                    <a:pt x="11157" y="8605"/>
                    <a:pt x="10586" y="9164"/>
                    <a:pt x="9883" y="9164"/>
                  </a:cubicBezTo>
                  <a:cubicBezTo>
                    <a:pt x="9728" y="9164"/>
                    <a:pt x="9574" y="9129"/>
                    <a:pt x="9431" y="9069"/>
                  </a:cubicBezTo>
                  <a:cubicBezTo>
                    <a:pt x="9454" y="8807"/>
                    <a:pt x="9431" y="8533"/>
                    <a:pt x="9371" y="8319"/>
                  </a:cubicBezTo>
                  <a:cubicBezTo>
                    <a:pt x="9342" y="8240"/>
                    <a:pt x="9279" y="8194"/>
                    <a:pt x="9205" y="8194"/>
                  </a:cubicBezTo>
                  <a:cubicBezTo>
                    <a:pt x="9189" y="8194"/>
                    <a:pt x="9173" y="8196"/>
                    <a:pt x="9157" y="8200"/>
                  </a:cubicBezTo>
                  <a:cubicBezTo>
                    <a:pt x="9073" y="8224"/>
                    <a:pt x="9026" y="8319"/>
                    <a:pt x="9038" y="8402"/>
                  </a:cubicBezTo>
                  <a:cubicBezTo>
                    <a:pt x="9097" y="8629"/>
                    <a:pt x="9109" y="8867"/>
                    <a:pt x="9085" y="9129"/>
                  </a:cubicBezTo>
                  <a:cubicBezTo>
                    <a:pt x="8931" y="9664"/>
                    <a:pt x="8431" y="10057"/>
                    <a:pt x="7859" y="10057"/>
                  </a:cubicBezTo>
                  <a:cubicBezTo>
                    <a:pt x="7323" y="10057"/>
                    <a:pt x="6847" y="9712"/>
                    <a:pt x="6668" y="9212"/>
                  </a:cubicBezTo>
                  <a:cubicBezTo>
                    <a:pt x="6811" y="9093"/>
                    <a:pt x="7026" y="8867"/>
                    <a:pt x="7180" y="8510"/>
                  </a:cubicBezTo>
                  <a:cubicBezTo>
                    <a:pt x="7204" y="8414"/>
                    <a:pt x="7180" y="8331"/>
                    <a:pt x="7085" y="8283"/>
                  </a:cubicBezTo>
                  <a:cubicBezTo>
                    <a:pt x="7063" y="8274"/>
                    <a:pt x="7041" y="8270"/>
                    <a:pt x="7019" y="8270"/>
                  </a:cubicBezTo>
                  <a:cubicBezTo>
                    <a:pt x="6956" y="8270"/>
                    <a:pt x="6897" y="8305"/>
                    <a:pt x="6871" y="8367"/>
                  </a:cubicBezTo>
                  <a:cubicBezTo>
                    <a:pt x="6704" y="8760"/>
                    <a:pt x="6430" y="8962"/>
                    <a:pt x="6395" y="9010"/>
                  </a:cubicBezTo>
                  <a:cubicBezTo>
                    <a:pt x="6204" y="9105"/>
                    <a:pt x="6002" y="9164"/>
                    <a:pt x="5799" y="9164"/>
                  </a:cubicBezTo>
                  <a:cubicBezTo>
                    <a:pt x="5097" y="9164"/>
                    <a:pt x="4525" y="8593"/>
                    <a:pt x="4525" y="7890"/>
                  </a:cubicBezTo>
                  <a:cubicBezTo>
                    <a:pt x="4525" y="7557"/>
                    <a:pt x="4656" y="7236"/>
                    <a:pt x="4906" y="6997"/>
                  </a:cubicBezTo>
                  <a:cubicBezTo>
                    <a:pt x="5049" y="7057"/>
                    <a:pt x="5347" y="7152"/>
                    <a:pt x="5740" y="7152"/>
                  </a:cubicBezTo>
                  <a:lnTo>
                    <a:pt x="5847" y="7152"/>
                  </a:lnTo>
                  <a:cubicBezTo>
                    <a:pt x="5942" y="7152"/>
                    <a:pt x="6014" y="7057"/>
                    <a:pt x="6014" y="6974"/>
                  </a:cubicBezTo>
                  <a:cubicBezTo>
                    <a:pt x="6014" y="6878"/>
                    <a:pt x="5930" y="6807"/>
                    <a:pt x="5835" y="6807"/>
                  </a:cubicBezTo>
                  <a:cubicBezTo>
                    <a:pt x="5814" y="6807"/>
                    <a:pt x="5794" y="6808"/>
                    <a:pt x="5774" y="6808"/>
                  </a:cubicBezTo>
                  <a:cubicBezTo>
                    <a:pt x="5331" y="6808"/>
                    <a:pt x="5034" y="6687"/>
                    <a:pt x="4954" y="6664"/>
                  </a:cubicBezTo>
                  <a:cubicBezTo>
                    <a:pt x="4680" y="6426"/>
                    <a:pt x="4513" y="6069"/>
                    <a:pt x="4513" y="5688"/>
                  </a:cubicBezTo>
                  <a:cubicBezTo>
                    <a:pt x="4513" y="5319"/>
                    <a:pt x="4680" y="4973"/>
                    <a:pt x="4942" y="4735"/>
                  </a:cubicBezTo>
                  <a:cubicBezTo>
                    <a:pt x="5097" y="4795"/>
                    <a:pt x="5371" y="4878"/>
                    <a:pt x="5752" y="4902"/>
                  </a:cubicBezTo>
                  <a:lnTo>
                    <a:pt x="5764" y="4902"/>
                  </a:lnTo>
                  <a:cubicBezTo>
                    <a:pt x="5847" y="4902"/>
                    <a:pt x="5930" y="4831"/>
                    <a:pt x="5930" y="4735"/>
                  </a:cubicBezTo>
                  <a:cubicBezTo>
                    <a:pt x="5930" y="4652"/>
                    <a:pt x="5847" y="4557"/>
                    <a:pt x="5764" y="4557"/>
                  </a:cubicBezTo>
                  <a:cubicBezTo>
                    <a:pt x="5371" y="4545"/>
                    <a:pt x="5073" y="4426"/>
                    <a:pt x="5002" y="4402"/>
                  </a:cubicBezTo>
                  <a:cubicBezTo>
                    <a:pt x="4799" y="4223"/>
                    <a:pt x="4656" y="3997"/>
                    <a:pt x="4585" y="3747"/>
                  </a:cubicBezTo>
                  <a:cubicBezTo>
                    <a:pt x="4811" y="3545"/>
                    <a:pt x="4990" y="3330"/>
                    <a:pt x="5121" y="3092"/>
                  </a:cubicBezTo>
                  <a:cubicBezTo>
                    <a:pt x="5168" y="3009"/>
                    <a:pt x="5144" y="2914"/>
                    <a:pt x="5061" y="2866"/>
                  </a:cubicBezTo>
                  <a:cubicBezTo>
                    <a:pt x="5039" y="2851"/>
                    <a:pt x="5013" y="2844"/>
                    <a:pt x="4987" y="2844"/>
                  </a:cubicBezTo>
                  <a:cubicBezTo>
                    <a:pt x="4929" y="2844"/>
                    <a:pt x="4871" y="2876"/>
                    <a:pt x="4847" y="2926"/>
                  </a:cubicBezTo>
                  <a:cubicBezTo>
                    <a:pt x="4704" y="3152"/>
                    <a:pt x="4549" y="3354"/>
                    <a:pt x="4323" y="3545"/>
                  </a:cubicBezTo>
                  <a:cubicBezTo>
                    <a:pt x="4168" y="3604"/>
                    <a:pt x="4013" y="3640"/>
                    <a:pt x="3847" y="3640"/>
                  </a:cubicBezTo>
                  <a:cubicBezTo>
                    <a:pt x="3513" y="3640"/>
                    <a:pt x="3204" y="3521"/>
                    <a:pt x="2966" y="3295"/>
                  </a:cubicBezTo>
                  <a:cubicBezTo>
                    <a:pt x="3013" y="3033"/>
                    <a:pt x="3025" y="2771"/>
                    <a:pt x="3025" y="2556"/>
                  </a:cubicBezTo>
                  <a:cubicBezTo>
                    <a:pt x="3025" y="2461"/>
                    <a:pt x="2954" y="2390"/>
                    <a:pt x="2858" y="2390"/>
                  </a:cubicBezTo>
                  <a:cubicBezTo>
                    <a:pt x="2775" y="2390"/>
                    <a:pt x="2692" y="2461"/>
                    <a:pt x="2692" y="2556"/>
                  </a:cubicBezTo>
                  <a:cubicBezTo>
                    <a:pt x="2692" y="2771"/>
                    <a:pt x="2668" y="3033"/>
                    <a:pt x="2632" y="3295"/>
                  </a:cubicBezTo>
                  <a:cubicBezTo>
                    <a:pt x="2394" y="3604"/>
                    <a:pt x="2025" y="3807"/>
                    <a:pt x="1620" y="3807"/>
                  </a:cubicBezTo>
                  <a:cubicBezTo>
                    <a:pt x="930" y="3807"/>
                    <a:pt x="358" y="3235"/>
                    <a:pt x="358" y="2533"/>
                  </a:cubicBezTo>
                  <a:cubicBezTo>
                    <a:pt x="358" y="1842"/>
                    <a:pt x="930" y="1271"/>
                    <a:pt x="1620" y="1271"/>
                  </a:cubicBezTo>
                  <a:cubicBezTo>
                    <a:pt x="1965" y="1271"/>
                    <a:pt x="2299" y="1402"/>
                    <a:pt x="2549" y="1663"/>
                  </a:cubicBezTo>
                  <a:cubicBezTo>
                    <a:pt x="2561" y="1675"/>
                    <a:pt x="2596" y="1747"/>
                    <a:pt x="2620" y="1854"/>
                  </a:cubicBezTo>
                  <a:cubicBezTo>
                    <a:pt x="2644" y="1925"/>
                    <a:pt x="2716" y="1973"/>
                    <a:pt x="2787" y="1973"/>
                  </a:cubicBezTo>
                  <a:lnTo>
                    <a:pt x="2835" y="1973"/>
                  </a:lnTo>
                  <a:cubicBezTo>
                    <a:pt x="2918" y="1937"/>
                    <a:pt x="2977" y="1854"/>
                    <a:pt x="2954" y="1759"/>
                  </a:cubicBezTo>
                  <a:cubicBezTo>
                    <a:pt x="2918" y="1675"/>
                    <a:pt x="2906" y="1616"/>
                    <a:pt x="2870" y="1568"/>
                  </a:cubicBezTo>
                  <a:cubicBezTo>
                    <a:pt x="3108" y="1282"/>
                    <a:pt x="3466" y="1128"/>
                    <a:pt x="3847" y="1128"/>
                  </a:cubicBezTo>
                  <a:close/>
                  <a:moveTo>
                    <a:pt x="7490" y="10367"/>
                  </a:moveTo>
                  <a:lnTo>
                    <a:pt x="7490" y="10367"/>
                  </a:lnTo>
                  <a:cubicBezTo>
                    <a:pt x="7609" y="10403"/>
                    <a:pt x="7728" y="10415"/>
                    <a:pt x="7859" y="10415"/>
                  </a:cubicBezTo>
                  <a:lnTo>
                    <a:pt x="7716" y="10665"/>
                  </a:lnTo>
                  <a:cubicBezTo>
                    <a:pt x="7680" y="10712"/>
                    <a:pt x="7657" y="10712"/>
                    <a:pt x="7645" y="10712"/>
                  </a:cubicBezTo>
                  <a:cubicBezTo>
                    <a:pt x="7621" y="10712"/>
                    <a:pt x="7585" y="10700"/>
                    <a:pt x="7561" y="10653"/>
                  </a:cubicBezTo>
                  <a:lnTo>
                    <a:pt x="7490" y="10367"/>
                  </a:lnTo>
                  <a:close/>
                  <a:moveTo>
                    <a:pt x="1449" y="1"/>
                  </a:moveTo>
                  <a:cubicBezTo>
                    <a:pt x="1407" y="1"/>
                    <a:pt x="1362" y="16"/>
                    <a:pt x="1322" y="44"/>
                  </a:cubicBezTo>
                  <a:cubicBezTo>
                    <a:pt x="1251" y="104"/>
                    <a:pt x="1251" y="199"/>
                    <a:pt x="1311" y="282"/>
                  </a:cubicBezTo>
                  <a:cubicBezTo>
                    <a:pt x="1489" y="485"/>
                    <a:pt x="1561" y="735"/>
                    <a:pt x="1608" y="901"/>
                  </a:cubicBezTo>
                  <a:cubicBezTo>
                    <a:pt x="1549" y="901"/>
                    <a:pt x="1477" y="901"/>
                    <a:pt x="1418" y="913"/>
                  </a:cubicBezTo>
                  <a:cubicBezTo>
                    <a:pt x="1156" y="532"/>
                    <a:pt x="787" y="378"/>
                    <a:pt x="775" y="378"/>
                  </a:cubicBezTo>
                  <a:cubicBezTo>
                    <a:pt x="760" y="373"/>
                    <a:pt x="745" y="371"/>
                    <a:pt x="730" y="371"/>
                  </a:cubicBezTo>
                  <a:cubicBezTo>
                    <a:pt x="660" y="371"/>
                    <a:pt x="590" y="414"/>
                    <a:pt x="560" y="473"/>
                  </a:cubicBezTo>
                  <a:cubicBezTo>
                    <a:pt x="525" y="556"/>
                    <a:pt x="572" y="651"/>
                    <a:pt x="644" y="699"/>
                  </a:cubicBezTo>
                  <a:cubicBezTo>
                    <a:pt x="644" y="699"/>
                    <a:pt x="858" y="782"/>
                    <a:pt x="1049" y="1009"/>
                  </a:cubicBezTo>
                  <a:cubicBezTo>
                    <a:pt x="441" y="1235"/>
                    <a:pt x="1" y="1830"/>
                    <a:pt x="1" y="2509"/>
                  </a:cubicBezTo>
                  <a:cubicBezTo>
                    <a:pt x="1" y="3402"/>
                    <a:pt x="715" y="4116"/>
                    <a:pt x="1608" y="4116"/>
                  </a:cubicBezTo>
                  <a:cubicBezTo>
                    <a:pt x="2061" y="4116"/>
                    <a:pt x="2489" y="3926"/>
                    <a:pt x="2799" y="3592"/>
                  </a:cubicBezTo>
                  <a:cubicBezTo>
                    <a:pt x="3085" y="3830"/>
                    <a:pt x="3454" y="3985"/>
                    <a:pt x="3847" y="3985"/>
                  </a:cubicBezTo>
                  <a:cubicBezTo>
                    <a:pt x="3989" y="3985"/>
                    <a:pt x="4144" y="3973"/>
                    <a:pt x="4287" y="3926"/>
                  </a:cubicBezTo>
                  <a:cubicBezTo>
                    <a:pt x="4370" y="4164"/>
                    <a:pt x="4501" y="4390"/>
                    <a:pt x="4668" y="4569"/>
                  </a:cubicBezTo>
                  <a:cubicBezTo>
                    <a:pt x="4466" y="4747"/>
                    <a:pt x="4335" y="4985"/>
                    <a:pt x="4251" y="5223"/>
                  </a:cubicBezTo>
                  <a:lnTo>
                    <a:pt x="3692" y="5485"/>
                  </a:lnTo>
                  <a:cubicBezTo>
                    <a:pt x="3549" y="5557"/>
                    <a:pt x="3442" y="5723"/>
                    <a:pt x="3454" y="5890"/>
                  </a:cubicBezTo>
                  <a:cubicBezTo>
                    <a:pt x="3478" y="6069"/>
                    <a:pt x="3573" y="6200"/>
                    <a:pt x="3751" y="6259"/>
                  </a:cubicBezTo>
                  <a:lnTo>
                    <a:pt x="4347" y="6450"/>
                  </a:lnTo>
                  <a:cubicBezTo>
                    <a:pt x="4430" y="6593"/>
                    <a:pt x="4513" y="6724"/>
                    <a:pt x="4621" y="6843"/>
                  </a:cubicBezTo>
                  <a:cubicBezTo>
                    <a:pt x="4347" y="7140"/>
                    <a:pt x="4192" y="7521"/>
                    <a:pt x="4192" y="7926"/>
                  </a:cubicBezTo>
                  <a:cubicBezTo>
                    <a:pt x="4192" y="8093"/>
                    <a:pt x="4216" y="8260"/>
                    <a:pt x="4263" y="8402"/>
                  </a:cubicBezTo>
                  <a:lnTo>
                    <a:pt x="3966" y="8938"/>
                  </a:lnTo>
                  <a:cubicBezTo>
                    <a:pt x="3870" y="9093"/>
                    <a:pt x="3894" y="9272"/>
                    <a:pt x="4013" y="9402"/>
                  </a:cubicBezTo>
                  <a:cubicBezTo>
                    <a:pt x="4085" y="9510"/>
                    <a:pt x="4204" y="9545"/>
                    <a:pt x="4335" y="9545"/>
                  </a:cubicBezTo>
                  <a:cubicBezTo>
                    <a:pt x="4382" y="9545"/>
                    <a:pt x="4430" y="9545"/>
                    <a:pt x="4454" y="9533"/>
                  </a:cubicBezTo>
                  <a:lnTo>
                    <a:pt x="5061" y="9343"/>
                  </a:lnTo>
                  <a:cubicBezTo>
                    <a:pt x="5287" y="9462"/>
                    <a:pt x="5537" y="9522"/>
                    <a:pt x="5811" y="9522"/>
                  </a:cubicBezTo>
                  <a:cubicBezTo>
                    <a:pt x="6002" y="9522"/>
                    <a:pt x="6216" y="9486"/>
                    <a:pt x="6395" y="9414"/>
                  </a:cubicBezTo>
                  <a:cubicBezTo>
                    <a:pt x="6537" y="9772"/>
                    <a:pt x="6787" y="10057"/>
                    <a:pt x="7121" y="10236"/>
                  </a:cubicBezTo>
                  <a:lnTo>
                    <a:pt x="7252" y="10760"/>
                  </a:lnTo>
                  <a:cubicBezTo>
                    <a:pt x="7299" y="10915"/>
                    <a:pt x="7430" y="11034"/>
                    <a:pt x="7609" y="11069"/>
                  </a:cubicBezTo>
                  <a:lnTo>
                    <a:pt x="7657" y="11069"/>
                  </a:lnTo>
                  <a:cubicBezTo>
                    <a:pt x="7799" y="11069"/>
                    <a:pt x="7954" y="10974"/>
                    <a:pt x="8026" y="10843"/>
                  </a:cubicBezTo>
                  <a:lnTo>
                    <a:pt x="8276" y="10367"/>
                  </a:lnTo>
                  <a:cubicBezTo>
                    <a:pt x="8752" y="10236"/>
                    <a:pt x="9157" y="9891"/>
                    <a:pt x="9347" y="9426"/>
                  </a:cubicBezTo>
                  <a:cubicBezTo>
                    <a:pt x="9526" y="9486"/>
                    <a:pt x="9704" y="9522"/>
                    <a:pt x="9883" y="9522"/>
                  </a:cubicBezTo>
                  <a:lnTo>
                    <a:pt x="9931" y="9522"/>
                  </a:lnTo>
                  <a:lnTo>
                    <a:pt x="10312" y="9879"/>
                  </a:lnTo>
                  <a:cubicBezTo>
                    <a:pt x="10395" y="9950"/>
                    <a:pt x="10502" y="9986"/>
                    <a:pt x="10597" y="9986"/>
                  </a:cubicBezTo>
                  <a:cubicBezTo>
                    <a:pt x="10657" y="9986"/>
                    <a:pt x="10717" y="9962"/>
                    <a:pt x="10776" y="9938"/>
                  </a:cubicBezTo>
                  <a:cubicBezTo>
                    <a:pt x="10931" y="9867"/>
                    <a:pt x="11038" y="9700"/>
                    <a:pt x="11014" y="9533"/>
                  </a:cubicBezTo>
                  <a:lnTo>
                    <a:pt x="10990" y="9069"/>
                  </a:lnTo>
                  <a:cubicBezTo>
                    <a:pt x="11300" y="8760"/>
                    <a:pt x="11490" y="8343"/>
                    <a:pt x="11490" y="7902"/>
                  </a:cubicBezTo>
                  <a:cubicBezTo>
                    <a:pt x="11490" y="7009"/>
                    <a:pt x="10776" y="6295"/>
                    <a:pt x="9883" y="6295"/>
                  </a:cubicBezTo>
                  <a:cubicBezTo>
                    <a:pt x="9228" y="6295"/>
                    <a:pt x="8657" y="6688"/>
                    <a:pt x="8395" y="7283"/>
                  </a:cubicBezTo>
                  <a:cubicBezTo>
                    <a:pt x="8216" y="7224"/>
                    <a:pt x="8038" y="7200"/>
                    <a:pt x="7859" y="7200"/>
                  </a:cubicBezTo>
                  <a:cubicBezTo>
                    <a:pt x="7669" y="7200"/>
                    <a:pt x="7466" y="7224"/>
                    <a:pt x="7288" y="7307"/>
                  </a:cubicBezTo>
                  <a:cubicBezTo>
                    <a:pt x="7204" y="7105"/>
                    <a:pt x="7085" y="6926"/>
                    <a:pt x="6954" y="6783"/>
                  </a:cubicBezTo>
                  <a:cubicBezTo>
                    <a:pt x="7228" y="6485"/>
                    <a:pt x="7383" y="6093"/>
                    <a:pt x="7383" y="5700"/>
                  </a:cubicBezTo>
                  <a:cubicBezTo>
                    <a:pt x="7383" y="5283"/>
                    <a:pt x="7228" y="4878"/>
                    <a:pt x="6942" y="4580"/>
                  </a:cubicBezTo>
                  <a:cubicBezTo>
                    <a:pt x="7252" y="4283"/>
                    <a:pt x="7430" y="3866"/>
                    <a:pt x="7430" y="3437"/>
                  </a:cubicBezTo>
                  <a:cubicBezTo>
                    <a:pt x="7430" y="2545"/>
                    <a:pt x="6716" y="1830"/>
                    <a:pt x="5823" y="1830"/>
                  </a:cubicBezTo>
                  <a:cubicBezTo>
                    <a:pt x="5680" y="1830"/>
                    <a:pt x="5525" y="1842"/>
                    <a:pt x="5383" y="1890"/>
                  </a:cubicBezTo>
                  <a:cubicBezTo>
                    <a:pt x="5168" y="1211"/>
                    <a:pt x="4561" y="759"/>
                    <a:pt x="3847" y="759"/>
                  </a:cubicBezTo>
                  <a:cubicBezTo>
                    <a:pt x="3394" y="759"/>
                    <a:pt x="2966" y="949"/>
                    <a:pt x="2656" y="1271"/>
                  </a:cubicBezTo>
                  <a:cubicBezTo>
                    <a:pt x="2442" y="1116"/>
                    <a:pt x="2204" y="997"/>
                    <a:pt x="1954" y="937"/>
                  </a:cubicBezTo>
                  <a:cubicBezTo>
                    <a:pt x="1918" y="735"/>
                    <a:pt x="1834" y="366"/>
                    <a:pt x="1561" y="56"/>
                  </a:cubicBezTo>
                  <a:cubicBezTo>
                    <a:pt x="1536" y="19"/>
                    <a:pt x="1495" y="1"/>
                    <a:pt x="14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16" name="Google Shape;12916;p63"/>
          <p:cNvSpPr/>
          <p:nvPr/>
        </p:nvSpPr>
        <p:spPr>
          <a:xfrm>
            <a:off x="4694733" y="2884434"/>
            <a:ext cx="370368" cy="368096"/>
          </a:xfrm>
          <a:custGeom>
            <a:avLst/>
            <a:gdLst/>
            <a:ahLst/>
            <a:cxnLst/>
            <a:rect l="l" t="t" r="r" b="b"/>
            <a:pathLst>
              <a:path w="11574" h="11503" extrusionOk="0">
                <a:moveTo>
                  <a:pt x="5799" y="4168"/>
                </a:moveTo>
                <a:cubicBezTo>
                  <a:pt x="6001" y="4168"/>
                  <a:pt x="6168" y="4335"/>
                  <a:pt x="6168" y="4537"/>
                </a:cubicBezTo>
                <a:cubicBezTo>
                  <a:pt x="6168" y="4632"/>
                  <a:pt x="6144" y="4704"/>
                  <a:pt x="6096" y="4775"/>
                </a:cubicBezTo>
                <a:cubicBezTo>
                  <a:pt x="6001" y="4751"/>
                  <a:pt x="5906" y="4740"/>
                  <a:pt x="5811" y="4740"/>
                </a:cubicBezTo>
                <a:cubicBezTo>
                  <a:pt x="5703" y="4740"/>
                  <a:pt x="5620" y="4751"/>
                  <a:pt x="5525" y="4775"/>
                </a:cubicBezTo>
                <a:cubicBezTo>
                  <a:pt x="5465" y="4716"/>
                  <a:pt x="5453" y="4632"/>
                  <a:pt x="5453" y="4537"/>
                </a:cubicBezTo>
                <a:cubicBezTo>
                  <a:pt x="5430" y="4347"/>
                  <a:pt x="5608" y="4168"/>
                  <a:pt x="5799" y="4168"/>
                </a:cubicBezTo>
                <a:close/>
                <a:moveTo>
                  <a:pt x="5822" y="5085"/>
                </a:moveTo>
                <a:cubicBezTo>
                  <a:pt x="6227" y="5085"/>
                  <a:pt x="6549" y="5418"/>
                  <a:pt x="6549" y="5823"/>
                </a:cubicBezTo>
                <a:cubicBezTo>
                  <a:pt x="6549" y="5942"/>
                  <a:pt x="6525" y="6037"/>
                  <a:pt x="6477" y="6144"/>
                </a:cubicBezTo>
                <a:cubicBezTo>
                  <a:pt x="6430" y="6168"/>
                  <a:pt x="6406" y="6192"/>
                  <a:pt x="6394" y="6240"/>
                </a:cubicBezTo>
                <a:cubicBezTo>
                  <a:pt x="6358" y="6323"/>
                  <a:pt x="6406" y="6418"/>
                  <a:pt x="6489" y="6466"/>
                </a:cubicBezTo>
                <a:cubicBezTo>
                  <a:pt x="6977" y="6645"/>
                  <a:pt x="7251" y="7026"/>
                  <a:pt x="7251" y="7549"/>
                </a:cubicBezTo>
                <a:cubicBezTo>
                  <a:pt x="7251" y="8323"/>
                  <a:pt x="6620" y="9228"/>
                  <a:pt x="5811" y="9228"/>
                </a:cubicBezTo>
                <a:cubicBezTo>
                  <a:pt x="5001" y="9228"/>
                  <a:pt x="4370" y="8323"/>
                  <a:pt x="4370" y="7549"/>
                </a:cubicBezTo>
                <a:cubicBezTo>
                  <a:pt x="4370" y="7168"/>
                  <a:pt x="4513" y="6859"/>
                  <a:pt x="4787" y="6656"/>
                </a:cubicBezTo>
                <a:cubicBezTo>
                  <a:pt x="5037" y="6442"/>
                  <a:pt x="5406" y="6323"/>
                  <a:pt x="5822" y="6323"/>
                </a:cubicBezTo>
                <a:cubicBezTo>
                  <a:pt x="5918" y="6323"/>
                  <a:pt x="5989" y="6252"/>
                  <a:pt x="5989" y="6156"/>
                </a:cubicBezTo>
                <a:cubicBezTo>
                  <a:pt x="5989" y="6073"/>
                  <a:pt x="5918" y="6002"/>
                  <a:pt x="5822" y="6002"/>
                </a:cubicBezTo>
                <a:cubicBezTo>
                  <a:pt x="5584" y="6002"/>
                  <a:pt x="5358" y="6025"/>
                  <a:pt x="5156" y="6097"/>
                </a:cubicBezTo>
                <a:cubicBezTo>
                  <a:pt x="5108" y="6013"/>
                  <a:pt x="5096" y="5906"/>
                  <a:pt x="5096" y="5823"/>
                </a:cubicBezTo>
                <a:cubicBezTo>
                  <a:pt x="5096" y="5418"/>
                  <a:pt x="5418" y="5085"/>
                  <a:pt x="5822" y="5085"/>
                </a:cubicBezTo>
                <a:close/>
                <a:moveTo>
                  <a:pt x="3798" y="1"/>
                </a:moveTo>
                <a:cubicBezTo>
                  <a:pt x="3715" y="1"/>
                  <a:pt x="3620" y="72"/>
                  <a:pt x="3620" y="168"/>
                </a:cubicBezTo>
                <a:lnTo>
                  <a:pt x="3620" y="2930"/>
                </a:lnTo>
                <a:cubicBezTo>
                  <a:pt x="3620" y="3037"/>
                  <a:pt x="3655" y="3120"/>
                  <a:pt x="3715" y="3216"/>
                </a:cubicBezTo>
                <a:lnTo>
                  <a:pt x="4918" y="5109"/>
                </a:lnTo>
                <a:cubicBezTo>
                  <a:pt x="4906" y="5121"/>
                  <a:pt x="4894" y="5132"/>
                  <a:pt x="4870" y="5168"/>
                </a:cubicBezTo>
                <a:lnTo>
                  <a:pt x="2536" y="3335"/>
                </a:lnTo>
                <a:cubicBezTo>
                  <a:pt x="2512" y="3323"/>
                  <a:pt x="2489" y="3287"/>
                  <a:pt x="2477" y="3263"/>
                </a:cubicBezTo>
                <a:lnTo>
                  <a:pt x="1620" y="1013"/>
                </a:lnTo>
                <a:cubicBezTo>
                  <a:pt x="1593" y="942"/>
                  <a:pt x="1527" y="904"/>
                  <a:pt x="1460" y="904"/>
                </a:cubicBezTo>
                <a:cubicBezTo>
                  <a:pt x="1437" y="904"/>
                  <a:pt x="1415" y="908"/>
                  <a:pt x="1393" y="918"/>
                </a:cubicBezTo>
                <a:cubicBezTo>
                  <a:pt x="1298" y="965"/>
                  <a:pt x="1262" y="1060"/>
                  <a:pt x="1298" y="1144"/>
                </a:cubicBezTo>
                <a:lnTo>
                  <a:pt x="2167" y="3394"/>
                </a:lnTo>
                <a:cubicBezTo>
                  <a:pt x="2191" y="3489"/>
                  <a:pt x="2251" y="3561"/>
                  <a:pt x="2334" y="3620"/>
                </a:cubicBezTo>
                <a:lnTo>
                  <a:pt x="4739" y="5513"/>
                </a:lnTo>
                <a:cubicBezTo>
                  <a:pt x="4739" y="5525"/>
                  <a:pt x="4727" y="5537"/>
                  <a:pt x="4727" y="5549"/>
                </a:cubicBezTo>
                <a:lnTo>
                  <a:pt x="3429" y="5275"/>
                </a:lnTo>
                <a:cubicBezTo>
                  <a:pt x="3384" y="5263"/>
                  <a:pt x="3339" y="5256"/>
                  <a:pt x="3294" y="5256"/>
                </a:cubicBezTo>
                <a:cubicBezTo>
                  <a:pt x="3209" y="5256"/>
                  <a:pt x="3126" y="5280"/>
                  <a:pt x="3048" y="5335"/>
                </a:cubicBezTo>
                <a:lnTo>
                  <a:pt x="1108" y="6466"/>
                </a:lnTo>
                <a:cubicBezTo>
                  <a:pt x="1000" y="6525"/>
                  <a:pt x="929" y="6609"/>
                  <a:pt x="881" y="6716"/>
                </a:cubicBezTo>
                <a:lnTo>
                  <a:pt x="36" y="8764"/>
                </a:lnTo>
                <a:cubicBezTo>
                  <a:pt x="0" y="8859"/>
                  <a:pt x="36" y="8942"/>
                  <a:pt x="131" y="8990"/>
                </a:cubicBezTo>
                <a:cubicBezTo>
                  <a:pt x="143" y="9002"/>
                  <a:pt x="167" y="9002"/>
                  <a:pt x="191" y="9002"/>
                </a:cubicBezTo>
                <a:cubicBezTo>
                  <a:pt x="250" y="9002"/>
                  <a:pt x="322" y="8966"/>
                  <a:pt x="334" y="8907"/>
                </a:cubicBezTo>
                <a:lnTo>
                  <a:pt x="1179" y="6847"/>
                </a:lnTo>
                <a:cubicBezTo>
                  <a:pt x="1203" y="6799"/>
                  <a:pt x="1227" y="6775"/>
                  <a:pt x="1262" y="6764"/>
                </a:cubicBezTo>
                <a:lnTo>
                  <a:pt x="3191" y="5632"/>
                </a:lnTo>
                <a:cubicBezTo>
                  <a:pt x="3221" y="5610"/>
                  <a:pt x="3252" y="5602"/>
                  <a:pt x="3279" y="5602"/>
                </a:cubicBezTo>
                <a:cubicBezTo>
                  <a:pt x="3294" y="5602"/>
                  <a:pt x="3309" y="5604"/>
                  <a:pt x="3322" y="5609"/>
                </a:cubicBezTo>
                <a:lnTo>
                  <a:pt x="4679" y="5906"/>
                </a:lnTo>
                <a:cubicBezTo>
                  <a:pt x="4679" y="5942"/>
                  <a:pt x="4691" y="5966"/>
                  <a:pt x="4691" y="6002"/>
                </a:cubicBezTo>
                <a:lnTo>
                  <a:pt x="3882" y="6264"/>
                </a:lnTo>
                <a:cubicBezTo>
                  <a:pt x="3727" y="6311"/>
                  <a:pt x="3596" y="6430"/>
                  <a:pt x="3548" y="6597"/>
                </a:cubicBezTo>
                <a:lnTo>
                  <a:pt x="2727" y="8871"/>
                </a:lnTo>
                <a:cubicBezTo>
                  <a:pt x="2703" y="8942"/>
                  <a:pt x="2703" y="9014"/>
                  <a:pt x="2703" y="9097"/>
                </a:cubicBezTo>
                <a:lnTo>
                  <a:pt x="2882" y="11359"/>
                </a:lnTo>
                <a:cubicBezTo>
                  <a:pt x="2882" y="11443"/>
                  <a:pt x="2953" y="11502"/>
                  <a:pt x="3048" y="11502"/>
                </a:cubicBezTo>
                <a:lnTo>
                  <a:pt x="3060" y="11502"/>
                </a:lnTo>
                <a:cubicBezTo>
                  <a:pt x="3144" y="11502"/>
                  <a:pt x="3227" y="11419"/>
                  <a:pt x="3203" y="11324"/>
                </a:cubicBezTo>
                <a:lnTo>
                  <a:pt x="3024" y="9061"/>
                </a:lnTo>
                <a:cubicBezTo>
                  <a:pt x="3024" y="9038"/>
                  <a:pt x="3024" y="9002"/>
                  <a:pt x="3048" y="8990"/>
                </a:cubicBezTo>
                <a:lnTo>
                  <a:pt x="3858" y="6716"/>
                </a:lnTo>
                <a:cubicBezTo>
                  <a:pt x="3882" y="6656"/>
                  <a:pt x="3917" y="6609"/>
                  <a:pt x="3977" y="6597"/>
                </a:cubicBezTo>
                <a:lnTo>
                  <a:pt x="4370" y="6466"/>
                </a:lnTo>
                <a:lnTo>
                  <a:pt x="4370" y="6466"/>
                </a:lnTo>
                <a:cubicBezTo>
                  <a:pt x="4096" y="6728"/>
                  <a:pt x="3953" y="7097"/>
                  <a:pt x="3953" y="7514"/>
                </a:cubicBezTo>
                <a:cubicBezTo>
                  <a:pt x="3953" y="7990"/>
                  <a:pt x="4144" y="8502"/>
                  <a:pt x="4453" y="8883"/>
                </a:cubicBezTo>
                <a:cubicBezTo>
                  <a:pt x="4810" y="9300"/>
                  <a:pt x="5263" y="9538"/>
                  <a:pt x="5739" y="9538"/>
                </a:cubicBezTo>
                <a:cubicBezTo>
                  <a:pt x="6215" y="9538"/>
                  <a:pt x="6656" y="9300"/>
                  <a:pt x="7013" y="8883"/>
                </a:cubicBezTo>
                <a:cubicBezTo>
                  <a:pt x="7346" y="8502"/>
                  <a:pt x="7525" y="7990"/>
                  <a:pt x="7525" y="7514"/>
                </a:cubicBezTo>
                <a:cubicBezTo>
                  <a:pt x="7525" y="7097"/>
                  <a:pt x="7370" y="6728"/>
                  <a:pt x="7108" y="6466"/>
                </a:cubicBezTo>
                <a:lnTo>
                  <a:pt x="7108" y="6466"/>
                </a:lnTo>
                <a:lnTo>
                  <a:pt x="7489" y="6597"/>
                </a:lnTo>
                <a:cubicBezTo>
                  <a:pt x="7549" y="6609"/>
                  <a:pt x="7596" y="6656"/>
                  <a:pt x="7608" y="6716"/>
                </a:cubicBezTo>
                <a:lnTo>
                  <a:pt x="8430" y="8990"/>
                </a:lnTo>
                <a:cubicBezTo>
                  <a:pt x="8442" y="9014"/>
                  <a:pt x="8442" y="9038"/>
                  <a:pt x="8442" y="9061"/>
                </a:cubicBezTo>
                <a:lnTo>
                  <a:pt x="8263" y="11324"/>
                </a:lnTo>
                <a:cubicBezTo>
                  <a:pt x="8263" y="11419"/>
                  <a:pt x="8323" y="11502"/>
                  <a:pt x="8418" y="11502"/>
                </a:cubicBezTo>
                <a:lnTo>
                  <a:pt x="8430" y="11502"/>
                </a:lnTo>
                <a:cubicBezTo>
                  <a:pt x="8513" y="11502"/>
                  <a:pt x="8597" y="11431"/>
                  <a:pt x="8597" y="11359"/>
                </a:cubicBezTo>
                <a:lnTo>
                  <a:pt x="8775" y="9097"/>
                </a:lnTo>
                <a:cubicBezTo>
                  <a:pt x="8775" y="9014"/>
                  <a:pt x="8775" y="8942"/>
                  <a:pt x="8739" y="8871"/>
                </a:cubicBezTo>
                <a:lnTo>
                  <a:pt x="7918" y="6597"/>
                </a:lnTo>
                <a:cubicBezTo>
                  <a:pt x="7858" y="6442"/>
                  <a:pt x="7739" y="6323"/>
                  <a:pt x="7596" y="6264"/>
                </a:cubicBezTo>
                <a:lnTo>
                  <a:pt x="6775" y="6002"/>
                </a:lnTo>
                <a:cubicBezTo>
                  <a:pt x="6775" y="5966"/>
                  <a:pt x="6787" y="5942"/>
                  <a:pt x="6787" y="5906"/>
                </a:cubicBezTo>
                <a:lnTo>
                  <a:pt x="8144" y="5609"/>
                </a:lnTo>
                <a:cubicBezTo>
                  <a:pt x="8157" y="5605"/>
                  <a:pt x="8170" y="5604"/>
                  <a:pt x="8182" y="5604"/>
                </a:cubicBezTo>
                <a:cubicBezTo>
                  <a:pt x="8216" y="5604"/>
                  <a:pt x="8249" y="5615"/>
                  <a:pt x="8275" y="5632"/>
                </a:cubicBezTo>
                <a:lnTo>
                  <a:pt x="10216" y="6764"/>
                </a:lnTo>
                <a:cubicBezTo>
                  <a:pt x="10240" y="6775"/>
                  <a:pt x="10275" y="6823"/>
                  <a:pt x="10287" y="6847"/>
                </a:cubicBezTo>
                <a:lnTo>
                  <a:pt x="11133" y="8907"/>
                </a:lnTo>
                <a:cubicBezTo>
                  <a:pt x="11168" y="8954"/>
                  <a:pt x="11228" y="9002"/>
                  <a:pt x="11287" y="9002"/>
                </a:cubicBezTo>
                <a:cubicBezTo>
                  <a:pt x="11299" y="9002"/>
                  <a:pt x="11335" y="9002"/>
                  <a:pt x="11347" y="8990"/>
                </a:cubicBezTo>
                <a:cubicBezTo>
                  <a:pt x="11526" y="8978"/>
                  <a:pt x="11573" y="8883"/>
                  <a:pt x="11526" y="8800"/>
                </a:cubicBezTo>
                <a:lnTo>
                  <a:pt x="10680" y="6740"/>
                </a:lnTo>
                <a:cubicBezTo>
                  <a:pt x="10633" y="6645"/>
                  <a:pt x="10561" y="6549"/>
                  <a:pt x="10454" y="6490"/>
                </a:cubicBezTo>
                <a:lnTo>
                  <a:pt x="8525" y="5359"/>
                </a:lnTo>
                <a:cubicBezTo>
                  <a:pt x="8442" y="5309"/>
                  <a:pt x="8348" y="5288"/>
                  <a:pt x="8253" y="5288"/>
                </a:cubicBezTo>
                <a:cubicBezTo>
                  <a:pt x="8213" y="5288"/>
                  <a:pt x="8172" y="5292"/>
                  <a:pt x="8132" y="5299"/>
                </a:cubicBezTo>
                <a:lnTo>
                  <a:pt x="6834" y="5585"/>
                </a:lnTo>
                <a:cubicBezTo>
                  <a:pt x="6834" y="5573"/>
                  <a:pt x="6834" y="5549"/>
                  <a:pt x="6823" y="5537"/>
                </a:cubicBezTo>
                <a:lnTo>
                  <a:pt x="9240" y="3644"/>
                </a:lnTo>
                <a:cubicBezTo>
                  <a:pt x="9311" y="3585"/>
                  <a:pt x="9370" y="3513"/>
                  <a:pt x="9394" y="3430"/>
                </a:cubicBezTo>
                <a:lnTo>
                  <a:pt x="10263" y="1180"/>
                </a:lnTo>
                <a:cubicBezTo>
                  <a:pt x="10287" y="1084"/>
                  <a:pt x="10252" y="1001"/>
                  <a:pt x="10168" y="953"/>
                </a:cubicBezTo>
                <a:cubicBezTo>
                  <a:pt x="10149" y="945"/>
                  <a:pt x="10129" y="941"/>
                  <a:pt x="10110" y="941"/>
                </a:cubicBezTo>
                <a:cubicBezTo>
                  <a:pt x="10044" y="941"/>
                  <a:pt x="9981" y="984"/>
                  <a:pt x="9954" y="1049"/>
                </a:cubicBezTo>
                <a:lnTo>
                  <a:pt x="9085" y="3287"/>
                </a:lnTo>
                <a:cubicBezTo>
                  <a:pt x="9073" y="3323"/>
                  <a:pt x="9061" y="3346"/>
                  <a:pt x="9025" y="3370"/>
                </a:cubicBezTo>
                <a:lnTo>
                  <a:pt x="6692" y="5192"/>
                </a:lnTo>
                <a:cubicBezTo>
                  <a:pt x="6680" y="5180"/>
                  <a:pt x="6656" y="5156"/>
                  <a:pt x="6644" y="5132"/>
                </a:cubicBezTo>
                <a:lnTo>
                  <a:pt x="7846" y="3251"/>
                </a:lnTo>
                <a:cubicBezTo>
                  <a:pt x="7906" y="3156"/>
                  <a:pt x="7942" y="3061"/>
                  <a:pt x="7942" y="2965"/>
                </a:cubicBezTo>
                <a:lnTo>
                  <a:pt x="7942" y="191"/>
                </a:lnTo>
                <a:cubicBezTo>
                  <a:pt x="7942" y="108"/>
                  <a:pt x="7858" y="13"/>
                  <a:pt x="7775" y="13"/>
                </a:cubicBezTo>
                <a:cubicBezTo>
                  <a:pt x="7692" y="13"/>
                  <a:pt x="7596" y="84"/>
                  <a:pt x="7596" y="179"/>
                </a:cubicBezTo>
                <a:lnTo>
                  <a:pt x="7596" y="2954"/>
                </a:lnTo>
                <a:cubicBezTo>
                  <a:pt x="7596" y="2977"/>
                  <a:pt x="7585" y="3025"/>
                  <a:pt x="7561" y="3049"/>
                </a:cubicBezTo>
                <a:lnTo>
                  <a:pt x="6406" y="4882"/>
                </a:lnTo>
                <a:lnTo>
                  <a:pt x="6394" y="4870"/>
                </a:lnTo>
                <a:cubicBezTo>
                  <a:pt x="6465" y="4751"/>
                  <a:pt x="6501" y="4632"/>
                  <a:pt x="6501" y="4489"/>
                </a:cubicBezTo>
                <a:lnTo>
                  <a:pt x="6501" y="3597"/>
                </a:lnTo>
                <a:cubicBezTo>
                  <a:pt x="6501" y="3466"/>
                  <a:pt x="6453" y="3346"/>
                  <a:pt x="6406" y="3275"/>
                </a:cubicBezTo>
                <a:cubicBezTo>
                  <a:pt x="6377" y="3223"/>
                  <a:pt x="6322" y="3196"/>
                  <a:pt x="6267" y="3196"/>
                </a:cubicBezTo>
                <a:cubicBezTo>
                  <a:pt x="6209" y="3196"/>
                  <a:pt x="6151" y="3226"/>
                  <a:pt x="6120" y="3287"/>
                </a:cubicBezTo>
                <a:cubicBezTo>
                  <a:pt x="6096" y="3335"/>
                  <a:pt x="6096" y="3406"/>
                  <a:pt x="6120" y="3454"/>
                </a:cubicBezTo>
                <a:cubicBezTo>
                  <a:pt x="6144" y="3489"/>
                  <a:pt x="6156" y="3525"/>
                  <a:pt x="6156" y="3597"/>
                </a:cubicBezTo>
                <a:lnTo>
                  <a:pt x="6156" y="3894"/>
                </a:lnTo>
                <a:cubicBezTo>
                  <a:pt x="6049" y="3847"/>
                  <a:pt x="5918" y="3799"/>
                  <a:pt x="5787" y="3799"/>
                </a:cubicBezTo>
                <a:cubicBezTo>
                  <a:pt x="5644" y="3799"/>
                  <a:pt x="5513" y="3835"/>
                  <a:pt x="5406" y="3894"/>
                </a:cubicBezTo>
                <a:lnTo>
                  <a:pt x="5406" y="3597"/>
                </a:lnTo>
                <a:cubicBezTo>
                  <a:pt x="5406" y="3525"/>
                  <a:pt x="5430" y="3489"/>
                  <a:pt x="5441" y="3454"/>
                </a:cubicBezTo>
                <a:cubicBezTo>
                  <a:pt x="5465" y="3406"/>
                  <a:pt x="5465" y="3346"/>
                  <a:pt x="5441" y="3287"/>
                </a:cubicBezTo>
                <a:cubicBezTo>
                  <a:pt x="5411" y="3226"/>
                  <a:pt x="5352" y="3196"/>
                  <a:pt x="5294" y="3196"/>
                </a:cubicBezTo>
                <a:cubicBezTo>
                  <a:pt x="5239" y="3196"/>
                  <a:pt x="5185" y="3223"/>
                  <a:pt x="5156" y="3275"/>
                </a:cubicBezTo>
                <a:cubicBezTo>
                  <a:pt x="5108" y="3358"/>
                  <a:pt x="5072" y="3466"/>
                  <a:pt x="5072" y="3597"/>
                </a:cubicBezTo>
                <a:lnTo>
                  <a:pt x="5072" y="4489"/>
                </a:lnTo>
                <a:cubicBezTo>
                  <a:pt x="5072" y="4632"/>
                  <a:pt x="5108" y="4763"/>
                  <a:pt x="5168" y="4870"/>
                </a:cubicBezTo>
                <a:lnTo>
                  <a:pt x="5156" y="4882"/>
                </a:lnTo>
                <a:lnTo>
                  <a:pt x="4001" y="3049"/>
                </a:lnTo>
                <a:cubicBezTo>
                  <a:pt x="3977" y="3025"/>
                  <a:pt x="3965" y="2989"/>
                  <a:pt x="3965" y="2954"/>
                </a:cubicBezTo>
                <a:lnTo>
                  <a:pt x="3965" y="179"/>
                </a:lnTo>
                <a:cubicBezTo>
                  <a:pt x="3965" y="84"/>
                  <a:pt x="3894" y="1"/>
                  <a:pt x="3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7" name="Google Shape;12917;p63"/>
          <p:cNvSpPr/>
          <p:nvPr/>
        </p:nvSpPr>
        <p:spPr>
          <a:xfrm>
            <a:off x="8046381" y="2886290"/>
            <a:ext cx="253408" cy="366240"/>
          </a:xfrm>
          <a:custGeom>
            <a:avLst/>
            <a:gdLst/>
            <a:ahLst/>
            <a:cxnLst/>
            <a:rect l="l" t="t" r="r" b="b"/>
            <a:pathLst>
              <a:path w="7919" h="11445" extrusionOk="0">
                <a:moveTo>
                  <a:pt x="3644" y="443"/>
                </a:moveTo>
                <a:lnTo>
                  <a:pt x="3644" y="443"/>
                </a:lnTo>
                <a:cubicBezTo>
                  <a:pt x="4001" y="586"/>
                  <a:pt x="4513" y="860"/>
                  <a:pt x="4787" y="1443"/>
                </a:cubicBezTo>
                <a:cubicBezTo>
                  <a:pt x="4823" y="1514"/>
                  <a:pt x="4846" y="1598"/>
                  <a:pt x="4870" y="1669"/>
                </a:cubicBezTo>
                <a:cubicBezTo>
                  <a:pt x="4727" y="1788"/>
                  <a:pt x="4608" y="1919"/>
                  <a:pt x="4513" y="2074"/>
                </a:cubicBezTo>
                <a:cubicBezTo>
                  <a:pt x="4346" y="2324"/>
                  <a:pt x="4227" y="2634"/>
                  <a:pt x="4168" y="2943"/>
                </a:cubicBezTo>
                <a:cubicBezTo>
                  <a:pt x="3180" y="1824"/>
                  <a:pt x="2025" y="1122"/>
                  <a:pt x="1417" y="812"/>
                </a:cubicBezTo>
                <a:cubicBezTo>
                  <a:pt x="1594" y="775"/>
                  <a:pt x="1818" y="743"/>
                  <a:pt x="2064" y="743"/>
                </a:cubicBezTo>
                <a:cubicBezTo>
                  <a:pt x="2446" y="743"/>
                  <a:pt x="2879" y="820"/>
                  <a:pt x="3263" y="1074"/>
                </a:cubicBezTo>
                <a:cubicBezTo>
                  <a:pt x="3525" y="1253"/>
                  <a:pt x="3799" y="1514"/>
                  <a:pt x="3953" y="1788"/>
                </a:cubicBezTo>
                <a:cubicBezTo>
                  <a:pt x="3986" y="1837"/>
                  <a:pt x="4047" y="1870"/>
                  <a:pt x="4109" y="1870"/>
                </a:cubicBezTo>
                <a:cubicBezTo>
                  <a:pt x="4137" y="1870"/>
                  <a:pt x="4165" y="1863"/>
                  <a:pt x="4192" y="1848"/>
                </a:cubicBezTo>
                <a:cubicBezTo>
                  <a:pt x="4275" y="1800"/>
                  <a:pt x="4299" y="1693"/>
                  <a:pt x="4251" y="1610"/>
                </a:cubicBezTo>
                <a:cubicBezTo>
                  <a:pt x="4192" y="1514"/>
                  <a:pt x="4120" y="1419"/>
                  <a:pt x="4049" y="1324"/>
                </a:cubicBezTo>
                <a:cubicBezTo>
                  <a:pt x="3918" y="955"/>
                  <a:pt x="3763" y="657"/>
                  <a:pt x="3644" y="443"/>
                </a:cubicBezTo>
                <a:close/>
                <a:moveTo>
                  <a:pt x="6120" y="1562"/>
                </a:moveTo>
                <a:cubicBezTo>
                  <a:pt x="6597" y="1562"/>
                  <a:pt x="7013" y="1741"/>
                  <a:pt x="7287" y="1895"/>
                </a:cubicBezTo>
                <a:cubicBezTo>
                  <a:pt x="6716" y="2015"/>
                  <a:pt x="5620" y="2336"/>
                  <a:pt x="4489" y="3038"/>
                </a:cubicBezTo>
                <a:cubicBezTo>
                  <a:pt x="4608" y="2241"/>
                  <a:pt x="5144" y="1753"/>
                  <a:pt x="5656" y="1622"/>
                </a:cubicBezTo>
                <a:cubicBezTo>
                  <a:pt x="5799" y="1586"/>
                  <a:pt x="5966" y="1562"/>
                  <a:pt x="6120" y="1562"/>
                </a:cubicBezTo>
                <a:close/>
                <a:moveTo>
                  <a:pt x="2565" y="2490"/>
                </a:moveTo>
                <a:cubicBezTo>
                  <a:pt x="2926" y="2490"/>
                  <a:pt x="3255" y="2578"/>
                  <a:pt x="3513" y="2753"/>
                </a:cubicBezTo>
                <a:cubicBezTo>
                  <a:pt x="3513" y="2753"/>
                  <a:pt x="3525" y="2753"/>
                  <a:pt x="3525" y="2777"/>
                </a:cubicBezTo>
                <a:cubicBezTo>
                  <a:pt x="3656" y="2907"/>
                  <a:pt x="3799" y="3050"/>
                  <a:pt x="3930" y="3205"/>
                </a:cubicBezTo>
                <a:cubicBezTo>
                  <a:pt x="3683" y="3183"/>
                  <a:pt x="3444" y="3173"/>
                  <a:pt x="3214" y="3173"/>
                </a:cubicBezTo>
                <a:cubicBezTo>
                  <a:pt x="2468" y="3173"/>
                  <a:pt x="1822" y="3277"/>
                  <a:pt x="1358" y="3396"/>
                </a:cubicBezTo>
                <a:cubicBezTo>
                  <a:pt x="1036" y="3467"/>
                  <a:pt x="774" y="3539"/>
                  <a:pt x="560" y="3622"/>
                </a:cubicBezTo>
                <a:cubicBezTo>
                  <a:pt x="834" y="3229"/>
                  <a:pt x="1334" y="2681"/>
                  <a:pt x="2084" y="2538"/>
                </a:cubicBezTo>
                <a:cubicBezTo>
                  <a:pt x="2248" y="2506"/>
                  <a:pt x="2410" y="2490"/>
                  <a:pt x="2565" y="2490"/>
                </a:cubicBezTo>
                <a:close/>
                <a:moveTo>
                  <a:pt x="3418" y="3515"/>
                </a:moveTo>
                <a:cubicBezTo>
                  <a:pt x="3691" y="3515"/>
                  <a:pt x="3989" y="3539"/>
                  <a:pt x="4275" y="3574"/>
                </a:cubicBezTo>
                <a:cubicBezTo>
                  <a:pt x="4477" y="3646"/>
                  <a:pt x="4668" y="3741"/>
                  <a:pt x="4846" y="3836"/>
                </a:cubicBezTo>
                <a:cubicBezTo>
                  <a:pt x="4704" y="4027"/>
                  <a:pt x="4465" y="4134"/>
                  <a:pt x="4227" y="4134"/>
                </a:cubicBezTo>
                <a:cubicBezTo>
                  <a:pt x="3834" y="4134"/>
                  <a:pt x="3513" y="3872"/>
                  <a:pt x="3418" y="3515"/>
                </a:cubicBezTo>
                <a:close/>
                <a:moveTo>
                  <a:pt x="5379" y="3205"/>
                </a:moveTo>
                <a:cubicBezTo>
                  <a:pt x="5749" y="3205"/>
                  <a:pt x="6090" y="3348"/>
                  <a:pt x="6394" y="3634"/>
                </a:cubicBezTo>
                <a:cubicBezTo>
                  <a:pt x="6859" y="4062"/>
                  <a:pt x="6966" y="4729"/>
                  <a:pt x="6978" y="5193"/>
                </a:cubicBezTo>
                <a:cubicBezTo>
                  <a:pt x="6597" y="4705"/>
                  <a:pt x="5835" y="3896"/>
                  <a:pt x="4692" y="3384"/>
                </a:cubicBezTo>
                <a:cubicBezTo>
                  <a:pt x="4787" y="3336"/>
                  <a:pt x="4906" y="3277"/>
                  <a:pt x="5049" y="3241"/>
                </a:cubicBezTo>
                <a:cubicBezTo>
                  <a:pt x="5161" y="3217"/>
                  <a:pt x="5271" y="3205"/>
                  <a:pt x="5379" y="3205"/>
                </a:cubicBezTo>
                <a:close/>
                <a:moveTo>
                  <a:pt x="3751" y="4360"/>
                </a:moveTo>
                <a:cubicBezTo>
                  <a:pt x="3834" y="4408"/>
                  <a:pt x="3942" y="4431"/>
                  <a:pt x="4049" y="4455"/>
                </a:cubicBezTo>
                <a:cubicBezTo>
                  <a:pt x="3691" y="5586"/>
                  <a:pt x="3537" y="7063"/>
                  <a:pt x="3584" y="8849"/>
                </a:cubicBezTo>
                <a:cubicBezTo>
                  <a:pt x="3620" y="9896"/>
                  <a:pt x="3703" y="10777"/>
                  <a:pt x="3763" y="11147"/>
                </a:cubicBezTo>
                <a:lnTo>
                  <a:pt x="3037" y="11147"/>
                </a:lnTo>
                <a:cubicBezTo>
                  <a:pt x="2989" y="10349"/>
                  <a:pt x="2858" y="6658"/>
                  <a:pt x="3751" y="4360"/>
                </a:cubicBezTo>
                <a:close/>
                <a:moveTo>
                  <a:pt x="3294" y="0"/>
                </a:moveTo>
                <a:cubicBezTo>
                  <a:pt x="3233" y="0"/>
                  <a:pt x="3176" y="32"/>
                  <a:pt x="3156" y="74"/>
                </a:cubicBezTo>
                <a:cubicBezTo>
                  <a:pt x="3120" y="133"/>
                  <a:pt x="3120" y="205"/>
                  <a:pt x="3156" y="252"/>
                </a:cubicBezTo>
                <a:cubicBezTo>
                  <a:pt x="3156" y="252"/>
                  <a:pt x="3287" y="443"/>
                  <a:pt x="3453" y="764"/>
                </a:cubicBezTo>
                <a:cubicBezTo>
                  <a:pt x="3001" y="466"/>
                  <a:pt x="2506" y="376"/>
                  <a:pt x="2072" y="376"/>
                </a:cubicBezTo>
                <a:cubicBezTo>
                  <a:pt x="1433" y="376"/>
                  <a:pt x="929" y="572"/>
                  <a:pt x="894" y="586"/>
                </a:cubicBezTo>
                <a:cubicBezTo>
                  <a:pt x="834" y="610"/>
                  <a:pt x="786" y="669"/>
                  <a:pt x="786" y="729"/>
                </a:cubicBezTo>
                <a:cubicBezTo>
                  <a:pt x="786" y="800"/>
                  <a:pt x="834" y="860"/>
                  <a:pt x="894" y="895"/>
                </a:cubicBezTo>
                <a:cubicBezTo>
                  <a:pt x="905" y="895"/>
                  <a:pt x="1858" y="1312"/>
                  <a:pt x="2882" y="2145"/>
                </a:cubicBezTo>
                <a:cubicBezTo>
                  <a:pt x="2768" y="2130"/>
                  <a:pt x="2646" y="2121"/>
                  <a:pt x="2521" y="2121"/>
                </a:cubicBezTo>
                <a:cubicBezTo>
                  <a:pt x="2360" y="2121"/>
                  <a:pt x="2192" y="2136"/>
                  <a:pt x="2025" y="2169"/>
                </a:cubicBezTo>
                <a:cubicBezTo>
                  <a:pt x="679" y="2443"/>
                  <a:pt x="60" y="3800"/>
                  <a:pt x="24" y="3860"/>
                </a:cubicBezTo>
                <a:cubicBezTo>
                  <a:pt x="1" y="3920"/>
                  <a:pt x="12" y="3991"/>
                  <a:pt x="60" y="4050"/>
                </a:cubicBezTo>
                <a:cubicBezTo>
                  <a:pt x="84" y="4074"/>
                  <a:pt x="132" y="4098"/>
                  <a:pt x="179" y="4098"/>
                </a:cubicBezTo>
                <a:cubicBezTo>
                  <a:pt x="203" y="4098"/>
                  <a:pt x="227" y="4098"/>
                  <a:pt x="251" y="4074"/>
                </a:cubicBezTo>
                <a:cubicBezTo>
                  <a:pt x="262" y="4074"/>
                  <a:pt x="1453" y="3527"/>
                  <a:pt x="3084" y="3479"/>
                </a:cubicBezTo>
                <a:cubicBezTo>
                  <a:pt x="3120" y="3753"/>
                  <a:pt x="3263" y="3991"/>
                  <a:pt x="3453" y="4158"/>
                </a:cubicBezTo>
                <a:cubicBezTo>
                  <a:pt x="3001" y="5253"/>
                  <a:pt x="2751" y="6777"/>
                  <a:pt x="2679" y="8682"/>
                </a:cubicBezTo>
                <a:cubicBezTo>
                  <a:pt x="2632" y="9789"/>
                  <a:pt x="2679" y="10742"/>
                  <a:pt x="2691" y="11123"/>
                </a:cubicBezTo>
                <a:lnTo>
                  <a:pt x="2513" y="11123"/>
                </a:lnTo>
                <a:cubicBezTo>
                  <a:pt x="2429" y="11123"/>
                  <a:pt x="2346" y="11194"/>
                  <a:pt x="2346" y="11278"/>
                </a:cubicBezTo>
                <a:cubicBezTo>
                  <a:pt x="2346" y="11373"/>
                  <a:pt x="2429" y="11444"/>
                  <a:pt x="2513" y="11444"/>
                </a:cubicBezTo>
                <a:lnTo>
                  <a:pt x="4311" y="11444"/>
                </a:lnTo>
                <a:cubicBezTo>
                  <a:pt x="4406" y="11444"/>
                  <a:pt x="4477" y="11373"/>
                  <a:pt x="4477" y="11278"/>
                </a:cubicBezTo>
                <a:cubicBezTo>
                  <a:pt x="4477" y="11194"/>
                  <a:pt x="4406" y="11123"/>
                  <a:pt x="4311" y="11123"/>
                </a:cubicBezTo>
                <a:lnTo>
                  <a:pt x="4108" y="11123"/>
                </a:lnTo>
                <a:cubicBezTo>
                  <a:pt x="4013" y="10361"/>
                  <a:pt x="3608" y="6801"/>
                  <a:pt x="4406" y="4420"/>
                </a:cubicBezTo>
                <a:cubicBezTo>
                  <a:pt x="4704" y="4372"/>
                  <a:pt x="4977" y="4217"/>
                  <a:pt x="5156" y="3979"/>
                </a:cubicBezTo>
                <a:cubicBezTo>
                  <a:pt x="6347" y="4717"/>
                  <a:pt x="6978" y="5717"/>
                  <a:pt x="6990" y="5729"/>
                </a:cubicBezTo>
                <a:cubicBezTo>
                  <a:pt x="7025" y="5777"/>
                  <a:pt x="7085" y="5801"/>
                  <a:pt x="7144" y="5801"/>
                </a:cubicBezTo>
                <a:lnTo>
                  <a:pt x="7168" y="5801"/>
                </a:lnTo>
                <a:cubicBezTo>
                  <a:pt x="7240" y="5789"/>
                  <a:pt x="7287" y="5729"/>
                  <a:pt x="7299" y="5670"/>
                </a:cubicBezTo>
                <a:cubicBezTo>
                  <a:pt x="7299" y="5658"/>
                  <a:pt x="7359" y="5289"/>
                  <a:pt x="7299" y="4824"/>
                </a:cubicBezTo>
                <a:cubicBezTo>
                  <a:pt x="7228" y="4193"/>
                  <a:pt x="7001" y="3693"/>
                  <a:pt x="6632" y="3348"/>
                </a:cubicBezTo>
                <a:cubicBezTo>
                  <a:pt x="6251" y="2991"/>
                  <a:pt x="5847" y="2860"/>
                  <a:pt x="5501" y="2848"/>
                </a:cubicBezTo>
                <a:cubicBezTo>
                  <a:pt x="6739" y="2253"/>
                  <a:pt x="7752" y="2098"/>
                  <a:pt x="7763" y="2098"/>
                </a:cubicBezTo>
                <a:cubicBezTo>
                  <a:pt x="7823" y="2086"/>
                  <a:pt x="7882" y="2038"/>
                  <a:pt x="7906" y="1979"/>
                </a:cubicBezTo>
                <a:cubicBezTo>
                  <a:pt x="7918" y="1955"/>
                  <a:pt x="7882" y="1884"/>
                  <a:pt x="7847" y="1836"/>
                </a:cubicBezTo>
                <a:cubicBezTo>
                  <a:pt x="7807" y="1806"/>
                  <a:pt x="7083" y="1226"/>
                  <a:pt x="6150" y="1226"/>
                </a:cubicBezTo>
                <a:cubicBezTo>
                  <a:pt x="5968" y="1226"/>
                  <a:pt x="5779" y="1248"/>
                  <a:pt x="5585" y="1300"/>
                </a:cubicBezTo>
                <a:cubicBezTo>
                  <a:pt x="5430" y="1336"/>
                  <a:pt x="5299" y="1383"/>
                  <a:pt x="5168" y="1455"/>
                </a:cubicBezTo>
                <a:cubicBezTo>
                  <a:pt x="5144" y="1407"/>
                  <a:pt x="5132" y="1360"/>
                  <a:pt x="5108" y="1300"/>
                </a:cubicBezTo>
                <a:cubicBezTo>
                  <a:pt x="4584" y="181"/>
                  <a:pt x="3382" y="2"/>
                  <a:pt x="3322" y="2"/>
                </a:cubicBezTo>
                <a:cubicBezTo>
                  <a:pt x="3313" y="1"/>
                  <a:pt x="3304" y="0"/>
                  <a:pt x="32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18" name="Google Shape;12918;p63"/>
          <p:cNvGrpSpPr/>
          <p:nvPr/>
        </p:nvGrpSpPr>
        <p:grpSpPr>
          <a:xfrm>
            <a:off x="7531277" y="2886354"/>
            <a:ext cx="185184" cy="367296"/>
            <a:chOff x="7531277" y="2886354"/>
            <a:chExt cx="185184" cy="367296"/>
          </a:xfrm>
        </p:grpSpPr>
        <p:sp>
          <p:nvSpPr>
            <p:cNvPr id="12919" name="Google Shape;12919;p63"/>
            <p:cNvSpPr/>
            <p:nvPr/>
          </p:nvSpPr>
          <p:spPr>
            <a:xfrm>
              <a:off x="7531277" y="2886354"/>
              <a:ext cx="185184" cy="367296"/>
            </a:xfrm>
            <a:custGeom>
              <a:avLst/>
              <a:gdLst/>
              <a:ahLst/>
              <a:cxnLst/>
              <a:rect l="l" t="t" r="r" b="b"/>
              <a:pathLst>
                <a:path w="5787" h="11478" extrusionOk="0">
                  <a:moveTo>
                    <a:pt x="2894" y="667"/>
                  </a:moveTo>
                  <a:lnTo>
                    <a:pt x="4810" y="5775"/>
                  </a:lnTo>
                  <a:lnTo>
                    <a:pt x="3977" y="5775"/>
                  </a:lnTo>
                  <a:cubicBezTo>
                    <a:pt x="3894" y="5775"/>
                    <a:pt x="3822" y="5846"/>
                    <a:pt x="3822" y="5942"/>
                  </a:cubicBezTo>
                  <a:cubicBezTo>
                    <a:pt x="3822" y="6025"/>
                    <a:pt x="3894" y="6096"/>
                    <a:pt x="3977" y="6096"/>
                  </a:cubicBezTo>
                  <a:lnTo>
                    <a:pt x="4179" y="6096"/>
                  </a:lnTo>
                  <a:lnTo>
                    <a:pt x="5156" y="8287"/>
                  </a:lnTo>
                  <a:lnTo>
                    <a:pt x="4513" y="8287"/>
                  </a:lnTo>
                  <a:cubicBezTo>
                    <a:pt x="4429" y="8287"/>
                    <a:pt x="4358" y="8359"/>
                    <a:pt x="4358" y="8454"/>
                  </a:cubicBezTo>
                  <a:cubicBezTo>
                    <a:pt x="4358" y="8549"/>
                    <a:pt x="4429" y="8620"/>
                    <a:pt x="4513" y="8620"/>
                  </a:cubicBezTo>
                  <a:lnTo>
                    <a:pt x="4632" y="8620"/>
                  </a:lnTo>
                  <a:lnTo>
                    <a:pt x="5310" y="9716"/>
                  </a:lnTo>
                  <a:lnTo>
                    <a:pt x="500" y="9716"/>
                  </a:lnTo>
                  <a:lnTo>
                    <a:pt x="1167" y="8620"/>
                  </a:lnTo>
                  <a:lnTo>
                    <a:pt x="2894" y="8620"/>
                  </a:lnTo>
                  <a:cubicBezTo>
                    <a:pt x="2977" y="8620"/>
                    <a:pt x="3060" y="8549"/>
                    <a:pt x="3060" y="8454"/>
                  </a:cubicBezTo>
                  <a:cubicBezTo>
                    <a:pt x="3060" y="8359"/>
                    <a:pt x="2977" y="8287"/>
                    <a:pt x="2894" y="8287"/>
                  </a:cubicBezTo>
                  <a:lnTo>
                    <a:pt x="631" y="8287"/>
                  </a:lnTo>
                  <a:lnTo>
                    <a:pt x="1608" y="6096"/>
                  </a:lnTo>
                  <a:lnTo>
                    <a:pt x="2346" y="6096"/>
                  </a:lnTo>
                  <a:cubicBezTo>
                    <a:pt x="2429" y="6096"/>
                    <a:pt x="2501" y="6025"/>
                    <a:pt x="2501" y="5942"/>
                  </a:cubicBezTo>
                  <a:cubicBezTo>
                    <a:pt x="2501" y="5846"/>
                    <a:pt x="2429" y="5775"/>
                    <a:pt x="2346" y="5775"/>
                  </a:cubicBezTo>
                  <a:lnTo>
                    <a:pt x="977" y="5775"/>
                  </a:lnTo>
                  <a:lnTo>
                    <a:pt x="2894" y="667"/>
                  </a:lnTo>
                  <a:close/>
                  <a:moveTo>
                    <a:pt x="3263" y="10049"/>
                  </a:moveTo>
                  <a:lnTo>
                    <a:pt x="3263" y="11145"/>
                  </a:lnTo>
                  <a:lnTo>
                    <a:pt x="2524" y="11145"/>
                  </a:lnTo>
                  <a:lnTo>
                    <a:pt x="2524" y="10049"/>
                  </a:lnTo>
                  <a:close/>
                  <a:moveTo>
                    <a:pt x="2882" y="0"/>
                  </a:moveTo>
                  <a:cubicBezTo>
                    <a:pt x="2810" y="0"/>
                    <a:pt x="2751" y="48"/>
                    <a:pt x="2715" y="108"/>
                  </a:cubicBezTo>
                  <a:lnTo>
                    <a:pt x="560" y="5870"/>
                  </a:lnTo>
                  <a:cubicBezTo>
                    <a:pt x="548" y="5906"/>
                    <a:pt x="548" y="5965"/>
                    <a:pt x="572" y="6013"/>
                  </a:cubicBezTo>
                  <a:cubicBezTo>
                    <a:pt x="596" y="6061"/>
                    <a:pt x="667" y="6084"/>
                    <a:pt x="703" y="6084"/>
                  </a:cubicBezTo>
                  <a:lnTo>
                    <a:pt x="1227" y="6084"/>
                  </a:lnTo>
                  <a:lnTo>
                    <a:pt x="203" y="8359"/>
                  </a:lnTo>
                  <a:cubicBezTo>
                    <a:pt x="167" y="8406"/>
                    <a:pt x="191" y="8478"/>
                    <a:pt x="215" y="8525"/>
                  </a:cubicBezTo>
                  <a:cubicBezTo>
                    <a:pt x="250" y="8573"/>
                    <a:pt x="298" y="8597"/>
                    <a:pt x="369" y="8597"/>
                  </a:cubicBezTo>
                  <a:lnTo>
                    <a:pt x="750" y="8597"/>
                  </a:lnTo>
                  <a:lnTo>
                    <a:pt x="36" y="9787"/>
                  </a:lnTo>
                  <a:cubicBezTo>
                    <a:pt x="0" y="9835"/>
                    <a:pt x="0" y="9906"/>
                    <a:pt x="36" y="9954"/>
                  </a:cubicBezTo>
                  <a:cubicBezTo>
                    <a:pt x="72" y="10013"/>
                    <a:pt x="119" y="10049"/>
                    <a:pt x="191" y="10049"/>
                  </a:cubicBezTo>
                  <a:lnTo>
                    <a:pt x="2179" y="10049"/>
                  </a:lnTo>
                  <a:lnTo>
                    <a:pt x="2179" y="11145"/>
                  </a:lnTo>
                  <a:lnTo>
                    <a:pt x="1989" y="11145"/>
                  </a:lnTo>
                  <a:cubicBezTo>
                    <a:pt x="1893" y="11145"/>
                    <a:pt x="1822" y="11228"/>
                    <a:pt x="1822" y="11311"/>
                  </a:cubicBezTo>
                  <a:cubicBezTo>
                    <a:pt x="1822" y="11407"/>
                    <a:pt x="1893" y="11478"/>
                    <a:pt x="1989" y="11478"/>
                  </a:cubicBezTo>
                  <a:lnTo>
                    <a:pt x="3786" y="11478"/>
                  </a:lnTo>
                  <a:cubicBezTo>
                    <a:pt x="3870" y="11478"/>
                    <a:pt x="3953" y="11407"/>
                    <a:pt x="3953" y="11311"/>
                  </a:cubicBezTo>
                  <a:cubicBezTo>
                    <a:pt x="3953" y="11228"/>
                    <a:pt x="3870" y="11145"/>
                    <a:pt x="3786" y="11145"/>
                  </a:cubicBezTo>
                  <a:lnTo>
                    <a:pt x="3596" y="11145"/>
                  </a:lnTo>
                  <a:lnTo>
                    <a:pt x="3596" y="10049"/>
                  </a:lnTo>
                  <a:lnTo>
                    <a:pt x="5584" y="10049"/>
                  </a:lnTo>
                  <a:cubicBezTo>
                    <a:pt x="5644" y="10049"/>
                    <a:pt x="5703" y="10013"/>
                    <a:pt x="5739" y="9954"/>
                  </a:cubicBezTo>
                  <a:cubicBezTo>
                    <a:pt x="5787" y="9918"/>
                    <a:pt x="5787" y="9859"/>
                    <a:pt x="5739" y="9787"/>
                  </a:cubicBezTo>
                  <a:lnTo>
                    <a:pt x="5025" y="8597"/>
                  </a:lnTo>
                  <a:lnTo>
                    <a:pt x="5406" y="8597"/>
                  </a:lnTo>
                  <a:cubicBezTo>
                    <a:pt x="5465" y="8597"/>
                    <a:pt x="5513" y="8573"/>
                    <a:pt x="5549" y="8525"/>
                  </a:cubicBezTo>
                  <a:cubicBezTo>
                    <a:pt x="5572" y="8490"/>
                    <a:pt x="5572" y="8418"/>
                    <a:pt x="5561" y="8359"/>
                  </a:cubicBezTo>
                  <a:lnTo>
                    <a:pt x="4537" y="6084"/>
                  </a:lnTo>
                  <a:lnTo>
                    <a:pt x="5049" y="6084"/>
                  </a:lnTo>
                  <a:cubicBezTo>
                    <a:pt x="5108" y="6084"/>
                    <a:pt x="5156" y="6061"/>
                    <a:pt x="5191" y="6013"/>
                  </a:cubicBezTo>
                  <a:cubicBezTo>
                    <a:pt x="5215" y="5965"/>
                    <a:pt x="5227" y="5906"/>
                    <a:pt x="5203" y="5870"/>
                  </a:cubicBezTo>
                  <a:lnTo>
                    <a:pt x="3048" y="108"/>
                  </a:lnTo>
                  <a:cubicBezTo>
                    <a:pt x="3013" y="48"/>
                    <a:pt x="2953" y="0"/>
                    <a:pt x="288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0" name="Google Shape;12920;p63"/>
            <p:cNvSpPr/>
            <p:nvPr/>
          </p:nvSpPr>
          <p:spPr>
            <a:xfrm>
              <a:off x="7642157" y="3151154"/>
              <a:ext cx="16032" cy="10688"/>
            </a:xfrm>
            <a:custGeom>
              <a:avLst/>
              <a:gdLst/>
              <a:ahLst/>
              <a:cxnLst/>
              <a:rect l="l" t="t" r="r" b="b"/>
              <a:pathLst>
                <a:path w="501" h="334" extrusionOk="0">
                  <a:moveTo>
                    <a:pt x="155" y="0"/>
                  </a:moveTo>
                  <a:cubicBezTo>
                    <a:pt x="71" y="0"/>
                    <a:pt x="0" y="72"/>
                    <a:pt x="0" y="167"/>
                  </a:cubicBezTo>
                  <a:cubicBezTo>
                    <a:pt x="0" y="250"/>
                    <a:pt x="71" y="334"/>
                    <a:pt x="155" y="334"/>
                  </a:cubicBezTo>
                  <a:lnTo>
                    <a:pt x="333" y="334"/>
                  </a:lnTo>
                  <a:cubicBezTo>
                    <a:pt x="429" y="334"/>
                    <a:pt x="500" y="250"/>
                    <a:pt x="500" y="167"/>
                  </a:cubicBezTo>
                  <a:cubicBezTo>
                    <a:pt x="500" y="72"/>
                    <a:pt x="429" y="0"/>
                    <a:pt x="3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1" name="Google Shape;12921;p63"/>
            <p:cNvSpPr/>
            <p:nvPr/>
          </p:nvSpPr>
          <p:spPr>
            <a:xfrm>
              <a:off x="7625005" y="3070738"/>
              <a:ext cx="16032" cy="10336"/>
            </a:xfrm>
            <a:custGeom>
              <a:avLst/>
              <a:gdLst/>
              <a:ahLst/>
              <a:cxnLst/>
              <a:rect l="l" t="t" r="r" b="b"/>
              <a:pathLst>
                <a:path w="501" h="323" extrusionOk="0">
                  <a:moveTo>
                    <a:pt x="155" y="1"/>
                  </a:moveTo>
                  <a:cubicBezTo>
                    <a:pt x="72" y="1"/>
                    <a:pt x="0" y="72"/>
                    <a:pt x="0" y="168"/>
                  </a:cubicBezTo>
                  <a:cubicBezTo>
                    <a:pt x="0" y="251"/>
                    <a:pt x="72" y="322"/>
                    <a:pt x="155" y="322"/>
                  </a:cubicBezTo>
                  <a:lnTo>
                    <a:pt x="334" y="322"/>
                  </a:lnTo>
                  <a:cubicBezTo>
                    <a:pt x="429" y="322"/>
                    <a:pt x="500" y="251"/>
                    <a:pt x="500" y="168"/>
                  </a:cubicBezTo>
                  <a:cubicBezTo>
                    <a:pt x="500" y="72"/>
                    <a:pt x="429" y="1"/>
                    <a:pt x="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22" name="Google Shape;12922;p63"/>
          <p:cNvGrpSpPr/>
          <p:nvPr/>
        </p:nvGrpSpPr>
        <p:grpSpPr>
          <a:xfrm>
            <a:off x="6926637" y="2886738"/>
            <a:ext cx="297184" cy="367296"/>
            <a:chOff x="6926637" y="2886738"/>
            <a:chExt cx="297184" cy="367296"/>
          </a:xfrm>
        </p:grpSpPr>
        <p:sp>
          <p:nvSpPr>
            <p:cNvPr id="12923" name="Google Shape;12923;p63"/>
            <p:cNvSpPr/>
            <p:nvPr/>
          </p:nvSpPr>
          <p:spPr>
            <a:xfrm>
              <a:off x="7006637" y="2961202"/>
              <a:ext cx="106720" cy="100064"/>
            </a:xfrm>
            <a:custGeom>
              <a:avLst/>
              <a:gdLst/>
              <a:ahLst/>
              <a:cxnLst/>
              <a:rect l="l" t="t" r="r" b="b"/>
              <a:pathLst>
                <a:path w="3335" h="3127" extrusionOk="0">
                  <a:moveTo>
                    <a:pt x="2155" y="1"/>
                  </a:moveTo>
                  <a:cubicBezTo>
                    <a:pt x="1646" y="1"/>
                    <a:pt x="1141" y="200"/>
                    <a:pt x="762" y="578"/>
                  </a:cubicBezTo>
                  <a:cubicBezTo>
                    <a:pt x="108" y="1233"/>
                    <a:pt x="0" y="2281"/>
                    <a:pt x="512" y="3055"/>
                  </a:cubicBezTo>
                  <a:cubicBezTo>
                    <a:pt x="536" y="3091"/>
                    <a:pt x="596" y="3126"/>
                    <a:pt x="643" y="3126"/>
                  </a:cubicBezTo>
                  <a:cubicBezTo>
                    <a:pt x="667" y="3126"/>
                    <a:pt x="703" y="3114"/>
                    <a:pt x="727" y="3091"/>
                  </a:cubicBezTo>
                  <a:cubicBezTo>
                    <a:pt x="810" y="3055"/>
                    <a:pt x="834" y="2948"/>
                    <a:pt x="774" y="2852"/>
                  </a:cubicBezTo>
                  <a:cubicBezTo>
                    <a:pt x="346" y="2221"/>
                    <a:pt x="429" y="1352"/>
                    <a:pt x="989" y="805"/>
                  </a:cubicBezTo>
                  <a:cubicBezTo>
                    <a:pt x="1306" y="488"/>
                    <a:pt x="1726" y="322"/>
                    <a:pt x="2149" y="322"/>
                  </a:cubicBezTo>
                  <a:cubicBezTo>
                    <a:pt x="2457" y="322"/>
                    <a:pt x="2766" y="410"/>
                    <a:pt x="3036" y="590"/>
                  </a:cubicBezTo>
                  <a:cubicBezTo>
                    <a:pt x="3065" y="609"/>
                    <a:pt x="3099" y="619"/>
                    <a:pt x="3134" y="619"/>
                  </a:cubicBezTo>
                  <a:cubicBezTo>
                    <a:pt x="3186" y="619"/>
                    <a:pt x="3239" y="597"/>
                    <a:pt x="3275" y="555"/>
                  </a:cubicBezTo>
                  <a:cubicBezTo>
                    <a:pt x="3334" y="471"/>
                    <a:pt x="3310" y="376"/>
                    <a:pt x="3227" y="328"/>
                  </a:cubicBezTo>
                  <a:cubicBezTo>
                    <a:pt x="2900" y="107"/>
                    <a:pt x="2527" y="1"/>
                    <a:pt x="2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4" name="Google Shape;12924;p63"/>
            <p:cNvSpPr/>
            <p:nvPr/>
          </p:nvSpPr>
          <p:spPr>
            <a:xfrm>
              <a:off x="7037485" y="2986738"/>
              <a:ext cx="106720" cy="100800"/>
            </a:xfrm>
            <a:custGeom>
              <a:avLst/>
              <a:gdLst/>
              <a:ahLst/>
              <a:cxnLst/>
              <a:rect l="l" t="t" r="r" b="b"/>
              <a:pathLst>
                <a:path w="3335" h="3150" extrusionOk="0">
                  <a:moveTo>
                    <a:pt x="2689" y="0"/>
                  </a:moveTo>
                  <a:cubicBezTo>
                    <a:pt x="2658" y="0"/>
                    <a:pt x="2626" y="10"/>
                    <a:pt x="2596" y="30"/>
                  </a:cubicBezTo>
                  <a:cubicBezTo>
                    <a:pt x="2525" y="78"/>
                    <a:pt x="2489" y="185"/>
                    <a:pt x="2549" y="269"/>
                  </a:cubicBezTo>
                  <a:cubicBezTo>
                    <a:pt x="2977" y="911"/>
                    <a:pt x="2894" y="1781"/>
                    <a:pt x="2346" y="2328"/>
                  </a:cubicBezTo>
                  <a:cubicBezTo>
                    <a:pt x="2025" y="2643"/>
                    <a:pt x="1605" y="2808"/>
                    <a:pt x="1183" y="2808"/>
                  </a:cubicBezTo>
                  <a:cubicBezTo>
                    <a:pt x="872" y="2808"/>
                    <a:pt x="560" y="2718"/>
                    <a:pt x="287" y="2531"/>
                  </a:cubicBezTo>
                  <a:cubicBezTo>
                    <a:pt x="261" y="2518"/>
                    <a:pt x="231" y="2511"/>
                    <a:pt x="200" y="2511"/>
                  </a:cubicBezTo>
                  <a:cubicBezTo>
                    <a:pt x="144" y="2511"/>
                    <a:pt x="87" y="2533"/>
                    <a:pt x="48" y="2578"/>
                  </a:cubicBezTo>
                  <a:cubicBezTo>
                    <a:pt x="1" y="2650"/>
                    <a:pt x="25" y="2757"/>
                    <a:pt x="96" y="2816"/>
                  </a:cubicBezTo>
                  <a:cubicBezTo>
                    <a:pt x="418" y="3043"/>
                    <a:pt x="799" y="3150"/>
                    <a:pt x="1180" y="3150"/>
                  </a:cubicBezTo>
                  <a:cubicBezTo>
                    <a:pt x="1691" y="3150"/>
                    <a:pt x="2192" y="2947"/>
                    <a:pt x="2584" y="2566"/>
                  </a:cubicBezTo>
                  <a:cubicBezTo>
                    <a:pt x="3239" y="1888"/>
                    <a:pt x="3335" y="852"/>
                    <a:pt x="2834" y="78"/>
                  </a:cubicBezTo>
                  <a:cubicBezTo>
                    <a:pt x="2804" y="32"/>
                    <a:pt x="2748" y="0"/>
                    <a:pt x="26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5" name="Google Shape;12925;p63"/>
            <p:cNvSpPr/>
            <p:nvPr/>
          </p:nvSpPr>
          <p:spPr>
            <a:xfrm>
              <a:off x="6926637" y="2886738"/>
              <a:ext cx="297184" cy="367296"/>
            </a:xfrm>
            <a:custGeom>
              <a:avLst/>
              <a:gdLst/>
              <a:ahLst/>
              <a:cxnLst/>
              <a:rect l="l" t="t" r="r" b="b"/>
              <a:pathLst>
                <a:path w="9287" h="11478" extrusionOk="0">
                  <a:moveTo>
                    <a:pt x="4644" y="441"/>
                  </a:moveTo>
                  <a:cubicBezTo>
                    <a:pt x="4822" y="691"/>
                    <a:pt x="5108" y="1191"/>
                    <a:pt x="4989" y="1631"/>
                  </a:cubicBezTo>
                  <a:cubicBezTo>
                    <a:pt x="4882" y="1608"/>
                    <a:pt x="4763" y="1608"/>
                    <a:pt x="4644" y="1608"/>
                  </a:cubicBezTo>
                  <a:cubicBezTo>
                    <a:pt x="4524" y="1608"/>
                    <a:pt x="4417" y="1608"/>
                    <a:pt x="4298" y="1631"/>
                  </a:cubicBezTo>
                  <a:cubicBezTo>
                    <a:pt x="4179" y="1191"/>
                    <a:pt x="4465" y="691"/>
                    <a:pt x="4644" y="441"/>
                  </a:cubicBezTo>
                  <a:close/>
                  <a:moveTo>
                    <a:pt x="3167" y="738"/>
                  </a:moveTo>
                  <a:lnTo>
                    <a:pt x="3167" y="738"/>
                  </a:lnTo>
                  <a:cubicBezTo>
                    <a:pt x="3441" y="893"/>
                    <a:pt x="3905" y="1250"/>
                    <a:pt x="3941" y="1703"/>
                  </a:cubicBezTo>
                  <a:cubicBezTo>
                    <a:pt x="3727" y="1762"/>
                    <a:pt x="3512" y="1846"/>
                    <a:pt x="3322" y="1965"/>
                  </a:cubicBezTo>
                  <a:cubicBezTo>
                    <a:pt x="3036" y="1608"/>
                    <a:pt x="3108" y="1036"/>
                    <a:pt x="3167" y="738"/>
                  </a:cubicBezTo>
                  <a:close/>
                  <a:moveTo>
                    <a:pt x="6120" y="738"/>
                  </a:moveTo>
                  <a:lnTo>
                    <a:pt x="6120" y="738"/>
                  </a:lnTo>
                  <a:cubicBezTo>
                    <a:pt x="6179" y="1048"/>
                    <a:pt x="6251" y="1608"/>
                    <a:pt x="5965" y="1965"/>
                  </a:cubicBezTo>
                  <a:cubicBezTo>
                    <a:pt x="5775" y="1846"/>
                    <a:pt x="5572" y="1774"/>
                    <a:pt x="5346" y="1703"/>
                  </a:cubicBezTo>
                  <a:cubicBezTo>
                    <a:pt x="5406" y="1250"/>
                    <a:pt x="5870" y="893"/>
                    <a:pt x="6120" y="738"/>
                  </a:cubicBezTo>
                  <a:close/>
                  <a:moveTo>
                    <a:pt x="1917" y="1572"/>
                  </a:moveTo>
                  <a:lnTo>
                    <a:pt x="1917" y="1572"/>
                  </a:lnTo>
                  <a:cubicBezTo>
                    <a:pt x="2024" y="1584"/>
                    <a:pt x="2155" y="1608"/>
                    <a:pt x="2310" y="1667"/>
                  </a:cubicBezTo>
                  <a:cubicBezTo>
                    <a:pt x="2548" y="1762"/>
                    <a:pt x="2858" y="1905"/>
                    <a:pt x="3012" y="2179"/>
                  </a:cubicBezTo>
                  <a:cubicBezTo>
                    <a:pt x="2834" y="2310"/>
                    <a:pt x="2667" y="2477"/>
                    <a:pt x="2536" y="2655"/>
                  </a:cubicBezTo>
                  <a:cubicBezTo>
                    <a:pt x="2143" y="2441"/>
                    <a:pt x="1977" y="1881"/>
                    <a:pt x="1917" y="1572"/>
                  </a:cubicBezTo>
                  <a:close/>
                  <a:moveTo>
                    <a:pt x="7382" y="1572"/>
                  </a:moveTo>
                  <a:cubicBezTo>
                    <a:pt x="7370" y="1667"/>
                    <a:pt x="7334" y="1810"/>
                    <a:pt x="7275" y="1953"/>
                  </a:cubicBezTo>
                  <a:cubicBezTo>
                    <a:pt x="7191" y="2191"/>
                    <a:pt x="7037" y="2501"/>
                    <a:pt x="6775" y="2655"/>
                  </a:cubicBezTo>
                  <a:cubicBezTo>
                    <a:pt x="6632" y="2477"/>
                    <a:pt x="6477" y="2310"/>
                    <a:pt x="6298" y="2179"/>
                  </a:cubicBezTo>
                  <a:cubicBezTo>
                    <a:pt x="6501" y="1774"/>
                    <a:pt x="7072" y="1631"/>
                    <a:pt x="7382" y="1572"/>
                  </a:cubicBezTo>
                  <a:close/>
                  <a:moveTo>
                    <a:pt x="1642" y="2755"/>
                  </a:moveTo>
                  <a:cubicBezTo>
                    <a:pt x="1872" y="2755"/>
                    <a:pt x="2131" y="2801"/>
                    <a:pt x="2322" y="2953"/>
                  </a:cubicBezTo>
                  <a:cubicBezTo>
                    <a:pt x="2203" y="3144"/>
                    <a:pt x="2131" y="3358"/>
                    <a:pt x="2060" y="3572"/>
                  </a:cubicBezTo>
                  <a:cubicBezTo>
                    <a:pt x="1607" y="3548"/>
                    <a:pt x="1250" y="3084"/>
                    <a:pt x="1084" y="2822"/>
                  </a:cubicBezTo>
                  <a:cubicBezTo>
                    <a:pt x="1191" y="2786"/>
                    <a:pt x="1322" y="2774"/>
                    <a:pt x="1476" y="2763"/>
                  </a:cubicBezTo>
                  <a:cubicBezTo>
                    <a:pt x="1529" y="2758"/>
                    <a:pt x="1585" y="2755"/>
                    <a:pt x="1642" y="2755"/>
                  </a:cubicBezTo>
                  <a:close/>
                  <a:moveTo>
                    <a:pt x="7670" y="2763"/>
                  </a:moveTo>
                  <a:cubicBezTo>
                    <a:pt x="7877" y="2763"/>
                    <a:pt x="8075" y="2795"/>
                    <a:pt x="8215" y="2822"/>
                  </a:cubicBezTo>
                  <a:cubicBezTo>
                    <a:pt x="8156" y="2905"/>
                    <a:pt x="8084" y="3013"/>
                    <a:pt x="7977" y="3132"/>
                  </a:cubicBezTo>
                  <a:cubicBezTo>
                    <a:pt x="7799" y="3322"/>
                    <a:pt x="7549" y="3560"/>
                    <a:pt x="7239" y="3596"/>
                  </a:cubicBezTo>
                  <a:cubicBezTo>
                    <a:pt x="7180" y="3370"/>
                    <a:pt x="7084" y="3155"/>
                    <a:pt x="6965" y="2965"/>
                  </a:cubicBezTo>
                  <a:cubicBezTo>
                    <a:pt x="7160" y="2809"/>
                    <a:pt x="7422" y="2763"/>
                    <a:pt x="7670" y="2763"/>
                  </a:cubicBezTo>
                  <a:close/>
                  <a:moveTo>
                    <a:pt x="7544" y="3920"/>
                  </a:moveTo>
                  <a:cubicBezTo>
                    <a:pt x="7912" y="3920"/>
                    <a:pt x="8297" y="4139"/>
                    <a:pt x="8513" y="4287"/>
                  </a:cubicBezTo>
                  <a:cubicBezTo>
                    <a:pt x="8430" y="4346"/>
                    <a:pt x="8311" y="4417"/>
                    <a:pt x="8168" y="4477"/>
                  </a:cubicBezTo>
                  <a:cubicBezTo>
                    <a:pt x="7983" y="4569"/>
                    <a:pt x="7748" y="4655"/>
                    <a:pt x="7512" y="4655"/>
                  </a:cubicBezTo>
                  <a:cubicBezTo>
                    <a:pt x="7445" y="4655"/>
                    <a:pt x="7377" y="4648"/>
                    <a:pt x="7311" y="4632"/>
                  </a:cubicBezTo>
                  <a:cubicBezTo>
                    <a:pt x="7322" y="4525"/>
                    <a:pt x="7322" y="4406"/>
                    <a:pt x="7322" y="4287"/>
                  </a:cubicBezTo>
                  <a:cubicBezTo>
                    <a:pt x="7322" y="4167"/>
                    <a:pt x="7322" y="4072"/>
                    <a:pt x="7311" y="3953"/>
                  </a:cubicBezTo>
                  <a:cubicBezTo>
                    <a:pt x="7386" y="3930"/>
                    <a:pt x="7465" y="3920"/>
                    <a:pt x="7544" y="3920"/>
                  </a:cubicBezTo>
                  <a:close/>
                  <a:moveTo>
                    <a:pt x="1744" y="3920"/>
                  </a:moveTo>
                  <a:cubicBezTo>
                    <a:pt x="1823" y="3920"/>
                    <a:pt x="1901" y="3930"/>
                    <a:pt x="1977" y="3953"/>
                  </a:cubicBezTo>
                  <a:cubicBezTo>
                    <a:pt x="1965" y="4048"/>
                    <a:pt x="1965" y="4167"/>
                    <a:pt x="1965" y="4287"/>
                  </a:cubicBezTo>
                  <a:cubicBezTo>
                    <a:pt x="1965" y="4406"/>
                    <a:pt x="1965" y="4513"/>
                    <a:pt x="1977" y="4632"/>
                  </a:cubicBezTo>
                  <a:cubicBezTo>
                    <a:pt x="1903" y="4654"/>
                    <a:pt x="1827" y="4664"/>
                    <a:pt x="1751" y="4664"/>
                  </a:cubicBezTo>
                  <a:cubicBezTo>
                    <a:pt x="1383" y="4664"/>
                    <a:pt x="1003" y="4434"/>
                    <a:pt x="786" y="4287"/>
                  </a:cubicBezTo>
                  <a:cubicBezTo>
                    <a:pt x="1002" y="4139"/>
                    <a:pt x="1379" y="3920"/>
                    <a:pt x="1744" y="3920"/>
                  </a:cubicBezTo>
                  <a:close/>
                  <a:moveTo>
                    <a:pt x="7251" y="5001"/>
                  </a:moveTo>
                  <a:cubicBezTo>
                    <a:pt x="7680" y="5049"/>
                    <a:pt x="8037" y="5513"/>
                    <a:pt x="8215" y="5763"/>
                  </a:cubicBezTo>
                  <a:cubicBezTo>
                    <a:pt x="8108" y="5799"/>
                    <a:pt x="7977" y="5811"/>
                    <a:pt x="7834" y="5822"/>
                  </a:cubicBezTo>
                  <a:cubicBezTo>
                    <a:pt x="7790" y="5824"/>
                    <a:pt x="7743" y="5826"/>
                    <a:pt x="7695" y="5826"/>
                  </a:cubicBezTo>
                  <a:cubicBezTo>
                    <a:pt x="7451" y="5826"/>
                    <a:pt x="7176" y="5791"/>
                    <a:pt x="6977" y="5632"/>
                  </a:cubicBezTo>
                  <a:cubicBezTo>
                    <a:pt x="7096" y="5441"/>
                    <a:pt x="7180" y="5227"/>
                    <a:pt x="7251" y="5001"/>
                  </a:cubicBezTo>
                  <a:close/>
                  <a:moveTo>
                    <a:pt x="2072" y="4989"/>
                  </a:moveTo>
                  <a:cubicBezTo>
                    <a:pt x="2131" y="5215"/>
                    <a:pt x="2215" y="5418"/>
                    <a:pt x="2334" y="5608"/>
                  </a:cubicBezTo>
                  <a:cubicBezTo>
                    <a:pt x="2127" y="5775"/>
                    <a:pt x="1853" y="5826"/>
                    <a:pt x="1600" y="5826"/>
                  </a:cubicBezTo>
                  <a:cubicBezTo>
                    <a:pt x="1401" y="5826"/>
                    <a:pt x="1214" y="5794"/>
                    <a:pt x="1084" y="5763"/>
                  </a:cubicBezTo>
                  <a:cubicBezTo>
                    <a:pt x="1143" y="5668"/>
                    <a:pt x="1226" y="5572"/>
                    <a:pt x="1322" y="5453"/>
                  </a:cubicBezTo>
                  <a:cubicBezTo>
                    <a:pt x="1500" y="5263"/>
                    <a:pt x="1762" y="5013"/>
                    <a:pt x="2072" y="4989"/>
                  </a:cubicBezTo>
                  <a:close/>
                  <a:moveTo>
                    <a:pt x="4644" y="1941"/>
                  </a:moveTo>
                  <a:cubicBezTo>
                    <a:pt x="5941" y="1941"/>
                    <a:pt x="6989" y="3001"/>
                    <a:pt x="6989" y="4287"/>
                  </a:cubicBezTo>
                  <a:cubicBezTo>
                    <a:pt x="6989" y="5584"/>
                    <a:pt x="5941" y="6644"/>
                    <a:pt x="4644" y="6644"/>
                  </a:cubicBezTo>
                  <a:cubicBezTo>
                    <a:pt x="3346" y="6644"/>
                    <a:pt x="2298" y="5584"/>
                    <a:pt x="2298" y="4287"/>
                  </a:cubicBezTo>
                  <a:cubicBezTo>
                    <a:pt x="2298" y="2989"/>
                    <a:pt x="3346" y="1941"/>
                    <a:pt x="4644" y="1941"/>
                  </a:cubicBezTo>
                  <a:close/>
                  <a:moveTo>
                    <a:pt x="2512" y="5941"/>
                  </a:moveTo>
                  <a:cubicBezTo>
                    <a:pt x="2655" y="6120"/>
                    <a:pt x="2810" y="6287"/>
                    <a:pt x="2989" y="6418"/>
                  </a:cubicBezTo>
                  <a:cubicBezTo>
                    <a:pt x="2798" y="6799"/>
                    <a:pt x="2238" y="6965"/>
                    <a:pt x="1917" y="7025"/>
                  </a:cubicBezTo>
                  <a:cubicBezTo>
                    <a:pt x="1929" y="6918"/>
                    <a:pt x="1965" y="6787"/>
                    <a:pt x="2012" y="6656"/>
                  </a:cubicBezTo>
                  <a:cubicBezTo>
                    <a:pt x="2096" y="6406"/>
                    <a:pt x="2250" y="6096"/>
                    <a:pt x="2512" y="5941"/>
                  </a:cubicBezTo>
                  <a:close/>
                  <a:moveTo>
                    <a:pt x="6763" y="5941"/>
                  </a:moveTo>
                  <a:cubicBezTo>
                    <a:pt x="7144" y="6156"/>
                    <a:pt x="7311" y="6715"/>
                    <a:pt x="7370" y="7025"/>
                  </a:cubicBezTo>
                  <a:cubicBezTo>
                    <a:pt x="7275" y="7001"/>
                    <a:pt x="7144" y="6965"/>
                    <a:pt x="7001" y="6930"/>
                  </a:cubicBezTo>
                  <a:cubicBezTo>
                    <a:pt x="6739" y="6834"/>
                    <a:pt x="6429" y="6692"/>
                    <a:pt x="6287" y="6418"/>
                  </a:cubicBezTo>
                  <a:cubicBezTo>
                    <a:pt x="6465" y="6287"/>
                    <a:pt x="6620" y="6120"/>
                    <a:pt x="6763" y="5941"/>
                  </a:cubicBezTo>
                  <a:close/>
                  <a:moveTo>
                    <a:pt x="3322" y="6632"/>
                  </a:moveTo>
                  <a:cubicBezTo>
                    <a:pt x="3512" y="6751"/>
                    <a:pt x="3727" y="6823"/>
                    <a:pt x="3941" y="6894"/>
                  </a:cubicBezTo>
                  <a:cubicBezTo>
                    <a:pt x="3905" y="7323"/>
                    <a:pt x="3441" y="7680"/>
                    <a:pt x="3167" y="7858"/>
                  </a:cubicBezTo>
                  <a:cubicBezTo>
                    <a:pt x="3108" y="7549"/>
                    <a:pt x="3036" y="6989"/>
                    <a:pt x="3322" y="6632"/>
                  </a:cubicBezTo>
                  <a:close/>
                  <a:moveTo>
                    <a:pt x="5965" y="6608"/>
                  </a:moveTo>
                  <a:cubicBezTo>
                    <a:pt x="6263" y="6965"/>
                    <a:pt x="6191" y="7549"/>
                    <a:pt x="6120" y="7858"/>
                  </a:cubicBezTo>
                  <a:cubicBezTo>
                    <a:pt x="6025" y="7799"/>
                    <a:pt x="5929" y="7727"/>
                    <a:pt x="5810" y="7620"/>
                  </a:cubicBezTo>
                  <a:cubicBezTo>
                    <a:pt x="5608" y="7442"/>
                    <a:pt x="5370" y="7192"/>
                    <a:pt x="5346" y="6882"/>
                  </a:cubicBezTo>
                  <a:cubicBezTo>
                    <a:pt x="5572" y="6823"/>
                    <a:pt x="5775" y="6727"/>
                    <a:pt x="5965" y="6608"/>
                  </a:cubicBezTo>
                  <a:close/>
                  <a:moveTo>
                    <a:pt x="4989" y="6954"/>
                  </a:moveTo>
                  <a:cubicBezTo>
                    <a:pt x="5120" y="7382"/>
                    <a:pt x="4822" y="7894"/>
                    <a:pt x="4644" y="8156"/>
                  </a:cubicBezTo>
                  <a:cubicBezTo>
                    <a:pt x="4584" y="8073"/>
                    <a:pt x="4513" y="7954"/>
                    <a:pt x="4453" y="7823"/>
                  </a:cubicBezTo>
                  <a:cubicBezTo>
                    <a:pt x="4334" y="7585"/>
                    <a:pt x="4227" y="7251"/>
                    <a:pt x="4298" y="6954"/>
                  </a:cubicBezTo>
                  <a:lnTo>
                    <a:pt x="4298" y="6954"/>
                  </a:lnTo>
                  <a:cubicBezTo>
                    <a:pt x="4405" y="6965"/>
                    <a:pt x="4524" y="6965"/>
                    <a:pt x="4644" y="6965"/>
                  </a:cubicBezTo>
                  <a:cubicBezTo>
                    <a:pt x="4763" y="6965"/>
                    <a:pt x="4870" y="6965"/>
                    <a:pt x="4989" y="6954"/>
                  </a:cubicBezTo>
                  <a:close/>
                  <a:moveTo>
                    <a:pt x="488" y="7787"/>
                  </a:moveTo>
                  <a:lnTo>
                    <a:pt x="488" y="7787"/>
                  </a:lnTo>
                  <a:cubicBezTo>
                    <a:pt x="1774" y="8132"/>
                    <a:pt x="2608" y="8728"/>
                    <a:pt x="3084" y="9204"/>
                  </a:cubicBezTo>
                  <a:cubicBezTo>
                    <a:pt x="3370" y="9490"/>
                    <a:pt x="3572" y="9751"/>
                    <a:pt x="3691" y="9930"/>
                  </a:cubicBezTo>
                  <a:cubicBezTo>
                    <a:pt x="2322" y="9668"/>
                    <a:pt x="1500" y="9049"/>
                    <a:pt x="1060" y="8573"/>
                  </a:cubicBezTo>
                  <a:cubicBezTo>
                    <a:pt x="774" y="8275"/>
                    <a:pt x="595" y="8001"/>
                    <a:pt x="488" y="7787"/>
                  </a:cubicBezTo>
                  <a:close/>
                  <a:moveTo>
                    <a:pt x="8811" y="7787"/>
                  </a:moveTo>
                  <a:lnTo>
                    <a:pt x="8811" y="7787"/>
                  </a:lnTo>
                  <a:cubicBezTo>
                    <a:pt x="8704" y="7989"/>
                    <a:pt x="8525" y="8275"/>
                    <a:pt x="8251" y="8573"/>
                  </a:cubicBezTo>
                  <a:cubicBezTo>
                    <a:pt x="7787" y="9049"/>
                    <a:pt x="6977" y="9668"/>
                    <a:pt x="5632" y="9930"/>
                  </a:cubicBezTo>
                  <a:cubicBezTo>
                    <a:pt x="5965" y="9394"/>
                    <a:pt x="6894" y="8299"/>
                    <a:pt x="8811" y="7787"/>
                  </a:cubicBezTo>
                  <a:close/>
                  <a:moveTo>
                    <a:pt x="4644" y="0"/>
                  </a:moveTo>
                  <a:cubicBezTo>
                    <a:pt x="4584" y="0"/>
                    <a:pt x="4548" y="24"/>
                    <a:pt x="4513" y="60"/>
                  </a:cubicBezTo>
                  <a:cubicBezTo>
                    <a:pt x="4477" y="96"/>
                    <a:pt x="4120" y="512"/>
                    <a:pt x="3989" y="1036"/>
                  </a:cubicBezTo>
                  <a:cubicBezTo>
                    <a:pt x="3655" y="596"/>
                    <a:pt x="3167" y="346"/>
                    <a:pt x="3143" y="334"/>
                  </a:cubicBezTo>
                  <a:cubicBezTo>
                    <a:pt x="3114" y="326"/>
                    <a:pt x="3085" y="315"/>
                    <a:pt x="3057" y="315"/>
                  </a:cubicBezTo>
                  <a:cubicBezTo>
                    <a:pt x="3038" y="315"/>
                    <a:pt x="3019" y="320"/>
                    <a:pt x="3000" y="334"/>
                  </a:cubicBezTo>
                  <a:cubicBezTo>
                    <a:pt x="2965" y="346"/>
                    <a:pt x="2929" y="393"/>
                    <a:pt x="2917" y="441"/>
                  </a:cubicBezTo>
                  <a:cubicBezTo>
                    <a:pt x="2905" y="465"/>
                    <a:pt x="2739" y="1000"/>
                    <a:pt x="2798" y="1536"/>
                  </a:cubicBezTo>
                  <a:cubicBezTo>
                    <a:pt x="2334" y="1274"/>
                    <a:pt x="1774" y="1227"/>
                    <a:pt x="1738" y="1227"/>
                  </a:cubicBezTo>
                  <a:cubicBezTo>
                    <a:pt x="1691" y="1227"/>
                    <a:pt x="1655" y="1239"/>
                    <a:pt x="1607" y="1274"/>
                  </a:cubicBezTo>
                  <a:cubicBezTo>
                    <a:pt x="1572" y="1298"/>
                    <a:pt x="1548" y="1358"/>
                    <a:pt x="1560" y="1405"/>
                  </a:cubicBezTo>
                  <a:cubicBezTo>
                    <a:pt x="1560" y="1429"/>
                    <a:pt x="1607" y="2001"/>
                    <a:pt x="1869" y="2465"/>
                  </a:cubicBezTo>
                  <a:cubicBezTo>
                    <a:pt x="1769" y="2449"/>
                    <a:pt x="1670" y="2443"/>
                    <a:pt x="1574" y="2443"/>
                  </a:cubicBezTo>
                  <a:cubicBezTo>
                    <a:pt x="1158" y="2443"/>
                    <a:pt x="813" y="2565"/>
                    <a:pt x="774" y="2584"/>
                  </a:cubicBezTo>
                  <a:cubicBezTo>
                    <a:pt x="726" y="2596"/>
                    <a:pt x="679" y="2620"/>
                    <a:pt x="667" y="2667"/>
                  </a:cubicBezTo>
                  <a:cubicBezTo>
                    <a:pt x="655" y="2715"/>
                    <a:pt x="655" y="2763"/>
                    <a:pt x="667" y="2798"/>
                  </a:cubicBezTo>
                  <a:cubicBezTo>
                    <a:pt x="679" y="2834"/>
                    <a:pt x="941" y="3322"/>
                    <a:pt x="1369" y="3655"/>
                  </a:cubicBezTo>
                  <a:cubicBezTo>
                    <a:pt x="845" y="3786"/>
                    <a:pt x="429" y="4156"/>
                    <a:pt x="405" y="4167"/>
                  </a:cubicBezTo>
                  <a:cubicBezTo>
                    <a:pt x="369" y="4203"/>
                    <a:pt x="345" y="4251"/>
                    <a:pt x="345" y="4310"/>
                  </a:cubicBezTo>
                  <a:cubicBezTo>
                    <a:pt x="345" y="4346"/>
                    <a:pt x="357" y="4394"/>
                    <a:pt x="405" y="4441"/>
                  </a:cubicBezTo>
                  <a:cubicBezTo>
                    <a:pt x="429" y="4465"/>
                    <a:pt x="845" y="4822"/>
                    <a:pt x="1369" y="4965"/>
                  </a:cubicBezTo>
                  <a:cubicBezTo>
                    <a:pt x="941" y="5287"/>
                    <a:pt x="679" y="5775"/>
                    <a:pt x="667" y="5811"/>
                  </a:cubicBezTo>
                  <a:cubicBezTo>
                    <a:pt x="655" y="5858"/>
                    <a:pt x="643" y="5894"/>
                    <a:pt x="667" y="5941"/>
                  </a:cubicBezTo>
                  <a:cubicBezTo>
                    <a:pt x="679" y="5989"/>
                    <a:pt x="726" y="6013"/>
                    <a:pt x="774" y="6037"/>
                  </a:cubicBezTo>
                  <a:cubicBezTo>
                    <a:pt x="798" y="6049"/>
                    <a:pt x="1179" y="6168"/>
                    <a:pt x="1607" y="6168"/>
                  </a:cubicBezTo>
                  <a:cubicBezTo>
                    <a:pt x="1691" y="6168"/>
                    <a:pt x="1786" y="6168"/>
                    <a:pt x="1869" y="6156"/>
                  </a:cubicBezTo>
                  <a:lnTo>
                    <a:pt x="1869" y="6156"/>
                  </a:lnTo>
                  <a:cubicBezTo>
                    <a:pt x="1607" y="6608"/>
                    <a:pt x="1560" y="7180"/>
                    <a:pt x="1560" y="7204"/>
                  </a:cubicBezTo>
                  <a:cubicBezTo>
                    <a:pt x="1560" y="7251"/>
                    <a:pt x="1572" y="7299"/>
                    <a:pt x="1607" y="7346"/>
                  </a:cubicBezTo>
                  <a:cubicBezTo>
                    <a:pt x="1631" y="7370"/>
                    <a:pt x="1679" y="7382"/>
                    <a:pt x="1726" y="7382"/>
                  </a:cubicBezTo>
                  <a:lnTo>
                    <a:pt x="1738" y="7382"/>
                  </a:lnTo>
                  <a:cubicBezTo>
                    <a:pt x="1774" y="7382"/>
                    <a:pt x="2334" y="7346"/>
                    <a:pt x="2798" y="7073"/>
                  </a:cubicBezTo>
                  <a:lnTo>
                    <a:pt x="2798" y="7073"/>
                  </a:lnTo>
                  <a:cubicBezTo>
                    <a:pt x="2727" y="7608"/>
                    <a:pt x="2905" y="8132"/>
                    <a:pt x="2917" y="8180"/>
                  </a:cubicBezTo>
                  <a:cubicBezTo>
                    <a:pt x="2929" y="8216"/>
                    <a:pt x="2965" y="8263"/>
                    <a:pt x="3000" y="8275"/>
                  </a:cubicBezTo>
                  <a:cubicBezTo>
                    <a:pt x="3024" y="8299"/>
                    <a:pt x="3048" y="8299"/>
                    <a:pt x="3060" y="8299"/>
                  </a:cubicBezTo>
                  <a:cubicBezTo>
                    <a:pt x="3096" y="8299"/>
                    <a:pt x="3108" y="8299"/>
                    <a:pt x="3143" y="8275"/>
                  </a:cubicBezTo>
                  <a:cubicBezTo>
                    <a:pt x="3167" y="8263"/>
                    <a:pt x="3655" y="8013"/>
                    <a:pt x="3989" y="7585"/>
                  </a:cubicBezTo>
                  <a:cubicBezTo>
                    <a:pt x="4108" y="8013"/>
                    <a:pt x="4370" y="8370"/>
                    <a:pt x="4477" y="8501"/>
                  </a:cubicBezTo>
                  <a:lnTo>
                    <a:pt x="4477" y="10466"/>
                  </a:lnTo>
                  <a:cubicBezTo>
                    <a:pt x="4334" y="10287"/>
                    <a:pt x="4179" y="10121"/>
                    <a:pt x="4132" y="10085"/>
                  </a:cubicBezTo>
                  <a:cubicBezTo>
                    <a:pt x="4072" y="9966"/>
                    <a:pt x="3834" y="9501"/>
                    <a:pt x="3322" y="8978"/>
                  </a:cubicBezTo>
                  <a:cubicBezTo>
                    <a:pt x="2762" y="8442"/>
                    <a:pt x="1786" y="7727"/>
                    <a:pt x="226" y="7382"/>
                  </a:cubicBezTo>
                  <a:cubicBezTo>
                    <a:pt x="212" y="7379"/>
                    <a:pt x="198" y="7378"/>
                    <a:pt x="184" y="7378"/>
                  </a:cubicBezTo>
                  <a:cubicBezTo>
                    <a:pt x="139" y="7378"/>
                    <a:pt x="96" y="7393"/>
                    <a:pt x="60" y="7430"/>
                  </a:cubicBezTo>
                  <a:cubicBezTo>
                    <a:pt x="12" y="7477"/>
                    <a:pt x="0" y="7537"/>
                    <a:pt x="24" y="7596"/>
                  </a:cubicBezTo>
                  <a:cubicBezTo>
                    <a:pt x="24" y="7620"/>
                    <a:pt x="202" y="8180"/>
                    <a:pt x="786" y="8799"/>
                  </a:cubicBezTo>
                  <a:cubicBezTo>
                    <a:pt x="1310" y="9347"/>
                    <a:pt x="2274" y="10061"/>
                    <a:pt x="3893" y="10323"/>
                  </a:cubicBezTo>
                  <a:cubicBezTo>
                    <a:pt x="4001" y="10442"/>
                    <a:pt x="4334" y="10799"/>
                    <a:pt x="4465" y="11014"/>
                  </a:cubicBezTo>
                  <a:lnTo>
                    <a:pt x="4465" y="11311"/>
                  </a:lnTo>
                  <a:cubicBezTo>
                    <a:pt x="4465" y="11406"/>
                    <a:pt x="4536" y="11478"/>
                    <a:pt x="4632" y="11478"/>
                  </a:cubicBezTo>
                  <a:cubicBezTo>
                    <a:pt x="4715" y="11478"/>
                    <a:pt x="4786" y="11406"/>
                    <a:pt x="4786" y="11311"/>
                  </a:cubicBezTo>
                  <a:lnTo>
                    <a:pt x="4786" y="11014"/>
                  </a:lnTo>
                  <a:cubicBezTo>
                    <a:pt x="4941" y="10799"/>
                    <a:pt x="5251" y="10442"/>
                    <a:pt x="5358" y="10323"/>
                  </a:cubicBezTo>
                  <a:cubicBezTo>
                    <a:pt x="6989" y="10061"/>
                    <a:pt x="7942" y="9347"/>
                    <a:pt x="8465" y="8799"/>
                  </a:cubicBezTo>
                  <a:cubicBezTo>
                    <a:pt x="9049" y="8192"/>
                    <a:pt x="9227" y="7620"/>
                    <a:pt x="9227" y="7596"/>
                  </a:cubicBezTo>
                  <a:cubicBezTo>
                    <a:pt x="9287" y="7537"/>
                    <a:pt x="9275" y="7477"/>
                    <a:pt x="9227" y="7430"/>
                  </a:cubicBezTo>
                  <a:cubicBezTo>
                    <a:pt x="9191" y="7393"/>
                    <a:pt x="9148" y="7378"/>
                    <a:pt x="9103" y="7378"/>
                  </a:cubicBezTo>
                  <a:cubicBezTo>
                    <a:pt x="9089" y="7378"/>
                    <a:pt x="9075" y="7379"/>
                    <a:pt x="9061" y="7382"/>
                  </a:cubicBezTo>
                  <a:cubicBezTo>
                    <a:pt x="7501" y="7716"/>
                    <a:pt x="6525" y="8430"/>
                    <a:pt x="5965" y="8978"/>
                  </a:cubicBezTo>
                  <a:cubicBezTo>
                    <a:pt x="5453" y="9501"/>
                    <a:pt x="5215" y="9966"/>
                    <a:pt x="5155" y="10085"/>
                  </a:cubicBezTo>
                  <a:cubicBezTo>
                    <a:pt x="5108" y="10144"/>
                    <a:pt x="4953" y="10287"/>
                    <a:pt x="4810" y="10466"/>
                  </a:cubicBezTo>
                  <a:lnTo>
                    <a:pt x="4810" y="8501"/>
                  </a:lnTo>
                  <a:cubicBezTo>
                    <a:pt x="4917" y="8370"/>
                    <a:pt x="5179" y="8013"/>
                    <a:pt x="5298" y="7585"/>
                  </a:cubicBezTo>
                  <a:cubicBezTo>
                    <a:pt x="5632" y="8013"/>
                    <a:pt x="6120" y="8263"/>
                    <a:pt x="6144" y="8275"/>
                  </a:cubicBezTo>
                  <a:cubicBezTo>
                    <a:pt x="6179" y="8299"/>
                    <a:pt x="6191" y="8299"/>
                    <a:pt x="6227" y="8299"/>
                  </a:cubicBezTo>
                  <a:cubicBezTo>
                    <a:pt x="6239" y="8299"/>
                    <a:pt x="6263" y="8299"/>
                    <a:pt x="6287" y="8275"/>
                  </a:cubicBezTo>
                  <a:cubicBezTo>
                    <a:pt x="6322" y="8263"/>
                    <a:pt x="6358" y="8216"/>
                    <a:pt x="6370" y="8180"/>
                  </a:cubicBezTo>
                  <a:cubicBezTo>
                    <a:pt x="6382" y="8144"/>
                    <a:pt x="6549" y="7608"/>
                    <a:pt x="6489" y="7073"/>
                  </a:cubicBezTo>
                  <a:lnTo>
                    <a:pt x="6489" y="7073"/>
                  </a:lnTo>
                  <a:cubicBezTo>
                    <a:pt x="6953" y="7346"/>
                    <a:pt x="7513" y="7382"/>
                    <a:pt x="7549" y="7382"/>
                  </a:cubicBezTo>
                  <a:lnTo>
                    <a:pt x="7561" y="7382"/>
                  </a:lnTo>
                  <a:cubicBezTo>
                    <a:pt x="7608" y="7382"/>
                    <a:pt x="7656" y="7370"/>
                    <a:pt x="7680" y="7346"/>
                  </a:cubicBezTo>
                  <a:cubicBezTo>
                    <a:pt x="7715" y="7311"/>
                    <a:pt x="7739" y="7251"/>
                    <a:pt x="7727" y="7204"/>
                  </a:cubicBezTo>
                  <a:cubicBezTo>
                    <a:pt x="7727" y="7180"/>
                    <a:pt x="7680" y="6608"/>
                    <a:pt x="7418" y="6156"/>
                  </a:cubicBezTo>
                  <a:lnTo>
                    <a:pt x="7418" y="6156"/>
                  </a:lnTo>
                  <a:cubicBezTo>
                    <a:pt x="7501" y="6168"/>
                    <a:pt x="7596" y="6168"/>
                    <a:pt x="7680" y="6168"/>
                  </a:cubicBezTo>
                  <a:cubicBezTo>
                    <a:pt x="8108" y="6168"/>
                    <a:pt x="8489" y="6049"/>
                    <a:pt x="8513" y="6037"/>
                  </a:cubicBezTo>
                  <a:cubicBezTo>
                    <a:pt x="8561" y="6013"/>
                    <a:pt x="8596" y="5989"/>
                    <a:pt x="8620" y="5941"/>
                  </a:cubicBezTo>
                  <a:cubicBezTo>
                    <a:pt x="8632" y="5894"/>
                    <a:pt x="8632" y="5858"/>
                    <a:pt x="8620" y="5811"/>
                  </a:cubicBezTo>
                  <a:cubicBezTo>
                    <a:pt x="8608" y="5775"/>
                    <a:pt x="8346" y="5287"/>
                    <a:pt x="7918" y="4965"/>
                  </a:cubicBezTo>
                  <a:cubicBezTo>
                    <a:pt x="8442" y="4822"/>
                    <a:pt x="8858" y="4453"/>
                    <a:pt x="8882" y="4441"/>
                  </a:cubicBezTo>
                  <a:cubicBezTo>
                    <a:pt x="8918" y="4406"/>
                    <a:pt x="8942" y="4370"/>
                    <a:pt x="8942" y="4310"/>
                  </a:cubicBezTo>
                  <a:cubicBezTo>
                    <a:pt x="8942" y="4263"/>
                    <a:pt x="8930" y="4215"/>
                    <a:pt x="8882" y="4167"/>
                  </a:cubicBezTo>
                  <a:cubicBezTo>
                    <a:pt x="8858" y="4144"/>
                    <a:pt x="8442" y="3786"/>
                    <a:pt x="7918" y="3655"/>
                  </a:cubicBezTo>
                  <a:cubicBezTo>
                    <a:pt x="8346" y="3322"/>
                    <a:pt x="8596" y="2834"/>
                    <a:pt x="8620" y="2798"/>
                  </a:cubicBezTo>
                  <a:cubicBezTo>
                    <a:pt x="8632" y="2763"/>
                    <a:pt x="8644" y="2715"/>
                    <a:pt x="8620" y="2667"/>
                  </a:cubicBezTo>
                  <a:cubicBezTo>
                    <a:pt x="8608" y="2620"/>
                    <a:pt x="8561" y="2596"/>
                    <a:pt x="8513" y="2584"/>
                  </a:cubicBezTo>
                  <a:cubicBezTo>
                    <a:pt x="8483" y="2564"/>
                    <a:pt x="8108" y="2451"/>
                    <a:pt x="7664" y="2451"/>
                  </a:cubicBezTo>
                  <a:cubicBezTo>
                    <a:pt x="7580" y="2451"/>
                    <a:pt x="7493" y="2455"/>
                    <a:pt x="7406" y="2465"/>
                  </a:cubicBezTo>
                  <a:cubicBezTo>
                    <a:pt x="7680" y="2001"/>
                    <a:pt x="7727" y="1429"/>
                    <a:pt x="7727" y="1405"/>
                  </a:cubicBezTo>
                  <a:cubicBezTo>
                    <a:pt x="7727" y="1358"/>
                    <a:pt x="7703" y="1310"/>
                    <a:pt x="7680" y="1274"/>
                  </a:cubicBezTo>
                  <a:cubicBezTo>
                    <a:pt x="7650" y="1245"/>
                    <a:pt x="7605" y="1224"/>
                    <a:pt x="7570" y="1224"/>
                  </a:cubicBezTo>
                  <a:cubicBezTo>
                    <a:pt x="7562" y="1224"/>
                    <a:pt x="7555" y="1225"/>
                    <a:pt x="7549" y="1227"/>
                  </a:cubicBezTo>
                  <a:cubicBezTo>
                    <a:pt x="7513" y="1227"/>
                    <a:pt x="6953" y="1274"/>
                    <a:pt x="6489" y="1536"/>
                  </a:cubicBezTo>
                  <a:cubicBezTo>
                    <a:pt x="6560" y="1000"/>
                    <a:pt x="6382" y="477"/>
                    <a:pt x="6370" y="441"/>
                  </a:cubicBezTo>
                  <a:cubicBezTo>
                    <a:pt x="6358" y="393"/>
                    <a:pt x="6322" y="346"/>
                    <a:pt x="6287" y="334"/>
                  </a:cubicBezTo>
                  <a:cubicBezTo>
                    <a:pt x="6263" y="328"/>
                    <a:pt x="6239" y="325"/>
                    <a:pt x="6215" y="325"/>
                  </a:cubicBezTo>
                  <a:cubicBezTo>
                    <a:pt x="6191" y="325"/>
                    <a:pt x="6168" y="328"/>
                    <a:pt x="6144" y="334"/>
                  </a:cubicBezTo>
                  <a:cubicBezTo>
                    <a:pt x="6120" y="346"/>
                    <a:pt x="5620" y="596"/>
                    <a:pt x="5298" y="1036"/>
                  </a:cubicBezTo>
                  <a:cubicBezTo>
                    <a:pt x="5167" y="512"/>
                    <a:pt x="4786" y="96"/>
                    <a:pt x="4774" y="60"/>
                  </a:cubicBezTo>
                  <a:cubicBezTo>
                    <a:pt x="4751" y="36"/>
                    <a:pt x="4703" y="0"/>
                    <a:pt x="464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26" name="Google Shape;12926;p63"/>
          <p:cNvSpPr/>
          <p:nvPr/>
        </p:nvSpPr>
        <p:spPr>
          <a:xfrm>
            <a:off x="5255565" y="2885970"/>
            <a:ext cx="346368" cy="368064"/>
          </a:xfrm>
          <a:custGeom>
            <a:avLst/>
            <a:gdLst/>
            <a:ahLst/>
            <a:cxnLst/>
            <a:rect l="l" t="t" r="r" b="b"/>
            <a:pathLst>
              <a:path w="10824" h="11502" extrusionOk="0">
                <a:moveTo>
                  <a:pt x="5430" y="441"/>
                </a:moveTo>
                <a:cubicBezTo>
                  <a:pt x="5584" y="620"/>
                  <a:pt x="5846" y="977"/>
                  <a:pt x="6192" y="1453"/>
                </a:cubicBezTo>
                <a:cubicBezTo>
                  <a:pt x="5906" y="1727"/>
                  <a:pt x="5656" y="2013"/>
                  <a:pt x="5430" y="2275"/>
                </a:cubicBezTo>
                <a:cubicBezTo>
                  <a:pt x="5203" y="2013"/>
                  <a:pt x="4953" y="1727"/>
                  <a:pt x="4668" y="1453"/>
                </a:cubicBezTo>
                <a:cubicBezTo>
                  <a:pt x="5001" y="977"/>
                  <a:pt x="5287" y="643"/>
                  <a:pt x="5430" y="441"/>
                </a:cubicBezTo>
                <a:close/>
                <a:moveTo>
                  <a:pt x="6906" y="1274"/>
                </a:moveTo>
                <a:cubicBezTo>
                  <a:pt x="7204" y="1846"/>
                  <a:pt x="8061" y="3596"/>
                  <a:pt x="8061" y="4775"/>
                </a:cubicBezTo>
                <a:cubicBezTo>
                  <a:pt x="8061" y="5811"/>
                  <a:pt x="7454" y="6704"/>
                  <a:pt x="6596" y="7120"/>
                </a:cubicBezTo>
                <a:cubicBezTo>
                  <a:pt x="6632" y="7061"/>
                  <a:pt x="6680" y="7001"/>
                  <a:pt x="6715" y="6930"/>
                </a:cubicBezTo>
                <a:cubicBezTo>
                  <a:pt x="6954" y="6513"/>
                  <a:pt x="7037" y="5989"/>
                  <a:pt x="6977" y="5394"/>
                </a:cubicBezTo>
                <a:cubicBezTo>
                  <a:pt x="6906" y="4739"/>
                  <a:pt x="6656" y="4049"/>
                  <a:pt x="6215" y="3334"/>
                </a:cubicBezTo>
                <a:cubicBezTo>
                  <a:pt x="6192" y="3279"/>
                  <a:pt x="6138" y="3250"/>
                  <a:pt x="6076" y="3250"/>
                </a:cubicBezTo>
                <a:cubicBezTo>
                  <a:pt x="6044" y="3250"/>
                  <a:pt x="6010" y="3258"/>
                  <a:pt x="5977" y="3275"/>
                </a:cubicBezTo>
                <a:cubicBezTo>
                  <a:pt x="5906" y="3310"/>
                  <a:pt x="5882" y="3418"/>
                  <a:pt x="5918" y="3513"/>
                </a:cubicBezTo>
                <a:cubicBezTo>
                  <a:pt x="6680" y="4763"/>
                  <a:pt x="6858" y="5965"/>
                  <a:pt x="6418" y="6775"/>
                </a:cubicBezTo>
                <a:cubicBezTo>
                  <a:pt x="6180" y="7156"/>
                  <a:pt x="5822" y="7394"/>
                  <a:pt x="5430" y="7394"/>
                </a:cubicBezTo>
                <a:cubicBezTo>
                  <a:pt x="3989" y="7394"/>
                  <a:pt x="2810" y="6216"/>
                  <a:pt x="2810" y="4775"/>
                </a:cubicBezTo>
                <a:cubicBezTo>
                  <a:pt x="2810" y="3596"/>
                  <a:pt x="3679" y="1846"/>
                  <a:pt x="3977" y="1274"/>
                </a:cubicBezTo>
                <a:cubicBezTo>
                  <a:pt x="4584" y="1834"/>
                  <a:pt x="5096" y="2394"/>
                  <a:pt x="5525" y="2941"/>
                </a:cubicBezTo>
                <a:cubicBezTo>
                  <a:pt x="5549" y="2989"/>
                  <a:pt x="5608" y="3025"/>
                  <a:pt x="5656" y="3025"/>
                </a:cubicBezTo>
                <a:cubicBezTo>
                  <a:pt x="5680" y="3025"/>
                  <a:pt x="5727" y="3001"/>
                  <a:pt x="5763" y="2989"/>
                </a:cubicBezTo>
                <a:cubicBezTo>
                  <a:pt x="5834" y="2929"/>
                  <a:pt x="5846" y="2822"/>
                  <a:pt x="5787" y="2751"/>
                </a:cubicBezTo>
                <a:lnTo>
                  <a:pt x="5656" y="2572"/>
                </a:lnTo>
                <a:cubicBezTo>
                  <a:pt x="6013" y="2144"/>
                  <a:pt x="6430" y="1715"/>
                  <a:pt x="6906" y="1274"/>
                </a:cubicBezTo>
                <a:close/>
                <a:moveTo>
                  <a:pt x="5608" y="7716"/>
                </a:moveTo>
                <a:lnTo>
                  <a:pt x="5608" y="10061"/>
                </a:lnTo>
                <a:cubicBezTo>
                  <a:pt x="5501" y="9883"/>
                  <a:pt x="5382" y="9668"/>
                  <a:pt x="5227" y="9454"/>
                </a:cubicBezTo>
                <a:lnTo>
                  <a:pt x="5227" y="7716"/>
                </a:lnTo>
                <a:close/>
                <a:moveTo>
                  <a:pt x="10347" y="5906"/>
                </a:moveTo>
                <a:cubicBezTo>
                  <a:pt x="10228" y="6204"/>
                  <a:pt x="9990" y="6680"/>
                  <a:pt x="9597" y="7228"/>
                </a:cubicBezTo>
                <a:cubicBezTo>
                  <a:pt x="8989" y="8085"/>
                  <a:pt x="7870" y="9275"/>
                  <a:pt x="5953" y="10228"/>
                </a:cubicBezTo>
                <a:lnTo>
                  <a:pt x="5953" y="9549"/>
                </a:lnTo>
                <a:cubicBezTo>
                  <a:pt x="6680" y="8513"/>
                  <a:pt x="8037" y="7049"/>
                  <a:pt x="10347" y="5906"/>
                </a:cubicBezTo>
                <a:close/>
                <a:moveTo>
                  <a:pt x="488" y="5906"/>
                </a:moveTo>
                <a:lnTo>
                  <a:pt x="488" y="5906"/>
                </a:lnTo>
                <a:cubicBezTo>
                  <a:pt x="2512" y="6906"/>
                  <a:pt x="3775" y="8156"/>
                  <a:pt x="4489" y="9049"/>
                </a:cubicBezTo>
                <a:cubicBezTo>
                  <a:pt x="4941" y="9609"/>
                  <a:pt x="5251" y="10133"/>
                  <a:pt x="5441" y="10490"/>
                </a:cubicBezTo>
                <a:cubicBezTo>
                  <a:pt x="4548" y="10085"/>
                  <a:pt x="3751" y="9609"/>
                  <a:pt x="3036" y="9073"/>
                </a:cubicBezTo>
                <a:cubicBezTo>
                  <a:pt x="2393" y="8585"/>
                  <a:pt x="1834" y="8013"/>
                  <a:pt x="1369" y="7406"/>
                </a:cubicBezTo>
                <a:cubicBezTo>
                  <a:pt x="905" y="6799"/>
                  <a:pt x="631" y="6251"/>
                  <a:pt x="488" y="5906"/>
                </a:cubicBezTo>
                <a:close/>
                <a:moveTo>
                  <a:pt x="5418" y="0"/>
                </a:moveTo>
                <a:cubicBezTo>
                  <a:pt x="5358" y="0"/>
                  <a:pt x="5322" y="12"/>
                  <a:pt x="5275" y="60"/>
                </a:cubicBezTo>
                <a:cubicBezTo>
                  <a:pt x="5263" y="72"/>
                  <a:pt x="4918" y="477"/>
                  <a:pt x="4406" y="1215"/>
                </a:cubicBezTo>
                <a:cubicBezTo>
                  <a:pt x="4263" y="1096"/>
                  <a:pt x="4144" y="977"/>
                  <a:pt x="4001" y="858"/>
                </a:cubicBezTo>
                <a:cubicBezTo>
                  <a:pt x="3989" y="846"/>
                  <a:pt x="3989" y="846"/>
                  <a:pt x="3965" y="846"/>
                </a:cubicBezTo>
                <a:cubicBezTo>
                  <a:pt x="3943" y="831"/>
                  <a:pt x="3917" y="824"/>
                  <a:pt x="3891" y="824"/>
                </a:cubicBezTo>
                <a:cubicBezTo>
                  <a:pt x="3833" y="824"/>
                  <a:pt x="3775" y="856"/>
                  <a:pt x="3751" y="905"/>
                </a:cubicBezTo>
                <a:cubicBezTo>
                  <a:pt x="3727" y="941"/>
                  <a:pt x="3417" y="1501"/>
                  <a:pt x="3108" y="2263"/>
                </a:cubicBezTo>
                <a:cubicBezTo>
                  <a:pt x="2679" y="3287"/>
                  <a:pt x="2453" y="4132"/>
                  <a:pt x="2453" y="4763"/>
                </a:cubicBezTo>
                <a:cubicBezTo>
                  <a:pt x="2453" y="6204"/>
                  <a:pt x="3489" y="7418"/>
                  <a:pt x="4882" y="7668"/>
                </a:cubicBezTo>
                <a:lnTo>
                  <a:pt x="4882" y="8966"/>
                </a:lnTo>
                <a:cubicBezTo>
                  <a:pt x="4846" y="8930"/>
                  <a:pt x="4798" y="8883"/>
                  <a:pt x="4763" y="8823"/>
                </a:cubicBezTo>
                <a:cubicBezTo>
                  <a:pt x="3989" y="7859"/>
                  <a:pt x="2572" y="6477"/>
                  <a:pt x="250" y="5394"/>
                </a:cubicBezTo>
                <a:cubicBezTo>
                  <a:pt x="230" y="5386"/>
                  <a:pt x="209" y="5382"/>
                  <a:pt x="188" y="5382"/>
                </a:cubicBezTo>
                <a:cubicBezTo>
                  <a:pt x="146" y="5382"/>
                  <a:pt x="103" y="5398"/>
                  <a:pt x="72" y="5430"/>
                </a:cubicBezTo>
                <a:cubicBezTo>
                  <a:pt x="24" y="5477"/>
                  <a:pt x="0" y="5537"/>
                  <a:pt x="12" y="5608"/>
                </a:cubicBezTo>
                <a:cubicBezTo>
                  <a:pt x="24" y="5644"/>
                  <a:pt x="250" y="6489"/>
                  <a:pt x="1072" y="7573"/>
                </a:cubicBezTo>
                <a:cubicBezTo>
                  <a:pt x="1548" y="8216"/>
                  <a:pt x="2120" y="8799"/>
                  <a:pt x="2798" y="9311"/>
                </a:cubicBezTo>
                <a:cubicBezTo>
                  <a:pt x="3405" y="9787"/>
                  <a:pt x="4108" y="10228"/>
                  <a:pt x="4858" y="10585"/>
                </a:cubicBezTo>
                <a:lnTo>
                  <a:pt x="4858" y="11323"/>
                </a:lnTo>
                <a:cubicBezTo>
                  <a:pt x="4858" y="11419"/>
                  <a:pt x="4941" y="11490"/>
                  <a:pt x="5025" y="11490"/>
                </a:cubicBezTo>
                <a:cubicBezTo>
                  <a:pt x="5120" y="11490"/>
                  <a:pt x="5191" y="11419"/>
                  <a:pt x="5191" y="11323"/>
                </a:cubicBezTo>
                <a:lnTo>
                  <a:pt x="5191" y="10740"/>
                </a:lnTo>
                <a:cubicBezTo>
                  <a:pt x="5310" y="10799"/>
                  <a:pt x="5441" y="10847"/>
                  <a:pt x="5572" y="10907"/>
                </a:cubicBezTo>
                <a:lnTo>
                  <a:pt x="5572" y="11335"/>
                </a:lnTo>
                <a:cubicBezTo>
                  <a:pt x="5572" y="11430"/>
                  <a:pt x="5656" y="11502"/>
                  <a:pt x="5739" y="11502"/>
                </a:cubicBezTo>
                <a:cubicBezTo>
                  <a:pt x="5834" y="11502"/>
                  <a:pt x="5906" y="11430"/>
                  <a:pt x="5906" y="11335"/>
                </a:cubicBezTo>
                <a:lnTo>
                  <a:pt x="5906" y="10597"/>
                </a:lnTo>
                <a:cubicBezTo>
                  <a:pt x="7989" y="9597"/>
                  <a:pt x="9192" y="8323"/>
                  <a:pt x="9835" y="7406"/>
                </a:cubicBezTo>
                <a:cubicBezTo>
                  <a:pt x="10549" y="6418"/>
                  <a:pt x="10740" y="5656"/>
                  <a:pt x="10752" y="5620"/>
                </a:cubicBezTo>
                <a:cubicBezTo>
                  <a:pt x="10823" y="5549"/>
                  <a:pt x="10799" y="5489"/>
                  <a:pt x="10740" y="5442"/>
                </a:cubicBezTo>
                <a:cubicBezTo>
                  <a:pt x="10717" y="5419"/>
                  <a:pt x="10675" y="5411"/>
                  <a:pt x="10633" y="5411"/>
                </a:cubicBezTo>
                <a:cubicBezTo>
                  <a:pt x="10608" y="5411"/>
                  <a:pt x="10583" y="5413"/>
                  <a:pt x="10561" y="5418"/>
                </a:cubicBezTo>
                <a:cubicBezTo>
                  <a:pt x="8227" y="6489"/>
                  <a:pt x="6799" y="7882"/>
                  <a:pt x="5953" y="8966"/>
                </a:cubicBezTo>
                <a:lnTo>
                  <a:pt x="5953" y="7668"/>
                </a:lnTo>
                <a:cubicBezTo>
                  <a:pt x="7335" y="7406"/>
                  <a:pt x="8370" y="6204"/>
                  <a:pt x="8370" y="4763"/>
                </a:cubicBezTo>
                <a:cubicBezTo>
                  <a:pt x="8370" y="4120"/>
                  <a:pt x="8156" y="3287"/>
                  <a:pt x="7716" y="2263"/>
                </a:cubicBezTo>
                <a:cubicBezTo>
                  <a:pt x="7406" y="1501"/>
                  <a:pt x="7084" y="941"/>
                  <a:pt x="7084" y="905"/>
                </a:cubicBezTo>
                <a:cubicBezTo>
                  <a:pt x="7052" y="856"/>
                  <a:pt x="6991" y="824"/>
                  <a:pt x="6933" y="824"/>
                </a:cubicBezTo>
                <a:cubicBezTo>
                  <a:pt x="6907" y="824"/>
                  <a:pt x="6881" y="831"/>
                  <a:pt x="6858" y="846"/>
                </a:cubicBezTo>
                <a:cubicBezTo>
                  <a:pt x="6846" y="846"/>
                  <a:pt x="6846" y="858"/>
                  <a:pt x="6823" y="858"/>
                </a:cubicBezTo>
                <a:lnTo>
                  <a:pt x="6430" y="1215"/>
                </a:lnTo>
                <a:cubicBezTo>
                  <a:pt x="5906" y="477"/>
                  <a:pt x="5560" y="72"/>
                  <a:pt x="5549" y="60"/>
                </a:cubicBezTo>
                <a:cubicBezTo>
                  <a:pt x="5513" y="12"/>
                  <a:pt x="5477" y="0"/>
                  <a:pt x="5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7" name="Google Shape;12927;p63"/>
          <p:cNvSpPr/>
          <p:nvPr/>
        </p:nvSpPr>
        <p:spPr>
          <a:xfrm>
            <a:off x="5834285" y="2886674"/>
            <a:ext cx="289216" cy="368512"/>
          </a:xfrm>
          <a:custGeom>
            <a:avLst/>
            <a:gdLst/>
            <a:ahLst/>
            <a:cxnLst/>
            <a:rect l="l" t="t" r="r" b="b"/>
            <a:pathLst>
              <a:path w="9038" h="11516" extrusionOk="0">
                <a:moveTo>
                  <a:pt x="6103" y="573"/>
                </a:moveTo>
                <a:cubicBezTo>
                  <a:pt x="6692" y="573"/>
                  <a:pt x="7223" y="753"/>
                  <a:pt x="7645" y="1110"/>
                </a:cubicBezTo>
                <a:cubicBezTo>
                  <a:pt x="8252" y="1633"/>
                  <a:pt x="8585" y="2479"/>
                  <a:pt x="8597" y="3515"/>
                </a:cubicBezTo>
                <a:cubicBezTo>
                  <a:pt x="8192" y="2788"/>
                  <a:pt x="7585" y="2122"/>
                  <a:pt x="6847" y="1633"/>
                </a:cubicBezTo>
                <a:cubicBezTo>
                  <a:pt x="6144" y="1169"/>
                  <a:pt x="5382" y="919"/>
                  <a:pt x="4728" y="895"/>
                </a:cubicBezTo>
                <a:cubicBezTo>
                  <a:pt x="4894" y="812"/>
                  <a:pt x="5061" y="752"/>
                  <a:pt x="5240" y="693"/>
                </a:cubicBezTo>
                <a:cubicBezTo>
                  <a:pt x="5537" y="613"/>
                  <a:pt x="5826" y="573"/>
                  <a:pt x="6103" y="573"/>
                </a:cubicBezTo>
                <a:close/>
                <a:moveTo>
                  <a:pt x="1394" y="1205"/>
                </a:moveTo>
                <a:cubicBezTo>
                  <a:pt x="1465" y="2598"/>
                  <a:pt x="1680" y="5098"/>
                  <a:pt x="2263" y="7063"/>
                </a:cubicBezTo>
                <a:cubicBezTo>
                  <a:pt x="2144" y="7360"/>
                  <a:pt x="2084" y="7670"/>
                  <a:pt x="2037" y="7944"/>
                </a:cubicBezTo>
                <a:cubicBezTo>
                  <a:pt x="1739" y="7051"/>
                  <a:pt x="1465" y="6194"/>
                  <a:pt x="1263" y="5455"/>
                </a:cubicBezTo>
                <a:cubicBezTo>
                  <a:pt x="1049" y="3705"/>
                  <a:pt x="1168" y="2384"/>
                  <a:pt x="1322" y="1586"/>
                </a:cubicBezTo>
                <a:cubicBezTo>
                  <a:pt x="1346" y="1443"/>
                  <a:pt x="1370" y="1324"/>
                  <a:pt x="1394" y="1205"/>
                </a:cubicBezTo>
                <a:close/>
                <a:moveTo>
                  <a:pt x="1503" y="0"/>
                </a:moveTo>
                <a:cubicBezTo>
                  <a:pt x="1439" y="0"/>
                  <a:pt x="1377" y="45"/>
                  <a:pt x="1334" y="109"/>
                </a:cubicBezTo>
                <a:cubicBezTo>
                  <a:pt x="1322" y="121"/>
                  <a:pt x="1108" y="598"/>
                  <a:pt x="965" y="1526"/>
                </a:cubicBezTo>
                <a:cubicBezTo>
                  <a:pt x="870" y="2074"/>
                  <a:pt x="787" y="2848"/>
                  <a:pt x="799" y="3836"/>
                </a:cubicBezTo>
                <a:cubicBezTo>
                  <a:pt x="537" y="2788"/>
                  <a:pt x="418" y="2145"/>
                  <a:pt x="394" y="2133"/>
                </a:cubicBezTo>
                <a:cubicBezTo>
                  <a:pt x="382" y="2050"/>
                  <a:pt x="310" y="2003"/>
                  <a:pt x="215" y="2003"/>
                </a:cubicBezTo>
                <a:cubicBezTo>
                  <a:pt x="132" y="2003"/>
                  <a:pt x="72" y="2074"/>
                  <a:pt x="60" y="2169"/>
                </a:cubicBezTo>
                <a:cubicBezTo>
                  <a:pt x="60" y="2181"/>
                  <a:pt x="1" y="3324"/>
                  <a:pt x="144" y="5039"/>
                </a:cubicBezTo>
                <a:cubicBezTo>
                  <a:pt x="299" y="6610"/>
                  <a:pt x="668" y="8991"/>
                  <a:pt x="1608" y="11408"/>
                </a:cubicBezTo>
                <a:cubicBezTo>
                  <a:pt x="1632" y="11468"/>
                  <a:pt x="1692" y="11516"/>
                  <a:pt x="1763" y="11516"/>
                </a:cubicBezTo>
                <a:cubicBezTo>
                  <a:pt x="1787" y="11516"/>
                  <a:pt x="1811" y="11516"/>
                  <a:pt x="1823" y="11492"/>
                </a:cubicBezTo>
                <a:cubicBezTo>
                  <a:pt x="1918" y="11468"/>
                  <a:pt x="1965" y="11361"/>
                  <a:pt x="1918" y="11277"/>
                </a:cubicBezTo>
                <a:cubicBezTo>
                  <a:pt x="989" y="8908"/>
                  <a:pt x="620" y="6551"/>
                  <a:pt x="477" y="5003"/>
                </a:cubicBezTo>
                <a:cubicBezTo>
                  <a:pt x="429" y="4503"/>
                  <a:pt x="394" y="4050"/>
                  <a:pt x="382" y="3669"/>
                </a:cubicBezTo>
                <a:lnTo>
                  <a:pt x="382" y="3669"/>
                </a:lnTo>
                <a:cubicBezTo>
                  <a:pt x="691" y="4931"/>
                  <a:pt x="1227" y="6896"/>
                  <a:pt x="2037" y="9099"/>
                </a:cubicBezTo>
                <a:cubicBezTo>
                  <a:pt x="2056" y="9175"/>
                  <a:pt x="2128" y="9213"/>
                  <a:pt x="2193" y="9213"/>
                </a:cubicBezTo>
                <a:cubicBezTo>
                  <a:pt x="2209" y="9213"/>
                  <a:pt x="2225" y="9211"/>
                  <a:pt x="2239" y="9206"/>
                </a:cubicBezTo>
                <a:cubicBezTo>
                  <a:pt x="2334" y="9170"/>
                  <a:pt x="2382" y="9075"/>
                  <a:pt x="2346" y="8991"/>
                </a:cubicBezTo>
                <a:lnTo>
                  <a:pt x="2263" y="8730"/>
                </a:lnTo>
                <a:cubicBezTo>
                  <a:pt x="2263" y="8670"/>
                  <a:pt x="2287" y="8075"/>
                  <a:pt x="2454" y="7467"/>
                </a:cubicBezTo>
                <a:cubicBezTo>
                  <a:pt x="2596" y="6896"/>
                  <a:pt x="2894" y="6194"/>
                  <a:pt x="3466" y="6098"/>
                </a:cubicBezTo>
                <a:cubicBezTo>
                  <a:pt x="3510" y="6089"/>
                  <a:pt x="3557" y="6084"/>
                  <a:pt x="3607" y="6084"/>
                </a:cubicBezTo>
                <a:cubicBezTo>
                  <a:pt x="4169" y="6084"/>
                  <a:pt x="5061" y="6699"/>
                  <a:pt x="6144" y="7837"/>
                </a:cubicBezTo>
                <a:cubicBezTo>
                  <a:pt x="6430" y="8134"/>
                  <a:pt x="6680" y="8432"/>
                  <a:pt x="6918" y="8694"/>
                </a:cubicBezTo>
                <a:cubicBezTo>
                  <a:pt x="6692" y="8539"/>
                  <a:pt x="6454" y="8337"/>
                  <a:pt x="6216" y="8158"/>
                </a:cubicBezTo>
                <a:cubicBezTo>
                  <a:pt x="5656" y="7741"/>
                  <a:pt x="5180" y="7420"/>
                  <a:pt x="4787" y="7194"/>
                </a:cubicBezTo>
                <a:cubicBezTo>
                  <a:pt x="4227" y="6854"/>
                  <a:pt x="3961" y="6782"/>
                  <a:pt x="3806" y="6782"/>
                </a:cubicBezTo>
                <a:cubicBezTo>
                  <a:pt x="3776" y="6782"/>
                  <a:pt x="3750" y="6785"/>
                  <a:pt x="3728" y="6789"/>
                </a:cubicBezTo>
                <a:cubicBezTo>
                  <a:pt x="3489" y="6836"/>
                  <a:pt x="3239" y="7122"/>
                  <a:pt x="2954" y="8872"/>
                </a:cubicBezTo>
                <a:cubicBezTo>
                  <a:pt x="2882" y="9325"/>
                  <a:pt x="2823" y="9765"/>
                  <a:pt x="2775" y="10111"/>
                </a:cubicBezTo>
                <a:cubicBezTo>
                  <a:pt x="2715" y="9968"/>
                  <a:pt x="2680" y="9825"/>
                  <a:pt x="2620" y="9682"/>
                </a:cubicBezTo>
                <a:cubicBezTo>
                  <a:pt x="2592" y="9606"/>
                  <a:pt x="2517" y="9568"/>
                  <a:pt x="2446" y="9568"/>
                </a:cubicBezTo>
                <a:cubicBezTo>
                  <a:pt x="2428" y="9568"/>
                  <a:pt x="2411" y="9570"/>
                  <a:pt x="2394" y="9575"/>
                </a:cubicBezTo>
                <a:cubicBezTo>
                  <a:pt x="2299" y="9611"/>
                  <a:pt x="2263" y="9706"/>
                  <a:pt x="2287" y="9801"/>
                </a:cubicBezTo>
                <a:cubicBezTo>
                  <a:pt x="2501" y="10349"/>
                  <a:pt x="2715" y="10885"/>
                  <a:pt x="2930" y="11408"/>
                </a:cubicBezTo>
                <a:cubicBezTo>
                  <a:pt x="2954" y="11468"/>
                  <a:pt x="3013" y="11516"/>
                  <a:pt x="3073" y="11516"/>
                </a:cubicBezTo>
                <a:cubicBezTo>
                  <a:pt x="3096" y="11516"/>
                  <a:pt x="3120" y="11516"/>
                  <a:pt x="3132" y="11492"/>
                </a:cubicBezTo>
                <a:cubicBezTo>
                  <a:pt x="3227" y="11468"/>
                  <a:pt x="3251" y="11361"/>
                  <a:pt x="3227" y="11277"/>
                </a:cubicBezTo>
                <a:cubicBezTo>
                  <a:pt x="3156" y="11111"/>
                  <a:pt x="3096" y="10932"/>
                  <a:pt x="3013" y="10765"/>
                </a:cubicBezTo>
                <a:cubicBezTo>
                  <a:pt x="3037" y="10646"/>
                  <a:pt x="3108" y="9825"/>
                  <a:pt x="3239" y="8980"/>
                </a:cubicBezTo>
                <a:cubicBezTo>
                  <a:pt x="3513" y="7325"/>
                  <a:pt x="3728" y="7122"/>
                  <a:pt x="3763" y="7086"/>
                </a:cubicBezTo>
                <a:cubicBezTo>
                  <a:pt x="3811" y="7086"/>
                  <a:pt x="3989" y="7110"/>
                  <a:pt x="4585" y="7444"/>
                </a:cubicBezTo>
                <a:cubicBezTo>
                  <a:pt x="4954" y="7670"/>
                  <a:pt x="5430" y="8003"/>
                  <a:pt x="5978" y="8396"/>
                </a:cubicBezTo>
                <a:cubicBezTo>
                  <a:pt x="6930" y="9099"/>
                  <a:pt x="7811" y="9825"/>
                  <a:pt x="7823" y="9825"/>
                </a:cubicBezTo>
                <a:cubicBezTo>
                  <a:pt x="7851" y="9853"/>
                  <a:pt x="7890" y="9865"/>
                  <a:pt x="7929" y="9865"/>
                </a:cubicBezTo>
                <a:cubicBezTo>
                  <a:pt x="7973" y="9865"/>
                  <a:pt x="8018" y="9850"/>
                  <a:pt x="8049" y="9825"/>
                </a:cubicBezTo>
                <a:cubicBezTo>
                  <a:pt x="8109" y="9765"/>
                  <a:pt x="8121" y="9682"/>
                  <a:pt x="8061" y="9611"/>
                </a:cubicBezTo>
                <a:cubicBezTo>
                  <a:pt x="8049" y="9587"/>
                  <a:pt x="7287" y="8551"/>
                  <a:pt x="6371" y="7563"/>
                </a:cubicBezTo>
                <a:cubicBezTo>
                  <a:pt x="5203" y="6341"/>
                  <a:pt x="4276" y="5718"/>
                  <a:pt x="3591" y="5718"/>
                </a:cubicBezTo>
                <a:cubicBezTo>
                  <a:pt x="3514" y="5718"/>
                  <a:pt x="3441" y="5726"/>
                  <a:pt x="3370" y="5741"/>
                </a:cubicBezTo>
                <a:cubicBezTo>
                  <a:pt x="3013" y="5813"/>
                  <a:pt x="2751" y="6051"/>
                  <a:pt x="2537" y="6348"/>
                </a:cubicBezTo>
                <a:cubicBezTo>
                  <a:pt x="2537" y="6253"/>
                  <a:pt x="2537" y="6170"/>
                  <a:pt x="2561" y="6063"/>
                </a:cubicBezTo>
                <a:cubicBezTo>
                  <a:pt x="2680" y="5693"/>
                  <a:pt x="3108" y="4527"/>
                  <a:pt x="3835" y="3753"/>
                </a:cubicBezTo>
                <a:cubicBezTo>
                  <a:pt x="4035" y="3686"/>
                  <a:pt x="4236" y="3648"/>
                  <a:pt x="4428" y="3648"/>
                </a:cubicBezTo>
                <a:cubicBezTo>
                  <a:pt x="4510" y="3648"/>
                  <a:pt x="4590" y="3655"/>
                  <a:pt x="4668" y="3669"/>
                </a:cubicBezTo>
                <a:cubicBezTo>
                  <a:pt x="4676" y="3670"/>
                  <a:pt x="4684" y="3671"/>
                  <a:pt x="4692" y="3671"/>
                </a:cubicBezTo>
                <a:cubicBezTo>
                  <a:pt x="4777" y="3671"/>
                  <a:pt x="4848" y="3613"/>
                  <a:pt x="4859" y="3515"/>
                </a:cubicBezTo>
                <a:cubicBezTo>
                  <a:pt x="4871" y="3431"/>
                  <a:pt x="4823" y="3336"/>
                  <a:pt x="4716" y="3324"/>
                </a:cubicBezTo>
                <a:cubicBezTo>
                  <a:pt x="4632" y="3316"/>
                  <a:pt x="4547" y="3307"/>
                  <a:pt x="4463" y="3307"/>
                </a:cubicBezTo>
                <a:cubicBezTo>
                  <a:pt x="4428" y="3307"/>
                  <a:pt x="4393" y="3309"/>
                  <a:pt x="4359" y="3312"/>
                </a:cubicBezTo>
                <a:cubicBezTo>
                  <a:pt x="4597" y="3157"/>
                  <a:pt x="4847" y="3074"/>
                  <a:pt x="5109" y="3038"/>
                </a:cubicBezTo>
                <a:cubicBezTo>
                  <a:pt x="5184" y="3031"/>
                  <a:pt x="5258" y="3027"/>
                  <a:pt x="5330" y="3027"/>
                </a:cubicBezTo>
                <a:cubicBezTo>
                  <a:pt x="5831" y="3027"/>
                  <a:pt x="6264" y="3205"/>
                  <a:pt x="6597" y="3538"/>
                </a:cubicBezTo>
                <a:cubicBezTo>
                  <a:pt x="7335" y="4265"/>
                  <a:pt x="7538" y="5622"/>
                  <a:pt x="7585" y="6551"/>
                </a:cubicBezTo>
                <a:cubicBezTo>
                  <a:pt x="7514" y="6348"/>
                  <a:pt x="7407" y="6122"/>
                  <a:pt x="7299" y="5896"/>
                </a:cubicBezTo>
                <a:cubicBezTo>
                  <a:pt x="6752" y="4741"/>
                  <a:pt x="6121" y="3967"/>
                  <a:pt x="5430" y="3574"/>
                </a:cubicBezTo>
                <a:cubicBezTo>
                  <a:pt x="5404" y="3563"/>
                  <a:pt x="5377" y="3558"/>
                  <a:pt x="5351" y="3558"/>
                </a:cubicBezTo>
                <a:cubicBezTo>
                  <a:pt x="5292" y="3558"/>
                  <a:pt x="5237" y="3584"/>
                  <a:pt x="5204" y="3634"/>
                </a:cubicBezTo>
                <a:cubicBezTo>
                  <a:pt x="5156" y="3717"/>
                  <a:pt x="5192" y="3812"/>
                  <a:pt x="5263" y="3860"/>
                </a:cubicBezTo>
                <a:cubicBezTo>
                  <a:pt x="6776" y="4693"/>
                  <a:pt x="7585" y="7563"/>
                  <a:pt x="7597" y="7598"/>
                </a:cubicBezTo>
                <a:cubicBezTo>
                  <a:pt x="7609" y="7670"/>
                  <a:pt x="7692" y="7718"/>
                  <a:pt x="7764" y="7718"/>
                </a:cubicBezTo>
                <a:lnTo>
                  <a:pt x="7776" y="7718"/>
                </a:lnTo>
                <a:cubicBezTo>
                  <a:pt x="7847" y="7694"/>
                  <a:pt x="7930" y="7646"/>
                  <a:pt x="7930" y="7563"/>
                </a:cubicBezTo>
                <a:cubicBezTo>
                  <a:pt x="7930" y="7539"/>
                  <a:pt x="7990" y="6825"/>
                  <a:pt x="7883" y="5932"/>
                </a:cubicBezTo>
                <a:cubicBezTo>
                  <a:pt x="7752" y="4717"/>
                  <a:pt x="7395" y="3824"/>
                  <a:pt x="6835" y="3288"/>
                </a:cubicBezTo>
                <a:cubicBezTo>
                  <a:pt x="6432" y="2896"/>
                  <a:pt x="5926" y="2683"/>
                  <a:pt x="5315" y="2683"/>
                </a:cubicBezTo>
                <a:cubicBezTo>
                  <a:pt x="5240" y="2683"/>
                  <a:pt x="5163" y="2687"/>
                  <a:pt x="5085" y="2693"/>
                </a:cubicBezTo>
                <a:cubicBezTo>
                  <a:pt x="4620" y="2741"/>
                  <a:pt x="4192" y="2955"/>
                  <a:pt x="3787" y="3324"/>
                </a:cubicBezTo>
                <a:cubicBezTo>
                  <a:pt x="3477" y="3610"/>
                  <a:pt x="3180" y="3991"/>
                  <a:pt x="2894" y="4467"/>
                </a:cubicBezTo>
                <a:cubicBezTo>
                  <a:pt x="2811" y="4622"/>
                  <a:pt x="2727" y="4765"/>
                  <a:pt x="2656" y="4920"/>
                </a:cubicBezTo>
                <a:cubicBezTo>
                  <a:pt x="2692" y="4670"/>
                  <a:pt x="2727" y="4408"/>
                  <a:pt x="2787" y="4146"/>
                </a:cubicBezTo>
                <a:cubicBezTo>
                  <a:pt x="2977" y="3276"/>
                  <a:pt x="3239" y="2562"/>
                  <a:pt x="3585" y="2014"/>
                </a:cubicBezTo>
                <a:cubicBezTo>
                  <a:pt x="3739" y="1752"/>
                  <a:pt x="3918" y="1526"/>
                  <a:pt x="4132" y="1336"/>
                </a:cubicBezTo>
                <a:cubicBezTo>
                  <a:pt x="4291" y="1291"/>
                  <a:pt x="4463" y="1270"/>
                  <a:pt x="4645" y="1270"/>
                </a:cubicBezTo>
                <a:cubicBezTo>
                  <a:pt x="5245" y="1270"/>
                  <a:pt x="5949" y="1505"/>
                  <a:pt x="6597" y="1943"/>
                </a:cubicBezTo>
                <a:cubicBezTo>
                  <a:pt x="7526" y="2550"/>
                  <a:pt x="8204" y="3431"/>
                  <a:pt x="8490" y="4372"/>
                </a:cubicBezTo>
                <a:cubicBezTo>
                  <a:pt x="8520" y="4432"/>
                  <a:pt x="8568" y="4484"/>
                  <a:pt x="8632" y="4484"/>
                </a:cubicBezTo>
                <a:cubicBezTo>
                  <a:pt x="8644" y="4484"/>
                  <a:pt x="8656" y="4483"/>
                  <a:pt x="8669" y="4479"/>
                </a:cubicBezTo>
                <a:cubicBezTo>
                  <a:pt x="8740" y="4479"/>
                  <a:pt x="8823" y="4408"/>
                  <a:pt x="8823" y="4336"/>
                </a:cubicBezTo>
                <a:cubicBezTo>
                  <a:pt x="9038" y="2824"/>
                  <a:pt x="8669" y="1586"/>
                  <a:pt x="7835" y="871"/>
                </a:cubicBezTo>
                <a:cubicBezTo>
                  <a:pt x="7351" y="452"/>
                  <a:pt x="6757" y="240"/>
                  <a:pt x="6102" y="240"/>
                </a:cubicBezTo>
                <a:cubicBezTo>
                  <a:pt x="5791" y="240"/>
                  <a:pt x="5466" y="287"/>
                  <a:pt x="5132" y="383"/>
                </a:cubicBezTo>
                <a:cubicBezTo>
                  <a:pt x="4394" y="574"/>
                  <a:pt x="3799" y="1062"/>
                  <a:pt x="3347" y="1824"/>
                </a:cubicBezTo>
                <a:cubicBezTo>
                  <a:pt x="2989" y="2419"/>
                  <a:pt x="2704" y="3157"/>
                  <a:pt x="2513" y="4074"/>
                </a:cubicBezTo>
                <a:cubicBezTo>
                  <a:pt x="2382" y="4693"/>
                  <a:pt x="2323" y="5301"/>
                  <a:pt x="2275" y="5801"/>
                </a:cubicBezTo>
                <a:cubicBezTo>
                  <a:pt x="1727" y="3181"/>
                  <a:pt x="1668" y="205"/>
                  <a:pt x="1668" y="169"/>
                </a:cubicBezTo>
                <a:cubicBezTo>
                  <a:pt x="1668" y="98"/>
                  <a:pt x="1608" y="26"/>
                  <a:pt x="1525" y="2"/>
                </a:cubicBezTo>
                <a:cubicBezTo>
                  <a:pt x="1517" y="1"/>
                  <a:pt x="1510" y="0"/>
                  <a:pt x="15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28" name="Google Shape;12928;p63"/>
          <p:cNvGrpSpPr/>
          <p:nvPr/>
        </p:nvGrpSpPr>
        <p:grpSpPr>
          <a:xfrm>
            <a:off x="6340653" y="2886354"/>
            <a:ext cx="370368" cy="368064"/>
            <a:chOff x="6340653" y="2886354"/>
            <a:chExt cx="370368" cy="368064"/>
          </a:xfrm>
        </p:grpSpPr>
        <p:sp>
          <p:nvSpPr>
            <p:cNvPr id="12929" name="Google Shape;12929;p63"/>
            <p:cNvSpPr/>
            <p:nvPr/>
          </p:nvSpPr>
          <p:spPr>
            <a:xfrm>
              <a:off x="6521229" y="2938162"/>
              <a:ext cx="10720" cy="16416"/>
            </a:xfrm>
            <a:custGeom>
              <a:avLst/>
              <a:gdLst/>
              <a:ahLst/>
              <a:cxnLst/>
              <a:rect l="l" t="t" r="r" b="b"/>
              <a:pathLst>
                <a:path w="335" h="513" extrusionOk="0">
                  <a:moveTo>
                    <a:pt x="168" y="1"/>
                  </a:moveTo>
                  <a:cubicBezTo>
                    <a:pt x="84" y="1"/>
                    <a:pt x="1" y="84"/>
                    <a:pt x="1" y="167"/>
                  </a:cubicBezTo>
                  <a:lnTo>
                    <a:pt x="1" y="346"/>
                  </a:lnTo>
                  <a:cubicBezTo>
                    <a:pt x="1" y="441"/>
                    <a:pt x="84" y="513"/>
                    <a:pt x="168" y="513"/>
                  </a:cubicBezTo>
                  <a:cubicBezTo>
                    <a:pt x="263" y="513"/>
                    <a:pt x="334" y="441"/>
                    <a:pt x="334" y="346"/>
                  </a:cubicBezTo>
                  <a:lnTo>
                    <a:pt x="334" y="167"/>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0" name="Google Shape;12930;p63"/>
            <p:cNvSpPr/>
            <p:nvPr/>
          </p:nvSpPr>
          <p:spPr>
            <a:xfrm>
              <a:off x="6647725" y="3010258"/>
              <a:ext cx="17568" cy="16704"/>
            </a:xfrm>
            <a:custGeom>
              <a:avLst/>
              <a:gdLst/>
              <a:ahLst/>
              <a:cxnLst/>
              <a:rect l="l" t="t" r="r" b="b"/>
              <a:pathLst>
                <a:path w="549" h="522" extrusionOk="0">
                  <a:moveTo>
                    <a:pt x="349" y="1"/>
                  </a:moveTo>
                  <a:cubicBezTo>
                    <a:pt x="307" y="1"/>
                    <a:pt x="269" y="16"/>
                    <a:pt x="239" y="46"/>
                  </a:cubicBezTo>
                  <a:lnTo>
                    <a:pt x="60" y="236"/>
                  </a:lnTo>
                  <a:cubicBezTo>
                    <a:pt x="1" y="307"/>
                    <a:pt x="1" y="415"/>
                    <a:pt x="60" y="474"/>
                  </a:cubicBezTo>
                  <a:cubicBezTo>
                    <a:pt x="84" y="510"/>
                    <a:pt x="132" y="522"/>
                    <a:pt x="179" y="522"/>
                  </a:cubicBezTo>
                  <a:cubicBezTo>
                    <a:pt x="215" y="522"/>
                    <a:pt x="263" y="498"/>
                    <a:pt x="298" y="462"/>
                  </a:cubicBezTo>
                  <a:lnTo>
                    <a:pt x="477" y="260"/>
                  </a:lnTo>
                  <a:cubicBezTo>
                    <a:pt x="548" y="224"/>
                    <a:pt x="536" y="105"/>
                    <a:pt x="477" y="46"/>
                  </a:cubicBezTo>
                  <a:cubicBezTo>
                    <a:pt x="435" y="16"/>
                    <a:pt x="391" y="1"/>
                    <a:pt x="3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1" name="Google Shape;12931;p63"/>
            <p:cNvSpPr/>
            <p:nvPr/>
          </p:nvSpPr>
          <p:spPr>
            <a:xfrm>
              <a:off x="6635533" y="3166354"/>
              <a:ext cx="17952" cy="11872"/>
            </a:xfrm>
            <a:custGeom>
              <a:avLst/>
              <a:gdLst/>
              <a:ahLst/>
              <a:cxnLst/>
              <a:rect l="l" t="t" r="r" b="b"/>
              <a:pathLst>
                <a:path w="561" h="371" extrusionOk="0">
                  <a:moveTo>
                    <a:pt x="194" y="0"/>
                  </a:moveTo>
                  <a:cubicBezTo>
                    <a:pt x="108" y="0"/>
                    <a:pt x="36" y="67"/>
                    <a:pt x="25" y="144"/>
                  </a:cubicBezTo>
                  <a:cubicBezTo>
                    <a:pt x="1" y="240"/>
                    <a:pt x="84" y="335"/>
                    <a:pt x="167" y="347"/>
                  </a:cubicBezTo>
                  <a:lnTo>
                    <a:pt x="358" y="371"/>
                  </a:lnTo>
                  <a:lnTo>
                    <a:pt x="394" y="371"/>
                  </a:lnTo>
                  <a:cubicBezTo>
                    <a:pt x="477" y="371"/>
                    <a:pt x="536" y="311"/>
                    <a:pt x="560" y="228"/>
                  </a:cubicBezTo>
                  <a:cubicBezTo>
                    <a:pt x="560" y="121"/>
                    <a:pt x="501" y="37"/>
                    <a:pt x="406" y="37"/>
                  </a:cubicBezTo>
                  <a:lnTo>
                    <a:pt x="215" y="1"/>
                  </a:lnTo>
                  <a:cubicBezTo>
                    <a:pt x="208" y="1"/>
                    <a:pt x="201"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2" name="Google Shape;12932;p63"/>
            <p:cNvSpPr/>
            <p:nvPr/>
          </p:nvSpPr>
          <p:spPr>
            <a:xfrm>
              <a:off x="6387885" y="3009970"/>
              <a:ext cx="18336" cy="17376"/>
            </a:xfrm>
            <a:custGeom>
              <a:avLst/>
              <a:gdLst/>
              <a:ahLst/>
              <a:cxnLst/>
              <a:rect l="l" t="t" r="r" b="b"/>
              <a:pathLst>
                <a:path w="573" h="543" extrusionOk="0">
                  <a:moveTo>
                    <a:pt x="208" y="1"/>
                  </a:moveTo>
                  <a:cubicBezTo>
                    <a:pt x="164" y="1"/>
                    <a:pt x="120" y="19"/>
                    <a:pt x="84" y="55"/>
                  </a:cubicBezTo>
                  <a:cubicBezTo>
                    <a:pt x="1" y="114"/>
                    <a:pt x="1" y="221"/>
                    <a:pt x="84" y="293"/>
                  </a:cubicBezTo>
                  <a:lnTo>
                    <a:pt x="263" y="483"/>
                  </a:lnTo>
                  <a:cubicBezTo>
                    <a:pt x="286" y="519"/>
                    <a:pt x="334" y="543"/>
                    <a:pt x="382" y="543"/>
                  </a:cubicBezTo>
                  <a:cubicBezTo>
                    <a:pt x="417" y="543"/>
                    <a:pt x="465" y="531"/>
                    <a:pt x="501" y="495"/>
                  </a:cubicBezTo>
                  <a:cubicBezTo>
                    <a:pt x="560" y="424"/>
                    <a:pt x="572" y="316"/>
                    <a:pt x="501" y="245"/>
                  </a:cubicBezTo>
                  <a:lnTo>
                    <a:pt x="322" y="55"/>
                  </a:lnTo>
                  <a:cubicBezTo>
                    <a:pt x="292" y="19"/>
                    <a:pt x="251" y="1"/>
                    <a:pt x="2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3" name="Google Shape;12933;p63"/>
            <p:cNvSpPr/>
            <p:nvPr/>
          </p:nvSpPr>
          <p:spPr>
            <a:xfrm>
              <a:off x="6398925" y="3166354"/>
              <a:ext cx="18336" cy="11872"/>
            </a:xfrm>
            <a:custGeom>
              <a:avLst/>
              <a:gdLst/>
              <a:ahLst/>
              <a:cxnLst/>
              <a:rect l="l" t="t" r="r" b="b"/>
              <a:pathLst>
                <a:path w="573" h="371" extrusionOk="0">
                  <a:moveTo>
                    <a:pt x="379" y="0"/>
                  </a:moveTo>
                  <a:cubicBezTo>
                    <a:pt x="372" y="0"/>
                    <a:pt x="365" y="1"/>
                    <a:pt x="358" y="1"/>
                  </a:cubicBezTo>
                  <a:lnTo>
                    <a:pt x="168" y="37"/>
                  </a:lnTo>
                  <a:cubicBezTo>
                    <a:pt x="72" y="49"/>
                    <a:pt x="1" y="132"/>
                    <a:pt x="13" y="228"/>
                  </a:cubicBezTo>
                  <a:cubicBezTo>
                    <a:pt x="37" y="311"/>
                    <a:pt x="108" y="371"/>
                    <a:pt x="180" y="371"/>
                  </a:cubicBezTo>
                  <a:lnTo>
                    <a:pt x="215" y="371"/>
                  </a:lnTo>
                  <a:lnTo>
                    <a:pt x="406" y="347"/>
                  </a:lnTo>
                  <a:cubicBezTo>
                    <a:pt x="513" y="311"/>
                    <a:pt x="572" y="240"/>
                    <a:pt x="549" y="144"/>
                  </a:cubicBezTo>
                  <a:cubicBezTo>
                    <a:pt x="538" y="67"/>
                    <a:pt x="465" y="0"/>
                    <a:pt x="3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4" name="Google Shape;12934;p63"/>
            <p:cNvSpPr/>
            <p:nvPr/>
          </p:nvSpPr>
          <p:spPr>
            <a:xfrm>
              <a:off x="6340653" y="2886354"/>
              <a:ext cx="370368" cy="368064"/>
            </a:xfrm>
            <a:custGeom>
              <a:avLst/>
              <a:gdLst/>
              <a:ahLst/>
              <a:cxnLst/>
              <a:rect l="l" t="t" r="r" b="b"/>
              <a:pathLst>
                <a:path w="11574" h="11502" extrusionOk="0">
                  <a:moveTo>
                    <a:pt x="5811" y="489"/>
                  </a:moveTo>
                  <a:lnTo>
                    <a:pt x="6751" y="2060"/>
                  </a:lnTo>
                  <a:cubicBezTo>
                    <a:pt x="6775" y="2096"/>
                    <a:pt x="6823" y="2132"/>
                    <a:pt x="6870" y="2132"/>
                  </a:cubicBezTo>
                  <a:lnTo>
                    <a:pt x="7644" y="2263"/>
                  </a:lnTo>
                  <a:lnTo>
                    <a:pt x="5989" y="4048"/>
                  </a:lnTo>
                  <a:lnTo>
                    <a:pt x="5989" y="2679"/>
                  </a:lnTo>
                  <a:cubicBezTo>
                    <a:pt x="5977" y="2596"/>
                    <a:pt x="5906" y="2513"/>
                    <a:pt x="5811" y="2513"/>
                  </a:cubicBezTo>
                  <a:cubicBezTo>
                    <a:pt x="5727" y="2513"/>
                    <a:pt x="5644" y="2596"/>
                    <a:pt x="5644" y="2679"/>
                  </a:cubicBezTo>
                  <a:lnTo>
                    <a:pt x="5644" y="4025"/>
                  </a:lnTo>
                  <a:lnTo>
                    <a:pt x="4144" y="2251"/>
                  </a:lnTo>
                  <a:lnTo>
                    <a:pt x="4775" y="2132"/>
                  </a:lnTo>
                  <a:cubicBezTo>
                    <a:pt x="4810" y="2120"/>
                    <a:pt x="4858" y="2084"/>
                    <a:pt x="4870" y="2060"/>
                  </a:cubicBezTo>
                  <a:lnTo>
                    <a:pt x="5811" y="489"/>
                  </a:lnTo>
                  <a:close/>
                  <a:moveTo>
                    <a:pt x="4096" y="2727"/>
                  </a:moveTo>
                  <a:lnTo>
                    <a:pt x="5644" y="4549"/>
                  </a:lnTo>
                  <a:lnTo>
                    <a:pt x="5644" y="6192"/>
                  </a:lnTo>
                  <a:lnTo>
                    <a:pt x="4429" y="4763"/>
                  </a:lnTo>
                  <a:lnTo>
                    <a:pt x="4096" y="2727"/>
                  </a:lnTo>
                  <a:close/>
                  <a:moveTo>
                    <a:pt x="7668" y="2727"/>
                  </a:moveTo>
                  <a:lnTo>
                    <a:pt x="7215" y="4751"/>
                  </a:lnTo>
                  <a:lnTo>
                    <a:pt x="5989" y="6192"/>
                  </a:lnTo>
                  <a:lnTo>
                    <a:pt x="5989" y="4560"/>
                  </a:lnTo>
                  <a:lnTo>
                    <a:pt x="7668" y="2727"/>
                  </a:lnTo>
                  <a:close/>
                  <a:moveTo>
                    <a:pt x="11025" y="2858"/>
                  </a:moveTo>
                  <a:lnTo>
                    <a:pt x="10335" y="4596"/>
                  </a:lnTo>
                  <a:cubicBezTo>
                    <a:pt x="10311" y="4656"/>
                    <a:pt x="10323" y="4727"/>
                    <a:pt x="10371" y="4775"/>
                  </a:cubicBezTo>
                  <a:lnTo>
                    <a:pt x="10906" y="5311"/>
                  </a:lnTo>
                  <a:lnTo>
                    <a:pt x="10228" y="5584"/>
                  </a:lnTo>
                  <a:cubicBezTo>
                    <a:pt x="10144" y="5608"/>
                    <a:pt x="10109" y="5703"/>
                    <a:pt x="10121" y="5787"/>
                  </a:cubicBezTo>
                  <a:lnTo>
                    <a:pt x="10263" y="6192"/>
                  </a:lnTo>
                  <a:lnTo>
                    <a:pt x="8537" y="7096"/>
                  </a:lnTo>
                  <a:cubicBezTo>
                    <a:pt x="8489" y="7132"/>
                    <a:pt x="8442" y="7180"/>
                    <a:pt x="8442" y="7239"/>
                  </a:cubicBezTo>
                  <a:cubicBezTo>
                    <a:pt x="8442" y="7299"/>
                    <a:pt x="8466" y="7335"/>
                    <a:pt x="8501" y="7382"/>
                  </a:cubicBezTo>
                  <a:lnTo>
                    <a:pt x="10502" y="9097"/>
                  </a:lnTo>
                  <a:lnTo>
                    <a:pt x="7811" y="10049"/>
                  </a:lnTo>
                  <a:lnTo>
                    <a:pt x="6299" y="8680"/>
                  </a:lnTo>
                  <a:lnTo>
                    <a:pt x="8644" y="8990"/>
                  </a:lnTo>
                  <a:lnTo>
                    <a:pt x="8668" y="8990"/>
                  </a:lnTo>
                  <a:cubicBezTo>
                    <a:pt x="8763" y="8990"/>
                    <a:pt x="8823" y="8930"/>
                    <a:pt x="8835" y="8847"/>
                  </a:cubicBezTo>
                  <a:cubicBezTo>
                    <a:pt x="8847" y="8751"/>
                    <a:pt x="8775" y="8656"/>
                    <a:pt x="8680" y="8644"/>
                  </a:cubicBezTo>
                  <a:lnTo>
                    <a:pt x="6120" y="8311"/>
                  </a:lnTo>
                  <a:lnTo>
                    <a:pt x="9323" y="4918"/>
                  </a:lnTo>
                  <a:cubicBezTo>
                    <a:pt x="9382" y="4834"/>
                    <a:pt x="9382" y="4739"/>
                    <a:pt x="9311" y="4680"/>
                  </a:cubicBezTo>
                  <a:cubicBezTo>
                    <a:pt x="9275" y="4650"/>
                    <a:pt x="9231" y="4635"/>
                    <a:pt x="9187" y="4635"/>
                  </a:cubicBezTo>
                  <a:cubicBezTo>
                    <a:pt x="9144" y="4635"/>
                    <a:pt x="9103" y="4650"/>
                    <a:pt x="9073" y="4680"/>
                  </a:cubicBezTo>
                  <a:lnTo>
                    <a:pt x="5941" y="8013"/>
                  </a:lnTo>
                  <a:lnTo>
                    <a:pt x="5941" y="6704"/>
                  </a:lnTo>
                  <a:lnTo>
                    <a:pt x="8823" y="3322"/>
                  </a:lnTo>
                  <a:lnTo>
                    <a:pt x="9061" y="3679"/>
                  </a:lnTo>
                  <a:cubicBezTo>
                    <a:pt x="9086" y="3729"/>
                    <a:pt x="9140" y="3750"/>
                    <a:pt x="9194" y="3750"/>
                  </a:cubicBezTo>
                  <a:cubicBezTo>
                    <a:pt x="9218" y="3750"/>
                    <a:pt x="9242" y="3746"/>
                    <a:pt x="9263" y="3739"/>
                  </a:cubicBezTo>
                  <a:lnTo>
                    <a:pt x="11025" y="2858"/>
                  </a:lnTo>
                  <a:close/>
                  <a:moveTo>
                    <a:pt x="524" y="2870"/>
                  </a:moveTo>
                  <a:lnTo>
                    <a:pt x="2286" y="3751"/>
                  </a:lnTo>
                  <a:cubicBezTo>
                    <a:pt x="2309" y="3766"/>
                    <a:pt x="2333" y="3773"/>
                    <a:pt x="2358" y="3773"/>
                  </a:cubicBezTo>
                  <a:cubicBezTo>
                    <a:pt x="2412" y="3773"/>
                    <a:pt x="2464" y="3740"/>
                    <a:pt x="2489" y="3691"/>
                  </a:cubicBezTo>
                  <a:lnTo>
                    <a:pt x="2727" y="3334"/>
                  </a:lnTo>
                  <a:lnTo>
                    <a:pt x="5608" y="6715"/>
                  </a:lnTo>
                  <a:lnTo>
                    <a:pt x="5608" y="7987"/>
                  </a:lnTo>
                  <a:lnTo>
                    <a:pt x="2524" y="4691"/>
                  </a:lnTo>
                  <a:cubicBezTo>
                    <a:pt x="2495" y="4656"/>
                    <a:pt x="2453" y="4638"/>
                    <a:pt x="2410" y="4638"/>
                  </a:cubicBezTo>
                  <a:cubicBezTo>
                    <a:pt x="2367" y="4638"/>
                    <a:pt x="2322" y="4656"/>
                    <a:pt x="2286" y="4691"/>
                  </a:cubicBezTo>
                  <a:cubicBezTo>
                    <a:pt x="2215" y="4751"/>
                    <a:pt x="2215" y="4858"/>
                    <a:pt x="2274" y="4930"/>
                  </a:cubicBezTo>
                  <a:lnTo>
                    <a:pt x="5465" y="8323"/>
                  </a:lnTo>
                  <a:lnTo>
                    <a:pt x="2905" y="8656"/>
                  </a:lnTo>
                  <a:cubicBezTo>
                    <a:pt x="2822" y="8680"/>
                    <a:pt x="2751" y="8763"/>
                    <a:pt x="2763" y="8859"/>
                  </a:cubicBezTo>
                  <a:cubicBezTo>
                    <a:pt x="2774" y="8942"/>
                    <a:pt x="2846" y="9001"/>
                    <a:pt x="2929" y="9001"/>
                  </a:cubicBezTo>
                  <a:lnTo>
                    <a:pt x="2953" y="9001"/>
                  </a:lnTo>
                  <a:lnTo>
                    <a:pt x="5287" y="8692"/>
                  </a:lnTo>
                  <a:lnTo>
                    <a:pt x="3786" y="10061"/>
                  </a:lnTo>
                  <a:lnTo>
                    <a:pt x="1096" y="9109"/>
                  </a:lnTo>
                  <a:lnTo>
                    <a:pt x="3084" y="7394"/>
                  </a:lnTo>
                  <a:cubicBezTo>
                    <a:pt x="3132" y="7370"/>
                    <a:pt x="3144" y="7311"/>
                    <a:pt x="3144" y="7251"/>
                  </a:cubicBezTo>
                  <a:cubicBezTo>
                    <a:pt x="3144" y="7192"/>
                    <a:pt x="3108" y="7144"/>
                    <a:pt x="3060" y="7108"/>
                  </a:cubicBezTo>
                  <a:lnTo>
                    <a:pt x="1334" y="6204"/>
                  </a:lnTo>
                  <a:lnTo>
                    <a:pt x="1465" y="5799"/>
                  </a:lnTo>
                  <a:cubicBezTo>
                    <a:pt x="1500" y="5715"/>
                    <a:pt x="1453" y="5620"/>
                    <a:pt x="1358" y="5596"/>
                  </a:cubicBezTo>
                  <a:lnTo>
                    <a:pt x="691" y="5322"/>
                  </a:lnTo>
                  <a:lnTo>
                    <a:pt x="1227" y="4787"/>
                  </a:lnTo>
                  <a:cubicBezTo>
                    <a:pt x="1274" y="4751"/>
                    <a:pt x="1286" y="4680"/>
                    <a:pt x="1262" y="4608"/>
                  </a:cubicBezTo>
                  <a:lnTo>
                    <a:pt x="524" y="2870"/>
                  </a:lnTo>
                  <a:close/>
                  <a:moveTo>
                    <a:pt x="5775" y="0"/>
                  </a:moveTo>
                  <a:cubicBezTo>
                    <a:pt x="5715" y="0"/>
                    <a:pt x="5656" y="24"/>
                    <a:pt x="5632" y="72"/>
                  </a:cubicBezTo>
                  <a:lnTo>
                    <a:pt x="4584" y="1810"/>
                  </a:lnTo>
                  <a:lnTo>
                    <a:pt x="3763" y="1977"/>
                  </a:lnTo>
                  <a:cubicBezTo>
                    <a:pt x="3667" y="2001"/>
                    <a:pt x="3608" y="2084"/>
                    <a:pt x="3620" y="2167"/>
                  </a:cubicBezTo>
                  <a:lnTo>
                    <a:pt x="3965" y="4251"/>
                  </a:lnTo>
                  <a:lnTo>
                    <a:pt x="2846" y="2929"/>
                  </a:lnTo>
                  <a:cubicBezTo>
                    <a:pt x="2822" y="2894"/>
                    <a:pt x="2763" y="2870"/>
                    <a:pt x="2715" y="2870"/>
                  </a:cubicBezTo>
                  <a:cubicBezTo>
                    <a:pt x="2655" y="2870"/>
                    <a:pt x="2608" y="2905"/>
                    <a:pt x="2584" y="2941"/>
                  </a:cubicBezTo>
                  <a:lnTo>
                    <a:pt x="2298" y="3358"/>
                  </a:lnTo>
                  <a:lnTo>
                    <a:pt x="274" y="2346"/>
                  </a:lnTo>
                  <a:cubicBezTo>
                    <a:pt x="254" y="2338"/>
                    <a:pt x="233" y="2334"/>
                    <a:pt x="211" y="2334"/>
                  </a:cubicBezTo>
                  <a:cubicBezTo>
                    <a:pt x="168" y="2334"/>
                    <a:pt x="123" y="2350"/>
                    <a:pt x="84" y="2382"/>
                  </a:cubicBezTo>
                  <a:cubicBezTo>
                    <a:pt x="36" y="2429"/>
                    <a:pt x="0" y="2501"/>
                    <a:pt x="36" y="2572"/>
                  </a:cubicBezTo>
                  <a:lnTo>
                    <a:pt x="893" y="4632"/>
                  </a:lnTo>
                  <a:lnTo>
                    <a:pt x="262" y="5263"/>
                  </a:lnTo>
                  <a:cubicBezTo>
                    <a:pt x="215" y="5311"/>
                    <a:pt x="203" y="5370"/>
                    <a:pt x="215" y="5418"/>
                  </a:cubicBezTo>
                  <a:cubicBezTo>
                    <a:pt x="226" y="5477"/>
                    <a:pt x="262" y="5525"/>
                    <a:pt x="322" y="5537"/>
                  </a:cubicBezTo>
                  <a:lnTo>
                    <a:pt x="1072" y="5834"/>
                  </a:lnTo>
                  <a:lnTo>
                    <a:pt x="941" y="6215"/>
                  </a:lnTo>
                  <a:cubicBezTo>
                    <a:pt x="917" y="6299"/>
                    <a:pt x="953" y="6382"/>
                    <a:pt x="1012" y="6430"/>
                  </a:cubicBezTo>
                  <a:lnTo>
                    <a:pt x="2655" y="7287"/>
                  </a:lnTo>
                  <a:lnTo>
                    <a:pt x="631" y="9037"/>
                  </a:lnTo>
                  <a:cubicBezTo>
                    <a:pt x="584" y="9073"/>
                    <a:pt x="572" y="9132"/>
                    <a:pt x="572" y="9192"/>
                  </a:cubicBezTo>
                  <a:cubicBezTo>
                    <a:pt x="584" y="9252"/>
                    <a:pt x="631" y="9299"/>
                    <a:pt x="679" y="9335"/>
                  </a:cubicBezTo>
                  <a:lnTo>
                    <a:pt x="3727" y="10418"/>
                  </a:lnTo>
                  <a:cubicBezTo>
                    <a:pt x="3747" y="10422"/>
                    <a:pt x="3767" y="10425"/>
                    <a:pt x="3786" y="10425"/>
                  </a:cubicBezTo>
                  <a:cubicBezTo>
                    <a:pt x="3825" y="10425"/>
                    <a:pt x="3862" y="10414"/>
                    <a:pt x="3894" y="10383"/>
                  </a:cubicBezTo>
                  <a:lnTo>
                    <a:pt x="5584" y="8835"/>
                  </a:lnTo>
                  <a:lnTo>
                    <a:pt x="5584" y="11335"/>
                  </a:lnTo>
                  <a:cubicBezTo>
                    <a:pt x="5584" y="11430"/>
                    <a:pt x="5656" y="11502"/>
                    <a:pt x="5751" y="11502"/>
                  </a:cubicBezTo>
                  <a:cubicBezTo>
                    <a:pt x="5834" y="11502"/>
                    <a:pt x="5918" y="11430"/>
                    <a:pt x="5918" y="11335"/>
                  </a:cubicBezTo>
                  <a:lnTo>
                    <a:pt x="5918" y="8835"/>
                  </a:lnTo>
                  <a:lnTo>
                    <a:pt x="7608" y="10383"/>
                  </a:lnTo>
                  <a:cubicBezTo>
                    <a:pt x="7644" y="10418"/>
                    <a:pt x="7680" y="10430"/>
                    <a:pt x="7727" y="10430"/>
                  </a:cubicBezTo>
                  <a:cubicBezTo>
                    <a:pt x="7739" y="10430"/>
                    <a:pt x="7775" y="10430"/>
                    <a:pt x="7787" y="10418"/>
                  </a:cubicBezTo>
                  <a:lnTo>
                    <a:pt x="10835" y="9335"/>
                  </a:lnTo>
                  <a:cubicBezTo>
                    <a:pt x="10894" y="9311"/>
                    <a:pt x="10942" y="9252"/>
                    <a:pt x="10942" y="9192"/>
                  </a:cubicBezTo>
                  <a:cubicBezTo>
                    <a:pt x="10954" y="9132"/>
                    <a:pt x="10930" y="9073"/>
                    <a:pt x="10883" y="9037"/>
                  </a:cubicBezTo>
                  <a:lnTo>
                    <a:pt x="8859" y="7287"/>
                  </a:lnTo>
                  <a:lnTo>
                    <a:pt x="10502" y="6430"/>
                  </a:lnTo>
                  <a:cubicBezTo>
                    <a:pt x="10573" y="6382"/>
                    <a:pt x="10597" y="6311"/>
                    <a:pt x="10573" y="6215"/>
                  </a:cubicBezTo>
                  <a:lnTo>
                    <a:pt x="10442" y="5834"/>
                  </a:lnTo>
                  <a:lnTo>
                    <a:pt x="11192" y="5537"/>
                  </a:lnTo>
                  <a:cubicBezTo>
                    <a:pt x="11252" y="5525"/>
                    <a:pt x="11287" y="5465"/>
                    <a:pt x="11299" y="5418"/>
                  </a:cubicBezTo>
                  <a:cubicBezTo>
                    <a:pt x="11311" y="5358"/>
                    <a:pt x="11299" y="5299"/>
                    <a:pt x="11252" y="5263"/>
                  </a:cubicBezTo>
                  <a:lnTo>
                    <a:pt x="10621" y="4632"/>
                  </a:lnTo>
                  <a:lnTo>
                    <a:pt x="11478" y="2572"/>
                  </a:lnTo>
                  <a:cubicBezTo>
                    <a:pt x="11573" y="2501"/>
                    <a:pt x="11561" y="2429"/>
                    <a:pt x="11502" y="2382"/>
                  </a:cubicBezTo>
                  <a:cubicBezTo>
                    <a:pt x="11470" y="2350"/>
                    <a:pt x="11417" y="2334"/>
                    <a:pt x="11368" y="2334"/>
                  </a:cubicBezTo>
                  <a:cubicBezTo>
                    <a:pt x="11343" y="2334"/>
                    <a:pt x="11319" y="2338"/>
                    <a:pt x="11299" y="2346"/>
                  </a:cubicBezTo>
                  <a:lnTo>
                    <a:pt x="9275" y="3358"/>
                  </a:lnTo>
                  <a:lnTo>
                    <a:pt x="9001" y="2941"/>
                  </a:lnTo>
                  <a:cubicBezTo>
                    <a:pt x="8966" y="2905"/>
                    <a:pt x="8918" y="2870"/>
                    <a:pt x="8859" y="2870"/>
                  </a:cubicBezTo>
                  <a:cubicBezTo>
                    <a:pt x="8799" y="2870"/>
                    <a:pt x="8763" y="2894"/>
                    <a:pt x="8728" y="2929"/>
                  </a:cubicBezTo>
                  <a:lnTo>
                    <a:pt x="7656" y="4179"/>
                  </a:lnTo>
                  <a:lnTo>
                    <a:pt x="7656" y="4179"/>
                  </a:lnTo>
                  <a:lnTo>
                    <a:pt x="8120" y="2167"/>
                  </a:lnTo>
                  <a:cubicBezTo>
                    <a:pt x="8132" y="2132"/>
                    <a:pt x="8120" y="2084"/>
                    <a:pt x="8085" y="2036"/>
                  </a:cubicBezTo>
                  <a:cubicBezTo>
                    <a:pt x="8061" y="2001"/>
                    <a:pt x="8025" y="1977"/>
                    <a:pt x="7966" y="1965"/>
                  </a:cubicBezTo>
                  <a:lnTo>
                    <a:pt x="6965" y="1798"/>
                  </a:lnTo>
                  <a:lnTo>
                    <a:pt x="5930" y="72"/>
                  </a:lnTo>
                  <a:cubicBezTo>
                    <a:pt x="5894" y="24"/>
                    <a:pt x="5846" y="0"/>
                    <a:pt x="5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5" name="Google Shape;12935;p63"/>
          <p:cNvGrpSpPr/>
          <p:nvPr/>
        </p:nvGrpSpPr>
        <p:grpSpPr>
          <a:xfrm>
            <a:off x="5246797" y="1981426"/>
            <a:ext cx="354752" cy="336512"/>
            <a:chOff x="5246797" y="1981426"/>
            <a:chExt cx="354752" cy="336512"/>
          </a:xfrm>
        </p:grpSpPr>
        <p:sp>
          <p:nvSpPr>
            <p:cNvPr id="12936" name="Google Shape;12936;p63"/>
            <p:cNvSpPr/>
            <p:nvPr/>
          </p:nvSpPr>
          <p:spPr>
            <a:xfrm>
              <a:off x="5246797" y="1981426"/>
              <a:ext cx="354752" cy="336512"/>
            </a:xfrm>
            <a:custGeom>
              <a:avLst/>
              <a:gdLst/>
              <a:ahLst/>
              <a:cxnLst/>
              <a:rect l="l" t="t" r="r" b="b"/>
              <a:pathLst>
                <a:path w="11086" h="10516" extrusionOk="0">
                  <a:moveTo>
                    <a:pt x="3239" y="312"/>
                  </a:moveTo>
                  <a:cubicBezTo>
                    <a:pt x="3352" y="312"/>
                    <a:pt x="3467" y="328"/>
                    <a:pt x="3584" y="359"/>
                  </a:cubicBezTo>
                  <a:cubicBezTo>
                    <a:pt x="4120" y="490"/>
                    <a:pt x="4322" y="955"/>
                    <a:pt x="4275" y="1324"/>
                  </a:cubicBezTo>
                  <a:cubicBezTo>
                    <a:pt x="4215" y="1776"/>
                    <a:pt x="3906" y="1979"/>
                    <a:pt x="3584" y="2038"/>
                  </a:cubicBezTo>
                  <a:lnTo>
                    <a:pt x="3679" y="1955"/>
                  </a:lnTo>
                  <a:cubicBezTo>
                    <a:pt x="3799" y="1824"/>
                    <a:pt x="3846" y="1633"/>
                    <a:pt x="3810" y="1443"/>
                  </a:cubicBezTo>
                  <a:cubicBezTo>
                    <a:pt x="3787" y="1193"/>
                    <a:pt x="3572" y="1014"/>
                    <a:pt x="3310" y="990"/>
                  </a:cubicBezTo>
                  <a:lnTo>
                    <a:pt x="3263" y="990"/>
                  </a:lnTo>
                  <a:cubicBezTo>
                    <a:pt x="3013" y="990"/>
                    <a:pt x="2798" y="1133"/>
                    <a:pt x="2679" y="1383"/>
                  </a:cubicBezTo>
                  <a:cubicBezTo>
                    <a:pt x="2620" y="1383"/>
                    <a:pt x="2560" y="1383"/>
                    <a:pt x="2477" y="1371"/>
                  </a:cubicBezTo>
                  <a:cubicBezTo>
                    <a:pt x="2275" y="1324"/>
                    <a:pt x="2120" y="1252"/>
                    <a:pt x="1977" y="1097"/>
                  </a:cubicBezTo>
                  <a:cubicBezTo>
                    <a:pt x="2060" y="1002"/>
                    <a:pt x="2179" y="836"/>
                    <a:pt x="2358" y="669"/>
                  </a:cubicBezTo>
                  <a:cubicBezTo>
                    <a:pt x="2629" y="433"/>
                    <a:pt x="2926" y="312"/>
                    <a:pt x="3239" y="312"/>
                  </a:cubicBezTo>
                  <a:close/>
                  <a:moveTo>
                    <a:pt x="4549" y="9837"/>
                  </a:moveTo>
                  <a:lnTo>
                    <a:pt x="4870" y="9944"/>
                  </a:lnTo>
                  <a:lnTo>
                    <a:pt x="4858" y="10182"/>
                  </a:lnTo>
                  <a:lnTo>
                    <a:pt x="4394" y="10182"/>
                  </a:lnTo>
                  <a:lnTo>
                    <a:pt x="4549" y="9837"/>
                  </a:lnTo>
                  <a:close/>
                  <a:moveTo>
                    <a:pt x="10025" y="9837"/>
                  </a:moveTo>
                  <a:lnTo>
                    <a:pt x="10383" y="9956"/>
                  </a:lnTo>
                  <a:lnTo>
                    <a:pt x="10347" y="10182"/>
                  </a:lnTo>
                  <a:lnTo>
                    <a:pt x="9871" y="10182"/>
                  </a:lnTo>
                  <a:lnTo>
                    <a:pt x="10025" y="9837"/>
                  </a:lnTo>
                  <a:close/>
                  <a:moveTo>
                    <a:pt x="3258" y="0"/>
                  </a:moveTo>
                  <a:cubicBezTo>
                    <a:pt x="2856" y="0"/>
                    <a:pt x="2470" y="146"/>
                    <a:pt x="2132" y="431"/>
                  </a:cubicBezTo>
                  <a:cubicBezTo>
                    <a:pt x="1846" y="669"/>
                    <a:pt x="1691" y="943"/>
                    <a:pt x="1643" y="1026"/>
                  </a:cubicBezTo>
                  <a:cubicBezTo>
                    <a:pt x="691" y="1836"/>
                    <a:pt x="60" y="2848"/>
                    <a:pt x="36" y="2895"/>
                  </a:cubicBezTo>
                  <a:cubicBezTo>
                    <a:pt x="0" y="2931"/>
                    <a:pt x="0" y="2979"/>
                    <a:pt x="24" y="3026"/>
                  </a:cubicBezTo>
                  <a:lnTo>
                    <a:pt x="119" y="3324"/>
                  </a:lnTo>
                  <a:cubicBezTo>
                    <a:pt x="203" y="3526"/>
                    <a:pt x="393" y="3669"/>
                    <a:pt x="596" y="3669"/>
                  </a:cubicBezTo>
                  <a:cubicBezTo>
                    <a:pt x="631" y="3669"/>
                    <a:pt x="679" y="3669"/>
                    <a:pt x="703" y="3645"/>
                  </a:cubicBezTo>
                  <a:cubicBezTo>
                    <a:pt x="953" y="3598"/>
                    <a:pt x="1191" y="3586"/>
                    <a:pt x="1417" y="3574"/>
                  </a:cubicBezTo>
                  <a:cubicBezTo>
                    <a:pt x="1703" y="3562"/>
                    <a:pt x="1989" y="3538"/>
                    <a:pt x="2239" y="3443"/>
                  </a:cubicBezTo>
                  <a:cubicBezTo>
                    <a:pt x="2322" y="3622"/>
                    <a:pt x="2405" y="3884"/>
                    <a:pt x="2489" y="4217"/>
                  </a:cubicBezTo>
                  <a:cubicBezTo>
                    <a:pt x="2727" y="5062"/>
                    <a:pt x="3037" y="6217"/>
                    <a:pt x="4072" y="6741"/>
                  </a:cubicBezTo>
                  <a:lnTo>
                    <a:pt x="4370" y="7979"/>
                  </a:lnTo>
                  <a:lnTo>
                    <a:pt x="4370" y="9456"/>
                  </a:lnTo>
                  <a:lnTo>
                    <a:pt x="4013" y="10289"/>
                  </a:lnTo>
                  <a:cubicBezTo>
                    <a:pt x="3989" y="10337"/>
                    <a:pt x="3989" y="10384"/>
                    <a:pt x="4025" y="10432"/>
                  </a:cubicBezTo>
                  <a:cubicBezTo>
                    <a:pt x="4049" y="10480"/>
                    <a:pt x="4096" y="10515"/>
                    <a:pt x="4156" y="10515"/>
                  </a:cubicBezTo>
                  <a:lnTo>
                    <a:pt x="5025" y="10515"/>
                  </a:lnTo>
                  <a:cubicBezTo>
                    <a:pt x="5108" y="10515"/>
                    <a:pt x="5168" y="10456"/>
                    <a:pt x="5180" y="10360"/>
                  </a:cubicBezTo>
                  <a:lnTo>
                    <a:pt x="5382" y="7134"/>
                  </a:lnTo>
                  <a:cubicBezTo>
                    <a:pt x="5465" y="7134"/>
                    <a:pt x="5561" y="7146"/>
                    <a:pt x="5644" y="7146"/>
                  </a:cubicBezTo>
                  <a:cubicBezTo>
                    <a:pt x="5739" y="7146"/>
                    <a:pt x="5811" y="7074"/>
                    <a:pt x="5811" y="7003"/>
                  </a:cubicBezTo>
                  <a:cubicBezTo>
                    <a:pt x="5811" y="6908"/>
                    <a:pt x="5751" y="6836"/>
                    <a:pt x="5656" y="6836"/>
                  </a:cubicBezTo>
                  <a:cubicBezTo>
                    <a:pt x="5573" y="6836"/>
                    <a:pt x="5477" y="6812"/>
                    <a:pt x="5406" y="6812"/>
                  </a:cubicBezTo>
                  <a:lnTo>
                    <a:pt x="5418" y="6551"/>
                  </a:lnTo>
                  <a:cubicBezTo>
                    <a:pt x="5418" y="6455"/>
                    <a:pt x="5358" y="6384"/>
                    <a:pt x="5275" y="6384"/>
                  </a:cubicBezTo>
                  <a:cubicBezTo>
                    <a:pt x="5180" y="6384"/>
                    <a:pt x="5108" y="6443"/>
                    <a:pt x="5108" y="6539"/>
                  </a:cubicBezTo>
                  <a:lnTo>
                    <a:pt x="4918" y="9646"/>
                  </a:lnTo>
                  <a:lnTo>
                    <a:pt x="4691" y="9575"/>
                  </a:lnTo>
                  <a:cubicBezTo>
                    <a:pt x="4703" y="9551"/>
                    <a:pt x="4703" y="9527"/>
                    <a:pt x="4703" y="9515"/>
                  </a:cubicBezTo>
                  <a:lnTo>
                    <a:pt x="4703" y="7991"/>
                  </a:lnTo>
                  <a:lnTo>
                    <a:pt x="4703" y="7944"/>
                  </a:lnTo>
                  <a:lnTo>
                    <a:pt x="4394" y="6622"/>
                  </a:lnTo>
                  <a:cubicBezTo>
                    <a:pt x="4382" y="6574"/>
                    <a:pt x="4346" y="6539"/>
                    <a:pt x="4310" y="6515"/>
                  </a:cubicBezTo>
                  <a:cubicBezTo>
                    <a:pt x="3370" y="6086"/>
                    <a:pt x="3072" y="5027"/>
                    <a:pt x="2846" y="4169"/>
                  </a:cubicBezTo>
                  <a:cubicBezTo>
                    <a:pt x="2763" y="3836"/>
                    <a:pt x="2667" y="3538"/>
                    <a:pt x="2560" y="3336"/>
                  </a:cubicBezTo>
                  <a:cubicBezTo>
                    <a:pt x="2667" y="3264"/>
                    <a:pt x="2775" y="3157"/>
                    <a:pt x="2858" y="3026"/>
                  </a:cubicBezTo>
                  <a:cubicBezTo>
                    <a:pt x="2906" y="2943"/>
                    <a:pt x="2894" y="2848"/>
                    <a:pt x="2822" y="2800"/>
                  </a:cubicBezTo>
                  <a:cubicBezTo>
                    <a:pt x="2790" y="2782"/>
                    <a:pt x="2756" y="2772"/>
                    <a:pt x="2724" y="2772"/>
                  </a:cubicBezTo>
                  <a:cubicBezTo>
                    <a:pt x="2673" y="2772"/>
                    <a:pt x="2625" y="2796"/>
                    <a:pt x="2596" y="2848"/>
                  </a:cubicBezTo>
                  <a:cubicBezTo>
                    <a:pt x="2322" y="3241"/>
                    <a:pt x="1953" y="3264"/>
                    <a:pt x="1429" y="3300"/>
                  </a:cubicBezTo>
                  <a:cubicBezTo>
                    <a:pt x="1215" y="3324"/>
                    <a:pt x="953" y="3336"/>
                    <a:pt x="679" y="3395"/>
                  </a:cubicBezTo>
                  <a:cubicBezTo>
                    <a:pt x="667" y="3397"/>
                    <a:pt x="656" y="3398"/>
                    <a:pt x="645" y="3398"/>
                  </a:cubicBezTo>
                  <a:cubicBezTo>
                    <a:pt x="564" y="3398"/>
                    <a:pt x="496" y="3360"/>
                    <a:pt x="465" y="3276"/>
                  </a:cubicBezTo>
                  <a:lnTo>
                    <a:pt x="393" y="3050"/>
                  </a:lnTo>
                  <a:cubicBezTo>
                    <a:pt x="536" y="2824"/>
                    <a:pt x="1060" y="2050"/>
                    <a:pt x="1810" y="1419"/>
                  </a:cubicBezTo>
                  <a:cubicBezTo>
                    <a:pt x="2138" y="1715"/>
                    <a:pt x="2493" y="1774"/>
                    <a:pt x="2701" y="1774"/>
                  </a:cubicBezTo>
                  <a:cubicBezTo>
                    <a:pt x="2803" y="1774"/>
                    <a:pt x="2870" y="1760"/>
                    <a:pt x="2882" y="1752"/>
                  </a:cubicBezTo>
                  <a:cubicBezTo>
                    <a:pt x="2941" y="1740"/>
                    <a:pt x="2977" y="1705"/>
                    <a:pt x="3001" y="1657"/>
                  </a:cubicBezTo>
                  <a:cubicBezTo>
                    <a:pt x="3084" y="1371"/>
                    <a:pt x="3275" y="1371"/>
                    <a:pt x="3322" y="1371"/>
                  </a:cubicBezTo>
                  <a:cubicBezTo>
                    <a:pt x="3418" y="1383"/>
                    <a:pt x="3513" y="1431"/>
                    <a:pt x="3537" y="1550"/>
                  </a:cubicBezTo>
                  <a:cubicBezTo>
                    <a:pt x="3548" y="1657"/>
                    <a:pt x="3537" y="1728"/>
                    <a:pt x="3477" y="1800"/>
                  </a:cubicBezTo>
                  <a:cubicBezTo>
                    <a:pt x="3334" y="1955"/>
                    <a:pt x="3037" y="2002"/>
                    <a:pt x="2941" y="2002"/>
                  </a:cubicBezTo>
                  <a:cubicBezTo>
                    <a:pt x="2858" y="2002"/>
                    <a:pt x="2798" y="2038"/>
                    <a:pt x="2786" y="2098"/>
                  </a:cubicBezTo>
                  <a:cubicBezTo>
                    <a:pt x="2775" y="2157"/>
                    <a:pt x="2786" y="2229"/>
                    <a:pt x="2846" y="2276"/>
                  </a:cubicBezTo>
                  <a:cubicBezTo>
                    <a:pt x="2858" y="2300"/>
                    <a:pt x="3060" y="2443"/>
                    <a:pt x="3358" y="2443"/>
                  </a:cubicBezTo>
                  <a:lnTo>
                    <a:pt x="3394" y="2443"/>
                  </a:lnTo>
                  <a:cubicBezTo>
                    <a:pt x="3489" y="2443"/>
                    <a:pt x="3560" y="2443"/>
                    <a:pt x="3632" y="2431"/>
                  </a:cubicBezTo>
                  <a:cubicBezTo>
                    <a:pt x="3727" y="2705"/>
                    <a:pt x="3810" y="2979"/>
                    <a:pt x="4025" y="3098"/>
                  </a:cubicBezTo>
                  <a:cubicBezTo>
                    <a:pt x="4522" y="3413"/>
                    <a:pt x="5457" y="3460"/>
                    <a:pt x="6454" y="3460"/>
                  </a:cubicBezTo>
                  <a:cubicBezTo>
                    <a:pt x="6698" y="3460"/>
                    <a:pt x="6946" y="3457"/>
                    <a:pt x="7192" y="3455"/>
                  </a:cubicBezTo>
                  <a:cubicBezTo>
                    <a:pt x="7402" y="3452"/>
                    <a:pt x="7611" y="3450"/>
                    <a:pt x="7813" y="3450"/>
                  </a:cubicBezTo>
                  <a:cubicBezTo>
                    <a:pt x="8512" y="3450"/>
                    <a:pt x="9135" y="3475"/>
                    <a:pt x="9514" y="3586"/>
                  </a:cubicBezTo>
                  <a:cubicBezTo>
                    <a:pt x="10406" y="3884"/>
                    <a:pt x="10585" y="4491"/>
                    <a:pt x="10585" y="4955"/>
                  </a:cubicBezTo>
                  <a:cubicBezTo>
                    <a:pt x="10585" y="5265"/>
                    <a:pt x="10514" y="5538"/>
                    <a:pt x="10442" y="5800"/>
                  </a:cubicBezTo>
                  <a:cubicBezTo>
                    <a:pt x="10347" y="6146"/>
                    <a:pt x="10240" y="6503"/>
                    <a:pt x="10323" y="6920"/>
                  </a:cubicBezTo>
                  <a:cubicBezTo>
                    <a:pt x="10395" y="7324"/>
                    <a:pt x="10657" y="7670"/>
                    <a:pt x="10764" y="7801"/>
                  </a:cubicBezTo>
                  <a:lnTo>
                    <a:pt x="10478" y="9670"/>
                  </a:lnTo>
                  <a:lnTo>
                    <a:pt x="10204" y="9587"/>
                  </a:lnTo>
                  <a:cubicBezTo>
                    <a:pt x="10204" y="9575"/>
                    <a:pt x="10216" y="9551"/>
                    <a:pt x="10216" y="9539"/>
                  </a:cubicBezTo>
                  <a:lnTo>
                    <a:pt x="10430" y="7872"/>
                  </a:lnTo>
                  <a:cubicBezTo>
                    <a:pt x="10454" y="7813"/>
                    <a:pt x="10418" y="7753"/>
                    <a:pt x="10359" y="7705"/>
                  </a:cubicBezTo>
                  <a:cubicBezTo>
                    <a:pt x="9216" y="6967"/>
                    <a:pt x="8811" y="6253"/>
                    <a:pt x="8692" y="5979"/>
                  </a:cubicBezTo>
                  <a:cubicBezTo>
                    <a:pt x="8674" y="5924"/>
                    <a:pt x="8607" y="5884"/>
                    <a:pt x="8544" y="5884"/>
                  </a:cubicBezTo>
                  <a:cubicBezTo>
                    <a:pt x="8525" y="5884"/>
                    <a:pt x="8506" y="5887"/>
                    <a:pt x="8490" y="5896"/>
                  </a:cubicBezTo>
                  <a:cubicBezTo>
                    <a:pt x="8406" y="5919"/>
                    <a:pt x="8371" y="6027"/>
                    <a:pt x="8394" y="6098"/>
                  </a:cubicBezTo>
                  <a:lnTo>
                    <a:pt x="8501" y="6312"/>
                  </a:lnTo>
                  <a:cubicBezTo>
                    <a:pt x="8168" y="6431"/>
                    <a:pt x="7239" y="6753"/>
                    <a:pt x="6346" y="6812"/>
                  </a:cubicBezTo>
                  <a:cubicBezTo>
                    <a:pt x="6251" y="6812"/>
                    <a:pt x="6180" y="6896"/>
                    <a:pt x="6192" y="6979"/>
                  </a:cubicBezTo>
                  <a:cubicBezTo>
                    <a:pt x="6192" y="7074"/>
                    <a:pt x="6263" y="7134"/>
                    <a:pt x="6358" y="7134"/>
                  </a:cubicBezTo>
                  <a:lnTo>
                    <a:pt x="6370" y="7134"/>
                  </a:lnTo>
                  <a:cubicBezTo>
                    <a:pt x="7382" y="7074"/>
                    <a:pt x="8430" y="6681"/>
                    <a:pt x="8692" y="6574"/>
                  </a:cubicBezTo>
                  <a:cubicBezTo>
                    <a:pt x="8942" y="6932"/>
                    <a:pt x="9383" y="7408"/>
                    <a:pt x="10109" y="7908"/>
                  </a:cubicBezTo>
                  <a:lnTo>
                    <a:pt x="9895" y="9432"/>
                  </a:lnTo>
                  <a:lnTo>
                    <a:pt x="9525" y="10289"/>
                  </a:lnTo>
                  <a:cubicBezTo>
                    <a:pt x="9514" y="10325"/>
                    <a:pt x="9514" y="10384"/>
                    <a:pt x="9537" y="10432"/>
                  </a:cubicBezTo>
                  <a:cubicBezTo>
                    <a:pt x="9573" y="10480"/>
                    <a:pt x="9621" y="10503"/>
                    <a:pt x="9680" y="10503"/>
                  </a:cubicBezTo>
                  <a:lnTo>
                    <a:pt x="10537" y="10503"/>
                  </a:lnTo>
                  <a:cubicBezTo>
                    <a:pt x="10609" y="10503"/>
                    <a:pt x="10692" y="10444"/>
                    <a:pt x="10704" y="10372"/>
                  </a:cubicBezTo>
                  <a:lnTo>
                    <a:pt x="11085" y="7741"/>
                  </a:lnTo>
                  <a:cubicBezTo>
                    <a:pt x="11049" y="7682"/>
                    <a:pt x="11026" y="7634"/>
                    <a:pt x="10990" y="7610"/>
                  </a:cubicBezTo>
                  <a:cubicBezTo>
                    <a:pt x="10990" y="7610"/>
                    <a:pt x="10645" y="7241"/>
                    <a:pt x="10573" y="6824"/>
                  </a:cubicBezTo>
                  <a:cubicBezTo>
                    <a:pt x="10514" y="6479"/>
                    <a:pt x="10585" y="6181"/>
                    <a:pt x="10680" y="5848"/>
                  </a:cubicBezTo>
                  <a:cubicBezTo>
                    <a:pt x="10752" y="5574"/>
                    <a:pt x="10835" y="5277"/>
                    <a:pt x="10835" y="4919"/>
                  </a:cubicBezTo>
                  <a:cubicBezTo>
                    <a:pt x="10835" y="4110"/>
                    <a:pt x="10383" y="3514"/>
                    <a:pt x="9537" y="3252"/>
                  </a:cubicBezTo>
                  <a:cubicBezTo>
                    <a:pt x="9075" y="3095"/>
                    <a:pt x="8298" y="3086"/>
                    <a:pt x="7459" y="3086"/>
                  </a:cubicBezTo>
                  <a:cubicBezTo>
                    <a:pt x="7347" y="3086"/>
                    <a:pt x="7234" y="3086"/>
                    <a:pt x="7120" y="3086"/>
                  </a:cubicBezTo>
                  <a:cubicBezTo>
                    <a:pt x="6906" y="3088"/>
                    <a:pt x="6687" y="3090"/>
                    <a:pt x="6469" y="3090"/>
                  </a:cubicBezTo>
                  <a:cubicBezTo>
                    <a:pt x="5513" y="3090"/>
                    <a:pt x="4578" y="3048"/>
                    <a:pt x="4132" y="2776"/>
                  </a:cubicBezTo>
                  <a:cubicBezTo>
                    <a:pt x="4025" y="2717"/>
                    <a:pt x="3953" y="2490"/>
                    <a:pt x="3894" y="2276"/>
                  </a:cubicBezTo>
                  <a:cubicBezTo>
                    <a:pt x="4310" y="2098"/>
                    <a:pt x="4549" y="1740"/>
                    <a:pt x="4584" y="1371"/>
                  </a:cubicBezTo>
                  <a:cubicBezTo>
                    <a:pt x="4620" y="1086"/>
                    <a:pt x="4561" y="800"/>
                    <a:pt x="4406" y="562"/>
                  </a:cubicBezTo>
                  <a:cubicBezTo>
                    <a:pt x="4251" y="312"/>
                    <a:pt x="3989" y="133"/>
                    <a:pt x="3668" y="50"/>
                  </a:cubicBezTo>
                  <a:cubicBezTo>
                    <a:pt x="3530" y="17"/>
                    <a:pt x="3393" y="0"/>
                    <a:pt x="32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7" name="Google Shape;12937;p63"/>
            <p:cNvSpPr/>
            <p:nvPr/>
          </p:nvSpPr>
          <p:spPr>
            <a:xfrm>
              <a:off x="5295565" y="2044338"/>
              <a:ext cx="10304" cy="10688"/>
            </a:xfrm>
            <a:custGeom>
              <a:avLst/>
              <a:gdLst/>
              <a:ahLst/>
              <a:cxnLst/>
              <a:rect l="l" t="t" r="r" b="b"/>
              <a:pathLst>
                <a:path w="322" h="334" extrusionOk="0">
                  <a:moveTo>
                    <a:pt x="167" y="1"/>
                  </a:moveTo>
                  <a:cubicBezTo>
                    <a:pt x="72" y="1"/>
                    <a:pt x="0" y="72"/>
                    <a:pt x="0" y="167"/>
                  </a:cubicBezTo>
                  <a:cubicBezTo>
                    <a:pt x="0" y="251"/>
                    <a:pt x="72" y="334"/>
                    <a:pt x="167" y="334"/>
                  </a:cubicBezTo>
                  <a:cubicBezTo>
                    <a:pt x="250" y="334"/>
                    <a:pt x="322" y="251"/>
                    <a:pt x="322" y="167"/>
                  </a:cubicBez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38" name="Google Shape;12938;p63"/>
          <p:cNvGrpSpPr/>
          <p:nvPr/>
        </p:nvGrpSpPr>
        <p:grpSpPr>
          <a:xfrm>
            <a:off x="4148749" y="2102066"/>
            <a:ext cx="355136" cy="216256"/>
            <a:chOff x="4148749" y="2102066"/>
            <a:chExt cx="355136" cy="216256"/>
          </a:xfrm>
        </p:grpSpPr>
        <p:sp>
          <p:nvSpPr>
            <p:cNvPr id="12939" name="Google Shape;12939;p63"/>
            <p:cNvSpPr/>
            <p:nvPr/>
          </p:nvSpPr>
          <p:spPr>
            <a:xfrm>
              <a:off x="4148749" y="2102066"/>
              <a:ext cx="355136" cy="216256"/>
            </a:xfrm>
            <a:custGeom>
              <a:avLst/>
              <a:gdLst/>
              <a:ahLst/>
              <a:cxnLst/>
              <a:rect l="l" t="t" r="r" b="b"/>
              <a:pathLst>
                <a:path w="11098" h="6758" extrusionOk="0">
                  <a:moveTo>
                    <a:pt x="10395" y="340"/>
                  </a:moveTo>
                  <a:cubicBezTo>
                    <a:pt x="10442" y="340"/>
                    <a:pt x="10490" y="352"/>
                    <a:pt x="10514" y="387"/>
                  </a:cubicBezTo>
                  <a:cubicBezTo>
                    <a:pt x="10561" y="435"/>
                    <a:pt x="10561" y="495"/>
                    <a:pt x="10550" y="530"/>
                  </a:cubicBezTo>
                  <a:cubicBezTo>
                    <a:pt x="10538" y="578"/>
                    <a:pt x="10478" y="637"/>
                    <a:pt x="10383" y="709"/>
                  </a:cubicBezTo>
                  <a:cubicBezTo>
                    <a:pt x="10383" y="709"/>
                    <a:pt x="10383" y="697"/>
                    <a:pt x="10371" y="697"/>
                  </a:cubicBezTo>
                  <a:cubicBezTo>
                    <a:pt x="10300" y="602"/>
                    <a:pt x="10252" y="471"/>
                    <a:pt x="10264" y="399"/>
                  </a:cubicBezTo>
                  <a:cubicBezTo>
                    <a:pt x="10264" y="387"/>
                    <a:pt x="10276" y="352"/>
                    <a:pt x="10359" y="340"/>
                  </a:cubicBezTo>
                  <a:close/>
                  <a:moveTo>
                    <a:pt x="10435" y="0"/>
                  </a:moveTo>
                  <a:cubicBezTo>
                    <a:pt x="10390" y="0"/>
                    <a:pt x="10345" y="6"/>
                    <a:pt x="10300" y="18"/>
                  </a:cubicBezTo>
                  <a:cubicBezTo>
                    <a:pt x="10133" y="42"/>
                    <a:pt x="10026" y="149"/>
                    <a:pt x="9966" y="280"/>
                  </a:cubicBezTo>
                  <a:cubicBezTo>
                    <a:pt x="9895" y="495"/>
                    <a:pt x="10002" y="745"/>
                    <a:pt x="10121" y="887"/>
                  </a:cubicBezTo>
                  <a:cubicBezTo>
                    <a:pt x="10026" y="947"/>
                    <a:pt x="9930" y="1006"/>
                    <a:pt x="9823" y="1054"/>
                  </a:cubicBezTo>
                  <a:cubicBezTo>
                    <a:pt x="9478" y="804"/>
                    <a:pt x="9061" y="625"/>
                    <a:pt x="8573" y="506"/>
                  </a:cubicBezTo>
                  <a:cubicBezTo>
                    <a:pt x="8134" y="404"/>
                    <a:pt x="7632" y="355"/>
                    <a:pt x="7072" y="355"/>
                  </a:cubicBezTo>
                  <a:cubicBezTo>
                    <a:pt x="6721" y="355"/>
                    <a:pt x="6348" y="374"/>
                    <a:pt x="5954" y="411"/>
                  </a:cubicBezTo>
                  <a:cubicBezTo>
                    <a:pt x="4489" y="566"/>
                    <a:pt x="3144" y="971"/>
                    <a:pt x="2751" y="1090"/>
                  </a:cubicBezTo>
                  <a:cubicBezTo>
                    <a:pt x="2644" y="935"/>
                    <a:pt x="2549" y="816"/>
                    <a:pt x="2429" y="733"/>
                  </a:cubicBezTo>
                  <a:cubicBezTo>
                    <a:pt x="2263" y="590"/>
                    <a:pt x="2144" y="554"/>
                    <a:pt x="2132" y="554"/>
                  </a:cubicBezTo>
                  <a:cubicBezTo>
                    <a:pt x="2112" y="546"/>
                    <a:pt x="2092" y="542"/>
                    <a:pt x="2073" y="542"/>
                  </a:cubicBezTo>
                  <a:cubicBezTo>
                    <a:pt x="2011" y="542"/>
                    <a:pt x="1957" y="580"/>
                    <a:pt x="1929" y="625"/>
                  </a:cubicBezTo>
                  <a:cubicBezTo>
                    <a:pt x="1787" y="911"/>
                    <a:pt x="1727" y="1173"/>
                    <a:pt x="1715" y="1387"/>
                  </a:cubicBezTo>
                  <a:lnTo>
                    <a:pt x="1429" y="1483"/>
                  </a:lnTo>
                  <a:cubicBezTo>
                    <a:pt x="1382" y="1507"/>
                    <a:pt x="1334" y="1542"/>
                    <a:pt x="1322" y="1602"/>
                  </a:cubicBezTo>
                  <a:cubicBezTo>
                    <a:pt x="1203" y="2114"/>
                    <a:pt x="394" y="2519"/>
                    <a:pt x="120" y="2638"/>
                  </a:cubicBezTo>
                  <a:cubicBezTo>
                    <a:pt x="48" y="2661"/>
                    <a:pt x="1" y="2733"/>
                    <a:pt x="13" y="2828"/>
                  </a:cubicBezTo>
                  <a:lnTo>
                    <a:pt x="155" y="3412"/>
                  </a:lnTo>
                  <a:cubicBezTo>
                    <a:pt x="191" y="3543"/>
                    <a:pt x="310" y="3626"/>
                    <a:pt x="441" y="3662"/>
                  </a:cubicBezTo>
                  <a:cubicBezTo>
                    <a:pt x="477" y="3662"/>
                    <a:pt x="501" y="3662"/>
                    <a:pt x="536" y="3673"/>
                  </a:cubicBezTo>
                  <a:cubicBezTo>
                    <a:pt x="727" y="4102"/>
                    <a:pt x="1632" y="4281"/>
                    <a:pt x="2751" y="4507"/>
                  </a:cubicBezTo>
                  <a:cubicBezTo>
                    <a:pt x="2822" y="4519"/>
                    <a:pt x="2882" y="4543"/>
                    <a:pt x="2953" y="4555"/>
                  </a:cubicBezTo>
                  <a:lnTo>
                    <a:pt x="3346" y="5852"/>
                  </a:lnTo>
                  <a:lnTo>
                    <a:pt x="3132" y="6567"/>
                  </a:lnTo>
                  <a:cubicBezTo>
                    <a:pt x="3120" y="6602"/>
                    <a:pt x="3132" y="6662"/>
                    <a:pt x="3168" y="6698"/>
                  </a:cubicBezTo>
                  <a:cubicBezTo>
                    <a:pt x="3203" y="6745"/>
                    <a:pt x="3239" y="6757"/>
                    <a:pt x="3299" y="6757"/>
                  </a:cubicBezTo>
                  <a:lnTo>
                    <a:pt x="3989" y="6757"/>
                  </a:lnTo>
                  <a:cubicBezTo>
                    <a:pt x="4073" y="6757"/>
                    <a:pt x="4132" y="6698"/>
                    <a:pt x="4156" y="6602"/>
                  </a:cubicBezTo>
                  <a:lnTo>
                    <a:pt x="4299" y="5197"/>
                  </a:lnTo>
                  <a:cubicBezTo>
                    <a:pt x="4311" y="5078"/>
                    <a:pt x="4311" y="4959"/>
                    <a:pt x="4311" y="4816"/>
                  </a:cubicBezTo>
                  <a:cubicBezTo>
                    <a:pt x="5049" y="4983"/>
                    <a:pt x="5858" y="5078"/>
                    <a:pt x="6692" y="5078"/>
                  </a:cubicBezTo>
                  <a:cubicBezTo>
                    <a:pt x="7073" y="5078"/>
                    <a:pt x="7442" y="5055"/>
                    <a:pt x="7811" y="5019"/>
                  </a:cubicBezTo>
                  <a:cubicBezTo>
                    <a:pt x="7906" y="4995"/>
                    <a:pt x="7966" y="4924"/>
                    <a:pt x="7966" y="4840"/>
                  </a:cubicBezTo>
                  <a:cubicBezTo>
                    <a:pt x="7942" y="4745"/>
                    <a:pt x="7871" y="4686"/>
                    <a:pt x="7787" y="4686"/>
                  </a:cubicBezTo>
                  <a:cubicBezTo>
                    <a:pt x="7401" y="4725"/>
                    <a:pt x="7033" y="4741"/>
                    <a:pt x="6688" y="4741"/>
                  </a:cubicBezTo>
                  <a:cubicBezTo>
                    <a:pt x="5578" y="4741"/>
                    <a:pt x="4717" y="4574"/>
                    <a:pt x="4299" y="4483"/>
                  </a:cubicBezTo>
                  <a:cubicBezTo>
                    <a:pt x="4287" y="4340"/>
                    <a:pt x="4251" y="4209"/>
                    <a:pt x="4215" y="4090"/>
                  </a:cubicBezTo>
                  <a:lnTo>
                    <a:pt x="4120" y="3828"/>
                  </a:lnTo>
                  <a:cubicBezTo>
                    <a:pt x="4092" y="3754"/>
                    <a:pt x="4036" y="3709"/>
                    <a:pt x="3974" y="3709"/>
                  </a:cubicBezTo>
                  <a:cubicBezTo>
                    <a:pt x="3955" y="3709"/>
                    <a:pt x="3937" y="3713"/>
                    <a:pt x="3918" y="3721"/>
                  </a:cubicBezTo>
                  <a:cubicBezTo>
                    <a:pt x="3823" y="3745"/>
                    <a:pt x="3775" y="3840"/>
                    <a:pt x="3811" y="3924"/>
                  </a:cubicBezTo>
                  <a:lnTo>
                    <a:pt x="3894" y="4197"/>
                  </a:lnTo>
                  <a:cubicBezTo>
                    <a:pt x="3989" y="4507"/>
                    <a:pt x="4025" y="4840"/>
                    <a:pt x="3989" y="5162"/>
                  </a:cubicBezTo>
                  <a:lnTo>
                    <a:pt x="3858" y="6424"/>
                  </a:lnTo>
                  <a:lnTo>
                    <a:pt x="3525" y="6424"/>
                  </a:lnTo>
                  <a:lnTo>
                    <a:pt x="3692" y="5876"/>
                  </a:lnTo>
                  <a:cubicBezTo>
                    <a:pt x="3703" y="5852"/>
                    <a:pt x="3703" y="5817"/>
                    <a:pt x="3692" y="5793"/>
                  </a:cubicBezTo>
                  <a:lnTo>
                    <a:pt x="3275" y="4364"/>
                  </a:lnTo>
                  <a:cubicBezTo>
                    <a:pt x="3263" y="4305"/>
                    <a:pt x="3215" y="4257"/>
                    <a:pt x="3156" y="4245"/>
                  </a:cubicBezTo>
                  <a:cubicBezTo>
                    <a:pt x="3049" y="4221"/>
                    <a:pt x="2941" y="4197"/>
                    <a:pt x="2858" y="4185"/>
                  </a:cubicBezTo>
                  <a:cubicBezTo>
                    <a:pt x="2322" y="4078"/>
                    <a:pt x="1798" y="3971"/>
                    <a:pt x="1429" y="3852"/>
                  </a:cubicBezTo>
                  <a:cubicBezTo>
                    <a:pt x="1239" y="3793"/>
                    <a:pt x="1096" y="3733"/>
                    <a:pt x="1013" y="3673"/>
                  </a:cubicBezTo>
                  <a:cubicBezTo>
                    <a:pt x="1239" y="3662"/>
                    <a:pt x="1453" y="3590"/>
                    <a:pt x="1608" y="3423"/>
                  </a:cubicBezTo>
                  <a:cubicBezTo>
                    <a:pt x="1667" y="3364"/>
                    <a:pt x="1667" y="3257"/>
                    <a:pt x="1608" y="3197"/>
                  </a:cubicBezTo>
                  <a:cubicBezTo>
                    <a:pt x="1578" y="3167"/>
                    <a:pt x="1537" y="3153"/>
                    <a:pt x="1495" y="3153"/>
                  </a:cubicBezTo>
                  <a:cubicBezTo>
                    <a:pt x="1453" y="3153"/>
                    <a:pt x="1411" y="3167"/>
                    <a:pt x="1382" y="3197"/>
                  </a:cubicBezTo>
                  <a:cubicBezTo>
                    <a:pt x="1285" y="3294"/>
                    <a:pt x="1092" y="3351"/>
                    <a:pt x="835" y="3351"/>
                  </a:cubicBezTo>
                  <a:cubicBezTo>
                    <a:pt x="743" y="3351"/>
                    <a:pt x="643" y="3344"/>
                    <a:pt x="536" y="3328"/>
                  </a:cubicBezTo>
                  <a:lnTo>
                    <a:pt x="524" y="3316"/>
                  </a:lnTo>
                  <a:lnTo>
                    <a:pt x="405" y="2876"/>
                  </a:lnTo>
                  <a:cubicBezTo>
                    <a:pt x="524" y="2816"/>
                    <a:pt x="703" y="2721"/>
                    <a:pt x="894" y="2602"/>
                  </a:cubicBezTo>
                  <a:cubicBezTo>
                    <a:pt x="1298" y="2340"/>
                    <a:pt x="1548" y="2066"/>
                    <a:pt x="1656" y="1768"/>
                  </a:cubicBezTo>
                  <a:lnTo>
                    <a:pt x="1775" y="1721"/>
                  </a:lnTo>
                  <a:cubicBezTo>
                    <a:pt x="1798" y="1888"/>
                    <a:pt x="1846" y="1983"/>
                    <a:pt x="1858" y="1995"/>
                  </a:cubicBezTo>
                  <a:cubicBezTo>
                    <a:pt x="1894" y="2054"/>
                    <a:pt x="1953" y="2078"/>
                    <a:pt x="2013" y="2078"/>
                  </a:cubicBezTo>
                  <a:cubicBezTo>
                    <a:pt x="2037" y="2078"/>
                    <a:pt x="2072" y="2078"/>
                    <a:pt x="2084" y="2066"/>
                  </a:cubicBezTo>
                  <a:cubicBezTo>
                    <a:pt x="2156" y="2019"/>
                    <a:pt x="2191" y="1935"/>
                    <a:pt x="2144" y="1840"/>
                  </a:cubicBezTo>
                  <a:cubicBezTo>
                    <a:pt x="2132" y="1828"/>
                    <a:pt x="1965" y="1483"/>
                    <a:pt x="2179" y="935"/>
                  </a:cubicBezTo>
                  <a:cubicBezTo>
                    <a:pt x="2322" y="1030"/>
                    <a:pt x="2525" y="1221"/>
                    <a:pt x="2727" y="1602"/>
                  </a:cubicBezTo>
                  <a:cubicBezTo>
                    <a:pt x="2754" y="1663"/>
                    <a:pt x="2812" y="1699"/>
                    <a:pt x="2875" y="1699"/>
                  </a:cubicBezTo>
                  <a:cubicBezTo>
                    <a:pt x="2897" y="1699"/>
                    <a:pt x="2920" y="1694"/>
                    <a:pt x="2941" y="1685"/>
                  </a:cubicBezTo>
                  <a:cubicBezTo>
                    <a:pt x="3025" y="1638"/>
                    <a:pt x="3061" y="1542"/>
                    <a:pt x="3025" y="1459"/>
                  </a:cubicBezTo>
                  <a:cubicBezTo>
                    <a:pt x="3001" y="1423"/>
                    <a:pt x="2989" y="1411"/>
                    <a:pt x="2977" y="1387"/>
                  </a:cubicBezTo>
                  <a:cubicBezTo>
                    <a:pt x="3442" y="1245"/>
                    <a:pt x="4692" y="887"/>
                    <a:pt x="6025" y="756"/>
                  </a:cubicBezTo>
                  <a:cubicBezTo>
                    <a:pt x="6402" y="716"/>
                    <a:pt x="6758" y="696"/>
                    <a:pt x="7091" y="696"/>
                  </a:cubicBezTo>
                  <a:cubicBezTo>
                    <a:pt x="7633" y="696"/>
                    <a:pt x="8117" y="749"/>
                    <a:pt x="8537" y="852"/>
                  </a:cubicBezTo>
                  <a:cubicBezTo>
                    <a:pt x="9359" y="1042"/>
                    <a:pt x="9942" y="1423"/>
                    <a:pt x="10264" y="2007"/>
                  </a:cubicBezTo>
                  <a:cubicBezTo>
                    <a:pt x="10847" y="3054"/>
                    <a:pt x="10192" y="4007"/>
                    <a:pt x="9895" y="4281"/>
                  </a:cubicBezTo>
                  <a:cubicBezTo>
                    <a:pt x="9835" y="4340"/>
                    <a:pt x="9823" y="4447"/>
                    <a:pt x="9883" y="4507"/>
                  </a:cubicBezTo>
                  <a:cubicBezTo>
                    <a:pt x="9907" y="4543"/>
                    <a:pt x="9954" y="4555"/>
                    <a:pt x="10002" y="4555"/>
                  </a:cubicBezTo>
                  <a:cubicBezTo>
                    <a:pt x="10038" y="4555"/>
                    <a:pt x="10073" y="4543"/>
                    <a:pt x="10109" y="4507"/>
                  </a:cubicBezTo>
                  <a:lnTo>
                    <a:pt x="10121" y="4495"/>
                  </a:lnTo>
                  <a:lnTo>
                    <a:pt x="10180" y="4614"/>
                  </a:lnTo>
                  <a:cubicBezTo>
                    <a:pt x="10204" y="4686"/>
                    <a:pt x="10216" y="4781"/>
                    <a:pt x="10192" y="4864"/>
                  </a:cubicBezTo>
                  <a:lnTo>
                    <a:pt x="9752" y="6412"/>
                  </a:lnTo>
                  <a:lnTo>
                    <a:pt x="9454" y="6412"/>
                  </a:lnTo>
                  <a:lnTo>
                    <a:pt x="9728" y="5995"/>
                  </a:lnTo>
                  <a:cubicBezTo>
                    <a:pt x="9764" y="5971"/>
                    <a:pt x="9764" y="5924"/>
                    <a:pt x="9764" y="5876"/>
                  </a:cubicBezTo>
                  <a:lnTo>
                    <a:pt x="9633" y="4995"/>
                  </a:lnTo>
                  <a:cubicBezTo>
                    <a:pt x="9633" y="4971"/>
                    <a:pt x="9597" y="4924"/>
                    <a:pt x="9585" y="4912"/>
                  </a:cubicBezTo>
                  <a:lnTo>
                    <a:pt x="8883" y="4245"/>
                  </a:lnTo>
                  <a:cubicBezTo>
                    <a:pt x="8853" y="4215"/>
                    <a:pt x="8811" y="4200"/>
                    <a:pt x="8770" y="4200"/>
                  </a:cubicBezTo>
                  <a:cubicBezTo>
                    <a:pt x="8728" y="4200"/>
                    <a:pt x="8686" y="4215"/>
                    <a:pt x="8656" y="4245"/>
                  </a:cubicBezTo>
                  <a:cubicBezTo>
                    <a:pt x="8597" y="4305"/>
                    <a:pt x="8597" y="4400"/>
                    <a:pt x="8656" y="4459"/>
                  </a:cubicBezTo>
                  <a:lnTo>
                    <a:pt x="8716" y="4519"/>
                  </a:lnTo>
                  <a:cubicBezTo>
                    <a:pt x="8645" y="4543"/>
                    <a:pt x="8561" y="4555"/>
                    <a:pt x="8478" y="4566"/>
                  </a:cubicBezTo>
                  <a:cubicBezTo>
                    <a:pt x="8395" y="4578"/>
                    <a:pt x="8335" y="4674"/>
                    <a:pt x="8347" y="4757"/>
                  </a:cubicBezTo>
                  <a:cubicBezTo>
                    <a:pt x="8359" y="4840"/>
                    <a:pt x="8442" y="4900"/>
                    <a:pt x="8514" y="4900"/>
                  </a:cubicBezTo>
                  <a:lnTo>
                    <a:pt x="8537" y="4900"/>
                  </a:lnTo>
                  <a:cubicBezTo>
                    <a:pt x="8692" y="4864"/>
                    <a:pt x="8859" y="4840"/>
                    <a:pt x="9002" y="4793"/>
                  </a:cubicBezTo>
                  <a:lnTo>
                    <a:pt x="9335" y="5102"/>
                  </a:lnTo>
                  <a:lnTo>
                    <a:pt x="9454" y="5864"/>
                  </a:lnTo>
                  <a:lnTo>
                    <a:pt x="9037" y="6471"/>
                  </a:lnTo>
                  <a:cubicBezTo>
                    <a:pt x="9002" y="6519"/>
                    <a:pt x="8990" y="6590"/>
                    <a:pt x="9014" y="6638"/>
                  </a:cubicBezTo>
                  <a:cubicBezTo>
                    <a:pt x="9049" y="6698"/>
                    <a:pt x="9109" y="6721"/>
                    <a:pt x="9168" y="6721"/>
                  </a:cubicBezTo>
                  <a:lnTo>
                    <a:pt x="9895" y="6721"/>
                  </a:lnTo>
                  <a:cubicBezTo>
                    <a:pt x="9966" y="6721"/>
                    <a:pt x="10026" y="6686"/>
                    <a:pt x="10049" y="6602"/>
                  </a:cubicBezTo>
                  <a:lnTo>
                    <a:pt x="10538" y="4936"/>
                  </a:lnTo>
                  <a:cubicBezTo>
                    <a:pt x="10585" y="4781"/>
                    <a:pt x="10561" y="4614"/>
                    <a:pt x="10502" y="4459"/>
                  </a:cubicBezTo>
                  <a:lnTo>
                    <a:pt x="10383" y="4209"/>
                  </a:lnTo>
                  <a:cubicBezTo>
                    <a:pt x="10526" y="4019"/>
                    <a:pt x="10669" y="3769"/>
                    <a:pt x="10764" y="3483"/>
                  </a:cubicBezTo>
                  <a:cubicBezTo>
                    <a:pt x="10942" y="2911"/>
                    <a:pt x="10859" y="2340"/>
                    <a:pt x="10585" y="1816"/>
                  </a:cubicBezTo>
                  <a:cubicBezTo>
                    <a:pt x="10466" y="1626"/>
                    <a:pt x="10323" y="1423"/>
                    <a:pt x="10169" y="1280"/>
                  </a:cubicBezTo>
                  <a:cubicBezTo>
                    <a:pt x="10252" y="1233"/>
                    <a:pt x="10347" y="1173"/>
                    <a:pt x="10430" y="1114"/>
                  </a:cubicBezTo>
                  <a:cubicBezTo>
                    <a:pt x="10645" y="1304"/>
                    <a:pt x="10835" y="1459"/>
                    <a:pt x="10883" y="1483"/>
                  </a:cubicBezTo>
                  <a:cubicBezTo>
                    <a:pt x="10907" y="1507"/>
                    <a:pt x="10919" y="1507"/>
                    <a:pt x="10954" y="1507"/>
                  </a:cubicBezTo>
                  <a:cubicBezTo>
                    <a:pt x="11014" y="1507"/>
                    <a:pt x="11073" y="1471"/>
                    <a:pt x="11097" y="1411"/>
                  </a:cubicBezTo>
                  <a:cubicBezTo>
                    <a:pt x="11073" y="1364"/>
                    <a:pt x="11038" y="1268"/>
                    <a:pt x="10966" y="1221"/>
                  </a:cubicBezTo>
                  <a:cubicBezTo>
                    <a:pt x="10942" y="1209"/>
                    <a:pt x="10788" y="1090"/>
                    <a:pt x="10621" y="935"/>
                  </a:cubicBezTo>
                  <a:cubicBezTo>
                    <a:pt x="10764" y="828"/>
                    <a:pt x="10835" y="733"/>
                    <a:pt x="10859" y="625"/>
                  </a:cubicBezTo>
                  <a:cubicBezTo>
                    <a:pt x="10919" y="447"/>
                    <a:pt x="10895" y="280"/>
                    <a:pt x="10776" y="149"/>
                  </a:cubicBezTo>
                  <a:cubicBezTo>
                    <a:pt x="10687" y="52"/>
                    <a:pt x="10565" y="0"/>
                    <a:pt x="104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0" name="Google Shape;12940;p63"/>
            <p:cNvSpPr/>
            <p:nvPr/>
          </p:nvSpPr>
          <p:spPr>
            <a:xfrm>
              <a:off x="4195981" y="2177682"/>
              <a:ext cx="10336" cy="10720"/>
            </a:xfrm>
            <a:custGeom>
              <a:avLst/>
              <a:gdLst/>
              <a:ahLst/>
              <a:cxnLst/>
              <a:rect l="l" t="t" r="r" b="b"/>
              <a:pathLst>
                <a:path w="323" h="335" extrusionOk="0">
                  <a:moveTo>
                    <a:pt x="156" y="1"/>
                  </a:moveTo>
                  <a:cubicBezTo>
                    <a:pt x="72" y="1"/>
                    <a:pt x="1" y="72"/>
                    <a:pt x="1" y="167"/>
                  </a:cubicBezTo>
                  <a:cubicBezTo>
                    <a:pt x="1" y="251"/>
                    <a:pt x="72" y="334"/>
                    <a:pt x="156" y="334"/>
                  </a:cubicBezTo>
                  <a:cubicBezTo>
                    <a:pt x="251" y="334"/>
                    <a:pt x="322" y="251"/>
                    <a:pt x="322" y="167"/>
                  </a:cubicBezTo>
                  <a:cubicBezTo>
                    <a:pt x="322" y="72"/>
                    <a:pt x="251"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1" name="Google Shape;12941;p63"/>
          <p:cNvGrpSpPr/>
          <p:nvPr/>
        </p:nvGrpSpPr>
        <p:grpSpPr>
          <a:xfrm>
            <a:off x="5794669" y="2001426"/>
            <a:ext cx="354752" cy="315360"/>
            <a:chOff x="5794669" y="2001426"/>
            <a:chExt cx="354752" cy="315360"/>
          </a:xfrm>
        </p:grpSpPr>
        <p:sp>
          <p:nvSpPr>
            <p:cNvPr id="12942" name="Google Shape;12942;p63"/>
            <p:cNvSpPr/>
            <p:nvPr/>
          </p:nvSpPr>
          <p:spPr>
            <a:xfrm>
              <a:off x="5841165" y="2051186"/>
              <a:ext cx="10688" cy="10336"/>
            </a:xfrm>
            <a:custGeom>
              <a:avLst/>
              <a:gdLst/>
              <a:ahLst/>
              <a:cxnLst/>
              <a:rect l="l" t="t" r="r" b="b"/>
              <a:pathLst>
                <a:path w="334" h="323" extrusionOk="0">
                  <a:moveTo>
                    <a:pt x="167" y="1"/>
                  </a:moveTo>
                  <a:cubicBezTo>
                    <a:pt x="84" y="1"/>
                    <a:pt x="0" y="72"/>
                    <a:pt x="0" y="156"/>
                  </a:cubicBezTo>
                  <a:cubicBezTo>
                    <a:pt x="0" y="251"/>
                    <a:pt x="84" y="322"/>
                    <a:pt x="167" y="322"/>
                  </a:cubicBezTo>
                  <a:cubicBezTo>
                    <a:pt x="262" y="322"/>
                    <a:pt x="334" y="251"/>
                    <a:pt x="334" y="156"/>
                  </a:cubicBezTo>
                  <a:cubicBezTo>
                    <a:pt x="334"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3" name="Google Shape;12943;p63"/>
            <p:cNvSpPr/>
            <p:nvPr/>
          </p:nvSpPr>
          <p:spPr>
            <a:xfrm>
              <a:off x="5794669" y="2001426"/>
              <a:ext cx="354752" cy="315360"/>
            </a:xfrm>
            <a:custGeom>
              <a:avLst/>
              <a:gdLst/>
              <a:ahLst/>
              <a:cxnLst/>
              <a:rect l="l" t="t" r="r" b="b"/>
              <a:pathLst>
                <a:path w="11086" h="9855" extrusionOk="0">
                  <a:moveTo>
                    <a:pt x="1179" y="568"/>
                  </a:moveTo>
                  <a:lnTo>
                    <a:pt x="1298" y="877"/>
                  </a:lnTo>
                  <a:lnTo>
                    <a:pt x="1215" y="925"/>
                  </a:lnTo>
                  <a:lnTo>
                    <a:pt x="1203" y="937"/>
                  </a:lnTo>
                  <a:lnTo>
                    <a:pt x="894" y="782"/>
                  </a:lnTo>
                  <a:cubicBezTo>
                    <a:pt x="965" y="722"/>
                    <a:pt x="1048" y="639"/>
                    <a:pt x="1179" y="568"/>
                  </a:cubicBezTo>
                  <a:close/>
                  <a:moveTo>
                    <a:pt x="10028" y="3376"/>
                  </a:moveTo>
                  <a:cubicBezTo>
                    <a:pt x="10073" y="3406"/>
                    <a:pt x="10123" y="3430"/>
                    <a:pt x="10145" y="3473"/>
                  </a:cubicBezTo>
                  <a:cubicBezTo>
                    <a:pt x="10502" y="3794"/>
                    <a:pt x="10621" y="4592"/>
                    <a:pt x="10490" y="5699"/>
                  </a:cubicBezTo>
                  <a:cubicBezTo>
                    <a:pt x="10430" y="6199"/>
                    <a:pt x="10490" y="6521"/>
                    <a:pt x="10561" y="6735"/>
                  </a:cubicBezTo>
                  <a:cubicBezTo>
                    <a:pt x="10502" y="6688"/>
                    <a:pt x="10430" y="6628"/>
                    <a:pt x="10371" y="6568"/>
                  </a:cubicBezTo>
                  <a:cubicBezTo>
                    <a:pt x="10240" y="6402"/>
                    <a:pt x="10192" y="6176"/>
                    <a:pt x="10228" y="5902"/>
                  </a:cubicBezTo>
                  <a:cubicBezTo>
                    <a:pt x="10359" y="5080"/>
                    <a:pt x="10478" y="3937"/>
                    <a:pt x="10049" y="3401"/>
                  </a:cubicBezTo>
                  <a:cubicBezTo>
                    <a:pt x="10038" y="3390"/>
                    <a:pt x="10032" y="3382"/>
                    <a:pt x="10028" y="3376"/>
                  </a:cubicBezTo>
                  <a:close/>
                  <a:moveTo>
                    <a:pt x="3942" y="9212"/>
                  </a:moveTo>
                  <a:lnTo>
                    <a:pt x="3918" y="9557"/>
                  </a:lnTo>
                  <a:lnTo>
                    <a:pt x="3692" y="9557"/>
                  </a:lnTo>
                  <a:lnTo>
                    <a:pt x="3942" y="9212"/>
                  </a:lnTo>
                  <a:close/>
                  <a:moveTo>
                    <a:pt x="2035" y="334"/>
                  </a:moveTo>
                  <a:cubicBezTo>
                    <a:pt x="2129" y="334"/>
                    <a:pt x="2230" y="339"/>
                    <a:pt x="2334" y="353"/>
                  </a:cubicBezTo>
                  <a:cubicBezTo>
                    <a:pt x="2918" y="461"/>
                    <a:pt x="3453" y="889"/>
                    <a:pt x="3894" y="1365"/>
                  </a:cubicBezTo>
                  <a:cubicBezTo>
                    <a:pt x="3644" y="1187"/>
                    <a:pt x="3370" y="1056"/>
                    <a:pt x="3120" y="937"/>
                  </a:cubicBezTo>
                  <a:cubicBezTo>
                    <a:pt x="3100" y="931"/>
                    <a:pt x="3080" y="928"/>
                    <a:pt x="3060" y="928"/>
                  </a:cubicBezTo>
                  <a:cubicBezTo>
                    <a:pt x="2996" y="928"/>
                    <a:pt x="2936" y="959"/>
                    <a:pt x="2918" y="1032"/>
                  </a:cubicBezTo>
                  <a:cubicBezTo>
                    <a:pt x="2882" y="1115"/>
                    <a:pt x="2918" y="1211"/>
                    <a:pt x="3001" y="1234"/>
                  </a:cubicBezTo>
                  <a:cubicBezTo>
                    <a:pt x="3763" y="1568"/>
                    <a:pt x="4406" y="2127"/>
                    <a:pt x="4823" y="2544"/>
                  </a:cubicBezTo>
                  <a:cubicBezTo>
                    <a:pt x="4882" y="2604"/>
                    <a:pt x="4918" y="2663"/>
                    <a:pt x="4966" y="2711"/>
                  </a:cubicBezTo>
                  <a:cubicBezTo>
                    <a:pt x="5164" y="2947"/>
                    <a:pt x="5332" y="3115"/>
                    <a:pt x="5777" y="3115"/>
                  </a:cubicBezTo>
                  <a:cubicBezTo>
                    <a:pt x="6028" y="3115"/>
                    <a:pt x="6366" y="3061"/>
                    <a:pt x="6847" y="2937"/>
                  </a:cubicBezTo>
                  <a:cubicBezTo>
                    <a:pt x="7304" y="2816"/>
                    <a:pt x="7698" y="2755"/>
                    <a:pt x="8035" y="2755"/>
                  </a:cubicBezTo>
                  <a:cubicBezTo>
                    <a:pt x="8497" y="2755"/>
                    <a:pt x="8852" y="2870"/>
                    <a:pt x="9121" y="3104"/>
                  </a:cubicBezTo>
                  <a:cubicBezTo>
                    <a:pt x="9454" y="3437"/>
                    <a:pt x="9514" y="4175"/>
                    <a:pt x="9216" y="4806"/>
                  </a:cubicBezTo>
                  <a:cubicBezTo>
                    <a:pt x="9037" y="5187"/>
                    <a:pt x="8954" y="5640"/>
                    <a:pt x="8990" y="6045"/>
                  </a:cubicBezTo>
                  <a:cubicBezTo>
                    <a:pt x="9037" y="6509"/>
                    <a:pt x="9228" y="6854"/>
                    <a:pt x="9538" y="7045"/>
                  </a:cubicBezTo>
                  <a:lnTo>
                    <a:pt x="9538" y="9557"/>
                  </a:lnTo>
                  <a:lnTo>
                    <a:pt x="9287" y="9557"/>
                  </a:lnTo>
                  <a:lnTo>
                    <a:pt x="9514" y="9164"/>
                  </a:lnTo>
                  <a:cubicBezTo>
                    <a:pt x="9526" y="9140"/>
                    <a:pt x="9538" y="9093"/>
                    <a:pt x="9526" y="9069"/>
                  </a:cubicBezTo>
                  <a:lnTo>
                    <a:pt x="9240" y="7366"/>
                  </a:lnTo>
                  <a:cubicBezTo>
                    <a:pt x="9240" y="7342"/>
                    <a:pt x="9204" y="7295"/>
                    <a:pt x="9180" y="7283"/>
                  </a:cubicBezTo>
                  <a:cubicBezTo>
                    <a:pt x="7918" y="6176"/>
                    <a:pt x="7418" y="4532"/>
                    <a:pt x="7406" y="4509"/>
                  </a:cubicBezTo>
                  <a:cubicBezTo>
                    <a:pt x="7387" y="4440"/>
                    <a:pt x="7318" y="4395"/>
                    <a:pt x="7255" y="4395"/>
                  </a:cubicBezTo>
                  <a:cubicBezTo>
                    <a:pt x="7241" y="4395"/>
                    <a:pt x="7228" y="4397"/>
                    <a:pt x="7216" y="4402"/>
                  </a:cubicBezTo>
                  <a:cubicBezTo>
                    <a:pt x="7121" y="4437"/>
                    <a:pt x="7085" y="4532"/>
                    <a:pt x="7109" y="4604"/>
                  </a:cubicBezTo>
                  <a:cubicBezTo>
                    <a:pt x="7109" y="4616"/>
                    <a:pt x="7156" y="4771"/>
                    <a:pt x="7240" y="4985"/>
                  </a:cubicBezTo>
                  <a:cubicBezTo>
                    <a:pt x="7144" y="5080"/>
                    <a:pt x="6859" y="5283"/>
                    <a:pt x="6466" y="5461"/>
                  </a:cubicBezTo>
                  <a:cubicBezTo>
                    <a:pt x="6070" y="5641"/>
                    <a:pt x="5688" y="5729"/>
                    <a:pt x="5316" y="5729"/>
                  </a:cubicBezTo>
                  <a:cubicBezTo>
                    <a:pt x="5072" y="5729"/>
                    <a:pt x="4832" y="5691"/>
                    <a:pt x="4596" y="5616"/>
                  </a:cubicBezTo>
                  <a:lnTo>
                    <a:pt x="4668" y="5128"/>
                  </a:lnTo>
                  <a:cubicBezTo>
                    <a:pt x="4680" y="5033"/>
                    <a:pt x="4620" y="4961"/>
                    <a:pt x="4537" y="4949"/>
                  </a:cubicBezTo>
                  <a:cubicBezTo>
                    <a:pt x="4523" y="4946"/>
                    <a:pt x="4509" y="4944"/>
                    <a:pt x="4496" y="4944"/>
                  </a:cubicBezTo>
                  <a:cubicBezTo>
                    <a:pt x="4422" y="4944"/>
                    <a:pt x="4368" y="4999"/>
                    <a:pt x="4358" y="5080"/>
                  </a:cubicBezTo>
                  <a:lnTo>
                    <a:pt x="4192" y="6187"/>
                  </a:lnTo>
                  <a:cubicBezTo>
                    <a:pt x="4120" y="6735"/>
                    <a:pt x="4061" y="7283"/>
                    <a:pt x="4025" y="7819"/>
                  </a:cubicBezTo>
                  <a:lnTo>
                    <a:pt x="3953" y="8962"/>
                  </a:lnTo>
                  <a:lnTo>
                    <a:pt x="3632" y="5056"/>
                  </a:lnTo>
                  <a:cubicBezTo>
                    <a:pt x="3632" y="5044"/>
                    <a:pt x="3632" y="5021"/>
                    <a:pt x="3620" y="4997"/>
                  </a:cubicBezTo>
                  <a:lnTo>
                    <a:pt x="2334" y="2401"/>
                  </a:lnTo>
                  <a:cubicBezTo>
                    <a:pt x="2370" y="2354"/>
                    <a:pt x="2382" y="2306"/>
                    <a:pt x="2394" y="2270"/>
                  </a:cubicBezTo>
                  <a:lnTo>
                    <a:pt x="2513" y="1889"/>
                  </a:lnTo>
                  <a:cubicBezTo>
                    <a:pt x="2549" y="1806"/>
                    <a:pt x="2501" y="1711"/>
                    <a:pt x="2406" y="1687"/>
                  </a:cubicBezTo>
                  <a:cubicBezTo>
                    <a:pt x="2387" y="1679"/>
                    <a:pt x="2368" y="1675"/>
                    <a:pt x="2349" y="1675"/>
                  </a:cubicBezTo>
                  <a:cubicBezTo>
                    <a:pt x="2283" y="1675"/>
                    <a:pt x="2222" y="1720"/>
                    <a:pt x="2203" y="1794"/>
                  </a:cubicBezTo>
                  <a:lnTo>
                    <a:pt x="2084" y="2163"/>
                  </a:lnTo>
                  <a:cubicBezTo>
                    <a:pt x="2072" y="2211"/>
                    <a:pt x="2025" y="2246"/>
                    <a:pt x="1977" y="2270"/>
                  </a:cubicBezTo>
                  <a:lnTo>
                    <a:pt x="739" y="2866"/>
                  </a:lnTo>
                  <a:cubicBezTo>
                    <a:pt x="716" y="2873"/>
                    <a:pt x="694" y="2877"/>
                    <a:pt x="671" y="2877"/>
                  </a:cubicBezTo>
                  <a:cubicBezTo>
                    <a:pt x="623" y="2877"/>
                    <a:pt x="577" y="2859"/>
                    <a:pt x="536" y="2818"/>
                  </a:cubicBezTo>
                  <a:lnTo>
                    <a:pt x="524" y="2794"/>
                  </a:lnTo>
                  <a:lnTo>
                    <a:pt x="370" y="2675"/>
                  </a:lnTo>
                  <a:lnTo>
                    <a:pt x="370" y="2663"/>
                  </a:lnTo>
                  <a:lnTo>
                    <a:pt x="1048" y="1830"/>
                  </a:lnTo>
                  <a:cubicBezTo>
                    <a:pt x="1096" y="1770"/>
                    <a:pt x="1144" y="1699"/>
                    <a:pt x="1167" y="1627"/>
                  </a:cubicBezTo>
                  <a:lnTo>
                    <a:pt x="1263" y="1389"/>
                  </a:lnTo>
                  <a:cubicBezTo>
                    <a:pt x="1286" y="1306"/>
                    <a:pt x="1334" y="1246"/>
                    <a:pt x="1406" y="1211"/>
                  </a:cubicBezTo>
                  <a:lnTo>
                    <a:pt x="1429" y="1187"/>
                  </a:lnTo>
                  <a:cubicBezTo>
                    <a:pt x="1453" y="1246"/>
                    <a:pt x="1513" y="1294"/>
                    <a:pt x="1572" y="1294"/>
                  </a:cubicBezTo>
                  <a:cubicBezTo>
                    <a:pt x="1584" y="1294"/>
                    <a:pt x="1608" y="1294"/>
                    <a:pt x="1632" y="1282"/>
                  </a:cubicBezTo>
                  <a:cubicBezTo>
                    <a:pt x="1727" y="1246"/>
                    <a:pt x="1763" y="1163"/>
                    <a:pt x="1727" y="1068"/>
                  </a:cubicBezTo>
                  <a:lnTo>
                    <a:pt x="1548" y="568"/>
                  </a:lnTo>
                  <a:lnTo>
                    <a:pt x="1548" y="568"/>
                  </a:lnTo>
                  <a:cubicBezTo>
                    <a:pt x="1918" y="699"/>
                    <a:pt x="2144" y="949"/>
                    <a:pt x="2144" y="973"/>
                  </a:cubicBezTo>
                  <a:cubicBezTo>
                    <a:pt x="2168" y="996"/>
                    <a:pt x="2215" y="1032"/>
                    <a:pt x="2263" y="1032"/>
                  </a:cubicBezTo>
                  <a:cubicBezTo>
                    <a:pt x="2263" y="1032"/>
                    <a:pt x="2299" y="1032"/>
                    <a:pt x="2382" y="1044"/>
                  </a:cubicBezTo>
                  <a:cubicBezTo>
                    <a:pt x="2389" y="1045"/>
                    <a:pt x="2396" y="1045"/>
                    <a:pt x="2404" y="1045"/>
                  </a:cubicBezTo>
                  <a:cubicBezTo>
                    <a:pt x="2481" y="1045"/>
                    <a:pt x="2561" y="989"/>
                    <a:pt x="2572" y="913"/>
                  </a:cubicBezTo>
                  <a:cubicBezTo>
                    <a:pt x="2584" y="818"/>
                    <a:pt x="2525" y="734"/>
                    <a:pt x="2441" y="711"/>
                  </a:cubicBezTo>
                  <a:cubicBezTo>
                    <a:pt x="2406" y="711"/>
                    <a:pt x="2382" y="699"/>
                    <a:pt x="2346" y="699"/>
                  </a:cubicBezTo>
                  <a:cubicBezTo>
                    <a:pt x="2275" y="627"/>
                    <a:pt x="2096" y="461"/>
                    <a:pt x="1846" y="341"/>
                  </a:cubicBezTo>
                  <a:cubicBezTo>
                    <a:pt x="1905" y="337"/>
                    <a:pt x="1969" y="334"/>
                    <a:pt x="2035" y="334"/>
                  </a:cubicBezTo>
                  <a:close/>
                  <a:moveTo>
                    <a:pt x="1997" y="1"/>
                  </a:moveTo>
                  <a:cubicBezTo>
                    <a:pt x="1066" y="1"/>
                    <a:pt x="522" y="680"/>
                    <a:pt x="501" y="722"/>
                  </a:cubicBezTo>
                  <a:cubicBezTo>
                    <a:pt x="477" y="758"/>
                    <a:pt x="453" y="806"/>
                    <a:pt x="477" y="853"/>
                  </a:cubicBezTo>
                  <a:cubicBezTo>
                    <a:pt x="489" y="901"/>
                    <a:pt x="513" y="937"/>
                    <a:pt x="548" y="961"/>
                  </a:cubicBezTo>
                  <a:lnTo>
                    <a:pt x="965" y="1199"/>
                  </a:lnTo>
                  <a:cubicBezTo>
                    <a:pt x="953" y="1223"/>
                    <a:pt x="929" y="1258"/>
                    <a:pt x="929" y="1282"/>
                  </a:cubicBezTo>
                  <a:lnTo>
                    <a:pt x="846" y="1520"/>
                  </a:lnTo>
                  <a:cubicBezTo>
                    <a:pt x="834" y="1568"/>
                    <a:pt x="810" y="1592"/>
                    <a:pt x="786" y="1627"/>
                  </a:cubicBezTo>
                  <a:lnTo>
                    <a:pt x="96" y="2461"/>
                  </a:lnTo>
                  <a:cubicBezTo>
                    <a:pt x="1" y="2592"/>
                    <a:pt x="1" y="2782"/>
                    <a:pt x="132" y="2901"/>
                  </a:cubicBezTo>
                  <a:lnTo>
                    <a:pt x="143" y="2925"/>
                  </a:lnTo>
                  <a:lnTo>
                    <a:pt x="298" y="3044"/>
                  </a:lnTo>
                  <a:cubicBezTo>
                    <a:pt x="382" y="3128"/>
                    <a:pt x="513" y="3175"/>
                    <a:pt x="655" y="3175"/>
                  </a:cubicBezTo>
                  <a:cubicBezTo>
                    <a:pt x="727" y="3175"/>
                    <a:pt x="786" y="3163"/>
                    <a:pt x="858" y="3128"/>
                  </a:cubicBezTo>
                  <a:lnTo>
                    <a:pt x="2048" y="2568"/>
                  </a:lnTo>
                  <a:lnTo>
                    <a:pt x="3287" y="5080"/>
                  </a:lnTo>
                  <a:lnTo>
                    <a:pt x="3632" y="9057"/>
                  </a:lnTo>
                  <a:lnTo>
                    <a:pt x="3227" y="9605"/>
                  </a:lnTo>
                  <a:cubicBezTo>
                    <a:pt x="3191" y="9652"/>
                    <a:pt x="3180" y="9724"/>
                    <a:pt x="3215" y="9771"/>
                  </a:cubicBezTo>
                  <a:cubicBezTo>
                    <a:pt x="3239" y="9831"/>
                    <a:pt x="3299" y="9855"/>
                    <a:pt x="3358" y="9855"/>
                  </a:cubicBezTo>
                  <a:lnTo>
                    <a:pt x="4049" y="9855"/>
                  </a:lnTo>
                  <a:cubicBezTo>
                    <a:pt x="4132" y="9855"/>
                    <a:pt x="4192" y="9795"/>
                    <a:pt x="4204" y="9712"/>
                  </a:cubicBezTo>
                  <a:lnTo>
                    <a:pt x="4323" y="7807"/>
                  </a:lnTo>
                  <a:cubicBezTo>
                    <a:pt x="4358" y="7271"/>
                    <a:pt x="4418" y="6735"/>
                    <a:pt x="4489" y="6199"/>
                  </a:cubicBezTo>
                  <a:lnTo>
                    <a:pt x="4537" y="5902"/>
                  </a:lnTo>
                  <a:cubicBezTo>
                    <a:pt x="4787" y="5973"/>
                    <a:pt x="5037" y="6021"/>
                    <a:pt x="5311" y="6021"/>
                  </a:cubicBezTo>
                  <a:cubicBezTo>
                    <a:pt x="5739" y="6021"/>
                    <a:pt x="6168" y="5914"/>
                    <a:pt x="6609" y="5723"/>
                  </a:cubicBezTo>
                  <a:cubicBezTo>
                    <a:pt x="6966" y="5556"/>
                    <a:pt x="7228" y="5378"/>
                    <a:pt x="7382" y="5259"/>
                  </a:cubicBezTo>
                  <a:cubicBezTo>
                    <a:pt x="7644" y="5866"/>
                    <a:pt x="8133" y="6747"/>
                    <a:pt x="8930" y="7450"/>
                  </a:cubicBezTo>
                  <a:lnTo>
                    <a:pt x="9192" y="9033"/>
                  </a:lnTo>
                  <a:lnTo>
                    <a:pt x="8847" y="9616"/>
                  </a:lnTo>
                  <a:cubicBezTo>
                    <a:pt x="8823" y="9664"/>
                    <a:pt x="8823" y="9724"/>
                    <a:pt x="8847" y="9783"/>
                  </a:cubicBezTo>
                  <a:cubicBezTo>
                    <a:pt x="8883" y="9831"/>
                    <a:pt x="8942" y="9855"/>
                    <a:pt x="8990" y="9855"/>
                  </a:cubicBezTo>
                  <a:lnTo>
                    <a:pt x="9668" y="9855"/>
                  </a:lnTo>
                  <a:cubicBezTo>
                    <a:pt x="9764" y="9855"/>
                    <a:pt x="9835" y="9783"/>
                    <a:pt x="9835" y="9688"/>
                  </a:cubicBezTo>
                  <a:lnTo>
                    <a:pt x="9835" y="6926"/>
                  </a:lnTo>
                  <a:cubicBezTo>
                    <a:pt x="9835" y="6866"/>
                    <a:pt x="9799" y="6807"/>
                    <a:pt x="9740" y="6771"/>
                  </a:cubicBezTo>
                  <a:cubicBezTo>
                    <a:pt x="9418" y="6616"/>
                    <a:pt x="9311" y="6259"/>
                    <a:pt x="9287" y="5973"/>
                  </a:cubicBezTo>
                  <a:cubicBezTo>
                    <a:pt x="9252" y="5628"/>
                    <a:pt x="9323" y="5211"/>
                    <a:pt x="9478" y="4913"/>
                  </a:cubicBezTo>
                  <a:cubicBezTo>
                    <a:pt x="9645" y="4556"/>
                    <a:pt x="9728" y="4151"/>
                    <a:pt x="9704" y="3782"/>
                  </a:cubicBezTo>
                  <a:cubicBezTo>
                    <a:pt x="9680" y="3663"/>
                    <a:pt x="9668" y="3544"/>
                    <a:pt x="9645" y="3437"/>
                  </a:cubicBezTo>
                  <a:lnTo>
                    <a:pt x="9645" y="3437"/>
                  </a:lnTo>
                  <a:cubicBezTo>
                    <a:pt x="9704" y="3473"/>
                    <a:pt x="9740" y="3497"/>
                    <a:pt x="9776" y="3556"/>
                  </a:cubicBezTo>
                  <a:cubicBezTo>
                    <a:pt x="10026" y="3890"/>
                    <a:pt x="10073" y="4652"/>
                    <a:pt x="9895" y="5806"/>
                  </a:cubicBezTo>
                  <a:cubicBezTo>
                    <a:pt x="9823" y="6271"/>
                    <a:pt x="9966" y="6568"/>
                    <a:pt x="10097" y="6735"/>
                  </a:cubicBezTo>
                  <a:cubicBezTo>
                    <a:pt x="10276" y="6949"/>
                    <a:pt x="10573" y="7069"/>
                    <a:pt x="10871" y="7069"/>
                  </a:cubicBezTo>
                  <a:cubicBezTo>
                    <a:pt x="10954" y="7069"/>
                    <a:pt x="11014" y="7033"/>
                    <a:pt x="11026" y="6973"/>
                  </a:cubicBezTo>
                  <a:cubicBezTo>
                    <a:pt x="11085" y="6938"/>
                    <a:pt x="11062" y="6878"/>
                    <a:pt x="11014" y="6830"/>
                  </a:cubicBezTo>
                  <a:cubicBezTo>
                    <a:pt x="11014" y="6830"/>
                    <a:pt x="10728" y="6568"/>
                    <a:pt x="10835" y="5735"/>
                  </a:cubicBezTo>
                  <a:cubicBezTo>
                    <a:pt x="10978" y="4473"/>
                    <a:pt x="10835" y="3616"/>
                    <a:pt x="10383" y="3223"/>
                  </a:cubicBezTo>
                  <a:cubicBezTo>
                    <a:pt x="10193" y="3051"/>
                    <a:pt x="9955" y="2955"/>
                    <a:pt x="9680" y="2955"/>
                  </a:cubicBezTo>
                  <a:cubicBezTo>
                    <a:pt x="9593" y="2955"/>
                    <a:pt x="9501" y="2965"/>
                    <a:pt x="9407" y="2985"/>
                  </a:cubicBezTo>
                  <a:cubicBezTo>
                    <a:pt x="9371" y="2937"/>
                    <a:pt x="9335" y="2889"/>
                    <a:pt x="9287" y="2866"/>
                  </a:cubicBezTo>
                  <a:cubicBezTo>
                    <a:pt x="8959" y="2580"/>
                    <a:pt x="8531" y="2435"/>
                    <a:pt x="7984" y="2435"/>
                  </a:cubicBezTo>
                  <a:cubicBezTo>
                    <a:pt x="7620" y="2435"/>
                    <a:pt x="7203" y="2499"/>
                    <a:pt x="6728" y="2627"/>
                  </a:cubicBezTo>
                  <a:cubicBezTo>
                    <a:pt x="6277" y="2738"/>
                    <a:pt x="5955" y="2798"/>
                    <a:pt x="5727" y="2798"/>
                  </a:cubicBezTo>
                  <a:cubicBezTo>
                    <a:pt x="5659" y="2798"/>
                    <a:pt x="5600" y="2793"/>
                    <a:pt x="5549" y="2782"/>
                  </a:cubicBezTo>
                  <a:cubicBezTo>
                    <a:pt x="5477" y="2770"/>
                    <a:pt x="5418" y="2747"/>
                    <a:pt x="5370" y="2711"/>
                  </a:cubicBezTo>
                  <a:cubicBezTo>
                    <a:pt x="5299" y="2651"/>
                    <a:pt x="5156" y="2461"/>
                    <a:pt x="5001" y="2246"/>
                  </a:cubicBezTo>
                  <a:cubicBezTo>
                    <a:pt x="4442" y="1508"/>
                    <a:pt x="3513" y="258"/>
                    <a:pt x="2346" y="32"/>
                  </a:cubicBezTo>
                  <a:cubicBezTo>
                    <a:pt x="2224" y="10"/>
                    <a:pt x="2108" y="1"/>
                    <a:pt x="19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4" name="Google Shape;12944;p63"/>
          <p:cNvGrpSpPr/>
          <p:nvPr/>
        </p:nvGrpSpPr>
        <p:grpSpPr>
          <a:xfrm>
            <a:off x="6345229" y="2029842"/>
            <a:ext cx="352832" cy="289216"/>
            <a:chOff x="6345229" y="2029842"/>
            <a:chExt cx="352832" cy="289216"/>
          </a:xfrm>
        </p:grpSpPr>
        <p:sp>
          <p:nvSpPr>
            <p:cNvPr id="12945" name="Google Shape;12945;p63"/>
            <p:cNvSpPr/>
            <p:nvPr/>
          </p:nvSpPr>
          <p:spPr>
            <a:xfrm>
              <a:off x="6392845" y="2048146"/>
              <a:ext cx="12992" cy="10720"/>
            </a:xfrm>
            <a:custGeom>
              <a:avLst/>
              <a:gdLst/>
              <a:ahLst/>
              <a:cxnLst/>
              <a:rect l="l" t="t" r="r" b="b"/>
              <a:pathLst>
                <a:path w="406" h="335" extrusionOk="0">
                  <a:moveTo>
                    <a:pt x="167" y="1"/>
                  </a:moveTo>
                  <a:cubicBezTo>
                    <a:pt x="72" y="1"/>
                    <a:pt x="0" y="72"/>
                    <a:pt x="0" y="167"/>
                  </a:cubicBezTo>
                  <a:cubicBezTo>
                    <a:pt x="0" y="251"/>
                    <a:pt x="72" y="334"/>
                    <a:pt x="167" y="334"/>
                  </a:cubicBezTo>
                  <a:lnTo>
                    <a:pt x="239" y="334"/>
                  </a:lnTo>
                  <a:cubicBezTo>
                    <a:pt x="322" y="334"/>
                    <a:pt x="405" y="251"/>
                    <a:pt x="405" y="167"/>
                  </a:cubicBezTo>
                  <a:cubicBezTo>
                    <a:pt x="405" y="72"/>
                    <a:pt x="322" y="1"/>
                    <a:pt x="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6" name="Google Shape;12946;p63"/>
            <p:cNvSpPr/>
            <p:nvPr/>
          </p:nvSpPr>
          <p:spPr>
            <a:xfrm>
              <a:off x="6345229" y="2029842"/>
              <a:ext cx="352832" cy="289216"/>
            </a:xfrm>
            <a:custGeom>
              <a:avLst/>
              <a:gdLst/>
              <a:ahLst/>
              <a:cxnLst/>
              <a:rect l="l" t="t" r="r" b="b"/>
              <a:pathLst>
                <a:path w="11026" h="9038" extrusionOk="0">
                  <a:moveTo>
                    <a:pt x="5620" y="5168"/>
                  </a:moveTo>
                  <a:lnTo>
                    <a:pt x="6037" y="6752"/>
                  </a:lnTo>
                  <a:lnTo>
                    <a:pt x="6203" y="8669"/>
                  </a:lnTo>
                  <a:lnTo>
                    <a:pt x="5560" y="8669"/>
                  </a:lnTo>
                  <a:lnTo>
                    <a:pt x="5596" y="8597"/>
                  </a:lnTo>
                  <a:cubicBezTo>
                    <a:pt x="5620" y="8526"/>
                    <a:pt x="5679" y="8478"/>
                    <a:pt x="5775" y="8478"/>
                  </a:cubicBezTo>
                  <a:lnTo>
                    <a:pt x="5858" y="8478"/>
                  </a:lnTo>
                  <a:cubicBezTo>
                    <a:pt x="5906" y="8478"/>
                    <a:pt x="5953" y="8455"/>
                    <a:pt x="5977" y="8419"/>
                  </a:cubicBezTo>
                  <a:cubicBezTo>
                    <a:pt x="6013" y="8383"/>
                    <a:pt x="6025" y="8347"/>
                    <a:pt x="6025" y="8288"/>
                  </a:cubicBezTo>
                  <a:cubicBezTo>
                    <a:pt x="6013" y="8228"/>
                    <a:pt x="5810" y="6716"/>
                    <a:pt x="5239" y="5323"/>
                  </a:cubicBezTo>
                  <a:lnTo>
                    <a:pt x="5239" y="5192"/>
                  </a:lnTo>
                  <a:cubicBezTo>
                    <a:pt x="5370" y="5192"/>
                    <a:pt x="5489" y="5192"/>
                    <a:pt x="5620" y="5168"/>
                  </a:cubicBezTo>
                  <a:close/>
                  <a:moveTo>
                    <a:pt x="8513" y="4335"/>
                  </a:moveTo>
                  <a:lnTo>
                    <a:pt x="8573" y="4573"/>
                  </a:lnTo>
                  <a:cubicBezTo>
                    <a:pt x="8632" y="4811"/>
                    <a:pt x="8704" y="5038"/>
                    <a:pt x="8823" y="5240"/>
                  </a:cubicBezTo>
                  <a:lnTo>
                    <a:pt x="9120" y="5776"/>
                  </a:lnTo>
                  <a:lnTo>
                    <a:pt x="9168" y="6728"/>
                  </a:lnTo>
                  <a:lnTo>
                    <a:pt x="8335" y="8669"/>
                  </a:lnTo>
                  <a:lnTo>
                    <a:pt x="7799" y="8669"/>
                  </a:lnTo>
                  <a:lnTo>
                    <a:pt x="7823" y="8597"/>
                  </a:lnTo>
                  <a:cubicBezTo>
                    <a:pt x="7858" y="8526"/>
                    <a:pt x="7918" y="8478"/>
                    <a:pt x="8001" y="8478"/>
                  </a:cubicBezTo>
                  <a:lnTo>
                    <a:pt x="8096" y="8478"/>
                  </a:lnTo>
                  <a:cubicBezTo>
                    <a:pt x="8156" y="8478"/>
                    <a:pt x="8215" y="8431"/>
                    <a:pt x="8239" y="8383"/>
                  </a:cubicBezTo>
                  <a:cubicBezTo>
                    <a:pt x="8263" y="8336"/>
                    <a:pt x="8716" y="7312"/>
                    <a:pt x="8775" y="6431"/>
                  </a:cubicBezTo>
                  <a:cubicBezTo>
                    <a:pt x="8787" y="6157"/>
                    <a:pt x="8704" y="5716"/>
                    <a:pt x="8513" y="5157"/>
                  </a:cubicBezTo>
                  <a:cubicBezTo>
                    <a:pt x="8406" y="4859"/>
                    <a:pt x="8299" y="4621"/>
                    <a:pt x="8263" y="4490"/>
                  </a:cubicBezTo>
                  <a:cubicBezTo>
                    <a:pt x="8358" y="4430"/>
                    <a:pt x="8442" y="4383"/>
                    <a:pt x="8513" y="4335"/>
                  </a:cubicBezTo>
                  <a:close/>
                  <a:moveTo>
                    <a:pt x="2509" y="0"/>
                  </a:moveTo>
                  <a:cubicBezTo>
                    <a:pt x="2469" y="0"/>
                    <a:pt x="2426" y="4"/>
                    <a:pt x="2381" y="13"/>
                  </a:cubicBezTo>
                  <a:lnTo>
                    <a:pt x="1750" y="13"/>
                  </a:lnTo>
                  <a:cubicBezTo>
                    <a:pt x="1572" y="13"/>
                    <a:pt x="1393" y="85"/>
                    <a:pt x="1274" y="204"/>
                  </a:cubicBezTo>
                  <a:lnTo>
                    <a:pt x="1119" y="370"/>
                  </a:lnTo>
                  <a:lnTo>
                    <a:pt x="560" y="454"/>
                  </a:lnTo>
                  <a:cubicBezTo>
                    <a:pt x="238" y="513"/>
                    <a:pt x="0" y="799"/>
                    <a:pt x="0" y="1120"/>
                  </a:cubicBezTo>
                  <a:lnTo>
                    <a:pt x="0" y="1204"/>
                  </a:lnTo>
                  <a:cubicBezTo>
                    <a:pt x="0" y="1382"/>
                    <a:pt x="143" y="1525"/>
                    <a:pt x="322" y="1525"/>
                  </a:cubicBezTo>
                  <a:lnTo>
                    <a:pt x="1536" y="1525"/>
                  </a:lnTo>
                  <a:lnTo>
                    <a:pt x="1536" y="2871"/>
                  </a:lnTo>
                  <a:cubicBezTo>
                    <a:pt x="1536" y="3383"/>
                    <a:pt x="1798" y="3906"/>
                    <a:pt x="2262" y="4276"/>
                  </a:cubicBezTo>
                  <a:cubicBezTo>
                    <a:pt x="2739" y="4668"/>
                    <a:pt x="3405" y="4895"/>
                    <a:pt x="4120" y="4895"/>
                  </a:cubicBezTo>
                  <a:cubicBezTo>
                    <a:pt x="4132" y="4895"/>
                    <a:pt x="4132" y="4895"/>
                    <a:pt x="4132" y="4907"/>
                  </a:cubicBezTo>
                  <a:lnTo>
                    <a:pt x="4132" y="8169"/>
                  </a:lnTo>
                  <a:cubicBezTo>
                    <a:pt x="3941" y="8193"/>
                    <a:pt x="3774" y="8312"/>
                    <a:pt x="3715" y="8502"/>
                  </a:cubicBezTo>
                  <a:lnTo>
                    <a:pt x="3632" y="8788"/>
                  </a:lnTo>
                  <a:cubicBezTo>
                    <a:pt x="3620" y="8836"/>
                    <a:pt x="3620" y="8895"/>
                    <a:pt x="3643" y="8943"/>
                  </a:cubicBezTo>
                  <a:cubicBezTo>
                    <a:pt x="3679" y="8978"/>
                    <a:pt x="3715" y="9014"/>
                    <a:pt x="3774" y="9014"/>
                  </a:cubicBezTo>
                  <a:lnTo>
                    <a:pt x="4822" y="9014"/>
                  </a:lnTo>
                  <a:cubicBezTo>
                    <a:pt x="4906" y="9014"/>
                    <a:pt x="4965" y="8955"/>
                    <a:pt x="4989" y="8859"/>
                  </a:cubicBezTo>
                  <a:lnTo>
                    <a:pt x="5179" y="6145"/>
                  </a:lnTo>
                  <a:cubicBezTo>
                    <a:pt x="5465" y="7014"/>
                    <a:pt x="5608" y="7835"/>
                    <a:pt x="5668" y="8181"/>
                  </a:cubicBezTo>
                  <a:cubicBezTo>
                    <a:pt x="5489" y="8205"/>
                    <a:pt x="5346" y="8347"/>
                    <a:pt x="5287" y="8526"/>
                  </a:cubicBezTo>
                  <a:lnTo>
                    <a:pt x="5191" y="8800"/>
                  </a:lnTo>
                  <a:cubicBezTo>
                    <a:pt x="5179" y="8847"/>
                    <a:pt x="5179" y="8907"/>
                    <a:pt x="5203" y="8955"/>
                  </a:cubicBezTo>
                  <a:cubicBezTo>
                    <a:pt x="5239" y="9002"/>
                    <a:pt x="5287" y="9026"/>
                    <a:pt x="5346" y="9026"/>
                  </a:cubicBezTo>
                  <a:lnTo>
                    <a:pt x="6382" y="9026"/>
                  </a:lnTo>
                  <a:cubicBezTo>
                    <a:pt x="6430" y="9026"/>
                    <a:pt x="6477" y="9014"/>
                    <a:pt x="6501" y="8978"/>
                  </a:cubicBezTo>
                  <a:cubicBezTo>
                    <a:pt x="6537" y="8955"/>
                    <a:pt x="6549" y="8907"/>
                    <a:pt x="6549" y="8859"/>
                  </a:cubicBezTo>
                  <a:lnTo>
                    <a:pt x="6370" y="6764"/>
                  </a:lnTo>
                  <a:lnTo>
                    <a:pt x="6370" y="6728"/>
                  </a:lnTo>
                  <a:lnTo>
                    <a:pt x="5965" y="5204"/>
                  </a:lnTo>
                  <a:cubicBezTo>
                    <a:pt x="6394" y="5157"/>
                    <a:pt x="6799" y="5085"/>
                    <a:pt x="7192" y="4978"/>
                  </a:cubicBezTo>
                  <a:cubicBezTo>
                    <a:pt x="7275" y="4942"/>
                    <a:pt x="7322" y="4859"/>
                    <a:pt x="7287" y="4787"/>
                  </a:cubicBezTo>
                  <a:cubicBezTo>
                    <a:pt x="7268" y="4714"/>
                    <a:pt x="7207" y="4668"/>
                    <a:pt x="7147" y="4668"/>
                  </a:cubicBezTo>
                  <a:cubicBezTo>
                    <a:pt x="7130" y="4668"/>
                    <a:pt x="7112" y="4672"/>
                    <a:pt x="7096" y="4680"/>
                  </a:cubicBezTo>
                  <a:cubicBezTo>
                    <a:pt x="6549" y="4847"/>
                    <a:pt x="5918" y="4918"/>
                    <a:pt x="5287" y="4930"/>
                  </a:cubicBezTo>
                  <a:lnTo>
                    <a:pt x="5310" y="4490"/>
                  </a:lnTo>
                  <a:cubicBezTo>
                    <a:pt x="5310" y="4395"/>
                    <a:pt x="5251" y="4323"/>
                    <a:pt x="5167" y="4311"/>
                  </a:cubicBezTo>
                  <a:cubicBezTo>
                    <a:pt x="5072" y="4311"/>
                    <a:pt x="5001" y="4371"/>
                    <a:pt x="4989" y="4454"/>
                  </a:cubicBezTo>
                  <a:lnTo>
                    <a:pt x="4667" y="8728"/>
                  </a:lnTo>
                  <a:lnTo>
                    <a:pt x="4013" y="8728"/>
                  </a:lnTo>
                  <a:lnTo>
                    <a:pt x="4048" y="8657"/>
                  </a:lnTo>
                  <a:cubicBezTo>
                    <a:pt x="4072" y="8574"/>
                    <a:pt x="4132" y="8538"/>
                    <a:pt x="4227" y="8538"/>
                  </a:cubicBezTo>
                  <a:lnTo>
                    <a:pt x="4310" y="8538"/>
                  </a:lnTo>
                  <a:cubicBezTo>
                    <a:pt x="4405" y="8538"/>
                    <a:pt x="4477" y="8455"/>
                    <a:pt x="4477" y="8371"/>
                  </a:cubicBezTo>
                  <a:lnTo>
                    <a:pt x="4477" y="4990"/>
                  </a:lnTo>
                  <a:cubicBezTo>
                    <a:pt x="4477" y="4811"/>
                    <a:pt x="4334" y="4668"/>
                    <a:pt x="4132" y="4668"/>
                  </a:cubicBezTo>
                  <a:cubicBezTo>
                    <a:pt x="2727" y="4668"/>
                    <a:pt x="1869" y="3799"/>
                    <a:pt x="1869" y="2966"/>
                  </a:cubicBezTo>
                  <a:lnTo>
                    <a:pt x="1869" y="1478"/>
                  </a:lnTo>
                  <a:cubicBezTo>
                    <a:pt x="1869" y="1394"/>
                    <a:pt x="1798" y="1311"/>
                    <a:pt x="1715" y="1311"/>
                  </a:cubicBezTo>
                  <a:lnTo>
                    <a:pt x="345" y="1311"/>
                  </a:lnTo>
                  <a:cubicBezTo>
                    <a:pt x="345" y="1311"/>
                    <a:pt x="322" y="1311"/>
                    <a:pt x="322" y="1299"/>
                  </a:cubicBezTo>
                  <a:lnTo>
                    <a:pt x="322" y="1228"/>
                  </a:lnTo>
                  <a:cubicBezTo>
                    <a:pt x="322" y="1049"/>
                    <a:pt x="441" y="894"/>
                    <a:pt x="619" y="870"/>
                  </a:cubicBezTo>
                  <a:lnTo>
                    <a:pt x="1238" y="763"/>
                  </a:lnTo>
                  <a:cubicBezTo>
                    <a:pt x="1262" y="763"/>
                    <a:pt x="1298" y="751"/>
                    <a:pt x="1322" y="716"/>
                  </a:cubicBezTo>
                  <a:lnTo>
                    <a:pt x="1512" y="525"/>
                  </a:lnTo>
                  <a:cubicBezTo>
                    <a:pt x="1596" y="454"/>
                    <a:pt x="1679" y="418"/>
                    <a:pt x="1774" y="418"/>
                  </a:cubicBezTo>
                  <a:lnTo>
                    <a:pt x="1977" y="418"/>
                  </a:lnTo>
                  <a:cubicBezTo>
                    <a:pt x="1977" y="442"/>
                    <a:pt x="1988" y="454"/>
                    <a:pt x="1988" y="454"/>
                  </a:cubicBezTo>
                  <a:cubicBezTo>
                    <a:pt x="2021" y="503"/>
                    <a:pt x="2082" y="535"/>
                    <a:pt x="2140" y="535"/>
                  </a:cubicBezTo>
                  <a:cubicBezTo>
                    <a:pt x="2166" y="535"/>
                    <a:pt x="2192" y="528"/>
                    <a:pt x="2215" y="513"/>
                  </a:cubicBezTo>
                  <a:cubicBezTo>
                    <a:pt x="2346" y="441"/>
                    <a:pt x="2452" y="416"/>
                    <a:pt x="2535" y="416"/>
                  </a:cubicBezTo>
                  <a:cubicBezTo>
                    <a:pt x="2602" y="416"/>
                    <a:pt x="2654" y="432"/>
                    <a:pt x="2691" y="454"/>
                  </a:cubicBezTo>
                  <a:lnTo>
                    <a:pt x="2346" y="739"/>
                  </a:lnTo>
                  <a:cubicBezTo>
                    <a:pt x="2274" y="799"/>
                    <a:pt x="2274" y="894"/>
                    <a:pt x="2334" y="954"/>
                  </a:cubicBezTo>
                  <a:cubicBezTo>
                    <a:pt x="2369" y="989"/>
                    <a:pt x="2393" y="1001"/>
                    <a:pt x="2441" y="1013"/>
                  </a:cubicBezTo>
                  <a:lnTo>
                    <a:pt x="2441" y="2668"/>
                  </a:lnTo>
                  <a:cubicBezTo>
                    <a:pt x="2441" y="3144"/>
                    <a:pt x="2822" y="3514"/>
                    <a:pt x="3286" y="3514"/>
                  </a:cubicBezTo>
                  <a:lnTo>
                    <a:pt x="3382" y="3514"/>
                  </a:lnTo>
                  <a:cubicBezTo>
                    <a:pt x="3858" y="3514"/>
                    <a:pt x="4191" y="3144"/>
                    <a:pt x="4310" y="2978"/>
                  </a:cubicBezTo>
                  <a:cubicBezTo>
                    <a:pt x="4548" y="2668"/>
                    <a:pt x="4727" y="2204"/>
                    <a:pt x="4906" y="1763"/>
                  </a:cubicBezTo>
                  <a:cubicBezTo>
                    <a:pt x="5084" y="1287"/>
                    <a:pt x="5298" y="739"/>
                    <a:pt x="5525" y="680"/>
                  </a:cubicBezTo>
                  <a:cubicBezTo>
                    <a:pt x="5567" y="667"/>
                    <a:pt x="5603" y="660"/>
                    <a:pt x="5635" y="660"/>
                  </a:cubicBezTo>
                  <a:cubicBezTo>
                    <a:pt x="5745" y="660"/>
                    <a:pt x="5804" y="742"/>
                    <a:pt x="5906" y="918"/>
                  </a:cubicBezTo>
                  <a:cubicBezTo>
                    <a:pt x="6025" y="1108"/>
                    <a:pt x="6179" y="1370"/>
                    <a:pt x="6549" y="1370"/>
                  </a:cubicBezTo>
                  <a:cubicBezTo>
                    <a:pt x="6989" y="1370"/>
                    <a:pt x="7132" y="1120"/>
                    <a:pt x="7251" y="942"/>
                  </a:cubicBezTo>
                  <a:cubicBezTo>
                    <a:pt x="7334" y="775"/>
                    <a:pt x="7382" y="716"/>
                    <a:pt x="7549" y="716"/>
                  </a:cubicBezTo>
                  <a:cubicBezTo>
                    <a:pt x="7799" y="716"/>
                    <a:pt x="7930" y="870"/>
                    <a:pt x="8204" y="1168"/>
                  </a:cubicBezTo>
                  <a:cubicBezTo>
                    <a:pt x="8382" y="1370"/>
                    <a:pt x="8596" y="1609"/>
                    <a:pt x="8930" y="1870"/>
                  </a:cubicBezTo>
                  <a:cubicBezTo>
                    <a:pt x="9466" y="2251"/>
                    <a:pt x="10049" y="2763"/>
                    <a:pt x="10049" y="3692"/>
                  </a:cubicBezTo>
                  <a:lnTo>
                    <a:pt x="10049" y="5561"/>
                  </a:lnTo>
                  <a:cubicBezTo>
                    <a:pt x="10049" y="5716"/>
                    <a:pt x="10085" y="5883"/>
                    <a:pt x="10192" y="6038"/>
                  </a:cubicBezTo>
                  <a:lnTo>
                    <a:pt x="10382" y="6335"/>
                  </a:lnTo>
                  <a:lnTo>
                    <a:pt x="10228" y="8717"/>
                  </a:lnTo>
                  <a:lnTo>
                    <a:pt x="9573" y="8717"/>
                  </a:lnTo>
                  <a:lnTo>
                    <a:pt x="9597" y="8633"/>
                  </a:lnTo>
                  <a:cubicBezTo>
                    <a:pt x="9632" y="8562"/>
                    <a:pt x="9692" y="8514"/>
                    <a:pt x="9775" y="8514"/>
                  </a:cubicBezTo>
                  <a:lnTo>
                    <a:pt x="9870" y="8514"/>
                  </a:lnTo>
                  <a:cubicBezTo>
                    <a:pt x="9954" y="8514"/>
                    <a:pt x="10025" y="8443"/>
                    <a:pt x="10025" y="8359"/>
                  </a:cubicBezTo>
                  <a:lnTo>
                    <a:pt x="10025" y="6812"/>
                  </a:lnTo>
                  <a:cubicBezTo>
                    <a:pt x="10025" y="6776"/>
                    <a:pt x="10025" y="6752"/>
                    <a:pt x="10013" y="6728"/>
                  </a:cubicBezTo>
                  <a:lnTo>
                    <a:pt x="9132" y="5145"/>
                  </a:lnTo>
                  <a:cubicBezTo>
                    <a:pt x="9037" y="4966"/>
                    <a:pt x="8954" y="4752"/>
                    <a:pt x="8918" y="4549"/>
                  </a:cubicBezTo>
                  <a:lnTo>
                    <a:pt x="8704" y="3609"/>
                  </a:lnTo>
                  <a:cubicBezTo>
                    <a:pt x="8694" y="3533"/>
                    <a:pt x="8631" y="3479"/>
                    <a:pt x="8564" y="3479"/>
                  </a:cubicBezTo>
                  <a:cubicBezTo>
                    <a:pt x="8547" y="3479"/>
                    <a:pt x="8530" y="3483"/>
                    <a:pt x="8513" y="3490"/>
                  </a:cubicBezTo>
                  <a:cubicBezTo>
                    <a:pt x="8418" y="3502"/>
                    <a:pt x="8358" y="3597"/>
                    <a:pt x="8394" y="3680"/>
                  </a:cubicBezTo>
                  <a:lnTo>
                    <a:pt x="8465" y="4037"/>
                  </a:lnTo>
                  <a:cubicBezTo>
                    <a:pt x="8358" y="4109"/>
                    <a:pt x="8144" y="4276"/>
                    <a:pt x="7787" y="4430"/>
                  </a:cubicBezTo>
                  <a:cubicBezTo>
                    <a:pt x="7703" y="4454"/>
                    <a:pt x="7668" y="4561"/>
                    <a:pt x="7703" y="4633"/>
                  </a:cubicBezTo>
                  <a:cubicBezTo>
                    <a:pt x="7739" y="4692"/>
                    <a:pt x="7799" y="4728"/>
                    <a:pt x="7858" y="4728"/>
                  </a:cubicBezTo>
                  <a:cubicBezTo>
                    <a:pt x="7870" y="4728"/>
                    <a:pt x="7906" y="4728"/>
                    <a:pt x="7918" y="4704"/>
                  </a:cubicBezTo>
                  <a:lnTo>
                    <a:pt x="8001" y="4668"/>
                  </a:lnTo>
                  <a:cubicBezTo>
                    <a:pt x="8180" y="5097"/>
                    <a:pt x="8525" y="6002"/>
                    <a:pt x="8501" y="6454"/>
                  </a:cubicBezTo>
                  <a:cubicBezTo>
                    <a:pt x="8454" y="7121"/>
                    <a:pt x="8144" y="7919"/>
                    <a:pt x="8037" y="8193"/>
                  </a:cubicBezTo>
                  <a:cubicBezTo>
                    <a:pt x="7823" y="8193"/>
                    <a:pt x="7632" y="8336"/>
                    <a:pt x="7561" y="8538"/>
                  </a:cubicBezTo>
                  <a:lnTo>
                    <a:pt x="7465" y="8812"/>
                  </a:lnTo>
                  <a:cubicBezTo>
                    <a:pt x="7453" y="8859"/>
                    <a:pt x="7453" y="8919"/>
                    <a:pt x="7489" y="8967"/>
                  </a:cubicBezTo>
                  <a:cubicBezTo>
                    <a:pt x="7513" y="9014"/>
                    <a:pt x="7561" y="9038"/>
                    <a:pt x="7620" y="9038"/>
                  </a:cubicBezTo>
                  <a:lnTo>
                    <a:pt x="8477" y="9038"/>
                  </a:lnTo>
                  <a:cubicBezTo>
                    <a:pt x="8537" y="9038"/>
                    <a:pt x="8596" y="8990"/>
                    <a:pt x="8632" y="8931"/>
                  </a:cubicBezTo>
                  <a:lnTo>
                    <a:pt x="9489" y="6871"/>
                  </a:lnTo>
                  <a:cubicBezTo>
                    <a:pt x="9513" y="6847"/>
                    <a:pt x="9513" y="6823"/>
                    <a:pt x="9513" y="6788"/>
                  </a:cubicBezTo>
                  <a:lnTo>
                    <a:pt x="9489" y="6454"/>
                  </a:lnTo>
                  <a:lnTo>
                    <a:pt x="9704" y="6835"/>
                  </a:lnTo>
                  <a:lnTo>
                    <a:pt x="9704" y="8193"/>
                  </a:lnTo>
                  <a:cubicBezTo>
                    <a:pt x="9513" y="8216"/>
                    <a:pt x="9347" y="8336"/>
                    <a:pt x="9287" y="8538"/>
                  </a:cubicBezTo>
                  <a:lnTo>
                    <a:pt x="9192" y="8812"/>
                  </a:lnTo>
                  <a:cubicBezTo>
                    <a:pt x="9180" y="8859"/>
                    <a:pt x="9180" y="8919"/>
                    <a:pt x="9216" y="8967"/>
                  </a:cubicBezTo>
                  <a:cubicBezTo>
                    <a:pt x="9239" y="9014"/>
                    <a:pt x="9287" y="9038"/>
                    <a:pt x="9347" y="9038"/>
                  </a:cubicBezTo>
                  <a:lnTo>
                    <a:pt x="10382" y="9038"/>
                  </a:lnTo>
                  <a:cubicBezTo>
                    <a:pt x="10478" y="9038"/>
                    <a:pt x="10537" y="8978"/>
                    <a:pt x="10549" y="8895"/>
                  </a:cubicBezTo>
                  <a:lnTo>
                    <a:pt x="10728" y="6300"/>
                  </a:lnTo>
                  <a:cubicBezTo>
                    <a:pt x="10728" y="6276"/>
                    <a:pt x="10728" y="6228"/>
                    <a:pt x="10704" y="6192"/>
                  </a:cubicBezTo>
                  <a:lnTo>
                    <a:pt x="10478" y="5859"/>
                  </a:lnTo>
                  <a:cubicBezTo>
                    <a:pt x="10418" y="5764"/>
                    <a:pt x="10382" y="5657"/>
                    <a:pt x="10382" y="5561"/>
                  </a:cubicBezTo>
                  <a:lnTo>
                    <a:pt x="10382" y="3835"/>
                  </a:lnTo>
                  <a:cubicBezTo>
                    <a:pt x="10501" y="3930"/>
                    <a:pt x="10585" y="4085"/>
                    <a:pt x="10585" y="4252"/>
                  </a:cubicBezTo>
                  <a:lnTo>
                    <a:pt x="10585" y="5049"/>
                  </a:lnTo>
                  <a:cubicBezTo>
                    <a:pt x="10585" y="5228"/>
                    <a:pt x="10656" y="5407"/>
                    <a:pt x="10775" y="5526"/>
                  </a:cubicBezTo>
                  <a:lnTo>
                    <a:pt x="10787" y="5538"/>
                  </a:lnTo>
                  <a:cubicBezTo>
                    <a:pt x="10823" y="5573"/>
                    <a:pt x="10859" y="5585"/>
                    <a:pt x="10906" y="5585"/>
                  </a:cubicBezTo>
                  <a:cubicBezTo>
                    <a:pt x="10954" y="5585"/>
                    <a:pt x="11002" y="5573"/>
                    <a:pt x="11025" y="5538"/>
                  </a:cubicBezTo>
                  <a:cubicBezTo>
                    <a:pt x="11025" y="5430"/>
                    <a:pt x="11025" y="5335"/>
                    <a:pt x="10966" y="5264"/>
                  </a:cubicBezTo>
                  <a:lnTo>
                    <a:pt x="10954" y="5252"/>
                  </a:lnTo>
                  <a:cubicBezTo>
                    <a:pt x="10882" y="5168"/>
                    <a:pt x="10847" y="5085"/>
                    <a:pt x="10847" y="4990"/>
                  </a:cubicBezTo>
                  <a:lnTo>
                    <a:pt x="10847" y="4192"/>
                  </a:lnTo>
                  <a:cubicBezTo>
                    <a:pt x="10847" y="3906"/>
                    <a:pt x="10704" y="3644"/>
                    <a:pt x="10478" y="3478"/>
                  </a:cubicBezTo>
                  <a:lnTo>
                    <a:pt x="10323" y="3371"/>
                  </a:lnTo>
                  <a:cubicBezTo>
                    <a:pt x="10240" y="2490"/>
                    <a:pt x="9692" y="1978"/>
                    <a:pt x="9097" y="1537"/>
                  </a:cubicBezTo>
                  <a:cubicBezTo>
                    <a:pt x="8799" y="1323"/>
                    <a:pt x="8585" y="1097"/>
                    <a:pt x="8406" y="882"/>
                  </a:cubicBezTo>
                  <a:cubicBezTo>
                    <a:pt x="8144" y="585"/>
                    <a:pt x="7918" y="335"/>
                    <a:pt x="7513" y="335"/>
                  </a:cubicBezTo>
                  <a:cubicBezTo>
                    <a:pt x="7156" y="335"/>
                    <a:pt x="7037" y="561"/>
                    <a:pt x="6930" y="727"/>
                  </a:cubicBezTo>
                  <a:cubicBezTo>
                    <a:pt x="6846" y="882"/>
                    <a:pt x="6787" y="989"/>
                    <a:pt x="6537" y="989"/>
                  </a:cubicBezTo>
                  <a:cubicBezTo>
                    <a:pt x="6358" y="989"/>
                    <a:pt x="6275" y="870"/>
                    <a:pt x="6156" y="680"/>
                  </a:cubicBezTo>
                  <a:cubicBezTo>
                    <a:pt x="6047" y="492"/>
                    <a:pt x="5905" y="255"/>
                    <a:pt x="5608" y="255"/>
                  </a:cubicBezTo>
                  <a:cubicBezTo>
                    <a:pt x="5547" y="255"/>
                    <a:pt x="5480" y="265"/>
                    <a:pt x="5406" y="287"/>
                  </a:cubicBezTo>
                  <a:cubicBezTo>
                    <a:pt x="5025" y="394"/>
                    <a:pt x="4822" y="942"/>
                    <a:pt x="4584" y="1573"/>
                  </a:cubicBezTo>
                  <a:cubicBezTo>
                    <a:pt x="4417" y="1990"/>
                    <a:pt x="4251" y="2430"/>
                    <a:pt x="4048" y="2704"/>
                  </a:cubicBezTo>
                  <a:cubicBezTo>
                    <a:pt x="3977" y="2787"/>
                    <a:pt x="3703" y="3121"/>
                    <a:pt x="3358" y="3121"/>
                  </a:cubicBezTo>
                  <a:lnTo>
                    <a:pt x="3274" y="3121"/>
                  </a:lnTo>
                  <a:cubicBezTo>
                    <a:pt x="2977" y="3121"/>
                    <a:pt x="2739" y="2882"/>
                    <a:pt x="2739" y="2585"/>
                  </a:cubicBezTo>
                  <a:lnTo>
                    <a:pt x="2739" y="739"/>
                  </a:lnTo>
                  <a:lnTo>
                    <a:pt x="3024" y="501"/>
                  </a:lnTo>
                  <a:cubicBezTo>
                    <a:pt x="3084" y="454"/>
                    <a:pt x="3096" y="346"/>
                    <a:pt x="3048" y="287"/>
                  </a:cubicBezTo>
                  <a:cubicBezTo>
                    <a:pt x="3048" y="287"/>
                    <a:pt x="2857" y="0"/>
                    <a:pt x="25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47" name="Google Shape;12947;p63"/>
          <p:cNvGrpSpPr/>
          <p:nvPr/>
        </p:nvGrpSpPr>
        <p:grpSpPr>
          <a:xfrm>
            <a:off x="4697389" y="2036338"/>
            <a:ext cx="354752" cy="281984"/>
            <a:chOff x="4697389" y="2036338"/>
            <a:chExt cx="354752" cy="281984"/>
          </a:xfrm>
        </p:grpSpPr>
        <p:sp>
          <p:nvSpPr>
            <p:cNvPr id="12948" name="Google Shape;12948;p63"/>
            <p:cNvSpPr/>
            <p:nvPr/>
          </p:nvSpPr>
          <p:spPr>
            <a:xfrm>
              <a:off x="4697389" y="2036338"/>
              <a:ext cx="354752" cy="281984"/>
            </a:xfrm>
            <a:custGeom>
              <a:avLst/>
              <a:gdLst/>
              <a:ahLst/>
              <a:cxnLst/>
              <a:rect l="l" t="t" r="r" b="b"/>
              <a:pathLst>
                <a:path w="11086" h="8812" extrusionOk="0">
                  <a:moveTo>
                    <a:pt x="1322" y="822"/>
                  </a:moveTo>
                  <a:cubicBezTo>
                    <a:pt x="1596" y="1203"/>
                    <a:pt x="2025" y="1417"/>
                    <a:pt x="2394" y="1489"/>
                  </a:cubicBezTo>
                  <a:cubicBezTo>
                    <a:pt x="2334" y="1656"/>
                    <a:pt x="2215" y="1751"/>
                    <a:pt x="2156" y="1810"/>
                  </a:cubicBezTo>
                  <a:cubicBezTo>
                    <a:pt x="1834" y="1715"/>
                    <a:pt x="1596" y="1536"/>
                    <a:pt x="1453" y="1275"/>
                  </a:cubicBezTo>
                  <a:cubicBezTo>
                    <a:pt x="1370" y="1132"/>
                    <a:pt x="1322" y="965"/>
                    <a:pt x="1322" y="822"/>
                  </a:cubicBezTo>
                  <a:close/>
                  <a:moveTo>
                    <a:pt x="2703" y="1513"/>
                  </a:moveTo>
                  <a:cubicBezTo>
                    <a:pt x="3191" y="1513"/>
                    <a:pt x="3465" y="1584"/>
                    <a:pt x="3584" y="1644"/>
                  </a:cubicBezTo>
                  <a:cubicBezTo>
                    <a:pt x="3358" y="2001"/>
                    <a:pt x="2894" y="2025"/>
                    <a:pt x="2870" y="2025"/>
                  </a:cubicBezTo>
                  <a:cubicBezTo>
                    <a:pt x="2775" y="2025"/>
                    <a:pt x="2703" y="2096"/>
                    <a:pt x="2703" y="2179"/>
                  </a:cubicBezTo>
                  <a:cubicBezTo>
                    <a:pt x="2703" y="2275"/>
                    <a:pt x="2775" y="2346"/>
                    <a:pt x="2870" y="2346"/>
                  </a:cubicBezTo>
                  <a:cubicBezTo>
                    <a:pt x="2930" y="2346"/>
                    <a:pt x="3465" y="2334"/>
                    <a:pt x="3787" y="1929"/>
                  </a:cubicBezTo>
                  <a:cubicBezTo>
                    <a:pt x="4407" y="2054"/>
                    <a:pt x="4966" y="2098"/>
                    <a:pt x="5472" y="2098"/>
                  </a:cubicBezTo>
                  <a:cubicBezTo>
                    <a:pt x="6171" y="2098"/>
                    <a:pt x="6769" y="2015"/>
                    <a:pt x="7287" y="1953"/>
                  </a:cubicBezTo>
                  <a:cubicBezTo>
                    <a:pt x="7708" y="1896"/>
                    <a:pt x="8072" y="1843"/>
                    <a:pt x="8405" y="1843"/>
                  </a:cubicBezTo>
                  <a:cubicBezTo>
                    <a:pt x="8628" y="1843"/>
                    <a:pt x="8837" y="1867"/>
                    <a:pt x="9037" y="1929"/>
                  </a:cubicBezTo>
                  <a:cubicBezTo>
                    <a:pt x="9788" y="2179"/>
                    <a:pt x="10014" y="3108"/>
                    <a:pt x="10014" y="3334"/>
                  </a:cubicBezTo>
                  <a:cubicBezTo>
                    <a:pt x="10061" y="3739"/>
                    <a:pt x="9966" y="3953"/>
                    <a:pt x="9871" y="4192"/>
                  </a:cubicBezTo>
                  <a:cubicBezTo>
                    <a:pt x="9776" y="4406"/>
                    <a:pt x="9692" y="4608"/>
                    <a:pt x="9692" y="4930"/>
                  </a:cubicBezTo>
                  <a:cubicBezTo>
                    <a:pt x="9692" y="5561"/>
                    <a:pt x="9966" y="6251"/>
                    <a:pt x="10026" y="6418"/>
                  </a:cubicBezTo>
                  <a:lnTo>
                    <a:pt x="10026" y="7644"/>
                  </a:lnTo>
                  <a:cubicBezTo>
                    <a:pt x="10026" y="7740"/>
                    <a:pt x="10014" y="7847"/>
                    <a:pt x="9966" y="7930"/>
                  </a:cubicBezTo>
                  <a:lnTo>
                    <a:pt x="9728" y="8466"/>
                  </a:lnTo>
                  <a:lnTo>
                    <a:pt x="9037" y="8466"/>
                  </a:lnTo>
                  <a:lnTo>
                    <a:pt x="9073" y="8323"/>
                  </a:lnTo>
                  <a:cubicBezTo>
                    <a:pt x="9085" y="8263"/>
                    <a:pt x="9133" y="8216"/>
                    <a:pt x="9192" y="8204"/>
                  </a:cubicBezTo>
                  <a:lnTo>
                    <a:pt x="9609" y="8049"/>
                  </a:lnTo>
                  <a:cubicBezTo>
                    <a:pt x="9668" y="8025"/>
                    <a:pt x="9716" y="7954"/>
                    <a:pt x="9716" y="7906"/>
                  </a:cubicBezTo>
                  <a:lnTo>
                    <a:pt x="9716" y="6906"/>
                  </a:lnTo>
                  <a:cubicBezTo>
                    <a:pt x="9716" y="6870"/>
                    <a:pt x="9716" y="6859"/>
                    <a:pt x="9704" y="6835"/>
                  </a:cubicBezTo>
                  <a:lnTo>
                    <a:pt x="8585" y="4715"/>
                  </a:lnTo>
                  <a:cubicBezTo>
                    <a:pt x="8550" y="4663"/>
                    <a:pt x="8496" y="4630"/>
                    <a:pt x="8432" y="4630"/>
                  </a:cubicBezTo>
                  <a:cubicBezTo>
                    <a:pt x="8409" y="4630"/>
                    <a:pt x="8384" y="4634"/>
                    <a:pt x="8359" y="4644"/>
                  </a:cubicBezTo>
                  <a:cubicBezTo>
                    <a:pt x="8287" y="4692"/>
                    <a:pt x="8252" y="4775"/>
                    <a:pt x="8287" y="4870"/>
                  </a:cubicBezTo>
                  <a:lnTo>
                    <a:pt x="8621" y="5489"/>
                  </a:lnTo>
                  <a:cubicBezTo>
                    <a:pt x="7990" y="5787"/>
                    <a:pt x="7323" y="5978"/>
                    <a:pt x="6680" y="6037"/>
                  </a:cubicBezTo>
                  <a:cubicBezTo>
                    <a:pt x="6482" y="6061"/>
                    <a:pt x="6287" y="6073"/>
                    <a:pt x="6097" y="6073"/>
                  </a:cubicBezTo>
                  <a:cubicBezTo>
                    <a:pt x="5635" y="6073"/>
                    <a:pt x="5202" y="6002"/>
                    <a:pt x="4823" y="5858"/>
                  </a:cubicBezTo>
                  <a:lnTo>
                    <a:pt x="4894" y="5442"/>
                  </a:lnTo>
                  <a:cubicBezTo>
                    <a:pt x="4906" y="5358"/>
                    <a:pt x="4846" y="5263"/>
                    <a:pt x="4763" y="5251"/>
                  </a:cubicBezTo>
                  <a:cubicBezTo>
                    <a:pt x="4755" y="5250"/>
                    <a:pt x="4747" y="5250"/>
                    <a:pt x="4739" y="5250"/>
                  </a:cubicBezTo>
                  <a:cubicBezTo>
                    <a:pt x="4654" y="5250"/>
                    <a:pt x="4583" y="5306"/>
                    <a:pt x="4573" y="5382"/>
                  </a:cubicBezTo>
                  <a:lnTo>
                    <a:pt x="4120" y="7954"/>
                  </a:lnTo>
                  <a:cubicBezTo>
                    <a:pt x="4108" y="8002"/>
                    <a:pt x="4096" y="8061"/>
                    <a:pt x="4061" y="8109"/>
                  </a:cubicBezTo>
                  <a:lnTo>
                    <a:pt x="3823" y="8454"/>
                  </a:lnTo>
                  <a:lnTo>
                    <a:pt x="3096" y="8454"/>
                  </a:lnTo>
                  <a:lnTo>
                    <a:pt x="3144" y="8335"/>
                  </a:lnTo>
                  <a:cubicBezTo>
                    <a:pt x="3156" y="8275"/>
                    <a:pt x="3215" y="8228"/>
                    <a:pt x="3275" y="8216"/>
                  </a:cubicBezTo>
                  <a:lnTo>
                    <a:pt x="3775" y="8073"/>
                  </a:lnTo>
                  <a:cubicBezTo>
                    <a:pt x="3858" y="8061"/>
                    <a:pt x="3894" y="7990"/>
                    <a:pt x="3894" y="7918"/>
                  </a:cubicBezTo>
                  <a:lnTo>
                    <a:pt x="3882" y="5656"/>
                  </a:lnTo>
                  <a:cubicBezTo>
                    <a:pt x="3882" y="5597"/>
                    <a:pt x="3846" y="5549"/>
                    <a:pt x="3811" y="5525"/>
                  </a:cubicBezTo>
                  <a:cubicBezTo>
                    <a:pt x="3787" y="5525"/>
                    <a:pt x="2810" y="4930"/>
                    <a:pt x="2096" y="3953"/>
                  </a:cubicBezTo>
                  <a:cubicBezTo>
                    <a:pt x="2382" y="3870"/>
                    <a:pt x="2584" y="3739"/>
                    <a:pt x="2727" y="3584"/>
                  </a:cubicBezTo>
                  <a:cubicBezTo>
                    <a:pt x="2882" y="3382"/>
                    <a:pt x="2858" y="3191"/>
                    <a:pt x="2846" y="3180"/>
                  </a:cubicBezTo>
                  <a:cubicBezTo>
                    <a:pt x="2826" y="3109"/>
                    <a:pt x="2763" y="3055"/>
                    <a:pt x="2686" y="3055"/>
                  </a:cubicBezTo>
                  <a:cubicBezTo>
                    <a:pt x="2672" y="3055"/>
                    <a:pt x="2658" y="3057"/>
                    <a:pt x="2644" y="3060"/>
                  </a:cubicBezTo>
                  <a:cubicBezTo>
                    <a:pt x="2560" y="3084"/>
                    <a:pt x="2501" y="3168"/>
                    <a:pt x="2525" y="3263"/>
                  </a:cubicBezTo>
                  <a:cubicBezTo>
                    <a:pt x="2525" y="3263"/>
                    <a:pt x="2525" y="3311"/>
                    <a:pt x="2465" y="3394"/>
                  </a:cubicBezTo>
                  <a:cubicBezTo>
                    <a:pt x="2334" y="3561"/>
                    <a:pt x="1929" y="3822"/>
                    <a:pt x="608" y="3858"/>
                  </a:cubicBezTo>
                  <a:cubicBezTo>
                    <a:pt x="524" y="3858"/>
                    <a:pt x="441" y="3799"/>
                    <a:pt x="429" y="3715"/>
                  </a:cubicBezTo>
                  <a:lnTo>
                    <a:pt x="358" y="3418"/>
                  </a:lnTo>
                  <a:cubicBezTo>
                    <a:pt x="346" y="3358"/>
                    <a:pt x="358" y="3299"/>
                    <a:pt x="405" y="3239"/>
                  </a:cubicBezTo>
                  <a:lnTo>
                    <a:pt x="1632" y="1929"/>
                  </a:lnTo>
                  <a:cubicBezTo>
                    <a:pt x="1787" y="2025"/>
                    <a:pt x="1953" y="2096"/>
                    <a:pt x="2120" y="2144"/>
                  </a:cubicBezTo>
                  <a:cubicBezTo>
                    <a:pt x="2133" y="2147"/>
                    <a:pt x="2145" y="2148"/>
                    <a:pt x="2158" y="2148"/>
                  </a:cubicBezTo>
                  <a:cubicBezTo>
                    <a:pt x="2191" y="2148"/>
                    <a:pt x="2222" y="2137"/>
                    <a:pt x="2239" y="2120"/>
                  </a:cubicBezTo>
                  <a:cubicBezTo>
                    <a:pt x="2263" y="2108"/>
                    <a:pt x="2584" y="1929"/>
                    <a:pt x="2703" y="1513"/>
                  </a:cubicBezTo>
                  <a:close/>
                  <a:moveTo>
                    <a:pt x="1239" y="1"/>
                  </a:moveTo>
                  <a:cubicBezTo>
                    <a:pt x="1156" y="1"/>
                    <a:pt x="1084" y="48"/>
                    <a:pt x="1072" y="108"/>
                  </a:cubicBezTo>
                  <a:cubicBezTo>
                    <a:pt x="1060" y="132"/>
                    <a:pt x="834" y="822"/>
                    <a:pt x="1156" y="1417"/>
                  </a:cubicBezTo>
                  <a:cubicBezTo>
                    <a:pt x="1215" y="1536"/>
                    <a:pt x="1298" y="1620"/>
                    <a:pt x="1382" y="1715"/>
                  </a:cubicBezTo>
                  <a:lnTo>
                    <a:pt x="167" y="3001"/>
                  </a:lnTo>
                  <a:cubicBezTo>
                    <a:pt x="48" y="3144"/>
                    <a:pt x="1" y="3322"/>
                    <a:pt x="48" y="3477"/>
                  </a:cubicBezTo>
                  <a:lnTo>
                    <a:pt x="120" y="3775"/>
                  </a:lnTo>
                  <a:cubicBezTo>
                    <a:pt x="179" y="4001"/>
                    <a:pt x="370" y="4156"/>
                    <a:pt x="608" y="4156"/>
                  </a:cubicBezTo>
                  <a:lnTo>
                    <a:pt x="620" y="4156"/>
                  </a:lnTo>
                  <a:cubicBezTo>
                    <a:pt x="1072" y="4132"/>
                    <a:pt x="1453" y="4108"/>
                    <a:pt x="1787" y="4049"/>
                  </a:cubicBezTo>
                  <a:cubicBezTo>
                    <a:pt x="2441" y="4989"/>
                    <a:pt x="3322" y="5585"/>
                    <a:pt x="3584" y="5739"/>
                  </a:cubicBezTo>
                  <a:lnTo>
                    <a:pt x="3596" y="7799"/>
                  </a:lnTo>
                  <a:lnTo>
                    <a:pt x="3215" y="7882"/>
                  </a:lnTo>
                  <a:cubicBezTo>
                    <a:pt x="3049" y="7930"/>
                    <a:pt x="2918" y="8049"/>
                    <a:pt x="2858" y="8216"/>
                  </a:cubicBezTo>
                  <a:lnTo>
                    <a:pt x="2739" y="8561"/>
                  </a:lnTo>
                  <a:cubicBezTo>
                    <a:pt x="2727" y="8597"/>
                    <a:pt x="2727" y="8656"/>
                    <a:pt x="2751" y="8704"/>
                  </a:cubicBezTo>
                  <a:cubicBezTo>
                    <a:pt x="2787" y="8752"/>
                    <a:pt x="2822" y="8775"/>
                    <a:pt x="2882" y="8775"/>
                  </a:cubicBezTo>
                  <a:lnTo>
                    <a:pt x="3930" y="8775"/>
                  </a:lnTo>
                  <a:cubicBezTo>
                    <a:pt x="3989" y="8775"/>
                    <a:pt x="4037" y="8752"/>
                    <a:pt x="4061" y="8704"/>
                  </a:cubicBezTo>
                  <a:lnTo>
                    <a:pt x="4346" y="8287"/>
                  </a:lnTo>
                  <a:cubicBezTo>
                    <a:pt x="4406" y="8204"/>
                    <a:pt x="4430" y="8109"/>
                    <a:pt x="4454" y="8025"/>
                  </a:cubicBezTo>
                  <a:lnTo>
                    <a:pt x="4763" y="6180"/>
                  </a:lnTo>
                  <a:cubicBezTo>
                    <a:pt x="5192" y="6323"/>
                    <a:pt x="5656" y="6394"/>
                    <a:pt x="6144" y="6394"/>
                  </a:cubicBezTo>
                  <a:cubicBezTo>
                    <a:pt x="6990" y="6394"/>
                    <a:pt x="7906" y="6192"/>
                    <a:pt x="8764" y="5775"/>
                  </a:cubicBezTo>
                  <a:lnTo>
                    <a:pt x="9395" y="6954"/>
                  </a:lnTo>
                  <a:lnTo>
                    <a:pt x="9395" y="7799"/>
                  </a:lnTo>
                  <a:lnTo>
                    <a:pt x="9073" y="7918"/>
                  </a:lnTo>
                  <a:cubicBezTo>
                    <a:pt x="8930" y="7966"/>
                    <a:pt x="8811" y="8085"/>
                    <a:pt x="8764" y="8228"/>
                  </a:cubicBezTo>
                  <a:lnTo>
                    <a:pt x="8645" y="8585"/>
                  </a:lnTo>
                  <a:cubicBezTo>
                    <a:pt x="8633" y="8633"/>
                    <a:pt x="8633" y="8692"/>
                    <a:pt x="8656" y="8740"/>
                  </a:cubicBezTo>
                  <a:cubicBezTo>
                    <a:pt x="8692" y="8775"/>
                    <a:pt x="8740" y="8811"/>
                    <a:pt x="8799" y="8811"/>
                  </a:cubicBezTo>
                  <a:lnTo>
                    <a:pt x="9835" y="8811"/>
                  </a:lnTo>
                  <a:cubicBezTo>
                    <a:pt x="9895" y="8811"/>
                    <a:pt x="9954" y="8764"/>
                    <a:pt x="9990" y="8704"/>
                  </a:cubicBezTo>
                  <a:lnTo>
                    <a:pt x="10252" y="8061"/>
                  </a:lnTo>
                  <a:cubicBezTo>
                    <a:pt x="10311" y="7930"/>
                    <a:pt x="10347" y="7799"/>
                    <a:pt x="10347" y="7668"/>
                  </a:cubicBezTo>
                  <a:lnTo>
                    <a:pt x="10347" y="6394"/>
                  </a:lnTo>
                  <a:cubicBezTo>
                    <a:pt x="10347" y="6370"/>
                    <a:pt x="10347" y="6359"/>
                    <a:pt x="10323" y="6335"/>
                  </a:cubicBezTo>
                  <a:cubicBezTo>
                    <a:pt x="10323" y="6335"/>
                    <a:pt x="10002" y="5597"/>
                    <a:pt x="10002" y="4954"/>
                  </a:cubicBezTo>
                  <a:cubicBezTo>
                    <a:pt x="10002" y="4704"/>
                    <a:pt x="10073" y="4537"/>
                    <a:pt x="10145" y="4346"/>
                  </a:cubicBezTo>
                  <a:cubicBezTo>
                    <a:pt x="10252" y="4096"/>
                    <a:pt x="10371" y="3811"/>
                    <a:pt x="10347" y="3322"/>
                  </a:cubicBezTo>
                  <a:cubicBezTo>
                    <a:pt x="10323" y="3096"/>
                    <a:pt x="10240" y="2739"/>
                    <a:pt x="10026" y="2394"/>
                  </a:cubicBezTo>
                  <a:lnTo>
                    <a:pt x="10026" y="2394"/>
                  </a:lnTo>
                  <a:cubicBezTo>
                    <a:pt x="10109" y="2441"/>
                    <a:pt x="10192" y="2501"/>
                    <a:pt x="10264" y="2584"/>
                  </a:cubicBezTo>
                  <a:cubicBezTo>
                    <a:pt x="10645" y="2989"/>
                    <a:pt x="10716" y="3656"/>
                    <a:pt x="10466" y="4394"/>
                  </a:cubicBezTo>
                  <a:cubicBezTo>
                    <a:pt x="10133" y="5346"/>
                    <a:pt x="10716" y="6132"/>
                    <a:pt x="10740" y="6156"/>
                  </a:cubicBezTo>
                  <a:cubicBezTo>
                    <a:pt x="10776" y="6204"/>
                    <a:pt x="10823" y="6216"/>
                    <a:pt x="10883" y="6216"/>
                  </a:cubicBezTo>
                  <a:cubicBezTo>
                    <a:pt x="10907" y="6216"/>
                    <a:pt x="10954" y="6204"/>
                    <a:pt x="10978" y="6192"/>
                  </a:cubicBezTo>
                  <a:cubicBezTo>
                    <a:pt x="11062" y="6120"/>
                    <a:pt x="11073" y="6013"/>
                    <a:pt x="11026" y="5942"/>
                  </a:cubicBezTo>
                  <a:cubicBezTo>
                    <a:pt x="11026" y="5942"/>
                    <a:pt x="10526" y="5263"/>
                    <a:pt x="10788" y="4465"/>
                  </a:cubicBezTo>
                  <a:cubicBezTo>
                    <a:pt x="11085" y="3620"/>
                    <a:pt x="10978" y="2846"/>
                    <a:pt x="10538" y="2334"/>
                  </a:cubicBezTo>
                  <a:cubicBezTo>
                    <a:pt x="10322" y="2108"/>
                    <a:pt x="10058" y="1960"/>
                    <a:pt x="9825" y="1960"/>
                  </a:cubicBezTo>
                  <a:cubicBezTo>
                    <a:pt x="9800" y="1960"/>
                    <a:pt x="9776" y="1962"/>
                    <a:pt x="9752" y="1965"/>
                  </a:cubicBezTo>
                  <a:cubicBezTo>
                    <a:pt x="9585" y="1810"/>
                    <a:pt x="9395" y="1679"/>
                    <a:pt x="9157" y="1608"/>
                  </a:cubicBezTo>
                  <a:cubicBezTo>
                    <a:pt x="8917" y="1531"/>
                    <a:pt x="8666" y="1503"/>
                    <a:pt x="8402" y="1503"/>
                  </a:cubicBezTo>
                  <a:cubicBezTo>
                    <a:pt x="8051" y="1503"/>
                    <a:pt x="7677" y="1553"/>
                    <a:pt x="7275" y="1608"/>
                  </a:cubicBezTo>
                  <a:cubicBezTo>
                    <a:pt x="6773" y="1678"/>
                    <a:pt x="6202" y="1756"/>
                    <a:pt x="5537" y="1756"/>
                  </a:cubicBezTo>
                  <a:cubicBezTo>
                    <a:pt x="5067" y="1756"/>
                    <a:pt x="4550" y="1716"/>
                    <a:pt x="3977" y="1608"/>
                  </a:cubicBezTo>
                  <a:cubicBezTo>
                    <a:pt x="3989" y="1548"/>
                    <a:pt x="3977" y="1489"/>
                    <a:pt x="3930" y="1453"/>
                  </a:cubicBezTo>
                  <a:cubicBezTo>
                    <a:pt x="3882" y="1417"/>
                    <a:pt x="3620" y="1191"/>
                    <a:pt x="2703" y="1191"/>
                  </a:cubicBezTo>
                  <a:cubicBezTo>
                    <a:pt x="2251" y="1191"/>
                    <a:pt x="1501" y="905"/>
                    <a:pt x="1382" y="132"/>
                  </a:cubicBezTo>
                  <a:cubicBezTo>
                    <a:pt x="1370" y="60"/>
                    <a:pt x="1310" y="1"/>
                    <a:pt x="1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9" name="Google Shape;12949;p63"/>
            <p:cNvSpPr/>
            <p:nvPr/>
          </p:nvSpPr>
          <p:spPr>
            <a:xfrm>
              <a:off x="4747693" y="2113682"/>
              <a:ext cx="10688" cy="10688"/>
            </a:xfrm>
            <a:custGeom>
              <a:avLst/>
              <a:gdLst/>
              <a:ahLst/>
              <a:cxnLst/>
              <a:rect l="l" t="t" r="r" b="b"/>
              <a:pathLst>
                <a:path w="334" h="334" extrusionOk="0">
                  <a:moveTo>
                    <a:pt x="167" y="1"/>
                  </a:moveTo>
                  <a:cubicBezTo>
                    <a:pt x="72" y="1"/>
                    <a:pt x="0" y="84"/>
                    <a:pt x="0" y="167"/>
                  </a:cubicBezTo>
                  <a:cubicBezTo>
                    <a:pt x="0" y="262"/>
                    <a:pt x="72" y="334"/>
                    <a:pt x="167" y="334"/>
                  </a:cubicBezTo>
                  <a:cubicBezTo>
                    <a:pt x="262" y="334"/>
                    <a:pt x="334" y="262"/>
                    <a:pt x="334" y="167"/>
                  </a:cubicBezTo>
                  <a:cubicBezTo>
                    <a:pt x="334" y="84"/>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0" name="Google Shape;12950;p63"/>
          <p:cNvGrpSpPr/>
          <p:nvPr/>
        </p:nvGrpSpPr>
        <p:grpSpPr>
          <a:xfrm>
            <a:off x="1404013" y="2424754"/>
            <a:ext cx="353600" cy="354944"/>
            <a:chOff x="1404013" y="2424754"/>
            <a:chExt cx="353600" cy="354944"/>
          </a:xfrm>
        </p:grpSpPr>
        <p:sp>
          <p:nvSpPr>
            <p:cNvPr id="12951" name="Google Shape;12951;p63"/>
            <p:cNvSpPr/>
            <p:nvPr/>
          </p:nvSpPr>
          <p:spPr>
            <a:xfrm>
              <a:off x="1404013" y="2424754"/>
              <a:ext cx="353600" cy="354944"/>
            </a:xfrm>
            <a:custGeom>
              <a:avLst/>
              <a:gdLst/>
              <a:ahLst/>
              <a:cxnLst/>
              <a:rect l="l" t="t" r="r" b="b"/>
              <a:pathLst>
                <a:path w="11050" h="11092" extrusionOk="0">
                  <a:moveTo>
                    <a:pt x="5514" y="316"/>
                  </a:moveTo>
                  <a:cubicBezTo>
                    <a:pt x="6061" y="316"/>
                    <a:pt x="6597" y="412"/>
                    <a:pt x="7121" y="567"/>
                  </a:cubicBezTo>
                  <a:cubicBezTo>
                    <a:pt x="7038" y="602"/>
                    <a:pt x="6978" y="614"/>
                    <a:pt x="6907" y="650"/>
                  </a:cubicBezTo>
                  <a:cubicBezTo>
                    <a:pt x="6299" y="900"/>
                    <a:pt x="5835" y="1329"/>
                    <a:pt x="5514" y="1936"/>
                  </a:cubicBezTo>
                  <a:cubicBezTo>
                    <a:pt x="5180" y="1317"/>
                    <a:pt x="4716" y="900"/>
                    <a:pt x="4109" y="650"/>
                  </a:cubicBezTo>
                  <a:cubicBezTo>
                    <a:pt x="4037" y="614"/>
                    <a:pt x="3978" y="590"/>
                    <a:pt x="3906" y="567"/>
                  </a:cubicBezTo>
                  <a:cubicBezTo>
                    <a:pt x="4418" y="412"/>
                    <a:pt x="4954" y="316"/>
                    <a:pt x="5514" y="316"/>
                  </a:cubicBezTo>
                  <a:close/>
                  <a:moveTo>
                    <a:pt x="3263" y="2043"/>
                  </a:moveTo>
                  <a:cubicBezTo>
                    <a:pt x="4121" y="2043"/>
                    <a:pt x="4835" y="2745"/>
                    <a:pt x="4835" y="3626"/>
                  </a:cubicBezTo>
                  <a:cubicBezTo>
                    <a:pt x="4835" y="4484"/>
                    <a:pt x="4144" y="5198"/>
                    <a:pt x="3263" y="5198"/>
                  </a:cubicBezTo>
                  <a:cubicBezTo>
                    <a:pt x="2382" y="5198"/>
                    <a:pt x="1680" y="4496"/>
                    <a:pt x="1680" y="3626"/>
                  </a:cubicBezTo>
                  <a:cubicBezTo>
                    <a:pt x="1680" y="2757"/>
                    <a:pt x="2394" y="2043"/>
                    <a:pt x="3263" y="2043"/>
                  </a:cubicBezTo>
                  <a:close/>
                  <a:moveTo>
                    <a:pt x="692" y="424"/>
                  </a:moveTo>
                  <a:lnTo>
                    <a:pt x="692" y="424"/>
                  </a:lnTo>
                  <a:cubicBezTo>
                    <a:pt x="1120" y="567"/>
                    <a:pt x="1620" y="602"/>
                    <a:pt x="2144" y="626"/>
                  </a:cubicBezTo>
                  <a:cubicBezTo>
                    <a:pt x="3394" y="721"/>
                    <a:pt x="4704" y="793"/>
                    <a:pt x="5359" y="2388"/>
                  </a:cubicBezTo>
                  <a:cubicBezTo>
                    <a:pt x="5395" y="2448"/>
                    <a:pt x="5454" y="2495"/>
                    <a:pt x="5514" y="2495"/>
                  </a:cubicBezTo>
                  <a:cubicBezTo>
                    <a:pt x="5525" y="2495"/>
                    <a:pt x="5549" y="2495"/>
                    <a:pt x="5573" y="2472"/>
                  </a:cubicBezTo>
                  <a:cubicBezTo>
                    <a:pt x="5609" y="2460"/>
                    <a:pt x="5645" y="2436"/>
                    <a:pt x="5656" y="2388"/>
                  </a:cubicBezTo>
                  <a:cubicBezTo>
                    <a:pt x="6311" y="793"/>
                    <a:pt x="7609" y="697"/>
                    <a:pt x="8871" y="626"/>
                  </a:cubicBezTo>
                  <a:cubicBezTo>
                    <a:pt x="9395" y="602"/>
                    <a:pt x="9895" y="555"/>
                    <a:pt x="10336" y="424"/>
                  </a:cubicBezTo>
                  <a:lnTo>
                    <a:pt x="10336" y="424"/>
                  </a:lnTo>
                  <a:cubicBezTo>
                    <a:pt x="10288" y="567"/>
                    <a:pt x="10217" y="745"/>
                    <a:pt x="10050" y="948"/>
                  </a:cubicBezTo>
                  <a:cubicBezTo>
                    <a:pt x="9621" y="1459"/>
                    <a:pt x="8824" y="1733"/>
                    <a:pt x="7752" y="1733"/>
                  </a:cubicBezTo>
                  <a:cubicBezTo>
                    <a:pt x="6716" y="1733"/>
                    <a:pt x="5871" y="2579"/>
                    <a:pt x="5871" y="3626"/>
                  </a:cubicBezTo>
                  <a:cubicBezTo>
                    <a:pt x="5871" y="4662"/>
                    <a:pt x="6716" y="5508"/>
                    <a:pt x="7752" y="5508"/>
                  </a:cubicBezTo>
                  <a:cubicBezTo>
                    <a:pt x="8800" y="5508"/>
                    <a:pt x="9645" y="4662"/>
                    <a:pt x="9645" y="3626"/>
                  </a:cubicBezTo>
                  <a:cubicBezTo>
                    <a:pt x="9645" y="3341"/>
                    <a:pt x="9586" y="3055"/>
                    <a:pt x="9455" y="2781"/>
                  </a:cubicBezTo>
                  <a:cubicBezTo>
                    <a:pt x="9420" y="2730"/>
                    <a:pt x="9367" y="2690"/>
                    <a:pt x="9305" y="2690"/>
                  </a:cubicBezTo>
                  <a:cubicBezTo>
                    <a:pt x="9281" y="2690"/>
                    <a:pt x="9255" y="2696"/>
                    <a:pt x="9228" y="2710"/>
                  </a:cubicBezTo>
                  <a:cubicBezTo>
                    <a:pt x="9157" y="2757"/>
                    <a:pt x="9109" y="2841"/>
                    <a:pt x="9157" y="2936"/>
                  </a:cubicBezTo>
                  <a:cubicBezTo>
                    <a:pt x="9264" y="3138"/>
                    <a:pt x="9324" y="3376"/>
                    <a:pt x="9324" y="3626"/>
                  </a:cubicBezTo>
                  <a:cubicBezTo>
                    <a:pt x="9324" y="4484"/>
                    <a:pt x="8621" y="5198"/>
                    <a:pt x="7740" y="5198"/>
                  </a:cubicBezTo>
                  <a:cubicBezTo>
                    <a:pt x="6883" y="5198"/>
                    <a:pt x="6168" y="4496"/>
                    <a:pt x="6168" y="3626"/>
                  </a:cubicBezTo>
                  <a:cubicBezTo>
                    <a:pt x="6168" y="2757"/>
                    <a:pt x="6859" y="2043"/>
                    <a:pt x="7740" y="2043"/>
                  </a:cubicBezTo>
                  <a:cubicBezTo>
                    <a:pt x="8085" y="2043"/>
                    <a:pt x="8407" y="2150"/>
                    <a:pt x="8681" y="2352"/>
                  </a:cubicBezTo>
                  <a:cubicBezTo>
                    <a:pt x="8712" y="2378"/>
                    <a:pt x="8749" y="2391"/>
                    <a:pt x="8786" y="2391"/>
                  </a:cubicBezTo>
                  <a:cubicBezTo>
                    <a:pt x="8834" y="2391"/>
                    <a:pt x="8880" y="2369"/>
                    <a:pt x="8907" y="2329"/>
                  </a:cubicBezTo>
                  <a:cubicBezTo>
                    <a:pt x="8966" y="2257"/>
                    <a:pt x="8943" y="2150"/>
                    <a:pt x="8871" y="2102"/>
                  </a:cubicBezTo>
                  <a:cubicBezTo>
                    <a:pt x="8812" y="2055"/>
                    <a:pt x="8740" y="2019"/>
                    <a:pt x="8681" y="1971"/>
                  </a:cubicBezTo>
                  <a:cubicBezTo>
                    <a:pt x="8919" y="1924"/>
                    <a:pt x="9145" y="1864"/>
                    <a:pt x="9347" y="1793"/>
                  </a:cubicBezTo>
                  <a:cubicBezTo>
                    <a:pt x="9871" y="2257"/>
                    <a:pt x="10181" y="2924"/>
                    <a:pt x="10181" y="3626"/>
                  </a:cubicBezTo>
                  <a:cubicBezTo>
                    <a:pt x="10181" y="4960"/>
                    <a:pt x="9097" y="6067"/>
                    <a:pt x="7740" y="6067"/>
                  </a:cubicBezTo>
                  <a:cubicBezTo>
                    <a:pt x="7133" y="6067"/>
                    <a:pt x="6549" y="5841"/>
                    <a:pt x="6085" y="5424"/>
                  </a:cubicBezTo>
                  <a:lnTo>
                    <a:pt x="6145" y="5246"/>
                  </a:lnTo>
                  <a:cubicBezTo>
                    <a:pt x="6168" y="5186"/>
                    <a:pt x="6168" y="5115"/>
                    <a:pt x="6121" y="5067"/>
                  </a:cubicBezTo>
                  <a:lnTo>
                    <a:pt x="5847" y="4793"/>
                  </a:lnTo>
                  <a:cubicBezTo>
                    <a:pt x="5752" y="4698"/>
                    <a:pt x="5624" y="4650"/>
                    <a:pt x="5494" y="4650"/>
                  </a:cubicBezTo>
                  <a:cubicBezTo>
                    <a:pt x="5365" y="4650"/>
                    <a:pt x="5234" y="4698"/>
                    <a:pt x="5133" y="4793"/>
                  </a:cubicBezTo>
                  <a:lnTo>
                    <a:pt x="4871" y="5067"/>
                  </a:lnTo>
                  <a:cubicBezTo>
                    <a:pt x="4823" y="5115"/>
                    <a:pt x="4811" y="5186"/>
                    <a:pt x="4835" y="5246"/>
                  </a:cubicBezTo>
                  <a:lnTo>
                    <a:pt x="4894" y="5424"/>
                  </a:lnTo>
                  <a:cubicBezTo>
                    <a:pt x="4454" y="5841"/>
                    <a:pt x="3871" y="6067"/>
                    <a:pt x="3251" y="6067"/>
                  </a:cubicBezTo>
                  <a:cubicBezTo>
                    <a:pt x="1906" y="6067"/>
                    <a:pt x="811" y="4972"/>
                    <a:pt x="811" y="3626"/>
                  </a:cubicBezTo>
                  <a:cubicBezTo>
                    <a:pt x="823" y="2912"/>
                    <a:pt x="1120" y="2257"/>
                    <a:pt x="1656" y="1793"/>
                  </a:cubicBezTo>
                  <a:cubicBezTo>
                    <a:pt x="1858" y="1864"/>
                    <a:pt x="2085" y="1924"/>
                    <a:pt x="2323" y="1971"/>
                  </a:cubicBezTo>
                  <a:cubicBezTo>
                    <a:pt x="1751" y="2293"/>
                    <a:pt x="1370" y="2912"/>
                    <a:pt x="1370" y="3626"/>
                  </a:cubicBezTo>
                  <a:cubicBezTo>
                    <a:pt x="1370" y="4662"/>
                    <a:pt x="2216" y="5508"/>
                    <a:pt x="3263" y="5508"/>
                  </a:cubicBezTo>
                  <a:cubicBezTo>
                    <a:pt x="4299" y="5508"/>
                    <a:pt x="5156" y="4662"/>
                    <a:pt x="5156" y="3626"/>
                  </a:cubicBezTo>
                  <a:cubicBezTo>
                    <a:pt x="5156" y="2579"/>
                    <a:pt x="4299" y="1733"/>
                    <a:pt x="3263" y="1733"/>
                  </a:cubicBezTo>
                  <a:cubicBezTo>
                    <a:pt x="2192" y="1733"/>
                    <a:pt x="1406" y="1459"/>
                    <a:pt x="965" y="948"/>
                  </a:cubicBezTo>
                  <a:cubicBezTo>
                    <a:pt x="823" y="745"/>
                    <a:pt x="727" y="567"/>
                    <a:pt x="692" y="424"/>
                  </a:cubicBezTo>
                  <a:close/>
                  <a:moveTo>
                    <a:pt x="5537" y="4954"/>
                  </a:moveTo>
                  <a:cubicBezTo>
                    <a:pt x="5585" y="4954"/>
                    <a:pt x="5633" y="4972"/>
                    <a:pt x="5668" y="5008"/>
                  </a:cubicBezTo>
                  <a:lnTo>
                    <a:pt x="5847" y="5210"/>
                  </a:lnTo>
                  <a:lnTo>
                    <a:pt x="5525" y="6091"/>
                  </a:lnTo>
                  <a:lnTo>
                    <a:pt x="5192" y="5210"/>
                  </a:lnTo>
                  <a:lnTo>
                    <a:pt x="5406" y="5008"/>
                  </a:lnTo>
                  <a:cubicBezTo>
                    <a:pt x="5442" y="4972"/>
                    <a:pt x="5490" y="4954"/>
                    <a:pt x="5537" y="4954"/>
                  </a:cubicBezTo>
                  <a:close/>
                  <a:moveTo>
                    <a:pt x="10431" y="4317"/>
                  </a:moveTo>
                  <a:cubicBezTo>
                    <a:pt x="10550" y="4781"/>
                    <a:pt x="10669" y="5329"/>
                    <a:pt x="10717" y="5710"/>
                  </a:cubicBezTo>
                  <a:lnTo>
                    <a:pt x="10359" y="5710"/>
                  </a:lnTo>
                  <a:cubicBezTo>
                    <a:pt x="10276" y="5710"/>
                    <a:pt x="10193" y="5781"/>
                    <a:pt x="10193" y="5865"/>
                  </a:cubicBezTo>
                  <a:lnTo>
                    <a:pt x="10193" y="6258"/>
                  </a:lnTo>
                  <a:cubicBezTo>
                    <a:pt x="10024" y="6288"/>
                    <a:pt x="9681" y="6339"/>
                    <a:pt x="9255" y="6339"/>
                  </a:cubicBezTo>
                  <a:cubicBezTo>
                    <a:pt x="9020" y="6339"/>
                    <a:pt x="8760" y="6324"/>
                    <a:pt x="8490" y="6282"/>
                  </a:cubicBezTo>
                  <a:cubicBezTo>
                    <a:pt x="9431" y="6031"/>
                    <a:pt x="10181" y="5269"/>
                    <a:pt x="10431" y="4317"/>
                  </a:cubicBezTo>
                  <a:close/>
                  <a:moveTo>
                    <a:pt x="584" y="4317"/>
                  </a:moveTo>
                  <a:cubicBezTo>
                    <a:pt x="834" y="5269"/>
                    <a:pt x="1585" y="6031"/>
                    <a:pt x="2537" y="6282"/>
                  </a:cubicBezTo>
                  <a:cubicBezTo>
                    <a:pt x="2245" y="6326"/>
                    <a:pt x="1970" y="6342"/>
                    <a:pt x="1726" y="6342"/>
                  </a:cubicBezTo>
                  <a:cubicBezTo>
                    <a:pt x="1312" y="6342"/>
                    <a:pt x="987" y="6295"/>
                    <a:pt x="823" y="6258"/>
                  </a:cubicBezTo>
                  <a:lnTo>
                    <a:pt x="823" y="5865"/>
                  </a:lnTo>
                  <a:cubicBezTo>
                    <a:pt x="823" y="5781"/>
                    <a:pt x="751" y="5710"/>
                    <a:pt x="656" y="5710"/>
                  </a:cubicBezTo>
                  <a:lnTo>
                    <a:pt x="299" y="5710"/>
                  </a:lnTo>
                  <a:cubicBezTo>
                    <a:pt x="334" y="5329"/>
                    <a:pt x="465" y="4781"/>
                    <a:pt x="584" y="4317"/>
                  </a:cubicBezTo>
                  <a:close/>
                  <a:moveTo>
                    <a:pt x="8454" y="6615"/>
                  </a:moveTo>
                  <a:cubicBezTo>
                    <a:pt x="8752" y="6663"/>
                    <a:pt x="9026" y="6674"/>
                    <a:pt x="9276" y="6674"/>
                  </a:cubicBezTo>
                  <a:lnTo>
                    <a:pt x="9502" y="6674"/>
                  </a:lnTo>
                  <a:cubicBezTo>
                    <a:pt x="9383" y="7627"/>
                    <a:pt x="8931" y="8508"/>
                    <a:pt x="8228" y="9163"/>
                  </a:cubicBezTo>
                  <a:cubicBezTo>
                    <a:pt x="7907" y="9460"/>
                    <a:pt x="7550" y="9699"/>
                    <a:pt x="7157" y="9877"/>
                  </a:cubicBezTo>
                  <a:cubicBezTo>
                    <a:pt x="7323" y="9722"/>
                    <a:pt x="7478" y="9556"/>
                    <a:pt x="7609" y="9365"/>
                  </a:cubicBezTo>
                  <a:cubicBezTo>
                    <a:pt x="8145" y="8627"/>
                    <a:pt x="8443" y="7651"/>
                    <a:pt x="8454" y="6615"/>
                  </a:cubicBezTo>
                  <a:close/>
                  <a:moveTo>
                    <a:pt x="6002" y="5734"/>
                  </a:moveTo>
                  <a:cubicBezTo>
                    <a:pt x="6430" y="6103"/>
                    <a:pt x="6966" y="6317"/>
                    <a:pt x="7550" y="6377"/>
                  </a:cubicBezTo>
                  <a:cubicBezTo>
                    <a:pt x="7740" y="6448"/>
                    <a:pt x="7931" y="6508"/>
                    <a:pt x="8121" y="6555"/>
                  </a:cubicBezTo>
                  <a:lnTo>
                    <a:pt x="8121" y="6567"/>
                  </a:lnTo>
                  <a:cubicBezTo>
                    <a:pt x="8133" y="8579"/>
                    <a:pt x="6954" y="10211"/>
                    <a:pt x="5514" y="10211"/>
                  </a:cubicBezTo>
                  <a:cubicBezTo>
                    <a:pt x="4942" y="10211"/>
                    <a:pt x="4394" y="9961"/>
                    <a:pt x="3942" y="9484"/>
                  </a:cubicBezTo>
                  <a:cubicBezTo>
                    <a:pt x="3501" y="9008"/>
                    <a:pt x="3156" y="8329"/>
                    <a:pt x="3013" y="7579"/>
                  </a:cubicBezTo>
                  <a:cubicBezTo>
                    <a:pt x="2993" y="7509"/>
                    <a:pt x="2930" y="7455"/>
                    <a:pt x="2853" y="7455"/>
                  </a:cubicBezTo>
                  <a:cubicBezTo>
                    <a:pt x="2839" y="7455"/>
                    <a:pt x="2825" y="7457"/>
                    <a:pt x="2811" y="7460"/>
                  </a:cubicBezTo>
                  <a:cubicBezTo>
                    <a:pt x="2728" y="7472"/>
                    <a:pt x="2668" y="7567"/>
                    <a:pt x="2692" y="7651"/>
                  </a:cubicBezTo>
                  <a:cubicBezTo>
                    <a:pt x="2858" y="8472"/>
                    <a:pt x="3228" y="9199"/>
                    <a:pt x="3716" y="9722"/>
                  </a:cubicBezTo>
                  <a:lnTo>
                    <a:pt x="3882" y="9889"/>
                  </a:lnTo>
                  <a:cubicBezTo>
                    <a:pt x="3501" y="9710"/>
                    <a:pt x="3120" y="9472"/>
                    <a:pt x="2811" y="9175"/>
                  </a:cubicBezTo>
                  <a:cubicBezTo>
                    <a:pt x="2096" y="8520"/>
                    <a:pt x="1668" y="7639"/>
                    <a:pt x="1549" y="6686"/>
                  </a:cubicBezTo>
                  <a:lnTo>
                    <a:pt x="1775" y="6686"/>
                  </a:lnTo>
                  <a:cubicBezTo>
                    <a:pt x="2025" y="6686"/>
                    <a:pt x="2299" y="6674"/>
                    <a:pt x="2597" y="6627"/>
                  </a:cubicBezTo>
                  <a:cubicBezTo>
                    <a:pt x="2597" y="6734"/>
                    <a:pt x="2597" y="6841"/>
                    <a:pt x="2608" y="6936"/>
                  </a:cubicBezTo>
                  <a:cubicBezTo>
                    <a:pt x="2608" y="7032"/>
                    <a:pt x="2680" y="7091"/>
                    <a:pt x="2775" y="7091"/>
                  </a:cubicBezTo>
                  <a:lnTo>
                    <a:pt x="2787" y="7091"/>
                  </a:lnTo>
                  <a:cubicBezTo>
                    <a:pt x="2870" y="7091"/>
                    <a:pt x="2954" y="6996"/>
                    <a:pt x="2930" y="6913"/>
                  </a:cubicBezTo>
                  <a:cubicBezTo>
                    <a:pt x="2930" y="6805"/>
                    <a:pt x="2918" y="6686"/>
                    <a:pt x="2918" y="6567"/>
                  </a:cubicBezTo>
                  <a:lnTo>
                    <a:pt x="2918" y="6555"/>
                  </a:lnTo>
                  <a:cubicBezTo>
                    <a:pt x="3109" y="6508"/>
                    <a:pt x="3311" y="6448"/>
                    <a:pt x="3501" y="6377"/>
                  </a:cubicBezTo>
                  <a:cubicBezTo>
                    <a:pt x="4061" y="6329"/>
                    <a:pt x="4597" y="6103"/>
                    <a:pt x="5049" y="5734"/>
                  </a:cubicBezTo>
                  <a:lnTo>
                    <a:pt x="5371" y="6615"/>
                  </a:lnTo>
                  <a:cubicBezTo>
                    <a:pt x="5406" y="6674"/>
                    <a:pt x="5466" y="6722"/>
                    <a:pt x="5525" y="6722"/>
                  </a:cubicBezTo>
                  <a:cubicBezTo>
                    <a:pt x="5597" y="6722"/>
                    <a:pt x="5656" y="6674"/>
                    <a:pt x="5668" y="6615"/>
                  </a:cubicBezTo>
                  <a:lnTo>
                    <a:pt x="6002" y="5734"/>
                  </a:lnTo>
                  <a:close/>
                  <a:moveTo>
                    <a:pt x="505" y="1"/>
                  </a:moveTo>
                  <a:cubicBezTo>
                    <a:pt x="477" y="1"/>
                    <a:pt x="447" y="7"/>
                    <a:pt x="418" y="19"/>
                  </a:cubicBezTo>
                  <a:cubicBezTo>
                    <a:pt x="370" y="55"/>
                    <a:pt x="346" y="90"/>
                    <a:pt x="346" y="150"/>
                  </a:cubicBezTo>
                  <a:cubicBezTo>
                    <a:pt x="346" y="174"/>
                    <a:pt x="346" y="650"/>
                    <a:pt x="727" y="1126"/>
                  </a:cubicBezTo>
                  <a:cubicBezTo>
                    <a:pt x="894" y="1329"/>
                    <a:pt x="1108" y="1507"/>
                    <a:pt x="1358" y="1638"/>
                  </a:cubicBezTo>
                  <a:cubicBezTo>
                    <a:pt x="882" y="2102"/>
                    <a:pt x="584" y="2733"/>
                    <a:pt x="525" y="3400"/>
                  </a:cubicBezTo>
                  <a:cubicBezTo>
                    <a:pt x="501" y="3472"/>
                    <a:pt x="1" y="5162"/>
                    <a:pt x="1" y="5865"/>
                  </a:cubicBezTo>
                  <a:cubicBezTo>
                    <a:pt x="1" y="5960"/>
                    <a:pt x="72" y="6031"/>
                    <a:pt x="168" y="6031"/>
                  </a:cubicBezTo>
                  <a:lnTo>
                    <a:pt x="525" y="6031"/>
                  </a:lnTo>
                  <a:lnTo>
                    <a:pt x="525" y="6389"/>
                  </a:lnTo>
                  <a:cubicBezTo>
                    <a:pt x="525" y="6460"/>
                    <a:pt x="561" y="6520"/>
                    <a:pt x="644" y="6555"/>
                  </a:cubicBezTo>
                  <a:cubicBezTo>
                    <a:pt x="668" y="6555"/>
                    <a:pt x="882" y="6615"/>
                    <a:pt x="1239" y="6639"/>
                  </a:cubicBezTo>
                  <a:cubicBezTo>
                    <a:pt x="1334" y="7698"/>
                    <a:pt x="1811" y="8663"/>
                    <a:pt x="2608" y="9401"/>
                  </a:cubicBezTo>
                  <a:cubicBezTo>
                    <a:pt x="2918" y="9675"/>
                    <a:pt x="3263" y="9913"/>
                    <a:pt x="3632" y="10115"/>
                  </a:cubicBezTo>
                  <a:lnTo>
                    <a:pt x="2454" y="10211"/>
                  </a:lnTo>
                  <a:cubicBezTo>
                    <a:pt x="2251" y="10234"/>
                    <a:pt x="2085" y="10365"/>
                    <a:pt x="2013" y="10556"/>
                  </a:cubicBezTo>
                  <a:lnTo>
                    <a:pt x="1906" y="10853"/>
                  </a:lnTo>
                  <a:cubicBezTo>
                    <a:pt x="1882" y="10949"/>
                    <a:pt x="1918" y="11032"/>
                    <a:pt x="2013" y="11068"/>
                  </a:cubicBezTo>
                  <a:cubicBezTo>
                    <a:pt x="2025" y="11068"/>
                    <a:pt x="2037" y="11080"/>
                    <a:pt x="2049" y="11080"/>
                  </a:cubicBezTo>
                  <a:cubicBezTo>
                    <a:pt x="2132" y="11080"/>
                    <a:pt x="2192" y="11032"/>
                    <a:pt x="2204" y="10973"/>
                  </a:cubicBezTo>
                  <a:lnTo>
                    <a:pt x="2311" y="10675"/>
                  </a:lnTo>
                  <a:cubicBezTo>
                    <a:pt x="2335" y="10603"/>
                    <a:pt x="2394" y="10556"/>
                    <a:pt x="2477" y="10556"/>
                  </a:cubicBezTo>
                  <a:lnTo>
                    <a:pt x="2597" y="10544"/>
                  </a:lnTo>
                  <a:lnTo>
                    <a:pt x="2597" y="10925"/>
                  </a:lnTo>
                  <a:cubicBezTo>
                    <a:pt x="2597" y="11020"/>
                    <a:pt x="2668" y="11092"/>
                    <a:pt x="2751" y="11092"/>
                  </a:cubicBezTo>
                  <a:cubicBezTo>
                    <a:pt x="2847" y="11092"/>
                    <a:pt x="2918" y="11020"/>
                    <a:pt x="2918" y="10925"/>
                  </a:cubicBezTo>
                  <a:lnTo>
                    <a:pt x="2918" y="10508"/>
                  </a:lnTo>
                  <a:lnTo>
                    <a:pt x="3144" y="10496"/>
                  </a:lnTo>
                  <a:lnTo>
                    <a:pt x="3311" y="10973"/>
                  </a:lnTo>
                  <a:cubicBezTo>
                    <a:pt x="3335" y="11044"/>
                    <a:pt x="3394" y="11080"/>
                    <a:pt x="3454" y="11080"/>
                  </a:cubicBezTo>
                  <a:cubicBezTo>
                    <a:pt x="3466" y="11080"/>
                    <a:pt x="3490" y="11080"/>
                    <a:pt x="3501" y="11056"/>
                  </a:cubicBezTo>
                  <a:cubicBezTo>
                    <a:pt x="3585" y="11032"/>
                    <a:pt x="3632" y="10937"/>
                    <a:pt x="3609" y="10853"/>
                  </a:cubicBezTo>
                  <a:lnTo>
                    <a:pt x="3466" y="10449"/>
                  </a:lnTo>
                  <a:lnTo>
                    <a:pt x="4323" y="10377"/>
                  </a:lnTo>
                  <a:cubicBezTo>
                    <a:pt x="4704" y="10496"/>
                    <a:pt x="5121" y="10556"/>
                    <a:pt x="5525" y="10556"/>
                  </a:cubicBezTo>
                  <a:cubicBezTo>
                    <a:pt x="5942" y="10556"/>
                    <a:pt x="6347" y="10496"/>
                    <a:pt x="6728" y="10377"/>
                  </a:cubicBezTo>
                  <a:lnTo>
                    <a:pt x="7573" y="10449"/>
                  </a:lnTo>
                  <a:lnTo>
                    <a:pt x="7442" y="10853"/>
                  </a:lnTo>
                  <a:cubicBezTo>
                    <a:pt x="7419" y="10937"/>
                    <a:pt x="7454" y="11032"/>
                    <a:pt x="7550" y="11056"/>
                  </a:cubicBezTo>
                  <a:cubicBezTo>
                    <a:pt x="7561" y="11056"/>
                    <a:pt x="7573" y="11080"/>
                    <a:pt x="7597" y="11080"/>
                  </a:cubicBezTo>
                  <a:cubicBezTo>
                    <a:pt x="7669" y="11080"/>
                    <a:pt x="7728" y="11032"/>
                    <a:pt x="7740" y="10973"/>
                  </a:cubicBezTo>
                  <a:lnTo>
                    <a:pt x="7907" y="10496"/>
                  </a:lnTo>
                  <a:lnTo>
                    <a:pt x="8133" y="10508"/>
                  </a:lnTo>
                  <a:lnTo>
                    <a:pt x="8133" y="10925"/>
                  </a:lnTo>
                  <a:cubicBezTo>
                    <a:pt x="8133" y="11020"/>
                    <a:pt x="8204" y="11092"/>
                    <a:pt x="8288" y="11092"/>
                  </a:cubicBezTo>
                  <a:cubicBezTo>
                    <a:pt x="8383" y="11092"/>
                    <a:pt x="8454" y="11020"/>
                    <a:pt x="8454" y="10925"/>
                  </a:cubicBezTo>
                  <a:lnTo>
                    <a:pt x="8454" y="10544"/>
                  </a:lnTo>
                  <a:lnTo>
                    <a:pt x="8573" y="10556"/>
                  </a:lnTo>
                  <a:cubicBezTo>
                    <a:pt x="8645" y="10556"/>
                    <a:pt x="8704" y="10615"/>
                    <a:pt x="8740" y="10675"/>
                  </a:cubicBezTo>
                  <a:lnTo>
                    <a:pt x="8847" y="10973"/>
                  </a:lnTo>
                  <a:cubicBezTo>
                    <a:pt x="8871" y="11044"/>
                    <a:pt x="8931" y="11080"/>
                    <a:pt x="8990" y="11080"/>
                  </a:cubicBezTo>
                  <a:cubicBezTo>
                    <a:pt x="9002" y="11080"/>
                    <a:pt x="9026" y="11080"/>
                    <a:pt x="9038" y="11056"/>
                  </a:cubicBezTo>
                  <a:cubicBezTo>
                    <a:pt x="9121" y="11032"/>
                    <a:pt x="9169" y="10937"/>
                    <a:pt x="9145" y="10853"/>
                  </a:cubicBezTo>
                  <a:lnTo>
                    <a:pt x="9038" y="10556"/>
                  </a:lnTo>
                  <a:cubicBezTo>
                    <a:pt x="8978" y="10365"/>
                    <a:pt x="8800" y="10222"/>
                    <a:pt x="8585" y="10211"/>
                  </a:cubicBezTo>
                  <a:lnTo>
                    <a:pt x="7419" y="10103"/>
                  </a:lnTo>
                  <a:cubicBezTo>
                    <a:pt x="7788" y="9925"/>
                    <a:pt x="8133" y="9687"/>
                    <a:pt x="8443" y="9389"/>
                  </a:cubicBezTo>
                  <a:cubicBezTo>
                    <a:pt x="9216" y="8663"/>
                    <a:pt x="9705" y="7698"/>
                    <a:pt x="9812" y="6639"/>
                  </a:cubicBezTo>
                  <a:cubicBezTo>
                    <a:pt x="10157" y="6615"/>
                    <a:pt x="10371" y="6555"/>
                    <a:pt x="10407" y="6555"/>
                  </a:cubicBezTo>
                  <a:cubicBezTo>
                    <a:pt x="10478" y="6532"/>
                    <a:pt x="10526" y="6460"/>
                    <a:pt x="10526" y="6389"/>
                  </a:cubicBezTo>
                  <a:lnTo>
                    <a:pt x="10526" y="6031"/>
                  </a:lnTo>
                  <a:lnTo>
                    <a:pt x="10883" y="6031"/>
                  </a:lnTo>
                  <a:cubicBezTo>
                    <a:pt x="10967" y="6031"/>
                    <a:pt x="11050" y="5960"/>
                    <a:pt x="11050" y="5865"/>
                  </a:cubicBezTo>
                  <a:cubicBezTo>
                    <a:pt x="11050" y="5174"/>
                    <a:pt x="10538" y="3472"/>
                    <a:pt x="10526" y="3400"/>
                  </a:cubicBezTo>
                  <a:cubicBezTo>
                    <a:pt x="10467" y="2733"/>
                    <a:pt x="10181" y="2102"/>
                    <a:pt x="9693" y="1638"/>
                  </a:cubicBezTo>
                  <a:cubicBezTo>
                    <a:pt x="9943" y="1507"/>
                    <a:pt x="10157" y="1329"/>
                    <a:pt x="10312" y="1126"/>
                  </a:cubicBezTo>
                  <a:cubicBezTo>
                    <a:pt x="10693" y="650"/>
                    <a:pt x="10705" y="174"/>
                    <a:pt x="10705" y="150"/>
                  </a:cubicBezTo>
                  <a:cubicBezTo>
                    <a:pt x="10705" y="90"/>
                    <a:pt x="10669" y="55"/>
                    <a:pt x="10633" y="19"/>
                  </a:cubicBezTo>
                  <a:cubicBezTo>
                    <a:pt x="10609" y="7"/>
                    <a:pt x="10583" y="1"/>
                    <a:pt x="10554" y="1"/>
                  </a:cubicBezTo>
                  <a:cubicBezTo>
                    <a:pt x="10526" y="1"/>
                    <a:pt x="10496" y="7"/>
                    <a:pt x="10467" y="19"/>
                  </a:cubicBezTo>
                  <a:cubicBezTo>
                    <a:pt x="10038" y="233"/>
                    <a:pt x="9455" y="269"/>
                    <a:pt x="8859" y="316"/>
                  </a:cubicBezTo>
                  <a:cubicBezTo>
                    <a:pt x="8466" y="352"/>
                    <a:pt x="8062" y="376"/>
                    <a:pt x="7681" y="436"/>
                  </a:cubicBezTo>
                  <a:cubicBezTo>
                    <a:pt x="7002" y="150"/>
                    <a:pt x="6264" y="7"/>
                    <a:pt x="5525" y="7"/>
                  </a:cubicBezTo>
                  <a:cubicBezTo>
                    <a:pt x="4775" y="7"/>
                    <a:pt x="4049" y="150"/>
                    <a:pt x="3370" y="436"/>
                  </a:cubicBezTo>
                  <a:cubicBezTo>
                    <a:pt x="2978" y="364"/>
                    <a:pt x="2573" y="328"/>
                    <a:pt x="2192" y="316"/>
                  </a:cubicBezTo>
                  <a:cubicBezTo>
                    <a:pt x="1585" y="269"/>
                    <a:pt x="1001" y="245"/>
                    <a:pt x="584" y="19"/>
                  </a:cubicBezTo>
                  <a:cubicBezTo>
                    <a:pt x="561" y="7"/>
                    <a:pt x="534" y="1"/>
                    <a:pt x="5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2" name="Google Shape;12952;p63"/>
            <p:cNvSpPr/>
            <p:nvPr/>
          </p:nvSpPr>
          <p:spPr>
            <a:xfrm>
              <a:off x="1481357" y="2507634"/>
              <a:ext cx="54144" cy="65568"/>
            </a:xfrm>
            <a:custGeom>
              <a:avLst/>
              <a:gdLst/>
              <a:ahLst/>
              <a:cxnLst/>
              <a:rect l="l" t="t" r="r" b="b"/>
              <a:pathLst>
                <a:path w="1692" h="2049" extrusionOk="0">
                  <a:moveTo>
                    <a:pt x="846" y="322"/>
                  </a:moveTo>
                  <a:cubicBezTo>
                    <a:pt x="1144" y="322"/>
                    <a:pt x="1382" y="560"/>
                    <a:pt x="1382" y="858"/>
                  </a:cubicBezTo>
                  <a:lnTo>
                    <a:pt x="1382" y="1191"/>
                  </a:lnTo>
                  <a:cubicBezTo>
                    <a:pt x="1382" y="1489"/>
                    <a:pt x="1144" y="1727"/>
                    <a:pt x="846" y="1727"/>
                  </a:cubicBezTo>
                  <a:cubicBezTo>
                    <a:pt x="549" y="1727"/>
                    <a:pt x="311" y="1489"/>
                    <a:pt x="311" y="1191"/>
                  </a:cubicBezTo>
                  <a:lnTo>
                    <a:pt x="311" y="858"/>
                  </a:lnTo>
                  <a:cubicBezTo>
                    <a:pt x="311" y="560"/>
                    <a:pt x="549" y="322"/>
                    <a:pt x="846" y="322"/>
                  </a:cubicBezTo>
                  <a:close/>
                  <a:moveTo>
                    <a:pt x="846" y="1"/>
                  </a:moveTo>
                  <a:cubicBezTo>
                    <a:pt x="370" y="1"/>
                    <a:pt x="1" y="393"/>
                    <a:pt x="1" y="858"/>
                  </a:cubicBezTo>
                  <a:lnTo>
                    <a:pt x="1" y="1191"/>
                  </a:lnTo>
                  <a:cubicBezTo>
                    <a:pt x="1" y="1667"/>
                    <a:pt x="382" y="2048"/>
                    <a:pt x="846" y="2048"/>
                  </a:cubicBezTo>
                  <a:cubicBezTo>
                    <a:pt x="1323" y="2048"/>
                    <a:pt x="1692" y="1656"/>
                    <a:pt x="1692" y="1191"/>
                  </a:cubicBezTo>
                  <a:lnTo>
                    <a:pt x="1692" y="858"/>
                  </a:lnTo>
                  <a:cubicBezTo>
                    <a:pt x="1692" y="382"/>
                    <a:pt x="1323" y="1"/>
                    <a:pt x="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3" name="Google Shape;12953;p63"/>
            <p:cNvSpPr/>
            <p:nvPr/>
          </p:nvSpPr>
          <p:spPr>
            <a:xfrm>
              <a:off x="1625389" y="2507634"/>
              <a:ext cx="54528" cy="65568"/>
            </a:xfrm>
            <a:custGeom>
              <a:avLst/>
              <a:gdLst/>
              <a:ahLst/>
              <a:cxnLst/>
              <a:rect l="l" t="t" r="r" b="b"/>
              <a:pathLst>
                <a:path w="1704" h="2049" extrusionOk="0">
                  <a:moveTo>
                    <a:pt x="834" y="322"/>
                  </a:moveTo>
                  <a:cubicBezTo>
                    <a:pt x="1132" y="322"/>
                    <a:pt x="1370" y="560"/>
                    <a:pt x="1370" y="858"/>
                  </a:cubicBezTo>
                  <a:lnTo>
                    <a:pt x="1370" y="1191"/>
                  </a:lnTo>
                  <a:cubicBezTo>
                    <a:pt x="1370" y="1489"/>
                    <a:pt x="1132" y="1727"/>
                    <a:pt x="834" y="1727"/>
                  </a:cubicBezTo>
                  <a:cubicBezTo>
                    <a:pt x="536" y="1727"/>
                    <a:pt x="298" y="1489"/>
                    <a:pt x="298" y="1191"/>
                  </a:cubicBezTo>
                  <a:lnTo>
                    <a:pt x="298" y="858"/>
                  </a:lnTo>
                  <a:cubicBezTo>
                    <a:pt x="298" y="560"/>
                    <a:pt x="536" y="322"/>
                    <a:pt x="834" y="322"/>
                  </a:cubicBezTo>
                  <a:close/>
                  <a:moveTo>
                    <a:pt x="858" y="1"/>
                  </a:moveTo>
                  <a:cubicBezTo>
                    <a:pt x="382" y="1"/>
                    <a:pt x="1" y="393"/>
                    <a:pt x="1" y="858"/>
                  </a:cubicBezTo>
                  <a:lnTo>
                    <a:pt x="1" y="1191"/>
                  </a:lnTo>
                  <a:cubicBezTo>
                    <a:pt x="1" y="1667"/>
                    <a:pt x="393" y="2048"/>
                    <a:pt x="858" y="2048"/>
                  </a:cubicBezTo>
                  <a:cubicBezTo>
                    <a:pt x="1334" y="2048"/>
                    <a:pt x="1703" y="1656"/>
                    <a:pt x="1703" y="1191"/>
                  </a:cubicBezTo>
                  <a:lnTo>
                    <a:pt x="1703" y="858"/>
                  </a:lnTo>
                  <a:cubicBezTo>
                    <a:pt x="1703" y="382"/>
                    <a:pt x="1310" y="1"/>
                    <a:pt x="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4" name="Google Shape;12954;p63"/>
            <p:cNvSpPr/>
            <p:nvPr/>
          </p:nvSpPr>
          <p:spPr>
            <a:xfrm>
              <a:off x="1503085" y="2529746"/>
              <a:ext cx="10688" cy="21344"/>
            </a:xfrm>
            <a:custGeom>
              <a:avLst/>
              <a:gdLst/>
              <a:ahLst/>
              <a:cxnLst/>
              <a:rect l="l" t="t" r="r" b="b"/>
              <a:pathLst>
                <a:path w="334" h="667" extrusionOk="0">
                  <a:moveTo>
                    <a:pt x="167" y="0"/>
                  </a:moveTo>
                  <a:cubicBezTo>
                    <a:pt x="72" y="0"/>
                    <a:pt x="1" y="72"/>
                    <a:pt x="1" y="167"/>
                  </a:cubicBezTo>
                  <a:lnTo>
                    <a:pt x="1" y="500"/>
                  </a:lnTo>
                  <a:cubicBezTo>
                    <a:pt x="1" y="595"/>
                    <a:pt x="72" y="667"/>
                    <a:pt x="167" y="667"/>
                  </a:cubicBezTo>
                  <a:cubicBezTo>
                    <a:pt x="251" y="667"/>
                    <a:pt x="334" y="595"/>
                    <a:pt x="334" y="500"/>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5" name="Google Shape;12955;p63"/>
            <p:cNvSpPr/>
            <p:nvPr/>
          </p:nvSpPr>
          <p:spPr>
            <a:xfrm>
              <a:off x="1647501" y="2529746"/>
              <a:ext cx="10304" cy="21344"/>
            </a:xfrm>
            <a:custGeom>
              <a:avLst/>
              <a:gdLst/>
              <a:ahLst/>
              <a:cxnLst/>
              <a:rect l="l" t="t" r="r" b="b"/>
              <a:pathLst>
                <a:path w="322" h="667" extrusionOk="0">
                  <a:moveTo>
                    <a:pt x="167" y="0"/>
                  </a:moveTo>
                  <a:cubicBezTo>
                    <a:pt x="72" y="0"/>
                    <a:pt x="0" y="72"/>
                    <a:pt x="0" y="167"/>
                  </a:cubicBezTo>
                  <a:lnTo>
                    <a:pt x="0" y="500"/>
                  </a:lnTo>
                  <a:cubicBezTo>
                    <a:pt x="0" y="595"/>
                    <a:pt x="72" y="667"/>
                    <a:pt x="167" y="667"/>
                  </a:cubicBezTo>
                  <a:cubicBezTo>
                    <a:pt x="250" y="667"/>
                    <a:pt x="322" y="595"/>
                    <a:pt x="322" y="500"/>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6" name="Google Shape;12956;p63"/>
          <p:cNvGrpSpPr/>
          <p:nvPr/>
        </p:nvGrpSpPr>
        <p:grpSpPr>
          <a:xfrm>
            <a:off x="854253" y="2428274"/>
            <a:ext cx="355104" cy="351040"/>
            <a:chOff x="854253" y="2428274"/>
            <a:chExt cx="355104" cy="351040"/>
          </a:xfrm>
        </p:grpSpPr>
        <p:sp>
          <p:nvSpPr>
            <p:cNvPr id="12957" name="Google Shape;12957;p63"/>
            <p:cNvSpPr/>
            <p:nvPr/>
          </p:nvSpPr>
          <p:spPr>
            <a:xfrm>
              <a:off x="854253" y="2428274"/>
              <a:ext cx="355104" cy="351040"/>
            </a:xfrm>
            <a:custGeom>
              <a:avLst/>
              <a:gdLst/>
              <a:ahLst/>
              <a:cxnLst/>
              <a:rect l="l" t="t" r="r" b="b"/>
              <a:pathLst>
                <a:path w="11097" h="10970" extrusionOk="0">
                  <a:moveTo>
                    <a:pt x="2584" y="7660"/>
                  </a:moveTo>
                  <a:cubicBezTo>
                    <a:pt x="2870" y="7660"/>
                    <a:pt x="3132" y="7803"/>
                    <a:pt x="3286" y="8017"/>
                  </a:cubicBezTo>
                  <a:cubicBezTo>
                    <a:pt x="3179" y="8934"/>
                    <a:pt x="2417" y="9124"/>
                    <a:pt x="2370" y="9124"/>
                  </a:cubicBezTo>
                  <a:cubicBezTo>
                    <a:pt x="2286" y="9136"/>
                    <a:pt x="2239" y="9219"/>
                    <a:pt x="2251" y="9315"/>
                  </a:cubicBezTo>
                  <a:cubicBezTo>
                    <a:pt x="2262" y="9386"/>
                    <a:pt x="2346" y="9434"/>
                    <a:pt x="2417" y="9434"/>
                  </a:cubicBezTo>
                  <a:lnTo>
                    <a:pt x="2465" y="9434"/>
                  </a:lnTo>
                  <a:cubicBezTo>
                    <a:pt x="2477" y="9434"/>
                    <a:pt x="2727" y="9374"/>
                    <a:pt x="3001" y="9172"/>
                  </a:cubicBezTo>
                  <a:cubicBezTo>
                    <a:pt x="3144" y="9053"/>
                    <a:pt x="3346" y="8874"/>
                    <a:pt x="3453" y="8600"/>
                  </a:cubicBezTo>
                  <a:lnTo>
                    <a:pt x="3453" y="8600"/>
                  </a:lnTo>
                  <a:cubicBezTo>
                    <a:pt x="3394" y="9350"/>
                    <a:pt x="2774" y="9946"/>
                    <a:pt x="2001" y="9946"/>
                  </a:cubicBezTo>
                  <a:cubicBezTo>
                    <a:pt x="1548" y="9946"/>
                    <a:pt x="1179" y="9565"/>
                    <a:pt x="1179" y="9124"/>
                  </a:cubicBezTo>
                  <a:cubicBezTo>
                    <a:pt x="1179" y="8898"/>
                    <a:pt x="1274" y="8708"/>
                    <a:pt x="1417" y="8541"/>
                  </a:cubicBezTo>
                  <a:lnTo>
                    <a:pt x="2298" y="7660"/>
                  </a:lnTo>
                  <a:close/>
                  <a:moveTo>
                    <a:pt x="6251" y="0"/>
                  </a:moveTo>
                  <a:cubicBezTo>
                    <a:pt x="6168" y="0"/>
                    <a:pt x="6086" y="24"/>
                    <a:pt x="6013" y="76"/>
                  </a:cubicBezTo>
                  <a:cubicBezTo>
                    <a:pt x="5203" y="516"/>
                    <a:pt x="4644" y="1230"/>
                    <a:pt x="4453" y="1504"/>
                  </a:cubicBezTo>
                  <a:lnTo>
                    <a:pt x="4370" y="1457"/>
                  </a:lnTo>
                  <a:cubicBezTo>
                    <a:pt x="4300" y="1423"/>
                    <a:pt x="4225" y="1407"/>
                    <a:pt x="4152" y="1407"/>
                  </a:cubicBezTo>
                  <a:cubicBezTo>
                    <a:pt x="3988" y="1407"/>
                    <a:pt x="3829" y="1487"/>
                    <a:pt x="3739" y="1635"/>
                  </a:cubicBezTo>
                  <a:cubicBezTo>
                    <a:pt x="3132" y="2552"/>
                    <a:pt x="3084" y="3981"/>
                    <a:pt x="3084" y="4207"/>
                  </a:cubicBezTo>
                  <a:cubicBezTo>
                    <a:pt x="3013" y="4397"/>
                    <a:pt x="2941" y="4600"/>
                    <a:pt x="2893" y="4802"/>
                  </a:cubicBezTo>
                  <a:cubicBezTo>
                    <a:pt x="2465" y="4862"/>
                    <a:pt x="1929" y="4993"/>
                    <a:pt x="1417" y="5267"/>
                  </a:cubicBezTo>
                  <a:cubicBezTo>
                    <a:pt x="1000" y="5493"/>
                    <a:pt x="679" y="5755"/>
                    <a:pt x="441" y="6088"/>
                  </a:cubicBezTo>
                  <a:cubicBezTo>
                    <a:pt x="155" y="6481"/>
                    <a:pt x="0" y="6957"/>
                    <a:pt x="0" y="7493"/>
                  </a:cubicBezTo>
                  <a:cubicBezTo>
                    <a:pt x="0" y="7588"/>
                    <a:pt x="84" y="7660"/>
                    <a:pt x="167" y="7660"/>
                  </a:cubicBezTo>
                  <a:lnTo>
                    <a:pt x="1846" y="7660"/>
                  </a:lnTo>
                  <a:lnTo>
                    <a:pt x="1191" y="8315"/>
                  </a:lnTo>
                  <a:cubicBezTo>
                    <a:pt x="977" y="8541"/>
                    <a:pt x="869" y="8827"/>
                    <a:pt x="869" y="9124"/>
                  </a:cubicBezTo>
                  <a:cubicBezTo>
                    <a:pt x="869" y="9743"/>
                    <a:pt x="1369" y="10267"/>
                    <a:pt x="2012" y="10267"/>
                  </a:cubicBezTo>
                  <a:cubicBezTo>
                    <a:pt x="2608" y="10267"/>
                    <a:pt x="3144" y="9970"/>
                    <a:pt x="3477" y="9505"/>
                  </a:cubicBezTo>
                  <a:lnTo>
                    <a:pt x="3477" y="10803"/>
                  </a:lnTo>
                  <a:cubicBezTo>
                    <a:pt x="3477" y="10886"/>
                    <a:pt x="3548" y="10970"/>
                    <a:pt x="3632" y="10970"/>
                  </a:cubicBezTo>
                  <a:cubicBezTo>
                    <a:pt x="3727" y="10970"/>
                    <a:pt x="3798" y="10886"/>
                    <a:pt x="3798" y="10803"/>
                  </a:cubicBezTo>
                  <a:lnTo>
                    <a:pt x="3798" y="8553"/>
                  </a:lnTo>
                  <a:lnTo>
                    <a:pt x="3798" y="8469"/>
                  </a:lnTo>
                  <a:cubicBezTo>
                    <a:pt x="3751" y="7838"/>
                    <a:pt x="3239" y="7362"/>
                    <a:pt x="2608" y="7362"/>
                  </a:cubicBezTo>
                  <a:lnTo>
                    <a:pt x="774" y="7362"/>
                  </a:lnTo>
                  <a:cubicBezTo>
                    <a:pt x="1239" y="7184"/>
                    <a:pt x="2084" y="6993"/>
                    <a:pt x="3655" y="6993"/>
                  </a:cubicBezTo>
                  <a:cubicBezTo>
                    <a:pt x="3739" y="6993"/>
                    <a:pt x="3810" y="6922"/>
                    <a:pt x="3810" y="6826"/>
                  </a:cubicBezTo>
                  <a:cubicBezTo>
                    <a:pt x="3810" y="6743"/>
                    <a:pt x="3739" y="6660"/>
                    <a:pt x="3655" y="6660"/>
                  </a:cubicBezTo>
                  <a:cubicBezTo>
                    <a:pt x="1703" y="6660"/>
                    <a:pt x="774" y="6957"/>
                    <a:pt x="357" y="7184"/>
                  </a:cubicBezTo>
                  <a:cubicBezTo>
                    <a:pt x="453" y="6481"/>
                    <a:pt x="869" y="5933"/>
                    <a:pt x="1572" y="5564"/>
                  </a:cubicBezTo>
                  <a:cubicBezTo>
                    <a:pt x="2239" y="5207"/>
                    <a:pt x="3013" y="5112"/>
                    <a:pt x="3417" y="5088"/>
                  </a:cubicBezTo>
                  <a:cubicBezTo>
                    <a:pt x="3489" y="5088"/>
                    <a:pt x="3560" y="5112"/>
                    <a:pt x="3596" y="5195"/>
                  </a:cubicBezTo>
                  <a:cubicBezTo>
                    <a:pt x="3691" y="5410"/>
                    <a:pt x="3894" y="5826"/>
                    <a:pt x="4013" y="6172"/>
                  </a:cubicBezTo>
                  <a:cubicBezTo>
                    <a:pt x="4032" y="6248"/>
                    <a:pt x="4096" y="6286"/>
                    <a:pt x="4164" y="6286"/>
                  </a:cubicBezTo>
                  <a:cubicBezTo>
                    <a:pt x="4181" y="6286"/>
                    <a:pt x="4198" y="6283"/>
                    <a:pt x="4215" y="6279"/>
                  </a:cubicBezTo>
                  <a:cubicBezTo>
                    <a:pt x="4310" y="6243"/>
                    <a:pt x="4346" y="6160"/>
                    <a:pt x="4322" y="6064"/>
                  </a:cubicBezTo>
                  <a:cubicBezTo>
                    <a:pt x="4203" y="5731"/>
                    <a:pt x="4025" y="5326"/>
                    <a:pt x="3894" y="5040"/>
                  </a:cubicBezTo>
                  <a:cubicBezTo>
                    <a:pt x="3803" y="4860"/>
                    <a:pt x="3627" y="4754"/>
                    <a:pt x="3426" y="4754"/>
                  </a:cubicBezTo>
                  <a:cubicBezTo>
                    <a:pt x="3415" y="4754"/>
                    <a:pt x="3404" y="4754"/>
                    <a:pt x="3394" y="4755"/>
                  </a:cubicBezTo>
                  <a:cubicBezTo>
                    <a:pt x="3358" y="4755"/>
                    <a:pt x="3310" y="4755"/>
                    <a:pt x="3251" y="4778"/>
                  </a:cubicBezTo>
                  <a:cubicBezTo>
                    <a:pt x="3453" y="4005"/>
                    <a:pt x="3906" y="3314"/>
                    <a:pt x="4525" y="2814"/>
                  </a:cubicBezTo>
                  <a:cubicBezTo>
                    <a:pt x="5215" y="2254"/>
                    <a:pt x="6061" y="1957"/>
                    <a:pt x="6942" y="1957"/>
                  </a:cubicBezTo>
                  <a:cubicBezTo>
                    <a:pt x="7585" y="1957"/>
                    <a:pt x="8204" y="2123"/>
                    <a:pt x="8775" y="2421"/>
                  </a:cubicBezTo>
                  <a:cubicBezTo>
                    <a:pt x="8800" y="2437"/>
                    <a:pt x="8828" y="2445"/>
                    <a:pt x="8857" y="2445"/>
                  </a:cubicBezTo>
                  <a:cubicBezTo>
                    <a:pt x="8912" y="2445"/>
                    <a:pt x="8966" y="2416"/>
                    <a:pt x="8989" y="2362"/>
                  </a:cubicBezTo>
                  <a:cubicBezTo>
                    <a:pt x="9037" y="2290"/>
                    <a:pt x="9013" y="2183"/>
                    <a:pt x="8930" y="2147"/>
                  </a:cubicBezTo>
                  <a:cubicBezTo>
                    <a:pt x="8323" y="1814"/>
                    <a:pt x="7644" y="1635"/>
                    <a:pt x="6954" y="1635"/>
                  </a:cubicBezTo>
                  <a:cubicBezTo>
                    <a:pt x="6001" y="1635"/>
                    <a:pt x="5084" y="1969"/>
                    <a:pt x="4334" y="2564"/>
                  </a:cubicBezTo>
                  <a:cubicBezTo>
                    <a:pt x="4013" y="2826"/>
                    <a:pt x="3727" y="3135"/>
                    <a:pt x="3501" y="3481"/>
                  </a:cubicBezTo>
                  <a:cubicBezTo>
                    <a:pt x="3572" y="2981"/>
                    <a:pt x="3727" y="2302"/>
                    <a:pt x="4036" y="1814"/>
                  </a:cubicBezTo>
                  <a:cubicBezTo>
                    <a:pt x="4070" y="1764"/>
                    <a:pt x="4132" y="1743"/>
                    <a:pt x="4191" y="1743"/>
                  </a:cubicBezTo>
                  <a:cubicBezTo>
                    <a:pt x="4216" y="1743"/>
                    <a:pt x="4241" y="1747"/>
                    <a:pt x="4263" y="1754"/>
                  </a:cubicBezTo>
                  <a:lnTo>
                    <a:pt x="4465" y="1850"/>
                  </a:lnTo>
                  <a:cubicBezTo>
                    <a:pt x="4487" y="1856"/>
                    <a:pt x="4508" y="1859"/>
                    <a:pt x="4529" y="1859"/>
                  </a:cubicBezTo>
                  <a:cubicBezTo>
                    <a:pt x="4589" y="1859"/>
                    <a:pt x="4644" y="1834"/>
                    <a:pt x="4679" y="1790"/>
                  </a:cubicBezTo>
                  <a:cubicBezTo>
                    <a:pt x="4679" y="1766"/>
                    <a:pt x="5275" y="861"/>
                    <a:pt x="6215" y="337"/>
                  </a:cubicBezTo>
                  <a:cubicBezTo>
                    <a:pt x="6236" y="324"/>
                    <a:pt x="6261" y="318"/>
                    <a:pt x="6288" y="318"/>
                  </a:cubicBezTo>
                  <a:cubicBezTo>
                    <a:pt x="6307" y="318"/>
                    <a:pt x="6327" y="321"/>
                    <a:pt x="6346" y="326"/>
                  </a:cubicBezTo>
                  <a:cubicBezTo>
                    <a:pt x="6394" y="337"/>
                    <a:pt x="6430" y="373"/>
                    <a:pt x="6465" y="421"/>
                  </a:cubicBezTo>
                  <a:lnTo>
                    <a:pt x="6656" y="802"/>
                  </a:lnTo>
                  <a:cubicBezTo>
                    <a:pt x="6668" y="849"/>
                    <a:pt x="6715" y="873"/>
                    <a:pt x="6751" y="897"/>
                  </a:cubicBezTo>
                  <a:cubicBezTo>
                    <a:pt x="6769" y="901"/>
                    <a:pt x="6784" y="904"/>
                    <a:pt x="6799" y="904"/>
                  </a:cubicBezTo>
                  <a:cubicBezTo>
                    <a:pt x="6825" y="904"/>
                    <a:pt x="6848" y="896"/>
                    <a:pt x="6870" y="873"/>
                  </a:cubicBezTo>
                  <a:cubicBezTo>
                    <a:pt x="6870" y="873"/>
                    <a:pt x="7585" y="504"/>
                    <a:pt x="8513" y="397"/>
                  </a:cubicBezTo>
                  <a:cubicBezTo>
                    <a:pt x="8585" y="397"/>
                    <a:pt x="8644" y="421"/>
                    <a:pt x="8668" y="457"/>
                  </a:cubicBezTo>
                  <a:cubicBezTo>
                    <a:pt x="8716" y="504"/>
                    <a:pt x="8728" y="564"/>
                    <a:pt x="8716" y="623"/>
                  </a:cubicBezTo>
                  <a:lnTo>
                    <a:pt x="8620" y="1052"/>
                  </a:lnTo>
                  <a:cubicBezTo>
                    <a:pt x="8608" y="1099"/>
                    <a:pt x="8620" y="1147"/>
                    <a:pt x="8656" y="1171"/>
                  </a:cubicBezTo>
                  <a:cubicBezTo>
                    <a:pt x="8680" y="1207"/>
                    <a:pt x="8716" y="1230"/>
                    <a:pt x="8751" y="1254"/>
                  </a:cubicBezTo>
                  <a:cubicBezTo>
                    <a:pt x="8775" y="1254"/>
                    <a:pt x="9740" y="1397"/>
                    <a:pt x="10466" y="1933"/>
                  </a:cubicBezTo>
                  <a:cubicBezTo>
                    <a:pt x="10513" y="1969"/>
                    <a:pt x="10537" y="2028"/>
                    <a:pt x="10537" y="2088"/>
                  </a:cubicBezTo>
                  <a:cubicBezTo>
                    <a:pt x="10537" y="2147"/>
                    <a:pt x="10513" y="2207"/>
                    <a:pt x="10466" y="2231"/>
                  </a:cubicBezTo>
                  <a:lnTo>
                    <a:pt x="9751" y="2719"/>
                  </a:lnTo>
                  <a:cubicBezTo>
                    <a:pt x="9680" y="2647"/>
                    <a:pt x="9585" y="2588"/>
                    <a:pt x="9513" y="2516"/>
                  </a:cubicBezTo>
                  <a:cubicBezTo>
                    <a:pt x="9482" y="2491"/>
                    <a:pt x="9445" y="2478"/>
                    <a:pt x="9408" y="2478"/>
                  </a:cubicBezTo>
                  <a:cubicBezTo>
                    <a:pt x="9360" y="2478"/>
                    <a:pt x="9314" y="2500"/>
                    <a:pt x="9287" y="2540"/>
                  </a:cubicBezTo>
                  <a:cubicBezTo>
                    <a:pt x="9228" y="2623"/>
                    <a:pt x="9251" y="2719"/>
                    <a:pt x="9323" y="2766"/>
                  </a:cubicBezTo>
                  <a:cubicBezTo>
                    <a:pt x="10240" y="3493"/>
                    <a:pt x="10764" y="4588"/>
                    <a:pt x="10764" y="5755"/>
                  </a:cubicBezTo>
                  <a:lnTo>
                    <a:pt x="10764" y="10791"/>
                  </a:lnTo>
                  <a:cubicBezTo>
                    <a:pt x="10764" y="10874"/>
                    <a:pt x="10835" y="10958"/>
                    <a:pt x="10930" y="10958"/>
                  </a:cubicBezTo>
                  <a:cubicBezTo>
                    <a:pt x="11014" y="10958"/>
                    <a:pt x="11097" y="10874"/>
                    <a:pt x="11097" y="10791"/>
                  </a:cubicBezTo>
                  <a:lnTo>
                    <a:pt x="11097" y="5755"/>
                  </a:lnTo>
                  <a:cubicBezTo>
                    <a:pt x="11061" y="4707"/>
                    <a:pt x="10668" y="3719"/>
                    <a:pt x="9966" y="2957"/>
                  </a:cubicBezTo>
                  <a:lnTo>
                    <a:pt x="10621" y="2504"/>
                  </a:lnTo>
                  <a:cubicBezTo>
                    <a:pt x="10752" y="2409"/>
                    <a:pt x="10847" y="2242"/>
                    <a:pt x="10847" y="2076"/>
                  </a:cubicBezTo>
                  <a:cubicBezTo>
                    <a:pt x="10847" y="1921"/>
                    <a:pt x="10764" y="1766"/>
                    <a:pt x="10633" y="1659"/>
                  </a:cubicBezTo>
                  <a:cubicBezTo>
                    <a:pt x="10013" y="1219"/>
                    <a:pt x="9275" y="1028"/>
                    <a:pt x="8954" y="945"/>
                  </a:cubicBezTo>
                  <a:lnTo>
                    <a:pt x="9013" y="683"/>
                  </a:lnTo>
                  <a:cubicBezTo>
                    <a:pt x="9037" y="516"/>
                    <a:pt x="9001" y="349"/>
                    <a:pt x="8894" y="230"/>
                  </a:cubicBezTo>
                  <a:cubicBezTo>
                    <a:pt x="8803" y="129"/>
                    <a:pt x="8668" y="70"/>
                    <a:pt x="8526" y="70"/>
                  </a:cubicBezTo>
                  <a:cubicBezTo>
                    <a:pt x="8502" y="70"/>
                    <a:pt x="8478" y="72"/>
                    <a:pt x="8454" y="76"/>
                  </a:cubicBezTo>
                  <a:cubicBezTo>
                    <a:pt x="7704" y="147"/>
                    <a:pt x="7108" y="385"/>
                    <a:pt x="6834" y="516"/>
                  </a:cubicBezTo>
                  <a:lnTo>
                    <a:pt x="6715" y="278"/>
                  </a:lnTo>
                  <a:cubicBezTo>
                    <a:pt x="6656" y="159"/>
                    <a:pt x="6537" y="52"/>
                    <a:pt x="6406" y="28"/>
                  </a:cubicBezTo>
                  <a:cubicBezTo>
                    <a:pt x="6355" y="10"/>
                    <a:pt x="6303" y="0"/>
                    <a:pt x="6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8" name="Google Shape;12958;p63"/>
            <p:cNvSpPr/>
            <p:nvPr/>
          </p:nvSpPr>
          <p:spPr>
            <a:xfrm>
              <a:off x="1003597" y="2557554"/>
              <a:ext cx="49568" cy="60608"/>
            </a:xfrm>
            <a:custGeom>
              <a:avLst/>
              <a:gdLst/>
              <a:ahLst/>
              <a:cxnLst/>
              <a:rect l="l" t="t" r="r" b="b"/>
              <a:pathLst>
                <a:path w="1549" h="1894" extrusionOk="0">
                  <a:moveTo>
                    <a:pt x="774" y="0"/>
                  </a:moveTo>
                  <a:cubicBezTo>
                    <a:pt x="358" y="0"/>
                    <a:pt x="1" y="346"/>
                    <a:pt x="1" y="774"/>
                  </a:cubicBezTo>
                  <a:lnTo>
                    <a:pt x="1" y="1119"/>
                  </a:lnTo>
                  <a:cubicBezTo>
                    <a:pt x="1" y="1536"/>
                    <a:pt x="346" y="1893"/>
                    <a:pt x="774" y="1893"/>
                  </a:cubicBezTo>
                  <a:cubicBezTo>
                    <a:pt x="1203" y="1893"/>
                    <a:pt x="1548" y="1548"/>
                    <a:pt x="1548" y="1119"/>
                  </a:cubicBezTo>
                  <a:lnTo>
                    <a:pt x="1548" y="774"/>
                  </a:lnTo>
                  <a:cubicBezTo>
                    <a:pt x="1548" y="643"/>
                    <a:pt x="1513" y="548"/>
                    <a:pt x="1477" y="441"/>
                  </a:cubicBezTo>
                  <a:cubicBezTo>
                    <a:pt x="1443" y="389"/>
                    <a:pt x="1383" y="350"/>
                    <a:pt x="1322" y="350"/>
                  </a:cubicBezTo>
                  <a:cubicBezTo>
                    <a:pt x="1298" y="350"/>
                    <a:pt x="1274" y="356"/>
                    <a:pt x="1251" y="369"/>
                  </a:cubicBezTo>
                  <a:cubicBezTo>
                    <a:pt x="1179" y="405"/>
                    <a:pt x="1132" y="500"/>
                    <a:pt x="1179" y="584"/>
                  </a:cubicBezTo>
                  <a:cubicBezTo>
                    <a:pt x="1203" y="643"/>
                    <a:pt x="1215" y="703"/>
                    <a:pt x="1215" y="786"/>
                  </a:cubicBezTo>
                  <a:lnTo>
                    <a:pt x="1215" y="1119"/>
                  </a:lnTo>
                  <a:cubicBezTo>
                    <a:pt x="1215" y="1358"/>
                    <a:pt x="1024" y="1572"/>
                    <a:pt x="774" y="1572"/>
                  </a:cubicBezTo>
                  <a:cubicBezTo>
                    <a:pt x="536" y="1572"/>
                    <a:pt x="322" y="1381"/>
                    <a:pt x="322" y="1119"/>
                  </a:cubicBezTo>
                  <a:lnTo>
                    <a:pt x="322" y="786"/>
                  </a:lnTo>
                  <a:cubicBezTo>
                    <a:pt x="322" y="548"/>
                    <a:pt x="524" y="334"/>
                    <a:pt x="774" y="334"/>
                  </a:cubicBezTo>
                  <a:cubicBezTo>
                    <a:pt x="858" y="334"/>
                    <a:pt x="941" y="262"/>
                    <a:pt x="941" y="167"/>
                  </a:cubicBezTo>
                  <a:cubicBezTo>
                    <a:pt x="941" y="84"/>
                    <a:pt x="858" y="0"/>
                    <a:pt x="77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59" name="Google Shape;12959;p63"/>
          <p:cNvGrpSpPr/>
          <p:nvPr/>
        </p:nvGrpSpPr>
        <p:grpSpPr>
          <a:xfrm>
            <a:off x="6896909" y="2440946"/>
            <a:ext cx="354752" cy="275904"/>
            <a:chOff x="6896909" y="2440946"/>
            <a:chExt cx="354752" cy="275904"/>
          </a:xfrm>
        </p:grpSpPr>
        <p:sp>
          <p:nvSpPr>
            <p:cNvPr id="12960" name="Google Shape;12960;p63"/>
            <p:cNvSpPr/>
            <p:nvPr/>
          </p:nvSpPr>
          <p:spPr>
            <a:xfrm>
              <a:off x="7052365" y="2573938"/>
              <a:ext cx="32416" cy="32416"/>
            </a:xfrm>
            <a:custGeom>
              <a:avLst/>
              <a:gdLst/>
              <a:ahLst/>
              <a:cxnLst/>
              <a:rect l="l" t="t" r="r" b="b"/>
              <a:pathLst>
                <a:path w="1013" h="1013" extrusionOk="0">
                  <a:moveTo>
                    <a:pt x="512" y="346"/>
                  </a:moveTo>
                  <a:cubicBezTo>
                    <a:pt x="607" y="346"/>
                    <a:pt x="691" y="429"/>
                    <a:pt x="691" y="524"/>
                  </a:cubicBezTo>
                  <a:cubicBezTo>
                    <a:pt x="691" y="607"/>
                    <a:pt x="607" y="703"/>
                    <a:pt x="512" y="703"/>
                  </a:cubicBezTo>
                  <a:cubicBezTo>
                    <a:pt x="405" y="703"/>
                    <a:pt x="334" y="607"/>
                    <a:pt x="334" y="524"/>
                  </a:cubicBezTo>
                  <a:cubicBezTo>
                    <a:pt x="334" y="429"/>
                    <a:pt x="417" y="346"/>
                    <a:pt x="512" y="346"/>
                  </a:cubicBezTo>
                  <a:close/>
                  <a:moveTo>
                    <a:pt x="512" y="0"/>
                  </a:moveTo>
                  <a:cubicBezTo>
                    <a:pt x="226" y="0"/>
                    <a:pt x="0" y="226"/>
                    <a:pt x="0" y="500"/>
                  </a:cubicBezTo>
                  <a:cubicBezTo>
                    <a:pt x="0" y="786"/>
                    <a:pt x="226" y="1012"/>
                    <a:pt x="512" y="1012"/>
                  </a:cubicBezTo>
                  <a:cubicBezTo>
                    <a:pt x="786" y="1012"/>
                    <a:pt x="1012" y="786"/>
                    <a:pt x="1012" y="500"/>
                  </a:cubicBezTo>
                  <a:cubicBezTo>
                    <a:pt x="1012" y="226"/>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1" name="Google Shape;12961;p63"/>
            <p:cNvSpPr/>
            <p:nvPr/>
          </p:nvSpPr>
          <p:spPr>
            <a:xfrm>
              <a:off x="6896909" y="2440946"/>
              <a:ext cx="354752" cy="275904"/>
            </a:xfrm>
            <a:custGeom>
              <a:avLst/>
              <a:gdLst/>
              <a:ahLst/>
              <a:cxnLst/>
              <a:rect l="l" t="t" r="r" b="b"/>
              <a:pathLst>
                <a:path w="11086" h="8622" extrusionOk="0">
                  <a:moveTo>
                    <a:pt x="3882" y="4847"/>
                  </a:moveTo>
                  <a:cubicBezTo>
                    <a:pt x="3894" y="5049"/>
                    <a:pt x="3953" y="5454"/>
                    <a:pt x="4132" y="5883"/>
                  </a:cubicBezTo>
                  <a:cubicBezTo>
                    <a:pt x="4370" y="6466"/>
                    <a:pt x="4870" y="7192"/>
                    <a:pt x="5930" y="7502"/>
                  </a:cubicBezTo>
                  <a:cubicBezTo>
                    <a:pt x="5942" y="7538"/>
                    <a:pt x="5965" y="7550"/>
                    <a:pt x="5977" y="7585"/>
                  </a:cubicBezTo>
                  <a:cubicBezTo>
                    <a:pt x="4668" y="7585"/>
                    <a:pt x="3441" y="6823"/>
                    <a:pt x="2846" y="5645"/>
                  </a:cubicBezTo>
                  <a:cubicBezTo>
                    <a:pt x="2820" y="5592"/>
                    <a:pt x="2762" y="5559"/>
                    <a:pt x="2700" y="5559"/>
                  </a:cubicBezTo>
                  <a:cubicBezTo>
                    <a:pt x="2677" y="5559"/>
                    <a:pt x="2654" y="5564"/>
                    <a:pt x="2632" y="5573"/>
                  </a:cubicBezTo>
                  <a:cubicBezTo>
                    <a:pt x="2489" y="5597"/>
                    <a:pt x="2465" y="5704"/>
                    <a:pt x="2513" y="5776"/>
                  </a:cubicBezTo>
                  <a:cubicBezTo>
                    <a:pt x="2834" y="6418"/>
                    <a:pt x="3322" y="6942"/>
                    <a:pt x="3941" y="7323"/>
                  </a:cubicBezTo>
                  <a:cubicBezTo>
                    <a:pt x="4275" y="7538"/>
                    <a:pt x="4644" y="7681"/>
                    <a:pt x="5037" y="7788"/>
                  </a:cubicBezTo>
                  <a:cubicBezTo>
                    <a:pt x="4967" y="7792"/>
                    <a:pt x="4898" y="7794"/>
                    <a:pt x="4829" y="7794"/>
                  </a:cubicBezTo>
                  <a:cubicBezTo>
                    <a:pt x="4067" y="7794"/>
                    <a:pt x="3326" y="7554"/>
                    <a:pt x="2715" y="7073"/>
                  </a:cubicBezTo>
                  <a:cubicBezTo>
                    <a:pt x="1989" y="6526"/>
                    <a:pt x="1512" y="5740"/>
                    <a:pt x="1358" y="4847"/>
                  </a:cubicBezTo>
                  <a:lnTo>
                    <a:pt x="2191" y="4847"/>
                  </a:lnTo>
                  <a:cubicBezTo>
                    <a:pt x="2215" y="4918"/>
                    <a:pt x="2227" y="4990"/>
                    <a:pt x="2251" y="5061"/>
                  </a:cubicBezTo>
                  <a:cubicBezTo>
                    <a:pt x="2274" y="5144"/>
                    <a:pt x="2346" y="5180"/>
                    <a:pt x="2417" y="5180"/>
                  </a:cubicBezTo>
                  <a:lnTo>
                    <a:pt x="2465" y="5180"/>
                  </a:lnTo>
                  <a:cubicBezTo>
                    <a:pt x="2548" y="5156"/>
                    <a:pt x="2596" y="5061"/>
                    <a:pt x="2584" y="4990"/>
                  </a:cubicBezTo>
                  <a:cubicBezTo>
                    <a:pt x="2572" y="4942"/>
                    <a:pt x="2548" y="4906"/>
                    <a:pt x="2548" y="4847"/>
                  </a:cubicBezTo>
                  <a:close/>
                  <a:moveTo>
                    <a:pt x="1001" y="4823"/>
                  </a:moveTo>
                  <a:cubicBezTo>
                    <a:pt x="1155" y="5823"/>
                    <a:pt x="1679" y="6704"/>
                    <a:pt x="2489" y="7323"/>
                  </a:cubicBezTo>
                  <a:cubicBezTo>
                    <a:pt x="2953" y="7681"/>
                    <a:pt x="3477" y="7919"/>
                    <a:pt x="4025" y="8026"/>
                  </a:cubicBezTo>
                  <a:cubicBezTo>
                    <a:pt x="3959" y="8030"/>
                    <a:pt x="3893" y="8032"/>
                    <a:pt x="3827" y="8032"/>
                  </a:cubicBezTo>
                  <a:cubicBezTo>
                    <a:pt x="3076" y="8032"/>
                    <a:pt x="2350" y="7782"/>
                    <a:pt x="1715" y="7311"/>
                  </a:cubicBezTo>
                  <a:cubicBezTo>
                    <a:pt x="929" y="6704"/>
                    <a:pt x="441" y="5811"/>
                    <a:pt x="334" y="4823"/>
                  </a:cubicBezTo>
                  <a:close/>
                  <a:moveTo>
                    <a:pt x="6858" y="370"/>
                  </a:moveTo>
                  <a:lnTo>
                    <a:pt x="6858" y="370"/>
                  </a:lnTo>
                  <a:cubicBezTo>
                    <a:pt x="7585" y="572"/>
                    <a:pt x="7823" y="1227"/>
                    <a:pt x="7835" y="1251"/>
                  </a:cubicBezTo>
                  <a:cubicBezTo>
                    <a:pt x="7847" y="1311"/>
                    <a:pt x="7930" y="1358"/>
                    <a:pt x="7989" y="1358"/>
                  </a:cubicBezTo>
                  <a:lnTo>
                    <a:pt x="8168" y="1358"/>
                  </a:lnTo>
                  <a:cubicBezTo>
                    <a:pt x="9609" y="1358"/>
                    <a:pt x="10764" y="2537"/>
                    <a:pt x="10764" y="3966"/>
                  </a:cubicBezTo>
                  <a:cubicBezTo>
                    <a:pt x="10752" y="5335"/>
                    <a:pt x="9835" y="6526"/>
                    <a:pt x="8537" y="6883"/>
                  </a:cubicBezTo>
                  <a:lnTo>
                    <a:pt x="7525" y="7169"/>
                  </a:lnTo>
                  <a:lnTo>
                    <a:pt x="7454" y="6716"/>
                  </a:lnTo>
                  <a:cubicBezTo>
                    <a:pt x="7432" y="6630"/>
                    <a:pt x="7363" y="6583"/>
                    <a:pt x="7280" y="6583"/>
                  </a:cubicBezTo>
                  <a:cubicBezTo>
                    <a:pt x="7270" y="6583"/>
                    <a:pt x="7261" y="6584"/>
                    <a:pt x="7251" y="6585"/>
                  </a:cubicBezTo>
                  <a:cubicBezTo>
                    <a:pt x="7168" y="6597"/>
                    <a:pt x="7108" y="6692"/>
                    <a:pt x="7120" y="6776"/>
                  </a:cubicBezTo>
                  <a:lnTo>
                    <a:pt x="7358" y="8073"/>
                  </a:lnTo>
                  <a:cubicBezTo>
                    <a:pt x="7370" y="8145"/>
                    <a:pt x="7347" y="8204"/>
                    <a:pt x="7287" y="8252"/>
                  </a:cubicBezTo>
                  <a:cubicBezTo>
                    <a:pt x="7255" y="8278"/>
                    <a:pt x="7216" y="8289"/>
                    <a:pt x="7180" y="8289"/>
                  </a:cubicBezTo>
                  <a:cubicBezTo>
                    <a:pt x="7148" y="8289"/>
                    <a:pt x="7119" y="8280"/>
                    <a:pt x="7097" y="8264"/>
                  </a:cubicBezTo>
                  <a:cubicBezTo>
                    <a:pt x="6287" y="7823"/>
                    <a:pt x="6049" y="7061"/>
                    <a:pt x="6049" y="7049"/>
                  </a:cubicBezTo>
                  <a:cubicBezTo>
                    <a:pt x="6030" y="6976"/>
                    <a:pt x="5969" y="6930"/>
                    <a:pt x="5909" y="6930"/>
                  </a:cubicBezTo>
                  <a:cubicBezTo>
                    <a:pt x="5892" y="6930"/>
                    <a:pt x="5874" y="6934"/>
                    <a:pt x="5858" y="6942"/>
                  </a:cubicBezTo>
                  <a:cubicBezTo>
                    <a:pt x="5787" y="6954"/>
                    <a:pt x="5739" y="7026"/>
                    <a:pt x="5739" y="7109"/>
                  </a:cubicBezTo>
                  <a:cubicBezTo>
                    <a:pt x="5108" y="6847"/>
                    <a:pt x="4668" y="6407"/>
                    <a:pt x="4394" y="5764"/>
                  </a:cubicBezTo>
                  <a:cubicBezTo>
                    <a:pt x="4239" y="5395"/>
                    <a:pt x="4191" y="5037"/>
                    <a:pt x="4156" y="4847"/>
                  </a:cubicBezTo>
                  <a:lnTo>
                    <a:pt x="4334" y="4847"/>
                  </a:lnTo>
                  <a:cubicBezTo>
                    <a:pt x="4430" y="4847"/>
                    <a:pt x="4501" y="4763"/>
                    <a:pt x="4501" y="4680"/>
                  </a:cubicBezTo>
                  <a:cubicBezTo>
                    <a:pt x="4501" y="4585"/>
                    <a:pt x="4430" y="4513"/>
                    <a:pt x="4334" y="4513"/>
                  </a:cubicBezTo>
                  <a:lnTo>
                    <a:pt x="334" y="4513"/>
                  </a:lnTo>
                  <a:lnTo>
                    <a:pt x="334" y="4502"/>
                  </a:lnTo>
                  <a:cubicBezTo>
                    <a:pt x="334" y="4204"/>
                    <a:pt x="572" y="3966"/>
                    <a:pt x="870" y="3966"/>
                  </a:cubicBezTo>
                  <a:lnTo>
                    <a:pt x="8418" y="3966"/>
                  </a:lnTo>
                  <a:cubicBezTo>
                    <a:pt x="9025" y="3966"/>
                    <a:pt x="9537" y="3454"/>
                    <a:pt x="9537" y="2847"/>
                  </a:cubicBezTo>
                  <a:cubicBezTo>
                    <a:pt x="9537" y="2239"/>
                    <a:pt x="9025" y="1727"/>
                    <a:pt x="8418" y="1727"/>
                  </a:cubicBezTo>
                  <a:lnTo>
                    <a:pt x="7989" y="1727"/>
                  </a:lnTo>
                  <a:cubicBezTo>
                    <a:pt x="7906" y="1727"/>
                    <a:pt x="7847" y="1775"/>
                    <a:pt x="7835" y="1835"/>
                  </a:cubicBezTo>
                  <a:cubicBezTo>
                    <a:pt x="7835" y="1846"/>
                    <a:pt x="7597" y="2525"/>
                    <a:pt x="6858" y="2716"/>
                  </a:cubicBezTo>
                  <a:cubicBezTo>
                    <a:pt x="6894" y="2573"/>
                    <a:pt x="6930" y="2394"/>
                    <a:pt x="6930" y="2156"/>
                  </a:cubicBezTo>
                  <a:cubicBezTo>
                    <a:pt x="6930" y="1823"/>
                    <a:pt x="7168" y="1704"/>
                    <a:pt x="7180" y="1704"/>
                  </a:cubicBezTo>
                  <a:cubicBezTo>
                    <a:pt x="7239" y="1668"/>
                    <a:pt x="7287" y="1608"/>
                    <a:pt x="7287" y="1549"/>
                  </a:cubicBezTo>
                  <a:cubicBezTo>
                    <a:pt x="7287" y="1489"/>
                    <a:pt x="7251" y="1430"/>
                    <a:pt x="7192" y="1406"/>
                  </a:cubicBezTo>
                  <a:cubicBezTo>
                    <a:pt x="7180" y="1406"/>
                    <a:pt x="6942" y="1287"/>
                    <a:pt x="6942" y="930"/>
                  </a:cubicBezTo>
                  <a:cubicBezTo>
                    <a:pt x="6942" y="692"/>
                    <a:pt x="6918" y="513"/>
                    <a:pt x="6858" y="370"/>
                  </a:cubicBezTo>
                  <a:close/>
                  <a:moveTo>
                    <a:pt x="6406" y="1"/>
                  </a:moveTo>
                  <a:cubicBezTo>
                    <a:pt x="6323" y="1"/>
                    <a:pt x="6239" y="72"/>
                    <a:pt x="6239" y="168"/>
                  </a:cubicBezTo>
                  <a:cubicBezTo>
                    <a:pt x="6239" y="263"/>
                    <a:pt x="6323" y="334"/>
                    <a:pt x="6394" y="334"/>
                  </a:cubicBezTo>
                  <a:cubicBezTo>
                    <a:pt x="6454" y="346"/>
                    <a:pt x="6585" y="465"/>
                    <a:pt x="6585" y="942"/>
                  </a:cubicBezTo>
                  <a:cubicBezTo>
                    <a:pt x="6585" y="1239"/>
                    <a:pt x="6704" y="1430"/>
                    <a:pt x="6823" y="1549"/>
                  </a:cubicBezTo>
                  <a:cubicBezTo>
                    <a:pt x="6704" y="1668"/>
                    <a:pt x="6585" y="1870"/>
                    <a:pt x="6585" y="2168"/>
                  </a:cubicBezTo>
                  <a:cubicBezTo>
                    <a:pt x="6585" y="2644"/>
                    <a:pt x="6454" y="2763"/>
                    <a:pt x="6394" y="2775"/>
                  </a:cubicBezTo>
                  <a:cubicBezTo>
                    <a:pt x="6299" y="2775"/>
                    <a:pt x="6239" y="2847"/>
                    <a:pt x="6239" y="2942"/>
                  </a:cubicBezTo>
                  <a:cubicBezTo>
                    <a:pt x="6239" y="3025"/>
                    <a:pt x="6323" y="3097"/>
                    <a:pt x="6406" y="3097"/>
                  </a:cubicBezTo>
                  <a:cubicBezTo>
                    <a:pt x="7097" y="3097"/>
                    <a:pt x="7525" y="2787"/>
                    <a:pt x="7763" y="2537"/>
                  </a:cubicBezTo>
                  <a:cubicBezTo>
                    <a:pt x="7918" y="2358"/>
                    <a:pt x="8025" y="2180"/>
                    <a:pt x="8073" y="2073"/>
                  </a:cubicBezTo>
                  <a:lnTo>
                    <a:pt x="8406" y="2073"/>
                  </a:lnTo>
                  <a:cubicBezTo>
                    <a:pt x="8835" y="2073"/>
                    <a:pt x="9192" y="2430"/>
                    <a:pt x="9192" y="2858"/>
                  </a:cubicBezTo>
                  <a:cubicBezTo>
                    <a:pt x="9192" y="3299"/>
                    <a:pt x="8835" y="3656"/>
                    <a:pt x="8406" y="3656"/>
                  </a:cubicBezTo>
                  <a:lnTo>
                    <a:pt x="858" y="3656"/>
                  </a:lnTo>
                  <a:cubicBezTo>
                    <a:pt x="381" y="3656"/>
                    <a:pt x="0" y="4037"/>
                    <a:pt x="0" y="4502"/>
                  </a:cubicBezTo>
                  <a:cubicBezTo>
                    <a:pt x="0" y="5716"/>
                    <a:pt x="560" y="6835"/>
                    <a:pt x="1524" y="7561"/>
                  </a:cubicBezTo>
                  <a:cubicBezTo>
                    <a:pt x="2203" y="8085"/>
                    <a:pt x="3025" y="8359"/>
                    <a:pt x="3858" y="8359"/>
                  </a:cubicBezTo>
                  <a:cubicBezTo>
                    <a:pt x="4203" y="8359"/>
                    <a:pt x="4549" y="8312"/>
                    <a:pt x="4894" y="8216"/>
                  </a:cubicBezTo>
                  <a:lnTo>
                    <a:pt x="6120" y="7883"/>
                  </a:lnTo>
                  <a:cubicBezTo>
                    <a:pt x="6299" y="8121"/>
                    <a:pt x="6573" y="8359"/>
                    <a:pt x="6918" y="8562"/>
                  </a:cubicBezTo>
                  <a:cubicBezTo>
                    <a:pt x="6989" y="8609"/>
                    <a:pt x="7073" y="8621"/>
                    <a:pt x="7144" y="8621"/>
                  </a:cubicBezTo>
                  <a:cubicBezTo>
                    <a:pt x="7251" y="8621"/>
                    <a:pt x="7358" y="8597"/>
                    <a:pt x="7442" y="8538"/>
                  </a:cubicBezTo>
                  <a:cubicBezTo>
                    <a:pt x="7608" y="8419"/>
                    <a:pt x="7680" y="8216"/>
                    <a:pt x="7656" y="8026"/>
                  </a:cubicBezTo>
                  <a:lnTo>
                    <a:pt x="7549" y="7490"/>
                  </a:lnTo>
                  <a:lnTo>
                    <a:pt x="8597" y="7204"/>
                  </a:lnTo>
                  <a:cubicBezTo>
                    <a:pt x="10037" y="6811"/>
                    <a:pt x="11049" y="5478"/>
                    <a:pt x="11049" y="3978"/>
                  </a:cubicBezTo>
                  <a:cubicBezTo>
                    <a:pt x="11085" y="2358"/>
                    <a:pt x="9752" y="1037"/>
                    <a:pt x="8132" y="1037"/>
                  </a:cubicBezTo>
                  <a:lnTo>
                    <a:pt x="8073" y="1037"/>
                  </a:lnTo>
                  <a:cubicBezTo>
                    <a:pt x="8025" y="930"/>
                    <a:pt x="7918" y="751"/>
                    <a:pt x="7763" y="572"/>
                  </a:cubicBezTo>
                  <a:cubicBezTo>
                    <a:pt x="7525" y="299"/>
                    <a:pt x="7097" y="1"/>
                    <a:pt x="6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62" name="Google Shape;12962;p63"/>
          <p:cNvSpPr/>
          <p:nvPr/>
        </p:nvSpPr>
        <p:spPr>
          <a:xfrm>
            <a:off x="6347501" y="2448754"/>
            <a:ext cx="354752" cy="330176"/>
          </a:xfrm>
          <a:custGeom>
            <a:avLst/>
            <a:gdLst/>
            <a:ahLst/>
            <a:cxnLst/>
            <a:rect l="l" t="t" r="r" b="b"/>
            <a:pathLst>
              <a:path w="11086" h="10318" extrusionOk="0">
                <a:moveTo>
                  <a:pt x="3811" y="745"/>
                </a:moveTo>
                <a:cubicBezTo>
                  <a:pt x="3906" y="745"/>
                  <a:pt x="3989" y="829"/>
                  <a:pt x="3989" y="924"/>
                </a:cubicBezTo>
                <a:cubicBezTo>
                  <a:pt x="3989" y="1031"/>
                  <a:pt x="3906" y="1102"/>
                  <a:pt x="3811" y="1102"/>
                </a:cubicBezTo>
                <a:cubicBezTo>
                  <a:pt x="3727" y="1102"/>
                  <a:pt x="3632" y="1031"/>
                  <a:pt x="3632" y="924"/>
                </a:cubicBezTo>
                <a:cubicBezTo>
                  <a:pt x="3632" y="817"/>
                  <a:pt x="3727" y="745"/>
                  <a:pt x="3811" y="745"/>
                </a:cubicBezTo>
                <a:close/>
                <a:moveTo>
                  <a:pt x="8742" y="532"/>
                </a:moveTo>
                <a:cubicBezTo>
                  <a:pt x="9296" y="532"/>
                  <a:pt x="9880" y="576"/>
                  <a:pt x="10347" y="709"/>
                </a:cubicBezTo>
                <a:cubicBezTo>
                  <a:pt x="10073" y="924"/>
                  <a:pt x="9657" y="1269"/>
                  <a:pt x="9335" y="1686"/>
                </a:cubicBezTo>
                <a:cubicBezTo>
                  <a:pt x="8847" y="1245"/>
                  <a:pt x="8252" y="876"/>
                  <a:pt x="7561" y="590"/>
                </a:cubicBezTo>
                <a:cubicBezTo>
                  <a:pt x="7890" y="559"/>
                  <a:pt x="8307" y="532"/>
                  <a:pt x="8742" y="532"/>
                </a:cubicBezTo>
                <a:close/>
                <a:moveTo>
                  <a:pt x="4519" y="339"/>
                </a:moveTo>
                <a:cubicBezTo>
                  <a:pt x="5432" y="339"/>
                  <a:pt x="6383" y="508"/>
                  <a:pt x="7240" y="829"/>
                </a:cubicBezTo>
                <a:cubicBezTo>
                  <a:pt x="8252" y="1221"/>
                  <a:pt x="9085" y="1781"/>
                  <a:pt x="9692" y="2507"/>
                </a:cubicBezTo>
                <a:cubicBezTo>
                  <a:pt x="9323" y="2305"/>
                  <a:pt x="8859" y="2114"/>
                  <a:pt x="8335" y="1995"/>
                </a:cubicBezTo>
                <a:cubicBezTo>
                  <a:pt x="8013" y="1722"/>
                  <a:pt x="7668" y="1495"/>
                  <a:pt x="7323" y="1317"/>
                </a:cubicBezTo>
                <a:cubicBezTo>
                  <a:pt x="6740" y="1043"/>
                  <a:pt x="6073" y="817"/>
                  <a:pt x="5311" y="686"/>
                </a:cubicBezTo>
                <a:cubicBezTo>
                  <a:pt x="5298" y="682"/>
                  <a:pt x="5286" y="680"/>
                  <a:pt x="5273" y="680"/>
                </a:cubicBezTo>
                <a:cubicBezTo>
                  <a:pt x="5201" y="680"/>
                  <a:pt x="5130" y="736"/>
                  <a:pt x="5120" y="817"/>
                </a:cubicBezTo>
                <a:cubicBezTo>
                  <a:pt x="5108" y="900"/>
                  <a:pt x="5168" y="995"/>
                  <a:pt x="5251" y="1007"/>
                </a:cubicBezTo>
                <a:cubicBezTo>
                  <a:pt x="5537" y="1055"/>
                  <a:pt x="5787" y="1114"/>
                  <a:pt x="6049" y="1186"/>
                </a:cubicBezTo>
                <a:cubicBezTo>
                  <a:pt x="5966" y="1531"/>
                  <a:pt x="5656" y="1757"/>
                  <a:pt x="5656" y="1757"/>
                </a:cubicBezTo>
                <a:cubicBezTo>
                  <a:pt x="5585" y="1793"/>
                  <a:pt x="5573" y="1900"/>
                  <a:pt x="5608" y="1972"/>
                </a:cubicBezTo>
                <a:cubicBezTo>
                  <a:pt x="5644" y="2019"/>
                  <a:pt x="5704" y="2055"/>
                  <a:pt x="5751" y="2055"/>
                </a:cubicBezTo>
                <a:cubicBezTo>
                  <a:pt x="5775" y="2055"/>
                  <a:pt x="5811" y="2031"/>
                  <a:pt x="5835" y="2019"/>
                </a:cubicBezTo>
                <a:cubicBezTo>
                  <a:pt x="5847" y="2007"/>
                  <a:pt x="6239" y="1733"/>
                  <a:pt x="6359" y="1281"/>
                </a:cubicBezTo>
                <a:cubicBezTo>
                  <a:pt x="6466" y="1305"/>
                  <a:pt x="6561" y="1352"/>
                  <a:pt x="6656" y="1376"/>
                </a:cubicBezTo>
                <a:cubicBezTo>
                  <a:pt x="6644" y="1662"/>
                  <a:pt x="6406" y="1876"/>
                  <a:pt x="6406" y="1888"/>
                </a:cubicBezTo>
                <a:cubicBezTo>
                  <a:pt x="6347" y="1948"/>
                  <a:pt x="6323" y="2055"/>
                  <a:pt x="6382" y="2114"/>
                </a:cubicBezTo>
                <a:cubicBezTo>
                  <a:pt x="6418" y="2138"/>
                  <a:pt x="6466" y="2174"/>
                  <a:pt x="6501" y="2174"/>
                </a:cubicBezTo>
                <a:cubicBezTo>
                  <a:pt x="6549" y="2174"/>
                  <a:pt x="6585" y="2150"/>
                  <a:pt x="6609" y="2126"/>
                </a:cubicBezTo>
                <a:cubicBezTo>
                  <a:pt x="6620" y="2114"/>
                  <a:pt x="6894" y="1876"/>
                  <a:pt x="6954" y="1519"/>
                </a:cubicBezTo>
                <a:cubicBezTo>
                  <a:pt x="7025" y="1543"/>
                  <a:pt x="7085" y="1579"/>
                  <a:pt x="7156" y="1602"/>
                </a:cubicBezTo>
                <a:cubicBezTo>
                  <a:pt x="7192" y="1614"/>
                  <a:pt x="7216" y="1638"/>
                  <a:pt x="7263" y="1650"/>
                </a:cubicBezTo>
                <a:cubicBezTo>
                  <a:pt x="7240" y="1829"/>
                  <a:pt x="7085" y="1972"/>
                  <a:pt x="7085" y="1972"/>
                </a:cubicBezTo>
                <a:cubicBezTo>
                  <a:pt x="7025" y="2031"/>
                  <a:pt x="7013" y="2138"/>
                  <a:pt x="7073" y="2198"/>
                </a:cubicBezTo>
                <a:cubicBezTo>
                  <a:pt x="7097" y="2233"/>
                  <a:pt x="7144" y="2257"/>
                  <a:pt x="7192" y="2257"/>
                </a:cubicBezTo>
                <a:cubicBezTo>
                  <a:pt x="7240" y="2257"/>
                  <a:pt x="7263" y="2245"/>
                  <a:pt x="7299" y="2210"/>
                </a:cubicBezTo>
                <a:cubicBezTo>
                  <a:pt x="7311" y="2198"/>
                  <a:pt x="7478" y="2055"/>
                  <a:pt x="7549" y="1817"/>
                </a:cubicBezTo>
                <a:cubicBezTo>
                  <a:pt x="7740" y="1936"/>
                  <a:pt x="7930" y="2079"/>
                  <a:pt x="8133" y="2245"/>
                </a:cubicBezTo>
                <a:cubicBezTo>
                  <a:pt x="8144" y="2257"/>
                  <a:pt x="8168" y="2269"/>
                  <a:pt x="8204" y="2269"/>
                </a:cubicBezTo>
                <a:cubicBezTo>
                  <a:pt x="9395" y="2543"/>
                  <a:pt x="10216" y="3198"/>
                  <a:pt x="10573" y="3555"/>
                </a:cubicBezTo>
                <a:lnTo>
                  <a:pt x="9621" y="3615"/>
                </a:lnTo>
                <a:cubicBezTo>
                  <a:pt x="9561" y="3615"/>
                  <a:pt x="9514" y="3638"/>
                  <a:pt x="9478" y="3698"/>
                </a:cubicBezTo>
                <a:cubicBezTo>
                  <a:pt x="9454" y="3746"/>
                  <a:pt x="9454" y="3805"/>
                  <a:pt x="9478" y="3865"/>
                </a:cubicBezTo>
                <a:cubicBezTo>
                  <a:pt x="9537" y="3960"/>
                  <a:pt x="9585" y="4055"/>
                  <a:pt x="9645" y="4150"/>
                </a:cubicBezTo>
                <a:cubicBezTo>
                  <a:pt x="9680" y="4210"/>
                  <a:pt x="9740" y="4234"/>
                  <a:pt x="9799" y="4234"/>
                </a:cubicBezTo>
                <a:cubicBezTo>
                  <a:pt x="9823" y="4234"/>
                  <a:pt x="9835" y="4234"/>
                  <a:pt x="9871" y="4222"/>
                </a:cubicBezTo>
                <a:cubicBezTo>
                  <a:pt x="9942" y="4174"/>
                  <a:pt x="9978" y="4091"/>
                  <a:pt x="9942" y="3996"/>
                </a:cubicBezTo>
                <a:cubicBezTo>
                  <a:pt x="9930" y="3972"/>
                  <a:pt x="9918" y="3960"/>
                  <a:pt x="9895" y="3924"/>
                </a:cubicBezTo>
                <a:lnTo>
                  <a:pt x="10466" y="3900"/>
                </a:lnTo>
                <a:cubicBezTo>
                  <a:pt x="10657" y="4436"/>
                  <a:pt x="10752" y="4996"/>
                  <a:pt x="10752" y="5603"/>
                </a:cubicBezTo>
                <a:cubicBezTo>
                  <a:pt x="10752" y="6329"/>
                  <a:pt x="10597" y="6960"/>
                  <a:pt x="10299" y="7484"/>
                </a:cubicBezTo>
                <a:cubicBezTo>
                  <a:pt x="10359" y="7317"/>
                  <a:pt x="10419" y="7163"/>
                  <a:pt x="10454" y="6996"/>
                </a:cubicBezTo>
                <a:cubicBezTo>
                  <a:pt x="10597" y="6282"/>
                  <a:pt x="10526" y="5472"/>
                  <a:pt x="10228" y="4674"/>
                </a:cubicBezTo>
                <a:cubicBezTo>
                  <a:pt x="10201" y="4603"/>
                  <a:pt x="10148" y="4565"/>
                  <a:pt x="10084" y="4565"/>
                </a:cubicBezTo>
                <a:cubicBezTo>
                  <a:pt x="10062" y="4565"/>
                  <a:pt x="10038" y="4570"/>
                  <a:pt x="10014" y="4579"/>
                </a:cubicBezTo>
                <a:cubicBezTo>
                  <a:pt x="9930" y="4615"/>
                  <a:pt x="9883" y="4698"/>
                  <a:pt x="9930" y="4793"/>
                </a:cubicBezTo>
                <a:cubicBezTo>
                  <a:pt x="10216" y="5532"/>
                  <a:pt x="10276" y="6282"/>
                  <a:pt x="10133" y="6936"/>
                </a:cubicBezTo>
                <a:cubicBezTo>
                  <a:pt x="9978" y="7663"/>
                  <a:pt x="9573" y="8270"/>
                  <a:pt x="8906" y="8746"/>
                </a:cubicBezTo>
                <a:cubicBezTo>
                  <a:pt x="8454" y="8972"/>
                  <a:pt x="7966" y="9103"/>
                  <a:pt x="7502" y="9199"/>
                </a:cubicBezTo>
                <a:cubicBezTo>
                  <a:pt x="7621" y="9139"/>
                  <a:pt x="7740" y="9056"/>
                  <a:pt x="7859" y="8996"/>
                </a:cubicBezTo>
                <a:cubicBezTo>
                  <a:pt x="8990" y="8318"/>
                  <a:pt x="9478" y="7353"/>
                  <a:pt x="9287" y="6234"/>
                </a:cubicBezTo>
                <a:cubicBezTo>
                  <a:pt x="9276" y="6055"/>
                  <a:pt x="9228" y="5877"/>
                  <a:pt x="9156" y="5698"/>
                </a:cubicBezTo>
                <a:cubicBezTo>
                  <a:pt x="8930" y="5091"/>
                  <a:pt x="8454" y="4555"/>
                  <a:pt x="7799" y="4138"/>
                </a:cubicBezTo>
                <a:cubicBezTo>
                  <a:pt x="7097" y="3686"/>
                  <a:pt x="6192" y="3400"/>
                  <a:pt x="5192" y="3305"/>
                </a:cubicBezTo>
                <a:cubicBezTo>
                  <a:pt x="3977" y="3186"/>
                  <a:pt x="2572" y="2984"/>
                  <a:pt x="2179" y="2543"/>
                </a:cubicBezTo>
                <a:cubicBezTo>
                  <a:pt x="2509" y="2503"/>
                  <a:pt x="2897" y="2463"/>
                  <a:pt x="3382" y="2463"/>
                </a:cubicBezTo>
                <a:cubicBezTo>
                  <a:pt x="3616" y="2463"/>
                  <a:pt x="3873" y="2472"/>
                  <a:pt x="4156" y="2495"/>
                </a:cubicBezTo>
                <a:cubicBezTo>
                  <a:pt x="4162" y="2496"/>
                  <a:pt x="4168" y="2497"/>
                  <a:pt x="4174" y="2497"/>
                </a:cubicBezTo>
                <a:cubicBezTo>
                  <a:pt x="4251" y="2497"/>
                  <a:pt x="4323" y="2430"/>
                  <a:pt x="4334" y="2353"/>
                </a:cubicBezTo>
                <a:cubicBezTo>
                  <a:pt x="4346" y="2257"/>
                  <a:pt x="4275" y="2186"/>
                  <a:pt x="4180" y="2174"/>
                </a:cubicBezTo>
                <a:cubicBezTo>
                  <a:pt x="3861" y="2140"/>
                  <a:pt x="3573" y="2128"/>
                  <a:pt x="3313" y="2128"/>
                </a:cubicBezTo>
                <a:cubicBezTo>
                  <a:pt x="2834" y="2128"/>
                  <a:pt x="2448" y="2171"/>
                  <a:pt x="2132" y="2210"/>
                </a:cubicBezTo>
                <a:cubicBezTo>
                  <a:pt x="1890" y="2235"/>
                  <a:pt x="1689" y="2261"/>
                  <a:pt x="1516" y="2261"/>
                </a:cubicBezTo>
                <a:cubicBezTo>
                  <a:pt x="1365" y="2261"/>
                  <a:pt x="1236" y="2241"/>
                  <a:pt x="1120" y="2186"/>
                </a:cubicBezTo>
                <a:cubicBezTo>
                  <a:pt x="632" y="1960"/>
                  <a:pt x="346" y="1650"/>
                  <a:pt x="346" y="1471"/>
                </a:cubicBezTo>
                <a:cubicBezTo>
                  <a:pt x="346" y="1436"/>
                  <a:pt x="370" y="1400"/>
                  <a:pt x="417" y="1341"/>
                </a:cubicBezTo>
                <a:cubicBezTo>
                  <a:pt x="644" y="1138"/>
                  <a:pt x="1763" y="829"/>
                  <a:pt x="3334" y="829"/>
                </a:cubicBezTo>
                <a:cubicBezTo>
                  <a:pt x="3322" y="864"/>
                  <a:pt x="3322" y="900"/>
                  <a:pt x="3322" y="936"/>
                </a:cubicBezTo>
                <a:cubicBezTo>
                  <a:pt x="3322" y="1221"/>
                  <a:pt x="3549" y="1436"/>
                  <a:pt x="3822" y="1436"/>
                </a:cubicBezTo>
                <a:cubicBezTo>
                  <a:pt x="4108" y="1436"/>
                  <a:pt x="4334" y="1221"/>
                  <a:pt x="4334" y="936"/>
                </a:cubicBezTo>
                <a:lnTo>
                  <a:pt x="4334" y="876"/>
                </a:lnTo>
                <a:cubicBezTo>
                  <a:pt x="4418" y="876"/>
                  <a:pt x="4501" y="888"/>
                  <a:pt x="4584" y="900"/>
                </a:cubicBezTo>
                <a:lnTo>
                  <a:pt x="4596" y="900"/>
                </a:lnTo>
                <a:cubicBezTo>
                  <a:pt x="4680" y="900"/>
                  <a:pt x="4751" y="840"/>
                  <a:pt x="4763" y="757"/>
                </a:cubicBezTo>
                <a:cubicBezTo>
                  <a:pt x="4775" y="662"/>
                  <a:pt x="4704" y="590"/>
                  <a:pt x="4620" y="579"/>
                </a:cubicBezTo>
                <a:cubicBezTo>
                  <a:pt x="4454" y="567"/>
                  <a:pt x="4299" y="543"/>
                  <a:pt x="4144" y="531"/>
                </a:cubicBezTo>
                <a:cubicBezTo>
                  <a:pt x="4049" y="471"/>
                  <a:pt x="3942" y="424"/>
                  <a:pt x="3822" y="424"/>
                </a:cubicBezTo>
                <a:cubicBezTo>
                  <a:pt x="3727" y="424"/>
                  <a:pt x="3632" y="459"/>
                  <a:pt x="3561" y="507"/>
                </a:cubicBezTo>
                <a:cubicBezTo>
                  <a:pt x="3322" y="507"/>
                  <a:pt x="3084" y="507"/>
                  <a:pt x="2858" y="519"/>
                </a:cubicBezTo>
                <a:cubicBezTo>
                  <a:pt x="3072" y="471"/>
                  <a:pt x="3287" y="448"/>
                  <a:pt x="3513" y="412"/>
                </a:cubicBezTo>
                <a:cubicBezTo>
                  <a:pt x="3838" y="363"/>
                  <a:pt x="4176" y="339"/>
                  <a:pt x="4519" y="339"/>
                </a:cubicBezTo>
                <a:close/>
                <a:moveTo>
                  <a:pt x="8228" y="8306"/>
                </a:moveTo>
                <a:lnTo>
                  <a:pt x="8228" y="8306"/>
                </a:lnTo>
                <a:cubicBezTo>
                  <a:pt x="8085" y="8437"/>
                  <a:pt x="7906" y="8568"/>
                  <a:pt x="7692" y="8687"/>
                </a:cubicBezTo>
                <a:cubicBezTo>
                  <a:pt x="6906" y="9187"/>
                  <a:pt x="6049" y="9365"/>
                  <a:pt x="6025" y="9365"/>
                </a:cubicBezTo>
                <a:cubicBezTo>
                  <a:pt x="6013" y="9365"/>
                  <a:pt x="6001" y="9365"/>
                  <a:pt x="5989" y="9377"/>
                </a:cubicBezTo>
                <a:cubicBezTo>
                  <a:pt x="4977" y="9865"/>
                  <a:pt x="3727" y="9973"/>
                  <a:pt x="2953" y="9984"/>
                </a:cubicBezTo>
                <a:lnTo>
                  <a:pt x="4215" y="9401"/>
                </a:lnTo>
                <a:cubicBezTo>
                  <a:pt x="4275" y="9377"/>
                  <a:pt x="4299" y="9318"/>
                  <a:pt x="4299" y="9258"/>
                </a:cubicBezTo>
                <a:cubicBezTo>
                  <a:pt x="4299" y="9199"/>
                  <a:pt x="4251" y="9139"/>
                  <a:pt x="4215" y="9103"/>
                </a:cubicBezTo>
                <a:lnTo>
                  <a:pt x="2930" y="8532"/>
                </a:lnTo>
                <a:lnTo>
                  <a:pt x="2953" y="8532"/>
                </a:lnTo>
                <a:cubicBezTo>
                  <a:pt x="3692" y="8532"/>
                  <a:pt x="4894" y="8603"/>
                  <a:pt x="5966" y="9020"/>
                </a:cubicBezTo>
                <a:cubicBezTo>
                  <a:pt x="6001" y="9032"/>
                  <a:pt x="6025" y="9032"/>
                  <a:pt x="6061" y="9032"/>
                </a:cubicBezTo>
                <a:cubicBezTo>
                  <a:pt x="7144" y="8853"/>
                  <a:pt x="7811" y="8568"/>
                  <a:pt x="8228" y="8306"/>
                </a:cubicBezTo>
                <a:close/>
                <a:moveTo>
                  <a:pt x="4495" y="1"/>
                </a:moveTo>
                <a:cubicBezTo>
                  <a:pt x="4135" y="1"/>
                  <a:pt x="3780" y="26"/>
                  <a:pt x="3441" y="78"/>
                </a:cubicBezTo>
                <a:cubicBezTo>
                  <a:pt x="2549" y="209"/>
                  <a:pt x="1739" y="388"/>
                  <a:pt x="1167" y="579"/>
                </a:cubicBezTo>
                <a:cubicBezTo>
                  <a:pt x="370" y="852"/>
                  <a:pt x="1" y="1114"/>
                  <a:pt x="1" y="1448"/>
                </a:cubicBezTo>
                <a:cubicBezTo>
                  <a:pt x="1" y="1781"/>
                  <a:pt x="393" y="2186"/>
                  <a:pt x="965" y="2460"/>
                </a:cubicBezTo>
                <a:cubicBezTo>
                  <a:pt x="1151" y="2527"/>
                  <a:pt x="1330" y="2559"/>
                  <a:pt x="1533" y="2559"/>
                </a:cubicBezTo>
                <a:cubicBezTo>
                  <a:pt x="1617" y="2559"/>
                  <a:pt x="1705" y="2553"/>
                  <a:pt x="1798" y="2543"/>
                </a:cubicBezTo>
                <a:cubicBezTo>
                  <a:pt x="1953" y="2829"/>
                  <a:pt x="2275" y="3031"/>
                  <a:pt x="2846" y="3210"/>
                </a:cubicBezTo>
                <a:cubicBezTo>
                  <a:pt x="3382" y="3376"/>
                  <a:pt x="4108" y="3496"/>
                  <a:pt x="5168" y="3603"/>
                </a:cubicBezTo>
                <a:cubicBezTo>
                  <a:pt x="6120" y="3686"/>
                  <a:pt x="6966" y="3972"/>
                  <a:pt x="7632" y="4389"/>
                </a:cubicBezTo>
                <a:cubicBezTo>
                  <a:pt x="8252" y="4781"/>
                  <a:pt x="8668" y="5258"/>
                  <a:pt x="8871" y="5793"/>
                </a:cubicBezTo>
                <a:cubicBezTo>
                  <a:pt x="9121" y="6484"/>
                  <a:pt x="8978" y="7186"/>
                  <a:pt x="8430" y="7770"/>
                </a:cubicBezTo>
                <a:cubicBezTo>
                  <a:pt x="7894" y="8329"/>
                  <a:pt x="6728" y="8603"/>
                  <a:pt x="6061" y="8722"/>
                </a:cubicBezTo>
                <a:cubicBezTo>
                  <a:pt x="4959" y="8297"/>
                  <a:pt x="3741" y="8216"/>
                  <a:pt x="2985" y="8216"/>
                </a:cubicBezTo>
                <a:cubicBezTo>
                  <a:pt x="2557" y="8216"/>
                  <a:pt x="2277" y="8242"/>
                  <a:pt x="2251" y="8246"/>
                </a:cubicBezTo>
                <a:cubicBezTo>
                  <a:pt x="2179" y="8246"/>
                  <a:pt x="2120" y="8306"/>
                  <a:pt x="2096" y="8377"/>
                </a:cubicBezTo>
                <a:cubicBezTo>
                  <a:pt x="2084" y="8449"/>
                  <a:pt x="2132" y="8532"/>
                  <a:pt x="2191" y="8556"/>
                </a:cubicBezTo>
                <a:lnTo>
                  <a:pt x="3763" y="9270"/>
                </a:lnTo>
                <a:lnTo>
                  <a:pt x="2191" y="9984"/>
                </a:lnTo>
                <a:cubicBezTo>
                  <a:pt x="2120" y="10020"/>
                  <a:pt x="2084" y="10092"/>
                  <a:pt x="2096" y="10163"/>
                </a:cubicBezTo>
                <a:cubicBezTo>
                  <a:pt x="2120" y="10234"/>
                  <a:pt x="2179" y="10294"/>
                  <a:pt x="2251" y="10294"/>
                </a:cubicBezTo>
                <a:cubicBezTo>
                  <a:pt x="2275" y="10294"/>
                  <a:pt x="2513" y="10318"/>
                  <a:pt x="2870" y="10318"/>
                </a:cubicBezTo>
                <a:cubicBezTo>
                  <a:pt x="3644" y="10318"/>
                  <a:pt x="5001" y="10223"/>
                  <a:pt x="6120" y="9687"/>
                </a:cubicBezTo>
                <a:cubicBezTo>
                  <a:pt x="6847" y="9627"/>
                  <a:pt x="8073" y="9544"/>
                  <a:pt x="9109" y="9008"/>
                </a:cubicBezTo>
                <a:cubicBezTo>
                  <a:pt x="10419" y="8329"/>
                  <a:pt x="11085" y="7186"/>
                  <a:pt x="11085" y="5615"/>
                </a:cubicBezTo>
                <a:cubicBezTo>
                  <a:pt x="11085" y="4996"/>
                  <a:pt x="11002" y="4424"/>
                  <a:pt x="10823" y="3865"/>
                </a:cubicBezTo>
                <a:lnTo>
                  <a:pt x="10931" y="3853"/>
                </a:lnTo>
                <a:cubicBezTo>
                  <a:pt x="10990" y="3853"/>
                  <a:pt x="11050" y="3805"/>
                  <a:pt x="11061" y="3769"/>
                </a:cubicBezTo>
                <a:cubicBezTo>
                  <a:pt x="11085" y="3710"/>
                  <a:pt x="11073" y="3650"/>
                  <a:pt x="11050" y="3603"/>
                </a:cubicBezTo>
                <a:cubicBezTo>
                  <a:pt x="11026" y="3567"/>
                  <a:pt x="10811" y="3305"/>
                  <a:pt x="10407" y="2972"/>
                </a:cubicBezTo>
                <a:cubicBezTo>
                  <a:pt x="10180" y="2591"/>
                  <a:pt x="9895" y="2233"/>
                  <a:pt x="9573" y="1900"/>
                </a:cubicBezTo>
                <a:cubicBezTo>
                  <a:pt x="10038" y="1293"/>
                  <a:pt x="10764" y="805"/>
                  <a:pt x="10776" y="805"/>
                </a:cubicBezTo>
                <a:cubicBezTo>
                  <a:pt x="10823" y="769"/>
                  <a:pt x="10847" y="709"/>
                  <a:pt x="10847" y="650"/>
                </a:cubicBezTo>
                <a:cubicBezTo>
                  <a:pt x="10847" y="590"/>
                  <a:pt x="10811" y="555"/>
                  <a:pt x="10752" y="519"/>
                </a:cubicBezTo>
                <a:cubicBezTo>
                  <a:pt x="10279" y="318"/>
                  <a:pt x="9629" y="210"/>
                  <a:pt x="8778" y="210"/>
                </a:cubicBezTo>
                <a:cubicBezTo>
                  <a:pt x="8622" y="210"/>
                  <a:pt x="8458" y="214"/>
                  <a:pt x="8287" y="221"/>
                </a:cubicBezTo>
                <a:cubicBezTo>
                  <a:pt x="7597" y="257"/>
                  <a:pt x="7025" y="328"/>
                  <a:pt x="6882" y="352"/>
                </a:cubicBezTo>
                <a:cubicBezTo>
                  <a:pt x="6113" y="123"/>
                  <a:pt x="5288" y="1"/>
                  <a:pt x="44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63" name="Google Shape;12963;p63"/>
          <p:cNvGrpSpPr/>
          <p:nvPr/>
        </p:nvGrpSpPr>
        <p:grpSpPr>
          <a:xfrm>
            <a:off x="5265069" y="2424754"/>
            <a:ext cx="321984" cy="354560"/>
            <a:chOff x="5265069" y="2424754"/>
            <a:chExt cx="321984" cy="354560"/>
          </a:xfrm>
        </p:grpSpPr>
        <p:sp>
          <p:nvSpPr>
            <p:cNvPr id="12964" name="Google Shape;12964;p63"/>
            <p:cNvSpPr/>
            <p:nvPr/>
          </p:nvSpPr>
          <p:spPr>
            <a:xfrm>
              <a:off x="5265069" y="2424754"/>
              <a:ext cx="321984" cy="354560"/>
            </a:xfrm>
            <a:custGeom>
              <a:avLst/>
              <a:gdLst/>
              <a:ahLst/>
              <a:cxnLst/>
              <a:rect l="l" t="t" r="r" b="b"/>
              <a:pathLst>
                <a:path w="10062" h="11080" extrusionOk="0">
                  <a:moveTo>
                    <a:pt x="8199" y="510"/>
                  </a:moveTo>
                  <a:cubicBezTo>
                    <a:pt x="8465" y="510"/>
                    <a:pt x="8769" y="527"/>
                    <a:pt x="9109" y="567"/>
                  </a:cubicBezTo>
                  <a:cubicBezTo>
                    <a:pt x="9169" y="590"/>
                    <a:pt x="9228" y="614"/>
                    <a:pt x="9252" y="674"/>
                  </a:cubicBezTo>
                  <a:cubicBezTo>
                    <a:pt x="9288" y="733"/>
                    <a:pt x="9288" y="793"/>
                    <a:pt x="9240" y="852"/>
                  </a:cubicBezTo>
                  <a:lnTo>
                    <a:pt x="8752" y="1686"/>
                  </a:lnTo>
                  <a:lnTo>
                    <a:pt x="8526" y="1459"/>
                  </a:lnTo>
                  <a:cubicBezTo>
                    <a:pt x="8169" y="1102"/>
                    <a:pt x="7752" y="805"/>
                    <a:pt x="7323" y="590"/>
                  </a:cubicBezTo>
                  <a:cubicBezTo>
                    <a:pt x="7537" y="542"/>
                    <a:pt x="7832" y="510"/>
                    <a:pt x="8199" y="510"/>
                  </a:cubicBezTo>
                  <a:close/>
                  <a:moveTo>
                    <a:pt x="3692" y="3460"/>
                  </a:moveTo>
                  <a:cubicBezTo>
                    <a:pt x="3728" y="3472"/>
                    <a:pt x="3775" y="3484"/>
                    <a:pt x="3811" y="3531"/>
                  </a:cubicBezTo>
                  <a:cubicBezTo>
                    <a:pt x="3906" y="3698"/>
                    <a:pt x="4025" y="3841"/>
                    <a:pt x="4168" y="3996"/>
                  </a:cubicBezTo>
                  <a:cubicBezTo>
                    <a:pt x="3870" y="4079"/>
                    <a:pt x="3585" y="4234"/>
                    <a:pt x="3204" y="4436"/>
                  </a:cubicBezTo>
                  <a:cubicBezTo>
                    <a:pt x="2803" y="4659"/>
                    <a:pt x="2283" y="4835"/>
                    <a:pt x="1777" y="4835"/>
                  </a:cubicBezTo>
                  <a:cubicBezTo>
                    <a:pt x="1606" y="4835"/>
                    <a:pt x="1437" y="4814"/>
                    <a:pt x="1275" y="4769"/>
                  </a:cubicBezTo>
                  <a:cubicBezTo>
                    <a:pt x="2335" y="4377"/>
                    <a:pt x="3120" y="3829"/>
                    <a:pt x="3537" y="3507"/>
                  </a:cubicBezTo>
                  <a:cubicBezTo>
                    <a:pt x="3585" y="3472"/>
                    <a:pt x="3632" y="3460"/>
                    <a:pt x="3692" y="3460"/>
                  </a:cubicBezTo>
                  <a:close/>
                  <a:moveTo>
                    <a:pt x="5123" y="300"/>
                  </a:moveTo>
                  <a:cubicBezTo>
                    <a:pt x="5187" y="300"/>
                    <a:pt x="5250" y="301"/>
                    <a:pt x="5311" y="305"/>
                  </a:cubicBezTo>
                  <a:cubicBezTo>
                    <a:pt x="6442" y="364"/>
                    <a:pt x="7514" y="852"/>
                    <a:pt x="8335" y="1650"/>
                  </a:cubicBezTo>
                  <a:cubicBezTo>
                    <a:pt x="9157" y="2460"/>
                    <a:pt x="9645" y="3531"/>
                    <a:pt x="9716" y="4662"/>
                  </a:cubicBezTo>
                  <a:cubicBezTo>
                    <a:pt x="9728" y="5365"/>
                    <a:pt x="9645" y="6020"/>
                    <a:pt x="9419" y="6639"/>
                  </a:cubicBezTo>
                  <a:cubicBezTo>
                    <a:pt x="9193" y="7234"/>
                    <a:pt x="8871" y="7770"/>
                    <a:pt x="8442" y="8246"/>
                  </a:cubicBezTo>
                  <a:cubicBezTo>
                    <a:pt x="8002" y="8710"/>
                    <a:pt x="7478" y="9079"/>
                    <a:pt x="6907" y="9353"/>
                  </a:cubicBezTo>
                  <a:cubicBezTo>
                    <a:pt x="6299" y="9615"/>
                    <a:pt x="5656" y="9758"/>
                    <a:pt x="5002" y="9758"/>
                  </a:cubicBezTo>
                  <a:cubicBezTo>
                    <a:pt x="4763" y="9758"/>
                    <a:pt x="4275" y="9734"/>
                    <a:pt x="3835" y="9710"/>
                  </a:cubicBezTo>
                  <a:cubicBezTo>
                    <a:pt x="3811" y="9710"/>
                    <a:pt x="3775" y="9710"/>
                    <a:pt x="3751" y="9722"/>
                  </a:cubicBezTo>
                  <a:lnTo>
                    <a:pt x="2287" y="10520"/>
                  </a:lnTo>
                  <a:cubicBezTo>
                    <a:pt x="2406" y="10306"/>
                    <a:pt x="2608" y="10032"/>
                    <a:pt x="2858" y="9770"/>
                  </a:cubicBezTo>
                  <a:cubicBezTo>
                    <a:pt x="2918" y="9710"/>
                    <a:pt x="2966" y="9603"/>
                    <a:pt x="2966" y="9508"/>
                  </a:cubicBezTo>
                  <a:cubicBezTo>
                    <a:pt x="2966" y="9425"/>
                    <a:pt x="2918" y="9329"/>
                    <a:pt x="2847" y="9270"/>
                  </a:cubicBezTo>
                  <a:cubicBezTo>
                    <a:pt x="2573" y="9056"/>
                    <a:pt x="2382" y="8734"/>
                    <a:pt x="2263" y="8484"/>
                  </a:cubicBezTo>
                  <a:lnTo>
                    <a:pt x="2263" y="8484"/>
                  </a:lnTo>
                  <a:lnTo>
                    <a:pt x="3585" y="9210"/>
                  </a:lnTo>
                  <a:cubicBezTo>
                    <a:pt x="3597" y="9234"/>
                    <a:pt x="3620" y="9234"/>
                    <a:pt x="3644" y="9234"/>
                  </a:cubicBezTo>
                  <a:cubicBezTo>
                    <a:pt x="4037" y="9294"/>
                    <a:pt x="4406" y="9306"/>
                    <a:pt x="4752" y="9306"/>
                  </a:cubicBezTo>
                  <a:cubicBezTo>
                    <a:pt x="5490" y="9306"/>
                    <a:pt x="6145" y="9187"/>
                    <a:pt x="6692" y="8937"/>
                  </a:cubicBezTo>
                  <a:cubicBezTo>
                    <a:pt x="7407" y="8603"/>
                    <a:pt x="7930" y="8067"/>
                    <a:pt x="8228" y="7389"/>
                  </a:cubicBezTo>
                  <a:cubicBezTo>
                    <a:pt x="8538" y="6651"/>
                    <a:pt x="8585" y="5781"/>
                    <a:pt x="8359" y="4900"/>
                  </a:cubicBezTo>
                  <a:cubicBezTo>
                    <a:pt x="8145" y="4067"/>
                    <a:pt x="7680" y="3317"/>
                    <a:pt x="7085" y="2841"/>
                  </a:cubicBezTo>
                  <a:cubicBezTo>
                    <a:pt x="7057" y="2817"/>
                    <a:pt x="7024" y="2807"/>
                    <a:pt x="6991" y="2807"/>
                  </a:cubicBezTo>
                  <a:cubicBezTo>
                    <a:pt x="6939" y="2807"/>
                    <a:pt x="6888" y="2833"/>
                    <a:pt x="6859" y="2876"/>
                  </a:cubicBezTo>
                  <a:cubicBezTo>
                    <a:pt x="6799" y="2948"/>
                    <a:pt x="6811" y="3055"/>
                    <a:pt x="6895" y="3103"/>
                  </a:cubicBezTo>
                  <a:cubicBezTo>
                    <a:pt x="7430" y="3519"/>
                    <a:pt x="7847" y="4210"/>
                    <a:pt x="8050" y="4972"/>
                  </a:cubicBezTo>
                  <a:cubicBezTo>
                    <a:pt x="8264" y="5781"/>
                    <a:pt x="8228" y="6579"/>
                    <a:pt x="7930" y="7246"/>
                  </a:cubicBezTo>
                  <a:cubicBezTo>
                    <a:pt x="7633" y="7948"/>
                    <a:pt x="7085" y="8460"/>
                    <a:pt x="6323" y="8722"/>
                  </a:cubicBezTo>
                  <a:cubicBezTo>
                    <a:pt x="6502" y="8591"/>
                    <a:pt x="6668" y="8425"/>
                    <a:pt x="6811" y="8234"/>
                  </a:cubicBezTo>
                  <a:cubicBezTo>
                    <a:pt x="7323" y="7579"/>
                    <a:pt x="7502" y="6734"/>
                    <a:pt x="7311" y="5912"/>
                  </a:cubicBezTo>
                  <a:cubicBezTo>
                    <a:pt x="7252" y="5698"/>
                    <a:pt x="7168" y="5496"/>
                    <a:pt x="7073" y="5305"/>
                  </a:cubicBezTo>
                  <a:lnTo>
                    <a:pt x="7073" y="5305"/>
                  </a:lnTo>
                  <a:cubicBezTo>
                    <a:pt x="7264" y="5329"/>
                    <a:pt x="7383" y="5329"/>
                    <a:pt x="7395" y="5329"/>
                  </a:cubicBezTo>
                  <a:cubicBezTo>
                    <a:pt x="7466" y="5329"/>
                    <a:pt x="7549" y="5269"/>
                    <a:pt x="7561" y="5198"/>
                  </a:cubicBezTo>
                  <a:cubicBezTo>
                    <a:pt x="7704" y="4436"/>
                    <a:pt x="7264" y="4031"/>
                    <a:pt x="6835" y="3650"/>
                  </a:cubicBezTo>
                  <a:cubicBezTo>
                    <a:pt x="6514" y="3364"/>
                    <a:pt x="6216" y="3103"/>
                    <a:pt x="6097" y="2686"/>
                  </a:cubicBezTo>
                  <a:lnTo>
                    <a:pt x="6097" y="2686"/>
                  </a:lnTo>
                  <a:cubicBezTo>
                    <a:pt x="6180" y="2698"/>
                    <a:pt x="6240" y="2722"/>
                    <a:pt x="6299" y="2757"/>
                  </a:cubicBezTo>
                  <a:cubicBezTo>
                    <a:pt x="6319" y="2763"/>
                    <a:pt x="6339" y="2766"/>
                    <a:pt x="6359" y="2766"/>
                  </a:cubicBezTo>
                  <a:cubicBezTo>
                    <a:pt x="6424" y="2766"/>
                    <a:pt x="6484" y="2735"/>
                    <a:pt x="6502" y="2662"/>
                  </a:cubicBezTo>
                  <a:cubicBezTo>
                    <a:pt x="6537" y="2579"/>
                    <a:pt x="6502" y="2483"/>
                    <a:pt x="6418" y="2460"/>
                  </a:cubicBezTo>
                  <a:cubicBezTo>
                    <a:pt x="6252" y="2400"/>
                    <a:pt x="6085" y="2352"/>
                    <a:pt x="5918" y="2329"/>
                  </a:cubicBezTo>
                  <a:cubicBezTo>
                    <a:pt x="5910" y="2323"/>
                    <a:pt x="5900" y="2321"/>
                    <a:pt x="5890" y="2321"/>
                  </a:cubicBezTo>
                  <a:cubicBezTo>
                    <a:pt x="5856" y="2321"/>
                    <a:pt x="5815" y="2346"/>
                    <a:pt x="5787" y="2364"/>
                  </a:cubicBezTo>
                  <a:cubicBezTo>
                    <a:pt x="5764" y="2400"/>
                    <a:pt x="5728" y="2460"/>
                    <a:pt x="5740" y="2507"/>
                  </a:cubicBezTo>
                  <a:cubicBezTo>
                    <a:pt x="5823" y="3174"/>
                    <a:pt x="6240" y="3555"/>
                    <a:pt x="6621" y="3900"/>
                  </a:cubicBezTo>
                  <a:cubicBezTo>
                    <a:pt x="6990" y="4246"/>
                    <a:pt x="7311" y="4507"/>
                    <a:pt x="7264" y="5008"/>
                  </a:cubicBezTo>
                  <a:cubicBezTo>
                    <a:pt x="6752" y="4960"/>
                    <a:pt x="4990" y="4710"/>
                    <a:pt x="4109" y="3353"/>
                  </a:cubicBezTo>
                  <a:cubicBezTo>
                    <a:pt x="4037" y="3234"/>
                    <a:pt x="3918" y="3162"/>
                    <a:pt x="3763" y="3126"/>
                  </a:cubicBezTo>
                  <a:cubicBezTo>
                    <a:pt x="3735" y="3122"/>
                    <a:pt x="3706" y="3119"/>
                    <a:pt x="3678" y="3119"/>
                  </a:cubicBezTo>
                  <a:cubicBezTo>
                    <a:pt x="3564" y="3119"/>
                    <a:pt x="3454" y="3157"/>
                    <a:pt x="3358" y="3234"/>
                  </a:cubicBezTo>
                  <a:cubicBezTo>
                    <a:pt x="2906" y="3603"/>
                    <a:pt x="1918" y="4293"/>
                    <a:pt x="620" y="4627"/>
                  </a:cubicBezTo>
                  <a:cubicBezTo>
                    <a:pt x="603" y="4633"/>
                    <a:pt x="587" y="4636"/>
                    <a:pt x="571" y="4636"/>
                  </a:cubicBezTo>
                  <a:cubicBezTo>
                    <a:pt x="529" y="4636"/>
                    <a:pt x="491" y="4617"/>
                    <a:pt x="465" y="4591"/>
                  </a:cubicBezTo>
                  <a:cubicBezTo>
                    <a:pt x="418" y="4555"/>
                    <a:pt x="382" y="4496"/>
                    <a:pt x="406" y="4436"/>
                  </a:cubicBezTo>
                  <a:cubicBezTo>
                    <a:pt x="418" y="4174"/>
                    <a:pt x="596" y="3734"/>
                    <a:pt x="1358" y="3174"/>
                  </a:cubicBezTo>
                  <a:cubicBezTo>
                    <a:pt x="1513" y="3055"/>
                    <a:pt x="1620" y="2864"/>
                    <a:pt x="1620" y="2662"/>
                  </a:cubicBezTo>
                  <a:cubicBezTo>
                    <a:pt x="1632" y="2352"/>
                    <a:pt x="1787" y="1745"/>
                    <a:pt x="2692" y="1019"/>
                  </a:cubicBezTo>
                  <a:cubicBezTo>
                    <a:pt x="3224" y="597"/>
                    <a:pt x="4253" y="300"/>
                    <a:pt x="5123" y="300"/>
                  </a:cubicBezTo>
                  <a:close/>
                  <a:moveTo>
                    <a:pt x="5036" y="0"/>
                  </a:moveTo>
                  <a:cubicBezTo>
                    <a:pt x="4094" y="0"/>
                    <a:pt x="3002" y="329"/>
                    <a:pt x="2430" y="781"/>
                  </a:cubicBezTo>
                  <a:cubicBezTo>
                    <a:pt x="1430" y="1579"/>
                    <a:pt x="1251" y="2317"/>
                    <a:pt x="1239" y="2674"/>
                  </a:cubicBezTo>
                  <a:cubicBezTo>
                    <a:pt x="1239" y="2769"/>
                    <a:pt x="1180" y="2864"/>
                    <a:pt x="1084" y="2936"/>
                  </a:cubicBezTo>
                  <a:cubicBezTo>
                    <a:pt x="418" y="3448"/>
                    <a:pt x="49" y="3948"/>
                    <a:pt x="13" y="4436"/>
                  </a:cubicBezTo>
                  <a:cubicBezTo>
                    <a:pt x="1" y="4603"/>
                    <a:pt x="72" y="4758"/>
                    <a:pt x="191" y="4853"/>
                  </a:cubicBezTo>
                  <a:cubicBezTo>
                    <a:pt x="288" y="4932"/>
                    <a:pt x="404" y="4978"/>
                    <a:pt x="525" y="4978"/>
                  </a:cubicBezTo>
                  <a:cubicBezTo>
                    <a:pt x="568" y="4978"/>
                    <a:pt x="612" y="4972"/>
                    <a:pt x="656" y="4960"/>
                  </a:cubicBezTo>
                  <a:cubicBezTo>
                    <a:pt x="703" y="4948"/>
                    <a:pt x="727" y="4948"/>
                    <a:pt x="775" y="4936"/>
                  </a:cubicBezTo>
                  <a:cubicBezTo>
                    <a:pt x="1084" y="5091"/>
                    <a:pt x="1430" y="5174"/>
                    <a:pt x="1775" y="5174"/>
                  </a:cubicBezTo>
                  <a:cubicBezTo>
                    <a:pt x="2335" y="5174"/>
                    <a:pt x="2906" y="4972"/>
                    <a:pt x="3335" y="4734"/>
                  </a:cubicBezTo>
                  <a:cubicBezTo>
                    <a:pt x="3775" y="4484"/>
                    <a:pt x="4073" y="4341"/>
                    <a:pt x="4418" y="4281"/>
                  </a:cubicBezTo>
                  <a:cubicBezTo>
                    <a:pt x="4835" y="4638"/>
                    <a:pt x="5371" y="4912"/>
                    <a:pt x="5978" y="5115"/>
                  </a:cubicBezTo>
                  <a:cubicBezTo>
                    <a:pt x="6204" y="5186"/>
                    <a:pt x="6395" y="5234"/>
                    <a:pt x="6585" y="5258"/>
                  </a:cubicBezTo>
                  <a:cubicBezTo>
                    <a:pt x="6752" y="5484"/>
                    <a:pt x="6859" y="5734"/>
                    <a:pt x="6930" y="6008"/>
                  </a:cubicBezTo>
                  <a:cubicBezTo>
                    <a:pt x="7109" y="6734"/>
                    <a:pt x="6966" y="7472"/>
                    <a:pt x="6502" y="8056"/>
                  </a:cubicBezTo>
                  <a:cubicBezTo>
                    <a:pt x="6049" y="8639"/>
                    <a:pt x="5371" y="8960"/>
                    <a:pt x="4644" y="8960"/>
                  </a:cubicBezTo>
                  <a:cubicBezTo>
                    <a:pt x="4323" y="8960"/>
                    <a:pt x="3954" y="8949"/>
                    <a:pt x="3644" y="8925"/>
                  </a:cubicBezTo>
                  <a:lnTo>
                    <a:pt x="1965" y="7996"/>
                  </a:lnTo>
                  <a:cubicBezTo>
                    <a:pt x="1939" y="7985"/>
                    <a:pt x="1907" y="7979"/>
                    <a:pt x="1877" y="7979"/>
                  </a:cubicBezTo>
                  <a:cubicBezTo>
                    <a:pt x="1841" y="7979"/>
                    <a:pt x="1807" y="7988"/>
                    <a:pt x="1787" y="8008"/>
                  </a:cubicBezTo>
                  <a:cubicBezTo>
                    <a:pt x="1739" y="8056"/>
                    <a:pt x="1704" y="8115"/>
                    <a:pt x="1727" y="8175"/>
                  </a:cubicBezTo>
                  <a:cubicBezTo>
                    <a:pt x="1739" y="8210"/>
                    <a:pt x="1965" y="9044"/>
                    <a:pt x="2573" y="9532"/>
                  </a:cubicBezTo>
                  <a:lnTo>
                    <a:pt x="2573" y="9544"/>
                  </a:lnTo>
                  <a:cubicBezTo>
                    <a:pt x="1965" y="10139"/>
                    <a:pt x="1739" y="10830"/>
                    <a:pt x="1727" y="10853"/>
                  </a:cubicBezTo>
                  <a:cubicBezTo>
                    <a:pt x="1704" y="10913"/>
                    <a:pt x="1727" y="10984"/>
                    <a:pt x="1763" y="11032"/>
                  </a:cubicBezTo>
                  <a:cubicBezTo>
                    <a:pt x="1799" y="11068"/>
                    <a:pt x="1823" y="11080"/>
                    <a:pt x="1870" y="11080"/>
                  </a:cubicBezTo>
                  <a:cubicBezTo>
                    <a:pt x="1906" y="11080"/>
                    <a:pt x="1930" y="11080"/>
                    <a:pt x="1942" y="11068"/>
                  </a:cubicBezTo>
                  <a:lnTo>
                    <a:pt x="3787" y="10032"/>
                  </a:lnTo>
                  <a:cubicBezTo>
                    <a:pt x="4204" y="10068"/>
                    <a:pt x="4704" y="10080"/>
                    <a:pt x="4918" y="10080"/>
                  </a:cubicBezTo>
                  <a:cubicBezTo>
                    <a:pt x="5633" y="10080"/>
                    <a:pt x="6323" y="9937"/>
                    <a:pt x="6966" y="9651"/>
                  </a:cubicBezTo>
                  <a:cubicBezTo>
                    <a:pt x="7585" y="9365"/>
                    <a:pt x="8133" y="8984"/>
                    <a:pt x="8597" y="8472"/>
                  </a:cubicBezTo>
                  <a:cubicBezTo>
                    <a:pt x="9062" y="7972"/>
                    <a:pt x="9419" y="7401"/>
                    <a:pt x="9657" y="6758"/>
                  </a:cubicBezTo>
                  <a:cubicBezTo>
                    <a:pt x="9966" y="6079"/>
                    <a:pt x="10062" y="5377"/>
                    <a:pt x="10014" y="4662"/>
                  </a:cubicBezTo>
                  <a:cubicBezTo>
                    <a:pt x="9943" y="3662"/>
                    <a:pt x="9585" y="2733"/>
                    <a:pt x="8954" y="1936"/>
                  </a:cubicBezTo>
                  <a:lnTo>
                    <a:pt x="9514" y="1019"/>
                  </a:lnTo>
                  <a:cubicBezTo>
                    <a:pt x="9597" y="864"/>
                    <a:pt x="9597" y="686"/>
                    <a:pt x="9526" y="543"/>
                  </a:cubicBezTo>
                  <a:cubicBezTo>
                    <a:pt x="9454" y="388"/>
                    <a:pt x="9300" y="269"/>
                    <a:pt x="9133" y="257"/>
                  </a:cubicBezTo>
                  <a:cubicBezTo>
                    <a:pt x="8763" y="208"/>
                    <a:pt x="8430" y="189"/>
                    <a:pt x="8139" y="189"/>
                  </a:cubicBezTo>
                  <a:cubicBezTo>
                    <a:pt x="7372" y="189"/>
                    <a:pt x="6898" y="318"/>
                    <a:pt x="6811" y="352"/>
                  </a:cubicBezTo>
                  <a:cubicBezTo>
                    <a:pt x="6323" y="150"/>
                    <a:pt x="5799" y="31"/>
                    <a:pt x="5263" y="7"/>
                  </a:cubicBezTo>
                  <a:cubicBezTo>
                    <a:pt x="5189" y="2"/>
                    <a:pt x="5113" y="0"/>
                    <a:pt x="50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5" name="Google Shape;12965;p63"/>
            <p:cNvSpPr/>
            <p:nvPr/>
          </p:nvSpPr>
          <p:spPr>
            <a:xfrm>
              <a:off x="5360717" y="2479826"/>
              <a:ext cx="32416" cy="38144"/>
            </a:xfrm>
            <a:custGeom>
              <a:avLst/>
              <a:gdLst/>
              <a:ahLst/>
              <a:cxnLst/>
              <a:rect l="l" t="t" r="r" b="b"/>
              <a:pathLst>
                <a:path w="1013" h="1192" extrusionOk="0">
                  <a:moveTo>
                    <a:pt x="512" y="322"/>
                  </a:moveTo>
                  <a:cubicBezTo>
                    <a:pt x="596" y="322"/>
                    <a:pt x="691" y="417"/>
                    <a:pt x="691" y="500"/>
                  </a:cubicBezTo>
                  <a:lnTo>
                    <a:pt x="691" y="679"/>
                  </a:lnTo>
                  <a:cubicBezTo>
                    <a:pt x="691" y="786"/>
                    <a:pt x="596" y="858"/>
                    <a:pt x="512" y="858"/>
                  </a:cubicBezTo>
                  <a:cubicBezTo>
                    <a:pt x="417" y="858"/>
                    <a:pt x="322" y="762"/>
                    <a:pt x="322" y="679"/>
                  </a:cubicBezTo>
                  <a:lnTo>
                    <a:pt x="322" y="500"/>
                  </a:lnTo>
                  <a:cubicBezTo>
                    <a:pt x="322" y="393"/>
                    <a:pt x="417" y="322"/>
                    <a:pt x="512" y="322"/>
                  </a:cubicBezTo>
                  <a:close/>
                  <a:moveTo>
                    <a:pt x="512" y="0"/>
                  </a:moveTo>
                  <a:cubicBezTo>
                    <a:pt x="227" y="0"/>
                    <a:pt x="0" y="215"/>
                    <a:pt x="0" y="500"/>
                  </a:cubicBezTo>
                  <a:lnTo>
                    <a:pt x="0" y="679"/>
                  </a:lnTo>
                  <a:cubicBezTo>
                    <a:pt x="0" y="965"/>
                    <a:pt x="227" y="1191"/>
                    <a:pt x="512" y="1191"/>
                  </a:cubicBezTo>
                  <a:cubicBezTo>
                    <a:pt x="786" y="1191"/>
                    <a:pt x="1012" y="965"/>
                    <a:pt x="1012" y="679"/>
                  </a:cubicBezTo>
                  <a:lnTo>
                    <a:pt x="1012" y="500"/>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66" name="Google Shape;12966;p63"/>
          <p:cNvGrpSpPr/>
          <p:nvPr/>
        </p:nvGrpSpPr>
        <p:grpSpPr>
          <a:xfrm>
            <a:off x="4150669" y="2466770"/>
            <a:ext cx="355104" cy="259584"/>
            <a:chOff x="4150669" y="2466770"/>
            <a:chExt cx="355104" cy="259584"/>
          </a:xfrm>
        </p:grpSpPr>
        <p:sp>
          <p:nvSpPr>
            <p:cNvPr id="12967" name="Google Shape;12967;p63"/>
            <p:cNvSpPr/>
            <p:nvPr/>
          </p:nvSpPr>
          <p:spPr>
            <a:xfrm>
              <a:off x="4150669" y="2466770"/>
              <a:ext cx="355104" cy="259584"/>
            </a:xfrm>
            <a:custGeom>
              <a:avLst/>
              <a:gdLst/>
              <a:ahLst/>
              <a:cxnLst/>
              <a:rect l="l" t="t" r="r" b="b"/>
              <a:pathLst>
                <a:path w="11097" h="8112" extrusionOk="0">
                  <a:moveTo>
                    <a:pt x="4060" y="349"/>
                  </a:moveTo>
                  <a:cubicBezTo>
                    <a:pt x="5489" y="718"/>
                    <a:pt x="6632" y="1504"/>
                    <a:pt x="7382" y="2266"/>
                  </a:cubicBezTo>
                  <a:cubicBezTo>
                    <a:pt x="6965" y="2051"/>
                    <a:pt x="6560" y="1897"/>
                    <a:pt x="6263" y="1766"/>
                  </a:cubicBezTo>
                  <a:cubicBezTo>
                    <a:pt x="5322" y="1420"/>
                    <a:pt x="4298" y="1170"/>
                    <a:pt x="3560" y="1123"/>
                  </a:cubicBezTo>
                  <a:lnTo>
                    <a:pt x="4060" y="349"/>
                  </a:lnTo>
                  <a:close/>
                  <a:moveTo>
                    <a:pt x="3322" y="1397"/>
                  </a:moveTo>
                  <a:cubicBezTo>
                    <a:pt x="4036" y="1409"/>
                    <a:pt x="5144" y="1647"/>
                    <a:pt x="6144" y="2040"/>
                  </a:cubicBezTo>
                  <a:cubicBezTo>
                    <a:pt x="7370" y="2504"/>
                    <a:pt x="8275" y="3052"/>
                    <a:pt x="8704" y="3635"/>
                  </a:cubicBezTo>
                  <a:cubicBezTo>
                    <a:pt x="8737" y="3676"/>
                    <a:pt x="8783" y="3697"/>
                    <a:pt x="8829" y="3697"/>
                  </a:cubicBezTo>
                  <a:cubicBezTo>
                    <a:pt x="8864" y="3697"/>
                    <a:pt x="8899" y="3685"/>
                    <a:pt x="8930" y="3659"/>
                  </a:cubicBezTo>
                  <a:cubicBezTo>
                    <a:pt x="9001" y="3599"/>
                    <a:pt x="9013" y="3516"/>
                    <a:pt x="8954" y="3433"/>
                  </a:cubicBezTo>
                  <a:cubicBezTo>
                    <a:pt x="8930" y="3397"/>
                    <a:pt x="8882" y="3349"/>
                    <a:pt x="8858" y="3314"/>
                  </a:cubicBezTo>
                  <a:cubicBezTo>
                    <a:pt x="9668" y="3004"/>
                    <a:pt x="10240" y="2480"/>
                    <a:pt x="10597" y="2087"/>
                  </a:cubicBezTo>
                  <a:lnTo>
                    <a:pt x="10597" y="2087"/>
                  </a:lnTo>
                  <a:lnTo>
                    <a:pt x="10251" y="3956"/>
                  </a:lnTo>
                  <a:cubicBezTo>
                    <a:pt x="10204" y="4230"/>
                    <a:pt x="10204" y="4504"/>
                    <a:pt x="10251" y="4778"/>
                  </a:cubicBezTo>
                  <a:lnTo>
                    <a:pt x="10597" y="6647"/>
                  </a:lnTo>
                  <a:cubicBezTo>
                    <a:pt x="10251" y="6266"/>
                    <a:pt x="9692" y="5742"/>
                    <a:pt x="8870" y="5433"/>
                  </a:cubicBezTo>
                  <a:cubicBezTo>
                    <a:pt x="9132" y="5123"/>
                    <a:pt x="9335" y="4766"/>
                    <a:pt x="9335" y="4373"/>
                  </a:cubicBezTo>
                  <a:cubicBezTo>
                    <a:pt x="9335" y="4302"/>
                    <a:pt x="9311" y="4207"/>
                    <a:pt x="9299" y="4135"/>
                  </a:cubicBezTo>
                  <a:cubicBezTo>
                    <a:pt x="9288" y="4059"/>
                    <a:pt x="9207" y="4003"/>
                    <a:pt x="9130" y="4003"/>
                  </a:cubicBezTo>
                  <a:cubicBezTo>
                    <a:pt x="9123" y="4003"/>
                    <a:pt x="9116" y="4003"/>
                    <a:pt x="9108" y="4004"/>
                  </a:cubicBezTo>
                  <a:cubicBezTo>
                    <a:pt x="9013" y="4016"/>
                    <a:pt x="8954" y="4111"/>
                    <a:pt x="8977" y="4195"/>
                  </a:cubicBezTo>
                  <a:cubicBezTo>
                    <a:pt x="8989" y="4254"/>
                    <a:pt x="8989" y="4314"/>
                    <a:pt x="8989" y="4373"/>
                  </a:cubicBezTo>
                  <a:cubicBezTo>
                    <a:pt x="8989" y="4730"/>
                    <a:pt x="8775" y="5099"/>
                    <a:pt x="8358" y="5469"/>
                  </a:cubicBezTo>
                  <a:cubicBezTo>
                    <a:pt x="7989" y="5802"/>
                    <a:pt x="7442" y="6135"/>
                    <a:pt x="6787" y="6433"/>
                  </a:cubicBezTo>
                  <a:cubicBezTo>
                    <a:pt x="5620" y="6957"/>
                    <a:pt x="4215" y="7302"/>
                    <a:pt x="3322" y="7326"/>
                  </a:cubicBezTo>
                  <a:cubicBezTo>
                    <a:pt x="4155" y="6576"/>
                    <a:pt x="4644" y="5492"/>
                    <a:pt x="4644" y="4361"/>
                  </a:cubicBezTo>
                  <a:cubicBezTo>
                    <a:pt x="4644" y="4004"/>
                    <a:pt x="4596" y="3647"/>
                    <a:pt x="4513" y="3302"/>
                  </a:cubicBezTo>
                  <a:cubicBezTo>
                    <a:pt x="4481" y="3227"/>
                    <a:pt x="4410" y="3181"/>
                    <a:pt x="4336" y="3181"/>
                  </a:cubicBezTo>
                  <a:cubicBezTo>
                    <a:pt x="4327" y="3181"/>
                    <a:pt x="4319" y="3181"/>
                    <a:pt x="4310" y="3183"/>
                  </a:cubicBezTo>
                  <a:cubicBezTo>
                    <a:pt x="4227" y="3218"/>
                    <a:pt x="4179" y="3302"/>
                    <a:pt x="4191" y="3385"/>
                  </a:cubicBezTo>
                  <a:cubicBezTo>
                    <a:pt x="4286" y="3695"/>
                    <a:pt x="4334" y="4016"/>
                    <a:pt x="4334" y="4349"/>
                  </a:cubicBezTo>
                  <a:cubicBezTo>
                    <a:pt x="4334" y="5504"/>
                    <a:pt x="3774" y="6600"/>
                    <a:pt x="2858" y="7278"/>
                  </a:cubicBezTo>
                  <a:cubicBezTo>
                    <a:pt x="2096" y="7183"/>
                    <a:pt x="1512" y="6862"/>
                    <a:pt x="1096" y="6290"/>
                  </a:cubicBezTo>
                  <a:cubicBezTo>
                    <a:pt x="857" y="5957"/>
                    <a:pt x="738" y="5623"/>
                    <a:pt x="679" y="5433"/>
                  </a:cubicBezTo>
                  <a:cubicBezTo>
                    <a:pt x="1072" y="5338"/>
                    <a:pt x="1500" y="5099"/>
                    <a:pt x="1727" y="4718"/>
                  </a:cubicBezTo>
                  <a:cubicBezTo>
                    <a:pt x="1750" y="4718"/>
                    <a:pt x="1786" y="4707"/>
                    <a:pt x="1810" y="4707"/>
                  </a:cubicBezTo>
                  <a:cubicBezTo>
                    <a:pt x="1905" y="4683"/>
                    <a:pt x="1965" y="4599"/>
                    <a:pt x="1953" y="4504"/>
                  </a:cubicBezTo>
                  <a:cubicBezTo>
                    <a:pt x="1931" y="4428"/>
                    <a:pt x="1859" y="4372"/>
                    <a:pt x="1775" y="4372"/>
                  </a:cubicBezTo>
                  <a:cubicBezTo>
                    <a:pt x="1767" y="4372"/>
                    <a:pt x="1759" y="4372"/>
                    <a:pt x="1750" y="4373"/>
                  </a:cubicBezTo>
                  <a:cubicBezTo>
                    <a:pt x="1571" y="4402"/>
                    <a:pt x="1406" y="4413"/>
                    <a:pt x="1255" y="4413"/>
                  </a:cubicBezTo>
                  <a:cubicBezTo>
                    <a:pt x="775" y="4413"/>
                    <a:pt x="446" y="4297"/>
                    <a:pt x="310" y="4242"/>
                  </a:cubicBezTo>
                  <a:cubicBezTo>
                    <a:pt x="357" y="2802"/>
                    <a:pt x="1441" y="1611"/>
                    <a:pt x="2846" y="1409"/>
                  </a:cubicBezTo>
                  <a:cubicBezTo>
                    <a:pt x="3036" y="1551"/>
                    <a:pt x="3203" y="1706"/>
                    <a:pt x="3358" y="1885"/>
                  </a:cubicBezTo>
                  <a:cubicBezTo>
                    <a:pt x="3393" y="1921"/>
                    <a:pt x="3441" y="1944"/>
                    <a:pt x="3477" y="1944"/>
                  </a:cubicBezTo>
                  <a:cubicBezTo>
                    <a:pt x="3524" y="1944"/>
                    <a:pt x="3560" y="1932"/>
                    <a:pt x="3584" y="1909"/>
                  </a:cubicBezTo>
                  <a:cubicBezTo>
                    <a:pt x="3643" y="1849"/>
                    <a:pt x="3655" y="1742"/>
                    <a:pt x="3596" y="1682"/>
                  </a:cubicBezTo>
                  <a:cubicBezTo>
                    <a:pt x="3512" y="1575"/>
                    <a:pt x="3417" y="1492"/>
                    <a:pt x="3322" y="1397"/>
                  </a:cubicBezTo>
                  <a:close/>
                  <a:moveTo>
                    <a:pt x="6489" y="6933"/>
                  </a:moveTo>
                  <a:cubicBezTo>
                    <a:pt x="6489" y="7278"/>
                    <a:pt x="6608" y="7576"/>
                    <a:pt x="6691" y="7766"/>
                  </a:cubicBezTo>
                  <a:cubicBezTo>
                    <a:pt x="6546" y="7784"/>
                    <a:pt x="6400" y="7792"/>
                    <a:pt x="6256" y="7792"/>
                  </a:cubicBezTo>
                  <a:cubicBezTo>
                    <a:pt x="5624" y="7792"/>
                    <a:pt x="5025" y="7640"/>
                    <a:pt x="4608" y="7505"/>
                  </a:cubicBezTo>
                  <a:cubicBezTo>
                    <a:pt x="5227" y="7374"/>
                    <a:pt x="5882" y="7171"/>
                    <a:pt x="6489" y="6933"/>
                  </a:cubicBezTo>
                  <a:close/>
                  <a:moveTo>
                    <a:pt x="4030" y="1"/>
                  </a:moveTo>
                  <a:cubicBezTo>
                    <a:pt x="3977" y="1"/>
                    <a:pt x="3921" y="25"/>
                    <a:pt x="3882" y="75"/>
                  </a:cubicBezTo>
                  <a:lnTo>
                    <a:pt x="3203" y="1123"/>
                  </a:lnTo>
                  <a:cubicBezTo>
                    <a:pt x="1429" y="1159"/>
                    <a:pt x="0" y="2623"/>
                    <a:pt x="0" y="4397"/>
                  </a:cubicBezTo>
                  <a:cubicBezTo>
                    <a:pt x="0" y="4457"/>
                    <a:pt x="24" y="4492"/>
                    <a:pt x="72" y="4528"/>
                  </a:cubicBezTo>
                  <a:cubicBezTo>
                    <a:pt x="83" y="4540"/>
                    <a:pt x="524" y="4790"/>
                    <a:pt x="1250" y="4790"/>
                  </a:cubicBezTo>
                  <a:lnTo>
                    <a:pt x="1274" y="4790"/>
                  </a:lnTo>
                  <a:cubicBezTo>
                    <a:pt x="1060" y="5016"/>
                    <a:pt x="726" y="5147"/>
                    <a:pt x="464" y="5183"/>
                  </a:cubicBezTo>
                  <a:cubicBezTo>
                    <a:pt x="417" y="5183"/>
                    <a:pt x="369" y="5207"/>
                    <a:pt x="357" y="5242"/>
                  </a:cubicBezTo>
                  <a:cubicBezTo>
                    <a:pt x="322" y="5266"/>
                    <a:pt x="310" y="5314"/>
                    <a:pt x="322" y="5361"/>
                  </a:cubicBezTo>
                  <a:cubicBezTo>
                    <a:pt x="322" y="5385"/>
                    <a:pt x="417" y="5945"/>
                    <a:pt x="834" y="6516"/>
                  </a:cubicBezTo>
                  <a:cubicBezTo>
                    <a:pt x="1203" y="7040"/>
                    <a:pt x="1953" y="7671"/>
                    <a:pt x="3286" y="7671"/>
                  </a:cubicBezTo>
                  <a:cubicBezTo>
                    <a:pt x="3512" y="7671"/>
                    <a:pt x="3751" y="7647"/>
                    <a:pt x="4013" y="7612"/>
                  </a:cubicBezTo>
                  <a:cubicBezTo>
                    <a:pt x="4203" y="7695"/>
                    <a:pt x="5179" y="8112"/>
                    <a:pt x="6251" y="8112"/>
                  </a:cubicBezTo>
                  <a:cubicBezTo>
                    <a:pt x="6489" y="8112"/>
                    <a:pt x="6739" y="8100"/>
                    <a:pt x="6977" y="8040"/>
                  </a:cubicBezTo>
                  <a:cubicBezTo>
                    <a:pt x="7025" y="8028"/>
                    <a:pt x="7072" y="7993"/>
                    <a:pt x="7096" y="7945"/>
                  </a:cubicBezTo>
                  <a:cubicBezTo>
                    <a:pt x="7108" y="7909"/>
                    <a:pt x="7108" y="7850"/>
                    <a:pt x="7084" y="7802"/>
                  </a:cubicBezTo>
                  <a:cubicBezTo>
                    <a:pt x="7084" y="7802"/>
                    <a:pt x="6787" y="7314"/>
                    <a:pt x="6822" y="6790"/>
                  </a:cubicBezTo>
                  <a:cubicBezTo>
                    <a:pt x="6870" y="6778"/>
                    <a:pt x="6906" y="6754"/>
                    <a:pt x="6941" y="6743"/>
                  </a:cubicBezTo>
                  <a:cubicBezTo>
                    <a:pt x="7442" y="6516"/>
                    <a:pt x="8120" y="6159"/>
                    <a:pt x="8632" y="5707"/>
                  </a:cubicBezTo>
                  <a:cubicBezTo>
                    <a:pt x="10073" y="6183"/>
                    <a:pt x="10751" y="7433"/>
                    <a:pt x="10775" y="7445"/>
                  </a:cubicBezTo>
                  <a:cubicBezTo>
                    <a:pt x="10799" y="7505"/>
                    <a:pt x="10859" y="7528"/>
                    <a:pt x="10918" y="7528"/>
                  </a:cubicBezTo>
                  <a:cubicBezTo>
                    <a:pt x="10930" y="7528"/>
                    <a:pt x="10954" y="7528"/>
                    <a:pt x="10978" y="7516"/>
                  </a:cubicBezTo>
                  <a:cubicBezTo>
                    <a:pt x="11049" y="7493"/>
                    <a:pt x="11097" y="7409"/>
                    <a:pt x="11085" y="7338"/>
                  </a:cubicBezTo>
                  <a:lnTo>
                    <a:pt x="10597" y="4754"/>
                  </a:lnTo>
                  <a:cubicBezTo>
                    <a:pt x="10561" y="4516"/>
                    <a:pt x="10561" y="4278"/>
                    <a:pt x="10597" y="4040"/>
                  </a:cubicBezTo>
                  <a:lnTo>
                    <a:pt x="11061" y="1444"/>
                  </a:lnTo>
                  <a:cubicBezTo>
                    <a:pt x="11073" y="1373"/>
                    <a:pt x="11025" y="1301"/>
                    <a:pt x="10954" y="1266"/>
                  </a:cubicBezTo>
                  <a:cubicBezTo>
                    <a:pt x="10936" y="1260"/>
                    <a:pt x="10917" y="1257"/>
                    <a:pt x="10897" y="1257"/>
                  </a:cubicBezTo>
                  <a:cubicBezTo>
                    <a:pt x="10839" y="1257"/>
                    <a:pt x="10781" y="1284"/>
                    <a:pt x="10763" y="1337"/>
                  </a:cubicBezTo>
                  <a:cubicBezTo>
                    <a:pt x="10763" y="1361"/>
                    <a:pt x="10073" y="2611"/>
                    <a:pt x="8632" y="3087"/>
                  </a:cubicBezTo>
                  <a:cubicBezTo>
                    <a:pt x="8525" y="2980"/>
                    <a:pt x="8406" y="2885"/>
                    <a:pt x="8287" y="2802"/>
                  </a:cubicBezTo>
                  <a:cubicBezTo>
                    <a:pt x="8120" y="2563"/>
                    <a:pt x="7644" y="1956"/>
                    <a:pt x="6834" y="1325"/>
                  </a:cubicBezTo>
                  <a:cubicBezTo>
                    <a:pt x="6001" y="682"/>
                    <a:pt x="5060" y="242"/>
                    <a:pt x="4060" y="4"/>
                  </a:cubicBezTo>
                  <a:cubicBezTo>
                    <a:pt x="4050" y="2"/>
                    <a:pt x="4040" y="1"/>
                    <a:pt x="40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8" name="Google Shape;12968;p63"/>
            <p:cNvSpPr/>
            <p:nvPr/>
          </p:nvSpPr>
          <p:spPr>
            <a:xfrm>
              <a:off x="4270285" y="2538098"/>
              <a:ext cx="17184" cy="19872"/>
            </a:xfrm>
            <a:custGeom>
              <a:avLst/>
              <a:gdLst/>
              <a:ahLst/>
              <a:cxnLst/>
              <a:rect l="l" t="t" r="r" b="b"/>
              <a:pathLst>
                <a:path w="537" h="621" extrusionOk="0">
                  <a:moveTo>
                    <a:pt x="184" y="1"/>
                  </a:moveTo>
                  <a:cubicBezTo>
                    <a:pt x="155" y="1"/>
                    <a:pt x="125" y="9"/>
                    <a:pt x="96" y="25"/>
                  </a:cubicBezTo>
                  <a:cubicBezTo>
                    <a:pt x="25" y="61"/>
                    <a:pt x="1" y="168"/>
                    <a:pt x="36" y="239"/>
                  </a:cubicBezTo>
                  <a:cubicBezTo>
                    <a:pt x="96" y="334"/>
                    <a:pt x="144" y="418"/>
                    <a:pt x="191" y="525"/>
                  </a:cubicBezTo>
                  <a:cubicBezTo>
                    <a:pt x="215" y="584"/>
                    <a:pt x="275" y="620"/>
                    <a:pt x="334" y="620"/>
                  </a:cubicBezTo>
                  <a:cubicBezTo>
                    <a:pt x="370" y="620"/>
                    <a:pt x="382" y="620"/>
                    <a:pt x="417" y="596"/>
                  </a:cubicBezTo>
                  <a:cubicBezTo>
                    <a:pt x="489" y="561"/>
                    <a:pt x="536" y="454"/>
                    <a:pt x="489" y="382"/>
                  </a:cubicBezTo>
                  <a:cubicBezTo>
                    <a:pt x="441" y="275"/>
                    <a:pt x="382" y="168"/>
                    <a:pt x="322" y="84"/>
                  </a:cubicBezTo>
                  <a:cubicBezTo>
                    <a:pt x="291" y="30"/>
                    <a:pt x="239"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9" name="Google Shape;12969;p63"/>
            <p:cNvSpPr/>
            <p:nvPr/>
          </p:nvSpPr>
          <p:spPr>
            <a:xfrm>
              <a:off x="4183437" y="2557170"/>
              <a:ext cx="32416" cy="38144"/>
            </a:xfrm>
            <a:custGeom>
              <a:avLst/>
              <a:gdLst/>
              <a:ahLst/>
              <a:cxnLst/>
              <a:rect l="l" t="t" r="r" b="b"/>
              <a:pathLst>
                <a:path w="1013" h="1192" extrusionOk="0">
                  <a:moveTo>
                    <a:pt x="500" y="334"/>
                  </a:moveTo>
                  <a:cubicBezTo>
                    <a:pt x="607" y="334"/>
                    <a:pt x="691" y="417"/>
                    <a:pt x="691" y="512"/>
                  </a:cubicBezTo>
                  <a:lnTo>
                    <a:pt x="691" y="691"/>
                  </a:lnTo>
                  <a:cubicBezTo>
                    <a:pt x="691" y="798"/>
                    <a:pt x="595" y="870"/>
                    <a:pt x="500" y="870"/>
                  </a:cubicBezTo>
                  <a:cubicBezTo>
                    <a:pt x="405" y="870"/>
                    <a:pt x="322" y="774"/>
                    <a:pt x="322" y="691"/>
                  </a:cubicBezTo>
                  <a:lnTo>
                    <a:pt x="322" y="512"/>
                  </a:lnTo>
                  <a:cubicBezTo>
                    <a:pt x="322" y="405"/>
                    <a:pt x="417" y="334"/>
                    <a:pt x="500" y="334"/>
                  </a:cubicBezTo>
                  <a:close/>
                  <a:moveTo>
                    <a:pt x="512" y="0"/>
                  </a:moveTo>
                  <a:cubicBezTo>
                    <a:pt x="226" y="0"/>
                    <a:pt x="0" y="227"/>
                    <a:pt x="0" y="512"/>
                  </a:cubicBezTo>
                  <a:lnTo>
                    <a:pt x="0" y="691"/>
                  </a:lnTo>
                  <a:cubicBezTo>
                    <a:pt x="0" y="965"/>
                    <a:pt x="226" y="1191"/>
                    <a:pt x="512" y="1191"/>
                  </a:cubicBezTo>
                  <a:cubicBezTo>
                    <a:pt x="786" y="1191"/>
                    <a:pt x="1012" y="965"/>
                    <a:pt x="1012" y="691"/>
                  </a:cubicBezTo>
                  <a:lnTo>
                    <a:pt x="1012" y="512"/>
                  </a:lnTo>
                  <a:cubicBezTo>
                    <a:pt x="1012" y="239"/>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0" name="Google Shape;12970;p63"/>
            <p:cNvSpPr/>
            <p:nvPr/>
          </p:nvSpPr>
          <p:spPr>
            <a:xfrm>
              <a:off x="4309901" y="2589490"/>
              <a:ext cx="82720" cy="60672"/>
            </a:xfrm>
            <a:custGeom>
              <a:avLst/>
              <a:gdLst/>
              <a:ahLst/>
              <a:cxnLst/>
              <a:rect l="l" t="t" r="r" b="b"/>
              <a:pathLst>
                <a:path w="2585" h="1896" extrusionOk="0">
                  <a:moveTo>
                    <a:pt x="1005" y="1"/>
                  </a:moveTo>
                  <a:cubicBezTo>
                    <a:pt x="911" y="1"/>
                    <a:pt x="851" y="2"/>
                    <a:pt x="846" y="2"/>
                  </a:cubicBezTo>
                  <a:cubicBezTo>
                    <a:pt x="751" y="2"/>
                    <a:pt x="680" y="86"/>
                    <a:pt x="680" y="169"/>
                  </a:cubicBezTo>
                  <a:cubicBezTo>
                    <a:pt x="680" y="264"/>
                    <a:pt x="751" y="336"/>
                    <a:pt x="846" y="336"/>
                  </a:cubicBezTo>
                  <a:cubicBezTo>
                    <a:pt x="899" y="335"/>
                    <a:pt x="953" y="334"/>
                    <a:pt x="1006" y="334"/>
                  </a:cubicBezTo>
                  <a:cubicBezTo>
                    <a:pt x="1570" y="334"/>
                    <a:pt x="2108" y="391"/>
                    <a:pt x="2227" y="467"/>
                  </a:cubicBezTo>
                  <a:cubicBezTo>
                    <a:pt x="2204" y="514"/>
                    <a:pt x="2180" y="633"/>
                    <a:pt x="2120" y="764"/>
                  </a:cubicBezTo>
                  <a:lnTo>
                    <a:pt x="1465" y="657"/>
                  </a:lnTo>
                  <a:cubicBezTo>
                    <a:pt x="1457" y="656"/>
                    <a:pt x="1449" y="656"/>
                    <a:pt x="1441" y="656"/>
                  </a:cubicBezTo>
                  <a:cubicBezTo>
                    <a:pt x="1357" y="656"/>
                    <a:pt x="1287" y="713"/>
                    <a:pt x="1287" y="800"/>
                  </a:cubicBezTo>
                  <a:cubicBezTo>
                    <a:pt x="1275" y="883"/>
                    <a:pt x="1334" y="979"/>
                    <a:pt x="1418" y="979"/>
                  </a:cubicBezTo>
                  <a:lnTo>
                    <a:pt x="1954" y="1062"/>
                  </a:lnTo>
                  <a:cubicBezTo>
                    <a:pt x="1763" y="1372"/>
                    <a:pt x="1584" y="1550"/>
                    <a:pt x="1489" y="1574"/>
                  </a:cubicBezTo>
                  <a:cubicBezTo>
                    <a:pt x="1476" y="1578"/>
                    <a:pt x="1462" y="1580"/>
                    <a:pt x="1445" y="1580"/>
                  </a:cubicBezTo>
                  <a:cubicBezTo>
                    <a:pt x="1220" y="1580"/>
                    <a:pt x="687" y="1209"/>
                    <a:pt x="299" y="776"/>
                  </a:cubicBezTo>
                  <a:cubicBezTo>
                    <a:pt x="267" y="739"/>
                    <a:pt x="227" y="721"/>
                    <a:pt x="186" y="721"/>
                  </a:cubicBezTo>
                  <a:cubicBezTo>
                    <a:pt x="149" y="721"/>
                    <a:pt x="113" y="736"/>
                    <a:pt x="84" y="764"/>
                  </a:cubicBezTo>
                  <a:cubicBezTo>
                    <a:pt x="25" y="824"/>
                    <a:pt x="1" y="931"/>
                    <a:pt x="60" y="991"/>
                  </a:cubicBezTo>
                  <a:cubicBezTo>
                    <a:pt x="275" y="1205"/>
                    <a:pt x="537" y="1455"/>
                    <a:pt x="775" y="1634"/>
                  </a:cubicBezTo>
                  <a:cubicBezTo>
                    <a:pt x="1049" y="1800"/>
                    <a:pt x="1275" y="1896"/>
                    <a:pt x="1454" y="1896"/>
                  </a:cubicBezTo>
                  <a:cubicBezTo>
                    <a:pt x="1489" y="1896"/>
                    <a:pt x="1549" y="1896"/>
                    <a:pt x="1596" y="1884"/>
                  </a:cubicBezTo>
                  <a:cubicBezTo>
                    <a:pt x="1751" y="1836"/>
                    <a:pt x="1930" y="1669"/>
                    <a:pt x="2108" y="1407"/>
                  </a:cubicBezTo>
                  <a:cubicBezTo>
                    <a:pt x="2251" y="1193"/>
                    <a:pt x="2382" y="943"/>
                    <a:pt x="2477" y="741"/>
                  </a:cubicBezTo>
                  <a:cubicBezTo>
                    <a:pt x="2573" y="526"/>
                    <a:pt x="2585" y="395"/>
                    <a:pt x="2537" y="300"/>
                  </a:cubicBezTo>
                  <a:cubicBezTo>
                    <a:pt x="2454" y="145"/>
                    <a:pt x="2180" y="50"/>
                    <a:pt x="1584" y="26"/>
                  </a:cubicBezTo>
                  <a:cubicBezTo>
                    <a:pt x="1363" y="5"/>
                    <a:pt x="1146" y="1"/>
                    <a:pt x="100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71" name="Google Shape;12971;p63"/>
          <p:cNvGrpSpPr/>
          <p:nvPr/>
        </p:nvGrpSpPr>
        <p:grpSpPr>
          <a:xfrm>
            <a:off x="4699693" y="2424946"/>
            <a:ext cx="354336" cy="353984"/>
            <a:chOff x="4699693" y="2424946"/>
            <a:chExt cx="354336" cy="353984"/>
          </a:xfrm>
        </p:grpSpPr>
        <p:sp>
          <p:nvSpPr>
            <p:cNvPr id="12972" name="Google Shape;12972;p63"/>
            <p:cNvSpPr/>
            <p:nvPr/>
          </p:nvSpPr>
          <p:spPr>
            <a:xfrm>
              <a:off x="4699693" y="2424946"/>
              <a:ext cx="354336" cy="353984"/>
            </a:xfrm>
            <a:custGeom>
              <a:avLst/>
              <a:gdLst/>
              <a:ahLst/>
              <a:cxnLst/>
              <a:rect l="l" t="t" r="r" b="b"/>
              <a:pathLst>
                <a:path w="11073" h="11062" extrusionOk="0">
                  <a:moveTo>
                    <a:pt x="8144" y="358"/>
                  </a:moveTo>
                  <a:lnTo>
                    <a:pt x="8144" y="358"/>
                  </a:lnTo>
                  <a:cubicBezTo>
                    <a:pt x="7751" y="715"/>
                    <a:pt x="7191" y="1311"/>
                    <a:pt x="6977" y="1965"/>
                  </a:cubicBezTo>
                  <a:cubicBezTo>
                    <a:pt x="6429" y="1680"/>
                    <a:pt x="5822" y="1537"/>
                    <a:pt x="5179" y="1537"/>
                  </a:cubicBezTo>
                  <a:cubicBezTo>
                    <a:pt x="4917" y="1537"/>
                    <a:pt x="4643" y="1549"/>
                    <a:pt x="4393" y="1573"/>
                  </a:cubicBezTo>
                  <a:cubicBezTo>
                    <a:pt x="5286" y="1084"/>
                    <a:pt x="6239" y="775"/>
                    <a:pt x="6941" y="596"/>
                  </a:cubicBezTo>
                  <a:cubicBezTo>
                    <a:pt x="7418" y="477"/>
                    <a:pt x="7834" y="406"/>
                    <a:pt x="8144" y="358"/>
                  </a:cubicBezTo>
                  <a:close/>
                  <a:moveTo>
                    <a:pt x="8263" y="3585"/>
                  </a:moveTo>
                  <a:cubicBezTo>
                    <a:pt x="8442" y="3870"/>
                    <a:pt x="8573" y="4168"/>
                    <a:pt x="8680" y="4478"/>
                  </a:cubicBezTo>
                  <a:cubicBezTo>
                    <a:pt x="8727" y="4609"/>
                    <a:pt x="8811" y="4728"/>
                    <a:pt x="8942" y="4787"/>
                  </a:cubicBezTo>
                  <a:cubicBezTo>
                    <a:pt x="9013" y="4817"/>
                    <a:pt x="9085" y="4832"/>
                    <a:pt x="9154" y="4832"/>
                  </a:cubicBezTo>
                  <a:cubicBezTo>
                    <a:pt x="9224" y="4832"/>
                    <a:pt x="9293" y="4817"/>
                    <a:pt x="9358" y="4787"/>
                  </a:cubicBezTo>
                  <a:lnTo>
                    <a:pt x="10632" y="4251"/>
                  </a:lnTo>
                  <a:lnTo>
                    <a:pt x="10632" y="4251"/>
                  </a:lnTo>
                  <a:lnTo>
                    <a:pt x="10311" y="5192"/>
                  </a:lnTo>
                  <a:cubicBezTo>
                    <a:pt x="10239" y="5406"/>
                    <a:pt x="10239" y="5644"/>
                    <a:pt x="10311" y="5847"/>
                  </a:cubicBezTo>
                  <a:lnTo>
                    <a:pt x="10632" y="6787"/>
                  </a:lnTo>
                  <a:lnTo>
                    <a:pt x="9358" y="6252"/>
                  </a:lnTo>
                  <a:cubicBezTo>
                    <a:pt x="9293" y="6222"/>
                    <a:pt x="9221" y="6207"/>
                    <a:pt x="9150" y="6207"/>
                  </a:cubicBezTo>
                  <a:cubicBezTo>
                    <a:pt x="9079" y="6207"/>
                    <a:pt x="9007" y="6222"/>
                    <a:pt x="8942" y="6252"/>
                  </a:cubicBezTo>
                  <a:cubicBezTo>
                    <a:pt x="8811" y="6311"/>
                    <a:pt x="8727" y="6430"/>
                    <a:pt x="8680" y="6561"/>
                  </a:cubicBezTo>
                  <a:cubicBezTo>
                    <a:pt x="8584" y="6871"/>
                    <a:pt x="8442" y="7192"/>
                    <a:pt x="8263" y="7454"/>
                  </a:cubicBezTo>
                  <a:cubicBezTo>
                    <a:pt x="8144" y="6871"/>
                    <a:pt x="8084" y="6204"/>
                    <a:pt x="8084" y="5525"/>
                  </a:cubicBezTo>
                  <a:cubicBezTo>
                    <a:pt x="8084" y="4835"/>
                    <a:pt x="8144" y="4168"/>
                    <a:pt x="8263" y="3585"/>
                  </a:cubicBezTo>
                  <a:close/>
                  <a:moveTo>
                    <a:pt x="3084" y="2382"/>
                  </a:moveTo>
                  <a:cubicBezTo>
                    <a:pt x="2774" y="3323"/>
                    <a:pt x="2608" y="4406"/>
                    <a:pt x="2608" y="5549"/>
                  </a:cubicBezTo>
                  <a:cubicBezTo>
                    <a:pt x="2608" y="6680"/>
                    <a:pt x="2774" y="7764"/>
                    <a:pt x="3084" y="8716"/>
                  </a:cubicBezTo>
                  <a:cubicBezTo>
                    <a:pt x="2917" y="8597"/>
                    <a:pt x="2774" y="8502"/>
                    <a:pt x="2631" y="8395"/>
                  </a:cubicBezTo>
                  <a:cubicBezTo>
                    <a:pt x="2024" y="7919"/>
                    <a:pt x="1607" y="7276"/>
                    <a:pt x="1191" y="6657"/>
                  </a:cubicBezTo>
                  <a:cubicBezTo>
                    <a:pt x="941" y="6264"/>
                    <a:pt x="691" y="5883"/>
                    <a:pt x="393" y="5537"/>
                  </a:cubicBezTo>
                  <a:cubicBezTo>
                    <a:pt x="691" y="5180"/>
                    <a:pt x="953" y="4787"/>
                    <a:pt x="1191" y="4418"/>
                  </a:cubicBezTo>
                  <a:cubicBezTo>
                    <a:pt x="1607" y="3799"/>
                    <a:pt x="2036" y="3156"/>
                    <a:pt x="2631" y="2680"/>
                  </a:cubicBezTo>
                  <a:cubicBezTo>
                    <a:pt x="2786" y="2573"/>
                    <a:pt x="2929" y="2466"/>
                    <a:pt x="3084" y="2382"/>
                  </a:cubicBezTo>
                  <a:close/>
                  <a:moveTo>
                    <a:pt x="6370" y="2073"/>
                  </a:moveTo>
                  <a:cubicBezTo>
                    <a:pt x="6668" y="2168"/>
                    <a:pt x="6965" y="2323"/>
                    <a:pt x="7239" y="2501"/>
                  </a:cubicBezTo>
                  <a:cubicBezTo>
                    <a:pt x="7180" y="2680"/>
                    <a:pt x="7132" y="2858"/>
                    <a:pt x="7084" y="3049"/>
                  </a:cubicBezTo>
                  <a:cubicBezTo>
                    <a:pt x="7072" y="3144"/>
                    <a:pt x="7120" y="3228"/>
                    <a:pt x="7203" y="3239"/>
                  </a:cubicBezTo>
                  <a:lnTo>
                    <a:pt x="7251" y="3239"/>
                  </a:lnTo>
                  <a:cubicBezTo>
                    <a:pt x="7322" y="3239"/>
                    <a:pt x="7382" y="3204"/>
                    <a:pt x="7406" y="3120"/>
                  </a:cubicBezTo>
                  <a:cubicBezTo>
                    <a:pt x="7441" y="2977"/>
                    <a:pt x="7489" y="2847"/>
                    <a:pt x="7525" y="2704"/>
                  </a:cubicBezTo>
                  <a:cubicBezTo>
                    <a:pt x="7727" y="2858"/>
                    <a:pt x="7882" y="3037"/>
                    <a:pt x="8037" y="3228"/>
                  </a:cubicBezTo>
                  <a:cubicBezTo>
                    <a:pt x="7870" y="3894"/>
                    <a:pt x="7787" y="4704"/>
                    <a:pt x="7787" y="5525"/>
                  </a:cubicBezTo>
                  <a:cubicBezTo>
                    <a:pt x="7787" y="6335"/>
                    <a:pt x="7870" y="7145"/>
                    <a:pt x="8037" y="7811"/>
                  </a:cubicBezTo>
                  <a:cubicBezTo>
                    <a:pt x="7870" y="7990"/>
                    <a:pt x="7691" y="8169"/>
                    <a:pt x="7501" y="8335"/>
                  </a:cubicBezTo>
                  <a:cubicBezTo>
                    <a:pt x="7263" y="7526"/>
                    <a:pt x="7120" y="6549"/>
                    <a:pt x="7120" y="5525"/>
                  </a:cubicBezTo>
                  <a:cubicBezTo>
                    <a:pt x="7120" y="4930"/>
                    <a:pt x="7156" y="4359"/>
                    <a:pt x="7251" y="3811"/>
                  </a:cubicBezTo>
                  <a:cubicBezTo>
                    <a:pt x="7263" y="3716"/>
                    <a:pt x="7203" y="3632"/>
                    <a:pt x="7120" y="3632"/>
                  </a:cubicBezTo>
                  <a:cubicBezTo>
                    <a:pt x="7112" y="3631"/>
                    <a:pt x="7104" y="3631"/>
                    <a:pt x="7096" y="3631"/>
                  </a:cubicBezTo>
                  <a:cubicBezTo>
                    <a:pt x="7011" y="3631"/>
                    <a:pt x="6941" y="3687"/>
                    <a:pt x="6941" y="3763"/>
                  </a:cubicBezTo>
                  <a:cubicBezTo>
                    <a:pt x="6846" y="4335"/>
                    <a:pt x="6799" y="4906"/>
                    <a:pt x="6799" y="5525"/>
                  </a:cubicBezTo>
                  <a:cubicBezTo>
                    <a:pt x="6799" y="6621"/>
                    <a:pt x="6953" y="7680"/>
                    <a:pt x="7239" y="8538"/>
                  </a:cubicBezTo>
                  <a:cubicBezTo>
                    <a:pt x="6965" y="8716"/>
                    <a:pt x="6668" y="8871"/>
                    <a:pt x="6370" y="8978"/>
                  </a:cubicBezTo>
                  <a:cubicBezTo>
                    <a:pt x="6167" y="8002"/>
                    <a:pt x="6060" y="6787"/>
                    <a:pt x="6060" y="5525"/>
                  </a:cubicBezTo>
                  <a:cubicBezTo>
                    <a:pt x="6060" y="4251"/>
                    <a:pt x="6179" y="3037"/>
                    <a:pt x="6370" y="2073"/>
                  </a:cubicBezTo>
                  <a:close/>
                  <a:moveTo>
                    <a:pt x="5429" y="1870"/>
                  </a:moveTo>
                  <a:cubicBezTo>
                    <a:pt x="5644" y="1894"/>
                    <a:pt x="5846" y="1930"/>
                    <a:pt x="6060" y="1977"/>
                  </a:cubicBezTo>
                  <a:cubicBezTo>
                    <a:pt x="5846" y="2977"/>
                    <a:pt x="5727" y="4228"/>
                    <a:pt x="5727" y="5525"/>
                  </a:cubicBezTo>
                  <a:cubicBezTo>
                    <a:pt x="5727" y="6811"/>
                    <a:pt x="5846" y="8061"/>
                    <a:pt x="6060" y="9062"/>
                  </a:cubicBezTo>
                  <a:cubicBezTo>
                    <a:pt x="5846" y="9109"/>
                    <a:pt x="5644" y="9157"/>
                    <a:pt x="5429" y="9169"/>
                  </a:cubicBezTo>
                  <a:cubicBezTo>
                    <a:pt x="5179" y="8157"/>
                    <a:pt x="5048" y="6859"/>
                    <a:pt x="5048" y="5525"/>
                  </a:cubicBezTo>
                  <a:cubicBezTo>
                    <a:pt x="5048" y="4180"/>
                    <a:pt x="5179" y="2906"/>
                    <a:pt x="5429" y="1870"/>
                  </a:cubicBezTo>
                  <a:close/>
                  <a:moveTo>
                    <a:pt x="5108" y="1894"/>
                  </a:moveTo>
                  <a:cubicBezTo>
                    <a:pt x="4870" y="2918"/>
                    <a:pt x="4739" y="4216"/>
                    <a:pt x="4739" y="5537"/>
                  </a:cubicBezTo>
                  <a:cubicBezTo>
                    <a:pt x="4739" y="6859"/>
                    <a:pt x="4870" y="8157"/>
                    <a:pt x="5108" y="9181"/>
                  </a:cubicBezTo>
                  <a:cubicBezTo>
                    <a:pt x="4834" y="9181"/>
                    <a:pt x="4572" y="9157"/>
                    <a:pt x="4334" y="9121"/>
                  </a:cubicBezTo>
                  <a:cubicBezTo>
                    <a:pt x="4096" y="8109"/>
                    <a:pt x="3965" y="6847"/>
                    <a:pt x="3965" y="5537"/>
                  </a:cubicBezTo>
                  <a:cubicBezTo>
                    <a:pt x="3965" y="4692"/>
                    <a:pt x="4001" y="3882"/>
                    <a:pt x="4108" y="3120"/>
                  </a:cubicBezTo>
                  <a:cubicBezTo>
                    <a:pt x="4120" y="3025"/>
                    <a:pt x="4060" y="2942"/>
                    <a:pt x="3977" y="2930"/>
                  </a:cubicBezTo>
                  <a:cubicBezTo>
                    <a:pt x="3969" y="2929"/>
                    <a:pt x="3961" y="2928"/>
                    <a:pt x="3953" y="2928"/>
                  </a:cubicBezTo>
                  <a:cubicBezTo>
                    <a:pt x="3870" y="2928"/>
                    <a:pt x="3809" y="2985"/>
                    <a:pt x="3798" y="3061"/>
                  </a:cubicBezTo>
                  <a:cubicBezTo>
                    <a:pt x="3691" y="3835"/>
                    <a:pt x="3631" y="4656"/>
                    <a:pt x="3631" y="5525"/>
                  </a:cubicBezTo>
                  <a:cubicBezTo>
                    <a:pt x="3631" y="6799"/>
                    <a:pt x="3751" y="8038"/>
                    <a:pt x="3977" y="9038"/>
                  </a:cubicBezTo>
                  <a:cubicBezTo>
                    <a:pt x="3810" y="8990"/>
                    <a:pt x="3643" y="8943"/>
                    <a:pt x="3477" y="8883"/>
                  </a:cubicBezTo>
                  <a:cubicBezTo>
                    <a:pt x="3108" y="7907"/>
                    <a:pt x="2905" y="6740"/>
                    <a:pt x="2905" y="5525"/>
                  </a:cubicBezTo>
                  <a:cubicBezTo>
                    <a:pt x="2905" y="4299"/>
                    <a:pt x="3096" y="3144"/>
                    <a:pt x="3477" y="2156"/>
                  </a:cubicBezTo>
                  <a:cubicBezTo>
                    <a:pt x="3631" y="2096"/>
                    <a:pt x="3798" y="2037"/>
                    <a:pt x="3977" y="2013"/>
                  </a:cubicBezTo>
                  <a:lnTo>
                    <a:pt x="3977" y="2013"/>
                  </a:lnTo>
                  <a:cubicBezTo>
                    <a:pt x="3941" y="2132"/>
                    <a:pt x="3929" y="2251"/>
                    <a:pt x="3893" y="2382"/>
                  </a:cubicBezTo>
                  <a:cubicBezTo>
                    <a:pt x="3881" y="2466"/>
                    <a:pt x="3941" y="2561"/>
                    <a:pt x="4036" y="2573"/>
                  </a:cubicBezTo>
                  <a:lnTo>
                    <a:pt x="4060" y="2573"/>
                  </a:lnTo>
                  <a:cubicBezTo>
                    <a:pt x="4132" y="2573"/>
                    <a:pt x="4215" y="2513"/>
                    <a:pt x="4227" y="2442"/>
                  </a:cubicBezTo>
                  <a:cubicBezTo>
                    <a:pt x="4262" y="2263"/>
                    <a:pt x="4298" y="2096"/>
                    <a:pt x="4334" y="1954"/>
                  </a:cubicBezTo>
                  <a:cubicBezTo>
                    <a:pt x="4572" y="1906"/>
                    <a:pt x="4834" y="1894"/>
                    <a:pt x="5108" y="1894"/>
                  </a:cubicBezTo>
                  <a:close/>
                  <a:moveTo>
                    <a:pt x="6953" y="9050"/>
                  </a:moveTo>
                  <a:cubicBezTo>
                    <a:pt x="7180" y="9716"/>
                    <a:pt x="7739" y="10312"/>
                    <a:pt x="8132" y="10669"/>
                  </a:cubicBezTo>
                  <a:cubicBezTo>
                    <a:pt x="7811" y="10621"/>
                    <a:pt x="7394" y="10550"/>
                    <a:pt x="6918" y="10431"/>
                  </a:cubicBezTo>
                  <a:cubicBezTo>
                    <a:pt x="6227" y="10252"/>
                    <a:pt x="5286" y="9955"/>
                    <a:pt x="4358" y="9431"/>
                  </a:cubicBezTo>
                  <a:lnTo>
                    <a:pt x="4358" y="9431"/>
                  </a:lnTo>
                  <a:cubicBezTo>
                    <a:pt x="4620" y="9466"/>
                    <a:pt x="4870" y="9478"/>
                    <a:pt x="5155" y="9478"/>
                  </a:cubicBezTo>
                  <a:cubicBezTo>
                    <a:pt x="5786" y="9478"/>
                    <a:pt x="6406" y="9323"/>
                    <a:pt x="6953" y="9050"/>
                  </a:cubicBezTo>
                  <a:close/>
                  <a:moveTo>
                    <a:pt x="8668" y="1"/>
                  </a:moveTo>
                  <a:cubicBezTo>
                    <a:pt x="8632" y="1"/>
                    <a:pt x="7906" y="49"/>
                    <a:pt x="6882" y="299"/>
                  </a:cubicBezTo>
                  <a:cubicBezTo>
                    <a:pt x="5941" y="537"/>
                    <a:pt x="4584" y="1001"/>
                    <a:pt x="3405" y="1858"/>
                  </a:cubicBezTo>
                  <a:cubicBezTo>
                    <a:pt x="3072" y="1989"/>
                    <a:pt x="2738" y="2168"/>
                    <a:pt x="2453" y="2406"/>
                  </a:cubicBezTo>
                  <a:cubicBezTo>
                    <a:pt x="1822" y="2918"/>
                    <a:pt x="1369" y="3585"/>
                    <a:pt x="941" y="4228"/>
                  </a:cubicBezTo>
                  <a:cubicBezTo>
                    <a:pt x="655" y="4656"/>
                    <a:pt x="393" y="5061"/>
                    <a:pt x="60" y="5418"/>
                  </a:cubicBezTo>
                  <a:cubicBezTo>
                    <a:pt x="0" y="5478"/>
                    <a:pt x="0" y="5561"/>
                    <a:pt x="60" y="5644"/>
                  </a:cubicBezTo>
                  <a:cubicBezTo>
                    <a:pt x="393" y="6002"/>
                    <a:pt x="655" y="6395"/>
                    <a:pt x="941" y="6835"/>
                  </a:cubicBezTo>
                  <a:cubicBezTo>
                    <a:pt x="1369" y="7466"/>
                    <a:pt x="1822" y="8145"/>
                    <a:pt x="2453" y="8645"/>
                  </a:cubicBezTo>
                  <a:cubicBezTo>
                    <a:pt x="2750" y="8871"/>
                    <a:pt x="3072" y="9062"/>
                    <a:pt x="3405" y="9193"/>
                  </a:cubicBezTo>
                  <a:cubicBezTo>
                    <a:pt x="4584" y="10062"/>
                    <a:pt x="5941" y="10538"/>
                    <a:pt x="6882" y="10764"/>
                  </a:cubicBezTo>
                  <a:cubicBezTo>
                    <a:pt x="7894" y="11014"/>
                    <a:pt x="8632" y="11062"/>
                    <a:pt x="8668" y="11062"/>
                  </a:cubicBezTo>
                  <a:lnTo>
                    <a:pt x="8680" y="11062"/>
                  </a:lnTo>
                  <a:cubicBezTo>
                    <a:pt x="8751" y="11062"/>
                    <a:pt x="8811" y="11014"/>
                    <a:pt x="8823" y="10955"/>
                  </a:cubicBezTo>
                  <a:cubicBezTo>
                    <a:pt x="8858" y="10871"/>
                    <a:pt x="8823" y="10800"/>
                    <a:pt x="8763" y="10776"/>
                  </a:cubicBezTo>
                  <a:cubicBezTo>
                    <a:pt x="8751" y="10752"/>
                    <a:pt x="7549" y="9883"/>
                    <a:pt x="7275" y="8907"/>
                  </a:cubicBezTo>
                  <a:cubicBezTo>
                    <a:pt x="7382" y="8847"/>
                    <a:pt x="7489" y="8776"/>
                    <a:pt x="7596" y="8692"/>
                  </a:cubicBezTo>
                  <a:cubicBezTo>
                    <a:pt x="8263" y="8181"/>
                    <a:pt x="8763" y="7454"/>
                    <a:pt x="9001" y="6645"/>
                  </a:cubicBezTo>
                  <a:cubicBezTo>
                    <a:pt x="9025" y="6609"/>
                    <a:pt x="9049" y="6561"/>
                    <a:pt x="9096" y="6549"/>
                  </a:cubicBezTo>
                  <a:cubicBezTo>
                    <a:pt x="9120" y="6531"/>
                    <a:pt x="9147" y="6523"/>
                    <a:pt x="9172" y="6523"/>
                  </a:cubicBezTo>
                  <a:cubicBezTo>
                    <a:pt x="9198" y="6523"/>
                    <a:pt x="9221" y="6531"/>
                    <a:pt x="9239" y="6549"/>
                  </a:cubicBezTo>
                  <a:lnTo>
                    <a:pt x="10835" y="7228"/>
                  </a:lnTo>
                  <a:cubicBezTo>
                    <a:pt x="10855" y="7240"/>
                    <a:pt x="10878" y="7246"/>
                    <a:pt x="10900" y="7246"/>
                  </a:cubicBezTo>
                  <a:cubicBezTo>
                    <a:pt x="10941" y="7246"/>
                    <a:pt x="10982" y="7227"/>
                    <a:pt x="11013" y="7204"/>
                  </a:cubicBezTo>
                  <a:cubicBezTo>
                    <a:pt x="11061" y="7157"/>
                    <a:pt x="11073" y="7097"/>
                    <a:pt x="11061" y="7038"/>
                  </a:cubicBezTo>
                  <a:lnTo>
                    <a:pt x="10632" y="5740"/>
                  </a:lnTo>
                  <a:cubicBezTo>
                    <a:pt x="10585" y="5597"/>
                    <a:pt x="10585" y="5442"/>
                    <a:pt x="10632" y="5299"/>
                  </a:cubicBezTo>
                  <a:lnTo>
                    <a:pt x="11061" y="4013"/>
                  </a:lnTo>
                  <a:cubicBezTo>
                    <a:pt x="11073" y="3954"/>
                    <a:pt x="11061" y="3882"/>
                    <a:pt x="11013" y="3847"/>
                  </a:cubicBezTo>
                  <a:cubicBezTo>
                    <a:pt x="10983" y="3824"/>
                    <a:pt x="10942" y="3810"/>
                    <a:pt x="10901" y="3810"/>
                  </a:cubicBezTo>
                  <a:cubicBezTo>
                    <a:pt x="10878" y="3810"/>
                    <a:pt x="10856" y="3814"/>
                    <a:pt x="10835" y="3823"/>
                  </a:cubicBezTo>
                  <a:lnTo>
                    <a:pt x="9239" y="4513"/>
                  </a:lnTo>
                  <a:cubicBezTo>
                    <a:pt x="9221" y="4519"/>
                    <a:pt x="9198" y="4522"/>
                    <a:pt x="9172" y="4522"/>
                  </a:cubicBezTo>
                  <a:cubicBezTo>
                    <a:pt x="9147" y="4522"/>
                    <a:pt x="9120" y="4519"/>
                    <a:pt x="9096" y="4513"/>
                  </a:cubicBezTo>
                  <a:cubicBezTo>
                    <a:pt x="9049" y="4490"/>
                    <a:pt x="9025" y="4454"/>
                    <a:pt x="9001" y="4406"/>
                  </a:cubicBezTo>
                  <a:cubicBezTo>
                    <a:pt x="8763" y="3597"/>
                    <a:pt x="8263" y="2870"/>
                    <a:pt x="7596" y="2370"/>
                  </a:cubicBezTo>
                  <a:lnTo>
                    <a:pt x="7275" y="2144"/>
                  </a:lnTo>
                  <a:cubicBezTo>
                    <a:pt x="7561" y="1192"/>
                    <a:pt x="8751" y="299"/>
                    <a:pt x="8763" y="287"/>
                  </a:cubicBezTo>
                  <a:cubicBezTo>
                    <a:pt x="8823" y="239"/>
                    <a:pt x="8846" y="168"/>
                    <a:pt x="8823" y="108"/>
                  </a:cubicBezTo>
                  <a:cubicBezTo>
                    <a:pt x="8799" y="25"/>
                    <a:pt x="8739" y="1"/>
                    <a:pt x="8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3" name="Google Shape;12973;p63"/>
            <p:cNvSpPr/>
            <p:nvPr/>
          </p:nvSpPr>
          <p:spPr>
            <a:xfrm>
              <a:off x="4738157" y="2573938"/>
              <a:ext cx="38144" cy="38112"/>
            </a:xfrm>
            <a:custGeom>
              <a:avLst/>
              <a:gdLst/>
              <a:ahLst/>
              <a:cxnLst/>
              <a:rect l="l" t="t" r="r" b="b"/>
              <a:pathLst>
                <a:path w="1192" h="1191" extrusionOk="0">
                  <a:moveTo>
                    <a:pt x="596" y="346"/>
                  </a:moveTo>
                  <a:cubicBezTo>
                    <a:pt x="751" y="346"/>
                    <a:pt x="870" y="465"/>
                    <a:pt x="870" y="607"/>
                  </a:cubicBezTo>
                  <a:cubicBezTo>
                    <a:pt x="870" y="762"/>
                    <a:pt x="751" y="881"/>
                    <a:pt x="596" y="881"/>
                  </a:cubicBezTo>
                  <a:cubicBezTo>
                    <a:pt x="453" y="881"/>
                    <a:pt x="334" y="762"/>
                    <a:pt x="334" y="607"/>
                  </a:cubicBezTo>
                  <a:cubicBezTo>
                    <a:pt x="334" y="465"/>
                    <a:pt x="453" y="346"/>
                    <a:pt x="596" y="346"/>
                  </a:cubicBezTo>
                  <a:close/>
                  <a:moveTo>
                    <a:pt x="596" y="0"/>
                  </a:moveTo>
                  <a:cubicBezTo>
                    <a:pt x="274" y="0"/>
                    <a:pt x="1" y="274"/>
                    <a:pt x="1" y="596"/>
                  </a:cubicBezTo>
                  <a:cubicBezTo>
                    <a:pt x="1" y="929"/>
                    <a:pt x="274" y="1191"/>
                    <a:pt x="596" y="1191"/>
                  </a:cubicBezTo>
                  <a:cubicBezTo>
                    <a:pt x="929" y="1191"/>
                    <a:pt x="1191" y="929"/>
                    <a:pt x="1191" y="596"/>
                  </a:cubicBezTo>
                  <a:cubicBezTo>
                    <a:pt x="1191" y="274"/>
                    <a:pt x="929" y="0"/>
                    <a:pt x="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4" name="Google Shape;12974;p63"/>
          <p:cNvSpPr/>
          <p:nvPr/>
        </p:nvSpPr>
        <p:spPr>
          <a:xfrm>
            <a:off x="5809901" y="2424594"/>
            <a:ext cx="331520" cy="354720"/>
          </a:xfrm>
          <a:custGeom>
            <a:avLst/>
            <a:gdLst/>
            <a:ahLst/>
            <a:cxnLst/>
            <a:rect l="l" t="t" r="r" b="b"/>
            <a:pathLst>
              <a:path w="10360" h="11085" extrusionOk="0">
                <a:moveTo>
                  <a:pt x="6395" y="5179"/>
                </a:moveTo>
                <a:cubicBezTo>
                  <a:pt x="6490" y="5179"/>
                  <a:pt x="6573" y="5251"/>
                  <a:pt x="6573" y="5358"/>
                </a:cubicBezTo>
                <a:cubicBezTo>
                  <a:pt x="6573" y="5453"/>
                  <a:pt x="6490" y="5536"/>
                  <a:pt x="6395" y="5536"/>
                </a:cubicBezTo>
                <a:lnTo>
                  <a:pt x="6216" y="5536"/>
                </a:lnTo>
                <a:cubicBezTo>
                  <a:pt x="6121" y="5536"/>
                  <a:pt x="6037" y="5441"/>
                  <a:pt x="6037" y="5358"/>
                </a:cubicBezTo>
                <a:cubicBezTo>
                  <a:pt x="6037" y="5263"/>
                  <a:pt x="6133" y="5179"/>
                  <a:pt x="6216" y="5179"/>
                </a:cubicBezTo>
                <a:close/>
                <a:moveTo>
                  <a:pt x="4132" y="5191"/>
                </a:moveTo>
                <a:cubicBezTo>
                  <a:pt x="4239" y="5191"/>
                  <a:pt x="4311" y="5274"/>
                  <a:pt x="4311" y="5370"/>
                </a:cubicBezTo>
                <a:cubicBezTo>
                  <a:pt x="4311" y="5477"/>
                  <a:pt x="4228" y="5548"/>
                  <a:pt x="4132" y="5548"/>
                </a:cubicBezTo>
                <a:lnTo>
                  <a:pt x="3954" y="5548"/>
                </a:lnTo>
                <a:cubicBezTo>
                  <a:pt x="3847" y="5548"/>
                  <a:pt x="3775" y="5453"/>
                  <a:pt x="3775" y="5370"/>
                </a:cubicBezTo>
                <a:cubicBezTo>
                  <a:pt x="3775" y="5274"/>
                  <a:pt x="3870" y="5191"/>
                  <a:pt x="3954" y="5191"/>
                </a:cubicBezTo>
                <a:close/>
                <a:moveTo>
                  <a:pt x="9776" y="4727"/>
                </a:moveTo>
                <a:lnTo>
                  <a:pt x="9776" y="4727"/>
                </a:lnTo>
                <a:cubicBezTo>
                  <a:pt x="9943" y="4917"/>
                  <a:pt x="10038" y="5179"/>
                  <a:pt x="10038" y="5453"/>
                </a:cubicBezTo>
                <a:cubicBezTo>
                  <a:pt x="10038" y="6084"/>
                  <a:pt x="9538" y="6584"/>
                  <a:pt x="8907" y="6584"/>
                </a:cubicBezTo>
                <a:lnTo>
                  <a:pt x="6633" y="6584"/>
                </a:lnTo>
                <a:cubicBezTo>
                  <a:pt x="6525" y="6441"/>
                  <a:pt x="6454" y="6263"/>
                  <a:pt x="6418" y="6072"/>
                </a:cubicBezTo>
                <a:lnTo>
                  <a:pt x="6418" y="6072"/>
                </a:lnTo>
                <a:lnTo>
                  <a:pt x="8716" y="6167"/>
                </a:lnTo>
                <a:cubicBezTo>
                  <a:pt x="8744" y="6170"/>
                  <a:pt x="8771" y="6171"/>
                  <a:pt x="8798" y="6171"/>
                </a:cubicBezTo>
                <a:cubicBezTo>
                  <a:pt x="9066" y="6171"/>
                  <a:pt x="9318" y="6064"/>
                  <a:pt x="9502" y="5870"/>
                </a:cubicBezTo>
                <a:cubicBezTo>
                  <a:pt x="9716" y="5667"/>
                  <a:pt x="9835" y="5394"/>
                  <a:pt x="9835" y="5096"/>
                </a:cubicBezTo>
                <a:cubicBezTo>
                  <a:pt x="9835" y="4965"/>
                  <a:pt x="9800" y="4846"/>
                  <a:pt x="9776" y="4727"/>
                </a:cubicBezTo>
                <a:close/>
                <a:moveTo>
                  <a:pt x="3966" y="6763"/>
                </a:moveTo>
                <a:lnTo>
                  <a:pt x="3966" y="7441"/>
                </a:lnTo>
                <a:lnTo>
                  <a:pt x="3978" y="7441"/>
                </a:lnTo>
                <a:cubicBezTo>
                  <a:pt x="3585" y="7775"/>
                  <a:pt x="3096" y="7977"/>
                  <a:pt x="2573" y="7977"/>
                </a:cubicBezTo>
                <a:lnTo>
                  <a:pt x="2049" y="7977"/>
                </a:lnTo>
                <a:cubicBezTo>
                  <a:pt x="1846" y="7977"/>
                  <a:pt x="1632" y="8037"/>
                  <a:pt x="1465" y="8156"/>
                </a:cubicBezTo>
                <a:cubicBezTo>
                  <a:pt x="1656" y="7822"/>
                  <a:pt x="1989" y="7596"/>
                  <a:pt x="2394" y="7596"/>
                </a:cubicBezTo>
                <a:cubicBezTo>
                  <a:pt x="3049" y="7596"/>
                  <a:pt x="3632" y="7275"/>
                  <a:pt x="3966" y="6763"/>
                </a:cubicBezTo>
                <a:close/>
                <a:moveTo>
                  <a:pt x="5132" y="357"/>
                </a:moveTo>
                <a:cubicBezTo>
                  <a:pt x="5621" y="357"/>
                  <a:pt x="6085" y="560"/>
                  <a:pt x="6406" y="917"/>
                </a:cubicBezTo>
                <a:cubicBezTo>
                  <a:pt x="6740" y="1274"/>
                  <a:pt x="6906" y="1762"/>
                  <a:pt x="6847" y="2238"/>
                </a:cubicBezTo>
                <a:lnTo>
                  <a:pt x="6573" y="4941"/>
                </a:lnTo>
                <a:cubicBezTo>
                  <a:pt x="6502" y="4905"/>
                  <a:pt x="6430" y="4882"/>
                  <a:pt x="6347" y="4882"/>
                </a:cubicBezTo>
                <a:lnTo>
                  <a:pt x="6168" y="4882"/>
                </a:lnTo>
                <a:cubicBezTo>
                  <a:pt x="5894" y="4882"/>
                  <a:pt x="5668" y="5096"/>
                  <a:pt x="5668" y="5382"/>
                </a:cubicBezTo>
                <a:cubicBezTo>
                  <a:pt x="5668" y="5608"/>
                  <a:pt x="5811" y="5798"/>
                  <a:pt x="6025" y="5870"/>
                </a:cubicBezTo>
                <a:cubicBezTo>
                  <a:pt x="6133" y="6822"/>
                  <a:pt x="6954" y="7596"/>
                  <a:pt x="7942" y="7596"/>
                </a:cubicBezTo>
                <a:cubicBezTo>
                  <a:pt x="8347" y="7596"/>
                  <a:pt x="8692" y="7822"/>
                  <a:pt x="8871" y="8156"/>
                </a:cubicBezTo>
                <a:cubicBezTo>
                  <a:pt x="8704" y="8049"/>
                  <a:pt x="8514" y="7977"/>
                  <a:pt x="8288" y="7977"/>
                </a:cubicBezTo>
                <a:lnTo>
                  <a:pt x="7764" y="7977"/>
                </a:lnTo>
                <a:cubicBezTo>
                  <a:pt x="7240" y="7977"/>
                  <a:pt x="6752" y="7775"/>
                  <a:pt x="6371" y="7441"/>
                </a:cubicBezTo>
                <a:lnTo>
                  <a:pt x="6371" y="7275"/>
                </a:lnTo>
                <a:cubicBezTo>
                  <a:pt x="6371" y="7179"/>
                  <a:pt x="6287" y="7108"/>
                  <a:pt x="6204" y="7108"/>
                </a:cubicBezTo>
                <a:cubicBezTo>
                  <a:pt x="6121" y="7108"/>
                  <a:pt x="6037" y="7179"/>
                  <a:pt x="6037" y="7275"/>
                </a:cubicBezTo>
                <a:lnTo>
                  <a:pt x="6037" y="9704"/>
                </a:lnTo>
                <a:cubicBezTo>
                  <a:pt x="6037" y="10180"/>
                  <a:pt x="6395" y="10573"/>
                  <a:pt x="6871" y="10632"/>
                </a:cubicBezTo>
                <a:cubicBezTo>
                  <a:pt x="6906" y="10644"/>
                  <a:pt x="6945" y="10650"/>
                  <a:pt x="6984" y="10650"/>
                </a:cubicBezTo>
                <a:cubicBezTo>
                  <a:pt x="7023" y="10650"/>
                  <a:pt x="7061" y="10644"/>
                  <a:pt x="7097" y="10632"/>
                </a:cubicBezTo>
                <a:lnTo>
                  <a:pt x="7097" y="10632"/>
                </a:lnTo>
                <a:cubicBezTo>
                  <a:pt x="6966" y="10716"/>
                  <a:pt x="6799" y="10751"/>
                  <a:pt x="6621" y="10751"/>
                </a:cubicBezTo>
                <a:cubicBezTo>
                  <a:pt x="6085" y="10751"/>
                  <a:pt x="5656" y="10323"/>
                  <a:pt x="5656" y="9787"/>
                </a:cubicBezTo>
                <a:lnTo>
                  <a:pt x="5656" y="7608"/>
                </a:lnTo>
                <a:cubicBezTo>
                  <a:pt x="5656" y="7334"/>
                  <a:pt x="5430" y="7108"/>
                  <a:pt x="5144" y="7108"/>
                </a:cubicBezTo>
                <a:cubicBezTo>
                  <a:pt x="4859" y="7108"/>
                  <a:pt x="4644" y="7334"/>
                  <a:pt x="4644" y="7608"/>
                </a:cubicBezTo>
                <a:lnTo>
                  <a:pt x="4644" y="9787"/>
                </a:lnTo>
                <a:cubicBezTo>
                  <a:pt x="4644" y="10323"/>
                  <a:pt x="4204" y="10751"/>
                  <a:pt x="3668" y="10751"/>
                </a:cubicBezTo>
                <a:cubicBezTo>
                  <a:pt x="3513" y="10751"/>
                  <a:pt x="3347" y="10716"/>
                  <a:pt x="3192" y="10632"/>
                </a:cubicBezTo>
                <a:lnTo>
                  <a:pt x="3192" y="10632"/>
                </a:lnTo>
                <a:cubicBezTo>
                  <a:pt x="3233" y="10644"/>
                  <a:pt x="3272" y="10650"/>
                  <a:pt x="3309" y="10650"/>
                </a:cubicBezTo>
                <a:cubicBezTo>
                  <a:pt x="3347" y="10650"/>
                  <a:pt x="3382" y="10644"/>
                  <a:pt x="3418" y="10632"/>
                </a:cubicBezTo>
                <a:cubicBezTo>
                  <a:pt x="3894" y="10573"/>
                  <a:pt x="4251" y="10180"/>
                  <a:pt x="4251" y="9704"/>
                </a:cubicBezTo>
                <a:lnTo>
                  <a:pt x="4251" y="5858"/>
                </a:lnTo>
                <a:cubicBezTo>
                  <a:pt x="4466" y="5786"/>
                  <a:pt x="4597" y="5608"/>
                  <a:pt x="4597" y="5382"/>
                </a:cubicBezTo>
                <a:cubicBezTo>
                  <a:pt x="4597" y="5096"/>
                  <a:pt x="4370" y="4882"/>
                  <a:pt x="4085" y="4882"/>
                </a:cubicBezTo>
                <a:lnTo>
                  <a:pt x="3906" y="4882"/>
                </a:lnTo>
                <a:cubicBezTo>
                  <a:pt x="3823" y="4882"/>
                  <a:pt x="3751" y="4893"/>
                  <a:pt x="3692" y="4941"/>
                </a:cubicBezTo>
                <a:lnTo>
                  <a:pt x="3418" y="2238"/>
                </a:lnTo>
                <a:cubicBezTo>
                  <a:pt x="3370" y="1762"/>
                  <a:pt x="3525" y="1274"/>
                  <a:pt x="3847" y="917"/>
                </a:cubicBezTo>
                <a:cubicBezTo>
                  <a:pt x="4180" y="560"/>
                  <a:pt x="4644" y="357"/>
                  <a:pt x="5132" y="357"/>
                </a:cubicBezTo>
                <a:close/>
                <a:moveTo>
                  <a:pt x="5180" y="0"/>
                </a:moveTo>
                <a:cubicBezTo>
                  <a:pt x="4597" y="0"/>
                  <a:pt x="4049" y="238"/>
                  <a:pt x="3656" y="667"/>
                </a:cubicBezTo>
                <a:cubicBezTo>
                  <a:pt x="3275" y="1095"/>
                  <a:pt x="3073" y="1667"/>
                  <a:pt x="3132" y="2238"/>
                </a:cubicBezTo>
                <a:lnTo>
                  <a:pt x="3454" y="5370"/>
                </a:lnTo>
                <a:cubicBezTo>
                  <a:pt x="3454" y="5513"/>
                  <a:pt x="3525" y="5667"/>
                  <a:pt x="3644" y="5751"/>
                </a:cubicBezTo>
                <a:lnTo>
                  <a:pt x="1620" y="5846"/>
                </a:lnTo>
                <a:cubicBezTo>
                  <a:pt x="1605" y="5847"/>
                  <a:pt x="1590" y="5847"/>
                  <a:pt x="1575" y="5847"/>
                </a:cubicBezTo>
                <a:cubicBezTo>
                  <a:pt x="1379" y="5847"/>
                  <a:pt x="1205" y="5775"/>
                  <a:pt x="1072" y="5632"/>
                </a:cubicBezTo>
                <a:cubicBezTo>
                  <a:pt x="918" y="5489"/>
                  <a:pt x="834" y="5298"/>
                  <a:pt x="834" y="5096"/>
                </a:cubicBezTo>
                <a:cubicBezTo>
                  <a:pt x="834" y="4667"/>
                  <a:pt x="1191" y="4310"/>
                  <a:pt x="1620" y="4310"/>
                </a:cubicBezTo>
                <a:lnTo>
                  <a:pt x="1703" y="4310"/>
                </a:lnTo>
                <a:cubicBezTo>
                  <a:pt x="2084" y="4310"/>
                  <a:pt x="2394" y="4001"/>
                  <a:pt x="2394" y="3631"/>
                </a:cubicBezTo>
                <a:cubicBezTo>
                  <a:pt x="2394" y="3536"/>
                  <a:pt x="2323" y="3465"/>
                  <a:pt x="2227" y="3465"/>
                </a:cubicBezTo>
                <a:cubicBezTo>
                  <a:pt x="2144" y="3465"/>
                  <a:pt x="2061" y="3536"/>
                  <a:pt x="2061" y="3631"/>
                </a:cubicBezTo>
                <a:cubicBezTo>
                  <a:pt x="2061" y="3822"/>
                  <a:pt x="1906" y="3989"/>
                  <a:pt x="1703" y="3989"/>
                </a:cubicBezTo>
                <a:lnTo>
                  <a:pt x="1453" y="3989"/>
                </a:lnTo>
                <a:cubicBezTo>
                  <a:pt x="656" y="3989"/>
                  <a:pt x="1" y="4643"/>
                  <a:pt x="1" y="5441"/>
                </a:cubicBezTo>
                <a:cubicBezTo>
                  <a:pt x="1" y="6251"/>
                  <a:pt x="656" y="6906"/>
                  <a:pt x="1453" y="6906"/>
                </a:cubicBezTo>
                <a:lnTo>
                  <a:pt x="2585" y="6906"/>
                </a:lnTo>
                <a:cubicBezTo>
                  <a:pt x="2680" y="6906"/>
                  <a:pt x="2751" y="6822"/>
                  <a:pt x="2751" y="6739"/>
                </a:cubicBezTo>
                <a:cubicBezTo>
                  <a:pt x="2751" y="6644"/>
                  <a:pt x="2680" y="6572"/>
                  <a:pt x="2585" y="6572"/>
                </a:cubicBezTo>
                <a:lnTo>
                  <a:pt x="1453" y="6572"/>
                </a:lnTo>
                <a:cubicBezTo>
                  <a:pt x="834" y="6572"/>
                  <a:pt x="322" y="6072"/>
                  <a:pt x="322" y="5441"/>
                </a:cubicBezTo>
                <a:cubicBezTo>
                  <a:pt x="322" y="5155"/>
                  <a:pt x="429" y="4917"/>
                  <a:pt x="596" y="4715"/>
                </a:cubicBezTo>
                <a:lnTo>
                  <a:pt x="596" y="4715"/>
                </a:lnTo>
                <a:cubicBezTo>
                  <a:pt x="549" y="4834"/>
                  <a:pt x="537" y="4965"/>
                  <a:pt x="537" y="5084"/>
                </a:cubicBezTo>
                <a:cubicBezTo>
                  <a:pt x="537" y="5382"/>
                  <a:pt x="656" y="5655"/>
                  <a:pt x="858" y="5858"/>
                </a:cubicBezTo>
                <a:cubicBezTo>
                  <a:pt x="1062" y="6050"/>
                  <a:pt x="1319" y="6156"/>
                  <a:pt x="1599" y="6156"/>
                </a:cubicBezTo>
                <a:cubicBezTo>
                  <a:pt x="1614" y="6156"/>
                  <a:pt x="1629" y="6156"/>
                  <a:pt x="1644" y="6156"/>
                </a:cubicBezTo>
                <a:lnTo>
                  <a:pt x="3954" y="6048"/>
                </a:lnTo>
                <a:lnTo>
                  <a:pt x="3954" y="6048"/>
                </a:lnTo>
                <a:cubicBezTo>
                  <a:pt x="3906" y="6251"/>
                  <a:pt x="3835" y="6406"/>
                  <a:pt x="3728" y="6572"/>
                </a:cubicBezTo>
                <a:lnTo>
                  <a:pt x="3299" y="6572"/>
                </a:lnTo>
                <a:cubicBezTo>
                  <a:pt x="3216" y="6572"/>
                  <a:pt x="3132" y="6644"/>
                  <a:pt x="3132" y="6739"/>
                </a:cubicBezTo>
                <a:cubicBezTo>
                  <a:pt x="3132" y="6822"/>
                  <a:pt x="3216" y="6906"/>
                  <a:pt x="3299" y="6906"/>
                </a:cubicBezTo>
                <a:lnTo>
                  <a:pt x="3454" y="6906"/>
                </a:lnTo>
                <a:cubicBezTo>
                  <a:pt x="3180" y="7120"/>
                  <a:pt x="2823" y="7275"/>
                  <a:pt x="2442" y="7275"/>
                </a:cubicBezTo>
                <a:cubicBezTo>
                  <a:pt x="1680" y="7275"/>
                  <a:pt x="1072" y="7882"/>
                  <a:pt x="1072" y="8644"/>
                </a:cubicBezTo>
                <a:lnTo>
                  <a:pt x="1072" y="8989"/>
                </a:lnTo>
                <a:cubicBezTo>
                  <a:pt x="1072" y="9180"/>
                  <a:pt x="906" y="9346"/>
                  <a:pt x="715" y="9346"/>
                </a:cubicBezTo>
                <a:cubicBezTo>
                  <a:pt x="620" y="9346"/>
                  <a:pt x="549" y="9418"/>
                  <a:pt x="549" y="9501"/>
                </a:cubicBezTo>
                <a:cubicBezTo>
                  <a:pt x="549" y="9596"/>
                  <a:pt x="620" y="9668"/>
                  <a:pt x="715" y="9668"/>
                </a:cubicBezTo>
                <a:cubicBezTo>
                  <a:pt x="1084" y="9668"/>
                  <a:pt x="1394" y="9358"/>
                  <a:pt x="1394" y="8989"/>
                </a:cubicBezTo>
                <a:cubicBezTo>
                  <a:pt x="1394" y="8596"/>
                  <a:pt x="1703" y="8287"/>
                  <a:pt x="2096" y="8287"/>
                </a:cubicBezTo>
                <a:lnTo>
                  <a:pt x="2620" y="8287"/>
                </a:lnTo>
                <a:cubicBezTo>
                  <a:pt x="3120" y="8287"/>
                  <a:pt x="3608" y="8132"/>
                  <a:pt x="4013" y="7834"/>
                </a:cubicBezTo>
                <a:lnTo>
                  <a:pt x="4013" y="9680"/>
                </a:lnTo>
                <a:cubicBezTo>
                  <a:pt x="4013" y="10001"/>
                  <a:pt x="3775" y="10263"/>
                  <a:pt x="3466" y="10299"/>
                </a:cubicBezTo>
                <a:cubicBezTo>
                  <a:pt x="3448" y="10300"/>
                  <a:pt x="3430" y="10301"/>
                  <a:pt x="3413" y="10301"/>
                </a:cubicBezTo>
                <a:cubicBezTo>
                  <a:pt x="3254" y="10301"/>
                  <a:pt x="3107" y="10251"/>
                  <a:pt x="2989" y="10144"/>
                </a:cubicBezTo>
                <a:cubicBezTo>
                  <a:pt x="2858" y="10025"/>
                  <a:pt x="2775" y="9858"/>
                  <a:pt x="2775" y="9680"/>
                </a:cubicBezTo>
                <a:lnTo>
                  <a:pt x="2775" y="9525"/>
                </a:lnTo>
                <a:cubicBezTo>
                  <a:pt x="2775" y="9049"/>
                  <a:pt x="2394" y="8668"/>
                  <a:pt x="1930" y="8668"/>
                </a:cubicBezTo>
                <a:cubicBezTo>
                  <a:pt x="1846" y="8668"/>
                  <a:pt x="1763" y="8751"/>
                  <a:pt x="1763" y="8834"/>
                </a:cubicBezTo>
                <a:cubicBezTo>
                  <a:pt x="1763" y="8930"/>
                  <a:pt x="1846" y="9001"/>
                  <a:pt x="1930" y="9001"/>
                </a:cubicBezTo>
                <a:cubicBezTo>
                  <a:pt x="2227" y="9001"/>
                  <a:pt x="2465" y="9239"/>
                  <a:pt x="2465" y="9537"/>
                </a:cubicBezTo>
                <a:lnTo>
                  <a:pt x="2465" y="9787"/>
                </a:lnTo>
                <a:cubicBezTo>
                  <a:pt x="2465" y="10501"/>
                  <a:pt x="3049" y="11085"/>
                  <a:pt x="3763" y="11085"/>
                </a:cubicBezTo>
                <a:cubicBezTo>
                  <a:pt x="4478" y="11085"/>
                  <a:pt x="5061" y="10501"/>
                  <a:pt x="5061" y="9787"/>
                </a:cubicBezTo>
                <a:lnTo>
                  <a:pt x="5061" y="7620"/>
                </a:lnTo>
                <a:cubicBezTo>
                  <a:pt x="5061" y="7513"/>
                  <a:pt x="5144" y="7441"/>
                  <a:pt x="5240" y="7441"/>
                </a:cubicBezTo>
                <a:cubicBezTo>
                  <a:pt x="5323" y="7441"/>
                  <a:pt x="5418" y="7525"/>
                  <a:pt x="5418" y="7620"/>
                </a:cubicBezTo>
                <a:lnTo>
                  <a:pt x="5418" y="9787"/>
                </a:lnTo>
                <a:cubicBezTo>
                  <a:pt x="5418" y="10501"/>
                  <a:pt x="5990" y="11085"/>
                  <a:pt x="6704" y="11085"/>
                </a:cubicBezTo>
                <a:cubicBezTo>
                  <a:pt x="7418" y="11085"/>
                  <a:pt x="8002" y="10501"/>
                  <a:pt x="8002" y="9787"/>
                </a:cubicBezTo>
                <a:lnTo>
                  <a:pt x="8002" y="9525"/>
                </a:lnTo>
                <a:cubicBezTo>
                  <a:pt x="8002" y="9227"/>
                  <a:pt x="8240" y="8989"/>
                  <a:pt x="8538" y="8989"/>
                </a:cubicBezTo>
                <a:cubicBezTo>
                  <a:pt x="8633" y="8989"/>
                  <a:pt x="8704" y="8906"/>
                  <a:pt x="8704" y="8823"/>
                </a:cubicBezTo>
                <a:cubicBezTo>
                  <a:pt x="8704" y="8727"/>
                  <a:pt x="8633" y="8656"/>
                  <a:pt x="8538" y="8656"/>
                </a:cubicBezTo>
                <a:cubicBezTo>
                  <a:pt x="8061" y="8656"/>
                  <a:pt x="7692" y="9037"/>
                  <a:pt x="7692" y="9501"/>
                </a:cubicBezTo>
                <a:lnTo>
                  <a:pt x="7692" y="9668"/>
                </a:lnTo>
                <a:cubicBezTo>
                  <a:pt x="7692" y="9846"/>
                  <a:pt x="7621" y="10013"/>
                  <a:pt x="7478" y="10132"/>
                </a:cubicBezTo>
                <a:cubicBezTo>
                  <a:pt x="7372" y="10228"/>
                  <a:pt x="7236" y="10285"/>
                  <a:pt x="7100" y="10285"/>
                </a:cubicBezTo>
                <a:cubicBezTo>
                  <a:pt x="7067" y="10285"/>
                  <a:pt x="7034" y="10282"/>
                  <a:pt x="7002" y="10275"/>
                </a:cubicBezTo>
                <a:cubicBezTo>
                  <a:pt x="6692" y="10251"/>
                  <a:pt x="6454" y="9977"/>
                  <a:pt x="6454" y="9668"/>
                </a:cubicBezTo>
                <a:lnTo>
                  <a:pt x="6454" y="7822"/>
                </a:lnTo>
                <a:cubicBezTo>
                  <a:pt x="6859" y="8108"/>
                  <a:pt x="7347" y="8275"/>
                  <a:pt x="7859" y="8275"/>
                </a:cubicBezTo>
                <a:lnTo>
                  <a:pt x="8371" y="8275"/>
                </a:lnTo>
                <a:cubicBezTo>
                  <a:pt x="8764" y="8275"/>
                  <a:pt x="9073" y="8584"/>
                  <a:pt x="9073" y="8965"/>
                </a:cubicBezTo>
                <a:cubicBezTo>
                  <a:pt x="9073" y="9334"/>
                  <a:pt x="9383" y="9656"/>
                  <a:pt x="9764" y="9656"/>
                </a:cubicBezTo>
                <a:cubicBezTo>
                  <a:pt x="9847" y="9656"/>
                  <a:pt x="9919" y="9585"/>
                  <a:pt x="9919" y="9489"/>
                </a:cubicBezTo>
                <a:cubicBezTo>
                  <a:pt x="9919" y="9394"/>
                  <a:pt x="9847" y="9323"/>
                  <a:pt x="9764" y="9323"/>
                </a:cubicBezTo>
                <a:cubicBezTo>
                  <a:pt x="9562" y="9323"/>
                  <a:pt x="9407" y="9156"/>
                  <a:pt x="9407" y="8965"/>
                </a:cubicBezTo>
                <a:lnTo>
                  <a:pt x="9407" y="8620"/>
                </a:lnTo>
                <a:cubicBezTo>
                  <a:pt x="9407" y="7870"/>
                  <a:pt x="8788" y="7251"/>
                  <a:pt x="8038" y="7251"/>
                </a:cubicBezTo>
                <a:cubicBezTo>
                  <a:pt x="7645" y="7251"/>
                  <a:pt x="7287" y="7120"/>
                  <a:pt x="7026" y="6882"/>
                </a:cubicBezTo>
                <a:lnTo>
                  <a:pt x="8990" y="6882"/>
                </a:lnTo>
                <a:cubicBezTo>
                  <a:pt x="9003" y="6882"/>
                  <a:pt x="9015" y="6882"/>
                  <a:pt x="9028" y="6882"/>
                </a:cubicBezTo>
                <a:cubicBezTo>
                  <a:pt x="9727" y="6882"/>
                  <a:pt x="10359" y="6236"/>
                  <a:pt x="10359" y="5441"/>
                </a:cubicBezTo>
                <a:cubicBezTo>
                  <a:pt x="10359" y="4643"/>
                  <a:pt x="9704" y="3989"/>
                  <a:pt x="8895" y="3989"/>
                </a:cubicBezTo>
                <a:lnTo>
                  <a:pt x="8645" y="3989"/>
                </a:lnTo>
                <a:cubicBezTo>
                  <a:pt x="8454" y="3989"/>
                  <a:pt x="8288" y="3822"/>
                  <a:pt x="8288" y="3631"/>
                </a:cubicBezTo>
                <a:cubicBezTo>
                  <a:pt x="8288" y="3536"/>
                  <a:pt x="8216" y="3465"/>
                  <a:pt x="8121" y="3465"/>
                </a:cubicBezTo>
                <a:cubicBezTo>
                  <a:pt x="8038" y="3465"/>
                  <a:pt x="7966" y="3536"/>
                  <a:pt x="7966" y="3631"/>
                </a:cubicBezTo>
                <a:cubicBezTo>
                  <a:pt x="7966" y="4001"/>
                  <a:pt x="8276" y="4310"/>
                  <a:pt x="8645" y="4310"/>
                </a:cubicBezTo>
                <a:lnTo>
                  <a:pt x="8728" y="4310"/>
                </a:lnTo>
                <a:cubicBezTo>
                  <a:pt x="9169" y="4310"/>
                  <a:pt x="9526" y="4667"/>
                  <a:pt x="9526" y="5096"/>
                </a:cubicBezTo>
                <a:cubicBezTo>
                  <a:pt x="9526" y="5310"/>
                  <a:pt x="9431" y="5501"/>
                  <a:pt x="9288" y="5632"/>
                </a:cubicBezTo>
                <a:cubicBezTo>
                  <a:pt x="9144" y="5775"/>
                  <a:pt x="8969" y="5847"/>
                  <a:pt x="8774" y="5847"/>
                </a:cubicBezTo>
                <a:cubicBezTo>
                  <a:pt x="8759" y="5847"/>
                  <a:pt x="8743" y="5847"/>
                  <a:pt x="8728" y="5846"/>
                </a:cubicBezTo>
                <a:lnTo>
                  <a:pt x="6716" y="5751"/>
                </a:lnTo>
                <a:cubicBezTo>
                  <a:pt x="6823" y="5667"/>
                  <a:pt x="6895" y="5536"/>
                  <a:pt x="6906" y="5370"/>
                </a:cubicBezTo>
                <a:lnTo>
                  <a:pt x="7216" y="2238"/>
                </a:lnTo>
                <a:cubicBezTo>
                  <a:pt x="7276" y="1667"/>
                  <a:pt x="7085" y="1095"/>
                  <a:pt x="6692" y="667"/>
                </a:cubicBezTo>
                <a:cubicBezTo>
                  <a:pt x="6311" y="238"/>
                  <a:pt x="5752" y="0"/>
                  <a:pt x="5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5" name="Google Shape;12975;p63"/>
          <p:cNvSpPr/>
          <p:nvPr/>
        </p:nvSpPr>
        <p:spPr>
          <a:xfrm>
            <a:off x="3051853" y="2463538"/>
            <a:ext cx="355520" cy="315776"/>
          </a:xfrm>
          <a:custGeom>
            <a:avLst/>
            <a:gdLst/>
            <a:ahLst/>
            <a:cxnLst/>
            <a:rect l="l" t="t" r="r" b="b"/>
            <a:pathLst>
              <a:path w="11110" h="9868" extrusionOk="0">
                <a:moveTo>
                  <a:pt x="3096" y="1307"/>
                </a:moveTo>
                <a:cubicBezTo>
                  <a:pt x="3144" y="1367"/>
                  <a:pt x="3191" y="1426"/>
                  <a:pt x="3263" y="1474"/>
                </a:cubicBezTo>
                <a:cubicBezTo>
                  <a:pt x="3334" y="1521"/>
                  <a:pt x="3430" y="1533"/>
                  <a:pt x="3525" y="1533"/>
                </a:cubicBezTo>
                <a:cubicBezTo>
                  <a:pt x="3668" y="1533"/>
                  <a:pt x="3811" y="1498"/>
                  <a:pt x="3989" y="1426"/>
                </a:cubicBezTo>
                <a:lnTo>
                  <a:pt x="3989" y="1426"/>
                </a:lnTo>
                <a:cubicBezTo>
                  <a:pt x="3739" y="2319"/>
                  <a:pt x="2834" y="2914"/>
                  <a:pt x="2441" y="3129"/>
                </a:cubicBezTo>
                <a:cubicBezTo>
                  <a:pt x="2453" y="2950"/>
                  <a:pt x="2477" y="2748"/>
                  <a:pt x="2501" y="2557"/>
                </a:cubicBezTo>
                <a:cubicBezTo>
                  <a:pt x="2596" y="2117"/>
                  <a:pt x="2810" y="1676"/>
                  <a:pt x="3096" y="1307"/>
                </a:cubicBezTo>
                <a:close/>
                <a:moveTo>
                  <a:pt x="7930" y="1307"/>
                </a:moveTo>
                <a:cubicBezTo>
                  <a:pt x="8228" y="1676"/>
                  <a:pt x="8442" y="2129"/>
                  <a:pt x="8525" y="2557"/>
                </a:cubicBezTo>
                <a:cubicBezTo>
                  <a:pt x="8573" y="2748"/>
                  <a:pt x="8585" y="2926"/>
                  <a:pt x="8585" y="3129"/>
                </a:cubicBezTo>
                <a:cubicBezTo>
                  <a:pt x="8204" y="2914"/>
                  <a:pt x="7275" y="2319"/>
                  <a:pt x="7037" y="1426"/>
                </a:cubicBezTo>
                <a:lnTo>
                  <a:pt x="7037" y="1426"/>
                </a:lnTo>
                <a:cubicBezTo>
                  <a:pt x="7216" y="1498"/>
                  <a:pt x="7370" y="1533"/>
                  <a:pt x="7501" y="1533"/>
                </a:cubicBezTo>
                <a:cubicBezTo>
                  <a:pt x="7609" y="1533"/>
                  <a:pt x="7692" y="1521"/>
                  <a:pt x="7775" y="1474"/>
                </a:cubicBezTo>
                <a:cubicBezTo>
                  <a:pt x="7847" y="1426"/>
                  <a:pt x="7906" y="1367"/>
                  <a:pt x="7930" y="1307"/>
                </a:cubicBezTo>
                <a:close/>
                <a:moveTo>
                  <a:pt x="6728" y="2914"/>
                </a:moveTo>
                <a:cubicBezTo>
                  <a:pt x="6835" y="2914"/>
                  <a:pt x="6906" y="3010"/>
                  <a:pt x="6906" y="3093"/>
                </a:cubicBezTo>
                <a:cubicBezTo>
                  <a:pt x="6906" y="3200"/>
                  <a:pt x="6823" y="3272"/>
                  <a:pt x="6728" y="3272"/>
                </a:cubicBezTo>
                <a:cubicBezTo>
                  <a:pt x="6620" y="3272"/>
                  <a:pt x="6549" y="3188"/>
                  <a:pt x="6549" y="3093"/>
                </a:cubicBezTo>
                <a:cubicBezTo>
                  <a:pt x="6549" y="3010"/>
                  <a:pt x="6644" y="2914"/>
                  <a:pt x="6728" y="2914"/>
                </a:cubicBezTo>
                <a:close/>
                <a:moveTo>
                  <a:pt x="4299" y="2914"/>
                </a:moveTo>
                <a:cubicBezTo>
                  <a:pt x="4406" y="2914"/>
                  <a:pt x="4477" y="3010"/>
                  <a:pt x="4477" y="3093"/>
                </a:cubicBezTo>
                <a:cubicBezTo>
                  <a:pt x="4477" y="3200"/>
                  <a:pt x="4394" y="3272"/>
                  <a:pt x="4299" y="3272"/>
                </a:cubicBezTo>
                <a:cubicBezTo>
                  <a:pt x="4293" y="3272"/>
                  <a:pt x="4288" y="3273"/>
                  <a:pt x="4283" y="3273"/>
                </a:cubicBezTo>
                <a:cubicBezTo>
                  <a:pt x="4204" y="3273"/>
                  <a:pt x="4120" y="3193"/>
                  <a:pt x="4120" y="3093"/>
                </a:cubicBezTo>
                <a:cubicBezTo>
                  <a:pt x="4120" y="2986"/>
                  <a:pt x="4215" y="2914"/>
                  <a:pt x="4299" y="2914"/>
                </a:cubicBezTo>
                <a:close/>
                <a:moveTo>
                  <a:pt x="6732" y="1"/>
                </a:moveTo>
                <a:cubicBezTo>
                  <a:pt x="6670" y="1"/>
                  <a:pt x="6603" y="32"/>
                  <a:pt x="6585" y="105"/>
                </a:cubicBezTo>
                <a:cubicBezTo>
                  <a:pt x="6549" y="176"/>
                  <a:pt x="6585" y="283"/>
                  <a:pt x="6668" y="307"/>
                </a:cubicBezTo>
                <a:cubicBezTo>
                  <a:pt x="7037" y="474"/>
                  <a:pt x="7394" y="724"/>
                  <a:pt x="7680" y="1021"/>
                </a:cubicBezTo>
                <a:cubicBezTo>
                  <a:pt x="7680" y="1057"/>
                  <a:pt x="7668" y="1152"/>
                  <a:pt x="7609" y="1188"/>
                </a:cubicBezTo>
                <a:cubicBezTo>
                  <a:pt x="7593" y="1194"/>
                  <a:pt x="7560" y="1205"/>
                  <a:pt x="7505" y="1205"/>
                </a:cubicBezTo>
                <a:cubicBezTo>
                  <a:pt x="7353" y="1205"/>
                  <a:pt x="7027" y="1126"/>
                  <a:pt x="6382" y="664"/>
                </a:cubicBezTo>
                <a:cubicBezTo>
                  <a:pt x="6356" y="643"/>
                  <a:pt x="6326" y="634"/>
                  <a:pt x="6295" y="634"/>
                </a:cubicBezTo>
                <a:cubicBezTo>
                  <a:pt x="6241" y="634"/>
                  <a:pt x="6186" y="662"/>
                  <a:pt x="6156" y="700"/>
                </a:cubicBezTo>
                <a:cubicBezTo>
                  <a:pt x="6097" y="771"/>
                  <a:pt x="6132" y="879"/>
                  <a:pt x="6192" y="914"/>
                </a:cubicBezTo>
                <a:cubicBezTo>
                  <a:pt x="6358" y="1033"/>
                  <a:pt x="6525" y="1140"/>
                  <a:pt x="6668" y="1236"/>
                </a:cubicBezTo>
                <a:cubicBezTo>
                  <a:pt x="6739" y="1831"/>
                  <a:pt x="7120" y="2403"/>
                  <a:pt x="7716" y="2914"/>
                </a:cubicBezTo>
                <a:cubicBezTo>
                  <a:pt x="8073" y="3212"/>
                  <a:pt x="8406" y="3391"/>
                  <a:pt x="8561" y="3462"/>
                </a:cubicBezTo>
                <a:cubicBezTo>
                  <a:pt x="8490" y="3938"/>
                  <a:pt x="8263" y="4391"/>
                  <a:pt x="7906" y="4808"/>
                </a:cubicBezTo>
                <a:cubicBezTo>
                  <a:pt x="7894" y="4772"/>
                  <a:pt x="7871" y="4760"/>
                  <a:pt x="7859" y="4724"/>
                </a:cubicBezTo>
                <a:cubicBezTo>
                  <a:pt x="7830" y="4681"/>
                  <a:pt x="7783" y="4655"/>
                  <a:pt x="7732" y="4655"/>
                </a:cubicBezTo>
                <a:cubicBezTo>
                  <a:pt x="7699" y="4655"/>
                  <a:pt x="7665" y="4665"/>
                  <a:pt x="7632" y="4689"/>
                </a:cubicBezTo>
                <a:cubicBezTo>
                  <a:pt x="7561" y="4724"/>
                  <a:pt x="7537" y="4831"/>
                  <a:pt x="7597" y="4903"/>
                </a:cubicBezTo>
                <a:cubicBezTo>
                  <a:pt x="7728" y="5129"/>
                  <a:pt x="7799" y="5355"/>
                  <a:pt x="7799" y="5605"/>
                </a:cubicBezTo>
                <a:cubicBezTo>
                  <a:pt x="7799" y="5832"/>
                  <a:pt x="7680" y="6272"/>
                  <a:pt x="6918" y="6748"/>
                </a:cubicBezTo>
                <a:cubicBezTo>
                  <a:pt x="6406" y="7082"/>
                  <a:pt x="5823" y="7260"/>
                  <a:pt x="5537" y="7260"/>
                </a:cubicBezTo>
                <a:cubicBezTo>
                  <a:pt x="5239" y="7260"/>
                  <a:pt x="4680" y="7082"/>
                  <a:pt x="4156" y="6748"/>
                </a:cubicBezTo>
                <a:cubicBezTo>
                  <a:pt x="3394" y="6260"/>
                  <a:pt x="3275" y="5832"/>
                  <a:pt x="3275" y="5605"/>
                </a:cubicBezTo>
                <a:cubicBezTo>
                  <a:pt x="3275" y="4700"/>
                  <a:pt x="4287" y="3950"/>
                  <a:pt x="5537" y="3950"/>
                </a:cubicBezTo>
                <a:cubicBezTo>
                  <a:pt x="6144" y="3950"/>
                  <a:pt x="6716" y="4129"/>
                  <a:pt x="7144" y="4450"/>
                </a:cubicBezTo>
                <a:cubicBezTo>
                  <a:pt x="7172" y="4474"/>
                  <a:pt x="7205" y="4484"/>
                  <a:pt x="7238" y="4484"/>
                </a:cubicBezTo>
                <a:cubicBezTo>
                  <a:pt x="7290" y="4484"/>
                  <a:pt x="7341" y="4458"/>
                  <a:pt x="7370" y="4415"/>
                </a:cubicBezTo>
                <a:cubicBezTo>
                  <a:pt x="7430" y="4343"/>
                  <a:pt x="7418" y="4236"/>
                  <a:pt x="7335" y="4188"/>
                </a:cubicBezTo>
                <a:cubicBezTo>
                  <a:pt x="7156" y="4057"/>
                  <a:pt x="6966" y="3950"/>
                  <a:pt x="6775" y="3879"/>
                </a:cubicBezTo>
                <a:lnTo>
                  <a:pt x="6823" y="3629"/>
                </a:lnTo>
                <a:cubicBezTo>
                  <a:pt x="7073" y="3593"/>
                  <a:pt x="7263" y="3391"/>
                  <a:pt x="7263" y="3117"/>
                </a:cubicBezTo>
                <a:cubicBezTo>
                  <a:pt x="7263" y="2843"/>
                  <a:pt x="7037" y="2617"/>
                  <a:pt x="6763" y="2617"/>
                </a:cubicBezTo>
                <a:cubicBezTo>
                  <a:pt x="6478" y="2617"/>
                  <a:pt x="6251" y="2843"/>
                  <a:pt x="6251" y="3117"/>
                </a:cubicBezTo>
                <a:cubicBezTo>
                  <a:pt x="6251" y="3319"/>
                  <a:pt x="6358" y="3474"/>
                  <a:pt x="6501" y="3569"/>
                </a:cubicBezTo>
                <a:lnTo>
                  <a:pt x="6466" y="3796"/>
                </a:lnTo>
                <a:cubicBezTo>
                  <a:pt x="6180" y="3700"/>
                  <a:pt x="5870" y="3653"/>
                  <a:pt x="5549" y="3653"/>
                </a:cubicBezTo>
                <a:cubicBezTo>
                  <a:pt x="5239" y="3653"/>
                  <a:pt x="4930" y="3700"/>
                  <a:pt x="4644" y="3796"/>
                </a:cubicBezTo>
                <a:lnTo>
                  <a:pt x="4596" y="3569"/>
                </a:lnTo>
                <a:cubicBezTo>
                  <a:pt x="4751" y="3474"/>
                  <a:pt x="4858" y="3319"/>
                  <a:pt x="4858" y="3117"/>
                </a:cubicBezTo>
                <a:cubicBezTo>
                  <a:pt x="4858" y="2843"/>
                  <a:pt x="4632" y="2617"/>
                  <a:pt x="4346" y="2617"/>
                </a:cubicBezTo>
                <a:cubicBezTo>
                  <a:pt x="4061" y="2617"/>
                  <a:pt x="3846" y="2843"/>
                  <a:pt x="3846" y="3117"/>
                </a:cubicBezTo>
                <a:cubicBezTo>
                  <a:pt x="3846" y="3379"/>
                  <a:pt x="4037" y="3593"/>
                  <a:pt x="4287" y="3629"/>
                </a:cubicBezTo>
                <a:lnTo>
                  <a:pt x="4334" y="3879"/>
                </a:lnTo>
                <a:cubicBezTo>
                  <a:pt x="4120" y="3974"/>
                  <a:pt x="3918" y="4069"/>
                  <a:pt x="3739" y="4212"/>
                </a:cubicBezTo>
                <a:cubicBezTo>
                  <a:pt x="3501" y="4391"/>
                  <a:pt x="3310" y="4593"/>
                  <a:pt x="3168" y="4831"/>
                </a:cubicBezTo>
                <a:cubicBezTo>
                  <a:pt x="2810" y="4415"/>
                  <a:pt x="2596" y="3950"/>
                  <a:pt x="2513" y="3498"/>
                </a:cubicBezTo>
                <a:cubicBezTo>
                  <a:pt x="2668" y="3415"/>
                  <a:pt x="3013" y="3236"/>
                  <a:pt x="3370" y="2938"/>
                </a:cubicBezTo>
                <a:cubicBezTo>
                  <a:pt x="3977" y="2438"/>
                  <a:pt x="4334" y="1855"/>
                  <a:pt x="4406" y="1260"/>
                </a:cubicBezTo>
                <a:cubicBezTo>
                  <a:pt x="4561" y="1176"/>
                  <a:pt x="4703" y="1069"/>
                  <a:pt x="4882" y="950"/>
                </a:cubicBezTo>
                <a:cubicBezTo>
                  <a:pt x="4954" y="890"/>
                  <a:pt x="4977" y="795"/>
                  <a:pt x="4918" y="724"/>
                </a:cubicBezTo>
                <a:cubicBezTo>
                  <a:pt x="4884" y="683"/>
                  <a:pt x="4839" y="662"/>
                  <a:pt x="4793" y="662"/>
                </a:cubicBezTo>
                <a:cubicBezTo>
                  <a:pt x="4758" y="662"/>
                  <a:pt x="4722" y="674"/>
                  <a:pt x="4692" y="700"/>
                </a:cubicBezTo>
                <a:cubicBezTo>
                  <a:pt x="4058" y="1145"/>
                  <a:pt x="3732" y="1240"/>
                  <a:pt x="3577" y="1240"/>
                </a:cubicBezTo>
                <a:cubicBezTo>
                  <a:pt x="3516" y="1240"/>
                  <a:pt x="3482" y="1225"/>
                  <a:pt x="3465" y="1212"/>
                </a:cubicBezTo>
                <a:cubicBezTo>
                  <a:pt x="3394" y="1176"/>
                  <a:pt x="3394" y="1081"/>
                  <a:pt x="3394" y="1057"/>
                </a:cubicBezTo>
                <a:cubicBezTo>
                  <a:pt x="3691" y="759"/>
                  <a:pt x="4037" y="498"/>
                  <a:pt x="4406" y="343"/>
                </a:cubicBezTo>
                <a:cubicBezTo>
                  <a:pt x="4477" y="307"/>
                  <a:pt x="4525" y="200"/>
                  <a:pt x="4501" y="128"/>
                </a:cubicBezTo>
                <a:cubicBezTo>
                  <a:pt x="4474" y="74"/>
                  <a:pt x="4404" y="33"/>
                  <a:pt x="4341" y="33"/>
                </a:cubicBezTo>
                <a:cubicBezTo>
                  <a:pt x="4322" y="33"/>
                  <a:pt x="4303" y="37"/>
                  <a:pt x="4287" y="45"/>
                </a:cubicBezTo>
                <a:cubicBezTo>
                  <a:pt x="3811" y="247"/>
                  <a:pt x="3370" y="593"/>
                  <a:pt x="2989" y="1021"/>
                </a:cubicBezTo>
                <a:cubicBezTo>
                  <a:pt x="2608" y="1486"/>
                  <a:pt x="2334" y="2010"/>
                  <a:pt x="2239" y="2522"/>
                </a:cubicBezTo>
                <a:cubicBezTo>
                  <a:pt x="2096" y="3176"/>
                  <a:pt x="2120" y="4165"/>
                  <a:pt x="3025" y="5141"/>
                </a:cubicBezTo>
                <a:lnTo>
                  <a:pt x="3049" y="5177"/>
                </a:lnTo>
                <a:cubicBezTo>
                  <a:pt x="3037" y="5248"/>
                  <a:pt x="3013" y="5320"/>
                  <a:pt x="3013" y="5403"/>
                </a:cubicBezTo>
                <a:lnTo>
                  <a:pt x="1715" y="5403"/>
                </a:lnTo>
                <a:cubicBezTo>
                  <a:pt x="1596" y="5403"/>
                  <a:pt x="1477" y="5439"/>
                  <a:pt x="1370" y="5522"/>
                </a:cubicBezTo>
                <a:lnTo>
                  <a:pt x="72" y="6653"/>
                </a:lnTo>
                <a:cubicBezTo>
                  <a:pt x="1" y="6713"/>
                  <a:pt x="1" y="6808"/>
                  <a:pt x="60" y="6867"/>
                </a:cubicBezTo>
                <a:cubicBezTo>
                  <a:pt x="96" y="6903"/>
                  <a:pt x="131" y="6927"/>
                  <a:pt x="179" y="6927"/>
                </a:cubicBezTo>
                <a:cubicBezTo>
                  <a:pt x="227" y="6927"/>
                  <a:pt x="251" y="6915"/>
                  <a:pt x="286" y="6891"/>
                </a:cubicBezTo>
                <a:lnTo>
                  <a:pt x="1584" y="5760"/>
                </a:lnTo>
                <a:cubicBezTo>
                  <a:pt x="1608" y="5724"/>
                  <a:pt x="1655" y="5712"/>
                  <a:pt x="1703" y="5712"/>
                </a:cubicBezTo>
                <a:lnTo>
                  <a:pt x="2965" y="5712"/>
                </a:lnTo>
                <a:cubicBezTo>
                  <a:pt x="2965" y="5796"/>
                  <a:pt x="2989" y="5891"/>
                  <a:pt x="3013" y="5962"/>
                </a:cubicBezTo>
                <a:lnTo>
                  <a:pt x="1858" y="6332"/>
                </a:lnTo>
                <a:cubicBezTo>
                  <a:pt x="1763" y="6367"/>
                  <a:pt x="1679" y="6427"/>
                  <a:pt x="1608" y="6510"/>
                </a:cubicBezTo>
                <a:lnTo>
                  <a:pt x="632" y="7808"/>
                </a:lnTo>
                <a:cubicBezTo>
                  <a:pt x="572" y="7879"/>
                  <a:pt x="584" y="7987"/>
                  <a:pt x="655" y="8034"/>
                </a:cubicBezTo>
                <a:cubicBezTo>
                  <a:pt x="691" y="8046"/>
                  <a:pt x="715" y="8058"/>
                  <a:pt x="763" y="8058"/>
                </a:cubicBezTo>
                <a:cubicBezTo>
                  <a:pt x="810" y="8058"/>
                  <a:pt x="870" y="8046"/>
                  <a:pt x="893" y="7998"/>
                </a:cubicBezTo>
                <a:lnTo>
                  <a:pt x="1882" y="6713"/>
                </a:lnTo>
                <a:cubicBezTo>
                  <a:pt x="1906" y="6677"/>
                  <a:pt x="1941" y="6653"/>
                  <a:pt x="1965" y="6653"/>
                </a:cubicBezTo>
                <a:lnTo>
                  <a:pt x="3156" y="6260"/>
                </a:lnTo>
                <a:cubicBezTo>
                  <a:pt x="3203" y="6332"/>
                  <a:pt x="3251" y="6415"/>
                  <a:pt x="3310" y="6474"/>
                </a:cubicBezTo>
                <a:lnTo>
                  <a:pt x="2156" y="7308"/>
                </a:lnTo>
                <a:cubicBezTo>
                  <a:pt x="2096" y="7344"/>
                  <a:pt x="2036" y="7403"/>
                  <a:pt x="2013" y="7486"/>
                </a:cubicBezTo>
                <a:lnTo>
                  <a:pt x="1358" y="8749"/>
                </a:lnTo>
                <a:cubicBezTo>
                  <a:pt x="1310" y="8820"/>
                  <a:pt x="1346" y="8927"/>
                  <a:pt x="1429" y="8975"/>
                </a:cubicBezTo>
                <a:cubicBezTo>
                  <a:pt x="1465" y="8987"/>
                  <a:pt x="1477" y="8987"/>
                  <a:pt x="1501" y="8987"/>
                </a:cubicBezTo>
                <a:cubicBezTo>
                  <a:pt x="1560" y="8987"/>
                  <a:pt x="1620" y="8951"/>
                  <a:pt x="1655" y="8891"/>
                </a:cubicBezTo>
                <a:lnTo>
                  <a:pt x="2310" y="7629"/>
                </a:lnTo>
                <a:cubicBezTo>
                  <a:pt x="2322" y="7606"/>
                  <a:pt x="2334" y="7582"/>
                  <a:pt x="2370" y="7570"/>
                </a:cubicBezTo>
                <a:lnTo>
                  <a:pt x="3560" y="6724"/>
                </a:lnTo>
                <a:cubicBezTo>
                  <a:pt x="3632" y="6796"/>
                  <a:pt x="3727" y="6855"/>
                  <a:pt x="3799" y="6915"/>
                </a:cubicBezTo>
                <a:lnTo>
                  <a:pt x="2846" y="7784"/>
                </a:lnTo>
                <a:cubicBezTo>
                  <a:pt x="2775" y="7856"/>
                  <a:pt x="2715" y="7939"/>
                  <a:pt x="2691" y="8046"/>
                </a:cubicBezTo>
                <a:lnTo>
                  <a:pt x="2322" y="9665"/>
                </a:lnTo>
                <a:cubicBezTo>
                  <a:pt x="2310" y="9761"/>
                  <a:pt x="2358" y="9856"/>
                  <a:pt x="2441" y="9868"/>
                </a:cubicBezTo>
                <a:lnTo>
                  <a:pt x="2477" y="9868"/>
                </a:lnTo>
                <a:cubicBezTo>
                  <a:pt x="2548" y="9868"/>
                  <a:pt x="2608" y="9820"/>
                  <a:pt x="2632" y="9725"/>
                </a:cubicBezTo>
                <a:lnTo>
                  <a:pt x="3013" y="8106"/>
                </a:lnTo>
                <a:cubicBezTo>
                  <a:pt x="3025" y="8082"/>
                  <a:pt x="3037" y="8034"/>
                  <a:pt x="3072" y="8022"/>
                </a:cubicBezTo>
                <a:lnTo>
                  <a:pt x="4084" y="7094"/>
                </a:lnTo>
                <a:cubicBezTo>
                  <a:pt x="4620" y="7427"/>
                  <a:pt x="5227" y="7617"/>
                  <a:pt x="5585" y="7617"/>
                </a:cubicBezTo>
                <a:cubicBezTo>
                  <a:pt x="5942" y="7617"/>
                  <a:pt x="6549" y="7427"/>
                  <a:pt x="7085" y="7094"/>
                </a:cubicBezTo>
                <a:lnTo>
                  <a:pt x="8097" y="8022"/>
                </a:lnTo>
                <a:cubicBezTo>
                  <a:pt x="8132" y="8046"/>
                  <a:pt x="8144" y="8082"/>
                  <a:pt x="8156" y="8106"/>
                </a:cubicBezTo>
                <a:lnTo>
                  <a:pt x="8525" y="9725"/>
                </a:lnTo>
                <a:cubicBezTo>
                  <a:pt x="8549" y="9808"/>
                  <a:pt x="8621" y="9868"/>
                  <a:pt x="8692" y="9868"/>
                </a:cubicBezTo>
                <a:lnTo>
                  <a:pt x="8728" y="9868"/>
                </a:lnTo>
                <a:cubicBezTo>
                  <a:pt x="8811" y="9844"/>
                  <a:pt x="8871" y="9761"/>
                  <a:pt x="8847" y="9665"/>
                </a:cubicBezTo>
                <a:lnTo>
                  <a:pt x="8466" y="8046"/>
                </a:lnTo>
                <a:cubicBezTo>
                  <a:pt x="8442" y="7951"/>
                  <a:pt x="8394" y="7856"/>
                  <a:pt x="8323" y="7784"/>
                </a:cubicBezTo>
                <a:lnTo>
                  <a:pt x="7370" y="6915"/>
                </a:lnTo>
                <a:cubicBezTo>
                  <a:pt x="7454" y="6855"/>
                  <a:pt x="7537" y="6784"/>
                  <a:pt x="7609" y="6724"/>
                </a:cubicBezTo>
                <a:lnTo>
                  <a:pt x="8799" y="7570"/>
                </a:lnTo>
                <a:cubicBezTo>
                  <a:pt x="8823" y="7582"/>
                  <a:pt x="8847" y="7617"/>
                  <a:pt x="8859" y="7629"/>
                </a:cubicBezTo>
                <a:lnTo>
                  <a:pt x="9514" y="8891"/>
                </a:lnTo>
                <a:cubicBezTo>
                  <a:pt x="9537" y="8951"/>
                  <a:pt x="9597" y="8987"/>
                  <a:pt x="9656" y="8987"/>
                </a:cubicBezTo>
                <a:cubicBezTo>
                  <a:pt x="9692" y="8987"/>
                  <a:pt x="9704" y="8987"/>
                  <a:pt x="9740" y="8975"/>
                </a:cubicBezTo>
                <a:cubicBezTo>
                  <a:pt x="9811" y="8927"/>
                  <a:pt x="9835" y="8832"/>
                  <a:pt x="9811" y="8749"/>
                </a:cubicBezTo>
                <a:lnTo>
                  <a:pt x="9156" y="7486"/>
                </a:lnTo>
                <a:cubicBezTo>
                  <a:pt x="9121" y="7403"/>
                  <a:pt x="9061" y="7344"/>
                  <a:pt x="9002" y="7308"/>
                </a:cubicBezTo>
                <a:lnTo>
                  <a:pt x="7859" y="6474"/>
                </a:lnTo>
                <a:cubicBezTo>
                  <a:pt x="7918" y="6391"/>
                  <a:pt x="7966" y="6332"/>
                  <a:pt x="8013" y="6260"/>
                </a:cubicBezTo>
                <a:lnTo>
                  <a:pt x="9204" y="6653"/>
                </a:lnTo>
                <a:cubicBezTo>
                  <a:pt x="9228" y="6665"/>
                  <a:pt x="9275" y="6677"/>
                  <a:pt x="9287" y="6713"/>
                </a:cubicBezTo>
                <a:lnTo>
                  <a:pt x="10276" y="7998"/>
                </a:lnTo>
                <a:cubicBezTo>
                  <a:pt x="10299" y="8046"/>
                  <a:pt x="10347" y="8058"/>
                  <a:pt x="10407" y="8058"/>
                </a:cubicBezTo>
                <a:cubicBezTo>
                  <a:pt x="10430" y="8058"/>
                  <a:pt x="10478" y="8046"/>
                  <a:pt x="10514" y="8034"/>
                </a:cubicBezTo>
                <a:cubicBezTo>
                  <a:pt x="10585" y="7975"/>
                  <a:pt x="10597" y="7879"/>
                  <a:pt x="10538" y="7808"/>
                </a:cubicBezTo>
                <a:lnTo>
                  <a:pt x="9561" y="6510"/>
                </a:lnTo>
                <a:cubicBezTo>
                  <a:pt x="9502" y="6427"/>
                  <a:pt x="9406" y="6367"/>
                  <a:pt x="9299" y="6332"/>
                </a:cubicBezTo>
                <a:lnTo>
                  <a:pt x="8156" y="5962"/>
                </a:lnTo>
                <a:cubicBezTo>
                  <a:pt x="8192" y="5879"/>
                  <a:pt x="8204" y="5784"/>
                  <a:pt x="8204" y="5712"/>
                </a:cubicBezTo>
                <a:lnTo>
                  <a:pt x="9466" y="5712"/>
                </a:lnTo>
                <a:cubicBezTo>
                  <a:pt x="9514" y="5712"/>
                  <a:pt x="9561" y="5724"/>
                  <a:pt x="9585" y="5760"/>
                </a:cubicBezTo>
                <a:lnTo>
                  <a:pt x="10883" y="6891"/>
                </a:lnTo>
                <a:cubicBezTo>
                  <a:pt x="10907" y="6915"/>
                  <a:pt x="10954" y="6927"/>
                  <a:pt x="10990" y="6927"/>
                </a:cubicBezTo>
                <a:cubicBezTo>
                  <a:pt x="11026" y="6927"/>
                  <a:pt x="11073" y="6915"/>
                  <a:pt x="11109" y="6879"/>
                </a:cubicBezTo>
                <a:cubicBezTo>
                  <a:pt x="11073" y="6784"/>
                  <a:pt x="11073" y="6677"/>
                  <a:pt x="11002" y="6617"/>
                </a:cubicBezTo>
                <a:lnTo>
                  <a:pt x="9704" y="5486"/>
                </a:lnTo>
                <a:cubicBezTo>
                  <a:pt x="9621" y="5415"/>
                  <a:pt x="9502" y="5367"/>
                  <a:pt x="9359" y="5367"/>
                </a:cubicBezTo>
                <a:lnTo>
                  <a:pt x="8073" y="5367"/>
                </a:lnTo>
                <a:lnTo>
                  <a:pt x="8025" y="5141"/>
                </a:lnTo>
                <a:lnTo>
                  <a:pt x="8049" y="5117"/>
                </a:lnTo>
                <a:cubicBezTo>
                  <a:pt x="8942" y="4129"/>
                  <a:pt x="8978" y="3153"/>
                  <a:pt x="8847" y="2498"/>
                </a:cubicBezTo>
                <a:cubicBezTo>
                  <a:pt x="8728" y="1962"/>
                  <a:pt x="8466" y="1438"/>
                  <a:pt x="8085" y="998"/>
                </a:cubicBezTo>
                <a:cubicBezTo>
                  <a:pt x="7728" y="581"/>
                  <a:pt x="7263" y="224"/>
                  <a:pt x="6787" y="9"/>
                </a:cubicBezTo>
                <a:cubicBezTo>
                  <a:pt x="6770" y="4"/>
                  <a:pt x="6751" y="1"/>
                  <a:pt x="67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76" name="Google Shape;12976;p63"/>
          <p:cNvGrpSpPr/>
          <p:nvPr/>
        </p:nvGrpSpPr>
        <p:grpSpPr>
          <a:xfrm>
            <a:off x="1953037" y="2552242"/>
            <a:ext cx="355136" cy="227072"/>
            <a:chOff x="1953037" y="2552242"/>
            <a:chExt cx="355136" cy="227072"/>
          </a:xfrm>
        </p:grpSpPr>
        <p:sp>
          <p:nvSpPr>
            <p:cNvPr id="12977" name="Google Shape;12977;p63"/>
            <p:cNvSpPr/>
            <p:nvPr/>
          </p:nvSpPr>
          <p:spPr>
            <a:xfrm>
              <a:off x="1953037" y="2552242"/>
              <a:ext cx="355136" cy="227072"/>
            </a:xfrm>
            <a:custGeom>
              <a:avLst/>
              <a:gdLst/>
              <a:ahLst/>
              <a:cxnLst/>
              <a:rect l="l" t="t" r="r" b="b"/>
              <a:pathLst>
                <a:path w="11098" h="7096" extrusionOk="0">
                  <a:moveTo>
                    <a:pt x="6198" y="1414"/>
                  </a:moveTo>
                  <a:cubicBezTo>
                    <a:pt x="6408" y="1414"/>
                    <a:pt x="6616" y="1431"/>
                    <a:pt x="6823" y="1464"/>
                  </a:cubicBezTo>
                  <a:cubicBezTo>
                    <a:pt x="6895" y="1488"/>
                    <a:pt x="6990" y="1500"/>
                    <a:pt x="7073" y="1512"/>
                  </a:cubicBezTo>
                  <a:lnTo>
                    <a:pt x="6907" y="2464"/>
                  </a:lnTo>
                  <a:lnTo>
                    <a:pt x="5573" y="2929"/>
                  </a:lnTo>
                  <a:lnTo>
                    <a:pt x="4978" y="1607"/>
                  </a:lnTo>
                  <a:cubicBezTo>
                    <a:pt x="5397" y="1475"/>
                    <a:pt x="5802" y="1414"/>
                    <a:pt x="6198" y="1414"/>
                  </a:cubicBezTo>
                  <a:close/>
                  <a:moveTo>
                    <a:pt x="7407" y="1607"/>
                  </a:moveTo>
                  <a:cubicBezTo>
                    <a:pt x="7883" y="1750"/>
                    <a:pt x="8478" y="2036"/>
                    <a:pt x="9097" y="2524"/>
                  </a:cubicBezTo>
                  <a:lnTo>
                    <a:pt x="9038" y="2571"/>
                  </a:lnTo>
                  <a:cubicBezTo>
                    <a:pt x="8966" y="2619"/>
                    <a:pt x="8954" y="2714"/>
                    <a:pt x="8990" y="2798"/>
                  </a:cubicBezTo>
                  <a:cubicBezTo>
                    <a:pt x="9026" y="2833"/>
                    <a:pt x="9085" y="2869"/>
                    <a:pt x="9133" y="2869"/>
                  </a:cubicBezTo>
                  <a:cubicBezTo>
                    <a:pt x="9157" y="2869"/>
                    <a:pt x="9193" y="2857"/>
                    <a:pt x="9216" y="2833"/>
                  </a:cubicBezTo>
                  <a:lnTo>
                    <a:pt x="9335" y="2750"/>
                  </a:lnTo>
                  <a:cubicBezTo>
                    <a:pt x="9740" y="3119"/>
                    <a:pt x="10157" y="3583"/>
                    <a:pt x="10574" y="4179"/>
                  </a:cubicBezTo>
                  <a:cubicBezTo>
                    <a:pt x="9883" y="4357"/>
                    <a:pt x="9228" y="4488"/>
                    <a:pt x="8633" y="4584"/>
                  </a:cubicBezTo>
                  <a:lnTo>
                    <a:pt x="8395" y="3417"/>
                  </a:lnTo>
                  <a:lnTo>
                    <a:pt x="8692" y="3214"/>
                  </a:lnTo>
                  <a:cubicBezTo>
                    <a:pt x="8776" y="3167"/>
                    <a:pt x="8788" y="3060"/>
                    <a:pt x="8740" y="2988"/>
                  </a:cubicBezTo>
                  <a:cubicBezTo>
                    <a:pt x="8709" y="2942"/>
                    <a:pt x="8659" y="2916"/>
                    <a:pt x="8604" y="2916"/>
                  </a:cubicBezTo>
                  <a:cubicBezTo>
                    <a:pt x="8574" y="2916"/>
                    <a:pt x="8543" y="2924"/>
                    <a:pt x="8514" y="2940"/>
                  </a:cubicBezTo>
                  <a:lnTo>
                    <a:pt x="8216" y="3155"/>
                  </a:lnTo>
                  <a:lnTo>
                    <a:pt x="7252" y="2512"/>
                  </a:lnTo>
                  <a:lnTo>
                    <a:pt x="7407" y="1607"/>
                  </a:lnTo>
                  <a:close/>
                  <a:moveTo>
                    <a:pt x="7049" y="2750"/>
                  </a:moveTo>
                  <a:lnTo>
                    <a:pt x="8073" y="3429"/>
                  </a:lnTo>
                  <a:lnTo>
                    <a:pt x="8311" y="4607"/>
                  </a:lnTo>
                  <a:cubicBezTo>
                    <a:pt x="7883" y="4661"/>
                    <a:pt x="7474" y="4688"/>
                    <a:pt x="7096" y="4688"/>
                  </a:cubicBezTo>
                  <a:cubicBezTo>
                    <a:pt x="6970" y="4688"/>
                    <a:pt x="6847" y="4685"/>
                    <a:pt x="6728" y="4679"/>
                  </a:cubicBezTo>
                  <a:cubicBezTo>
                    <a:pt x="6073" y="4655"/>
                    <a:pt x="5490" y="4548"/>
                    <a:pt x="5025" y="4345"/>
                  </a:cubicBezTo>
                  <a:lnTo>
                    <a:pt x="5621" y="3250"/>
                  </a:lnTo>
                  <a:lnTo>
                    <a:pt x="7049" y="2750"/>
                  </a:lnTo>
                  <a:close/>
                  <a:moveTo>
                    <a:pt x="1561" y="300"/>
                  </a:moveTo>
                  <a:cubicBezTo>
                    <a:pt x="1774" y="300"/>
                    <a:pt x="1974" y="373"/>
                    <a:pt x="2132" y="512"/>
                  </a:cubicBezTo>
                  <a:cubicBezTo>
                    <a:pt x="2323" y="678"/>
                    <a:pt x="2430" y="916"/>
                    <a:pt x="2430" y="1178"/>
                  </a:cubicBezTo>
                  <a:lnTo>
                    <a:pt x="2430" y="2762"/>
                  </a:lnTo>
                  <a:cubicBezTo>
                    <a:pt x="2430" y="2786"/>
                    <a:pt x="2465" y="3381"/>
                    <a:pt x="2906" y="4036"/>
                  </a:cubicBezTo>
                  <a:lnTo>
                    <a:pt x="2858" y="4060"/>
                  </a:lnTo>
                  <a:cubicBezTo>
                    <a:pt x="2608" y="4143"/>
                    <a:pt x="2430" y="4369"/>
                    <a:pt x="2394" y="4631"/>
                  </a:cubicBezTo>
                  <a:lnTo>
                    <a:pt x="2358" y="5084"/>
                  </a:lnTo>
                  <a:cubicBezTo>
                    <a:pt x="1358" y="4024"/>
                    <a:pt x="1192" y="2583"/>
                    <a:pt x="1192" y="2512"/>
                  </a:cubicBezTo>
                  <a:cubicBezTo>
                    <a:pt x="1180" y="2381"/>
                    <a:pt x="1072" y="2262"/>
                    <a:pt x="941" y="2214"/>
                  </a:cubicBezTo>
                  <a:lnTo>
                    <a:pt x="632" y="2143"/>
                  </a:lnTo>
                  <a:cubicBezTo>
                    <a:pt x="537" y="2119"/>
                    <a:pt x="501" y="2047"/>
                    <a:pt x="501" y="1964"/>
                  </a:cubicBezTo>
                  <a:lnTo>
                    <a:pt x="501" y="1869"/>
                  </a:lnTo>
                  <a:cubicBezTo>
                    <a:pt x="822" y="1857"/>
                    <a:pt x="1227" y="1809"/>
                    <a:pt x="1453" y="1690"/>
                  </a:cubicBezTo>
                  <a:cubicBezTo>
                    <a:pt x="1525" y="1643"/>
                    <a:pt x="1573" y="1559"/>
                    <a:pt x="1525" y="1464"/>
                  </a:cubicBezTo>
                  <a:cubicBezTo>
                    <a:pt x="1491" y="1413"/>
                    <a:pt x="1438" y="1373"/>
                    <a:pt x="1375" y="1373"/>
                  </a:cubicBezTo>
                  <a:cubicBezTo>
                    <a:pt x="1351" y="1373"/>
                    <a:pt x="1325" y="1379"/>
                    <a:pt x="1299" y="1393"/>
                  </a:cubicBezTo>
                  <a:cubicBezTo>
                    <a:pt x="1132" y="1464"/>
                    <a:pt x="799" y="1524"/>
                    <a:pt x="334" y="1547"/>
                  </a:cubicBezTo>
                  <a:lnTo>
                    <a:pt x="334" y="1524"/>
                  </a:lnTo>
                  <a:lnTo>
                    <a:pt x="334" y="916"/>
                  </a:lnTo>
                  <a:cubicBezTo>
                    <a:pt x="334" y="643"/>
                    <a:pt x="525" y="428"/>
                    <a:pt x="799" y="393"/>
                  </a:cubicBezTo>
                  <a:lnTo>
                    <a:pt x="1430" y="309"/>
                  </a:lnTo>
                  <a:cubicBezTo>
                    <a:pt x="1474" y="303"/>
                    <a:pt x="1517" y="300"/>
                    <a:pt x="1561" y="300"/>
                  </a:cubicBezTo>
                  <a:close/>
                  <a:moveTo>
                    <a:pt x="4692" y="1726"/>
                  </a:moveTo>
                  <a:lnTo>
                    <a:pt x="5335" y="3155"/>
                  </a:lnTo>
                  <a:lnTo>
                    <a:pt x="4740" y="4238"/>
                  </a:lnTo>
                  <a:cubicBezTo>
                    <a:pt x="4680" y="4203"/>
                    <a:pt x="4609" y="4167"/>
                    <a:pt x="4549" y="4131"/>
                  </a:cubicBezTo>
                  <a:cubicBezTo>
                    <a:pt x="4520" y="4115"/>
                    <a:pt x="4490" y="4107"/>
                    <a:pt x="4461" y="4107"/>
                  </a:cubicBezTo>
                  <a:cubicBezTo>
                    <a:pt x="4406" y="4107"/>
                    <a:pt x="4354" y="4136"/>
                    <a:pt x="4323" y="4191"/>
                  </a:cubicBezTo>
                  <a:cubicBezTo>
                    <a:pt x="4275" y="4262"/>
                    <a:pt x="4287" y="4369"/>
                    <a:pt x="4382" y="4417"/>
                  </a:cubicBezTo>
                  <a:cubicBezTo>
                    <a:pt x="5061" y="4845"/>
                    <a:pt x="5978" y="5060"/>
                    <a:pt x="7109" y="5060"/>
                  </a:cubicBezTo>
                  <a:cubicBezTo>
                    <a:pt x="8145" y="5060"/>
                    <a:pt x="9371" y="4881"/>
                    <a:pt x="10764" y="4500"/>
                  </a:cubicBezTo>
                  <a:lnTo>
                    <a:pt x="10764" y="4500"/>
                  </a:lnTo>
                  <a:cubicBezTo>
                    <a:pt x="10740" y="4536"/>
                    <a:pt x="10740" y="4595"/>
                    <a:pt x="10705" y="4655"/>
                  </a:cubicBezTo>
                  <a:cubicBezTo>
                    <a:pt x="10657" y="4774"/>
                    <a:pt x="10574" y="4845"/>
                    <a:pt x="10455" y="4881"/>
                  </a:cubicBezTo>
                  <a:cubicBezTo>
                    <a:pt x="9128" y="5204"/>
                    <a:pt x="7958" y="5362"/>
                    <a:pt x="6945" y="5362"/>
                  </a:cubicBezTo>
                  <a:cubicBezTo>
                    <a:pt x="6649" y="5362"/>
                    <a:pt x="6366" y="5349"/>
                    <a:pt x="6097" y="5322"/>
                  </a:cubicBezTo>
                  <a:cubicBezTo>
                    <a:pt x="5156" y="5238"/>
                    <a:pt x="4382" y="4965"/>
                    <a:pt x="3811" y="4536"/>
                  </a:cubicBezTo>
                  <a:cubicBezTo>
                    <a:pt x="2966" y="3905"/>
                    <a:pt x="2787" y="3095"/>
                    <a:pt x="2763" y="2833"/>
                  </a:cubicBezTo>
                  <a:cubicBezTo>
                    <a:pt x="2882" y="2750"/>
                    <a:pt x="2977" y="2655"/>
                    <a:pt x="3097" y="2583"/>
                  </a:cubicBezTo>
                  <a:cubicBezTo>
                    <a:pt x="3180" y="2952"/>
                    <a:pt x="3358" y="3476"/>
                    <a:pt x="3811" y="3952"/>
                  </a:cubicBezTo>
                  <a:cubicBezTo>
                    <a:pt x="3847" y="3988"/>
                    <a:pt x="3894" y="4000"/>
                    <a:pt x="3930" y="4000"/>
                  </a:cubicBezTo>
                  <a:cubicBezTo>
                    <a:pt x="3978" y="4000"/>
                    <a:pt x="4025" y="3988"/>
                    <a:pt x="4049" y="3952"/>
                  </a:cubicBezTo>
                  <a:cubicBezTo>
                    <a:pt x="4109" y="3893"/>
                    <a:pt x="4109" y="3786"/>
                    <a:pt x="4049" y="3726"/>
                  </a:cubicBezTo>
                  <a:cubicBezTo>
                    <a:pt x="3573" y="3250"/>
                    <a:pt x="3442" y="2714"/>
                    <a:pt x="3394" y="2393"/>
                  </a:cubicBezTo>
                  <a:cubicBezTo>
                    <a:pt x="3835" y="2107"/>
                    <a:pt x="4263" y="1881"/>
                    <a:pt x="4692" y="1726"/>
                  </a:cubicBezTo>
                  <a:close/>
                  <a:moveTo>
                    <a:pt x="9609" y="5417"/>
                  </a:moveTo>
                  <a:cubicBezTo>
                    <a:pt x="9490" y="5548"/>
                    <a:pt x="9371" y="5667"/>
                    <a:pt x="9252" y="5738"/>
                  </a:cubicBezTo>
                  <a:cubicBezTo>
                    <a:pt x="9216" y="5750"/>
                    <a:pt x="9157" y="5798"/>
                    <a:pt x="8978" y="5857"/>
                  </a:cubicBezTo>
                  <a:lnTo>
                    <a:pt x="8978" y="5512"/>
                  </a:lnTo>
                  <a:cubicBezTo>
                    <a:pt x="9193" y="5488"/>
                    <a:pt x="9383" y="5441"/>
                    <a:pt x="9609" y="5417"/>
                  </a:cubicBezTo>
                  <a:close/>
                  <a:moveTo>
                    <a:pt x="4668" y="5334"/>
                  </a:moveTo>
                  <a:cubicBezTo>
                    <a:pt x="5085" y="5488"/>
                    <a:pt x="5537" y="5596"/>
                    <a:pt x="6049" y="5631"/>
                  </a:cubicBezTo>
                  <a:cubicBezTo>
                    <a:pt x="6335" y="5667"/>
                    <a:pt x="6633" y="5679"/>
                    <a:pt x="6942" y="5679"/>
                  </a:cubicBezTo>
                  <a:cubicBezTo>
                    <a:pt x="7204" y="5679"/>
                    <a:pt x="7502" y="5667"/>
                    <a:pt x="7788" y="5655"/>
                  </a:cubicBezTo>
                  <a:lnTo>
                    <a:pt x="7788" y="5893"/>
                  </a:lnTo>
                  <a:cubicBezTo>
                    <a:pt x="7561" y="5893"/>
                    <a:pt x="7359" y="6012"/>
                    <a:pt x="7240" y="6203"/>
                  </a:cubicBezTo>
                  <a:cubicBezTo>
                    <a:pt x="6758" y="6257"/>
                    <a:pt x="6324" y="6280"/>
                    <a:pt x="5934" y="6280"/>
                  </a:cubicBezTo>
                  <a:cubicBezTo>
                    <a:pt x="4698" y="6280"/>
                    <a:pt x="3912" y="6050"/>
                    <a:pt x="3478" y="5869"/>
                  </a:cubicBezTo>
                  <a:lnTo>
                    <a:pt x="3501" y="5738"/>
                  </a:lnTo>
                  <a:cubicBezTo>
                    <a:pt x="3739" y="5738"/>
                    <a:pt x="4299" y="5691"/>
                    <a:pt x="4668" y="5334"/>
                  </a:cubicBezTo>
                  <a:close/>
                  <a:moveTo>
                    <a:pt x="3097" y="4322"/>
                  </a:moveTo>
                  <a:cubicBezTo>
                    <a:pt x="3239" y="4488"/>
                    <a:pt x="3394" y="4655"/>
                    <a:pt x="3608" y="4798"/>
                  </a:cubicBezTo>
                  <a:cubicBezTo>
                    <a:pt x="3811" y="4965"/>
                    <a:pt x="4049" y="5095"/>
                    <a:pt x="4323" y="5215"/>
                  </a:cubicBezTo>
                  <a:cubicBezTo>
                    <a:pt x="4073" y="5381"/>
                    <a:pt x="3751" y="5417"/>
                    <a:pt x="3573" y="5429"/>
                  </a:cubicBezTo>
                  <a:lnTo>
                    <a:pt x="3573" y="5393"/>
                  </a:lnTo>
                  <a:cubicBezTo>
                    <a:pt x="3597" y="5310"/>
                    <a:pt x="3537" y="5215"/>
                    <a:pt x="3442" y="5203"/>
                  </a:cubicBezTo>
                  <a:cubicBezTo>
                    <a:pt x="3429" y="5199"/>
                    <a:pt x="3416" y="5197"/>
                    <a:pt x="3404" y="5197"/>
                  </a:cubicBezTo>
                  <a:cubicBezTo>
                    <a:pt x="3332" y="5197"/>
                    <a:pt x="3261" y="5251"/>
                    <a:pt x="3251" y="5322"/>
                  </a:cubicBezTo>
                  <a:lnTo>
                    <a:pt x="3025" y="6465"/>
                  </a:lnTo>
                  <a:cubicBezTo>
                    <a:pt x="3001" y="6631"/>
                    <a:pt x="2846" y="6750"/>
                    <a:pt x="2668" y="6750"/>
                  </a:cubicBezTo>
                  <a:lnTo>
                    <a:pt x="1775" y="6750"/>
                  </a:lnTo>
                  <a:lnTo>
                    <a:pt x="1906" y="6441"/>
                  </a:lnTo>
                  <a:cubicBezTo>
                    <a:pt x="1965" y="6310"/>
                    <a:pt x="2084" y="6215"/>
                    <a:pt x="2239" y="6215"/>
                  </a:cubicBezTo>
                  <a:lnTo>
                    <a:pt x="2418" y="6215"/>
                  </a:lnTo>
                  <a:cubicBezTo>
                    <a:pt x="2501" y="6215"/>
                    <a:pt x="2561" y="6155"/>
                    <a:pt x="2585" y="6072"/>
                  </a:cubicBezTo>
                  <a:lnTo>
                    <a:pt x="2716" y="4667"/>
                  </a:lnTo>
                  <a:cubicBezTo>
                    <a:pt x="2727" y="4536"/>
                    <a:pt x="2811" y="4417"/>
                    <a:pt x="2954" y="4369"/>
                  </a:cubicBezTo>
                  <a:lnTo>
                    <a:pt x="3097" y="4322"/>
                  </a:lnTo>
                  <a:close/>
                  <a:moveTo>
                    <a:pt x="8657" y="5560"/>
                  </a:moveTo>
                  <a:lnTo>
                    <a:pt x="8657" y="6572"/>
                  </a:lnTo>
                  <a:cubicBezTo>
                    <a:pt x="8657" y="6679"/>
                    <a:pt x="8561" y="6750"/>
                    <a:pt x="8478" y="6750"/>
                  </a:cubicBezTo>
                  <a:lnTo>
                    <a:pt x="7347" y="6750"/>
                  </a:lnTo>
                  <a:lnTo>
                    <a:pt x="7490" y="6429"/>
                  </a:lnTo>
                  <a:cubicBezTo>
                    <a:pt x="7549" y="6286"/>
                    <a:pt x="7669" y="6215"/>
                    <a:pt x="7823" y="6215"/>
                  </a:cubicBezTo>
                  <a:lnTo>
                    <a:pt x="7954" y="6215"/>
                  </a:lnTo>
                  <a:cubicBezTo>
                    <a:pt x="8038" y="6215"/>
                    <a:pt x="8121" y="6143"/>
                    <a:pt x="8121" y="6048"/>
                  </a:cubicBezTo>
                  <a:lnTo>
                    <a:pt x="8121" y="5619"/>
                  </a:lnTo>
                  <a:cubicBezTo>
                    <a:pt x="8300" y="5607"/>
                    <a:pt x="8466" y="5572"/>
                    <a:pt x="8657" y="5560"/>
                  </a:cubicBezTo>
                  <a:close/>
                  <a:moveTo>
                    <a:pt x="1533" y="0"/>
                  </a:moveTo>
                  <a:cubicBezTo>
                    <a:pt x="1479" y="0"/>
                    <a:pt x="1425" y="4"/>
                    <a:pt x="1370" y="12"/>
                  </a:cubicBezTo>
                  <a:lnTo>
                    <a:pt x="727" y="95"/>
                  </a:lnTo>
                  <a:cubicBezTo>
                    <a:pt x="310" y="154"/>
                    <a:pt x="1" y="512"/>
                    <a:pt x="1" y="952"/>
                  </a:cubicBezTo>
                  <a:lnTo>
                    <a:pt x="1" y="1559"/>
                  </a:lnTo>
                  <a:cubicBezTo>
                    <a:pt x="1" y="1643"/>
                    <a:pt x="49" y="1738"/>
                    <a:pt x="108" y="1797"/>
                  </a:cubicBezTo>
                  <a:cubicBezTo>
                    <a:pt x="132" y="1809"/>
                    <a:pt x="156" y="1845"/>
                    <a:pt x="179" y="1857"/>
                  </a:cubicBezTo>
                  <a:lnTo>
                    <a:pt x="179" y="1976"/>
                  </a:lnTo>
                  <a:cubicBezTo>
                    <a:pt x="179" y="2214"/>
                    <a:pt x="334" y="2417"/>
                    <a:pt x="572" y="2476"/>
                  </a:cubicBezTo>
                  <a:lnTo>
                    <a:pt x="882" y="2559"/>
                  </a:lnTo>
                  <a:cubicBezTo>
                    <a:pt x="882" y="2559"/>
                    <a:pt x="894" y="2559"/>
                    <a:pt x="894" y="2571"/>
                  </a:cubicBezTo>
                  <a:cubicBezTo>
                    <a:pt x="930" y="2869"/>
                    <a:pt x="1037" y="3357"/>
                    <a:pt x="1239" y="3869"/>
                  </a:cubicBezTo>
                  <a:cubicBezTo>
                    <a:pt x="1513" y="4536"/>
                    <a:pt x="1870" y="5084"/>
                    <a:pt x="2323" y="5512"/>
                  </a:cubicBezTo>
                  <a:lnTo>
                    <a:pt x="2287" y="5905"/>
                  </a:lnTo>
                  <a:lnTo>
                    <a:pt x="2251" y="5905"/>
                  </a:lnTo>
                  <a:cubicBezTo>
                    <a:pt x="1965" y="5905"/>
                    <a:pt x="1715" y="6072"/>
                    <a:pt x="1608" y="6334"/>
                  </a:cubicBezTo>
                  <a:lnTo>
                    <a:pt x="1394" y="6869"/>
                  </a:lnTo>
                  <a:cubicBezTo>
                    <a:pt x="1370" y="6917"/>
                    <a:pt x="1370" y="6977"/>
                    <a:pt x="1406" y="7024"/>
                  </a:cubicBezTo>
                  <a:cubicBezTo>
                    <a:pt x="1430" y="7060"/>
                    <a:pt x="1477" y="7096"/>
                    <a:pt x="1537" y="7096"/>
                  </a:cubicBezTo>
                  <a:lnTo>
                    <a:pt x="2680" y="7096"/>
                  </a:lnTo>
                  <a:cubicBezTo>
                    <a:pt x="3013" y="7096"/>
                    <a:pt x="3299" y="6869"/>
                    <a:pt x="3358" y="6548"/>
                  </a:cubicBezTo>
                  <a:lnTo>
                    <a:pt x="3418" y="6215"/>
                  </a:lnTo>
                  <a:cubicBezTo>
                    <a:pt x="3894" y="6405"/>
                    <a:pt x="4704" y="6619"/>
                    <a:pt x="5942" y="6619"/>
                  </a:cubicBezTo>
                  <a:cubicBezTo>
                    <a:pt x="6287" y="6619"/>
                    <a:pt x="6668" y="6608"/>
                    <a:pt x="7085" y="6560"/>
                  </a:cubicBezTo>
                  <a:lnTo>
                    <a:pt x="7085" y="6560"/>
                  </a:lnTo>
                  <a:lnTo>
                    <a:pt x="6954" y="6869"/>
                  </a:lnTo>
                  <a:cubicBezTo>
                    <a:pt x="6930" y="6917"/>
                    <a:pt x="6942" y="6977"/>
                    <a:pt x="6966" y="7024"/>
                  </a:cubicBezTo>
                  <a:cubicBezTo>
                    <a:pt x="7002" y="7060"/>
                    <a:pt x="7049" y="7096"/>
                    <a:pt x="7109" y="7096"/>
                  </a:cubicBezTo>
                  <a:lnTo>
                    <a:pt x="8490" y="7096"/>
                  </a:lnTo>
                  <a:cubicBezTo>
                    <a:pt x="8776" y="7096"/>
                    <a:pt x="8990" y="6869"/>
                    <a:pt x="8990" y="6584"/>
                  </a:cubicBezTo>
                  <a:lnTo>
                    <a:pt x="8990" y="6215"/>
                  </a:lnTo>
                  <a:cubicBezTo>
                    <a:pt x="9204" y="6155"/>
                    <a:pt x="9347" y="6096"/>
                    <a:pt x="9443" y="6036"/>
                  </a:cubicBezTo>
                  <a:cubicBezTo>
                    <a:pt x="9669" y="5893"/>
                    <a:pt x="9871" y="5655"/>
                    <a:pt x="10062" y="5334"/>
                  </a:cubicBezTo>
                  <a:cubicBezTo>
                    <a:pt x="10216" y="5310"/>
                    <a:pt x="10383" y="5262"/>
                    <a:pt x="10538" y="5238"/>
                  </a:cubicBezTo>
                  <a:cubicBezTo>
                    <a:pt x="10764" y="5179"/>
                    <a:pt x="10943" y="5024"/>
                    <a:pt x="11014" y="4822"/>
                  </a:cubicBezTo>
                  <a:cubicBezTo>
                    <a:pt x="11098" y="4560"/>
                    <a:pt x="11062" y="4322"/>
                    <a:pt x="10943" y="4143"/>
                  </a:cubicBezTo>
                  <a:cubicBezTo>
                    <a:pt x="10645" y="3691"/>
                    <a:pt x="10145" y="3012"/>
                    <a:pt x="9454" y="2417"/>
                  </a:cubicBezTo>
                  <a:cubicBezTo>
                    <a:pt x="8657" y="1726"/>
                    <a:pt x="7776" y="1285"/>
                    <a:pt x="6883" y="1155"/>
                  </a:cubicBezTo>
                  <a:cubicBezTo>
                    <a:pt x="6667" y="1122"/>
                    <a:pt x="6450" y="1106"/>
                    <a:pt x="6233" y="1106"/>
                  </a:cubicBezTo>
                  <a:cubicBezTo>
                    <a:pt x="5093" y="1106"/>
                    <a:pt x="3929" y="1551"/>
                    <a:pt x="2739" y="2440"/>
                  </a:cubicBezTo>
                  <a:lnTo>
                    <a:pt x="2739" y="1202"/>
                  </a:lnTo>
                  <a:cubicBezTo>
                    <a:pt x="2739" y="857"/>
                    <a:pt x="2596" y="512"/>
                    <a:pt x="2323" y="285"/>
                  </a:cubicBezTo>
                  <a:cubicBezTo>
                    <a:pt x="2102" y="105"/>
                    <a:pt x="1822" y="0"/>
                    <a:pt x="153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8" name="Google Shape;12978;p63"/>
            <p:cNvSpPr/>
            <p:nvPr/>
          </p:nvSpPr>
          <p:spPr>
            <a:xfrm>
              <a:off x="1985805" y="2573938"/>
              <a:ext cx="10720" cy="16416"/>
            </a:xfrm>
            <a:custGeom>
              <a:avLst/>
              <a:gdLst/>
              <a:ahLst/>
              <a:cxnLst/>
              <a:rect l="l" t="t" r="r" b="b"/>
              <a:pathLst>
                <a:path w="335" h="513" extrusionOk="0">
                  <a:moveTo>
                    <a:pt x="168" y="0"/>
                  </a:moveTo>
                  <a:cubicBezTo>
                    <a:pt x="84" y="0"/>
                    <a:pt x="1" y="72"/>
                    <a:pt x="1" y="167"/>
                  </a:cubicBezTo>
                  <a:lnTo>
                    <a:pt x="1" y="346"/>
                  </a:lnTo>
                  <a:cubicBezTo>
                    <a:pt x="1" y="429"/>
                    <a:pt x="84" y="512"/>
                    <a:pt x="168" y="512"/>
                  </a:cubicBezTo>
                  <a:cubicBezTo>
                    <a:pt x="263" y="512"/>
                    <a:pt x="334" y="429"/>
                    <a:pt x="334" y="346"/>
                  </a:cubicBezTo>
                  <a:lnTo>
                    <a:pt x="334" y="167"/>
                  </a:lnTo>
                  <a:cubicBezTo>
                    <a:pt x="334" y="72"/>
                    <a:pt x="263"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79" name="Google Shape;12979;p63"/>
          <p:cNvSpPr/>
          <p:nvPr/>
        </p:nvSpPr>
        <p:spPr>
          <a:xfrm>
            <a:off x="3603917" y="2424146"/>
            <a:ext cx="348256" cy="354016"/>
          </a:xfrm>
          <a:custGeom>
            <a:avLst/>
            <a:gdLst/>
            <a:ahLst/>
            <a:cxnLst/>
            <a:rect l="l" t="t" r="r" b="b"/>
            <a:pathLst>
              <a:path w="10883" h="11063" extrusionOk="0">
                <a:moveTo>
                  <a:pt x="932" y="329"/>
                </a:moveTo>
                <a:cubicBezTo>
                  <a:pt x="1012" y="329"/>
                  <a:pt x="1098" y="346"/>
                  <a:pt x="1191" y="383"/>
                </a:cubicBezTo>
                <a:lnTo>
                  <a:pt x="1275" y="431"/>
                </a:lnTo>
                <a:cubicBezTo>
                  <a:pt x="1144" y="502"/>
                  <a:pt x="1013" y="586"/>
                  <a:pt x="894" y="693"/>
                </a:cubicBezTo>
                <a:cubicBezTo>
                  <a:pt x="703" y="859"/>
                  <a:pt x="560" y="1026"/>
                  <a:pt x="465" y="1205"/>
                </a:cubicBezTo>
                <a:cubicBezTo>
                  <a:pt x="441" y="1157"/>
                  <a:pt x="429" y="1097"/>
                  <a:pt x="417" y="1050"/>
                </a:cubicBezTo>
                <a:cubicBezTo>
                  <a:pt x="346" y="788"/>
                  <a:pt x="405" y="586"/>
                  <a:pt x="596" y="443"/>
                </a:cubicBezTo>
                <a:cubicBezTo>
                  <a:pt x="697" y="370"/>
                  <a:pt x="808" y="329"/>
                  <a:pt x="932" y="329"/>
                </a:cubicBezTo>
                <a:close/>
                <a:moveTo>
                  <a:pt x="1947" y="630"/>
                </a:moveTo>
                <a:cubicBezTo>
                  <a:pt x="1973" y="630"/>
                  <a:pt x="1999" y="631"/>
                  <a:pt x="2025" y="633"/>
                </a:cubicBezTo>
                <a:cubicBezTo>
                  <a:pt x="2334" y="669"/>
                  <a:pt x="2608" y="847"/>
                  <a:pt x="2763" y="978"/>
                </a:cubicBezTo>
                <a:cubicBezTo>
                  <a:pt x="2703" y="990"/>
                  <a:pt x="2644" y="1026"/>
                  <a:pt x="2584" y="1050"/>
                </a:cubicBezTo>
                <a:cubicBezTo>
                  <a:pt x="2513" y="1097"/>
                  <a:pt x="2465" y="1181"/>
                  <a:pt x="2513" y="1264"/>
                </a:cubicBezTo>
                <a:cubicBezTo>
                  <a:pt x="2547" y="1316"/>
                  <a:pt x="2600" y="1355"/>
                  <a:pt x="2658" y="1355"/>
                </a:cubicBezTo>
                <a:cubicBezTo>
                  <a:pt x="2681" y="1355"/>
                  <a:pt x="2704" y="1349"/>
                  <a:pt x="2727" y="1336"/>
                </a:cubicBezTo>
                <a:cubicBezTo>
                  <a:pt x="2931" y="1234"/>
                  <a:pt x="3137" y="1185"/>
                  <a:pt x="3341" y="1185"/>
                </a:cubicBezTo>
                <a:cubicBezTo>
                  <a:pt x="3591" y="1185"/>
                  <a:pt x="3837" y="1258"/>
                  <a:pt x="4073" y="1395"/>
                </a:cubicBezTo>
                <a:cubicBezTo>
                  <a:pt x="4239" y="1478"/>
                  <a:pt x="4370" y="1598"/>
                  <a:pt x="4466" y="1693"/>
                </a:cubicBezTo>
                <a:cubicBezTo>
                  <a:pt x="4370" y="1717"/>
                  <a:pt x="4275" y="1752"/>
                  <a:pt x="4180" y="1800"/>
                </a:cubicBezTo>
                <a:cubicBezTo>
                  <a:pt x="4096" y="1824"/>
                  <a:pt x="4061" y="1931"/>
                  <a:pt x="4096" y="2002"/>
                </a:cubicBezTo>
                <a:cubicBezTo>
                  <a:pt x="4115" y="2075"/>
                  <a:pt x="4181" y="2106"/>
                  <a:pt x="4244" y="2106"/>
                </a:cubicBezTo>
                <a:cubicBezTo>
                  <a:pt x="4263" y="2106"/>
                  <a:pt x="4282" y="2103"/>
                  <a:pt x="4299" y="2098"/>
                </a:cubicBezTo>
                <a:cubicBezTo>
                  <a:pt x="4531" y="1998"/>
                  <a:pt x="4780" y="1950"/>
                  <a:pt x="5034" y="1950"/>
                </a:cubicBezTo>
                <a:cubicBezTo>
                  <a:pt x="5601" y="1950"/>
                  <a:pt x="6191" y="2189"/>
                  <a:pt x="6668" y="2633"/>
                </a:cubicBezTo>
                <a:cubicBezTo>
                  <a:pt x="7025" y="2967"/>
                  <a:pt x="7275" y="3407"/>
                  <a:pt x="7394" y="3884"/>
                </a:cubicBezTo>
                <a:cubicBezTo>
                  <a:pt x="7525" y="4431"/>
                  <a:pt x="7466" y="5015"/>
                  <a:pt x="7252" y="5610"/>
                </a:cubicBezTo>
                <a:cubicBezTo>
                  <a:pt x="6537" y="7527"/>
                  <a:pt x="6406" y="8944"/>
                  <a:pt x="6859" y="9837"/>
                </a:cubicBezTo>
                <a:cubicBezTo>
                  <a:pt x="6894" y="9896"/>
                  <a:pt x="6954" y="9920"/>
                  <a:pt x="7002" y="9920"/>
                </a:cubicBezTo>
                <a:cubicBezTo>
                  <a:pt x="7037" y="9920"/>
                  <a:pt x="7049" y="9920"/>
                  <a:pt x="7085" y="9908"/>
                </a:cubicBezTo>
                <a:cubicBezTo>
                  <a:pt x="7156" y="9860"/>
                  <a:pt x="7204" y="9777"/>
                  <a:pt x="7156" y="9682"/>
                </a:cubicBezTo>
                <a:cubicBezTo>
                  <a:pt x="6930" y="9241"/>
                  <a:pt x="6871" y="8622"/>
                  <a:pt x="6978" y="7848"/>
                </a:cubicBezTo>
                <a:cubicBezTo>
                  <a:pt x="7061" y="7229"/>
                  <a:pt x="7263" y="6515"/>
                  <a:pt x="7561" y="5705"/>
                </a:cubicBezTo>
                <a:cubicBezTo>
                  <a:pt x="7716" y="5265"/>
                  <a:pt x="7799" y="4812"/>
                  <a:pt x="7799" y="4384"/>
                </a:cubicBezTo>
                <a:cubicBezTo>
                  <a:pt x="7874" y="4375"/>
                  <a:pt x="7953" y="4371"/>
                  <a:pt x="8035" y="4371"/>
                </a:cubicBezTo>
                <a:cubicBezTo>
                  <a:pt x="8746" y="4371"/>
                  <a:pt x="9716" y="4698"/>
                  <a:pt x="10121" y="5455"/>
                </a:cubicBezTo>
                <a:cubicBezTo>
                  <a:pt x="10776" y="6741"/>
                  <a:pt x="10562" y="8884"/>
                  <a:pt x="9657" y="9956"/>
                </a:cubicBezTo>
                <a:cubicBezTo>
                  <a:pt x="9418" y="10241"/>
                  <a:pt x="9044" y="10526"/>
                  <a:pt x="8530" y="10526"/>
                </a:cubicBezTo>
                <a:cubicBezTo>
                  <a:pt x="8378" y="10526"/>
                  <a:pt x="8214" y="10501"/>
                  <a:pt x="8037" y="10444"/>
                </a:cubicBezTo>
                <a:cubicBezTo>
                  <a:pt x="7823" y="10372"/>
                  <a:pt x="7668" y="10277"/>
                  <a:pt x="7514" y="10158"/>
                </a:cubicBezTo>
                <a:cubicBezTo>
                  <a:pt x="7484" y="10133"/>
                  <a:pt x="7448" y="10121"/>
                  <a:pt x="7412" y="10121"/>
                </a:cubicBezTo>
                <a:cubicBezTo>
                  <a:pt x="7363" y="10121"/>
                  <a:pt x="7315" y="10145"/>
                  <a:pt x="7287" y="10194"/>
                </a:cubicBezTo>
                <a:cubicBezTo>
                  <a:pt x="7228" y="10265"/>
                  <a:pt x="7252" y="10372"/>
                  <a:pt x="7323" y="10408"/>
                </a:cubicBezTo>
                <a:cubicBezTo>
                  <a:pt x="7394" y="10468"/>
                  <a:pt x="7466" y="10527"/>
                  <a:pt x="7561" y="10575"/>
                </a:cubicBezTo>
                <a:cubicBezTo>
                  <a:pt x="7212" y="10675"/>
                  <a:pt x="6764" y="10762"/>
                  <a:pt x="6251" y="10762"/>
                </a:cubicBezTo>
                <a:cubicBezTo>
                  <a:pt x="5908" y="10762"/>
                  <a:pt x="5536" y="10723"/>
                  <a:pt x="5144" y="10622"/>
                </a:cubicBezTo>
                <a:cubicBezTo>
                  <a:pt x="4001" y="10325"/>
                  <a:pt x="3049" y="9563"/>
                  <a:pt x="2287" y="8384"/>
                </a:cubicBezTo>
                <a:cubicBezTo>
                  <a:pt x="1394" y="6955"/>
                  <a:pt x="1548" y="5658"/>
                  <a:pt x="1846" y="4836"/>
                </a:cubicBezTo>
                <a:cubicBezTo>
                  <a:pt x="2168" y="3860"/>
                  <a:pt x="2882" y="2943"/>
                  <a:pt x="3739" y="2371"/>
                </a:cubicBezTo>
                <a:cubicBezTo>
                  <a:pt x="3811" y="2336"/>
                  <a:pt x="3823" y="2229"/>
                  <a:pt x="3775" y="2157"/>
                </a:cubicBezTo>
                <a:cubicBezTo>
                  <a:pt x="3753" y="2106"/>
                  <a:pt x="3704" y="2082"/>
                  <a:pt x="3653" y="2082"/>
                </a:cubicBezTo>
                <a:cubicBezTo>
                  <a:pt x="3621" y="2082"/>
                  <a:pt x="3588" y="2091"/>
                  <a:pt x="3561" y="2110"/>
                </a:cubicBezTo>
                <a:cubicBezTo>
                  <a:pt x="2644" y="2717"/>
                  <a:pt x="1894" y="3693"/>
                  <a:pt x="1537" y="4729"/>
                </a:cubicBezTo>
                <a:cubicBezTo>
                  <a:pt x="1453" y="4955"/>
                  <a:pt x="1382" y="5205"/>
                  <a:pt x="1334" y="5491"/>
                </a:cubicBezTo>
                <a:cubicBezTo>
                  <a:pt x="1215" y="5265"/>
                  <a:pt x="1096" y="4967"/>
                  <a:pt x="1025" y="4610"/>
                </a:cubicBezTo>
                <a:cubicBezTo>
                  <a:pt x="834" y="3645"/>
                  <a:pt x="1120" y="2752"/>
                  <a:pt x="1870" y="1943"/>
                </a:cubicBezTo>
                <a:cubicBezTo>
                  <a:pt x="1977" y="1836"/>
                  <a:pt x="2084" y="1740"/>
                  <a:pt x="2191" y="1657"/>
                </a:cubicBezTo>
                <a:cubicBezTo>
                  <a:pt x="2263" y="1598"/>
                  <a:pt x="2263" y="1502"/>
                  <a:pt x="2203" y="1443"/>
                </a:cubicBezTo>
                <a:cubicBezTo>
                  <a:pt x="2171" y="1398"/>
                  <a:pt x="2125" y="1377"/>
                  <a:pt x="2080" y="1377"/>
                </a:cubicBezTo>
                <a:cubicBezTo>
                  <a:pt x="2042" y="1377"/>
                  <a:pt x="2004" y="1392"/>
                  <a:pt x="1977" y="1419"/>
                </a:cubicBezTo>
                <a:cubicBezTo>
                  <a:pt x="1858" y="1514"/>
                  <a:pt x="1751" y="1621"/>
                  <a:pt x="1656" y="1740"/>
                </a:cubicBezTo>
                <a:cubicBezTo>
                  <a:pt x="1215" y="2193"/>
                  <a:pt x="953" y="2657"/>
                  <a:pt x="822" y="3086"/>
                </a:cubicBezTo>
                <a:cubicBezTo>
                  <a:pt x="739" y="2943"/>
                  <a:pt x="656" y="2752"/>
                  <a:pt x="608" y="2526"/>
                </a:cubicBezTo>
                <a:cubicBezTo>
                  <a:pt x="477" y="1919"/>
                  <a:pt x="656" y="1395"/>
                  <a:pt x="1132" y="978"/>
                </a:cubicBezTo>
                <a:cubicBezTo>
                  <a:pt x="1394" y="749"/>
                  <a:pt x="1665" y="630"/>
                  <a:pt x="1947" y="630"/>
                </a:cubicBezTo>
                <a:close/>
                <a:moveTo>
                  <a:pt x="912" y="1"/>
                </a:moveTo>
                <a:cubicBezTo>
                  <a:pt x="725" y="1"/>
                  <a:pt x="555" y="55"/>
                  <a:pt x="405" y="169"/>
                </a:cubicBezTo>
                <a:cubicBezTo>
                  <a:pt x="108" y="395"/>
                  <a:pt x="1" y="740"/>
                  <a:pt x="108" y="1121"/>
                </a:cubicBezTo>
                <a:cubicBezTo>
                  <a:pt x="144" y="1312"/>
                  <a:pt x="251" y="1478"/>
                  <a:pt x="298" y="1550"/>
                </a:cubicBezTo>
                <a:cubicBezTo>
                  <a:pt x="179" y="1931"/>
                  <a:pt x="203" y="2264"/>
                  <a:pt x="263" y="2550"/>
                </a:cubicBezTo>
                <a:cubicBezTo>
                  <a:pt x="370" y="3038"/>
                  <a:pt x="620" y="3419"/>
                  <a:pt x="679" y="3479"/>
                </a:cubicBezTo>
                <a:cubicBezTo>
                  <a:pt x="608" y="3919"/>
                  <a:pt x="644" y="4324"/>
                  <a:pt x="715" y="4646"/>
                </a:cubicBezTo>
                <a:cubicBezTo>
                  <a:pt x="858" y="5384"/>
                  <a:pt x="1215" y="5884"/>
                  <a:pt x="1298" y="5991"/>
                </a:cubicBezTo>
                <a:cubicBezTo>
                  <a:pt x="1263" y="6729"/>
                  <a:pt x="1441" y="7610"/>
                  <a:pt x="2025" y="8539"/>
                </a:cubicBezTo>
                <a:cubicBezTo>
                  <a:pt x="3192" y="10396"/>
                  <a:pt x="4775" y="11063"/>
                  <a:pt x="6251" y="11063"/>
                </a:cubicBezTo>
                <a:cubicBezTo>
                  <a:pt x="6871" y="11063"/>
                  <a:pt x="7466" y="10944"/>
                  <a:pt x="8002" y="10742"/>
                </a:cubicBezTo>
                <a:cubicBezTo>
                  <a:pt x="8180" y="10801"/>
                  <a:pt x="8371" y="10825"/>
                  <a:pt x="8549" y="10825"/>
                </a:cubicBezTo>
                <a:cubicBezTo>
                  <a:pt x="9061" y="10825"/>
                  <a:pt x="9538" y="10587"/>
                  <a:pt x="9930" y="10146"/>
                </a:cubicBezTo>
                <a:cubicBezTo>
                  <a:pt x="10383" y="9587"/>
                  <a:pt x="10716" y="8753"/>
                  <a:pt x="10800" y="7825"/>
                </a:cubicBezTo>
                <a:cubicBezTo>
                  <a:pt x="10883" y="6884"/>
                  <a:pt x="10728" y="5979"/>
                  <a:pt x="10371" y="5277"/>
                </a:cubicBezTo>
                <a:cubicBezTo>
                  <a:pt x="10061" y="4681"/>
                  <a:pt x="9490" y="4372"/>
                  <a:pt x="9097" y="4217"/>
                </a:cubicBezTo>
                <a:cubicBezTo>
                  <a:pt x="8737" y="4084"/>
                  <a:pt x="8354" y="4012"/>
                  <a:pt x="8003" y="4012"/>
                </a:cubicBezTo>
                <a:cubicBezTo>
                  <a:pt x="7913" y="4012"/>
                  <a:pt x="7825" y="4017"/>
                  <a:pt x="7740" y="4026"/>
                </a:cubicBezTo>
                <a:lnTo>
                  <a:pt x="7692" y="3753"/>
                </a:lnTo>
                <a:cubicBezTo>
                  <a:pt x="7561" y="3217"/>
                  <a:pt x="7275" y="2729"/>
                  <a:pt x="6871" y="2348"/>
                </a:cubicBezTo>
                <a:cubicBezTo>
                  <a:pt x="6352" y="1840"/>
                  <a:pt x="5667" y="1577"/>
                  <a:pt x="5020" y="1577"/>
                </a:cubicBezTo>
                <a:cubicBezTo>
                  <a:pt x="4954" y="1577"/>
                  <a:pt x="4888" y="1580"/>
                  <a:pt x="4823" y="1586"/>
                </a:cubicBezTo>
                <a:cubicBezTo>
                  <a:pt x="4751" y="1490"/>
                  <a:pt x="4537" y="1252"/>
                  <a:pt x="4227" y="1074"/>
                </a:cubicBezTo>
                <a:cubicBezTo>
                  <a:pt x="3929" y="904"/>
                  <a:pt x="3622" y="827"/>
                  <a:pt x="3299" y="827"/>
                </a:cubicBezTo>
                <a:cubicBezTo>
                  <a:pt x="3236" y="827"/>
                  <a:pt x="3173" y="830"/>
                  <a:pt x="3108" y="836"/>
                </a:cubicBezTo>
                <a:cubicBezTo>
                  <a:pt x="2989" y="705"/>
                  <a:pt x="2584" y="324"/>
                  <a:pt x="2025" y="264"/>
                </a:cubicBezTo>
                <a:cubicBezTo>
                  <a:pt x="1988" y="257"/>
                  <a:pt x="1952" y="254"/>
                  <a:pt x="1917" y="254"/>
                </a:cubicBezTo>
                <a:cubicBezTo>
                  <a:pt x="1839" y="254"/>
                  <a:pt x="1765" y="268"/>
                  <a:pt x="1691" y="276"/>
                </a:cubicBezTo>
                <a:cubicBezTo>
                  <a:pt x="1632" y="228"/>
                  <a:pt x="1489" y="145"/>
                  <a:pt x="1310" y="74"/>
                </a:cubicBezTo>
                <a:cubicBezTo>
                  <a:pt x="1171" y="26"/>
                  <a:pt x="1038" y="1"/>
                  <a:pt x="9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0" name="Google Shape;12980;p63"/>
          <p:cNvGrpSpPr/>
          <p:nvPr/>
        </p:nvGrpSpPr>
        <p:grpSpPr>
          <a:xfrm>
            <a:off x="2500941" y="2527218"/>
            <a:ext cx="355104" cy="250944"/>
            <a:chOff x="2500941" y="2527218"/>
            <a:chExt cx="355104" cy="250944"/>
          </a:xfrm>
        </p:grpSpPr>
        <p:sp>
          <p:nvSpPr>
            <p:cNvPr id="12981" name="Google Shape;12981;p63"/>
            <p:cNvSpPr/>
            <p:nvPr/>
          </p:nvSpPr>
          <p:spPr>
            <a:xfrm>
              <a:off x="2500941" y="2527218"/>
              <a:ext cx="355104" cy="250944"/>
            </a:xfrm>
            <a:custGeom>
              <a:avLst/>
              <a:gdLst/>
              <a:ahLst/>
              <a:cxnLst/>
              <a:rect l="l" t="t" r="r" b="b"/>
              <a:pathLst>
                <a:path w="11097" h="7842" extrusionOk="0">
                  <a:moveTo>
                    <a:pt x="9204" y="579"/>
                  </a:moveTo>
                  <a:cubicBezTo>
                    <a:pt x="9882" y="579"/>
                    <a:pt x="10430" y="1139"/>
                    <a:pt x="10430" y="1806"/>
                  </a:cubicBezTo>
                  <a:cubicBezTo>
                    <a:pt x="10430" y="2472"/>
                    <a:pt x="9882" y="3020"/>
                    <a:pt x="9204" y="3020"/>
                  </a:cubicBezTo>
                  <a:cubicBezTo>
                    <a:pt x="8537" y="3020"/>
                    <a:pt x="7989" y="2472"/>
                    <a:pt x="7989" y="1806"/>
                  </a:cubicBezTo>
                  <a:cubicBezTo>
                    <a:pt x="7989" y="1139"/>
                    <a:pt x="8537" y="579"/>
                    <a:pt x="9204" y="579"/>
                  </a:cubicBezTo>
                  <a:close/>
                  <a:moveTo>
                    <a:pt x="8647" y="361"/>
                  </a:moveTo>
                  <a:cubicBezTo>
                    <a:pt x="8681" y="361"/>
                    <a:pt x="8716" y="362"/>
                    <a:pt x="8751" y="365"/>
                  </a:cubicBezTo>
                  <a:cubicBezTo>
                    <a:pt x="8120" y="555"/>
                    <a:pt x="7668" y="1151"/>
                    <a:pt x="7668" y="1829"/>
                  </a:cubicBezTo>
                  <a:cubicBezTo>
                    <a:pt x="7668" y="2687"/>
                    <a:pt x="8358" y="3377"/>
                    <a:pt x="9216" y="3377"/>
                  </a:cubicBezTo>
                  <a:cubicBezTo>
                    <a:pt x="9727" y="3377"/>
                    <a:pt x="10180" y="3127"/>
                    <a:pt x="10466" y="2734"/>
                  </a:cubicBezTo>
                  <a:cubicBezTo>
                    <a:pt x="10609" y="2949"/>
                    <a:pt x="10763" y="3199"/>
                    <a:pt x="10775" y="3365"/>
                  </a:cubicBezTo>
                  <a:cubicBezTo>
                    <a:pt x="10668" y="3472"/>
                    <a:pt x="9989" y="3782"/>
                    <a:pt x="8680" y="4068"/>
                  </a:cubicBezTo>
                  <a:cubicBezTo>
                    <a:pt x="8584" y="4080"/>
                    <a:pt x="8525" y="4175"/>
                    <a:pt x="8561" y="4258"/>
                  </a:cubicBezTo>
                  <a:cubicBezTo>
                    <a:pt x="8573" y="4330"/>
                    <a:pt x="8644" y="4389"/>
                    <a:pt x="8715" y="4389"/>
                  </a:cubicBezTo>
                  <a:lnTo>
                    <a:pt x="8751" y="4389"/>
                  </a:lnTo>
                  <a:cubicBezTo>
                    <a:pt x="9370" y="4258"/>
                    <a:pt x="9954" y="4092"/>
                    <a:pt x="10370" y="3925"/>
                  </a:cubicBezTo>
                  <a:lnTo>
                    <a:pt x="10370" y="3925"/>
                  </a:lnTo>
                  <a:cubicBezTo>
                    <a:pt x="10323" y="3961"/>
                    <a:pt x="10299" y="4008"/>
                    <a:pt x="10251" y="4032"/>
                  </a:cubicBezTo>
                  <a:cubicBezTo>
                    <a:pt x="9894" y="4330"/>
                    <a:pt x="9394" y="4675"/>
                    <a:pt x="8835" y="4985"/>
                  </a:cubicBezTo>
                  <a:cubicBezTo>
                    <a:pt x="8418" y="5223"/>
                    <a:pt x="8001" y="5437"/>
                    <a:pt x="7608" y="5592"/>
                  </a:cubicBezTo>
                  <a:cubicBezTo>
                    <a:pt x="7049" y="5270"/>
                    <a:pt x="6334" y="5104"/>
                    <a:pt x="5584" y="5104"/>
                  </a:cubicBezTo>
                  <a:cubicBezTo>
                    <a:pt x="4822" y="5104"/>
                    <a:pt x="4108" y="5282"/>
                    <a:pt x="3560" y="5592"/>
                  </a:cubicBezTo>
                  <a:cubicBezTo>
                    <a:pt x="3155" y="5437"/>
                    <a:pt x="2739" y="5223"/>
                    <a:pt x="2322" y="4985"/>
                  </a:cubicBezTo>
                  <a:cubicBezTo>
                    <a:pt x="1774" y="4675"/>
                    <a:pt x="1262" y="4330"/>
                    <a:pt x="905" y="4032"/>
                  </a:cubicBezTo>
                  <a:cubicBezTo>
                    <a:pt x="857" y="3984"/>
                    <a:pt x="822" y="3961"/>
                    <a:pt x="786" y="3925"/>
                  </a:cubicBezTo>
                  <a:lnTo>
                    <a:pt x="786" y="3925"/>
                  </a:lnTo>
                  <a:cubicBezTo>
                    <a:pt x="1084" y="4044"/>
                    <a:pt x="1441" y="4151"/>
                    <a:pt x="1857" y="4270"/>
                  </a:cubicBezTo>
                  <a:cubicBezTo>
                    <a:pt x="3048" y="4592"/>
                    <a:pt x="4405" y="4746"/>
                    <a:pt x="5596" y="4746"/>
                  </a:cubicBezTo>
                  <a:cubicBezTo>
                    <a:pt x="6370" y="4746"/>
                    <a:pt x="7215" y="4675"/>
                    <a:pt x="8049" y="4544"/>
                  </a:cubicBezTo>
                  <a:cubicBezTo>
                    <a:pt x="8144" y="4520"/>
                    <a:pt x="8203" y="4437"/>
                    <a:pt x="8180" y="4342"/>
                  </a:cubicBezTo>
                  <a:cubicBezTo>
                    <a:pt x="8169" y="4265"/>
                    <a:pt x="8098" y="4209"/>
                    <a:pt x="8013" y="4209"/>
                  </a:cubicBezTo>
                  <a:cubicBezTo>
                    <a:pt x="8005" y="4209"/>
                    <a:pt x="7997" y="4210"/>
                    <a:pt x="7989" y="4211"/>
                  </a:cubicBezTo>
                  <a:cubicBezTo>
                    <a:pt x="7168" y="4342"/>
                    <a:pt x="6334" y="4425"/>
                    <a:pt x="5596" y="4425"/>
                  </a:cubicBezTo>
                  <a:cubicBezTo>
                    <a:pt x="4096" y="4425"/>
                    <a:pt x="2750" y="4151"/>
                    <a:pt x="2084" y="3996"/>
                  </a:cubicBezTo>
                  <a:cubicBezTo>
                    <a:pt x="1072" y="3734"/>
                    <a:pt x="476" y="3472"/>
                    <a:pt x="381" y="3353"/>
                  </a:cubicBezTo>
                  <a:cubicBezTo>
                    <a:pt x="405" y="3187"/>
                    <a:pt x="548" y="2925"/>
                    <a:pt x="703" y="2722"/>
                  </a:cubicBezTo>
                  <a:cubicBezTo>
                    <a:pt x="976" y="3115"/>
                    <a:pt x="1441" y="3365"/>
                    <a:pt x="1953" y="3365"/>
                  </a:cubicBezTo>
                  <a:cubicBezTo>
                    <a:pt x="2798" y="3365"/>
                    <a:pt x="3501" y="2663"/>
                    <a:pt x="3501" y="1817"/>
                  </a:cubicBezTo>
                  <a:cubicBezTo>
                    <a:pt x="3501" y="1639"/>
                    <a:pt x="3465" y="1460"/>
                    <a:pt x="3405" y="1294"/>
                  </a:cubicBezTo>
                  <a:cubicBezTo>
                    <a:pt x="3387" y="1229"/>
                    <a:pt x="3326" y="1186"/>
                    <a:pt x="3261" y="1186"/>
                  </a:cubicBezTo>
                  <a:cubicBezTo>
                    <a:pt x="3242" y="1186"/>
                    <a:pt x="3222" y="1190"/>
                    <a:pt x="3203" y="1198"/>
                  </a:cubicBezTo>
                  <a:cubicBezTo>
                    <a:pt x="3108" y="1222"/>
                    <a:pt x="3060" y="1317"/>
                    <a:pt x="3096" y="1401"/>
                  </a:cubicBezTo>
                  <a:cubicBezTo>
                    <a:pt x="3143" y="1532"/>
                    <a:pt x="3167" y="1675"/>
                    <a:pt x="3167" y="1817"/>
                  </a:cubicBezTo>
                  <a:cubicBezTo>
                    <a:pt x="3167" y="2484"/>
                    <a:pt x="2619" y="3044"/>
                    <a:pt x="1953" y="3044"/>
                  </a:cubicBezTo>
                  <a:cubicBezTo>
                    <a:pt x="1274" y="3044"/>
                    <a:pt x="726" y="2484"/>
                    <a:pt x="726" y="1817"/>
                  </a:cubicBezTo>
                  <a:cubicBezTo>
                    <a:pt x="726" y="1151"/>
                    <a:pt x="1274" y="603"/>
                    <a:pt x="1953" y="603"/>
                  </a:cubicBezTo>
                  <a:cubicBezTo>
                    <a:pt x="2250" y="603"/>
                    <a:pt x="2524" y="698"/>
                    <a:pt x="2750" y="913"/>
                  </a:cubicBezTo>
                  <a:cubicBezTo>
                    <a:pt x="2785" y="941"/>
                    <a:pt x="2824" y="956"/>
                    <a:pt x="2862" y="956"/>
                  </a:cubicBezTo>
                  <a:cubicBezTo>
                    <a:pt x="2905" y="956"/>
                    <a:pt x="2946" y="938"/>
                    <a:pt x="2977" y="901"/>
                  </a:cubicBezTo>
                  <a:cubicBezTo>
                    <a:pt x="3036" y="817"/>
                    <a:pt x="3036" y="734"/>
                    <a:pt x="2965" y="674"/>
                  </a:cubicBezTo>
                  <a:cubicBezTo>
                    <a:pt x="2798" y="520"/>
                    <a:pt x="2608" y="424"/>
                    <a:pt x="2405" y="365"/>
                  </a:cubicBezTo>
                  <a:cubicBezTo>
                    <a:pt x="2442" y="362"/>
                    <a:pt x="2478" y="361"/>
                    <a:pt x="2513" y="361"/>
                  </a:cubicBezTo>
                  <a:cubicBezTo>
                    <a:pt x="2793" y="361"/>
                    <a:pt x="3047" y="442"/>
                    <a:pt x="3227" y="579"/>
                  </a:cubicBezTo>
                  <a:cubicBezTo>
                    <a:pt x="4036" y="1222"/>
                    <a:pt x="4715" y="1496"/>
                    <a:pt x="5584" y="1496"/>
                  </a:cubicBezTo>
                  <a:cubicBezTo>
                    <a:pt x="6441" y="1496"/>
                    <a:pt x="7132" y="1222"/>
                    <a:pt x="7930" y="579"/>
                  </a:cubicBezTo>
                  <a:cubicBezTo>
                    <a:pt x="8120" y="442"/>
                    <a:pt x="8375" y="361"/>
                    <a:pt x="8647" y="361"/>
                  </a:cubicBezTo>
                  <a:close/>
                  <a:moveTo>
                    <a:pt x="5584" y="5437"/>
                  </a:moveTo>
                  <a:cubicBezTo>
                    <a:pt x="6179" y="5437"/>
                    <a:pt x="6751" y="5556"/>
                    <a:pt x="7215" y="5758"/>
                  </a:cubicBezTo>
                  <a:cubicBezTo>
                    <a:pt x="6572" y="6020"/>
                    <a:pt x="5989" y="6151"/>
                    <a:pt x="5584" y="6151"/>
                  </a:cubicBezTo>
                  <a:cubicBezTo>
                    <a:pt x="5144" y="6151"/>
                    <a:pt x="4584" y="6020"/>
                    <a:pt x="3941" y="5758"/>
                  </a:cubicBezTo>
                  <a:cubicBezTo>
                    <a:pt x="4405" y="5556"/>
                    <a:pt x="4989" y="5437"/>
                    <a:pt x="5584" y="5437"/>
                  </a:cubicBezTo>
                  <a:close/>
                  <a:moveTo>
                    <a:pt x="607" y="4234"/>
                  </a:moveTo>
                  <a:lnTo>
                    <a:pt x="607" y="4234"/>
                  </a:lnTo>
                  <a:cubicBezTo>
                    <a:pt x="643" y="4246"/>
                    <a:pt x="655" y="4270"/>
                    <a:pt x="679" y="4294"/>
                  </a:cubicBezTo>
                  <a:cubicBezTo>
                    <a:pt x="1060" y="4604"/>
                    <a:pt x="1572" y="4961"/>
                    <a:pt x="2143" y="5282"/>
                  </a:cubicBezTo>
                  <a:cubicBezTo>
                    <a:pt x="2739" y="5627"/>
                    <a:pt x="3358" y="5913"/>
                    <a:pt x="3929" y="6116"/>
                  </a:cubicBezTo>
                  <a:cubicBezTo>
                    <a:pt x="4584" y="6354"/>
                    <a:pt x="5120" y="6473"/>
                    <a:pt x="5548" y="6473"/>
                  </a:cubicBezTo>
                  <a:cubicBezTo>
                    <a:pt x="5977" y="6473"/>
                    <a:pt x="6525" y="6354"/>
                    <a:pt x="7168" y="6116"/>
                  </a:cubicBezTo>
                  <a:cubicBezTo>
                    <a:pt x="7739" y="5913"/>
                    <a:pt x="8358" y="5616"/>
                    <a:pt x="8954" y="5282"/>
                  </a:cubicBezTo>
                  <a:cubicBezTo>
                    <a:pt x="9537" y="4961"/>
                    <a:pt x="10061" y="4604"/>
                    <a:pt x="10418" y="4294"/>
                  </a:cubicBezTo>
                  <a:cubicBezTo>
                    <a:pt x="10442" y="4270"/>
                    <a:pt x="10454" y="4246"/>
                    <a:pt x="10489" y="4234"/>
                  </a:cubicBezTo>
                  <a:lnTo>
                    <a:pt x="10489" y="4234"/>
                  </a:lnTo>
                  <a:cubicBezTo>
                    <a:pt x="10239" y="4770"/>
                    <a:pt x="9716" y="5401"/>
                    <a:pt x="9061" y="5973"/>
                  </a:cubicBezTo>
                  <a:cubicBezTo>
                    <a:pt x="8525" y="6437"/>
                    <a:pt x="7942" y="6818"/>
                    <a:pt x="7370" y="7092"/>
                  </a:cubicBezTo>
                  <a:cubicBezTo>
                    <a:pt x="6727" y="7390"/>
                    <a:pt x="6120" y="7532"/>
                    <a:pt x="5560" y="7532"/>
                  </a:cubicBezTo>
                  <a:cubicBezTo>
                    <a:pt x="5013" y="7532"/>
                    <a:pt x="4405" y="7390"/>
                    <a:pt x="3762" y="7092"/>
                  </a:cubicBezTo>
                  <a:cubicBezTo>
                    <a:pt x="3179" y="6818"/>
                    <a:pt x="2608" y="6437"/>
                    <a:pt x="2060" y="5973"/>
                  </a:cubicBezTo>
                  <a:cubicBezTo>
                    <a:pt x="1417" y="5401"/>
                    <a:pt x="893" y="4782"/>
                    <a:pt x="607" y="4234"/>
                  </a:cubicBezTo>
                  <a:close/>
                  <a:moveTo>
                    <a:pt x="2503" y="1"/>
                  </a:moveTo>
                  <a:cubicBezTo>
                    <a:pt x="2451" y="1"/>
                    <a:pt x="2399" y="3"/>
                    <a:pt x="2346" y="8"/>
                  </a:cubicBezTo>
                  <a:cubicBezTo>
                    <a:pt x="1965" y="20"/>
                    <a:pt x="1584" y="151"/>
                    <a:pt x="1334" y="365"/>
                  </a:cubicBezTo>
                  <a:cubicBezTo>
                    <a:pt x="762" y="579"/>
                    <a:pt x="333" y="1151"/>
                    <a:pt x="333" y="1806"/>
                  </a:cubicBezTo>
                  <a:cubicBezTo>
                    <a:pt x="333" y="2008"/>
                    <a:pt x="381" y="2222"/>
                    <a:pt x="453" y="2401"/>
                  </a:cubicBezTo>
                  <a:cubicBezTo>
                    <a:pt x="322" y="2568"/>
                    <a:pt x="0" y="3020"/>
                    <a:pt x="0" y="3365"/>
                  </a:cubicBezTo>
                  <a:cubicBezTo>
                    <a:pt x="0" y="4139"/>
                    <a:pt x="714" y="5258"/>
                    <a:pt x="1822" y="6211"/>
                  </a:cubicBezTo>
                  <a:cubicBezTo>
                    <a:pt x="2381" y="6687"/>
                    <a:pt x="2989" y="7092"/>
                    <a:pt x="3596" y="7366"/>
                  </a:cubicBezTo>
                  <a:cubicBezTo>
                    <a:pt x="4286" y="7699"/>
                    <a:pt x="4941" y="7842"/>
                    <a:pt x="5536" y="7842"/>
                  </a:cubicBezTo>
                  <a:cubicBezTo>
                    <a:pt x="6132" y="7842"/>
                    <a:pt x="6787" y="7687"/>
                    <a:pt x="7465" y="7366"/>
                  </a:cubicBezTo>
                  <a:cubicBezTo>
                    <a:pt x="8073" y="7092"/>
                    <a:pt x="8692" y="6687"/>
                    <a:pt x="9239" y="6211"/>
                  </a:cubicBezTo>
                  <a:cubicBezTo>
                    <a:pt x="10335" y="5258"/>
                    <a:pt x="11073" y="4139"/>
                    <a:pt x="11073" y="3377"/>
                  </a:cubicBezTo>
                  <a:lnTo>
                    <a:pt x="11073" y="3365"/>
                  </a:lnTo>
                  <a:cubicBezTo>
                    <a:pt x="11097" y="3020"/>
                    <a:pt x="10775" y="2568"/>
                    <a:pt x="10644" y="2401"/>
                  </a:cubicBezTo>
                  <a:cubicBezTo>
                    <a:pt x="10716" y="2222"/>
                    <a:pt x="10751" y="2008"/>
                    <a:pt x="10751" y="1806"/>
                  </a:cubicBezTo>
                  <a:cubicBezTo>
                    <a:pt x="10751" y="1151"/>
                    <a:pt x="10347" y="579"/>
                    <a:pt x="9763" y="365"/>
                  </a:cubicBezTo>
                  <a:cubicBezTo>
                    <a:pt x="9501" y="151"/>
                    <a:pt x="9132" y="20"/>
                    <a:pt x="8751" y="8"/>
                  </a:cubicBezTo>
                  <a:cubicBezTo>
                    <a:pt x="8714" y="5"/>
                    <a:pt x="8677" y="4"/>
                    <a:pt x="8640" y="4"/>
                  </a:cubicBezTo>
                  <a:cubicBezTo>
                    <a:pt x="8277" y="4"/>
                    <a:pt x="7941" y="109"/>
                    <a:pt x="7703" y="282"/>
                  </a:cubicBezTo>
                  <a:cubicBezTo>
                    <a:pt x="6965" y="877"/>
                    <a:pt x="6346" y="1115"/>
                    <a:pt x="5548" y="1115"/>
                  </a:cubicBezTo>
                  <a:cubicBezTo>
                    <a:pt x="4739" y="1115"/>
                    <a:pt x="4143" y="877"/>
                    <a:pt x="3393" y="282"/>
                  </a:cubicBezTo>
                  <a:cubicBezTo>
                    <a:pt x="3165" y="105"/>
                    <a:pt x="2855" y="1"/>
                    <a:pt x="25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2" name="Google Shape;12982;p63"/>
            <p:cNvSpPr/>
            <p:nvPr/>
          </p:nvSpPr>
          <p:spPr>
            <a:xfrm>
              <a:off x="2651437" y="2623922"/>
              <a:ext cx="16768" cy="15968"/>
            </a:xfrm>
            <a:custGeom>
              <a:avLst/>
              <a:gdLst/>
              <a:ahLst/>
              <a:cxnLst/>
              <a:rect l="l" t="t" r="r" b="b"/>
              <a:pathLst>
                <a:path w="524" h="499" extrusionOk="0">
                  <a:moveTo>
                    <a:pt x="351" y="1"/>
                  </a:moveTo>
                  <a:cubicBezTo>
                    <a:pt x="310" y="1"/>
                    <a:pt x="268" y="16"/>
                    <a:pt x="238" y="46"/>
                  </a:cubicBezTo>
                  <a:lnTo>
                    <a:pt x="60" y="224"/>
                  </a:lnTo>
                  <a:cubicBezTo>
                    <a:pt x="0" y="284"/>
                    <a:pt x="0" y="391"/>
                    <a:pt x="60" y="450"/>
                  </a:cubicBezTo>
                  <a:cubicBezTo>
                    <a:pt x="83" y="474"/>
                    <a:pt x="131" y="498"/>
                    <a:pt x="179" y="498"/>
                  </a:cubicBezTo>
                  <a:cubicBezTo>
                    <a:pt x="214" y="498"/>
                    <a:pt x="262" y="474"/>
                    <a:pt x="298" y="450"/>
                  </a:cubicBezTo>
                  <a:lnTo>
                    <a:pt x="476" y="272"/>
                  </a:lnTo>
                  <a:cubicBezTo>
                    <a:pt x="524" y="224"/>
                    <a:pt x="524" y="117"/>
                    <a:pt x="464" y="46"/>
                  </a:cubicBezTo>
                  <a:cubicBezTo>
                    <a:pt x="435" y="16"/>
                    <a:pt x="393" y="1"/>
                    <a:pt x="3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3" name="Google Shape;12983;p63"/>
            <p:cNvSpPr/>
            <p:nvPr/>
          </p:nvSpPr>
          <p:spPr>
            <a:xfrm>
              <a:off x="2690285" y="2623922"/>
              <a:ext cx="16800" cy="15968"/>
            </a:xfrm>
            <a:custGeom>
              <a:avLst/>
              <a:gdLst/>
              <a:ahLst/>
              <a:cxnLst/>
              <a:rect l="l" t="t" r="r" b="b"/>
              <a:pathLst>
                <a:path w="525" h="499" extrusionOk="0">
                  <a:moveTo>
                    <a:pt x="173" y="1"/>
                  </a:moveTo>
                  <a:cubicBezTo>
                    <a:pt x="131" y="1"/>
                    <a:pt x="90" y="16"/>
                    <a:pt x="60" y="46"/>
                  </a:cubicBezTo>
                  <a:cubicBezTo>
                    <a:pt x="0" y="105"/>
                    <a:pt x="0" y="212"/>
                    <a:pt x="60" y="272"/>
                  </a:cubicBezTo>
                  <a:lnTo>
                    <a:pt x="239" y="450"/>
                  </a:lnTo>
                  <a:cubicBezTo>
                    <a:pt x="274" y="474"/>
                    <a:pt x="310" y="498"/>
                    <a:pt x="358" y="498"/>
                  </a:cubicBezTo>
                  <a:cubicBezTo>
                    <a:pt x="405" y="498"/>
                    <a:pt x="453" y="474"/>
                    <a:pt x="477" y="450"/>
                  </a:cubicBezTo>
                  <a:cubicBezTo>
                    <a:pt x="524" y="391"/>
                    <a:pt x="524" y="284"/>
                    <a:pt x="465" y="224"/>
                  </a:cubicBezTo>
                  <a:lnTo>
                    <a:pt x="286" y="46"/>
                  </a:lnTo>
                  <a:cubicBezTo>
                    <a:pt x="256" y="16"/>
                    <a:pt x="215" y="1"/>
                    <a:pt x="1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4" name="Google Shape;12984;p63"/>
            <p:cNvSpPr/>
            <p:nvPr/>
          </p:nvSpPr>
          <p:spPr>
            <a:xfrm>
              <a:off x="2535597" y="2557170"/>
              <a:ext cx="32416" cy="49184"/>
            </a:xfrm>
            <a:custGeom>
              <a:avLst/>
              <a:gdLst/>
              <a:ahLst/>
              <a:cxnLst/>
              <a:rect l="l" t="t" r="r" b="b"/>
              <a:pathLst>
                <a:path w="1013" h="1537" extrusionOk="0">
                  <a:moveTo>
                    <a:pt x="501" y="0"/>
                  </a:moveTo>
                  <a:cubicBezTo>
                    <a:pt x="227" y="0"/>
                    <a:pt x="1" y="227"/>
                    <a:pt x="1" y="512"/>
                  </a:cubicBezTo>
                  <a:lnTo>
                    <a:pt x="1" y="1024"/>
                  </a:lnTo>
                  <a:cubicBezTo>
                    <a:pt x="1" y="1310"/>
                    <a:pt x="227" y="1536"/>
                    <a:pt x="501" y="1536"/>
                  </a:cubicBezTo>
                  <a:cubicBezTo>
                    <a:pt x="786" y="1536"/>
                    <a:pt x="1013" y="1310"/>
                    <a:pt x="1013" y="1024"/>
                  </a:cubicBezTo>
                  <a:lnTo>
                    <a:pt x="1013" y="691"/>
                  </a:lnTo>
                  <a:cubicBezTo>
                    <a:pt x="1013" y="596"/>
                    <a:pt x="941" y="524"/>
                    <a:pt x="846" y="524"/>
                  </a:cubicBezTo>
                  <a:cubicBezTo>
                    <a:pt x="763" y="524"/>
                    <a:pt x="679" y="596"/>
                    <a:pt x="679" y="691"/>
                  </a:cubicBezTo>
                  <a:lnTo>
                    <a:pt x="679" y="1036"/>
                  </a:lnTo>
                  <a:cubicBezTo>
                    <a:pt x="679" y="1131"/>
                    <a:pt x="596" y="1215"/>
                    <a:pt x="501" y="1215"/>
                  </a:cubicBezTo>
                  <a:cubicBezTo>
                    <a:pt x="405" y="1215"/>
                    <a:pt x="322" y="1120"/>
                    <a:pt x="322" y="1036"/>
                  </a:cubicBezTo>
                  <a:lnTo>
                    <a:pt x="322" y="512"/>
                  </a:lnTo>
                  <a:cubicBezTo>
                    <a:pt x="322" y="405"/>
                    <a:pt x="417" y="334"/>
                    <a:pt x="501" y="334"/>
                  </a:cubicBezTo>
                  <a:cubicBezTo>
                    <a:pt x="596" y="334"/>
                    <a:pt x="667" y="262"/>
                    <a:pt x="667" y="167"/>
                  </a:cubicBezTo>
                  <a:cubicBezTo>
                    <a:pt x="667" y="84"/>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5" name="Google Shape;12985;p63"/>
            <p:cNvSpPr/>
            <p:nvPr/>
          </p:nvSpPr>
          <p:spPr>
            <a:xfrm>
              <a:off x="2790477" y="2557938"/>
              <a:ext cx="32416" cy="48800"/>
            </a:xfrm>
            <a:custGeom>
              <a:avLst/>
              <a:gdLst/>
              <a:ahLst/>
              <a:cxnLst/>
              <a:rect l="l" t="t" r="r" b="b"/>
              <a:pathLst>
                <a:path w="1013" h="1525" extrusionOk="0">
                  <a:moveTo>
                    <a:pt x="501" y="0"/>
                  </a:moveTo>
                  <a:cubicBezTo>
                    <a:pt x="418" y="0"/>
                    <a:pt x="346" y="72"/>
                    <a:pt x="346" y="155"/>
                  </a:cubicBezTo>
                  <a:cubicBezTo>
                    <a:pt x="346" y="250"/>
                    <a:pt x="418" y="322"/>
                    <a:pt x="501" y="322"/>
                  </a:cubicBezTo>
                  <a:cubicBezTo>
                    <a:pt x="608" y="322"/>
                    <a:pt x="679" y="417"/>
                    <a:pt x="679" y="500"/>
                  </a:cubicBezTo>
                  <a:lnTo>
                    <a:pt x="679" y="1024"/>
                  </a:lnTo>
                  <a:cubicBezTo>
                    <a:pt x="679" y="1131"/>
                    <a:pt x="596" y="1203"/>
                    <a:pt x="501" y="1203"/>
                  </a:cubicBezTo>
                  <a:cubicBezTo>
                    <a:pt x="418" y="1203"/>
                    <a:pt x="322" y="1107"/>
                    <a:pt x="322" y="1024"/>
                  </a:cubicBezTo>
                  <a:lnTo>
                    <a:pt x="322" y="679"/>
                  </a:lnTo>
                  <a:cubicBezTo>
                    <a:pt x="322" y="596"/>
                    <a:pt x="251" y="512"/>
                    <a:pt x="156" y="512"/>
                  </a:cubicBezTo>
                  <a:cubicBezTo>
                    <a:pt x="72" y="512"/>
                    <a:pt x="1" y="596"/>
                    <a:pt x="1" y="679"/>
                  </a:cubicBezTo>
                  <a:lnTo>
                    <a:pt x="1" y="1024"/>
                  </a:lnTo>
                  <a:cubicBezTo>
                    <a:pt x="1" y="1310"/>
                    <a:pt x="215" y="1524"/>
                    <a:pt x="501" y="1524"/>
                  </a:cubicBezTo>
                  <a:cubicBezTo>
                    <a:pt x="787" y="1524"/>
                    <a:pt x="1013" y="1310"/>
                    <a:pt x="1013" y="1024"/>
                  </a:cubicBezTo>
                  <a:lnTo>
                    <a:pt x="1013" y="500"/>
                  </a:lnTo>
                  <a:cubicBezTo>
                    <a:pt x="1013" y="215"/>
                    <a:pt x="787"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986" name="Google Shape;12986;p63"/>
          <p:cNvSpPr/>
          <p:nvPr/>
        </p:nvSpPr>
        <p:spPr>
          <a:xfrm>
            <a:off x="7447437" y="2499282"/>
            <a:ext cx="355136" cy="281952"/>
          </a:xfrm>
          <a:custGeom>
            <a:avLst/>
            <a:gdLst/>
            <a:ahLst/>
            <a:cxnLst/>
            <a:rect l="l" t="t" r="r" b="b"/>
            <a:pathLst>
              <a:path w="11098" h="8811" extrusionOk="0">
                <a:moveTo>
                  <a:pt x="4955" y="0"/>
                </a:moveTo>
                <a:cubicBezTo>
                  <a:pt x="4754" y="0"/>
                  <a:pt x="4539" y="24"/>
                  <a:pt x="4311" y="71"/>
                </a:cubicBezTo>
                <a:cubicBezTo>
                  <a:pt x="3358" y="262"/>
                  <a:pt x="2406" y="833"/>
                  <a:pt x="1418" y="1786"/>
                </a:cubicBezTo>
                <a:cubicBezTo>
                  <a:pt x="1358" y="1845"/>
                  <a:pt x="1358" y="1952"/>
                  <a:pt x="1418" y="2012"/>
                </a:cubicBezTo>
                <a:cubicBezTo>
                  <a:pt x="1453" y="2036"/>
                  <a:pt x="1489" y="2048"/>
                  <a:pt x="1537" y="2048"/>
                </a:cubicBezTo>
                <a:cubicBezTo>
                  <a:pt x="1584" y="2048"/>
                  <a:pt x="1608" y="2036"/>
                  <a:pt x="1656" y="2012"/>
                </a:cubicBezTo>
                <a:cubicBezTo>
                  <a:pt x="2596" y="1095"/>
                  <a:pt x="3489" y="559"/>
                  <a:pt x="4382" y="381"/>
                </a:cubicBezTo>
                <a:cubicBezTo>
                  <a:pt x="4594" y="339"/>
                  <a:pt x="4791" y="318"/>
                  <a:pt x="4972" y="318"/>
                </a:cubicBezTo>
                <a:cubicBezTo>
                  <a:pt x="5311" y="318"/>
                  <a:pt x="5594" y="392"/>
                  <a:pt x="5811" y="547"/>
                </a:cubicBezTo>
                <a:cubicBezTo>
                  <a:pt x="6002" y="678"/>
                  <a:pt x="6109" y="845"/>
                  <a:pt x="6180" y="1000"/>
                </a:cubicBezTo>
                <a:cubicBezTo>
                  <a:pt x="6121" y="976"/>
                  <a:pt x="6061" y="952"/>
                  <a:pt x="6002" y="940"/>
                </a:cubicBezTo>
                <a:cubicBezTo>
                  <a:pt x="5984" y="933"/>
                  <a:pt x="5967" y="930"/>
                  <a:pt x="5949" y="930"/>
                </a:cubicBezTo>
                <a:cubicBezTo>
                  <a:pt x="5882" y="930"/>
                  <a:pt x="5818" y="979"/>
                  <a:pt x="5799" y="1035"/>
                </a:cubicBezTo>
                <a:cubicBezTo>
                  <a:pt x="5764" y="1131"/>
                  <a:pt x="5823" y="1214"/>
                  <a:pt x="5895" y="1250"/>
                </a:cubicBezTo>
                <a:cubicBezTo>
                  <a:pt x="6121" y="1309"/>
                  <a:pt x="6335" y="1416"/>
                  <a:pt x="6537" y="1512"/>
                </a:cubicBezTo>
                <a:cubicBezTo>
                  <a:pt x="6787" y="1667"/>
                  <a:pt x="6907" y="1845"/>
                  <a:pt x="6883" y="2048"/>
                </a:cubicBezTo>
                <a:cubicBezTo>
                  <a:pt x="6847" y="2250"/>
                  <a:pt x="6692" y="2429"/>
                  <a:pt x="6514" y="2464"/>
                </a:cubicBezTo>
                <a:cubicBezTo>
                  <a:pt x="6483" y="2472"/>
                  <a:pt x="6453" y="2476"/>
                  <a:pt x="6425" y="2476"/>
                </a:cubicBezTo>
                <a:cubicBezTo>
                  <a:pt x="6321" y="2476"/>
                  <a:pt x="6234" y="2424"/>
                  <a:pt x="6168" y="2321"/>
                </a:cubicBezTo>
                <a:cubicBezTo>
                  <a:pt x="5871" y="1857"/>
                  <a:pt x="5442" y="1500"/>
                  <a:pt x="4990" y="1297"/>
                </a:cubicBezTo>
                <a:cubicBezTo>
                  <a:pt x="4882" y="1250"/>
                  <a:pt x="4763" y="1202"/>
                  <a:pt x="4668" y="1178"/>
                </a:cubicBezTo>
                <a:cubicBezTo>
                  <a:pt x="4811" y="1152"/>
                  <a:pt x="4954" y="1138"/>
                  <a:pt x="5097" y="1138"/>
                </a:cubicBezTo>
                <a:cubicBezTo>
                  <a:pt x="5144" y="1138"/>
                  <a:pt x="5192" y="1140"/>
                  <a:pt x="5240" y="1143"/>
                </a:cubicBezTo>
                <a:cubicBezTo>
                  <a:pt x="5335" y="1143"/>
                  <a:pt x="5406" y="1083"/>
                  <a:pt x="5406" y="1000"/>
                </a:cubicBezTo>
                <a:cubicBezTo>
                  <a:pt x="5406" y="905"/>
                  <a:pt x="5347" y="833"/>
                  <a:pt x="5263" y="833"/>
                </a:cubicBezTo>
                <a:cubicBezTo>
                  <a:pt x="5208" y="830"/>
                  <a:pt x="5151" y="829"/>
                  <a:pt x="5095" y="829"/>
                </a:cubicBezTo>
                <a:cubicBezTo>
                  <a:pt x="4253" y="829"/>
                  <a:pt x="3373" y="1161"/>
                  <a:pt x="2525" y="1797"/>
                </a:cubicBezTo>
                <a:cubicBezTo>
                  <a:pt x="1954" y="2226"/>
                  <a:pt x="1573" y="2667"/>
                  <a:pt x="1453" y="2810"/>
                </a:cubicBezTo>
                <a:cubicBezTo>
                  <a:pt x="1215" y="2869"/>
                  <a:pt x="977" y="2964"/>
                  <a:pt x="739" y="3083"/>
                </a:cubicBezTo>
                <a:cubicBezTo>
                  <a:pt x="870" y="2917"/>
                  <a:pt x="1013" y="2726"/>
                  <a:pt x="1215" y="2512"/>
                </a:cubicBezTo>
                <a:cubicBezTo>
                  <a:pt x="1275" y="2452"/>
                  <a:pt x="1275" y="2345"/>
                  <a:pt x="1192" y="2286"/>
                </a:cubicBezTo>
                <a:cubicBezTo>
                  <a:pt x="1164" y="2258"/>
                  <a:pt x="1130" y="2244"/>
                  <a:pt x="1094" y="2244"/>
                </a:cubicBezTo>
                <a:cubicBezTo>
                  <a:pt x="1052" y="2244"/>
                  <a:pt x="1009" y="2264"/>
                  <a:pt x="977" y="2309"/>
                </a:cubicBezTo>
                <a:cubicBezTo>
                  <a:pt x="394" y="2964"/>
                  <a:pt x="60" y="3500"/>
                  <a:pt x="37" y="3524"/>
                </a:cubicBezTo>
                <a:cubicBezTo>
                  <a:pt x="1" y="3583"/>
                  <a:pt x="1" y="3643"/>
                  <a:pt x="37" y="3702"/>
                </a:cubicBezTo>
                <a:cubicBezTo>
                  <a:pt x="75" y="3749"/>
                  <a:pt x="123" y="3775"/>
                  <a:pt x="175" y="3775"/>
                </a:cubicBezTo>
                <a:cubicBezTo>
                  <a:pt x="204" y="3775"/>
                  <a:pt x="233" y="3767"/>
                  <a:pt x="263" y="3750"/>
                </a:cubicBezTo>
                <a:cubicBezTo>
                  <a:pt x="691" y="3441"/>
                  <a:pt x="1215" y="3214"/>
                  <a:pt x="1715" y="3107"/>
                </a:cubicBezTo>
                <a:cubicBezTo>
                  <a:pt x="1860" y="3079"/>
                  <a:pt x="2037" y="3059"/>
                  <a:pt x="2203" y="3059"/>
                </a:cubicBezTo>
                <a:cubicBezTo>
                  <a:pt x="2391" y="3059"/>
                  <a:pt x="2567" y="3085"/>
                  <a:pt x="2668" y="3155"/>
                </a:cubicBezTo>
                <a:cubicBezTo>
                  <a:pt x="2799" y="3238"/>
                  <a:pt x="2858" y="3357"/>
                  <a:pt x="2799" y="3476"/>
                </a:cubicBezTo>
                <a:cubicBezTo>
                  <a:pt x="2747" y="3588"/>
                  <a:pt x="2610" y="3674"/>
                  <a:pt x="2395" y="3674"/>
                </a:cubicBezTo>
                <a:cubicBezTo>
                  <a:pt x="2311" y="3674"/>
                  <a:pt x="2215" y="3661"/>
                  <a:pt x="2108" y="3631"/>
                </a:cubicBezTo>
                <a:cubicBezTo>
                  <a:pt x="1912" y="3572"/>
                  <a:pt x="1724" y="3542"/>
                  <a:pt x="1549" y="3542"/>
                </a:cubicBezTo>
                <a:cubicBezTo>
                  <a:pt x="1373" y="3542"/>
                  <a:pt x="1209" y="3572"/>
                  <a:pt x="1061" y="3631"/>
                </a:cubicBezTo>
                <a:cubicBezTo>
                  <a:pt x="799" y="3738"/>
                  <a:pt x="584" y="3929"/>
                  <a:pt x="453" y="4179"/>
                </a:cubicBezTo>
                <a:cubicBezTo>
                  <a:pt x="322" y="4429"/>
                  <a:pt x="275" y="4750"/>
                  <a:pt x="334" y="5048"/>
                </a:cubicBezTo>
                <a:cubicBezTo>
                  <a:pt x="382" y="5310"/>
                  <a:pt x="513" y="5548"/>
                  <a:pt x="703" y="5727"/>
                </a:cubicBezTo>
                <a:cubicBezTo>
                  <a:pt x="632" y="5858"/>
                  <a:pt x="572" y="6012"/>
                  <a:pt x="537" y="6179"/>
                </a:cubicBezTo>
                <a:cubicBezTo>
                  <a:pt x="441" y="6631"/>
                  <a:pt x="525" y="7143"/>
                  <a:pt x="811" y="7632"/>
                </a:cubicBezTo>
                <a:cubicBezTo>
                  <a:pt x="1013" y="8001"/>
                  <a:pt x="1251" y="8239"/>
                  <a:pt x="1275" y="8239"/>
                </a:cubicBezTo>
                <a:cubicBezTo>
                  <a:pt x="1299" y="8274"/>
                  <a:pt x="1346" y="8286"/>
                  <a:pt x="1394" y="8286"/>
                </a:cubicBezTo>
                <a:cubicBezTo>
                  <a:pt x="1430" y="8286"/>
                  <a:pt x="1477" y="8274"/>
                  <a:pt x="1513" y="8239"/>
                </a:cubicBezTo>
                <a:cubicBezTo>
                  <a:pt x="1573" y="8179"/>
                  <a:pt x="1573" y="8084"/>
                  <a:pt x="1513" y="8024"/>
                </a:cubicBezTo>
                <a:cubicBezTo>
                  <a:pt x="1489" y="8001"/>
                  <a:pt x="644" y="7167"/>
                  <a:pt x="870" y="6250"/>
                </a:cubicBezTo>
                <a:cubicBezTo>
                  <a:pt x="977" y="5798"/>
                  <a:pt x="1239" y="5477"/>
                  <a:pt x="1656" y="5298"/>
                </a:cubicBezTo>
                <a:cubicBezTo>
                  <a:pt x="1896" y="5194"/>
                  <a:pt x="2169" y="5144"/>
                  <a:pt x="2455" y="5144"/>
                </a:cubicBezTo>
                <a:cubicBezTo>
                  <a:pt x="2595" y="5144"/>
                  <a:pt x="2738" y="5155"/>
                  <a:pt x="2882" y="5179"/>
                </a:cubicBezTo>
                <a:cubicBezTo>
                  <a:pt x="3382" y="5262"/>
                  <a:pt x="3775" y="5536"/>
                  <a:pt x="3739" y="5762"/>
                </a:cubicBezTo>
                <a:cubicBezTo>
                  <a:pt x="3728" y="5822"/>
                  <a:pt x="3716" y="5858"/>
                  <a:pt x="3668" y="5893"/>
                </a:cubicBezTo>
                <a:cubicBezTo>
                  <a:pt x="3634" y="5910"/>
                  <a:pt x="3589" y="5927"/>
                  <a:pt x="3540" y="5927"/>
                </a:cubicBezTo>
                <a:cubicBezTo>
                  <a:pt x="3519" y="5927"/>
                  <a:pt x="3498" y="5924"/>
                  <a:pt x="3478" y="5917"/>
                </a:cubicBezTo>
                <a:lnTo>
                  <a:pt x="3454" y="5917"/>
                </a:lnTo>
                <a:cubicBezTo>
                  <a:pt x="3394" y="5846"/>
                  <a:pt x="3323" y="5774"/>
                  <a:pt x="3239" y="5715"/>
                </a:cubicBezTo>
                <a:cubicBezTo>
                  <a:pt x="3207" y="5696"/>
                  <a:pt x="3173" y="5687"/>
                  <a:pt x="3141" y="5687"/>
                </a:cubicBezTo>
                <a:cubicBezTo>
                  <a:pt x="3090" y="5687"/>
                  <a:pt x="3042" y="5711"/>
                  <a:pt x="3013" y="5762"/>
                </a:cubicBezTo>
                <a:cubicBezTo>
                  <a:pt x="2966" y="5834"/>
                  <a:pt x="2977" y="5941"/>
                  <a:pt x="3061" y="5977"/>
                </a:cubicBezTo>
                <a:cubicBezTo>
                  <a:pt x="3263" y="6119"/>
                  <a:pt x="3275" y="6274"/>
                  <a:pt x="3263" y="6381"/>
                </a:cubicBezTo>
                <a:cubicBezTo>
                  <a:pt x="3251" y="6536"/>
                  <a:pt x="3132" y="6679"/>
                  <a:pt x="3001" y="6727"/>
                </a:cubicBezTo>
                <a:cubicBezTo>
                  <a:pt x="2976" y="6732"/>
                  <a:pt x="2951" y="6735"/>
                  <a:pt x="2927" y="6735"/>
                </a:cubicBezTo>
                <a:cubicBezTo>
                  <a:pt x="2850" y="6735"/>
                  <a:pt x="2779" y="6704"/>
                  <a:pt x="2716" y="6631"/>
                </a:cubicBezTo>
                <a:cubicBezTo>
                  <a:pt x="2435" y="6342"/>
                  <a:pt x="2096" y="6177"/>
                  <a:pt x="1791" y="6177"/>
                </a:cubicBezTo>
                <a:cubicBezTo>
                  <a:pt x="1707" y="6177"/>
                  <a:pt x="1626" y="6189"/>
                  <a:pt x="1549" y="6215"/>
                </a:cubicBezTo>
                <a:cubicBezTo>
                  <a:pt x="1311" y="6298"/>
                  <a:pt x="1168" y="6477"/>
                  <a:pt x="1120" y="6727"/>
                </a:cubicBezTo>
                <a:cubicBezTo>
                  <a:pt x="1108" y="6810"/>
                  <a:pt x="1168" y="6905"/>
                  <a:pt x="1251" y="6905"/>
                </a:cubicBezTo>
                <a:cubicBezTo>
                  <a:pt x="1259" y="6906"/>
                  <a:pt x="1267" y="6907"/>
                  <a:pt x="1275" y="6907"/>
                </a:cubicBezTo>
                <a:cubicBezTo>
                  <a:pt x="1360" y="6907"/>
                  <a:pt x="1430" y="6850"/>
                  <a:pt x="1430" y="6774"/>
                </a:cubicBezTo>
                <a:cubicBezTo>
                  <a:pt x="1465" y="6620"/>
                  <a:pt x="1549" y="6548"/>
                  <a:pt x="1644" y="6536"/>
                </a:cubicBezTo>
                <a:cubicBezTo>
                  <a:pt x="1690" y="6521"/>
                  <a:pt x="1738" y="6514"/>
                  <a:pt x="1786" y="6514"/>
                </a:cubicBezTo>
                <a:cubicBezTo>
                  <a:pt x="2035" y="6514"/>
                  <a:pt x="2298" y="6700"/>
                  <a:pt x="2477" y="6870"/>
                </a:cubicBezTo>
                <a:cubicBezTo>
                  <a:pt x="2608" y="7012"/>
                  <a:pt x="2763" y="7084"/>
                  <a:pt x="2918" y="7084"/>
                </a:cubicBezTo>
                <a:cubicBezTo>
                  <a:pt x="2977" y="7084"/>
                  <a:pt x="3037" y="7072"/>
                  <a:pt x="3097" y="7048"/>
                </a:cubicBezTo>
                <a:cubicBezTo>
                  <a:pt x="3263" y="6989"/>
                  <a:pt x="3418" y="6870"/>
                  <a:pt x="3501" y="6715"/>
                </a:cubicBezTo>
                <a:cubicBezTo>
                  <a:pt x="3656" y="6870"/>
                  <a:pt x="3918" y="7108"/>
                  <a:pt x="4323" y="7381"/>
                </a:cubicBezTo>
                <a:cubicBezTo>
                  <a:pt x="4966" y="7810"/>
                  <a:pt x="6109" y="8405"/>
                  <a:pt x="7919" y="8810"/>
                </a:cubicBezTo>
                <a:lnTo>
                  <a:pt x="7954" y="8810"/>
                </a:lnTo>
                <a:cubicBezTo>
                  <a:pt x="8026" y="8810"/>
                  <a:pt x="8097" y="8763"/>
                  <a:pt x="8121" y="8679"/>
                </a:cubicBezTo>
                <a:cubicBezTo>
                  <a:pt x="8133" y="8584"/>
                  <a:pt x="8085" y="8501"/>
                  <a:pt x="8002" y="8477"/>
                </a:cubicBezTo>
                <a:cubicBezTo>
                  <a:pt x="6240" y="8096"/>
                  <a:pt x="5144" y="7524"/>
                  <a:pt x="4525" y="7131"/>
                </a:cubicBezTo>
                <a:cubicBezTo>
                  <a:pt x="3870" y="6679"/>
                  <a:pt x="3620" y="6322"/>
                  <a:pt x="3609" y="6322"/>
                </a:cubicBezTo>
                <a:lnTo>
                  <a:pt x="3609" y="6274"/>
                </a:lnTo>
                <a:cubicBezTo>
                  <a:pt x="3716" y="6274"/>
                  <a:pt x="3799" y="6250"/>
                  <a:pt x="3870" y="6191"/>
                </a:cubicBezTo>
                <a:cubicBezTo>
                  <a:pt x="3990" y="6119"/>
                  <a:pt x="4049" y="6000"/>
                  <a:pt x="4085" y="5834"/>
                </a:cubicBezTo>
                <a:cubicBezTo>
                  <a:pt x="4109" y="5607"/>
                  <a:pt x="4001" y="5381"/>
                  <a:pt x="3751" y="5203"/>
                </a:cubicBezTo>
                <a:cubicBezTo>
                  <a:pt x="3561" y="5060"/>
                  <a:pt x="3275" y="4941"/>
                  <a:pt x="2954" y="4881"/>
                </a:cubicBezTo>
                <a:cubicBezTo>
                  <a:pt x="2794" y="4852"/>
                  <a:pt x="2628" y="4836"/>
                  <a:pt x="2461" y="4836"/>
                </a:cubicBezTo>
                <a:cubicBezTo>
                  <a:pt x="1883" y="4836"/>
                  <a:pt x="1297" y="5024"/>
                  <a:pt x="918" y="5477"/>
                </a:cubicBezTo>
                <a:cubicBezTo>
                  <a:pt x="644" y="5191"/>
                  <a:pt x="572" y="4715"/>
                  <a:pt x="763" y="4345"/>
                </a:cubicBezTo>
                <a:cubicBezTo>
                  <a:pt x="848" y="4194"/>
                  <a:pt x="1067" y="3879"/>
                  <a:pt x="1581" y="3879"/>
                </a:cubicBezTo>
                <a:cubicBezTo>
                  <a:pt x="1716" y="3879"/>
                  <a:pt x="1871" y="3901"/>
                  <a:pt x="2049" y="3953"/>
                </a:cubicBezTo>
                <a:cubicBezTo>
                  <a:pt x="2189" y="3994"/>
                  <a:pt x="2318" y="4013"/>
                  <a:pt x="2436" y="4013"/>
                </a:cubicBezTo>
                <a:cubicBezTo>
                  <a:pt x="2788" y="4013"/>
                  <a:pt x="3034" y="3845"/>
                  <a:pt x="3132" y="3631"/>
                </a:cubicBezTo>
                <a:cubicBezTo>
                  <a:pt x="3251" y="3357"/>
                  <a:pt x="3144" y="3083"/>
                  <a:pt x="2882" y="2905"/>
                </a:cubicBezTo>
                <a:cubicBezTo>
                  <a:pt x="2714" y="2806"/>
                  <a:pt x="2470" y="2756"/>
                  <a:pt x="2181" y="2756"/>
                </a:cubicBezTo>
                <a:cubicBezTo>
                  <a:pt x="2123" y="2756"/>
                  <a:pt x="2063" y="2758"/>
                  <a:pt x="2001" y="2762"/>
                </a:cubicBezTo>
                <a:cubicBezTo>
                  <a:pt x="2180" y="2583"/>
                  <a:pt x="2430" y="2333"/>
                  <a:pt x="2739" y="2107"/>
                </a:cubicBezTo>
                <a:cubicBezTo>
                  <a:pt x="2966" y="1928"/>
                  <a:pt x="3251" y="1750"/>
                  <a:pt x="3561" y="1607"/>
                </a:cubicBezTo>
                <a:cubicBezTo>
                  <a:pt x="3742" y="1535"/>
                  <a:pt x="3929" y="1500"/>
                  <a:pt x="4120" y="1500"/>
                </a:cubicBezTo>
                <a:cubicBezTo>
                  <a:pt x="4368" y="1500"/>
                  <a:pt x="4621" y="1559"/>
                  <a:pt x="4871" y="1667"/>
                </a:cubicBezTo>
                <a:cubicBezTo>
                  <a:pt x="5156" y="1786"/>
                  <a:pt x="5406" y="1976"/>
                  <a:pt x="5633" y="2214"/>
                </a:cubicBezTo>
                <a:cubicBezTo>
                  <a:pt x="5299" y="2274"/>
                  <a:pt x="4799" y="2452"/>
                  <a:pt x="4549" y="3000"/>
                </a:cubicBezTo>
                <a:cubicBezTo>
                  <a:pt x="4323" y="3512"/>
                  <a:pt x="4347" y="4048"/>
                  <a:pt x="4668" y="4595"/>
                </a:cubicBezTo>
                <a:cubicBezTo>
                  <a:pt x="5573" y="6239"/>
                  <a:pt x="8681" y="7691"/>
                  <a:pt x="10919" y="7977"/>
                </a:cubicBezTo>
                <a:lnTo>
                  <a:pt x="10931" y="7977"/>
                </a:lnTo>
                <a:cubicBezTo>
                  <a:pt x="11002" y="7977"/>
                  <a:pt x="11074" y="7917"/>
                  <a:pt x="11098" y="7846"/>
                </a:cubicBezTo>
                <a:cubicBezTo>
                  <a:pt x="11050" y="7643"/>
                  <a:pt x="10990" y="7572"/>
                  <a:pt x="10907" y="7560"/>
                </a:cubicBezTo>
                <a:cubicBezTo>
                  <a:pt x="9835" y="7429"/>
                  <a:pt x="8538" y="6989"/>
                  <a:pt x="7407" y="6417"/>
                </a:cubicBezTo>
                <a:cubicBezTo>
                  <a:pt x="6180" y="5786"/>
                  <a:pt x="5287" y="5048"/>
                  <a:pt x="4906" y="4345"/>
                </a:cubicBezTo>
                <a:cubicBezTo>
                  <a:pt x="4656" y="3881"/>
                  <a:pt x="4609" y="3452"/>
                  <a:pt x="4799" y="3048"/>
                </a:cubicBezTo>
                <a:cubicBezTo>
                  <a:pt x="4918" y="2798"/>
                  <a:pt x="5133" y="2607"/>
                  <a:pt x="5442" y="2500"/>
                </a:cubicBezTo>
                <a:cubicBezTo>
                  <a:pt x="5597" y="2440"/>
                  <a:pt x="5752" y="2429"/>
                  <a:pt x="5847" y="2429"/>
                </a:cubicBezTo>
                <a:cubicBezTo>
                  <a:pt x="5859" y="2440"/>
                  <a:pt x="5871" y="2464"/>
                  <a:pt x="5883" y="2488"/>
                </a:cubicBezTo>
                <a:cubicBezTo>
                  <a:pt x="6025" y="2679"/>
                  <a:pt x="6216" y="2798"/>
                  <a:pt x="6418" y="2798"/>
                </a:cubicBezTo>
                <a:cubicBezTo>
                  <a:pt x="6466" y="2798"/>
                  <a:pt x="6526" y="2798"/>
                  <a:pt x="6573" y="2786"/>
                </a:cubicBezTo>
                <a:cubicBezTo>
                  <a:pt x="6883" y="2702"/>
                  <a:pt x="7157" y="2429"/>
                  <a:pt x="7192" y="2095"/>
                </a:cubicBezTo>
                <a:cubicBezTo>
                  <a:pt x="7240" y="1750"/>
                  <a:pt x="7061" y="1440"/>
                  <a:pt x="6692" y="1238"/>
                </a:cubicBezTo>
                <a:cubicBezTo>
                  <a:pt x="6645" y="1202"/>
                  <a:pt x="6597" y="1190"/>
                  <a:pt x="6573" y="1178"/>
                </a:cubicBezTo>
                <a:cubicBezTo>
                  <a:pt x="6537" y="1035"/>
                  <a:pt x="6418" y="595"/>
                  <a:pt x="5990" y="297"/>
                </a:cubicBezTo>
                <a:cubicBezTo>
                  <a:pt x="5711" y="98"/>
                  <a:pt x="5362" y="0"/>
                  <a:pt x="49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87" name="Google Shape;12987;p63"/>
          <p:cNvGrpSpPr/>
          <p:nvPr/>
        </p:nvGrpSpPr>
        <p:grpSpPr>
          <a:xfrm>
            <a:off x="7993805" y="2427122"/>
            <a:ext cx="356256" cy="351808"/>
            <a:chOff x="7993805" y="2427122"/>
            <a:chExt cx="356256" cy="351808"/>
          </a:xfrm>
        </p:grpSpPr>
        <p:sp>
          <p:nvSpPr>
            <p:cNvPr id="12988" name="Google Shape;12988;p63"/>
            <p:cNvSpPr/>
            <p:nvPr/>
          </p:nvSpPr>
          <p:spPr>
            <a:xfrm>
              <a:off x="8154957" y="2427122"/>
              <a:ext cx="195104" cy="194464"/>
            </a:xfrm>
            <a:custGeom>
              <a:avLst/>
              <a:gdLst/>
              <a:ahLst/>
              <a:cxnLst/>
              <a:rect l="l" t="t" r="r" b="b"/>
              <a:pathLst>
                <a:path w="6097" h="6077" extrusionOk="0">
                  <a:moveTo>
                    <a:pt x="299" y="0"/>
                  </a:moveTo>
                  <a:cubicBezTo>
                    <a:pt x="228" y="0"/>
                    <a:pt x="159" y="25"/>
                    <a:pt x="108" y="76"/>
                  </a:cubicBezTo>
                  <a:cubicBezTo>
                    <a:pt x="13" y="171"/>
                    <a:pt x="1" y="290"/>
                    <a:pt x="60" y="409"/>
                  </a:cubicBezTo>
                  <a:cubicBezTo>
                    <a:pt x="406" y="1028"/>
                    <a:pt x="644" y="1790"/>
                    <a:pt x="858" y="2517"/>
                  </a:cubicBezTo>
                  <a:cubicBezTo>
                    <a:pt x="1191" y="3588"/>
                    <a:pt x="1537" y="4695"/>
                    <a:pt x="2227" y="5410"/>
                  </a:cubicBezTo>
                  <a:cubicBezTo>
                    <a:pt x="2644" y="5838"/>
                    <a:pt x="3227" y="6077"/>
                    <a:pt x="3835" y="6077"/>
                  </a:cubicBezTo>
                  <a:lnTo>
                    <a:pt x="3858" y="6077"/>
                  </a:lnTo>
                  <a:cubicBezTo>
                    <a:pt x="4466" y="6077"/>
                    <a:pt x="5025" y="5850"/>
                    <a:pt x="5442" y="5422"/>
                  </a:cubicBezTo>
                  <a:cubicBezTo>
                    <a:pt x="5859" y="4993"/>
                    <a:pt x="6097" y="4422"/>
                    <a:pt x="6097" y="3814"/>
                  </a:cubicBezTo>
                  <a:cubicBezTo>
                    <a:pt x="6085" y="3219"/>
                    <a:pt x="5859" y="2659"/>
                    <a:pt x="5430" y="2243"/>
                  </a:cubicBezTo>
                  <a:cubicBezTo>
                    <a:pt x="4728" y="1540"/>
                    <a:pt x="3620" y="1195"/>
                    <a:pt x="2537" y="874"/>
                  </a:cubicBezTo>
                  <a:cubicBezTo>
                    <a:pt x="2287" y="790"/>
                    <a:pt x="2025" y="707"/>
                    <a:pt x="1751" y="612"/>
                  </a:cubicBezTo>
                  <a:cubicBezTo>
                    <a:pt x="1737" y="607"/>
                    <a:pt x="1722" y="605"/>
                    <a:pt x="1707" y="605"/>
                  </a:cubicBezTo>
                  <a:cubicBezTo>
                    <a:pt x="1637" y="605"/>
                    <a:pt x="1568" y="650"/>
                    <a:pt x="1549" y="719"/>
                  </a:cubicBezTo>
                  <a:cubicBezTo>
                    <a:pt x="1513" y="814"/>
                    <a:pt x="1561" y="897"/>
                    <a:pt x="1644" y="933"/>
                  </a:cubicBezTo>
                  <a:cubicBezTo>
                    <a:pt x="1918" y="1016"/>
                    <a:pt x="2180" y="1088"/>
                    <a:pt x="2442" y="1183"/>
                  </a:cubicBezTo>
                  <a:cubicBezTo>
                    <a:pt x="3525" y="1505"/>
                    <a:pt x="4537" y="1838"/>
                    <a:pt x="5192" y="2481"/>
                  </a:cubicBezTo>
                  <a:cubicBezTo>
                    <a:pt x="5561" y="2838"/>
                    <a:pt x="5752" y="3326"/>
                    <a:pt x="5775" y="3850"/>
                  </a:cubicBezTo>
                  <a:cubicBezTo>
                    <a:pt x="5775" y="4362"/>
                    <a:pt x="5585" y="4862"/>
                    <a:pt x="5216" y="5219"/>
                  </a:cubicBezTo>
                  <a:cubicBezTo>
                    <a:pt x="4859" y="5565"/>
                    <a:pt x="4370" y="5767"/>
                    <a:pt x="3847" y="5767"/>
                  </a:cubicBezTo>
                  <a:lnTo>
                    <a:pt x="3835" y="5767"/>
                  </a:lnTo>
                  <a:cubicBezTo>
                    <a:pt x="3323" y="5767"/>
                    <a:pt x="2823" y="5553"/>
                    <a:pt x="2465" y="5184"/>
                  </a:cubicBezTo>
                  <a:cubicBezTo>
                    <a:pt x="1834" y="4529"/>
                    <a:pt x="1513" y="3517"/>
                    <a:pt x="1168" y="2433"/>
                  </a:cubicBezTo>
                  <a:cubicBezTo>
                    <a:pt x="965" y="1743"/>
                    <a:pt x="739" y="1028"/>
                    <a:pt x="429" y="409"/>
                  </a:cubicBezTo>
                  <a:lnTo>
                    <a:pt x="429" y="409"/>
                  </a:lnTo>
                  <a:cubicBezTo>
                    <a:pt x="608" y="493"/>
                    <a:pt x="799" y="588"/>
                    <a:pt x="1013" y="659"/>
                  </a:cubicBezTo>
                  <a:cubicBezTo>
                    <a:pt x="1033" y="665"/>
                    <a:pt x="1053" y="668"/>
                    <a:pt x="1073" y="668"/>
                  </a:cubicBezTo>
                  <a:cubicBezTo>
                    <a:pt x="1137" y="668"/>
                    <a:pt x="1197" y="637"/>
                    <a:pt x="1215" y="564"/>
                  </a:cubicBezTo>
                  <a:cubicBezTo>
                    <a:pt x="1251" y="481"/>
                    <a:pt x="1215" y="385"/>
                    <a:pt x="1132" y="362"/>
                  </a:cubicBezTo>
                  <a:cubicBezTo>
                    <a:pt x="858" y="254"/>
                    <a:pt x="644" y="159"/>
                    <a:pt x="429" y="28"/>
                  </a:cubicBezTo>
                  <a:cubicBezTo>
                    <a:pt x="388" y="10"/>
                    <a:pt x="343" y="0"/>
                    <a:pt x="2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9" name="Google Shape;12989;p63"/>
            <p:cNvSpPr/>
            <p:nvPr/>
          </p:nvSpPr>
          <p:spPr>
            <a:xfrm>
              <a:off x="7993805" y="2477170"/>
              <a:ext cx="136032" cy="222144"/>
            </a:xfrm>
            <a:custGeom>
              <a:avLst/>
              <a:gdLst/>
              <a:ahLst/>
              <a:cxnLst/>
              <a:rect l="l" t="t" r="r" b="b"/>
              <a:pathLst>
                <a:path w="4251" h="6942" extrusionOk="0">
                  <a:moveTo>
                    <a:pt x="1834" y="0"/>
                  </a:moveTo>
                  <a:cubicBezTo>
                    <a:pt x="1715" y="0"/>
                    <a:pt x="1632" y="95"/>
                    <a:pt x="1596" y="214"/>
                  </a:cubicBezTo>
                  <a:cubicBezTo>
                    <a:pt x="1453" y="857"/>
                    <a:pt x="1155" y="1512"/>
                    <a:pt x="870" y="2143"/>
                  </a:cubicBezTo>
                  <a:cubicBezTo>
                    <a:pt x="453" y="3084"/>
                    <a:pt x="0" y="4048"/>
                    <a:pt x="60" y="4965"/>
                  </a:cubicBezTo>
                  <a:cubicBezTo>
                    <a:pt x="96" y="5513"/>
                    <a:pt x="346" y="6013"/>
                    <a:pt x="762" y="6406"/>
                  </a:cubicBezTo>
                  <a:cubicBezTo>
                    <a:pt x="1155" y="6751"/>
                    <a:pt x="1644" y="6941"/>
                    <a:pt x="2144" y="6941"/>
                  </a:cubicBezTo>
                  <a:lnTo>
                    <a:pt x="2286" y="6941"/>
                  </a:lnTo>
                  <a:cubicBezTo>
                    <a:pt x="2834" y="6906"/>
                    <a:pt x="3334" y="6656"/>
                    <a:pt x="3703" y="6227"/>
                  </a:cubicBezTo>
                  <a:cubicBezTo>
                    <a:pt x="4072" y="5810"/>
                    <a:pt x="4251" y="5275"/>
                    <a:pt x="4215" y="4703"/>
                  </a:cubicBezTo>
                  <a:cubicBezTo>
                    <a:pt x="4156" y="3798"/>
                    <a:pt x="3608" y="2893"/>
                    <a:pt x="3072" y="2012"/>
                  </a:cubicBezTo>
                  <a:cubicBezTo>
                    <a:pt x="2953" y="1822"/>
                    <a:pt x="2846" y="1643"/>
                    <a:pt x="2727" y="1441"/>
                  </a:cubicBezTo>
                  <a:cubicBezTo>
                    <a:pt x="2696" y="1395"/>
                    <a:pt x="2646" y="1368"/>
                    <a:pt x="2591" y="1368"/>
                  </a:cubicBezTo>
                  <a:cubicBezTo>
                    <a:pt x="2561" y="1368"/>
                    <a:pt x="2530" y="1376"/>
                    <a:pt x="2501" y="1393"/>
                  </a:cubicBezTo>
                  <a:cubicBezTo>
                    <a:pt x="2429" y="1429"/>
                    <a:pt x="2406" y="1536"/>
                    <a:pt x="2441" y="1607"/>
                  </a:cubicBezTo>
                  <a:cubicBezTo>
                    <a:pt x="2560" y="1810"/>
                    <a:pt x="2667" y="2000"/>
                    <a:pt x="2787" y="2191"/>
                  </a:cubicBezTo>
                  <a:cubicBezTo>
                    <a:pt x="3322" y="3072"/>
                    <a:pt x="3822" y="3905"/>
                    <a:pt x="3894" y="4739"/>
                  </a:cubicBezTo>
                  <a:cubicBezTo>
                    <a:pt x="3918" y="5203"/>
                    <a:pt x="3775" y="5656"/>
                    <a:pt x="3453" y="6013"/>
                  </a:cubicBezTo>
                  <a:cubicBezTo>
                    <a:pt x="3144" y="6370"/>
                    <a:pt x="2715" y="6584"/>
                    <a:pt x="2251" y="6608"/>
                  </a:cubicBezTo>
                  <a:cubicBezTo>
                    <a:pt x="2209" y="6611"/>
                    <a:pt x="2168" y="6613"/>
                    <a:pt x="2127" y="6613"/>
                  </a:cubicBezTo>
                  <a:cubicBezTo>
                    <a:pt x="1708" y="6613"/>
                    <a:pt x="1314" y="6449"/>
                    <a:pt x="989" y="6168"/>
                  </a:cubicBezTo>
                  <a:cubicBezTo>
                    <a:pt x="632" y="5858"/>
                    <a:pt x="417" y="5417"/>
                    <a:pt x="393" y="4941"/>
                  </a:cubicBezTo>
                  <a:cubicBezTo>
                    <a:pt x="346" y="4108"/>
                    <a:pt x="751" y="3239"/>
                    <a:pt x="1167" y="2286"/>
                  </a:cubicBezTo>
                  <a:cubicBezTo>
                    <a:pt x="1429" y="1691"/>
                    <a:pt x="1703" y="1095"/>
                    <a:pt x="1870" y="476"/>
                  </a:cubicBezTo>
                  <a:cubicBezTo>
                    <a:pt x="1929" y="631"/>
                    <a:pt x="2001" y="774"/>
                    <a:pt x="2072" y="941"/>
                  </a:cubicBezTo>
                  <a:cubicBezTo>
                    <a:pt x="2106" y="992"/>
                    <a:pt x="2159" y="1031"/>
                    <a:pt x="2222" y="1031"/>
                  </a:cubicBezTo>
                  <a:cubicBezTo>
                    <a:pt x="2246" y="1031"/>
                    <a:pt x="2272" y="1025"/>
                    <a:pt x="2298" y="1012"/>
                  </a:cubicBezTo>
                  <a:cubicBezTo>
                    <a:pt x="2370" y="976"/>
                    <a:pt x="2417" y="881"/>
                    <a:pt x="2370" y="798"/>
                  </a:cubicBezTo>
                  <a:cubicBezTo>
                    <a:pt x="2263" y="572"/>
                    <a:pt x="2179" y="381"/>
                    <a:pt x="2108" y="179"/>
                  </a:cubicBezTo>
                  <a:cubicBezTo>
                    <a:pt x="2060" y="83"/>
                    <a:pt x="1953" y="0"/>
                    <a:pt x="1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0" name="Google Shape;12990;p63"/>
            <p:cNvSpPr/>
            <p:nvPr/>
          </p:nvSpPr>
          <p:spPr>
            <a:xfrm>
              <a:off x="8170573" y="2617042"/>
              <a:ext cx="110528" cy="161888"/>
            </a:xfrm>
            <a:custGeom>
              <a:avLst/>
              <a:gdLst/>
              <a:ahLst/>
              <a:cxnLst/>
              <a:rect l="l" t="t" r="r" b="b"/>
              <a:pathLst>
                <a:path w="3454" h="5059" extrusionOk="0">
                  <a:moveTo>
                    <a:pt x="307" y="1"/>
                  </a:moveTo>
                  <a:cubicBezTo>
                    <a:pt x="276" y="1"/>
                    <a:pt x="245" y="8"/>
                    <a:pt x="215" y="22"/>
                  </a:cubicBezTo>
                  <a:cubicBezTo>
                    <a:pt x="108" y="70"/>
                    <a:pt x="61" y="177"/>
                    <a:pt x="72" y="273"/>
                  </a:cubicBezTo>
                  <a:cubicBezTo>
                    <a:pt x="156" y="773"/>
                    <a:pt x="120" y="1320"/>
                    <a:pt x="84" y="1856"/>
                  </a:cubicBezTo>
                  <a:cubicBezTo>
                    <a:pt x="49" y="2642"/>
                    <a:pt x="1" y="3463"/>
                    <a:pt x="299" y="4106"/>
                  </a:cubicBezTo>
                  <a:cubicBezTo>
                    <a:pt x="477" y="4499"/>
                    <a:pt x="811" y="4797"/>
                    <a:pt x="1204" y="4952"/>
                  </a:cubicBezTo>
                  <a:cubicBezTo>
                    <a:pt x="1394" y="5023"/>
                    <a:pt x="1596" y="5059"/>
                    <a:pt x="1787" y="5059"/>
                  </a:cubicBezTo>
                  <a:cubicBezTo>
                    <a:pt x="2013" y="5059"/>
                    <a:pt x="2251" y="5011"/>
                    <a:pt x="2454" y="4904"/>
                  </a:cubicBezTo>
                  <a:cubicBezTo>
                    <a:pt x="2847" y="4725"/>
                    <a:pt x="3144" y="4404"/>
                    <a:pt x="3287" y="3987"/>
                  </a:cubicBezTo>
                  <a:cubicBezTo>
                    <a:pt x="3454" y="3571"/>
                    <a:pt x="3442" y="3118"/>
                    <a:pt x="3251" y="2737"/>
                  </a:cubicBezTo>
                  <a:cubicBezTo>
                    <a:pt x="2954" y="2094"/>
                    <a:pt x="2299" y="1606"/>
                    <a:pt x="1668" y="1130"/>
                  </a:cubicBezTo>
                  <a:lnTo>
                    <a:pt x="1585" y="1046"/>
                  </a:lnTo>
                  <a:cubicBezTo>
                    <a:pt x="1552" y="1023"/>
                    <a:pt x="1518" y="1013"/>
                    <a:pt x="1485" y="1013"/>
                  </a:cubicBezTo>
                  <a:cubicBezTo>
                    <a:pt x="1434" y="1013"/>
                    <a:pt x="1387" y="1039"/>
                    <a:pt x="1358" y="1082"/>
                  </a:cubicBezTo>
                  <a:cubicBezTo>
                    <a:pt x="1299" y="1154"/>
                    <a:pt x="1311" y="1261"/>
                    <a:pt x="1382" y="1308"/>
                  </a:cubicBezTo>
                  <a:lnTo>
                    <a:pt x="1477" y="1380"/>
                  </a:lnTo>
                  <a:cubicBezTo>
                    <a:pt x="2096" y="1856"/>
                    <a:pt x="2680" y="2297"/>
                    <a:pt x="2954" y="2868"/>
                  </a:cubicBezTo>
                  <a:cubicBezTo>
                    <a:pt x="3097" y="3178"/>
                    <a:pt x="3109" y="3535"/>
                    <a:pt x="2989" y="3868"/>
                  </a:cubicBezTo>
                  <a:cubicBezTo>
                    <a:pt x="2870" y="4190"/>
                    <a:pt x="2632" y="4463"/>
                    <a:pt x="2323" y="4606"/>
                  </a:cubicBezTo>
                  <a:cubicBezTo>
                    <a:pt x="2158" y="4689"/>
                    <a:pt x="1979" y="4727"/>
                    <a:pt x="1798" y="4727"/>
                  </a:cubicBezTo>
                  <a:cubicBezTo>
                    <a:pt x="1639" y="4727"/>
                    <a:pt x="1478" y="4698"/>
                    <a:pt x="1323" y="4642"/>
                  </a:cubicBezTo>
                  <a:cubicBezTo>
                    <a:pt x="1001" y="4523"/>
                    <a:pt x="727" y="4261"/>
                    <a:pt x="596" y="3952"/>
                  </a:cubicBezTo>
                  <a:cubicBezTo>
                    <a:pt x="346" y="3392"/>
                    <a:pt x="370" y="2642"/>
                    <a:pt x="418" y="1856"/>
                  </a:cubicBezTo>
                  <a:cubicBezTo>
                    <a:pt x="453" y="1392"/>
                    <a:pt x="465" y="927"/>
                    <a:pt x="430" y="487"/>
                  </a:cubicBezTo>
                  <a:lnTo>
                    <a:pt x="430" y="487"/>
                  </a:lnTo>
                  <a:cubicBezTo>
                    <a:pt x="537" y="594"/>
                    <a:pt x="656" y="689"/>
                    <a:pt x="787" y="808"/>
                  </a:cubicBezTo>
                  <a:cubicBezTo>
                    <a:pt x="824" y="835"/>
                    <a:pt x="862" y="847"/>
                    <a:pt x="897" y="847"/>
                  </a:cubicBezTo>
                  <a:cubicBezTo>
                    <a:pt x="940" y="847"/>
                    <a:pt x="980" y="829"/>
                    <a:pt x="1013" y="796"/>
                  </a:cubicBezTo>
                  <a:cubicBezTo>
                    <a:pt x="1073" y="725"/>
                    <a:pt x="1061" y="630"/>
                    <a:pt x="1001" y="570"/>
                  </a:cubicBezTo>
                  <a:cubicBezTo>
                    <a:pt x="787" y="392"/>
                    <a:pt x="632" y="225"/>
                    <a:pt x="489" y="82"/>
                  </a:cubicBezTo>
                  <a:cubicBezTo>
                    <a:pt x="440" y="33"/>
                    <a:pt x="374" y="1"/>
                    <a:pt x="30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1" name="Google Shape;12991;p63"/>
          <p:cNvGrpSpPr/>
          <p:nvPr/>
        </p:nvGrpSpPr>
        <p:grpSpPr>
          <a:xfrm>
            <a:off x="878637" y="1965010"/>
            <a:ext cx="308640" cy="353312"/>
            <a:chOff x="878637" y="1965010"/>
            <a:chExt cx="308640" cy="353312"/>
          </a:xfrm>
        </p:grpSpPr>
        <p:sp>
          <p:nvSpPr>
            <p:cNvPr id="12992" name="Google Shape;12992;p63"/>
            <p:cNvSpPr/>
            <p:nvPr/>
          </p:nvSpPr>
          <p:spPr>
            <a:xfrm>
              <a:off x="878637" y="1965010"/>
              <a:ext cx="308640" cy="353312"/>
            </a:xfrm>
            <a:custGeom>
              <a:avLst/>
              <a:gdLst/>
              <a:ahLst/>
              <a:cxnLst/>
              <a:rect l="l" t="t" r="r" b="b"/>
              <a:pathLst>
                <a:path w="9645" h="11041" extrusionOk="0">
                  <a:moveTo>
                    <a:pt x="1167" y="1122"/>
                  </a:moveTo>
                  <a:cubicBezTo>
                    <a:pt x="1905" y="1777"/>
                    <a:pt x="2893" y="2837"/>
                    <a:pt x="3632" y="4361"/>
                  </a:cubicBezTo>
                  <a:cubicBezTo>
                    <a:pt x="3477" y="4420"/>
                    <a:pt x="3322" y="4492"/>
                    <a:pt x="3191" y="4563"/>
                  </a:cubicBezTo>
                  <a:cubicBezTo>
                    <a:pt x="2882" y="3861"/>
                    <a:pt x="2203" y="2492"/>
                    <a:pt x="1167" y="1122"/>
                  </a:cubicBezTo>
                  <a:close/>
                  <a:moveTo>
                    <a:pt x="334" y="610"/>
                  </a:moveTo>
                  <a:lnTo>
                    <a:pt x="334" y="610"/>
                  </a:lnTo>
                  <a:cubicBezTo>
                    <a:pt x="1691" y="2182"/>
                    <a:pt x="2548" y="3956"/>
                    <a:pt x="2905" y="4730"/>
                  </a:cubicBezTo>
                  <a:cubicBezTo>
                    <a:pt x="2643" y="4920"/>
                    <a:pt x="2405" y="5159"/>
                    <a:pt x="2239" y="5444"/>
                  </a:cubicBezTo>
                  <a:cubicBezTo>
                    <a:pt x="1274" y="4563"/>
                    <a:pt x="798" y="3230"/>
                    <a:pt x="572" y="2241"/>
                  </a:cubicBezTo>
                  <a:cubicBezTo>
                    <a:pt x="417" y="1587"/>
                    <a:pt x="357" y="991"/>
                    <a:pt x="334" y="610"/>
                  </a:cubicBezTo>
                  <a:close/>
                  <a:moveTo>
                    <a:pt x="9311" y="587"/>
                  </a:moveTo>
                  <a:lnTo>
                    <a:pt x="9311" y="587"/>
                  </a:lnTo>
                  <a:cubicBezTo>
                    <a:pt x="9263" y="979"/>
                    <a:pt x="9204" y="1563"/>
                    <a:pt x="9049" y="2218"/>
                  </a:cubicBezTo>
                  <a:cubicBezTo>
                    <a:pt x="8835" y="3206"/>
                    <a:pt x="8358" y="4551"/>
                    <a:pt x="7382" y="5444"/>
                  </a:cubicBezTo>
                  <a:cubicBezTo>
                    <a:pt x="7204" y="5170"/>
                    <a:pt x="6989" y="4932"/>
                    <a:pt x="6715" y="4730"/>
                  </a:cubicBezTo>
                  <a:cubicBezTo>
                    <a:pt x="6775" y="4611"/>
                    <a:pt x="6823" y="4492"/>
                    <a:pt x="6882" y="4349"/>
                  </a:cubicBezTo>
                  <a:cubicBezTo>
                    <a:pt x="6930" y="4277"/>
                    <a:pt x="6882" y="4182"/>
                    <a:pt x="6811" y="4146"/>
                  </a:cubicBezTo>
                  <a:cubicBezTo>
                    <a:pt x="6787" y="4133"/>
                    <a:pt x="6763" y="4127"/>
                    <a:pt x="6740" y="4127"/>
                  </a:cubicBezTo>
                  <a:cubicBezTo>
                    <a:pt x="6679" y="4127"/>
                    <a:pt x="6622" y="4166"/>
                    <a:pt x="6596" y="4218"/>
                  </a:cubicBezTo>
                  <a:cubicBezTo>
                    <a:pt x="6537" y="4325"/>
                    <a:pt x="6489" y="4444"/>
                    <a:pt x="6453" y="4551"/>
                  </a:cubicBezTo>
                  <a:cubicBezTo>
                    <a:pt x="6299" y="4480"/>
                    <a:pt x="6156" y="4397"/>
                    <a:pt x="6001" y="4337"/>
                  </a:cubicBezTo>
                  <a:cubicBezTo>
                    <a:pt x="6703" y="2908"/>
                    <a:pt x="7620" y="1896"/>
                    <a:pt x="8263" y="1289"/>
                  </a:cubicBezTo>
                  <a:cubicBezTo>
                    <a:pt x="8335" y="1218"/>
                    <a:pt x="8418" y="1158"/>
                    <a:pt x="8478" y="1098"/>
                  </a:cubicBezTo>
                  <a:lnTo>
                    <a:pt x="8478" y="1098"/>
                  </a:lnTo>
                  <a:cubicBezTo>
                    <a:pt x="7787" y="2003"/>
                    <a:pt x="7263" y="2896"/>
                    <a:pt x="6906" y="3587"/>
                  </a:cubicBezTo>
                  <a:cubicBezTo>
                    <a:pt x="6858" y="3658"/>
                    <a:pt x="6894" y="3754"/>
                    <a:pt x="6989" y="3801"/>
                  </a:cubicBezTo>
                  <a:cubicBezTo>
                    <a:pt x="7013" y="3825"/>
                    <a:pt x="7025" y="3825"/>
                    <a:pt x="7061" y="3825"/>
                  </a:cubicBezTo>
                  <a:cubicBezTo>
                    <a:pt x="7120" y="3825"/>
                    <a:pt x="7180" y="3789"/>
                    <a:pt x="7204" y="3730"/>
                  </a:cubicBezTo>
                  <a:cubicBezTo>
                    <a:pt x="7644" y="2896"/>
                    <a:pt x="8347" y="1706"/>
                    <a:pt x="9311" y="587"/>
                  </a:cubicBezTo>
                  <a:close/>
                  <a:moveTo>
                    <a:pt x="4810" y="8945"/>
                  </a:moveTo>
                  <a:cubicBezTo>
                    <a:pt x="5156" y="8945"/>
                    <a:pt x="5441" y="9135"/>
                    <a:pt x="5441" y="9361"/>
                  </a:cubicBezTo>
                  <a:cubicBezTo>
                    <a:pt x="5441" y="9540"/>
                    <a:pt x="5227" y="9671"/>
                    <a:pt x="4965" y="9790"/>
                  </a:cubicBezTo>
                  <a:lnTo>
                    <a:pt x="4941" y="9790"/>
                  </a:lnTo>
                  <a:cubicBezTo>
                    <a:pt x="4897" y="9821"/>
                    <a:pt x="4847" y="9836"/>
                    <a:pt x="4796" y="9836"/>
                  </a:cubicBezTo>
                  <a:cubicBezTo>
                    <a:pt x="4752" y="9836"/>
                    <a:pt x="4707" y="9824"/>
                    <a:pt x="4668" y="9802"/>
                  </a:cubicBezTo>
                  <a:cubicBezTo>
                    <a:pt x="4394" y="9671"/>
                    <a:pt x="4191" y="9552"/>
                    <a:pt x="4191" y="9361"/>
                  </a:cubicBezTo>
                  <a:cubicBezTo>
                    <a:pt x="4191" y="9135"/>
                    <a:pt x="4465" y="8945"/>
                    <a:pt x="4810" y="8945"/>
                  </a:cubicBezTo>
                  <a:close/>
                  <a:moveTo>
                    <a:pt x="4775" y="4480"/>
                  </a:moveTo>
                  <a:cubicBezTo>
                    <a:pt x="6227" y="4480"/>
                    <a:pt x="7382" y="5420"/>
                    <a:pt x="7382" y="6599"/>
                  </a:cubicBezTo>
                  <a:lnTo>
                    <a:pt x="7382" y="6659"/>
                  </a:lnTo>
                  <a:cubicBezTo>
                    <a:pt x="7406" y="7040"/>
                    <a:pt x="7501" y="7421"/>
                    <a:pt x="7716" y="7790"/>
                  </a:cubicBezTo>
                  <a:cubicBezTo>
                    <a:pt x="7858" y="8052"/>
                    <a:pt x="7918" y="8302"/>
                    <a:pt x="7918" y="8564"/>
                  </a:cubicBezTo>
                  <a:cubicBezTo>
                    <a:pt x="7918" y="9516"/>
                    <a:pt x="7013" y="10326"/>
                    <a:pt x="5751" y="10600"/>
                  </a:cubicBezTo>
                  <a:cubicBezTo>
                    <a:pt x="5918" y="10528"/>
                    <a:pt x="6049" y="10409"/>
                    <a:pt x="6132" y="10266"/>
                  </a:cubicBezTo>
                  <a:cubicBezTo>
                    <a:pt x="6180" y="10183"/>
                    <a:pt x="6168" y="10088"/>
                    <a:pt x="6096" y="10040"/>
                  </a:cubicBezTo>
                  <a:cubicBezTo>
                    <a:pt x="6064" y="10022"/>
                    <a:pt x="6030" y="10012"/>
                    <a:pt x="5998" y="10012"/>
                  </a:cubicBezTo>
                  <a:cubicBezTo>
                    <a:pt x="5947" y="10012"/>
                    <a:pt x="5899" y="10036"/>
                    <a:pt x="5870" y="10088"/>
                  </a:cubicBezTo>
                  <a:cubicBezTo>
                    <a:pt x="5763" y="10254"/>
                    <a:pt x="5572" y="10350"/>
                    <a:pt x="5370" y="10350"/>
                  </a:cubicBezTo>
                  <a:cubicBezTo>
                    <a:pt x="5227" y="10350"/>
                    <a:pt x="5072" y="10290"/>
                    <a:pt x="4953" y="10171"/>
                  </a:cubicBezTo>
                  <a:lnTo>
                    <a:pt x="4929" y="10147"/>
                  </a:lnTo>
                  <a:cubicBezTo>
                    <a:pt x="4977" y="10135"/>
                    <a:pt x="5037" y="10111"/>
                    <a:pt x="5072" y="10088"/>
                  </a:cubicBezTo>
                  <a:lnTo>
                    <a:pt x="5096" y="10088"/>
                  </a:lnTo>
                  <a:cubicBezTo>
                    <a:pt x="5346" y="9957"/>
                    <a:pt x="5751" y="9754"/>
                    <a:pt x="5751" y="9361"/>
                  </a:cubicBezTo>
                  <a:cubicBezTo>
                    <a:pt x="5751" y="8957"/>
                    <a:pt x="5310" y="8623"/>
                    <a:pt x="4798" y="8623"/>
                  </a:cubicBezTo>
                  <a:cubicBezTo>
                    <a:pt x="4275" y="8623"/>
                    <a:pt x="3846" y="8957"/>
                    <a:pt x="3846" y="9361"/>
                  </a:cubicBezTo>
                  <a:cubicBezTo>
                    <a:pt x="3846" y="9754"/>
                    <a:pt x="4227" y="9957"/>
                    <a:pt x="4501" y="10088"/>
                  </a:cubicBezTo>
                  <a:lnTo>
                    <a:pt x="4513" y="10088"/>
                  </a:lnTo>
                  <a:cubicBezTo>
                    <a:pt x="4560" y="10111"/>
                    <a:pt x="4620" y="10135"/>
                    <a:pt x="4656" y="10147"/>
                  </a:cubicBezTo>
                  <a:lnTo>
                    <a:pt x="4632" y="10171"/>
                  </a:lnTo>
                  <a:cubicBezTo>
                    <a:pt x="4513" y="10290"/>
                    <a:pt x="4382" y="10350"/>
                    <a:pt x="4215" y="10350"/>
                  </a:cubicBezTo>
                  <a:cubicBezTo>
                    <a:pt x="4025" y="10350"/>
                    <a:pt x="3846" y="10254"/>
                    <a:pt x="3727" y="10088"/>
                  </a:cubicBezTo>
                  <a:cubicBezTo>
                    <a:pt x="3698" y="10036"/>
                    <a:pt x="3646" y="10012"/>
                    <a:pt x="3594" y="10012"/>
                  </a:cubicBezTo>
                  <a:cubicBezTo>
                    <a:pt x="3561" y="10012"/>
                    <a:pt x="3528" y="10022"/>
                    <a:pt x="3501" y="10040"/>
                  </a:cubicBezTo>
                  <a:cubicBezTo>
                    <a:pt x="3429" y="10088"/>
                    <a:pt x="3405" y="10183"/>
                    <a:pt x="3453" y="10266"/>
                  </a:cubicBezTo>
                  <a:cubicBezTo>
                    <a:pt x="3560" y="10409"/>
                    <a:pt x="3691" y="10528"/>
                    <a:pt x="3846" y="10600"/>
                  </a:cubicBezTo>
                  <a:cubicBezTo>
                    <a:pt x="2596" y="10326"/>
                    <a:pt x="1667" y="9516"/>
                    <a:pt x="1667" y="8564"/>
                  </a:cubicBezTo>
                  <a:cubicBezTo>
                    <a:pt x="1667" y="8302"/>
                    <a:pt x="1739" y="8052"/>
                    <a:pt x="1881" y="7790"/>
                  </a:cubicBezTo>
                  <a:cubicBezTo>
                    <a:pt x="2096" y="7421"/>
                    <a:pt x="2191" y="7028"/>
                    <a:pt x="2179" y="6659"/>
                  </a:cubicBezTo>
                  <a:lnTo>
                    <a:pt x="2179" y="6599"/>
                  </a:lnTo>
                  <a:cubicBezTo>
                    <a:pt x="2179" y="5432"/>
                    <a:pt x="3334" y="4480"/>
                    <a:pt x="4775" y="4480"/>
                  </a:cubicBezTo>
                  <a:close/>
                  <a:moveTo>
                    <a:pt x="4810" y="10445"/>
                  </a:moveTo>
                  <a:cubicBezTo>
                    <a:pt x="4941" y="10564"/>
                    <a:pt x="5120" y="10635"/>
                    <a:pt x="5299" y="10671"/>
                  </a:cubicBezTo>
                  <a:cubicBezTo>
                    <a:pt x="5144" y="10683"/>
                    <a:pt x="4977" y="10695"/>
                    <a:pt x="4810" y="10695"/>
                  </a:cubicBezTo>
                  <a:cubicBezTo>
                    <a:pt x="4644" y="10695"/>
                    <a:pt x="4489" y="10683"/>
                    <a:pt x="4322" y="10671"/>
                  </a:cubicBezTo>
                  <a:cubicBezTo>
                    <a:pt x="4501" y="10647"/>
                    <a:pt x="4679" y="10576"/>
                    <a:pt x="4810" y="10445"/>
                  </a:cubicBezTo>
                  <a:close/>
                  <a:moveTo>
                    <a:pt x="165" y="0"/>
                  </a:moveTo>
                  <a:cubicBezTo>
                    <a:pt x="140" y="0"/>
                    <a:pt x="113" y="9"/>
                    <a:pt x="84" y="27"/>
                  </a:cubicBezTo>
                  <a:cubicBezTo>
                    <a:pt x="36" y="51"/>
                    <a:pt x="0" y="110"/>
                    <a:pt x="0" y="158"/>
                  </a:cubicBezTo>
                  <a:cubicBezTo>
                    <a:pt x="0" y="206"/>
                    <a:pt x="0" y="1146"/>
                    <a:pt x="274" y="2301"/>
                  </a:cubicBezTo>
                  <a:cubicBezTo>
                    <a:pt x="441" y="2992"/>
                    <a:pt x="643" y="3611"/>
                    <a:pt x="917" y="4158"/>
                  </a:cubicBezTo>
                  <a:cubicBezTo>
                    <a:pt x="1227" y="4801"/>
                    <a:pt x="1631" y="5337"/>
                    <a:pt x="2084" y="5742"/>
                  </a:cubicBezTo>
                  <a:cubicBezTo>
                    <a:pt x="1965" y="6004"/>
                    <a:pt x="1905" y="6290"/>
                    <a:pt x="1905" y="6599"/>
                  </a:cubicBezTo>
                  <a:lnTo>
                    <a:pt x="1905" y="6683"/>
                  </a:lnTo>
                  <a:cubicBezTo>
                    <a:pt x="1929" y="6992"/>
                    <a:pt x="1834" y="7314"/>
                    <a:pt x="1643" y="7647"/>
                  </a:cubicBezTo>
                  <a:cubicBezTo>
                    <a:pt x="1477" y="7945"/>
                    <a:pt x="1393" y="8254"/>
                    <a:pt x="1393" y="8588"/>
                  </a:cubicBezTo>
                  <a:cubicBezTo>
                    <a:pt x="1393" y="9254"/>
                    <a:pt x="1762" y="9873"/>
                    <a:pt x="2417" y="10338"/>
                  </a:cubicBezTo>
                  <a:cubicBezTo>
                    <a:pt x="3060" y="10790"/>
                    <a:pt x="3917" y="11040"/>
                    <a:pt x="4822" y="11040"/>
                  </a:cubicBezTo>
                  <a:cubicBezTo>
                    <a:pt x="5739" y="11040"/>
                    <a:pt x="6596" y="10790"/>
                    <a:pt x="7239" y="10338"/>
                  </a:cubicBezTo>
                  <a:cubicBezTo>
                    <a:pt x="7906" y="9873"/>
                    <a:pt x="8263" y="9254"/>
                    <a:pt x="8263" y="8588"/>
                  </a:cubicBezTo>
                  <a:cubicBezTo>
                    <a:pt x="8263" y="8254"/>
                    <a:pt x="8180" y="7945"/>
                    <a:pt x="8013" y="7647"/>
                  </a:cubicBezTo>
                  <a:cubicBezTo>
                    <a:pt x="7835" y="7314"/>
                    <a:pt x="7739" y="7004"/>
                    <a:pt x="7739" y="6683"/>
                  </a:cubicBezTo>
                  <a:lnTo>
                    <a:pt x="7739" y="6599"/>
                  </a:lnTo>
                  <a:cubicBezTo>
                    <a:pt x="7739" y="6302"/>
                    <a:pt x="7680" y="6004"/>
                    <a:pt x="7561" y="5742"/>
                  </a:cubicBezTo>
                  <a:cubicBezTo>
                    <a:pt x="8025" y="5325"/>
                    <a:pt x="8430" y="4789"/>
                    <a:pt x="8751" y="4135"/>
                  </a:cubicBezTo>
                  <a:cubicBezTo>
                    <a:pt x="9025" y="3599"/>
                    <a:pt x="9228" y="2968"/>
                    <a:pt x="9382" y="2289"/>
                  </a:cubicBezTo>
                  <a:cubicBezTo>
                    <a:pt x="9644" y="1122"/>
                    <a:pt x="9644" y="206"/>
                    <a:pt x="9644" y="158"/>
                  </a:cubicBezTo>
                  <a:cubicBezTo>
                    <a:pt x="9632" y="98"/>
                    <a:pt x="9609" y="51"/>
                    <a:pt x="9549" y="27"/>
                  </a:cubicBezTo>
                  <a:cubicBezTo>
                    <a:pt x="9525" y="9"/>
                    <a:pt x="9498" y="0"/>
                    <a:pt x="9470" y="0"/>
                  </a:cubicBezTo>
                  <a:cubicBezTo>
                    <a:pt x="9442" y="0"/>
                    <a:pt x="9412" y="9"/>
                    <a:pt x="9382" y="27"/>
                  </a:cubicBezTo>
                  <a:cubicBezTo>
                    <a:pt x="9347" y="39"/>
                    <a:pt x="8787" y="372"/>
                    <a:pt x="8037" y="1063"/>
                  </a:cubicBezTo>
                  <a:cubicBezTo>
                    <a:pt x="7358" y="1694"/>
                    <a:pt x="6406" y="2765"/>
                    <a:pt x="5680" y="4254"/>
                  </a:cubicBezTo>
                  <a:cubicBezTo>
                    <a:pt x="5406" y="4182"/>
                    <a:pt x="5108" y="4146"/>
                    <a:pt x="4810" y="4146"/>
                  </a:cubicBezTo>
                  <a:cubicBezTo>
                    <a:pt x="4513" y="4146"/>
                    <a:pt x="4215" y="4194"/>
                    <a:pt x="3953" y="4254"/>
                  </a:cubicBezTo>
                  <a:cubicBezTo>
                    <a:pt x="3215" y="2765"/>
                    <a:pt x="2262" y="1706"/>
                    <a:pt x="1596" y="1063"/>
                  </a:cubicBezTo>
                  <a:cubicBezTo>
                    <a:pt x="834" y="372"/>
                    <a:pt x="274" y="27"/>
                    <a:pt x="238" y="27"/>
                  </a:cubicBezTo>
                  <a:cubicBezTo>
                    <a:pt x="215" y="9"/>
                    <a:pt x="191" y="0"/>
                    <a:pt x="1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3" name="Google Shape;12993;p63"/>
            <p:cNvSpPr/>
            <p:nvPr/>
          </p:nvSpPr>
          <p:spPr>
            <a:xfrm>
              <a:off x="960557" y="2185682"/>
              <a:ext cx="43840" cy="49568"/>
            </a:xfrm>
            <a:custGeom>
              <a:avLst/>
              <a:gdLst/>
              <a:ahLst/>
              <a:cxnLst/>
              <a:rect l="l" t="t" r="r" b="b"/>
              <a:pathLst>
                <a:path w="1370" h="1549" extrusionOk="0">
                  <a:moveTo>
                    <a:pt x="691" y="1"/>
                  </a:moveTo>
                  <a:cubicBezTo>
                    <a:pt x="322" y="1"/>
                    <a:pt x="0" y="298"/>
                    <a:pt x="0" y="691"/>
                  </a:cubicBezTo>
                  <a:lnTo>
                    <a:pt x="0" y="870"/>
                  </a:lnTo>
                  <a:cubicBezTo>
                    <a:pt x="0" y="1239"/>
                    <a:pt x="298" y="1549"/>
                    <a:pt x="691" y="1549"/>
                  </a:cubicBezTo>
                  <a:cubicBezTo>
                    <a:pt x="1060" y="1549"/>
                    <a:pt x="1369" y="1251"/>
                    <a:pt x="1369" y="870"/>
                  </a:cubicBezTo>
                  <a:lnTo>
                    <a:pt x="1369" y="691"/>
                  </a:lnTo>
                  <a:cubicBezTo>
                    <a:pt x="1369" y="596"/>
                    <a:pt x="1298" y="525"/>
                    <a:pt x="1215" y="525"/>
                  </a:cubicBezTo>
                  <a:cubicBezTo>
                    <a:pt x="1119" y="525"/>
                    <a:pt x="1048" y="596"/>
                    <a:pt x="1048" y="691"/>
                  </a:cubicBezTo>
                  <a:lnTo>
                    <a:pt x="1048" y="870"/>
                  </a:lnTo>
                  <a:cubicBezTo>
                    <a:pt x="1048" y="1060"/>
                    <a:pt x="881" y="1227"/>
                    <a:pt x="691" y="1227"/>
                  </a:cubicBezTo>
                  <a:cubicBezTo>
                    <a:pt x="500" y="1227"/>
                    <a:pt x="333" y="1060"/>
                    <a:pt x="333" y="870"/>
                  </a:cubicBezTo>
                  <a:lnTo>
                    <a:pt x="333" y="691"/>
                  </a:lnTo>
                  <a:cubicBezTo>
                    <a:pt x="333" y="501"/>
                    <a:pt x="500" y="334"/>
                    <a:pt x="691" y="334"/>
                  </a:cubicBezTo>
                  <a:cubicBezTo>
                    <a:pt x="774" y="334"/>
                    <a:pt x="857" y="263"/>
                    <a:pt x="857" y="168"/>
                  </a:cubicBezTo>
                  <a:cubicBezTo>
                    <a:pt x="857" y="84"/>
                    <a:pt x="774"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4" name="Google Shape;12994;p63"/>
            <p:cNvSpPr/>
            <p:nvPr/>
          </p:nvSpPr>
          <p:spPr>
            <a:xfrm>
              <a:off x="1060365" y="2185682"/>
              <a:ext cx="43840" cy="49568"/>
            </a:xfrm>
            <a:custGeom>
              <a:avLst/>
              <a:gdLst/>
              <a:ahLst/>
              <a:cxnLst/>
              <a:rect l="l" t="t" r="r" b="b"/>
              <a:pathLst>
                <a:path w="1370" h="1549" extrusionOk="0">
                  <a:moveTo>
                    <a:pt x="679" y="1"/>
                  </a:moveTo>
                  <a:cubicBezTo>
                    <a:pt x="310" y="1"/>
                    <a:pt x="1" y="298"/>
                    <a:pt x="1" y="691"/>
                  </a:cubicBezTo>
                  <a:lnTo>
                    <a:pt x="1" y="870"/>
                  </a:lnTo>
                  <a:cubicBezTo>
                    <a:pt x="1" y="1239"/>
                    <a:pt x="298" y="1549"/>
                    <a:pt x="679" y="1549"/>
                  </a:cubicBezTo>
                  <a:cubicBezTo>
                    <a:pt x="1048" y="1549"/>
                    <a:pt x="1370" y="1251"/>
                    <a:pt x="1370" y="870"/>
                  </a:cubicBezTo>
                  <a:lnTo>
                    <a:pt x="1370" y="691"/>
                  </a:lnTo>
                  <a:cubicBezTo>
                    <a:pt x="1370" y="596"/>
                    <a:pt x="1286" y="525"/>
                    <a:pt x="1203" y="525"/>
                  </a:cubicBezTo>
                  <a:cubicBezTo>
                    <a:pt x="1108" y="525"/>
                    <a:pt x="1036" y="596"/>
                    <a:pt x="1036" y="691"/>
                  </a:cubicBezTo>
                  <a:lnTo>
                    <a:pt x="1036" y="870"/>
                  </a:lnTo>
                  <a:cubicBezTo>
                    <a:pt x="1036" y="1060"/>
                    <a:pt x="870" y="1227"/>
                    <a:pt x="679" y="1227"/>
                  </a:cubicBezTo>
                  <a:cubicBezTo>
                    <a:pt x="489" y="1227"/>
                    <a:pt x="322" y="1060"/>
                    <a:pt x="322" y="870"/>
                  </a:cubicBezTo>
                  <a:lnTo>
                    <a:pt x="322" y="691"/>
                  </a:lnTo>
                  <a:cubicBezTo>
                    <a:pt x="322" y="501"/>
                    <a:pt x="489" y="334"/>
                    <a:pt x="679" y="334"/>
                  </a:cubicBezTo>
                  <a:cubicBezTo>
                    <a:pt x="774" y="334"/>
                    <a:pt x="846" y="263"/>
                    <a:pt x="846" y="168"/>
                  </a:cubicBezTo>
                  <a:cubicBezTo>
                    <a:pt x="846" y="84"/>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5" name="Google Shape;12995;p63"/>
          <p:cNvGrpSpPr/>
          <p:nvPr/>
        </p:nvGrpSpPr>
        <p:grpSpPr>
          <a:xfrm>
            <a:off x="6896141" y="1964722"/>
            <a:ext cx="348256" cy="352448"/>
            <a:chOff x="6896141" y="1964722"/>
            <a:chExt cx="348256" cy="352448"/>
          </a:xfrm>
        </p:grpSpPr>
        <p:sp>
          <p:nvSpPr>
            <p:cNvPr id="12996" name="Google Shape;12996;p63"/>
            <p:cNvSpPr/>
            <p:nvPr/>
          </p:nvSpPr>
          <p:spPr>
            <a:xfrm>
              <a:off x="6896141" y="1964722"/>
              <a:ext cx="348256" cy="352448"/>
            </a:xfrm>
            <a:custGeom>
              <a:avLst/>
              <a:gdLst/>
              <a:ahLst/>
              <a:cxnLst/>
              <a:rect l="l" t="t" r="r" b="b"/>
              <a:pathLst>
                <a:path w="10883" h="11014" extrusionOk="0">
                  <a:moveTo>
                    <a:pt x="1406" y="1417"/>
                  </a:moveTo>
                  <a:cubicBezTo>
                    <a:pt x="1406" y="1596"/>
                    <a:pt x="1441" y="1762"/>
                    <a:pt x="1525" y="1905"/>
                  </a:cubicBezTo>
                  <a:lnTo>
                    <a:pt x="465" y="1905"/>
                  </a:lnTo>
                  <a:cubicBezTo>
                    <a:pt x="393" y="1905"/>
                    <a:pt x="334" y="1846"/>
                    <a:pt x="334" y="1774"/>
                  </a:cubicBezTo>
                  <a:cubicBezTo>
                    <a:pt x="334" y="1715"/>
                    <a:pt x="370" y="1667"/>
                    <a:pt x="429" y="1655"/>
                  </a:cubicBezTo>
                  <a:lnTo>
                    <a:pt x="1406" y="1417"/>
                  </a:lnTo>
                  <a:close/>
                  <a:moveTo>
                    <a:pt x="2751" y="334"/>
                  </a:moveTo>
                  <a:cubicBezTo>
                    <a:pt x="3334" y="334"/>
                    <a:pt x="3799" y="810"/>
                    <a:pt x="3799" y="1369"/>
                  </a:cubicBezTo>
                  <a:lnTo>
                    <a:pt x="3799" y="3453"/>
                  </a:lnTo>
                  <a:cubicBezTo>
                    <a:pt x="3287" y="3429"/>
                    <a:pt x="2953" y="3274"/>
                    <a:pt x="2799" y="3203"/>
                  </a:cubicBezTo>
                  <a:cubicBezTo>
                    <a:pt x="2870" y="2965"/>
                    <a:pt x="2918" y="2715"/>
                    <a:pt x="2918" y="2417"/>
                  </a:cubicBezTo>
                  <a:cubicBezTo>
                    <a:pt x="2918" y="2322"/>
                    <a:pt x="2846" y="2250"/>
                    <a:pt x="2751" y="2250"/>
                  </a:cubicBezTo>
                  <a:lnTo>
                    <a:pt x="2596" y="2250"/>
                  </a:lnTo>
                  <a:cubicBezTo>
                    <a:pt x="2120" y="2250"/>
                    <a:pt x="1715" y="1869"/>
                    <a:pt x="1715" y="1369"/>
                  </a:cubicBezTo>
                  <a:cubicBezTo>
                    <a:pt x="1715" y="798"/>
                    <a:pt x="2191" y="334"/>
                    <a:pt x="2751" y="334"/>
                  </a:cubicBezTo>
                  <a:close/>
                  <a:moveTo>
                    <a:pt x="2691" y="3501"/>
                  </a:moveTo>
                  <a:cubicBezTo>
                    <a:pt x="2882" y="3608"/>
                    <a:pt x="3275" y="3751"/>
                    <a:pt x="3811" y="3774"/>
                  </a:cubicBezTo>
                  <a:lnTo>
                    <a:pt x="3811" y="4310"/>
                  </a:lnTo>
                  <a:cubicBezTo>
                    <a:pt x="3811" y="4394"/>
                    <a:pt x="3870" y="4453"/>
                    <a:pt x="3965" y="4465"/>
                  </a:cubicBezTo>
                  <a:cubicBezTo>
                    <a:pt x="5156" y="4548"/>
                    <a:pt x="6251" y="4822"/>
                    <a:pt x="7204" y="5287"/>
                  </a:cubicBezTo>
                  <a:cubicBezTo>
                    <a:pt x="7966" y="5656"/>
                    <a:pt x="8645" y="6168"/>
                    <a:pt x="9216" y="6775"/>
                  </a:cubicBezTo>
                  <a:cubicBezTo>
                    <a:pt x="9930" y="7537"/>
                    <a:pt x="10299" y="8275"/>
                    <a:pt x="10466" y="8620"/>
                  </a:cubicBezTo>
                  <a:cubicBezTo>
                    <a:pt x="6025" y="8608"/>
                    <a:pt x="4203" y="7584"/>
                    <a:pt x="3453" y="6727"/>
                  </a:cubicBezTo>
                  <a:cubicBezTo>
                    <a:pt x="3156" y="6394"/>
                    <a:pt x="3025" y="6060"/>
                    <a:pt x="2965" y="5834"/>
                  </a:cubicBezTo>
                  <a:lnTo>
                    <a:pt x="2965" y="5834"/>
                  </a:lnTo>
                  <a:cubicBezTo>
                    <a:pt x="4061" y="6989"/>
                    <a:pt x="5549" y="7251"/>
                    <a:pt x="6716" y="7251"/>
                  </a:cubicBezTo>
                  <a:cubicBezTo>
                    <a:pt x="7037" y="7251"/>
                    <a:pt x="7359" y="7239"/>
                    <a:pt x="7609" y="7203"/>
                  </a:cubicBezTo>
                  <a:cubicBezTo>
                    <a:pt x="7692" y="7192"/>
                    <a:pt x="7752" y="7120"/>
                    <a:pt x="7752" y="7025"/>
                  </a:cubicBezTo>
                  <a:cubicBezTo>
                    <a:pt x="7752" y="6942"/>
                    <a:pt x="7668" y="6882"/>
                    <a:pt x="7573" y="6882"/>
                  </a:cubicBezTo>
                  <a:cubicBezTo>
                    <a:pt x="7327" y="6909"/>
                    <a:pt x="7039" y="6929"/>
                    <a:pt x="6725" y="6929"/>
                  </a:cubicBezTo>
                  <a:cubicBezTo>
                    <a:pt x="5519" y="6929"/>
                    <a:pt x="3933" y="6628"/>
                    <a:pt x="2894" y="5239"/>
                  </a:cubicBezTo>
                  <a:cubicBezTo>
                    <a:pt x="2858" y="5215"/>
                    <a:pt x="2834" y="5179"/>
                    <a:pt x="2787" y="5179"/>
                  </a:cubicBezTo>
                  <a:cubicBezTo>
                    <a:pt x="2779" y="5178"/>
                    <a:pt x="2771" y="5178"/>
                    <a:pt x="2763" y="5178"/>
                  </a:cubicBezTo>
                  <a:cubicBezTo>
                    <a:pt x="2680" y="5178"/>
                    <a:pt x="2619" y="5235"/>
                    <a:pt x="2608" y="5322"/>
                  </a:cubicBezTo>
                  <a:cubicBezTo>
                    <a:pt x="2608" y="5346"/>
                    <a:pt x="2501" y="6108"/>
                    <a:pt x="3203" y="6930"/>
                  </a:cubicBezTo>
                  <a:cubicBezTo>
                    <a:pt x="3703" y="7501"/>
                    <a:pt x="4477" y="7977"/>
                    <a:pt x="5525" y="8311"/>
                  </a:cubicBezTo>
                  <a:cubicBezTo>
                    <a:pt x="6716" y="8692"/>
                    <a:pt x="8228" y="8906"/>
                    <a:pt x="10049" y="8954"/>
                  </a:cubicBezTo>
                  <a:cubicBezTo>
                    <a:pt x="10097" y="9097"/>
                    <a:pt x="10133" y="9228"/>
                    <a:pt x="10157" y="9323"/>
                  </a:cubicBezTo>
                  <a:lnTo>
                    <a:pt x="7418" y="9323"/>
                  </a:lnTo>
                  <a:cubicBezTo>
                    <a:pt x="5299" y="9323"/>
                    <a:pt x="3703" y="8918"/>
                    <a:pt x="2679" y="8144"/>
                  </a:cubicBezTo>
                  <a:cubicBezTo>
                    <a:pt x="1679" y="7382"/>
                    <a:pt x="1536" y="6489"/>
                    <a:pt x="1536" y="6037"/>
                  </a:cubicBezTo>
                  <a:cubicBezTo>
                    <a:pt x="1536" y="5406"/>
                    <a:pt x="1846" y="4929"/>
                    <a:pt x="2179" y="4429"/>
                  </a:cubicBezTo>
                  <a:cubicBezTo>
                    <a:pt x="2370" y="4132"/>
                    <a:pt x="2549" y="3846"/>
                    <a:pt x="2691" y="3501"/>
                  </a:cubicBezTo>
                  <a:close/>
                  <a:moveTo>
                    <a:pt x="4989" y="9442"/>
                  </a:moveTo>
                  <a:cubicBezTo>
                    <a:pt x="5108" y="9466"/>
                    <a:pt x="5227" y="9489"/>
                    <a:pt x="5358" y="9501"/>
                  </a:cubicBezTo>
                  <a:lnTo>
                    <a:pt x="5358" y="10704"/>
                  </a:lnTo>
                  <a:lnTo>
                    <a:pt x="4989" y="10704"/>
                  </a:lnTo>
                  <a:lnTo>
                    <a:pt x="4989" y="9442"/>
                  </a:lnTo>
                  <a:close/>
                  <a:moveTo>
                    <a:pt x="2751" y="0"/>
                  </a:moveTo>
                  <a:cubicBezTo>
                    <a:pt x="2096" y="0"/>
                    <a:pt x="1560" y="465"/>
                    <a:pt x="1417" y="1060"/>
                  </a:cubicBezTo>
                  <a:lnTo>
                    <a:pt x="346" y="1334"/>
                  </a:lnTo>
                  <a:cubicBezTo>
                    <a:pt x="132" y="1369"/>
                    <a:pt x="1" y="1572"/>
                    <a:pt x="1" y="1762"/>
                  </a:cubicBezTo>
                  <a:cubicBezTo>
                    <a:pt x="1" y="2012"/>
                    <a:pt x="215" y="2203"/>
                    <a:pt x="453" y="2203"/>
                  </a:cubicBezTo>
                  <a:lnTo>
                    <a:pt x="1727" y="2203"/>
                  </a:lnTo>
                  <a:cubicBezTo>
                    <a:pt x="1953" y="2417"/>
                    <a:pt x="2239" y="2548"/>
                    <a:pt x="2560" y="2548"/>
                  </a:cubicBezTo>
                  <a:cubicBezTo>
                    <a:pt x="2513" y="3215"/>
                    <a:pt x="2191" y="3727"/>
                    <a:pt x="1882" y="4227"/>
                  </a:cubicBezTo>
                  <a:cubicBezTo>
                    <a:pt x="1536" y="4751"/>
                    <a:pt x="1191" y="5298"/>
                    <a:pt x="1191" y="6013"/>
                  </a:cubicBezTo>
                  <a:cubicBezTo>
                    <a:pt x="1191" y="6418"/>
                    <a:pt x="1298" y="6834"/>
                    <a:pt x="1477" y="7203"/>
                  </a:cubicBezTo>
                  <a:cubicBezTo>
                    <a:pt x="1703" y="7656"/>
                    <a:pt x="2025" y="8061"/>
                    <a:pt x="2477" y="8382"/>
                  </a:cubicBezTo>
                  <a:cubicBezTo>
                    <a:pt x="3037" y="8811"/>
                    <a:pt x="3763" y="9144"/>
                    <a:pt x="4644" y="9347"/>
                  </a:cubicBezTo>
                  <a:lnTo>
                    <a:pt x="4644" y="10692"/>
                  </a:lnTo>
                  <a:lnTo>
                    <a:pt x="3608" y="10692"/>
                  </a:lnTo>
                  <a:cubicBezTo>
                    <a:pt x="3513" y="10692"/>
                    <a:pt x="3441" y="10763"/>
                    <a:pt x="3441" y="10859"/>
                  </a:cubicBezTo>
                  <a:cubicBezTo>
                    <a:pt x="3441" y="10942"/>
                    <a:pt x="3513" y="11013"/>
                    <a:pt x="3608" y="11013"/>
                  </a:cubicBezTo>
                  <a:lnTo>
                    <a:pt x="5847" y="11013"/>
                  </a:lnTo>
                  <a:cubicBezTo>
                    <a:pt x="5942" y="11013"/>
                    <a:pt x="6013" y="10942"/>
                    <a:pt x="6013" y="10859"/>
                  </a:cubicBezTo>
                  <a:cubicBezTo>
                    <a:pt x="6013" y="10763"/>
                    <a:pt x="5942" y="10692"/>
                    <a:pt x="5847" y="10692"/>
                  </a:cubicBezTo>
                  <a:lnTo>
                    <a:pt x="5668" y="10692"/>
                  </a:lnTo>
                  <a:lnTo>
                    <a:pt x="5668" y="9525"/>
                  </a:lnTo>
                  <a:cubicBezTo>
                    <a:pt x="6204" y="9609"/>
                    <a:pt x="6787" y="9632"/>
                    <a:pt x="7418" y="9632"/>
                  </a:cubicBezTo>
                  <a:lnTo>
                    <a:pt x="10347" y="9632"/>
                  </a:lnTo>
                  <a:cubicBezTo>
                    <a:pt x="10395" y="9632"/>
                    <a:pt x="10430" y="9620"/>
                    <a:pt x="10466" y="9573"/>
                  </a:cubicBezTo>
                  <a:cubicBezTo>
                    <a:pt x="10490" y="9549"/>
                    <a:pt x="10514" y="9501"/>
                    <a:pt x="10514" y="9442"/>
                  </a:cubicBezTo>
                  <a:cubicBezTo>
                    <a:pt x="10514" y="9430"/>
                    <a:pt x="10478" y="9251"/>
                    <a:pt x="10395" y="8930"/>
                  </a:cubicBezTo>
                  <a:lnTo>
                    <a:pt x="10704" y="8930"/>
                  </a:lnTo>
                  <a:cubicBezTo>
                    <a:pt x="10740" y="8930"/>
                    <a:pt x="10811" y="8906"/>
                    <a:pt x="10835" y="8858"/>
                  </a:cubicBezTo>
                  <a:cubicBezTo>
                    <a:pt x="10871" y="8847"/>
                    <a:pt x="10883" y="8799"/>
                    <a:pt x="10847" y="8739"/>
                  </a:cubicBezTo>
                  <a:cubicBezTo>
                    <a:pt x="10835" y="8692"/>
                    <a:pt x="10478" y="7656"/>
                    <a:pt x="9454" y="6572"/>
                  </a:cubicBezTo>
                  <a:cubicBezTo>
                    <a:pt x="8859" y="5930"/>
                    <a:pt x="8144" y="5406"/>
                    <a:pt x="7335" y="5001"/>
                  </a:cubicBezTo>
                  <a:cubicBezTo>
                    <a:pt x="6382" y="4525"/>
                    <a:pt x="5299" y="4239"/>
                    <a:pt x="4120" y="4155"/>
                  </a:cubicBezTo>
                  <a:lnTo>
                    <a:pt x="4120" y="1369"/>
                  </a:lnTo>
                  <a:cubicBezTo>
                    <a:pt x="4120" y="619"/>
                    <a:pt x="3513" y="0"/>
                    <a:pt x="2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7" name="Google Shape;12997;p63"/>
            <p:cNvSpPr/>
            <p:nvPr/>
          </p:nvSpPr>
          <p:spPr>
            <a:xfrm>
              <a:off x="7155597" y="2179538"/>
              <a:ext cx="18336" cy="11904"/>
            </a:xfrm>
            <a:custGeom>
              <a:avLst/>
              <a:gdLst/>
              <a:ahLst/>
              <a:cxnLst/>
              <a:rect l="l" t="t" r="r" b="b"/>
              <a:pathLst>
                <a:path w="573" h="372" extrusionOk="0">
                  <a:moveTo>
                    <a:pt x="389" y="0"/>
                  </a:moveTo>
                  <a:cubicBezTo>
                    <a:pt x="378" y="0"/>
                    <a:pt x="368" y="1"/>
                    <a:pt x="358" y="2"/>
                  </a:cubicBezTo>
                  <a:cubicBezTo>
                    <a:pt x="358" y="2"/>
                    <a:pt x="286" y="14"/>
                    <a:pt x="156" y="50"/>
                  </a:cubicBezTo>
                  <a:cubicBezTo>
                    <a:pt x="60" y="62"/>
                    <a:pt x="1" y="157"/>
                    <a:pt x="36" y="240"/>
                  </a:cubicBezTo>
                  <a:cubicBezTo>
                    <a:pt x="48" y="312"/>
                    <a:pt x="120" y="371"/>
                    <a:pt x="203" y="371"/>
                  </a:cubicBezTo>
                  <a:lnTo>
                    <a:pt x="227" y="371"/>
                  </a:lnTo>
                  <a:cubicBezTo>
                    <a:pt x="382" y="348"/>
                    <a:pt x="453" y="312"/>
                    <a:pt x="453" y="312"/>
                  </a:cubicBezTo>
                  <a:cubicBezTo>
                    <a:pt x="525" y="300"/>
                    <a:pt x="572" y="217"/>
                    <a:pt x="560" y="121"/>
                  </a:cubicBezTo>
                  <a:cubicBezTo>
                    <a:pt x="529" y="38"/>
                    <a:pt x="461" y="0"/>
                    <a:pt x="3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8" name="Google Shape;12998;p63"/>
            <p:cNvSpPr/>
            <p:nvPr/>
          </p:nvSpPr>
          <p:spPr>
            <a:xfrm>
              <a:off x="6962829" y="1987186"/>
              <a:ext cx="32416" cy="32416"/>
            </a:xfrm>
            <a:custGeom>
              <a:avLst/>
              <a:gdLst/>
              <a:ahLst/>
              <a:cxnLst/>
              <a:rect l="l" t="t" r="r" b="b"/>
              <a:pathLst>
                <a:path w="1013" h="1013" extrusionOk="0">
                  <a:moveTo>
                    <a:pt x="512" y="334"/>
                  </a:moveTo>
                  <a:cubicBezTo>
                    <a:pt x="607" y="334"/>
                    <a:pt x="691" y="417"/>
                    <a:pt x="691" y="513"/>
                  </a:cubicBezTo>
                  <a:cubicBezTo>
                    <a:pt x="691" y="596"/>
                    <a:pt x="607" y="691"/>
                    <a:pt x="512" y="691"/>
                  </a:cubicBezTo>
                  <a:cubicBezTo>
                    <a:pt x="405" y="691"/>
                    <a:pt x="334" y="596"/>
                    <a:pt x="334" y="513"/>
                  </a:cubicBezTo>
                  <a:cubicBezTo>
                    <a:pt x="334" y="417"/>
                    <a:pt x="417" y="334"/>
                    <a:pt x="512" y="334"/>
                  </a:cubicBezTo>
                  <a:close/>
                  <a:moveTo>
                    <a:pt x="512" y="1"/>
                  </a:moveTo>
                  <a:cubicBezTo>
                    <a:pt x="226" y="1"/>
                    <a:pt x="0" y="227"/>
                    <a:pt x="0" y="513"/>
                  </a:cubicBezTo>
                  <a:cubicBezTo>
                    <a:pt x="0" y="786"/>
                    <a:pt x="226" y="1013"/>
                    <a:pt x="512" y="1013"/>
                  </a:cubicBezTo>
                  <a:cubicBezTo>
                    <a:pt x="786" y="1013"/>
                    <a:pt x="1012" y="786"/>
                    <a:pt x="1012" y="513"/>
                  </a:cubicBezTo>
                  <a:cubicBezTo>
                    <a:pt x="1012" y="227"/>
                    <a:pt x="786" y="1"/>
                    <a:pt x="5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999" name="Google Shape;12999;p63"/>
          <p:cNvGrpSpPr/>
          <p:nvPr/>
        </p:nvGrpSpPr>
        <p:grpSpPr>
          <a:xfrm>
            <a:off x="7989997" y="2015378"/>
            <a:ext cx="355136" cy="303328"/>
            <a:chOff x="7989997" y="2015378"/>
            <a:chExt cx="355136" cy="303328"/>
          </a:xfrm>
        </p:grpSpPr>
        <p:sp>
          <p:nvSpPr>
            <p:cNvPr id="13000" name="Google Shape;13000;p63"/>
            <p:cNvSpPr/>
            <p:nvPr/>
          </p:nvSpPr>
          <p:spPr>
            <a:xfrm>
              <a:off x="8052109" y="2080530"/>
              <a:ext cx="43840" cy="49568"/>
            </a:xfrm>
            <a:custGeom>
              <a:avLst/>
              <a:gdLst/>
              <a:ahLst/>
              <a:cxnLst/>
              <a:rect l="l" t="t" r="r" b="b"/>
              <a:pathLst>
                <a:path w="1370" h="1549" extrusionOk="0">
                  <a:moveTo>
                    <a:pt x="679" y="1"/>
                  </a:moveTo>
                  <a:cubicBezTo>
                    <a:pt x="310" y="1"/>
                    <a:pt x="0" y="298"/>
                    <a:pt x="0" y="691"/>
                  </a:cubicBezTo>
                  <a:lnTo>
                    <a:pt x="0" y="870"/>
                  </a:lnTo>
                  <a:cubicBezTo>
                    <a:pt x="0" y="1239"/>
                    <a:pt x="298" y="1549"/>
                    <a:pt x="679" y="1549"/>
                  </a:cubicBezTo>
                  <a:cubicBezTo>
                    <a:pt x="1072" y="1549"/>
                    <a:pt x="1369" y="1251"/>
                    <a:pt x="1369" y="870"/>
                  </a:cubicBezTo>
                  <a:lnTo>
                    <a:pt x="1369" y="691"/>
                  </a:lnTo>
                  <a:cubicBezTo>
                    <a:pt x="1369" y="596"/>
                    <a:pt x="1298" y="525"/>
                    <a:pt x="1203" y="525"/>
                  </a:cubicBezTo>
                  <a:cubicBezTo>
                    <a:pt x="1119" y="525"/>
                    <a:pt x="1036" y="596"/>
                    <a:pt x="1036" y="691"/>
                  </a:cubicBezTo>
                  <a:lnTo>
                    <a:pt x="1036" y="870"/>
                  </a:lnTo>
                  <a:cubicBezTo>
                    <a:pt x="1036" y="1060"/>
                    <a:pt x="881" y="1227"/>
                    <a:pt x="679" y="1227"/>
                  </a:cubicBezTo>
                  <a:cubicBezTo>
                    <a:pt x="488" y="1227"/>
                    <a:pt x="322" y="1060"/>
                    <a:pt x="322" y="870"/>
                  </a:cubicBezTo>
                  <a:lnTo>
                    <a:pt x="322" y="691"/>
                  </a:lnTo>
                  <a:cubicBezTo>
                    <a:pt x="322" y="489"/>
                    <a:pt x="488" y="334"/>
                    <a:pt x="679" y="334"/>
                  </a:cubicBezTo>
                  <a:cubicBezTo>
                    <a:pt x="774" y="334"/>
                    <a:pt x="845" y="251"/>
                    <a:pt x="845" y="167"/>
                  </a:cubicBezTo>
                  <a:cubicBezTo>
                    <a:pt x="845" y="72"/>
                    <a:pt x="774"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1" name="Google Shape;13001;p63"/>
            <p:cNvSpPr/>
            <p:nvPr/>
          </p:nvSpPr>
          <p:spPr>
            <a:xfrm>
              <a:off x="7989997" y="2015378"/>
              <a:ext cx="355136" cy="303328"/>
            </a:xfrm>
            <a:custGeom>
              <a:avLst/>
              <a:gdLst/>
              <a:ahLst/>
              <a:cxnLst/>
              <a:rect l="l" t="t" r="r" b="b"/>
              <a:pathLst>
                <a:path w="11098" h="9479" extrusionOk="0">
                  <a:moveTo>
                    <a:pt x="1001" y="3096"/>
                  </a:moveTo>
                  <a:cubicBezTo>
                    <a:pt x="977" y="3180"/>
                    <a:pt x="953" y="3287"/>
                    <a:pt x="941" y="3394"/>
                  </a:cubicBezTo>
                  <a:cubicBezTo>
                    <a:pt x="929" y="3465"/>
                    <a:pt x="929" y="3525"/>
                    <a:pt x="929" y="3596"/>
                  </a:cubicBezTo>
                  <a:lnTo>
                    <a:pt x="536" y="3287"/>
                  </a:lnTo>
                  <a:lnTo>
                    <a:pt x="1001" y="3096"/>
                  </a:lnTo>
                  <a:close/>
                  <a:moveTo>
                    <a:pt x="4430" y="322"/>
                  </a:moveTo>
                  <a:lnTo>
                    <a:pt x="4132" y="703"/>
                  </a:lnTo>
                  <a:cubicBezTo>
                    <a:pt x="4096" y="739"/>
                    <a:pt x="4084" y="798"/>
                    <a:pt x="4096" y="846"/>
                  </a:cubicBezTo>
                  <a:cubicBezTo>
                    <a:pt x="4108" y="894"/>
                    <a:pt x="4156" y="941"/>
                    <a:pt x="4215" y="953"/>
                  </a:cubicBezTo>
                  <a:cubicBezTo>
                    <a:pt x="4906" y="1120"/>
                    <a:pt x="5501" y="1549"/>
                    <a:pt x="5882" y="2191"/>
                  </a:cubicBezTo>
                  <a:cubicBezTo>
                    <a:pt x="6335" y="2906"/>
                    <a:pt x="6811" y="3465"/>
                    <a:pt x="7311" y="3870"/>
                  </a:cubicBezTo>
                  <a:cubicBezTo>
                    <a:pt x="7728" y="4192"/>
                    <a:pt x="8144" y="4406"/>
                    <a:pt x="8573" y="4513"/>
                  </a:cubicBezTo>
                  <a:cubicBezTo>
                    <a:pt x="8785" y="4559"/>
                    <a:pt x="8969" y="4577"/>
                    <a:pt x="9129" y="4577"/>
                  </a:cubicBezTo>
                  <a:cubicBezTo>
                    <a:pt x="9176" y="4577"/>
                    <a:pt x="9221" y="4575"/>
                    <a:pt x="9263" y="4573"/>
                  </a:cubicBezTo>
                  <a:lnTo>
                    <a:pt x="9263" y="4573"/>
                  </a:lnTo>
                  <a:cubicBezTo>
                    <a:pt x="8656" y="5120"/>
                    <a:pt x="8061" y="5501"/>
                    <a:pt x="7478" y="5704"/>
                  </a:cubicBezTo>
                  <a:cubicBezTo>
                    <a:pt x="7161" y="5811"/>
                    <a:pt x="6852" y="5865"/>
                    <a:pt x="6558" y="5865"/>
                  </a:cubicBezTo>
                  <a:cubicBezTo>
                    <a:pt x="6299" y="5865"/>
                    <a:pt x="6051" y="5823"/>
                    <a:pt x="5823" y="5740"/>
                  </a:cubicBezTo>
                  <a:cubicBezTo>
                    <a:pt x="5537" y="5644"/>
                    <a:pt x="5287" y="5490"/>
                    <a:pt x="5096" y="5287"/>
                  </a:cubicBezTo>
                  <a:lnTo>
                    <a:pt x="5096" y="5287"/>
                  </a:lnTo>
                  <a:cubicBezTo>
                    <a:pt x="5346" y="5418"/>
                    <a:pt x="5632" y="5490"/>
                    <a:pt x="5977" y="5525"/>
                  </a:cubicBezTo>
                  <a:cubicBezTo>
                    <a:pt x="6049" y="5525"/>
                    <a:pt x="6120" y="5537"/>
                    <a:pt x="6192" y="5537"/>
                  </a:cubicBezTo>
                  <a:cubicBezTo>
                    <a:pt x="6477" y="5537"/>
                    <a:pt x="6775" y="5501"/>
                    <a:pt x="7061" y="5430"/>
                  </a:cubicBezTo>
                  <a:cubicBezTo>
                    <a:pt x="7144" y="5418"/>
                    <a:pt x="7192" y="5323"/>
                    <a:pt x="7180" y="5239"/>
                  </a:cubicBezTo>
                  <a:cubicBezTo>
                    <a:pt x="7169" y="5156"/>
                    <a:pt x="7095" y="5118"/>
                    <a:pt x="7021" y="5118"/>
                  </a:cubicBezTo>
                  <a:cubicBezTo>
                    <a:pt x="7010" y="5118"/>
                    <a:pt x="7000" y="5119"/>
                    <a:pt x="6989" y="5120"/>
                  </a:cubicBezTo>
                  <a:cubicBezTo>
                    <a:pt x="6717" y="5185"/>
                    <a:pt x="6450" y="5217"/>
                    <a:pt x="6201" y="5217"/>
                  </a:cubicBezTo>
                  <a:cubicBezTo>
                    <a:pt x="5763" y="5217"/>
                    <a:pt x="5377" y="5119"/>
                    <a:pt x="5096" y="4930"/>
                  </a:cubicBezTo>
                  <a:cubicBezTo>
                    <a:pt x="4763" y="4692"/>
                    <a:pt x="4584" y="4335"/>
                    <a:pt x="4537" y="3835"/>
                  </a:cubicBezTo>
                  <a:cubicBezTo>
                    <a:pt x="4584" y="3334"/>
                    <a:pt x="4870" y="2918"/>
                    <a:pt x="5346" y="2644"/>
                  </a:cubicBezTo>
                  <a:cubicBezTo>
                    <a:pt x="5418" y="2608"/>
                    <a:pt x="5453" y="2501"/>
                    <a:pt x="5406" y="2430"/>
                  </a:cubicBezTo>
                  <a:cubicBezTo>
                    <a:pt x="5375" y="2375"/>
                    <a:pt x="5323" y="2346"/>
                    <a:pt x="5267" y="2346"/>
                  </a:cubicBezTo>
                  <a:cubicBezTo>
                    <a:pt x="5238" y="2346"/>
                    <a:pt x="5208" y="2354"/>
                    <a:pt x="5180" y="2370"/>
                  </a:cubicBezTo>
                  <a:cubicBezTo>
                    <a:pt x="4513" y="2751"/>
                    <a:pt x="4156" y="3418"/>
                    <a:pt x="4215" y="4168"/>
                  </a:cubicBezTo>
                  <a:cubicBezTo>
                    <a:pt x="4287" y="5013"/>
                    <a:pt x="4870" y="5763"/>
                    <a:pt x="5704" y="6061"/>
                  </a:cubicBezTo>
                  <a:cubicBezTo>
                    <a:pt x="5969" y="6149"/>
                    <a:pt x="6247" y="6194"/>
                    <a:pt x="6537" y="6194"/>
                  </a:cubicBezTo>
                  <a:cubicBezTo>
                    <a:pt x="6871" y="6194"/>
                    <a:pt x="7221" y="6135"/>
                    <a:pt x="7585" y="6013"/>
                  </a:cubicBezTo>
                  <a:cubicBezTo>
                    <a:pt x="8061" y="5847"/>
                    <a:pt x="8537" y="5585"/>
                    <a:pt x="9025" y="5192"/>
                  </a:cubicBezTo>
                  <a:lnTo>
                    <a:pt x="9049" y="5192"/>
                  </a:lnTo>
                  <a:cubicBezTo>
                    <a:pt x="9197" y="5214"/>
                    <a:pt x="9338" y="5224"/>
                    <a:pt x="9472" y="5224"/>
                  </a:cubicBezTo>
                  <a:cubicBezTo>
                    <a:pt x="9973" y="5224"/>
                    <a:pt x="10372" y="5085"/>
                    <a:pt x="10645" y="4954"/>
                  </a:cubicBezTo>
                  <a:lnTo>
                    <a:pt x="10645" y="4954"/>
                  </a:lnTo>
                  <a:cubicBezTo>
                    <a:pt x="9990" y="6799"/>
                    <a:pt x="8061" y="8097"/>
                    <a:pt x="5918" y="8097"/>
                  </a:cubicBezTo>
                  <a:cubicBezTo>
                    <a:pt x="4430" y="8097"/>
                    <a:pt x="3072" y="7549"/>
                    <a:pt x="2203" y="6561"/>
                  </a:cubicBezTo>
                  <a:cubicBezTo>
                    <a:pt x="1453" y="5716"/>
                    <a:pt x="1132" y="4644"/>
                    <a:pt x="1274" y="3442"/>
                  </a:cubicBezTo>
                  <a:cubicBezTo>
                    <a:pt x="1370" y="2703"/>
                    <a:pt x="1632" y="2096"/>
                    <a:pt x="2013" y="1608"/>
                  </a:cubicBezTo>
                  <a:cubicBezTo>
                    <a:pt x="2322" y="1215"/>
                    <a:pt x="2715" y="906"/>
                    <a:pt x="3191" y="679"/>
                  </a:cubicBezTo>
                  <a:cubicBezTo>
                    <a:pt x="3668" y="465"/>
                    <a:pt x="4132" y="370"/>
                    <a:pt x="4430" y="322"/>
                  </a:cubicBezTo>
                  <a:close/>
                  <a:moveTo>
                    <a:pt x="5989" y="8407"/>
                  </a:moveTo>
                  <a:lnTo>
                    <a:pt x="5632" y="9121"/>
                  </a:lnTo>
                  <a:lnTo>
                    <a:pt x="5299" y="9121"/>
                  </a:lnTo>
                  <a:lnTo>
                    <a:pt x="5656" y="8407"/>
                  </a:lnTo>
                  <a:close/>
                  <a:moveTo>
                    <a:pt x="4715" y="1"/>
                  </a:moveTo>
                  <a:cubicBezTo>
                    <a:pt x="4605" y="1"/>
                    <a:pt x="3846" y="11"/>
                    <a:pt x="3013" y="406"/>
                  </a:cubicBezTo>
                  <a:cubicBezTo>
                    <a:pt x="2489" y="644"/>
                    <a:pt x="2060" y="977"/>
                    <a:pt x="1715" y="1418"/>
                  </a:cubicBezTo>
                  <a:cubicBezTo>
                    <a:pt x="1417" y="1787"/>
                    <a:pt x="1191" y="2215"/>
                    <a:pt x="1060" y="2727"/>
                  </a:cubicBezTo>
                  <a:lnTo>
                    <a:pt x="119" y="3120"/>
                  </a:lnTo>
                  <a:cubicBezTo>
                    <a:pt x="60" y="3144"/>
                    <a:pt x="36" y="3204"/>
                    <a:pt x="24" y="3263"/>
                  </a:cubicBezTo>
                  <a:cubicBezTo>
                    <a:pt x="0" y="3323"/>
                    <a:pt x="36" y="3382"/>
                    <a:pt x="84" y="3406"/>
                  </a:cubicBezTo>
                  <a:lnTo>
                    <a:pt x="870" y="4037"/>
                  </a:lnTo>
                  <a:cubicBezTo>
                    <a:pt x="881" y="5085"/>
                    <a:pt x="1239" y="6037"/>
                    <a:pt x="1929" y="6799"/>
                  </a:cubicBezTo>
                  <a:cubicBezTo>
                    <a:pt x="2739" y="7704"/>
                    <a:pt x="3929" y="8276"/>
                    <a:pt x="5275" y="8407"/>
                  </a:cubicBezTo>
                  <a:lnTo>
                    <a:pt x="4906" y="9157"/>
                  </a:lnTo>
                  <a:lnTo>
                    <a:pt x="3965" y="9157"/>
                  </a:lnTo>
                  <a:cubicBezTo>
                    <a:pt x="3870" y="9157"/>
                    <a:pt x="3799" y="9228"/>
                    <a:pt x="3799" y="9311"/>
                  </a:cubicBezTo>
                  <a:cubicBezTo>
                    <a:pt x="3799" y="9407"/>
                    <a:pt x="3870" y="9478"/>
                    <a:pt x="3965" y="9478"/>
                  </a:cubicBezTo>
                  <a:lnTo>
                    <a:pt x="6370" y="9478"/>
                  </a:lnTo>
                  <a:cubicBezTo>
                    <a:pt x="6466" y="9478"/>
                    <a:pt x="6537" y="9407"/>
                    <a:pt x="6537" y="9311"/>
                  </a:cubicBezTo>
                  <a:cubicBezTo>
                    <a:pt x="6537" y="9228"/>
                    <a:pt x="6466" y="9157"/>
                    <a:pt x="6370" y="9157"/>
                  </a:cubicBezTo>
                  <a:lnTo>
                    <a:pt x="5942" y="9157"/>
                  </a:lnTo>
                  <a:lnTo>
                    <a:pt x="6311" y="8418"/>
                  </a:lnTo>
                  <a:cubicBezTo>
                    <a:pt x="7358" y="8335"/>
                    <a:pt x="8359" y="7978"/>
                    <a:pt x="9168" y="7383"/>
                  </a:cubicBezTo>
                  <a:cubicBezTo>
                    <a:pt x="10109" y="6692"/>
                    <a:pt x="10764" y="5740"/>
                    <a:pt x="11014" y="4704"/>
                  </a:cubicBezTo>
                  <a:cubicBezTo>
                    <a:pt x="11097" y="4597"/>
                    <a:pt x="11061" y="4525"/>
                    <a:pt x="11002" y="4489"/>
                  </a:cubicBezTo>
                  <a:cubicBezTo>
                    <a:pt x="10978" y="4475"/>
                    <a:pt x="10953" y="4469"/>
                    <a:pt x="10927" y="4469"/>
                  </a:cubicBezTo>
                  <a:cubicBezTo>
                    <a:pt x="10888" y="4469"/>
                    <a:pt x="10847" y="4484"/>
                    <a:pt x="10811" y="4513"/>
                  </a:cubicBezTo>
                  <a:cubicBezTo>
                    <a:pt x="10811" y="4513"/>
                    <a:pt x="10258" y="4931"/>
                    <a:pt x="9416" y="4931"/>
                  </a:cubicBezTo>
                  <a:cubicBezTo>
                    <a:pt x="9393" y="4931"/>
                    <a:pt x="9370" y="4931"/>
                    <a:pt x="9347" y="4930"/>
                  </a:cubicBezTo>
                  <a:cubicBezTo>
                    <a:pt x="9525" y="4775"/>
                    <a:pt x="9692" y="4608"/>
                    <a:pt x="9871" y="4430"/>
                  </a:cubicBezTo>
                  <a:cubicBezTo>
                    <a:pt x="9930" y="4370"/>
                    <a:pt x="9930" y="4287"/>
                    <a:pt x="9883" y="4227"/>
                  </a:cubicBezTo>
                  <a:cubicBezTo>
                    <a:pt x="9857" y="4184"/>
                    <a:pt x="9800" y="4154"/>
                    <a:pt x="9747" y="4154"/>
                  </a:cubicBezTo>
                  <a:cubicBezTo>
                    <a:pt x="9728" y="4154"/>
                    <a:pt x="9708" y="4158"/>
                    <a:pt x="9692" y="4168"/>
                  </a:cubicBezTo>
                  <a:cubicBezTo>
                    <a:pt x="9692" y="4168"/>
                    <a:pt x="9472" y="4269"/>
                    <a:pt x="9104" y="4269"/>
                  </a:cubicBezTo>
                  <a:cubicBezTo>
                    <a:pt x="8966" y="4269"/>
                    <a:pt x="8808" y="4255"/>
                    <a:pt x="8632" y="4216"/>
                  </a:cubicBezTo>
                  <a:cubicBezTo>
                    <a:pt x="7537" y="3942"/>
                    <a:pt x="6668" y="2882"/>
                    <a:pt x="6132" y="2037"/>
                  </a:cubicBezTo>
                  <a:cubicBezTo>
                    <a:pt x="5751" y="1418"/>
                    <a:pt x="5168" y="953"/>
                    <a:pt x="4501" y="727"/>
                  </a:cubicBezTo>
                  <a:lnTo>
                    <a:pt x="4858" y="251"/>
                  </a:lnTo>
                  <a:cubicBezTo>
                    <a:pt x="4882" y="203"/>
                    <a:pt x="4906" y="132"/>
                    <a:pt x="4870" y="84"/>
                  </a:cubicBezTo>
                  <a:cubicBezTo>
                    <a:pt x="4846" y="25"/>
                    <a:pt x="4799" y="1"/>
                    <a:pt x="4727" y="1"/>
                  </a:cubicBezTo>
                  <a:cubicBezTo>
                    <a:pt x="4725" y="1"/>
                    <a:pt x="4721" y="1"/>
                    <a:pt x="4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2" name="Google Shape;13002;p63"/>
            <p:cNvSpPr/>
            <p:nvPr/>
          </p:nvSpPr>
          <p:spPr>
            <a:xfrm>
              <a:off x="8229645" y="2166034"/>
              <a:ext cx="19456" cy="15872"/>
            </a:xfrm>
            <a:custGeom>
              <a:avLst/>
              <a:gdLst/>
              <a:ahLst/>
              <a:cxnLst/>
              <a:rect l="l" t="t" r="r" b="b"/>
              <a:pathLst>
                <a:path w="608" h="496" extrusionOk="0">
                  <a:moveTo>
                    <a:pt x="436" y="0"/>
                  </a:moveTo>
                  <a:cubicBezTo>
                    <a:pt x="399" y="0"/>
                    <a:pt x="362" y="15"/>
                    <a:pt x="334" y="43"/>
                  </a:cubicBezTo>
                  <a:cubicBezTo>
                    <a:pt x="274" y="79"/>
                    <a:pt x="191" y="139"/>
                    <a:pt x="108" y="186"/>
                  </a:cubicBezTo>
                  <a:cubicBezTo>
                    <a:pt x="36" y="234"/>
                    <a:pt x="0" y="317"/>
                    <a:pt x="36" y="412"/>
                  </a:cubicBezTo>
                  <a:cubicBezTo>
                    <a:pt x="60" y="472"/>
                    <a:pt x="120" y="496"/>
                    <a:pt x="179" y="496"/>
                  </a:cubicBezTo>
                  <a:cubicBezTo>
                    <a:pt x="215" y="496"/>
                    <a:pt x="227" y="496"/>
                    <a:pt x="250" y="484"/>
                  </a:cubicBezTo>
                  <a:cubicBezTo>
                    <a:pt x="370" y="424"/>
                    <a:pt x="477" y="365"/>
                    <a:pt x="548" y="293"/>
                  </a:cubicBezTo>
                  <a:cubicBezTo>
                    <a:pt x="596" y="222"/>
                    <a:pt x="608" y="115"/>
                    <a:pt x="548" y="55"/>
                  </a:cubicBezTo>
                  <a:cubicBezTo>
                    <a:pt x="517" y="18"/>
                    <a:pt x="476" y="0"/>
                    <a:pt x="4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3" name="Google Shape;13003;p63"/>
          <p:cNvGrpSpPr/>
          <p:nvPr/>
        </p:nvGrpSpPr>
        <p:grpSpPr>
          <a:xfrm>
            <a:off x="3598221" y="1509362"/>
            <a:ext cx="348640" cy="330784"/>
            <a:chOff x="3598221" y="1509362"/>
            <a:chExt cx="348640" cy="330784"/>
          </a:xfrm>
        </p:grpSpPr>
        <p:sp>
          <p:nvSpPr>
            <p:cNvPr id="13004" name="Google Shape;13004;p63"/>
            <p:cNvSpPr/>
            <p:nvPr/>
          </p:nvSpPr>
          <p:spPr>
            <a:xfrm>
              <a:off x="3739181" y="1603538"/>
              <a:ext cx="43456" cy="48032"/>
            </a:xfrm>
            <a:custGeom>
              <a:avLst/>
              <a:gdLst/>
              <a:ahLst/>
              <a:cxnLst/>
              <a:rect l="l" t="t" r="r" b="b"/>
              <a:pathLst>
                <a:path w="1358" h="1501" extrusionOk="0">
                  <a:moveTo>
                    <a:pt x="667" y="0"/>
                  </a:moveTo>
                  <a:cubicBezTo>
                    <a:pt x="298" y="0"/>
                    <a:pt x="0" y="298"/>
                    <a:pt x="0" y="667"/>
                  </a:cubicBezTo>
                  <a:lnTo>
                    <a:pt x="0" y="834"/>
                  </a:lnTo>
                  <a:cubicBezTo>
                    <a:pt x="0" y="1203"/>
                    <a:pt x="298" y="1500"/>
                    <a:pt x="667" y="1500"/>
                  </a:cubicBezTo>
                  <a:cubicBezTo>
                    <a:pt x="1036" y="1500"/>
                    <a:pt x="1334" y="1203"/>
                    <a:pt x="1334" y="834"/>
                  </a:cubicBezTo>
                  <a:lnTo>
                    <a:pt x="1334" y="667"/>
                  </a:lnTo>
                  <a:cubicBezTo>
                    <a:pt x="1358" y="595"/>
                    <a:pt x="1274" y="512"/>
                    <a:pt x="1191" y="512"/>
                  </a:cubicBezTo>
                  <a:cubicBezTo>
                    <a:pt x="1096" y="512"/>
                    <a:pt x="1024" y="595"/>
                    <a:pt x="1024" y="679"/>
                  </a:cubicBezTo>
                  <a:lnTo>
                    <a:pt x="1024" y="845"/>
                  </a:lnTo>
                  <a:cubicBezTo>
                    <a:pt x="1024" y="1036"/>
                    <a:pt x="858" y="1203"/>
                    <a:pt x="667" y="1203"/>
                  </a:cubicBezTo>
                  <a:cubicBezTo>
                    <a:pt x="477" y="1203"/>
                    <a:pt x="310" y="1036"/>
                    <a:pt x="310" y="845"/>
                  </a:cubicBezTo>
                  <a:lnTo>
                    <a:pt x="310" y="679"/>
                  </a:lnTo>
                  <a:cubicBezTo>
                    <a:pt x="310" y="488"/>
                    <a:pt x="477" y="322"/>
                    <a:pt x="667" y="322"/>
                  </a:cubicBezTo>
                  <a:cubicBezTo>
                    <a:pt x="762" y="322"/>
                    <a:pt x="834" y="250"/>
                    <a:pt x="834" y="155"/>
                  </a:cubicBezTo>
                  <a:cubicBezTo>
                    <a:pt x="834"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5" name="Google Shape;13005;p63"/>
            <p:cNvSpPr/>
            <p:nvPr/>
          </p:nvSpPr>
          <p:spPr>
            <a:xfrm>
              <a:off x="3619533" y="1709906"/>
              <a:ext cx="16416" cy="15584"/>
            </a:xfrm>
            <a:custGeom>
              <a:avLst/>
              <a:gdLst/>
              <a:ahLst/>
              <a:cxnLst/>
              <a:rect l="l" t="t" r="r" b="b"/>
              <a:pathLst>
                <a:path w="513" h="487" extrusionOk="0">
                  <a:moveTo>
                    <a:pt x="340" y="1"/>
                  </a:moveTo>
                  <a:cubicBezTo>
                    <a:pt x="298" y="1"/>
                    <a:pt x="257" y="16"/>
                    <a:pt x="227" y="46"/>
                  </a:cubicBezTo>
                  <a:lnTo>
                    <a:pt x="60" y="212"/>
                  </a:lnTo>
                  <a:cubicBezTo>
                    <a:pt x="1" y="272"/>
                    <a:pt x="1" y="379"/>
                    <a:pt x="60" y="438"/>
                  </a:cubicBezTo>
                  <a:cubicBezTo>
                    <a:pt x="96" y="462"/>
                    <a:pt x="132" y="486"/>
                    <a:pt x="179" y="486"/>
                  </a:cubicBezTo>
                  <a:cubicBezTo>
                    <a:pt x="227" y="486"/>
                    <a:pt x="251" y="462"/>
                    <a:pt x="298" y="438"/>
                  </a:cubicBezTo>
                  <a:lnTo>
                    <a:pt x="465" y="272"/>
                  </a:lnTo>
                  <a:cubicBezTo>
                    <a:pt x="513" y="212"/>
                    <a:pt x="513" y="105"/>
                    <a:pt x="453" y="46"/>
                  </a:cubicBezTo>
                  <a:cubicBezTo>
                    <a:pt x="423" y="16"/>
                    <a:pt x="382" y="1"/>
                    <a:pt x="34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6" name="Google Shape;13006;p63"/>
            <p:cNvSpPr/>
            <p:nvPr/>
          </p:nvSpPr>
          <p:spPr>
            <a:xfrm>
              <a:off x="3598221" y="1509362"/>
              <a:ext cx="348640" cy="330784"/>
            </a:xfrm>
            <a:custGeom>
              <a:avLst/>
              <a:gdLst/>
              <a:ahLst/>
              <a:cxnLst/>
              <a:rect l="l" t="t" r="r" b="b"/>
              <a:pathLst>
                <a:path w="10895" h="10337" extrusionOk="0">
                  <a:moveTo>
                    <a:pt x="5489" y="586"/>
                  </a:moveTo>
                  <a:lnTo>
                    <a:pt x="5489" y="586"/>
                  </a:lnTo>
                  <a:cubicBezTo>
                    <a:pt x="5429" y="955"/>
                    <a:pt x="5441" y="1288"/>
                    <a:pt x="5477" y="1538"/>
                  </a:cubicBezTo>
                  <a:cubicBezTo>
                    <a:pt x="5382" y="1550"/>
                    <a:pt x="5239" y="1610"/>
                    <a:pt x="5013" y="1729"/>
                  </a:cubicBezTo>
                  <a:lnTo>
                    <a:pt x="4465" y="883"/>
                  </a:lnTo>
                  <a:cubicBezTo>
                    <a:pt x="4655" y="800"/>
                    <a:pt x="5013" y="657"/>
                    <a:pt x="5489" y="586"/>
                  </a:cubicBezTo>
                  <a:close/>
                  <a:moveTo>
                    <a:pt x="6560" y="538"/>
                  </a:moveTo>
                  <a:lnTo>
                    <a:pt x="6560" y="538"/>
                  </a:lnTo>
                  <a:cubicBezTo>
                    <a:pt x="7108" y="598"/>
                    <a:pt x="7680" y="776"/>
                    <a:pt x="8215" y="1062"/>
                  </a:cubicBezTo>
                  <a:cubicBezTo>
                    <a:pt x="8382" y="1157"/>
                    <a:pt x="8537" y="1241"/>
                    <a:pt x="8704" y="1348"/>
                  </a:cubicBezTo>
                  <a:cubicBezTo>
                    <a:pt x="8715" y="1407"/>
                    <a:pt x="8858" y="1967"/>
                    <a:pt x="8882" y="2729"/>
                  </a:cubicBezTo>
                  <a:cubicBezTo>
                    <a:pt x="8620" y="2479"/>
                    <a:pt x="8358" y="2264"/>
                    <a:pt x="8144" y="2122"/>
                  </a:cubicBezTo>
                  <a:cubicBezTo>
                    <a:pt x="7549" y="1705"/>
                    <a:pt x="7084" y="1550"/>
                    <a:pt x="6906" y="1502"/>
                  </a:cubicBezTo>
                  <a:cubicBezTo>
                    <a:pt x="6834" y="1074"/>
                    <a:pt x="6715" y="764"/>
                    <a:pt x="6560" y="538"/>
                  </a:cubicBezTo>
                  <a:close/>
                  <a:moveTo>
                    <a:pt x="9073" y="1610"/>
                  </a:moveTo>
                  <a:cubicBezTo>
                    <a:pt x="9466" y="1907"/>
                    <a:pt x="9835" y="2253"/>
                    <a:pt x="10192" y="2669"/>
                  </a:cubicBezTo>
                  <a:cubicBezTo>
                    <a:pt x="10180" y="3146"/>
                    <a:pt x="10120" y="3610"/>
                    <a:pt x="10025" y="4038"/>
                  </a:cubicBezTo>
                  <a:cubicBezTo>
                    <a:pt x="9751" y="3646"/>
                    <a:pt x="9466" y="3324"/>
                    <a:pt x="9192" y="3038"/>
                  </a:cubicBezTo>
                  <a:cubicBezTo>
                    <a:pt x="9216" y="2443"/>
                    <a:pt x="9132" y="1943"/>
                    <a:pt x="9073" y="1610"/>
                  </a:cubicBezTo>
                  <a:close/>
                  <a:moveTo>
                    <a:pt x="2465" y="4205"/>
                  </a:moveTo>
                  <a:cubicBezTo>
                    <a:pt x="2608" y="4396"/>
                    <a:pt x="3024" y="4812"/>
                    <a:pt x="4179" y="4943"/>
                  </a:cubicBezTo>
                  <a:cubicBezTo>
                    <a:pt x="5644" y="5122"/>
                    <a:pt x="5846" y="6003"/>
                    <a:pt x="5858" y="6420"/>
                  </a:cubicBezTo>
                  <a:cubicBezTo>
                    <a:pt x="5679" y="6479"/>
                    <a:pt x="5489" y="6551"/>
                    <a:pt x="5286" y="6646"/>
                  </a:cubicBezTo>
                  <a:cubicBezTo>
                    <a:pt x="5251" y="6527"/>
                    <a:pt x="5191" y="6313"/>
                    <a:pt x="5060" y="6110"/>
                  </a:cubicBezTo>
                  <a:cubicBezTo>
                    <a:pt x="4667" y="5539"/>
                    <a:pt x="4012" y="5301"/>
                    <a:pt x="3524" y="5193"/>
                  </a:cubicBezTo>
                  <a:cubicBezTo>
                    <a:pt x="3405" y="5170"/>
                    <a:pt x="3286" y="5134"/>
                    <a:pt x="3167" y="5098"/>
                  </a:cubicBezTo>
                  <a:cubicBezTo>
                    <a:pt x="3148" y="5090"/>
                    <a:pt x="3128" y="5086"/>
                    <a:pt x="3109" y="5086"/>
                  </a:cubicBezTo>
                  <a:cubicBezTo>
                    <a:pt x="3044" y="5086"/>
                    <a:pt x="2983" y="5129"/>
                    <a:pt x="2965" y="5193"/>
                  </a:cubicBezTo>
                  <a:cubicBezTo>
                    <a:pt x="2929" y="5289"/>
                    <a:pt x="2977" y="5372"/>
                    <a:pt x="3060" y="5408"/>
                  </a:cubicBezTo>
                  <a:cubicBezTo>
                    <a:pt x="3179" y="5455"/>
                    <a:pt x="3322" y="5479"/>
                    <a:pt x="3453" y="5515"/>
                  </a:cubicBezTo>
                  <a:cubicBezTo>
                    <a:pt x="4774" y="5789"/>
                    <a:pt x="4953" y="6586"/>
                    <a:pt x="4989" y="6765"/>
                  </a:cubicBezTo>
                  <a:cubicBezTo>
                    <a:pt x="4774" y="6836"/>
                    <a:pt x="4572" y="6920"/>
                    <a:pt x="4358" y="7015"/>
                  </a:cubicBezTo>
                  <a:cubicBezTo>
                    <a:pt x="4274" y="6682"/>
                    <a:pt x="3917" y="6051"/>
                    <a:pt x="2560" y="5658"/>
                  </a:cubicBezTo>
                  <a:cubicBezTo>
                    <a:pt x="1869" y="5467"/>
                    <a:pt x="1715" y="5003"/>
                    <a:pt x="1679" y="4896"/>
                  </a:cubicBezTo>
                  <a:lnTo>
                    <a:pt x="2036" y="4586"/>
                  </a:lnTo>
                  <a:cubicBezTo>
                    <a:pt x="2096" y="4705"/>
                    <a:pt x="2203" y="4884"/>
                    <a:pt x="2405" y="5051"/>
                  </a:cubicBezTo>
                  <a:cubicBezTo>
                    <a:pt x="2441" y="5074"/>
                    <a:pt x="2465" y="5074"/>
                    <a:pt x="2512" y="5074"/>
                  </a:cubicBezTo>
                  <a:cubicBezTo>
                    <a:pt x="2560" y="5074"/>
                    <a:pt x="2608" y="5062"/>
                    <a:pt x="2631" y="5015"/>
                  </a:cubicBezTo>
                  <a:cubicBezTo>
                    <a:pt x="2691" y="4943"/>
                    <a:pt x="2679" y="4860"/>
                    <a:pt x="2619" y="4800"/>
                  </a:cubicBezTo>
                  <a:cubicBezTo>
                    <a:pt x="2369" y="4586"/>
                    <a:pt x="2310" y="4384"/>
                    <a:pt x="2286" y="4360"/>
                  </a:cubicBezTo>
                  <a:cubicBezTo>
                    <a:pt x="2346" y="4300"/>
                    <a:pt x="2405" y="4265"/>
                    <a:pt x="2465" y="4205"/>
                  </a:cubicBezTo>
                  <a:close/>
                  <a:moveTo>
                    <a:pt x="5882" y="312"/>
                  </a:moveTo>
                  <a:cubicBezTo>
                    <a:pt x="5965" y="359"/>
                    <a:pt x="6072" y="431"/>
                    <a:pt x="6191" y="550"/>
                  </a:cubicBezTo>
                  <a:cubicBezTo>
                    <a:pt x="6489" y="883"/>
                    <a:pt x="6632" y="1443"/>
                    <a:pt x="6632" y="2145"/>
                  </a:cubicBezTo>
                  <a:cubicBezTo>
                    <a:pt x="6632" y="2241"/>
                    <a:pt x="6715" y="2312"/>
                    <a:pt x="6799" y="2312"/>
                  </a:cubicBezTo>
                  <a:cubicBezTo>
                    <a:pt x="6894" y="2312"/>
                    <a:pt x="6965" y="2241"/>
                    <a:pt x="6965" y="2145"/>
                  </a:cubicBezTo>
                  <a:cubicBezTo>
                    <a:pt x="6965" y="2026"/>
                    <a:pt x="6965" y="1919"/>
                    <a:pt x="6953" y="1824"/>
                  </a:cubicBezTo>
                  <a:lnTo>
                    <a:pt x="6953" y="1824"/>
                  </a:lnTo>
                  <a:cubicBezTo>
                    <a:pt x="7156" y="1895"/>
                    <a:pt x="7525" y="2038"/>
                    <a:pt x="7989" y="2372"/>
                  </a:cubicBezTo>
                  <a:cubicBezTo>
                    <a:pt x="8323" y="2598"/>
                    <a:pt x="8620" y="2860"/>
                    <a:pt x="8894" y="3146"/>
                  </a:cubicBezTo>
                  <a:cubicBezTo>
                    <a:pt x="8882" y="3396"/>
                    <a:pt x="8870" y="3681"/>
                    <a:pt x="8811" y="3967"/>
                  </a:cubicBezTo>
                  <a:cubicBezTo>
                    <a:pt x="8799" y="4050"/>
                    <a:pt x="8858" y="4122"/>
                    <a:pt x="8942" y="4146"/>
                  </a:cubicBezTo>
                  <a:lnTo>
                    <a:pt x="8977" y="4146"/>
                  </a:lnTo>
                  <a:cubicBezTo>
                    <a:pt x="9049" y="4146"/>
                    <a:pt x="9120" y="4086"/>
                    <a:pt x="9132" y="4003"/>
                  </a:cubicBezTo>
                  <a:cubicBezTo>
                    <a:pt x="9168" y="3824"/>
                    <a:pt x="9192" y="3634"/>
                    <a:pt x="9216" y="3455"/>
                  </a:cubicBezTo>
                  <a:cubicBezTo>
                    <a:pt x="9489" y="3777"/>
                    <a:pt x="9727" y="4098"/>
                    <a:pt x="9954" y="4408"/>
                  </a:cubicBezTo>
                  <a:cubicBezTo>
                    <a:pt x="9847" y="4693"/>
                    <a:pt x="9763" y="4920"/>
                    <a:pt x="9656" y="5134"/>
                  </a:cubicBezTo>
                  <a:cubicBezTo>
                    <a:pt x="9394" y="5729"/>
                    <a:pt x="9037" y="6253"/>
                    <a:pt x="8584" y="6705"/>
                  </a:cubicBezTo>
                  <a:cubicBezTo>
                    <a:pt x="7977" y="7313"/>
                    <a:pt x="7382" y="7598"/>
                    <a:pt x="7156" y="7682"/>
                  </a:cubicBezTo>
                  <a:cubicBezTo>
                    <a:pt x="7072" y="7479"/>
                    <a:pt x="6989" y="7301"/>
                    <a:pt x="6918" y="7134"/>
                  </a:cubicBezTo>
                  <a:cubicBezTo>
                    <a:pt x="7906" y="6610"/>
                    <a:pt x="8573" y="5824"/>
                    <a:pt x="8918" y="4753"/>
                  </a:cubicBezTo>
                  <a:cubicBezTo>
                    <a:pt x="8942" y="4670"/>
                    <a:pt x="8894" y="4574"/>
                    <a:pt x="8811" y="4562"/>
                  </a:cubicBezTo>
                  <a:cubicBezTo>
                    <a:pt x="8789" y="4554"/>
                    <a:pt x="8768" y="4550"/>
                    <a:pt x="8749" y="4550"/>
                  </a:cubicBezTo>
                  <a:cubicBezTo>
                    <a:pt x="8682" y="4550"/>
                    <a:pt x="8629" y="4596"/>
                    <a:pt x="8620" y="4670"/>
                  </a:cubicBezTo>
                  <a:cubicBezTo>
                    <a:pt x="8299" y="5646"/>
                    <a:pt x="7680" y="6372"/>
                    <a:pt x="6799" y="6848"/>
                  </a:cubicBezTo>
                  <a:cubicBezTo>
                    <a:pt x="6727" y="6682"/>
                    <a:pt x="6679" y="6575"/>
                    <a:pt x="6632" y="6479"/>
                  </a:cubicBezTo>
                  <a:cubicBezTo>
                    <a:pt x="7120" y="6277"/>
                    <a:pt x="7453" y="5943"/>
                    <a:pt x="7584" y="5515"/>
                  </a:cubicBezTo>
                  <a:cubicBezTo>
                    <a:pt x="7953" y="4396"/>
                    <a:pt x="6941" y="2955"/>
                    <a:pt x="6906" y="2895"/>
                  </a:cubicBezTo>
                  <a:cubicBezTo>
                    <a:pt x="6876" y="2844"/>
                    <a:pt x="6825" y="2820"/>
                    <a:pt x="6772" y="2820"/>
                  </a:cubicBezTo>
                  <a:cubicBezTo>
                    <a:pt x="6740" y="2820"/>
                    <a:pt x="6707" y="2830"/>
                    <a:pt x="6679" y="2848"/>
                  </a:cubicBezTo>
                  <a:cubicBezTo>
                    <a:pt x="6608" y="2895"/>
                    <a:pt x="6584" y="2991"/>
                    <a:pt x="6632" y="3074"/>
                  </a:cubicBezTo>
                  <a:cubicBezTo>
                    <a:pt x="6644" y="3086"/>
                    <a:pt x="7584" y="4443"/>
                    <a:pt x="7275" y="5408"/>
                  </a:cubicBezTo>
                  <a:cubicBezTo>
                    <a:pt x="7215" y="5586"/>
                    <a:pt x="7108" y="5753"/>
                    <a:pt x="6977" y="5884"/>
                  </a:cubicBezTo>
                  <a:cubicBezTo>
                    <a:pt x="7060" y="5467"/>
                    <a:pt x="7060" y="4765"/>
                    <a:pt x="6620" y="3765"/>
                  </a:cubicBezTo>
                  <a:cubicBezTo>
                    <a:pt x="6594" y="3713"/>
                    <a:pt x="6538" y="3674"/>
                    <a:pt x="6477" y="3674"/>
                  </a:cubicBezTo>
                  <a:cubicBezTo>
                    <a:pt x="6453" y="3674"/>
                    <a:pt x="6429" y="3680"/>
                    <a:pt x="6406" y="3693"/>
                  </a:cubicBezTo>
                  <a:cubicBezTo>
                    <a:pt x="6334" y="3729"/>
                    <a:pt x="6287" y="3824"/>
                    <a:pt x="6334" y="3908"/>
                  </a:cubicBezTo>
                  <a:cubicBezTo>
                    <a:pt x="6549" y="4348"/>
                    <a:pt x="6763" y="5015"/>
                    <a:pt x="6703" y="5634"/>
                  </a:cubicBezTo>
                  <a:cubicBezTo>
                    <a:pt x="6668" y="5991"/>
                    <a:pt x="6549" y="6146"/>
                    <a:pt x="6549" y="6170"/>
                  </a:cubicBezTo>
                  <a:cubicBezTo>
                    <a:pt x="6489" y="6194"/>
                    <a:pt x="6227" y="6289"/>
                    <a:pt x="6191" y="6301"/>
                  </a:cubicBezTo>
                  <a:cubicBezTo>
                    <a:pt x="6156" y="6015"/>
                    <a:pt x="6072" y="5658"/>
                    <a:pt x="5775" y="5336"/>
                  </a:cubicBezTo>
                  <a:cubicBezTo>
                    <a:pt x="5429" y="4943"/>
                    <a:pt x="4905" y="4705"/>
                    <a:pt x="4227" y="4622"/>
                  </a:cubicBezTo>
                  <a:cubicBezTo>
                    <a:pt x="3060" y="4479"/>
                    <a:pt x="2762" y="4062"/>
                    <a:pt x="2715" y="3979"/>
                  </a:cubicBezTo>
                  <a:cubicBezTo>
                    <a:pt x="3477" y="3324"/>
                    <a:pt x="4191" y="2717"/>
                    <a:pt x="4501" y="2455"/>
                  </a:cubicBezTo>
                  <a:cubicBezTo>
                    <a:pt x="5096" y="1979"/>
                    <a:pt x="5429" y="1860"/>
                    <a:pt x="5548" y="1824"/>
                  </a:cubicBezTo>
                  <a:cubicBezTo>
                    <a:pt x="5584" y="1955"/>
                    <a:pt x="5608" y="2038"/>
                    <a:pt x="5620" y="2038"/>
                  </a:cubicBezTo>
                  <a:cubicBezTo>
                    <a:pt x="5648" y="2105"/>
                    <a:pt x="5707" y="2141"/>
                    <a:pt x="5778" y="2141"/>
                  </a:cubicBezTo>
                  <a:cubicBezTo>
                    <a:pt x="5796" y="2141"/>
                    <a:pt x="5815" y="2138"/>
                    <a:pt x="5834" y="2133"/>
                  </a:cubicBezTo>
                  <a:cubicBezTo>
                    <a:pt x="5906" y="2098"/>
                    <a:pt x="5953" y="2014"/>
                    <a:pt x="5917" y="1919"/>
                  </a:cubicBezTo>
                  <a:cubicBezTo>
                    <a:pt x="5917" y="1907"/>
                    <a:pt x="5644" y="1193"/>
                    <a:pt x="5882" y="312"/>
                  </a:cubicBezTo>
                  <a:close/>
                  <a:moveTo>
                    <a:pt x="1417" y="5098"/>
                  </a:moveTo>
                  <a:cubicBezTo>
                    <a:pt x="1512" y="5336"/>
                    <a:pt x="1786" y="5753"/>
                    <a:pt x="2453" y="5943"/>
                  </a:cubicBezTo>
                  <a:cubicBezTo>
                    <a:pt x="2917" y="6074"/>
                    <a:pt x="3536" y="6313"/>
                    <a:pt x="3870" y="6753"/>
                  </a:cubicBezTo>
                  <a:cubicBezTo>
                    <a:pt x="3989" y="6896"/>
                    <a:pt x="4036" y="7027"/>
                    <a:pt x="4048" y="7110"/>
                  </a:cubicBezTo>
                  <a:cubicBezTo>
                    <a:pt x="4048" y="7134"/>
                    <a:pt x="4036" y="7134"/>
                    <a:pt x="4036" y="7134"/>
                  </a:cubicBezTo>
                  <a:cubicBezTo>
                    <a:pt x="3381" y="7408"/>
                    <a:pt x="2750" y="7658"/>
                    <a:pt x="2346" y="7789"/>
                  </a:cubicBezTo>
                  <a:cubicBezTo>
                    <a:pt x="2324" y="7793"/>
                    <a:pt x="2302" y="7796"/>
                    <a:pt x="2281" y="7796"/>
                  </a:cubicBezTo>
                  <a:cubicBezTo>
                    <a:pt x="2246" y="7796"/>
                    <a:pt x="2213" y="7788"/>
                    <a:pt x="2191" y="7765"/>
                  </a:cubicBezTo>
                  <a:lnTo>
                    <a:pt x="1834" y="7503"/>
                  </a:lnTo>
                  <a:cubicBezTo>
                    <a:pt x="1917" y="7444"/>
                    <a:pt x="2036" y="7384"/>
                    <a:pt x="2155" y="7313"/>
                  </a:cubicBezTo>
                  <a:cubicBezTo>
                    <a:pt x="2488" y="7110"/>
                    <a:pt x="2786" y="6896"/>
                    <a:pt x="2798" y="6884"/>
                  </a:cubicBezTo>
                  <a:cubicBezTo>
                    <a:pt x="2869" y="6836"/>
                    <a:pt x="2881" y="6729"/>
                    <a:pt x="2822" y="6658"/>
                  </a:cubicBezTo>
                  <a:cubicBezTo>
                    <a:pt x="2802" y="6617"/>
                    <a:pt x="2758" y="6596"/>
                    <a:pt x="2712" y="6596"/>
                  </a:cubicBezTo>
                  <a:cubicBezTo>
                    <a:pt x="2676" y="6596"/>
                    <a:pt x="2638" y="6608"/>
                    <a:pt x="2608" y="6634"/>
                  </a:cubicBezTo>
                  <a:cubicBezTo>
                    <a:pt x="2072" y="7015"/>
                    <a:pt x="1393" y="7420"/>
                    <a:pt x="1250" y="7420"/>
                  </a:cubicBezTo>
                  <a:cubicBezTo>
                    <a:pt x="643" y="7360"/>
                    <a:pt x="357" y="6313"/>
                    <a:pt x="310" y="6194"/>
                  </a:cubicBezTo>
                  <a:cubicBezTo>
                    <a:pt x="298" y="6134"/>
                    <a:pt x="310" y="6063"/>
                    <a:pt x="369" y="6015"/>
                  </a:cubicBezTo>
                  <a:cubicBezTo>
                    <a:pt x="583" y="5836"/>
                    <a:pt x="953" y="5503"/>
                    <a:pt x="1417" y="5098"/>
                  </a:cubicBezTo>
                  <a:close/>
                  <a:moveTo>
                    <a:pt x="5797" y="0"/>
                  </a:moveTo>
                  <a:cubicBezTo>
                    <a:pt x="5725" y="0"/>
                    <a:pt x="5665" y="45"/>
                    <a:pt x="5644" y="109"/>
                  </a:cubicBezTo>
                  <a:cubicBezTo>
                    <a:pt x="5620" y="169"/>
                    <a:pt x="5608" y="217"/>
                    <a:pt x="5596" y="276"/>
                  </a:cubicBezTo>
                  <a:cubicBezTo>
                    <a:pt x="4751" y="371"/>
                    <a:pt x="4215" y="693"/>
                    <a:pt x="4179" y="705"/>
                  </a:cubicBezTo>
                  <a:cubicBezTo>
                    <a:pt x="4132" y="729"/>
                    <a:pt x="4120" y="764"/>
                    <a:pt x="4108" y="812"/>
                  </a:cubicBezTo>
                  <a:cubicBezTo>
                    <a:pt x="4096" y="848"/>
                    <a:pt x="4108" y="895"/>
                    <a:pt x="4132" y="931"/>
                  </a:cubicBezTo>
                  <a:lnTo>
                    <a:pt x="4786" y="1907"/>
                  </a:lnTo>
                  <a:cubicBezTo>
                    <a:pt x="4655" y="2003"/>
                    <a:pt x="4513" y="2098"/>
                    <a:pt x="4346" y="2241"/>
                  </a:cubicBezTo>
                  <a:cubicBezTo>
                    <a:pt x="3620" y="2812"/>
                    <a:pt x="893" y="5193"/>
                    <a:pt x="191" y="5813"/>
                  </a:cubicBezTo>
                  <a:cubicBezTo>
                    <a:pt x="60" y="5932"/>
                    <a:pt x="0" y="6122"/>
                    <a:pt x="48" y="6313"/>
                  </a:cubicBezTo>
                  <a:cubicBezTo>
                    <a:pt x="83" y="6467"/>
                    <a:pt x="191" y="6825"/>
                    <a:pt x="405" y="7146"/>
                  </a:cubicBezTo>
                  <a:cubicBezTo>
                    <a:pt x="643" y="7515"/>
                    <a:pt x="917" y="7729"/>
                    <a:pt x="1250" y="7753"/>
                  </a:cubicBezTo>
                  <a:lnTo>
                    <a:pt x="1274" y="7753"/>
                  </a:lnTo>
                  <a:cubicBezTo>
                    <a:pt x="1334" y="7753"/>
                    <a:pt x="1417" y="7741"/>
                    <a:pt x="1536" y="7694"/>
                  </a:cubicBezTo>
                  <a:lnTo>
                    <a:pt x="2024" y="8039"/>
                  </a:lnTo>
                  <a:cubicBezTo>
                    <a:pt x="2107" y="8099"/>
                    <a:pt x="2215" y="8134"/>
                    <a:pt x="2310" y="8134"/>
                  </a:cubicBezTo>
                  <a:cubicBezTo>
                    <a:pt x="2369" y="8134"/>
                    <a:pt x="2405" y="8110"/>
                    <a:pt x="2465" y="8099"/>
                  </a:cubicBezTo>
                  <a:cubicBezTo>
                    <a:pt x="2881" y="7956"/>
                    <a:pt x="3512" y="7694"/>
                    <a:pt x="4167" y="7432"/>
                  </a:cubicBezTo>
                  <a:cubicBezTo>
                    <a:pt x="4953" y="7122"/>
                    <a:pt x="5775" y="6777"/>
                    <a:pt x="6358" y="6586"/>
                  </a:cubicBezTo>
                  <a:cubicBezTo>
                    <a:pt x="6537" y="6979"/>
                    <a:pt x="7251" y="8610"/>
                    <a:pt x="7846" y="10230"/>
                  </a:cubicBezTo>
                  <a:cubicBezTo>
                    <a:pt x="7870" y="10289"/>
                    <a:pt x="7930" y="10337"/>
                    <a:pt x="7989" y="10337"/>
                  </a:cubicBezTo>
                  <a:cubicBezTo>
                    <a:pt x="8001" y="10337"/>
                    <a:pt x="8025" y="10337"/>
                    <a:pt x="8049" y="10313"/>
                  </a:cubicBezTo>
                  <a:cubicBezTo>
                    <a:pt x="8144" y="10289"/>
                    <a:pt x="8168" y="10194"/>
                    <a:pt x="8144" y="10111"/>
                  </a:cubicBezTo>
                  <a:lnTo>
                    <a:pt x="7965" y="9622"/>
                  </a:lnTo>
                  <a:cubicBezTo>
                    <a:pt x="8215" y="9480"/>
                    <a:pt x="9275" y="8944"/>
                    <a:pt x="10120" y="8170"/>
                  </a:cubicBezTo>
                  <a:cubicBezTo>
                    <a:pt x="10180" y="8110"/>
                    <a:pt x="10192" y="8015"/>
                    <a:pt x="10132" y="7956"/>
                  </a:cubicBezTo>
                  <a:cubicBezTo>
                    <a:pt x="10097" y="7920"/>
                    <a:pt x="10044" y="7897"/>
                    <a:pt x="9995" y="7897"/>
                  </a:cubicBezTo>
                  <a:cubicBezTo>
                    <a:pt x="9962" y="7897"/>
                    <a:pt x="9930" y="7908"/>
                    <a:pt x="9906" y="7932"/>
                  </a:cubicBezTo>
                  <a:cubicBezTo>
                    <a:pt x="9120" y="8646"/>
                    <a:pt x="8144" y="9170"/>
                    <a:pt x="7858" y="9301"/>
                  </a:cubicBezTo>
                  <a:cubicBezTo>
                    <a:pt x="7787" y="9122"/>
                    <a:pt x="7727" y="8944"/>
                    <a:pt x="7644" y="8765"/>
                  </a:cubicBezTo>
                  <a:cubicBezTo>
                    <a:pt x="8025" y="8587"/>
                    <a:pt x="9180" y="7991"/>
                    <a:pt x="10049" y="6944"/>
                  </a:cubicBezTo>
                  <a:cubicBezTo>
                    <a:pt x="10108" y="6860"/>
                    <a:pt x="10085" y="6777"/>
                    <a:pt x="10025" y="6717"/>
                  </a:cubicBezTo>
                  <a:cubicBezTo>
                    <a:pt x="9993" y="6691"/>
                    <a:pt x="9958" y="6678"/>
                    <a:pt x="9925" y="6678"/>
                  </a:cubicBezTo>
                  <a:cubicBezTo>
                    <a:pt x="9883" y="6678"/>
                    <a:pt x="9844" y="6697"/>
                    <a:pt x="9811" y="6729"/>
                  </a:cubicBezTo>
                  <a:cubicBezTo>
                    <a:pt x="9001" y="7718"/>
                    <a:pt x="7906" y="8289"/>
                    <a:pt x="7525" y="8468"/>
                  </a:cubicBezTo>
                  <a:cubicBezTo>
                    <a:pt x="7453" y="8289"/>
                    <a:pt x="7382" y="8110"/>
                    <a:pt x="7322" y="7956"/>
                  </a:cubicBezTo>
                  <a:cubicBezTo>
                    <a:pt x="7572" y="7848"/>
                    <a:pt x="8203" y="7551"/>
                    <a:pt x="8835" y="6908"/>
                  </a:cubicBezTo>
                  <a:cubicBezTo>
                    <a:pt x="9311" y="6432"/>
                    <a:pt x="9704" y="5884"/>
                    <a:pt x="9989" y="5253"/>
                  </a:cubicBezTo>
                  <a:cubicBezTo>
                    <a:pt x="10061" y="5098"/>
                    <a:pt x="10120" y="4931"/>
                    <a:pt x="10180" y="4765"/>
                  </a:cubicBezTo>
                  <a:cubicBezTo>
                    <a:pt x="10323" y="4991"/>
                    <a:pt x="10442" y="5193"/>
                    <a:pt x="10561" y="5408"/>
                  </a:cubicBezTo>
                  <a:cubicBezTo>
                    <a:pt x="10478" y="5658"/>
                    <a:pt x="10370" y="5908"/>
                    <a:pt x="10239" y="6146"/>
                  </a:cubicBezTo>
                  <a:cubicBezTo>
                    <a:pt x="10192" y="6229"/>
                    <a:pt x="10228" y="6324"/>
                    <a:pt x="10299" y="6372"/>
                  </a:cubicBezTo>
                  <a:cubicBezTo>
                    <a:pt x="10323" y="6384"/>
                    <a:pt x="10359" y="6384"/>
                    <a:pt x="10370" y="6384"/>
                  </a:cubicBezTo>
                  <a:cubicBezTo>
                    <a:pt x="10430" y="6384"/>
                    <a:pt x="10478" y="6360"/>
                    <a:pt x="10501" y="6313"/>
                  </a:cubicBezTo>
                  <a:cubicBezTo>
                    <a:pt x="10668" y="6027"/>
                    <a:pt x="10799" y="5729"/>
                    <a:pt x="10894" y="5455"/>
                  </a:cubicBezTo>
                  <a:lnTo>
                    <a:pt x="10894" y="5432"/>
                  </a:lnTo>
                  <a:lnTo>
                    <a:pt x="10894" y="5420"/>
                  </a:lnTo>
                  <a:lnTo>
                    <a:pt x="10859" y="5408"/>
                  </a:lnTo>
                  <a:lnTo>
                    <a:pt x="10859" y="5396"/>
                  </a:lnTo>
                  <a:lnTo>
                    <a:pt x="10859" y="5372"/>
                  </a:lnTo>
                  <a:lnTo>
                    <a:pt x="10859" y="5360"/>
                  </a:lnTo>
                  <a:lnTo>
                    <a:pt x="10859" y="5348"/>
                  </a:lnTo>
                  <a:cubicBezTo>
                    <a:pt x="10668" y="5003"/>
                    <a:pt x="10478" y="4693"/>
                    <a:pt x="10299" y="4408"/>
                  </a:cubicBezTo>
                  <a:cubicBezTo>
                    <a:pt x="10418" y="3979"/>
                    <a:pt x="10489" y="3527"/>
                    <a:pt x="10525" y="3050"/>
                  </a:cubicBezTo>
                  <a:cubicBezTo>
                    <a:pt x="10549" y="3086"/>
                    <a:pt x="10561" y="3110"/>
                    <a:pt x="10597" y="3157"/>
                  </a:cubicBezTo>
                  <a:cubicBezTo>
                    <a:pt x="10620" y="3205"/>
                    <a:pt x="10668" y="3217"/>
                    <a:pt x="10716" y="3217"/>
                  </a:cubicBezTo>
                  <a:cubicBezTo>
                    <a:pt x="10740" y="3217"/>
                    <a:pt x="10787" y="3205"/>
                    <a:pt x="10823" y="3193"/>
                  </a:cubicBezTo>
                  <a:cubicBezTo>
                    <a:pt x="10894" y="3134"/>
                    <a:pt x="10894" y="3038"/>
                    <a:pt x="10847" y="2967"/>
                  </a:cubicBezTo>
                  <a:cubicBezTo>
                    <a:pt x="10085" y="1979"/>
                    <a:pt x="9251" y="1264"/>
                    <a:pt x="8394" y="812"/>
                  </a:cubicBezTo>
                  <a:cubicBezTo>
                    <a:pt x="7703" y="455"/>
                    <a:pt x="6989" y="252"/>
                    <a:pt x="6275" y="240"/>
                  </a:cubicBezTo>
                  <a:cubicBezTo>
                    <a:pt x="6037" y="50"/>
                    <a:pt x="5834" y="14"/>
                    <a:pt x="5822" y="2"/>
                  </a:cubicBezTo>
                  <a:cubicBezTo>
                    <a:pt x="5814" y="1"/>
                    <a:pt x="5805" y="0"/>
                    <a:pt x="57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7" name="Google Shape;13007;p63"/>
            <p:cNvSpPr/>
            <p:nvPr/>
          </p:nvSpPr>
          <p:spPr>
            <a:xfrm>
              <a:off x="3927757" y="1737234"/>
              <a:ext cx="18720" cy="19104"/>
            </a:xfrm>
            <a:custGeom>
              <a:avLst/>
              <a:gdLst/>
              <a:ahLst/>
              <a:cxnLst/>
              <a:rect l="l" t="t" r="r" b="b"/>
              <a:pathLst>
                <a:path w="585" h="597" extrusionOk="0">
                  <a:moveTo>
                    <a:pt x="404" y="0"/>
                  </a:moveTo>
                  <a:cubicBezTo>
                    <a:pt x="349" y="0"/>
                    <a:pt x="294" y="26"/>
                    <a:pt x="263" y="73"/>
                  </a:cubicBezTo>
                  <a:cubicBezTo>
                    <a:pt x="203" y="168"/>
                    <a:pt x="132" y="251"/>
                    <a:pt x="61" y="346"/>
                  </a:cubicBezTo>
                  <a:cubicBezTo>
                    <a:pt x="1" y="418"/>
                    <a:pt x="13" y="501"/>
                    <a:pt x="72" y="561"/>
                  </a:cubicBezTo>
                  <a:cubicBezTo>
                    <a:pt x="108" y="597"/>
                    <a:pt x="132" y="597"/>
                    <a:pt x="180" y="597"/>
                  </a:cubicBezTo>
                  <a:cubicBezTo>
                    <a:pt x="227" y="597"/>
                    <a:pt x="263" y="573"/>
                    <a:pt x="299" y="537"/>
                  </a:cubicBezTo>
                  <a:cubicBezTo>
                    <a:pt x="382" y="430"/>
                    <a:pt x="465" y="346"/>
                    <a:pt x="525" y="239"/>
                  </a:cubicBezTo>
                  <a:cubicBezTo>
                    <a:pt x="584" y="180"/>
                    <a:pt x="561" y="73"/>
                    <a:pt x="489" y="25"/>
                  </a:cubicBezTo>
                  <a:cubicBezTo>
                    <a:pt x="464" y="8"/>
                    <a:pt x="434" y="0"/>
                    <a:pt x="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08" name="Google Shape;13008;p63"/>
          <p:cNvGrpSpPr/>
          <p:nvPr/>
        </p:nvGrpSpPr>
        <p:grpSpPr>
          <a:xfrm>
            <a:off x="5246797" y="1500658"/>
            <a:ext cx="347872" cy="347488"/>
            <a:chOff x="5246797" y="1500658"/>
            <a:chExt cx="347872" cy="347488"/>
          </a:xfrm>
        </p:grpSpPr>
        <p:sp>
          <p:nvSpPr>
            <p:cNvPr id="13009" name="Google Shape;13009;p63"/>
            <p:cNvSpPr/>
            <p:nvPr/>
          </p:nvSpPr>
          <p:spPr>
            <a:xfrm>
              <a:off x="5246797" y="1500658"/>
              <a:ext cx="347872" cy="347488"/>
            </a:xfrm>
            <a:custGeom>
              <a:avLst/>
              <a:gdLst/>
              <a:ahLst/>
              <a:cxnLst/>
              <a:rect l="l" t="t" r="r" b="b"/>
              <a:pathLst>
                <a:path w="10871" h="10859" extrusionOk="0">
                  <a:moveTo>
                    <a:pt x="2024" y="989"/>
                  </a:moveTo>
                  <a:cubicBezTo>
                    <a:pt x="2441" y="989"/>
                    <a:pt x="2822" y="1251"/>
                    <a:pt x="2977" y="1620"/>
                  </a:cubicBezTo>
                  <a:cubicBezTo>
                    <a:pt x="2560" y="1834"/>
                    <a:pt x="2179" y="2120"/>
                    <a:pt x="1834" y="2453"/>
                  </a:cubicBezTo>
                  <a:cubicBezTo>
                    <a:pt x="1703" y="2584"/>
                    <a:pt x="1572" y="2715"/>
                    <a:pt x="1453" y="2870"/>
                  </a:cubicBezTo>
                  <a:cubicBezTo>
                    <a:pt x="1167" y="2679"/>
                    <a:pt x="1001" y="2358"/>
                    <a:pt x="1001" y="2024"/>
                  </a:cubicBezTo>
                  <a:cubicBezTo>
                    <a:pt x="1001" y="1453"/>
                    <a:pt x="1465" y="989"/>
                    <a:pt x="2024" y="989"/>
                  </a:cubicBezTo>
                  <a:close/>
                  <a:moveTo>
                    <a:pt x="2024" y="310"/>
                  </a:moveTo>
                  <a:cubicBezTo>
                    <a:pt x="2715" y="310"/>
                    <a:pt x="3322" y="715"/>
                    <a:pt x="3608" y="1334"/>
                  </a:cubicBezTo>
                  <a:cubicBezTo>
                    <a:pt x="3489" y="1382"/>
                    <a:pt x="3382" y="1429"/>
                    <a:pt x="3275" y="1465"/>
                  </a:cubicBezTo>
                  <a:cubicBezTo>
                    <a:pt x="3072" y="977"/>
                    <a:pt x="2572" y="667"/>
                    <a:pt x="2036" y="667"/>
                  </a:cubicBezTo>
                  <a:cubicBezTo>
                    <a:pt x="1298" y="667"/>
                    <a:pt x="691" y="1274"/>
                    <a:pt x="691" y="2013"/>
                  </a:cubicBezTo>
                  <a:cubicBezTo>
                    <a:pt x="691" y="2465"/>
                    <a:pt x="893" y="2870"/>
                    <a:pt x="1251" y="3120"/>
                  </a:cubicBezTo>
                  <a:cubicBezTo>
                    <a:pt x="1179" y="3227"/>
                    <a:pt x="1120" y="3310"/>
                    <a:pt x="1048" y="3418"/>
                  </a:cubicBezTo>
                  <a:cubicBezTo>
                    <a:pt x="596" y="3108"/>
                    <a:pt x="310" y="2584"/>
                    <a:pt x="310" y="2024"/>
                  </a:cubicBezTo>
                  <a:cubicBezTo>
                    <a:pt x="310" y="1084"/>
                    <a:pt x="1096" y="310"/>
                    <a:pt x="2024" y="310"/>
                  </a:cubicBezTo>
                  <a:close/>
                  <a:moveTo>
                    <a:pt x="8847" y="310"/>
                  </a:moveTo>
                  <a:cubicBezTo>
                    <a:pt x="9787" y="310"/>
                    <a:pt x="10561" y="1084"/>
                    <a:pt x="10561" y="2024"/>
                  </a:cubicBezTo>
                  <a:cubicBezTo>
                    <a:pt x="10561" y="2584"/>
                    <a:pt x="10276" y="3108"/>
                    <a:pt x="9823" y="3418"/>
                  </a:cubicBezTo>
                  <a:cubicBezTo>
                    <a:pt x="9764" y="3310"/>
                    <a:pt x="9692" y="3215"/>
                    <a:pt x="9621" y="3120"/>
                  </a:cubicBezTo>
                  <a:cubicBezTo>
                    <a:pt x="9978" y="2870"/>
                    <a:pt x="10180" y="2465"/>
                    <a:pt x="10180" y="2024"/>
                  </a:cubicBezTo>
                  <a:cubicBezTo>
                    <a:pt x="10180" y="1846"/>
                    <a:pt x="10156" y="1667"/>
                    <a:pt x="10073" y="1501"/>
                  </a:cubicBezTo>
                  <a:cubicBezTo>
                    <a:pt x="10054" y="1442"/>
                    <a:pt x="9977" y="1399"/>
                    <a:pt x="9911" y="1399"/>
                  </a:cubicBezTo>
                  <a:cubicBezTo>
                    <a:pt x="9897" y="1399"/>
                    <a:pt x="9883" y="1401"/>
                    <a:pt x="9871" y="1405"/>
                  </a:cubicBezTo>
                  <a:cubicBezTo>
                    <a:pt x="9799" y="1441"/>
                    <a:pt x="9752" y="1536"/>
                    <a:pt x="9775" y="1620"/>
                  </a:cubicBezTo>
                  <a:cubicBezTo>
                    <a:pt x="9835" y="1751"/>
                    <a:pt x="9859" y="1882"/>
                    <a:pt x="9859" y="2013"/>
                  </a:cubicBezTo>
                  <a:cubicBezTo>
                    <a:pt x="9859" y="2358"/>
                    <a:pt x="9692" y="2667"/>
                    <a:pt x="9406" y="2870"/>
                  </a:cubicBezTo>
                  <a:cubicBezTo>
                    <a:pt x="9287" y="2715"/>
                    <a:pt x="9156" y="2584"/>
                    <a:pt x="9025" y="2453"/>
                  </a:cubicBezTo>
                  <a:cubicBezTo>
                    <a:pt x="8680" y="2120"/>
                    <a:pt x="8287" y="1834"/>
                    <a:pt x="7870" y="1620"/>
                  </a:cubicBezTo>
                  <a:cubicBezTo>
                    <a:pt x="8037" y="1239"/>
                    <a:pt x="8406" y="989"/>
                    <a:pt x="8835" y="989"/>
                  </a:cubicBezTo>
                  <a:cubicBezTo>
                    <a:pt x="9013" y="989"/>
                    <a:pt x="9204" y="1036"/>
                    <a:pt x="9347" y="1143"/>
                  </a:cubicBezTo>
                  <a:cubicBezTo>
                    <a:pt x="9373" y="1154"/>
                    <a:pt x="9400" y="1160"/>
                    <a:pt x="9426" y="1160"/>
                  </a:cubicBezTo>
                  <a:cubicBezTo>
                    <a:pt x="9485" y="1160"/>
                    <a:pt x="9540" y="1133"/>
                    <a:pt x="9573" y="1084"/>
                  </a:cubicBezTo>
                  <a:cubicBezTo>
                    <a:pt x="9621" y="1001"/>
                    <a:pt x="9585" y="905"/>
                    <a:pt x="9514" y="858"/>
                  </a:cubicBezTo>
                  <a:cubicBezTo>
                    <a:pt x="9299" y="739"/>
                    <a:pt x="9061" y="667"/>
                    <a:pt x="8835" y="667"/>
                  </a:cubicBezTo>
                  <a:cubicBezTo>
                    <a:pt x="8299" y="667"/>
                    <a:pt x="7799" y="977"/>
                    <a:pt x="7597" y="1465"/>
                  </a:cubicBezTo>
                  <a:cubicBezTo>
                    <a:pt x="7489" y="1417"/>
                    <a:pt x="7370" y="1382"/>
                    <a:pt x="7263" y="1334"/>
                  </a:cubicBezTo>
                  <a:cubicBezTo>
                    <a:pt x="7537" y="727"/>
                    <a:pt x="8156" y="310"/>
                    <a:pt x="8847" y="310"/>
                  </a:cubicBezTo>
                  <a:close/>
                  <a:moveTo>
                    <a:pt x="5430" y="1322"/>
                  </a:moveTo>
                  <a:cubicBezTo>
                    <a:pt x="6716" y="1322"/>
                    <a:pt x="7906" y="1798"/>
                    <a:pt x="8811" y="2679"/>
                  </a:cubicBezTo>
                  <a:cubicBezTo>
                    <a:pt x="9704" y="3548"/>
                    <a:pt x="10216" y="4715"/>
                    <a:pt x="10216" y="5930"/>
                  </a:cubicBezTo>
                  <a:cubicBezTo>
                    <a:pt x="10216" y="7168"/>
                    <a:pt x="9728" y="8311"/>
                    <a:pt x="8811" y="9192"/>
                  </a:cubicBezTo>
                  <a:cubicBezTo>
                    <a:pt x="7906" y="10073"/>
                    <a:pt x="6716" y="10549"/>
                    <a:pt x="5430" y="10549"/>
                  </a:cubicBezTo>
                  <a:cubicBezTo>
                    <a:pt x="4156" y="10549"/>
                    <a:pt x="2965" y="10073"/>
                    <a:pt x="2060" y="9192"/>
                  </a:cubicBezTo>
                  <a:cubicBezTo>
                    <a:pt x="1167" y="8323"/>
                    <a:pt x="655" y="7168"/>
                    <a:pt x="655" y="5930"/>
                  </a:cubicBezTo>
                  <a:cubicBezTo>
                    <a:pt x="655" y="4703"/>
                    <a:pt x="1143" y="3548"/>
                    <a:pt x="2060" y="2679"/>
                  </a:cubicBezTo>
                  <a:cubicBezTo>
                    <a:pt x="2965" y="1798"/>
                    <a:pt x="4156" y="1322"/>
                    <a:pt x="5430" y="1322"/>
                  </a:cubicBezTo>
                  <a:close/>
                  <a:moveTo>
                    <a:pt x="2024" y="0"/>
                  </a:moveTo>
                  <a:cubicBezTo>
                    <a:pt x="917" y="0"/>
                    <a:pt x="0" y="905"/>
                    <a:pt x="0" y="2024"/>
                  </a:cubicBezTo>
                  <a:cubicBezTo>
                    <a:pt x="0" y="2691"/>
                    <a:pt x="346" y="3334"/>
                    <a:pt x="893" y="3703"/>
                  </a:cubicBezTo>
                  <a:cubicBezTo>
                    <a:pt x="536" y="4382"/>
                    <a:pt x="346" y="5144"/>
                    <a:pt x="346" y="5930"/>
                  </a:cubicBezTo>
                  <a:cubicBezTo>
                    <a:pt x="346" y="7239"/>
                    <a:pt x="881" y="8490"/>
                    <a:pt x="1834" y="9418"/>
                  </a:cubicBezTo>
                  <a:cubicBezTo>
                    <a:pt x="2798" y="10335"/>
                    <a:pt x="4072" y="10859"/>
                    <a:pt x="5442" y="10859"/>
                  </a:cubicBezTo>
                  <a:cubicBezTo>
                    <a:pt x="6811" y="10859"/>
                    <a:pt x="8073" y="10359"/>
                    <a:pt x="9037" y="9418"/>
                  </a:cubicBezTo>
                  <a:cubicBezTo>
                    <a:pt x="10002" y="8490"/>
                    <a:pt x="10526" y="7239"/>
                    <a:pt x="10526" y="5930"/>
                  </a:cubicBezTo>
                  <a:cubicBezTo>
                    <a:pt x="10526" y="5144"/>
                    <a:pt x="10335" y="4382"/>
                    <a:pt x="9978" y="3703"/>
                  </a:cubicBezTo>
                  <a:cubicBezTo>
                    <a:pt x="10526" y="3322"/>
                    <a:pt x="10871" y="2703"/>
                    <a:pt x="10871" y="2024"/>
                  </a:cubicBezTo>
                  <a:cubicBezTo>
                    <a:pt x="10871" y="905"/>
                    <a:pt x="9966" y="0"/>
                    <a:pt x="8847" y="0"/>
                  </a:cubicBezTo>
                  <a:cubicBezTo>
                    <a:pt x="8025" y="0"/>
                    <a:pt x="7287" y="489"/>
                    <a:pt x="6966" y="1251"/>
                  </a:cubicBezTo>
                  <a:cubicBezTo>
                    <a:pt x="6477" y="1096"/>
                    <a:pt x="5977" y="1024"/>
                    <a:pt x="5442" y="1024"/>
                  </a:cubicBezTo>
                  <a:cubicBezTo>
                    <a:pt x="4918" y="1024"/>
                    <a:pt x="4394" y="1096"/>
                    <a:pt x="3906" y="1251"/>
                  </a:cubicBezTo>
                  <a:cubicBezTo>
                    <a:pt x="3596" y="500"/>
                    <a:pt x="2846" y="0"/>
                    <a:pt x="20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0" name="Google Shape;13010;p63"/>
            <p:cNvSpPr/>
            <p:nvPr/>
          </p:nvSpPr>
          <p:spPr>
            <a:xfrm>
              <a:off x="5333677" y="1663346"/>
              <a:ext cx="43456" cy="48032"/>
            </a:xfrm>
            <a:custGeom>
              <a:avLst/>
              <a:gdLst/>
              <a:ahLst/>
              <a:cxnLst/>
              <a:rect l="l" t="t" r="r" b="b"/>
              <a:pathLst>
                <a:path w="1358" h="1501" extrusionOk="0">
                  <a:moveTo>
                    <a:pt x="667" y="0"/>
                  </a:moveTo>
                  <a:cubicBezTo>
                    <a:pt x="298" y="0"/>
                    <a:pt x="0" y="298"/>
                    <a:pt x="0" y="667"/>
                  </a:cubicBezTo>
                  <a:lnTo>
                    <a:pt x="0" y="834"/>
                  </a:lnTo>
                  <a:cubicBezTo>
                    <a:pt x="0" y="1203"/>
                    <a:pt x="298" y="1501"/>
                    <a:pt x="667" y="1501"/>
                  </a:cubicBezTo>
                  <a:cubicBezTo>
                    <a:pt x="1036" y="1501"/>
                    <a:pt x="1334" y="1203"/>
                    <a:pt x="1334" y="834"/>
                  </a:cubicBezTo>
                  <a:lnTo>
                    <a:pt x="1334" y="667"/>
                  </a:lnTo>
                  <a:cubicBezTo>
                    <a:pt x="1357" y="596"/>
                    <a:pt x="1274" y="524"/>
                    <a:pt x="1191" y="524"/>
                  </a:cubicBezTo>
                  <a:cubicBezTo>
                    <a:pt x="1095" y="524"/>
                    <a:pt x="1024" y="596"/>
                    <a:pt x="1024" y="691"/>
                  </a:cubicBezTo>
                  <a:lnTo>
                    <a:pt x="1024" y="846"/>
                  </a:lnTo>
                  <a:cubicBezTo>
                    <a:pt x="1024" y="1048"/>
                    <a:pt x="857" y="1203"/>
                    <a:pt x="667" y="1203"/>
                  </a:cubicBezTo>
                  <a:cubicBezTo>
                    <a:pt x="476" y="1203"/>
                    <a:pt x="310" y="1048"/>
                    <a:pt x="310" y="846"/>
                  </a:cubicBezTo>
                  <a:lnTo>
                    <a:pt x="310" y="691"/>
                  </a:lnTo>
                  <a:cubicBezTo>
                    <a:pt x="310" y="489"/>
                    <a:pt x="476" y="334"/>
                    <a:pt x="667" y="334"/>
                  </a:cubicBezTo>
                  <a:cubicBezTo>
                    <a:pt x="762" y="334"/>
                    <a:pt x="833" y="250"/>
                    <a:pt x="833" y="167"/>
                  </a:cubicBezTo>
                  <a:cubicBezTo>
                    <a:pt x="833" y="72"/>
                    <a:pt x="762"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1" name="Google Shape;13011;p63"/>
            <p:cNvSpPr/>
            <p:nvPr/>
          </p:nvSpPr>
          <p:spPr>
            <a:xfrm>
              <a:off x="5463949" y="1663346"/>
              <a:ext cx="43488" cy="48032"/>
            </a:xfrm>
            <a:custGeom>
              <a:avLst/>
              <a:gdLst/>
              <a:ahLst/>
              <a:cxnLst/>
              <a:rect l="l" t="t" r="r" b="b"/>
              <a:pathLst>
                <a:path w="1359" h="1501" extrusionOk="0">
                  <a:moveTo>
                    <a:pt x="668" y="0"/>
                  </a:moveTo>
                  <a:cubicBezTo>
                    <a:pt x="299" y="0"/>
                    <a:pt x="1" y="298"/>
                    <a:pt x="1" y="667"/>
                  </a:cubicBezTo>
                  <a:lnTo>
                    <a:pt x="1" y="834"/>
                  </a:lnTo>
                  <a:cubicBezTo>
                    <a:pt x="1" y="1203"/>
                    <a:pt x="299" y="1501"/>
                    <a:pt x="668" y="1501"/>
                  </a:cubicBezTo>
                  <a:cubicBezTo>
                    <a:pt x="1049" y="1501"/>
                    <a:pt x="1346" y="1203"/>
                    <a:pt x="1346" y="834"/>
                  </a:cubicBezTo>
                  <a:lnTo>
                    <a:pt x="1346" y="667"/>
                  </a:lnTo>
                  <a:cubicBezTo>
                    <a:pt x="1358" y="596"/>
                    <a:pt x="1287" y="524"/>
                    <a:pt x="1192" y="524"/>
                  </a:cubicBezTo>
                  <a:cubicBezTo>
                    <a:pt x="1108" y="524"/>
                    <a:pt x="1037" y="596"/>
                    <a:pt x="1037" y="691"/>
                  </a:cubicBezTo>
                  <a:lnTo>
                    <a:pt x="1037" y="846"/>
                  </a:lnTo>
                  <a:cubicBezTo>
                    <a:pt x="1037" y="1048"/>
                    <a:pt x="870" y="1203"/>
                    <a:pt x="668" y="1203"/>
                  </a:cubicBezTo>
                  <a:cubicBezTo>
                    <a:pt x="477" y="1203"/>
                    <a:pt x="311" y="1048"/>
                    <a:pt x="311" y="846"/>
                  </a:cubicBezTo>
                  <a:lnTo>
                    <a:pt x="311" y="691"/>
                  </a:lnTo>
                  <a:cubicBezTo>
                    <a:pt x="311" y="489"/>
                    <a:pt x="477" y="334"/>
                    <a:pt x="668" y="334"/>
                  </a:cubicBezTo>
                  <a:cubicBezTo>
                    <a:pt x="763" y="334"/>
                    <a:pt x="834" y="250"/>
                    <a:pt x="834" y="167"/>
                  </a:cubicBezTo>
                  <a:cubicBezTo>
                    <a:pt x="834" y="72"/>
                    <a:pt x="763" y="0"/>
                    <a:pt x="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2" name="Google Shape;13012;p63"/>
            <p:cNvSpPr/>
            <p:nvPr/>
          </p:nvSpPr>
          <p:spPr>
            <a:xfrm>
              <a:off x="5365677" y="1730002"/>
              <a:ext cx="109760" cy="96064"/>
            </a:xfrm>
            <a:custGeom>
              <a:avLst/>
              <a:gdLst/>
              <a:ahLst/>
              <a:cxnLst/>
              <a:rect l="l" t="t" r="r" b="b"/>
              <a:pathLst>
                <a:path w="3430" h="3002" extrusionOk="0">
                  <a:moveTo>
                    <a:pt x="1703" y="287"/>
                  </a:moveTo>
                  <a:cubicBezTo>
                    <a:pt x="2012" y="287"/>
                    <a:pt x="2393" y="430"/>
                    <a:pt x="2393" y="644"/>
                  </a:cubicBezTo>
                  <a:cubicBezTo>
                    <a:pt x="2393" y="823"/>
                    <a:pt x="2096" y="1168"/>
                    <a:pt x="1703" y="1168"/>
                  </a:cubicBezTo>
                  <a:cubicBezTo>
                    <a:pt x="1322" y="1168"/>
                    <a:pt x="1024" y="823"/>
                    <a:pt x="1024" y="644"/>
                  </a:cubicBezTo>
                  <a:cubicBezTo>
                    <a:pt x="1024" y="430"/>
                    <a:pt x="1393" y="287"/>
                    <a:pt x="1703" y="287"/>
                  </a:cubicBezTo>
                  <a:close/>
                  <a:moveTo>
                    <a:pt x="1727" y="2025"/>
                  </a:moveTo>
                  <a:cubicBezTo>
                    <a:pt x="1822" y="2025"/>
                    <a:pt x="1917" y="2025"/>
                    <a:pt x="2024" y="2037"/>
                  </a:cubicBezTo>
                  <a:cubicBezTo>
                    <a:pt x="2179" y="2061"/>
                    <a:pt x="2319" y="2073"/>
                    <a:pt x="2447" y="2073"/>
                  </a:cubicBezTo>
                  <a:cubicBezTo>
                    <a:pt x="2575" y="2073"/>
                    <a:pt x="2691" y="2061"/>
                    <a:pt x="2798" y="2037"/>
                  </a:cubicBezTo>
                  <a:lnTo>
                    <a:pt x="2798" y="2037"/>
                  </a:lnTo>
                  <a:cubicBezTo>
                    <a:pt x="2679" y="2406"/>
                    <a:pt x="2239" y="2692"/>
                    <a:pt x="1727" y="2692"/>
                  </a:cubicBezTo>
                  <a:cubicBezTo>
                    <a:pt x="1203" y="2692"/>
                    <a:pt x="762" y="2418"/>
                    <a:pt x="655" y="2037"/>
                  </a:cubicBezTo>
                  <a:lnTo>
                    <a:pt x="655" y="2037"/>
                  </a:lnTo>
                  <a:cubicBezTo>
                    <a:pt x="756" y="2061"/>
                    <a:pt x="869" y="2073"/>
                    <a:pt x="997" y="2073"/>
                  </a:cubicBezTo>
                  <a:cubicBezTo>
                    <a:pt x="1125" y="2073"/>
                    <a:pt x="1268" y="2061"/>
                    <a:pt x="1429" y="2037"/>
                  </a:cubicBezTo>
                  <a:cubicBezTo>
                    <a:pt x="1524" y="2025"/>
                    <a:pt x="1619" y="2025"/>
                    <a:pt x="1727" y="2025"/>
                  </a:cubicBezTo>
                  <a:close/>
                  <a:moveTo>
                    <a:pt x="1703" y="1"/>
                  </a:moveTo>
                  <a:cubicBezTo>
                    <a:pt x="1143" y="1"/>
                    <a:pt x="691" y="299"/>
                    <a:pt x="691" y="668"/>
                  </a:cubicBezTo>
                  <a:cubicBezTo>
                    <a:pt x="691" y="858"/>
                    <a:pt x="810" y="1073"/>
                    <a:pt x="988" y="1239"/>
                  </a:cubicBezTo>
                  <a:cubicBezTo>
                    <a:pt x="1155" y="1370"/>
                    <a:pt x="1334" y="1454"/>
                    <a:pt x="1548" y="1501"/>
                  </a:cubicBezTo>
                  <a:lnTo>
                    <a:pt x="1548" y="1739"/>
                  </a:lnTo>
                  <a:cubicBezTo>
                    <a:pt x="1488" y="1739"/>
                    <a:pt x="1429" y="1763"/>
                    <a:pt x="1369" y="1763"/>
                  </a:cubicBezTo>
                  <a:cubicBezTo>
                    <a:pt x="1243" y="1776"/>
                    <a:pt x="1126" y="1783"/>
                    <a:pt x="1019" y="1783"/>
                  </a:cubicBezTo>
                  <a:cubicBezTo>
                    <a:pt x="723" y="1783"/>
                    <a:pt x="507" y="1731"/>
                    <a:pt x="393" y="1608"/>
                  </a:cubicBezTo>
                  <a:cubicBezTo>
                    <a:pt x="298" y="1501"/>
                    <a:pt x="322" y="1382"/>
                    <a:pt x="322" y="1370"/>
                  </a:cubicBezTo>
                  <a:cubicBezTo>
                    <a:pt x="334" y="1275"/>
                    <a:pt x="274" y="1204"/>
                    <a:pt x="203" y="1180"/>
                  </a:cubicBezTo>
                  <a:cubicBezTo>
                    <a:pt x="190" y="1176"/>
                    <a:pt x="177" y="1174"/>
                    <a:pt x="165" y="1174"/>
                  </a:cubicBezTo>
                  <a:cubicBezTo>
                    <a:pt x="95" y="1174"/>
                    <a:pt x="32" y="1228"/>
                    <a:pt x="12" y="1299"/>
                  </a:cubicBezTo>
                  <a:cubicBezTo>
                    <a:pt x="0" y="1394"/>
                    <a:pt x="0" y="1620"/>
                    <a:pt x="155" y="1799"/>
                  </a:cubicBezTo>
                  <a:cubicBezTo>
                    <a:pt x="191" y="1835"/>
                    <a:pt x="238" y="1858"/>
                    <a:pt x="262" y="1894"/>
                  </a:cubicBezTo>
                  <a:cubicBezTo>
                    <a:pt x="310" y="2513"/>
                    <a:pt x="929" y="3001"/>
                    <a:pt x="1691" y="3001"/>
                  </a:cubicBezTo>
                  <a:cubicBezTo>
                    <a:pt x="2453" y="3001"/>
                    <a:pt x="3072" y="2513"/>
                    <a:pt x="3120" y="1894"/>
                  </a:cubicBezTo>
                  <a:cubicBezTo>
                    <a:pt x="3167" y="1858"/>
                    <a:pt x="3191" y="1835"/>
                    <a:pt x="3227" y="1799"/>
                  </a:cubicBezTo>
                  <a:cubicBezTo>
                    <a:pt x="3417" y="1620"/>
                    <a:pt x="3429" y="1406"/>
                    <a:pt x="3405" y="1299"/>
                  </a:cubicBezTo>
                  <a:cubicBezTo>
                    <a:pt x="3396" y="1223"/>
                    <a:pt x="3333" y="1169"/>
                    <a:pt x="3266" y="1169"/>
                  </a:cubicBezTo>
                  <a:cubicBezTo>
                    <a:pt x="3249" y="1169"/>
                    <a:pt x="3232" y="1173"/>
                    <a:pt x="3215" y="1180"/>
                  </a:cubicBezTo>
                  <a:cubicBezTo>
                    <a:pt x="3120" y="1192"/>
                    <a:pt x="3060" y="1275"/>
                    <a:pt x="3096" y="1370"/>
                  </a:cubicBezTo>
                  <a:cubicBezTo>
                    <a:pt x="3096" y="1370"/>
                    <a:pt x="3108" y="1501"/>
                    <a:pt x="3012" y="1608"/>
                  </a:cubicBezTo>
                  <a:cubicBezTo>
                    <a:pt x="2905" y="1725"/>
                    <a:pt x="2682" y="1781"/>
                    <a:pt x="2375" y="1781"/>
                  </a:cubicBezTo>
                  <a:cubicBezTo>
                    <a:pt x="2275" y="1781"/>
                    <a:pt x="2165" y="1775"/>
                    <a:pt x="2048" y="1763"/>
                  </a:cubicBezTo>
                  <a:cubicBezTo>
                    <a:pt x="1989" y="1739"/>
                    <a:pt x="1929" y="1739"/>
                    <a:pt x="1869" y="1739"/>
                  </a:cubicBezTo>
                  <a:lnTo>
                    <a:pt x="1869" y="1501"/>
                  </a:lnTo>
                  <a:cubicBezTo>
                    <a:pt x="2060" y="1477"/>
                    <a:pt x="2250" y="1382"/>
                    <a:pt x="2417" y="1239"/>
                  </a:cubicBezTo>
                  <a:cubicBezTo>
                    <a:pt x="2620" y="1073"/>
                    <a:pt x="2715" y="858"/>
                    <a:pt x="2715" y="668"/>
                  </a:cubicBezTo>
                  <a:cubicBezTo>
                    <a:pt x="2715" y="299"/>
                    <a:pt x="2274"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13" name="Google Shape;13013;p63"/>
          <p:cNvGrpSpPr/>
          <p:nvPr/>
        </p:nvGrpSpPr>
        <p:grpSpPr>
          <a:xfrm>
            <a:off x="5796589" y="1500658"/>
            <a:ext cx="349024" cy="346752"/>
            <a:chOff x="5796589" y="1500658"/>
            <a:chExt cx="349024" cy="346752"/>
          </a:xfrm>
        </p:grpSpPr>
        <p:sp>
          <p:nvSpPr>
            <p:cNvPr id="13014" name="Google Shape;13014;p63"/>
            <p:cNvSpPr/>
            <p:nvPr/>
          </p:nvSpPr>
          <p:spPr>
            <a:xfrm>
              <a:off x="6089933" y="1500658"/>
              <a:ext cx="11104" cy="20992"/>
            </a:xfrm>
            <a:custGeom>
              <a:avLst/>
              <a:gdLst/>
              <a:ahLst/>
              <a:cxnLst/>
              <a:rect l="l" t="t" r="r" b="b"/>
              <a:pathLst>
                <a:path w="347" h="656" extrusionOk="0">
                  <a:moveTo>
                    <a:pt x="168" y="0"/>
                  </a:moveTo>
                  <a:cubicBezTo>
                    <a:pt x="72" y="0"/>
                    <a:pt x="1" y="72"/>
                    <a:pt x="1" y="155"/>
                  </a:cubicBezTo>
                  <a:cubicBezTo>
                    <a:pt x="1" y="155"/>
                    <a:pt x="1" y="310"/>
                    <a:pt x="13" y="500"/>
                  </a:cubicBezTo>
                  <a:cubicBezTo>
                    <a:pt x="13" y="596"/>
                    <a:pt x="84" y="655"/>
                    <a:pt x="180" y="655"/>
                  </a:cubicBezTo>
                  <a:lnTo>
                    <a:pt x="191" y="655"/>
                  </a:lnTo>
                  <a:cubicBezTo>
                    <a:pt x="287" y="655"/>
                    <a:pt x="346" y="572"/>
                    <a:pt x="346" y="489"/>
                  </a:cubicBezTo>
                  <a:cubicBezTo>
                    <a:pt x="322" y="298"/>
                    <a:pt x="322" y="155"/>
                    <a:pt x="322" y="155"/>
                  </a:cubicBez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15" name="Google Shape;13015;p63"/>
            <p:cNvGrpSpPr/>
            <p:nvPr/>
          </p:nvGrpSpPr>
          <p:grpSpPr>
            <a:xfrm>
              <a:off x="5796589" y="1500658"/>
              <a:ext cx="349024" cy="346752"/>
              <a:chOff x="5796589" y="1500658"/>
              <a:chExt cx="349024" cy="346752"/>
            </a:xfrm>
          </p:grpSpPr>
          <p:sp>
            <p:nvSpPr>
              <p:cNvPr id="13016" name="Google Shape;13016;p63"/>
              <p:cNvSpPr/>
              <p:nvPr/>
            </p:nvSpPr>
            <p:spPr>
              <a:xfrm>
                <a:off x="5893357" y="1544018"/>
                <a:ext cx="14496" cy="15328"/>
              </a:xfrm>
              <a:custGeom>
                <a:avLst/>
                <a:gdLst/>
                <a:ahLst/>
                <a:cxnLst/>
                <a:rect l="l" t="t" r="r" b="b"/>
                <a:pathLst>
                  <a:path w="453" h="479" extrusionOk="0">
                    <a:moveTo>
                      <a:pt x="271" y="1"/>
                    </a:moveTo>
                    <a:cubicBezTo>
                      <a:pt x="211" y="1"/>
                      <a:pt x="149" y="34"/>
                      <a:pt x="131" y="86"/>
                    </a:cubicBezTo>
                    <a:cubicBezTo>
                      <a:pt x="131" y="86"/>
                      <a:pt x="96" y="146"/>
                      <a:pt x="36" y="229"/>
                    </a:cubicBezTo>
                    <a:cubicBezTo>
                      <a:pt x="0" y="312"/>
                      <a:pt x="12" y="408"/>
                      <a:pt x="84" y="455"/>
                    </a:cubicBezTo>
                    <a:cubicBezTo>
                      <a:pt x="119" y="467"/>
                      <a:pt x="143" y="479"/>
                      <a:pt x="167" y="479"/>
                    </a:cubicBezTo>
                    <a:cubicBezTo>
                      <a:pt x="238" y="479"/>
                      <a:pt x="274" y="455"/>
                      <a:pt x="310" y="408"/>
                    </a:cubicBezTo>
                    <a:cubicBezTo>
                      <a:pt x="381" y="312"/>
                      <a:pt x="417" y="229"/>
                      <a:pt x="417" y="217"/>
                    </a:cubicBezTo>
                    <a:cubicBezTo>
                      <a:pt x="453" y="146"/>
                      <a:pt x="417" y="50"/>
                      <a:pt x="334" y="15"/>
                    </a:cubicBezTo>
                    <a:cubicBezTo>
                      <a:pt x="315" y="5"/>
                      <a:pt x="293" y="1"/>
                      <a:pt x="2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7" name="Google Shape;13017;p63"/>
              <p:cNvSpPr/>
              <p:nvPr/>
            </p:nvSpPr>
            <p:spPr>
              <a:xfrm>
                <a:off x="5905165" y="1696114"/>
                <a:ext cx="32416" cy="37760"/>
              </a:xfrm>
              <a:custGeom>
                <a:avLst/>
                <a:gdLst/>
                <a:ahLst/>
                <a:cxnLst/>
                <a:rect l="l" t="t" r="r" b="b"/>
                <a:pathLst>
                  <a:path w="1013" h="1180" extrusionOk="0">
                    <a:moveTo>
                      <a:pt x="524" y="334"/>
                    </a:moveTo>
                    <a:cubicBezTo>
                      <a:pt x="620" y="334"/>
                      <a:pt x="703" y="405"/>
                      <a:pt x="703" y="512"/>
                    </a:cubicBezTo>
                    <a:lnTo>
                      <a:pt x="703" y="679"/>
                    </a:lnTo>
                    <a:cubicBezTo>
                      <a:pt x="703" y="774"/>
                      <a:pt x="620" y="858"/>
                      <a:pt x="524" y="858"/>
                    </a:cubicBezTo>
                    <a:cubicBezTo>
                      <a:pt x="417" y="858"/>
                      <a:pt x="346" y="774"/>
                      <a:pt x="346" y="679"/>
                    </a:cubicBezTo>
                    <a:lnTo>
                      <a:pt x="346" y="512"/>
                    </a:lnTo>
                    <a:cubicBezTo>
                      <a:pt x="346" y="405"/>
                      <a:pt x="417" y="334"/>
                      <a:pt x="524" y="334"/>
                    </a:cubicBezTo>
                    <a:close/>
                    <a:moveTo>
                      <a:pt x="500" y="0"/>
                    </a:moveTo>
                    <a:cubicBezTo>
                      <a:pt x="239" y="0"/>
                      <a:pt x="0" y="227"/>
                      <a:pt x="0" y="512"/>
                    </a:cubicBezTo>
                    <a:lnTo>
                      <a:pt x="0" y="679"/>
                    </a:lnTo>
                    <a:cubicBezTo>
                      <a:pt x="0" y="941"/>
                      <a:pt x="215" y="1179"/>
                      <a:pt x="500" y="1179"/>
                    </a:cubicBezTo>
                    <a:cubicBezTo>
                      <a:pt x="774" y="1179"/>
                      <a:pt x="1012" y="953"/>
                      <a:pt x="1012" y="679"/>
                    </a:cubicBezTo>
                    <a:lnTo>
                      <a:pt x="1012" y="512"/>
                    </a:lnTo>
                    <a:cubicBezTo>
                      <a:pt x="1012" y="227"/>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8" name="Google Shape;13018;p63"/>
              <p:cNvSpPr/>
              <p:nvPr/>
            </p:nvSpPr>
            <p:spPr>
              <a:xfrm>
                <a:off x="6003085" y="1696114"/>
                <a:ext cx="32416" cy="37760"/>
              </a:xfrm>
              <a:custGeom>
                <a:avLst/>
                <a:gdLst/>
                <a:ahLst/>
                <a:cxnLst/>
                <a:rect l="l" t="t" r="r" b="b"/>
                <a:pathLst>
                  <a:path w="1013" h="1180" extrusionOk="0">
                    <a:moveTo>
                      <a:pt x="512" y="334"/>
                    </a:moveTo>
                    <a:cubicBezTo>
                      <a:pt x="619" y="334"/>
                      <a:pt x="691" y="405"/>
                      <a:pt x="691" y="512"/>
                    </a:cubicBezTo>
                    <a:lnTo>
                      <a:pt x="691" y="679"/>
                    </a:lnTo>
                    <a:cubicBezTo>
                      <a:pt x="691" y="774"/>
                      <a:pt x="619" y="858"/>
                      <a:pt x="512" y="858"/>
                    </a:cubicBezTo>
                    <a:cubicBezTo>
                      <a:pt x="405" y="858"/>
                      <a:pt x="334" y="774"/>
                      <a:pt x="334" y="679"/>
                    </a:cubicBezTo>
                    <a:lnTo>
                      <a:pt x="334" y="512"/>
                    </a:lnTo>
                    <a:cubicBezTo>
                      <a:pt x="334" y="405"/>
                      <a:pt x="405" y="334"/>
                      <a:pt x="512" y="334"/>
                    </a:cubicBezTo>
                    <a:close/>
                    <a:moveTo>
                      <a:pt x="512" y="0"/>
                    </a:moveTo>
                    <a:cubicBezTo>
                      <a:pt x="238" y="0"/>
                      <a:pt x="0" y="227"/>
                      <a:pt x="0" y="512"/>
                    </a:cubicBezTo>
                    <a:lnTo>
                      <a:pt x="0" y="679"/>
                    </a:lnTo>
                    <a:cubicBezTo>
                      <a:pt x="0" y="941"/>
                      <a:pt x="227" y="1179"/>
                      <a:pt x="512" y="1179"/>
                    </a:cubicBezTo>
                    <a:cubicBezTo>
                      <a:pt x="798" y="1179"/>
                      <a:pt x="1012" y="953"/>
                      <a:pt x="1012" y="679"/>
                    </a:cubicBezTo>
                    <a:lnTo>
                      <a:pt x="1012" y="512"/>
                    </a:lnTo>
                    <a:cubicBezTo>
                      <a:pt x="1012" y="227"/>
                      <a:pt x="786"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9" name="Google Shape;13019;p63"/>
              <p:cNvSpPr/>
              <p:nvPr/>
            </p:nvSpPr>
            <p:spPr>
              <a:xfrm>
                <a:off x="5796589" y="1500658"/>
                <a:ext cx="349024" cy="346752"/>
              </a:xfrm>
              <a:custGeom>
                <a:avLst/>
                <a:gdLst/>
                <a:ahLst/>
                <a:cxnLst/>
                <a:rect l="l" t="t" r="r" b="b"/>
                <a:pathLst>
                  <a:path w="10907" h="10836" extrusionOk="0">
                    <a:moveTo>
                      <a:pt x="8215" y="4060"/>
                    </a:moveTo>
                    <a:lnTo>
                      <a:pt x="8215" y="4060"/>
                    </a:lnTo>
                    <a:cubicBezTo>
                      <a:pt x="7977" y="4227"/>
                      <a:pt x="7739" y="4430"/>
                      <a:pt x="7525" y="4668"/>
                    </a:cubicBezTo>
                    <a:cubicBezTo>
                      <a:pt x="7453" y="4596"/>
                      <a:pt x="7382" y="4525"/>
                      <a:pt x="7287" y="4441"/>
                    </a:cubicBezTo>
                    <a:cubicBezTo>
                      <a:pt x="7513" y="4358"/>
                      <a:pt x="7823" y="4203"/>
                      <a:pt x="8215" y="4060"/>
                    </a:cubicBezTo>
                    <a:close/>
                    <a:moveTo>
                      <a:pt x="2631" y="4072"/>
                    </a:moveTo>
                    <a:lnTo>
                      <a:pt x="2631" y="4072"/>
                    </a:lnTo>
                    <a:cubicBezTo>
                      <a:pt x="3036" y="4203"/>
                      <a:pt x="3358" y="4358"/>
                      <a:pt x="3560" y="4465"/>
                    </a:cubicBezTo>
                    <a:cubicBezTo>
                      <a:pt x="3465" y="4537"/>
                      <a:pt x="3393" y="4608"/>
                      <a:pt x="3322" y="4680"/>
                    </a:cubicBezTo>
                    <a:cubicBezTo>
                      <a:pt x="3108" y="4430"/>
                      <a:pt x="2870" y="4239"/>
                      <a:pt x="2631" y="4072"/>
                    </a:cubicBezTo>
                    <a:close/>
                    <a:moveTo>
                      <a:pt x="1357" y="3775"/>
                    </a:moveTo>
                    <a:lnTo>
                      <a:pt x="1357" y="3775"/>
                    </a:lnTo>
                    <a:cubicBezTo>
                      <a:pt x="1738" y="3906"/>
                      <a:pt x="2608" y="4263"/>
                      <a:pt x="3120" y="4953"/>
                    </a:cubicBezTo>
                    <a:cubicBezTo>
                      <a:pt x="3060" y="5049"/>
                      <a:pt x="3001" y="5168"/>
                      <a:pt x="2941" y="5287"/>
                    </a:cubicBezTo>
                    <a:cubicBezTo>
                      <a:pt x="1655" y="5192"/>
                      <a:pt x="1393" y="4215"/>
                      <a:pt x="1357" y="3775"/>
                    </a:cubicBezTo>
                    <a:close/>
                    <a:moveTo>
                      <a:pt x="9513" y="3775"/>
                    </a:moveTo>
                    <a:cubicBezTo>
                      <a:pt x="9466" y="4215"/>
                      <a:pt x="9216" y="5192"/>
                      <a:pt x="7918" y="5299"/>
                    </a:cubicBezTo>
                    <a:cubicBezTo>
                      <a:pt x="7870" y="5180"/>
                      <a:pt x="7811" y="5061"/>
                      <a:pt x="7739" y="4953"/>
                    </a:cubicBezTo>
                    <a:cubicBezTo>
                      <a:pt x="8275" y="4263"/>
                      <a:pt x="9120" y="3906"/>
                      <a:pt x="9513" y="3775"/>
                    </a:cubicBezTo>
                    <a:close/>
                    <a:moveTo>
                      <a:pt x="5429" y="8823"/>
                    </a:moveTo>
                    <a:cubicBezTo>
                      <a:pt x="5775" y="8823"/>
                      <a:pt x="5953" y="8966"/>
                      <a:pt x="5953" y="9025"/>
                    </a:cubicBezTo>
                    <a:cubicBezTo>
                      <a:pt x="5953" y="9132"/>
                      <a:pt x="5727" y="9359"/>
                      <a:pt x="5429" y="9359"/>
                    </a:cubicBezTo>
                    <a:cubicBezTo>
                      <a:pt x="5132" y="9347"/>
                      <a:pt x="4906" y="9121"/>
                      <a:pt x="4906" y="9025"/>
                    </a:cubicBezTo>
                    <a:cubicBezTo>
                      <a:pt x="4906" y="8966"/>
                      <a:pt x="5084" y="8823"/>
                      <a:pt x="5429" y="8823"/>
                    </a:cubicBezTo>
                    <a:close/>
                    <a:moveTo>
                      <a:pt x="5429" y="4251"/>
                    </a:moveTo>
                    <a:cubicBezTo>
                      <a:pt x="6287" y="4251"/>
                      <a:pt x="6930" y="4465"/>
                      <a:pt x="7322" y="4918"/>
                    </a:cubicBezTo>
                    <a:cubicBezTo>
                      <a:pt x="7644" y="5311"/>
                      <a:pt x="7811" y="5894"/>
                      <a:pt x="7811" y="6620"/>
                    </a:cubicBezTo>
                    <a:cubicBezTo>
                      <a:pt x="7811" y="7442"/>
                      <a:pt x="7644" y="7644"/>
                      <a:pt x="7215" y="8168"/>
                    </a:cubicBezTo>
                    <a:cubicBezTo>
                      <a:pt x="7132" y="8287"/>
                      <a:pt x="7001" y="8418"/>
                      <a:pt x="6882" y="8585"/>
                    </a:cubicBezTo>
                    <a:cubicBezTo>
                      <a:pt x="6870" y="8537"/>
                      <a:pt x="6858" y="8478"/>
                      <a:pt x="6822" y="8430"/>
                    </a:cubicBezTo>
                    <a:cubicBezTo>
                      <a:pt x="6797" y="8379"/>
                      <a:pt x="6740" y="8339"/>
                      <a:pt x="6684" y="8339"/>
                    </a:cubicBezTo>
                    <a:cubicBezTo>
                      <a:pt x="6662" y="8339"/>
                      <a:pt x="6640" y="8345"/>
                      <a:pt x="6620" y="8359"/>
                    </a:cubicBezTo>
                    <a:cubicBezTo>
                      <a:pt x="6549" y="8406"/>
                      <a:pt x="6501" y="8490"/>
                      <a:pt x="6549" y="8561"/>
                    </a:cubicBezTo>
                    <a:cubicBezTo>
                      <a:pt x="6608" y="8668"/>
                      <a:pt x="6620" y="8787"/>
                      <a:pt x="6620" y="8906"/>
                    </a:cubicBezTo>
                    <a:cubicBezTo>
                      <a:pt x="6620" y="9502"/>
                      <a:pt x="6275" y="9823"/>
                      <a:pt x="5572" y="9847"/>
                    </a:cubicBezTo>
                    <a:lnTo>
                      <a:pt x="5572" y="9644"/>
                    </a:lnTo>
                    <a:cubicBezTo>
                      <a:pt x="5965" y="9561"/>
                      <a:pt x="6263" y="9263"/>
                      <a:pt x="6263" y="9013"/>
                    </a:cubicBezTo>
                    <a:cubicBezTo>
                      <a:pt x="6263" y="8716"/>
                      <a:pt x="5906" y="8490"/>
                      <a:pt x="5429" y="8490"/>
                    </a:cubicBezTo>
                    <a:cubicBezTo>
                      <a:pt x="4953" y="8490"/>
                      <a:pt x="4596" y="8716"/>
                      <a:pt x="4596" y="9013"/>
                    </a:cubicBezTo>
                    <a:cubicBezTo>
                      <a:pt x="4596" y="9263"/>
                      <a:pt x="4894" y="9585"/>
                      <a:pt x="5275" y="9644"/>
                    </a:cubicBezTo>
                    <a:lnTo>
                      <a:pt x="5275" y="9847"/>
                    </a:lnTo>
                    <a:cubicBezTo>
                      <a:pt x="4584" y="9799"/>
                      <a:pt x="4239" y="9502"/>
                      <a:pt x="4239" y="8906"/>
                    </a:cubicBezTo>
                    <a:cubicBezTo>
                      <a:pt x="4239" y="8382"/>
                      <a:pt x="4775" y="7954"/>
                      <a:pt x="5441" y="7954"/>
                    </a:cubicBezTo>
                    <a:cubicBezTo>
                      <a:pt x="5679" y="7954"/>
                      <a:pt x="5906" y="8013"/>
                      <a:pt x="6108" y="8120"/>
                    </a:cubicBezTo>
                    <a:cubicBezTo>
                      <a:pt x="6134" y="8135"/>
                      <a:pt x="6162" y="8142"/>
                      <a:pt x="6188" y="8142"/>
                    </a:cubicBezTo>
                    <a:cubicBezTo>
                      <a:pt x="6245" y="8142"/>
                      <a:pt x="6298" y="8110"/>
                      <a:pt x="6322" y="8061"/>
                    </a:cubicBezTo>
                    <a:cubicBezTo>
                      <a:pt x="6370" y="7990"/>
                      <a:pt x="6334" y="7882"/>
                      <a:pt x="6263" y="7859"/>
                    </a:cubicBezTo>
                    <a:cubicBezTo>
                      <a:pt x="6025" y="7716"/>
                      <a:pt x="5739" y="7656"/>
                      <a:pt x="5441" y="7656"/>
                    </a:cubicBezTo>
                    <a:cubicBezTo>
                      <a:pt x="4739" y="7656"/>
                      <a:pt x="4144" y="8061"/>
                      <a:pt x="3965" y="8597"/>
                    </a:cubicBezTo>
                    <a:cubicBezTo>
                      <a:pt x="3846" y="8430"/>
                      <a:pt x="3727" y="8299"/>
                      <a:pt x="3643" y="8180"/>
                    </a:cubicBezTo>
                    <a:cubicBezTo>
                      <a:pt x="3215" y="7644"/>
                      <a:pt x="3048" y="7454"/>
                      <a:pt x="3048" y="6632"/>
                    </a:cubicBezTo>
                    <a:cubicBezTo>
                      <a:pt x="3048" y="5894"/>
                      <a:pt x="3215" y="5323"/>
                      <a:pt x="3536" y="4942"/>
                    </a:cubicBezTo>
                    <a:cubicBezTo>
                      <a:pt x="3929" y="4477"/>
                      <a:pt x="4560" y="4251"/>
                      <a:pt x="5429" y="4251"/>
                    </a:cubicBezTo>
                    <a:close/>
                    <a:moveTo>
                      <a:pt x="4596" y="10025"/>
                    </a:moveTo>
                    <a:cubicBezTo>
                      <a:pt x="4822" y="10121"/>
                      <a:pt x="5108" y="10180"/>
                      <a:pt x="5429" y="10180"/>
                    </a:cubicBezTo>
                    <a:cubicBezTo>
                      <a:pt x="5751" y="10180"/>
                      <a:pt x="6037" y="10133"/>
                      <a:pt x="6263" y="10025"/>
                    </a:cubicBezTo>
                    <a:lnTo>
                      <a:pt x="6263" y="10025"/>
                    </a:lnTo>
                    <a:cubicBezTo>
                      <a:pt x="6179" y="10383"/>
                      <a:pt x="5906" y="10537"/>
                      <a:pt x="5429" y="10537"/>
                    </a:cubicBezTo>
                    <a:cubicBezTo>
                      <a:pt x="4953" y="10537"/>
                      <a:pt x="4691" y="10371"/>
                      <a:pt x="4596" y="10025"/>
                    </a:cubicBezTo>
                    <a:close/>
                    <a:moveTo>
                      <a:pt x="1560" y="0"/>
                    </a:moveTo>
                    <a:cubicBezTo>
                      <a:pt x="1465" y="0"/>
                      <a:pt x="1393" y="72"/>
                      <a:pt x="1393" y="155"/>
                    </a:cubicBezTo>
                    <a:cubicBezTo>
                      <a:pt x="1393" y="512"/>
                      <a:pt x="1334" y="1524"/>
                      <a:pt x="1096" y="1917"/>
                    </a:cubicBezTo>
                    <a:cubicBezTo>
                      <a:pt x="834" y="1691"/>
                      <a:pt x="619" y="1441"/>
                      <a:pt x="500" y="1120"/>
                    </a:cubicBezTo>
                    <a:cubicBezTo>
                      <a:pt x="322" y="691"/>
                      <a:pt x="357" y="346"/>
                      <a:pt x="357" y="334"/>
                    </a:cubicBezTo>
                    <a:cubicBezTo>
                      <a:pt x="369" y="250"/>
                      <a:pt x="298" y="167"/>
                      <a:pt x="214" y="155"/>
                    </a:cubicBezTo>
                    <a:cubicBezTo>
                      <a:pt x="208" y="154"/>
                      <a:pt x="202" y="154"/>
                      <a:pt x="196" y="154"/>
                    </a:cubicBezTo>
                    <a:cubicBezTo>
                      <a:pt x="121" y="154"/>
                      <a:pt x="58" y="220"/>
                      <a:pt x="36" y="286"/>
                    </a:cubicBezTo>
                    <a:cubicBezTo>
                      <a:pt x="36" y="310"/>
                      <a:pt x="0" y="727"/>
                      <a:pt x="203" y="1215"/>
                    </a:cubicBezTo>
                    <a:cubicBezTo>
                      <a:pt x="393" y="1679"/>
                      <a:pt x="834" y="2286"/>
                      <a:pt x="1858" y="2656"/>
                    </a:cubicBezTo>
                    <a:cubicBezTo>
                      <a:pt x="3286" y="3179"/>
                      <a:pt x="4084" y="3775"/>
                      <a:pt x="4382" y="4025"/>
                    </a:cubicBezTo>
                    <a:cubicBezTo>
                      <a:pt x="4227" y="4084"/>
                      <a:pt x="4060" y="4144"/>
                      <a:pt x="3905" y="4215"/>
                    </a:cubicBezTo>
                    <a:cubicBezTo>
                      <a:pt x="3596" y="4060"/>
                      <a:pt x="2417" y="3465"/>
                      <a:pt x="1250" y="3370"/>
                    </a:cubicBezTo>
                    <a:cubicBezTo>
                      <a:pt x="1203" y="3370"/>
                      <a:pt x="1155" y="3394"/>
                      <a:pt x="1131" y="3418"/>
                    </a:cubicBezTo>
                    <a:cubicBezTo>
                      <a:pt x="1096" y="3453"/>
                      <a:pt x="1084" y="3489"/>
                      <a:pt x="1072" y="3537"/>
                    </a:cubicBezTo>
                    <a:cubicBezTo>
                      <a:pt x="1072" y="3548"/>
                      <a:pt x="1048" y="4025"/>
                      <a:pt x="1286" y="4537"/>
                    </a:cubicBezTo>
                    <a:cubicBezTo>
                      <a:pt x="1500" y="4965"/>
                      <a:pt x="1941" y="5501"/>
                      <a:pt x="2893" y="5596"/>
                    </a:cubicBezTo>
                    <a:cubicBezTo>
                      <a:pt x="2822" y="5894"/>
                      <a:pt x="2774" y="6227"/>
                      <a:pt x="2774" y="6608"/>
                    </a:cubicBezTo>
                    <a:cubicBezTo>
                      <a:pt x="2774" y="7537"/>
                      <a:pt x="2989" y="7799"/>
                      <a:pt x="3453" y="8359"/>
                    </a:cubicBezTo>
                    <a:cubicBezTo>
                      <a:pt x="3596" y="8537"/>
                      <a:pt x="3774" y="8763"/>
                      <a:pt x="3989" y="9049"/>
                    </a:cubicBezTo>
                    <a:cubicBezTo>
                      <a:pt x="4013" y="9359"/>
                      <a:pt x="4120" y="9609"/>
                      <a:pt x="4322" y="9787"/>
                    </a:cubicBezTo>
                    <a:cubicBezTo>
                      <a:pt x="4346" y="10454"/>
                      <a:pt x="4763" y="10835"/>
                      <a:pt x="5501" y="10835"/>
                    </a:cubicBezTo>
                    <a:cubicBezTo>
                      <a:pt x="6251" y="10835"/>
                      <a:pt x="6668" y="10454"/>
                      <a:pt x="6680" y="9787"/>
                    </a:cubicBezTo>
                    <a:cubicBezTo>
                      <a:pt x="6870" y="9597"/>
                      <a:pt x="6989" y="9347"/>
                      <a:pt x="7025" y="9049"/>
                    </a:cubicBezTo>
                    <a:cubicBezTo>
                      <a:pt x="7227" y="8763"/>
                      <a:pt x="7406" y="8537"/>
                      <a:pt x="7561" y="8359"/>
                    </a:cubicBezTo>
                    <a:cubicBezTo>
                      <a:pt x="8013" y="7799"/>
                      <a:pt x="8227" y="7537"/>
                      <a:pt x="8227" y="6608"/>
                    </a:cubicBezTo>
                    <a:cubicBezTo>
                      <a:pt x="8227" y="6227"/>
                      <a:pt x="8180" y="5894"/>
                      <a:pt x="8108" y="5596"/>
                    </a:cubicBezTo>
                    <a:cubicBezTo>
                      <a:pt x="9061" y="5489"/>
                      <a:pt x="9501" y="4965"/>
                      <a:pt x="9716" y="4537"/>
                    </a:cubicBezTo>
                    <a:cubicBezTo>
                      <a:pt x="9954" y="4049"/>
                      <a:pt x="9942" y="3572"/>
                      <a:pt x="9942" y="3537"/>
                    </a:cubicBezTo>
                    <a:cubicBezTo>
                      <a:pt x="9942" y="3489"/>
                      <a:pt x="9918" y="3453"/>
                      <a:pt x="9882" y="3418"/>
                    </a:cubicBezTo>
                    <a:cubicBezTo>
                      <a:pt x="9847" y="3394"/>
                      <a:pt x="9799" y="3370"/>
                      <a:pt x="9763" y="3370"/>
                    </a:cubicBezTo>
                    <a:cubicBezTo>
                      <a:pt x="8585" y="3477"/>
                      <a:pt x="7406" y="4060"/>
                      <a:pt x="7096" y="4215"/>
                    </a:cubicBezTo>
                    <a:cubicBezTo>
                      <a:pt x="6941" y="4144"/>
                      <a:pt x="6799" y="4072"/>
                      <a:pt x="6620" y="4025"/>
                    </a:cubicBezTo>
                    <a:cubicBezTo>
                      <a:pt x="6918" y="3775"/>
                      <a:pt x="7703" y="3179"/>
                      <a:pt x="9144" y="2656"/>
                    </a:cubicBezTo>
                    <a:cubicBezTo>
                      <a:pt x="10180" y="2286"/>
                      <a:pt x="10609" y="1667"/>
                      <a:pt x="10799" y="1215"/>
                    </a:cubicBezTo>
                    <a:cubicBezTo>
                      <a:pt x="10906" y="739"/>
                      <a:pt x="10859" y="322"/>
                      <a:pt x="10859" y="310"/>
                    </a:cubicBezTo>
                    <a:cubicBezTo>
                      <a:pt x="10849" y="229"/>
                      <a:pt x="10795" y="174"/>
                      <a:pt x="10721" y="174"/>
                    </a:cubicBezTo>
                    <a:cubicBezTo>
                      <a:pt x="10708" y="174"/>
                      <a:pt x="10694" y="175"/>
                      <a:pt x="10680" y="179"/>
                    </a:cubicBezTo>
                    <a:cubicBezTo>
                      <a:pt x="10597" y="191"/>
                      <a:pt x="10537" y="262"/>
                      <a:pt x="10549" y="346"/>
                    </a:cubicBezTo>
                    <a:cubicBezTo>
                      <a:pt x="10549" y="346"/>
                      <a:pt x="10585" y="715"/>
                      <a:pt x="10406" y="1143"/>
                    </a:cubicBezTo>
                    <a:cubicBezTo>
                      <a:pt x="10263" y="1453"/>
                      <a:pt x="10073" y="1703"/>
                      <a:pt x="9811" y="1929"/>
                    </a:cubicBezTo>
                    <a:cubicBezTo>
                      <a:pt x="9716" y="1786"/>
                      <a:pt x="9620" y="1513"/>
                      <a:pt x="9585" y="1167"/>
                    </a:cubicBezTo>
                    <a:cubicBezTo>
                      <a:pt x="9574" y="1091"/>
                      <a:pt x="9503" y="1035"/>
                      <a:pt x="9427" y="1035"/>
                    </a:cubicBezTo>
                    <a:cubicBezTo>
                      <a:pt x="9420" y="1035"/>
                      <a:pt x="9413" y="1035"/>
                      <a:pt x="9406" y="1036"/>
                    </a:cubicBezTo>
                    <a:cubicBezTo>
                      <a:pt x="9311" y="1048"/>
                      <a:pt x="9251" y="1132"/>
                      <a:pt x="9263" y="1215"/>
                    </a:cubicBezTo>
                    <a:cubicBezTo>
                      <a:pt x="9323" y="1620"/>
                      <a:pt x="9418" y="1929"/>
                      <a:pt x="9549" y="2120"/>
                    </a:cubicBezTo>
                    <a:cubicBezTo>
                      <a:pt x="9370" y="2227"/>
                      <a:pt x="9180" y="2334"/>
                      <a:pt x="8954" y="2405"/>
                    </a:cubicBezTo>
                    <a:cubicBezTo>
                      <a:pt x="8704" y="2501"/>
                      <a:pt x="8465" y="2596"/>
                      <a:pt x="8239" y="2691"/>
                    </a:cubicBezTo>
                    <a:cubicBezTo>
                      <a:pt x="8573" y="2191"/>
                      <a:pt x="8763" y="1739"/>
                      <a:pt x="8549" y="1060"/>
                    </a:cubicBezTo>
                    <a:cubicBezTo>
                      <a:pt x="8530" y="996"/>
                      <a:pt x="8470" y="953"/>
                      <a:pt x="8410" y="953"/>
                    </a:cubicBezTo>
                    <a:cubicBezTo>
                      <a:pt x="8392" y="953"/>
                      <a:pt x="8375" y="957"/>
                      <a:pt x="8358" y="965"/>
                    </a:cubicBezTo>
                    <a:cubicBezTo>
                      <a:pt x="8275" y="989"/>
                      <a:pt x="8227" y="1084"/>
                      <a:pt x="8251" y="1155"/>
                    </a:cubicBezTo>
                    <a:cubicBezTo>
                      <a:pt x="8358" y="1513"/>
                      <a:pt x="8346" y="1798"/>
                      <a:pt x="8239" y="2060"/>
                    </a:cubicBezTo>
                    <a:cubicBezTo>
                      <a:pt x="7918" y="1870"/>
                      <a:pt x="7739" y="1489"/>
                      <a:pt x="7739" y="1465"/>
                    </a:cubicBezTo>
                    <a:cubicBezTo>
                      <a:pt x="7713" y="1413"/>
                      <a:pt x="7651" y="1374"/>
                      <a:pt x="7591" y="1374"/>
                    </a:cubicBezTo>
                    <a:cubicBezTo>
                      <a:pt x="7568" y="1374"/>
                      <a:pt x="7545" y="1380"/>
                      <a:pt x="7525" y="1393"/>
                    </a:cubicBezTo>
                    <a:cubicBezTo>
                      <a:pt x="7453" y="1417"/>
                      <a:pt x="7406" y="1524"/>
                      <a:pt x="7453" y="1596"/>
                    </a:cubicBezTo>
                    <a:cubicBezTo>
                      <a:pt x="7465" y="1620"/>
                      <a:pt x="7692" y="2096"/>
                      <a:pt x="8108" y="2346"/>
                    </a:cubicBezTo>
                    <a:cubicBezTo>
                      <a:pt x="8001" y="2525"/>
                      <a:pt x="7858" y="2715"/>
                      <a:pt x="7703" y="2929"/>
                    </a:cubicBezTo>
                    <a:lnTo>
                      <a:pt x="7656" y="2989"/>
                    </a:lnTo>
                    <a:cubicBezTo>
                      <a:pt x="6703" y="3477"/>
                      <a:pt x="6263" y="3918"/>
                      <a:pt x="6191" y="3977"/>
                    </a:cubicBezTo>
                    <a:cubicBezTo>
                      <a:pt x="5965" y="3941"/>
                      <a:pt x="5727" y="3918"/>
                      <a:pt x="5453" y="3918"/>
                    </a:cubicBezTo>
                    <a:cubicBezTo>
                      <a:pt x="5191" y="3918"/>
                      <a:pt x="4953" y="3941"/>
                      <a:pt x="4727" y="3977"/>
                    </a:cubicBezTo>
                    <a:cubicBezTo>
                      <a:pt x="4667" y="3906"/>
                      <a:pt x="4203" y="3477"/>
                      <a:pt x="3251" y="2989"/>
                    </a:cubicBezTo>
                    <a:lnTo>
                      <a:pt x="3215" y="2929"/>
                    </a:lnTo>
                    <a:cubicBezTo>
                      <a:pt x="3048" y="2715"/>
                      <a:pt x="2917" y="2536"/>
                      <a:pt x="2810" y="2346"/>
                    </a:cubicBezTo>
                    <a:cubicBezTo>
                      <a:pt x="2834" y="2334"/>
                      <a:pt x="2870" y="2310"/>
                      <a:pt x="2893" y="2286"/>
                    </a:cubicBezTo>
                    <a:cubicBezTo>
                      <a:pt x="2977" y="2239"/>
                      <a:pt x="2989" y="2132"/>
                      <a:pt x="2941" y="2060"/>
                    </a:cubicBezTo>
                    <a:cubicBezTo>
                      <a:pt x="2910" y="2014"/>
                      <a:pt x="2860" y="1993"/>
                      <a:pt x="2806" y="1993"/>
                    </a:cubicBezTo>
                    <a:cubicBezTo>
                      <a:pt x="2776" y="1993"/>
                      <a:pt x="2745" y="2000"/>
                      <a:pt x="2715" y="2013"/>
                    </a:cubicBezTo>
                    <a:cubicBezTo>
                      <a:pt x="2703" y="2036"/>
                      <a:pt x="2691" y="2036"/>
                      <a:pt x="2679" y="2048"/>
                    </a:cubicBezTo>
                    <a:cubicBezTo>
                      <a:pt x="2572" y="1774"/>
                      <a:pt x="2536" y="1501"/>
                      <a:pt x="2655" y="1143"/>
                    </a:cubicBezTo>
                    <a:cubicBezTo>
                      <a:pt x="2691" y="1048"/>
                      <a:pt x="2643" y="965"/>
                      <a:pt x="2560" y="941"/>
                    </a:cubicBezTo>
                    <a:cubicBezTo>
                      <a:pt x="2543" y="937"/>
                      <a:pt x="2527" y="935"/>
                      <a:pt x="2512" y="935"/>
                    </a:cubicBezTo>
                    <a:cubicBezTo>
                      <a:pt x="2437" y="935"/>
                      <a:pt x="2377" y="979"/>
                      <a:pt x="2358" y="1048"/>
                    </a:cubicBezTo>
                    <a:cubicBezTo>
                      <a:pt x="2155" y="1739"/>
                      <a:pt x="2346" y="2191"/>
                      <a:pt x="2679" y="2667"/>
                    </a:cubicBezTo>
                    <a:cubicBezTo>
                      <a:pt x="2453" y="2584"/>
                      <a:pt x="2215" y="2477"/>
                      <a:pt x="1965" y="2394"/>
                    </a:cubicBezTo>
                    <a:cubicBezTo>
                      <a:pt x="1738" y="2310"/>
                      <a:pt x="1548" y="2215"/>
                      <a:pt x="1369" y="2108"/>
                    </a:cubicBezTo>
                    <a:cubicBezTo>
                      <a:pt x="1727" y="1560"/>
                      <a:pt x="1727" y="215"/>
                      <a:pt x="1727" y="155"/>
                    </a:cubicBezTo>
                    <a:cubicBezTo>
                      <a:pt x="1727" y="72"/>
                      <a:pt x="1643" y="0"/>
                      <a:pt x="1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20" name="Google Shape;13020;p63"/>
          <p:cNvGrpSpPr/>
          <p:nvPr/>
        </p:nvGrpSpPr>
        <p:grpSpPr>
          <a:xfrm>
            <a:off x="6895373" y="1502578"/>
            <a:ext cx="348640" cy="343296"/>
            <a:chOff x="6895373" y="1502578"/>
            <a:chExt cx="348640" cy="343296"/>
          </a:xfrm>
        </p:grpSpPr>
        <p:sp>
          <p:nvSpPr>
            <p:cNvPr id="13021" name="Google Shape;13021;p63"/>
            <p:cNvSpPr/>
            <p:nvPr/>
          </p:nvSpPr>
          <p:spPr>
            <a:xfrm>
              <a:off x="6895373" y="1502578"/>
              <a:ext cx="348640" cy="343296"/>
            </a:xfrm>
            <a:custGeom>
              <a:avLst/>
              <a:gdLst/>
              <a:ahLst/>
              <a:cxnLst/>
              <a:rect l="l" t="t" r="r" b="b"/>
              <a:pathLst>
                <a:path w="10895" h="10728" extrusionOk="0">
                  <a:moveTo>
                    <a:pt x="1263" y="321"/>
                  </a:moveTo>
                  <a:cubicBezTo>
                    <a:pt x="1799" y="536"/>
                    <a:pt x="2834" y="1036"/>
                    <a:pt x="3823" y="2179"/>
                  </a:cubicBezTo>
                  <a:cubicBezTo>
                    <a:pt x="3596" y="2262"/>
                    <a:pt x="3370" y="2345"/>
                    <a:pt x="3168" y="2465"/>
                  </a:cubicBezTo>
                  <a:cubicBezTo>
                    <a:pt x="2334" y="1214"/>
                    <a:pt x="1501" y="548"/>
                    <a:pt x="1215" y="321"/>
                  </a:cubicBezTo>
                  <a:close/>
                  <a:moveTo>
                    <a:pt x="9681" y="310"/>
                  </a:moveTo>
                  <a:lnTo>
                    <a:pt x="9681" y="310"/>
                  </a:lnTo>
                  <a:cubicBezTo>
                    <a:pt x="9585" y="381"/>
                    <a:pt x="9419" y="512"/>
                    <a:pt x="9228" y="691"/>
                  </a:cubicBezTo>
                  <a:cubicBezTo>
                    <a:pt x="9169" y="750"/>
                    <a:pt x="9145" y="857"/>
                    <a:pt x="9204" y="917"/>
                  </a:cubicBezTo>
                  <a:cubicBezTo>
                    <a:pt x="9240" y="952"/>
                    <a:pt x="9288" y="964"/>
                    <a:pt x="9323" y="964"/>
                  </a:cubicBezTo>
                  <a:cubicBezTo>
                    <a:pt x="9371" y="964"/>
                    <a:pt x="9407" y="952"/>
                    <a:pt x="9431" y="917"/>
                  </a:cubicBezTo>
                  <a:cubicBezTo>
                    <a:pt x="9621" y="738"/>
                    <a:pt x="9788" y="619"/>
                    <a:pt x="9883" y="548"/>
                  </a:cubicBezTo>
                  <a:lnTo>
                    <a:pt x="9883" y="548"/>
                  </a:lnTo>
                  <a:cubicBezTo>
                    <a:pt x="9800" y="2036"/>
                    <a:pt x="9442" y="3238"/>
                    <a:pt x="9288" y="3667"/>
                  </a:cubicBezTo>
                  <a:cubicBezTo>
                    <a:pt x="9145" y="3524"/>
                    <a:pt x="9014" y="3393"/>
                    <a:pt x="8883" y="3250"/>
                  </a:cubicBezTo>
                  <a:cubicBezTo>
                    <a:pt x="8609" y="3000"/>
                    <a:pt x="8311" y="2774"/>
                    <a:pt x="8002" y="2596"/>
                  </a:cubicBezTo>
                  <a:cubicBezTo>
                    <a:pt x="8288" y="2179"/>
                    <a:pt x="8597" y="1798"/>
                    <a:pt x="8907" y="1441"/>
                  </a:cubicBezTo>
                  <a:cubicBezTo>
                    <a:pt x="8966" y="1381"/>
                    <a:pt x="8966" y="1274"/>
                    <a:pt x="8895" y="1214"/>
                  </a:cubicBezTo>
                  <a:cubicBezTo>
                    <a:pt x="8866" y="1186"/>
                    <a:pt x="8827" y="1171"/>
                    <a:pt x="8787" y="1171"/>
                  </a:cubicBezTo>
                  <a:cubicBezTo>
                    <a:pt x="8744" y="1171"/>
                    <a:pt x="8700" y="1189"/>
                    <a:pt x="8669" y="1226"/>
                  </a:cubicBezTo>
                  <a:cubicBezTo>
                    <a:pt x="8335" y="1607"/>
                    <a:pt x="8002" y="2024"/>
                    <a:pt x="7716" y="2453"/>
                  </a:cubicBezTo>
                  <a:cubicBezTo>
                    <a:pt x="7514" y="2345"/>
                    <a:pt x="7287" y="2238"/>
                    <a:pt x="7061" y="2167"/>
                  </a:cubicBezTo>
                  <a:cubicBezTo>
                    <a:pt x="8061" y="1048"/>
                    <a:pt x="9085" y="536"/>
                    <a:pt x="9645" y="321"/>
                  </a:cubicBezTo>
                  <a:cubicBezTo>
                    <a:pt x="9657" y="321"/>
                    <a:pt x="9669" y="310"/>
                    <a:pt x="9681" y="310"/>
                  </a:cubicBezTo>
                  <a:close/>
                  <a:moveTo>
                    <a:pt x="1025" y="571"/>
                  </a:moveTo>
                  <a:cubicBezTo>
                    <a:pt x="1287" y="774"/>
                    <a:pt x="2084" y="1429"/>
                    <a:pt x="2894" y="2631"/>
                  </a:cubicBezTo>
                  <a:cubicBezTo>
                    <a:pt x="2584" y="2810"/>
                    <a:pt x="2299" y="3036"/>
                    <a:pt x="2013" y="3286"/>
                  </a:cubicBezTo>
                  <a:cubicBezTo>
                    <a:pt x="1870" y="3417"/>
                    <a:pt x="1739" y="3548"/>
                    <a:pt x="1620" y="3703"/>
                  </a:cubicBezTo>
                  <a:cubicBezTo>
                    <a:pt x="1453" y="3250"/>
                    <a:pt x="1096" y="2060"/>
                    <a:pt x="1025" y="571"/>
                  </a:cubicBezTo>
                  <a:close/>
                  <a:moveTo>
                    <a:pt x="3291" y="4769"/>
                  </a:moveTo>
                  <a:cubicBezTo>
                    <a:pt x="3574" y="4769"/>
                    <a:pt x="3813" y="4862"/>
                    <a:pt x="4013" y="5024"/>
                  </a:cubicBezTo>
                  <a:cubicBezTo>
                    <a:pt x="4287" y="5251"/>
                    <a:pt x="4430" y="5608"/>
                    <a:pt x="4430" y="5989"/>
                  </a:cubicBezTo>
                  <a:cubicBezTo>
                    <a:pt x="4430" y="6465"/>
                    <a:pt x="4227" y="6989"/>
                    <a:pt x="4013" y="7477"/>
                  </a:cubicBezTo>
                  <a:cubicBezTo>
                    <a:pt x="3811" y="8001"/>
                    <a:pt x="3585" y="8525"/>
                    <a:pt x="3585" y="9061"/>
                  </a:cubicBezTo>
                  <a:lnTo>
                    <a:pt x="3585" y="9108"/>
                  </a:lnTo>
                  <a:cubicBezTo>
                    <a:pt x="2715" y="8668"/>
                    <a:pt x="1668" y="8334"/>
                    <a:pt x="1275" y="8191"/>
                  </a:cubicBezTo>
                  <a:lnTo>
                    <a:pt x="1430" y="7560"/>
                  </a:lnTo>
                  <a:cubicBezTo>
                    <a:pt x="1441" y="7477"/>
                    <a:pt x="1406" y="7406"/>
                    <a:pt x="1334" y="7382"/>
                  </a:cubicBezTo>
                  <a:cubicBezTo>
                    <a:pt x="1227" y="7334"/>
                    <a:pt x="715" y="7168"/>
                    <a:pt x="394" y="7084"/>
                  </a:cubicBezTo>
                  <a:cubicBezTo>
                    <a:pt x="953" y="6096"/>
                    <a:pt x="1846" y="4965"/>
                    <a:pt x="3073" y="4786"/>
                  </a:cubicBezTo>
                  <a:cubicBezTo>
                    <a:pt x="3148" y="4774"/>
                    <a:pt x="3221" y="4769"/>
                    <a:pt x="3291" y="4769"/>
                  </a:cubicBezTo>
                  <a:close/>
                  <a:moveTo>
                    <a:pt x="7599" y="4760"/>
                  </a:moveTo>
                  <a:cubicBezTo>
                    <a:pt x="7668" y="4760"/>
                    <a:pt x="7739" y="4765"/>
                    <a:pt x="7811" y="4774"/>
                  </a:cubicBezTo>
                  <a:cubicBezTo>
                    <a:pt x="9050" y="4953"/>
                    <a:pt x="9942" y="6084"/>
                    <a:pt x="10490" y="7060"/>
                  </a:cubicBezTo>
                  <a:cubicBezTo>
                    <a:pt x="10181" y="7168"/>
                    <a:pt x="9645" y="7334"/>
                    <a:pt x="9550" y="7382"/>
                  </a:cubicBezTo>
                  <a:cubicBezTo>
                    <a:pt x="9478" y="7406"/>
                    <a:pt x="9442" y="7477"/>
                    <a:pt x="9466" y="7560"/>
                  </a:cubicBezTo>
                  <a:lnTo>
                    <a:pt x="9609" y="8191"/>
                  </a:lnTo>
                  <a:cubicBezTo>
                    <a:pt x="9228" y="8311"/>
                    <a:pt x="8168" y="8668"/>
                    <a:pt x="7299" y="9108"/>
                  </a:cubicBezTo>
                  <a:lnTo>
                    <a:pt x="7299" y="9049"/>
                  </a:lnTo>
                  <a:cubicBezTo>
                    <a:pt x="7299" y="8525"/>
                    <a:pt x="7085" y="7989"/>
                    <a:pt x="6871" y="7465"/>
                  </a:cubicBezTo>
                  <a:cubicBezTo>
                    <a:pt x="6668" y="6977"/>
                    <a:pt x="6454" y="6453"/>
                    <a:pt x="6454" y="5977"/>
                  </a:cubicBezTo>
                  <a:cubicBezTo>
                    <a:pt x="6454" y="5596"/>
                    <a:pt x="6609" y="5239"/>
                    <a:pt x="6871" y="5012"/>
                  </a:cubicBezTo>
                  <a:cubicBezTo>
                    <a:pt x="7062" y="4840"/>
                    <a:pt x="7315" y="4760"/>
                    <a:pt x="7599" y="4760"/>
                  </a:cubicBezTo>
                  <a:close/>
                  <a:moveTo>
                    <a:pt x="5430" y="8358"/>
                  </a:moveTo>
                  <a:cubicBezTo>
                    <a:pt x="5799" y="8358"/>
                    <a:pt x="6132" y="8549"/>
                    <a:pt x="6132" y="8763"/>
                  </a:cubicBezTo>
                  <a:cubicBezTo>
                    <a:pt x="6132" y="8953"/>
                    <a:pt x="5835" y="9084"/>
                    <a:pt x="5609" y="9192"/>
                  </a:cubicBezTo>
                  <a:lnTo>
                    <a:pt x="5597" y="9192"/>
                  </a:lnTo>
                  <a:cubicBezTo>
                    <a:pt x="5549" y="9215"/>
                    <a:pt x="5493" y="9227"/>
                    <a:pt x="5434" y="9227"/>
                  </a:cubicBezTo>
                  <a:cubicBezTo>
                    <a:pt x="5376" y="9227"/>
                    <a:pt x="5317" y="9215"/>
                    <a:pt x="5263" y="9192"/>
                  </a:cubicBezTo>
                  <a:cubicBezTo>
                    <a:pt x="5037" y="9084"/>
                    <a:pt x="4728" y="8953"/>
                    <a:pt x="4728" y="8763"/>
                  </a:cubicBezTo>
                  <a:cubicBezTo>
                    <a:pt x="4728" y="8549"/>
                    <a:pt x="5061" y="8358"/>
                    <a:pt x="5430" y="8358"/>
                  </a:cubicBezTo>
                  <a:close/>
                  <a:moveTo>
                    <a:pt x="5430" y="2226"/>
                  </a:moveTo>
                  <a:cubicBezTo>
                    <a:pt x="6633" y="2226"/>
                    <a:pt x="7752" y="2667"/>
                    <a:pt x="8645" y="3500"/>
                  </a:cubicBezTo>
                  <a:cubicBezTo>
                    <a:pt x="9371" y="4179"/>
                    <a:pt x="9919" y="5096"/>
                    <a:pt x="10276" y="6179"/>
                  </a:cubicBezTo>
                  <a:cubicBezTo>
                    <a:pt x="9966" y="5751"/>
                    <a:pt x="9645" y="5393"/>
                    <a:pt x="9300" y="5132"/>
                  </a:cubicBezTo>
                  <a:cubicBezTo>
                    <a:pt x="8835" y="4751"/>
                    <a:pt x="8347" y="4536"/>
                    <a:pt x="7823" y="4453"/>
                  </a:cubicBezTo>
                  <a:cubicBezTo>
                    <a:pt x="7735" y="4439"/>
                    <a:pt x="7648" y="4433"/>
                    <a:pt x="7563" y="4433"/>
                  </a:cubicBezTo>
                  <a:cubicBezTo>
                    <a:pt x="7204" y="4433"/>
                    <a:pt x="6883" y="4553"/>
                    <a:pt x="6633" y="4774"/>
                  </a:cubicBezTo>
                  <a:cubicBezTo>
                    <a:pt x="6299" y="5048"/>
                    <a:pt x="6109" y="5501"/>
                    <a:pt x="6109" y="5977"/>
                  </a:cubicBezTo>
                  <a:cubicBezTo>
                    <a:pt x="6109" y="6525"/>
                    <a:pt x="6335" y="7060"/>
                    <a:pt x="6561" y="7584"/>
                  </a:cubicBezTo>
                  <a:cubicBezTo>
                    <a:pt x="6764" y="8084"/>
                    <a:pt x="6978" y="8572"/>
                    <a:pt x="6978" y="9049"/>
                  </a:cubicBezTo>
                  <a:cubicBezTo>
                    <a:pt x="6990" y="9239"/>
                    <a:pt x="6859" y="9501"/>
                    <a:pt x="6585" y="9680"/>
                  </a:cubicBezTo>
                  <a:cubicBezTo>
                    <a:pt x="6424" y="9783"/>
                    <a:pt x="6258" y="9823"/>
                    <a:pt x="6097" y="9823"/>
                  </a:cubicBezTo>
                  <a:cubicBezTo>
                    <a:pt x="5924" y="9823"/>
                    <a:pt x="5757" y="9777"/>
                    <a:pt x="5609" y="9715"/>
                  </a:cubicBezTo>
                  <a:lnTo>
                    <a:pt x="5609" y="9513"/>
                  </a:lnTo>
                  <a:lnTo>
                    <a:pt x="5740" y="9477"/>
                  </a:lnTo>
                  <a:lnTo>
                    <a:pt x="5751" y="9477"/>
                  </a:lnTo>
                  <a:cubicBezTo>
                    <a:pt x="6037" y="9358"/>
                    <a:pt x="6454" y="9156"/>
                    <a:pt x="6454" y="8763"/>
                  </a:cubicBezTo>
                  <a:cubicBezTo>
                    <a:pt x="6454" y="8358"/>
                    <a:pt x="6013" y="8025"/>
                    <a:pt x="5430" y="8025"/>
                  </a:cubicBezTo>
                  <a:cubicBezTo>
                    <a:pt x="4859" y="8025"/>
                    <a:pt x="4406" y="8346"/>
                    <a:pt x="4406" y="8763"/>
                  </a:cubicBezTo>
                  <a:cubicBezTo>
                    <a:pt x="4406" y="9156"/>
                    <a:pt x="4835" y="9358"/>
                    <a:pt x="5097" y="9477"/>
                  </a:cubicBezTo>
                  <a:lnTo>
                    <a:pt x="5120" y="9477"/>
                  </a:lnTo>
                  <a:cubicBezTo>
                    <a:pt x="5156" y="9489"/>
                    <a:pt x="5216" y="9513"/>
                    <a:pt x="5263" y="9513"/>
                  </a:cubicBezTo>
                  <a:lnTo>
                    <a:pt x="5263" y="9715"/>
                  </a:lnTo>
                  <a:cubicBezTo>
                    <a:pt x="5128" y="9777"/>
                    <a:pt x="4960" y="9823"/>
                    <a:pt x="4784" y="9823"/>
                  </a:cubicBezTo>
                  <a:cubicBezTo>
                    <a:pt x="4620" y="9823"/>
                    <a:pt x="4448" y="9783"/>
                    <a:pt x="4287" y="9680"/>
                  </a:cubicBezTo>
                  <a:cubicBezTo>
                    <a:pt x="4001" y="9501"/>
                    <a:pt x="3882" y="9239"/>
                    <a:pt x="3882" y="9049"/>
                  </a:cubicBezTo>
                  <a:cubicBezTo>
                    <a:pt x="3882" y="8584"/>
                    <a:pt x="4073" y="8096"/>
                    <a:pt x="4299" y="7584"/>
                  </a:cubicBezTo>
                  <a:cubicBezTo>
                    <a:pt x="4525" y="7060"/>
                    <a:pt x="4739" y="6525"/>
                    <a:pt x="4739" y="5977"/>
                  </a:cubicBezTo>
                  <a:cubicBezTo>
                    <a:pt x="4739" y="5501"/>
                    <a:pt x="4549" y="5048"/>
                    <a:pt x="4227" y="4774"/>
                  </a:cubicBezTo>
                  <a:cubicBezTo>
                    <a:pt x="3963" y="4549"/>
                    <a:pt x="3635" y="4437"/>
                    <a:pt x="3275" y="4437"/>
                  </a:cubicBezTo>
                  <a:cubicBezTo>
                    <a:pt x="3197" y="4437"/>
                    <a:pt x="3118" y="4442"/>
                    <a:pt x="3037" y="4453"/>
                  </a:cubicBezTo>
                  <a:cubicBezTo>
                    <a:pt x="2525" y="4536"/>
                    <a:pt x="2025" y="4751"/>
                    <a:pt x="1560" y="5132"/>
                  </a:cubicBezTo>
                  <a:cubicBezTo>
                    <a:pt x="1215" y="5393"/>
                    <a:pt x="894" y="5751"/>
                    <a:pt x="572" y="6179"/>
                  </a:cubicBezTo>
                  <a:cubicBezTo>
                    <a:pt x="929" y="5096"/>
                    <a:pt x="1489" y="4179"/>
                    <a:pt x="2215" y="3500"/>
                  </a:cubicBezTo>
                  <a:cubicBezTo>
                    <a:pt x="3108" y="2667"/>
                    <a:pt x="4227" y="2226"/>
                    <a:pt x="5430" y="2226"/>
                  </a:cubicBezTo>
                  <a:close/>
                  <a:moveTo>
                    <a:pt x="5454" y="10001"/>
                  </a:moveTo>
                  <a:cubicBezTo>
                    <a:pt x="5692" y="10096"/>
                    <a:pt x="5918" y="10144"/>
                    <a:pt x="6097" y="10144"/>
                  </a:cubicBezTo>
                  <a:cubicBezTo>
                    <a:pt x="6156" y="10144"/>
                    <a:pt x="6216" y="10144"/>
                    <a:pt x="6275" y="10132"/>
                  </a:cubicBezTo>
                  <a:lnTo>
                    <a:pt x="6275" y="10132"/>
                  </a:lnTo>
                  <a:cubicBezTo>
                    <a:pt x="6228" y="10180"/>
                    <a:pt x="6168" y="10239"/>
                    <a:pt x="6097" y="10275"/>
                  </a:cubicBezTo>
                  <a:cubicBezTo>
                    <a:pt x="5930" y="10370"/>
                    <a:pt x="5692" y="10430"/>
                    <a:pt x="5454" y="10430"/>
                  </a:cubicBezTo>
                  <a:cubicBezTo>
                    <a:pt x="5216" y="10430"/>
                    <a:pt x="4978" y="10370"/>
                    <a:pt x="4823" y="10275"/>
                  </a:cubicBezTo>
                  <a:cubicBezTo>
                    <a:pt x="4739" y="10239"/>
                    <a:pt x="4680" y="10192"/>
                    <a:pt x="4644" y="10132"/>
                  </a:cubicBezTo>
                  <a:lnTo>
                    <a:pt x="4644" y="10132"/>
                  </a:lnTo>
                  <a:cubicBezTo>
                    <a:pt x="4704" y="10144"/>
                    <a:pt x="4763" y="10144"/>
                    <a:pt x="4823" y="10144"/>
                  </a:cubicBezTo>
                  <a:cubicBezTo>
                    <a:pt x="5013" y="10144"/>
                    <a:pt x="5216" y="10096"/>
                    <a:pt x="5454" y="10001"/>
                  </a:cubicBezTo>
                  <a:close/>
                  <a:moveTo>
                    <a:pt x="1184" y="0"/>
                  </a:moveTo>
                  <a:cubicBezTo>
                    <a:pt x="1083" y="0"/>
                    <a:pt x="985" y="30"/>
                    <a:pt x="906" y="95"/>
                  </a:cubicBezTo>
                  <a:cubicBezTo>
                    <a:pt x="775" y="202"/>
                    <a:pt x="691" y="345"/>
                    <a:pt x="691" y="512"/>
                  </a:cubicBezTo>
                  <a:cubicBezTo>
                    <a:pt x="787" y="2417"/>
                    <a:pt x="1310" y="3822"/>
                    <a:pt x="1370" y="3977"/>
                  </a:cubicBezTo>
                  <a:cubicBezTo>
                    <a:pt x="727" y="4834"/>
                    <a:pt x="251" y="5905"/>
                    <a:pt x="13" y="7132"/>
                  </a:cubicBezTo>
                  <a:cubicBezTo>
                    <a:pt x="1" y="7215"/>
                    <a:pt x="36" y="7298"/>
                    <a:pt x="132" y="7310"/>
                  </a:cubicBezTo>
                  <a:cubicBezTo>
                    <a:pt x="501" y="7418"/>
                    <a:pt x="894" y="7537"/>
                    <a:pt x="1096" y="7596"/>
                  </a:cubicBezTo>
                  <a:lnTo>
                    <a:pt x="953" y="8251"/>
                  </a:lnTo>
                  <a:cubicBezTo>
                    <a:pt x="929" y="8322"/>
                    <a:pt x="977" y="8418"/>
                    <a:pt x="1049" y="8441"/>
                  </a:cubicBezTo>
                  <a:cubicBezTo>
                    <a:pt x="1072" y="8441"/>
                    <a:pt x="2703" y="8953"/>
                    <a:pt x="3727" y="9513"/>
                  </a:cubicBezTo>
                  <a:cubicBezTo>
                    <a:pt x="3835" y="9680"/>
                    <a:pt x="3966" y="9834"/>
                    <a:pt x="4144" y="9930"/>
                  </a:cubicBezTo>
                  <a:cubicBezTo>
                    <a:pt x="4180" y="9965"/>
                    <a:pt x="4227" y="9977"/>
                    <a:pt x="4287" y="10013"/>
                  </a:cubicBezTo>
                  <a:cubicBezTo>
                    <a:pt x="4299" y="10406"/>
                    <a:pt x="4799" y="10727"/>
                    <a:pt x="5454" y="10727"/>
                  </a:cubicBezTo>
                  <a:cubicBezTo>
                    <a:pt x="6109" y="10727"/>
                    <a:pt x="6621" y="10406"/>
                    <a:pt x="6633" y="10013"/>
                  </a:cubicBezTo>
                  <a:cubicBezTo>
                    <a:pt x="6680" y="9977"/>
                    <a:pt x="6728" y="9965"/>
                    <a:pt x="6764" y="9930"/>
                  </a:cubicBezTo>
                  <a:cubicBezTo>
                    <a:pt x="6942" y="9834"/>
                    <a:pt x="7085" y="9680"/>
                    <a:pt x="7180" y="9513"/>
                  </a:cubicBezTo>
                  <a:cubicBezTo>
                    <a:pt x="8228" y="8953"/>
                    <a:pt x="9847" y="8441"/>
                    <a:pt x="9859" y="8441"/>
                  </a:cubicBezTo>
                  <a:cubicBezTo>
                    <a:pt x="9942" y="8418"/>
                    <a:pt x="10002" y="8346"/>
                    <a:pt x="9966" y="8251"/>
                  </a:cubicBezTo>
                  <a:lnTo>
                    <a:pt x="9823" y="7596"/>
                  </a:lnTo>
                  <a:cubicBezTo>
                    <a:pt x="10014" y="7537"/>
                    <a:pt x="10419" y="7418"/>
                    <a:pt x="10788" y="7310"/>
                  </a:cubicBezTo>
                  <a:cubicBezTo>
                    <a:pt x="10847" y="7298"/>
                    <a:pt x="10895" y="7227"/>
                    <a:pt x="10871" y="7132"/>
                  </a:cubicBezTo>
                  <a:cubicBezTo>
                    <a:pt x="10633" y="5905"/>
                    <a:pt x="10181" y="4834"/>
                    <a:pt x="9526" y="3989"/>
                  </a:cubicBezTo>
                  <a:cubicBezTo>
                    <a:pt x="9585" y="3822"/>
                    <a:pt x="10121" y="2405"/>
                    <a:pt x="10193" y="512"/>
                  </a:cubicBezTo>
                  <a:cubicBezTo>
                    <a:pt x="10193" y="357"/>
                    <a:pt x="10121" y="190"/>
                    <a:pt x="9978" y="95"/>
                  </a:cubicBezTo>
                  <a:cubicBezTo>
                    <a:pt x="9898" y="30"/>
                    <a:pt x="9801" y="0"/>
                    <a:pt x="9699" y="0"/>
                  </a:cubicBezTo>
                  <a:cubicBezTo>
                    <a:pt x="9634" y="0"/>
                    <a:pt x="9567" y="12"/>
                    <a:pt x="9502" y="36"/>
                  </a:cubicBezTo>
                  <a:cubicBezTo>
                    <a:pt x="8930" y="262"/>
                    <a:pt x="7799" y="821"/>
                    <a:pt x="6740" y="2095"/>
                  </a:cubicBezTo>
                  <a:cubicBezTo>
                    <a:pt x="6323" y="1988"/>
                    <a:pt x="5894" y="1929"/>
                    <a:pt x="5442" y="1929"/>
                  </a:cubicBezTo>
                  <a:cubicBezTo>
                    <a:pt x="5001" y="1929"/>
                    <a:pt x="4561" y="1988"/>
                    <a:pt x="4144" y="2095"/>
                  </a:cubicBezTo>
                  <a:cubicBezTo>
                    <a:pt x="3096" y="821"/>
                    <a:pt x="1965" y="262"/>
                    <a:pt x="1382" y="36"/>
                  </a:cubicBezTo>
                  <a:cubicBezTo>
                    <a:pt x="1317" y="12"/>
                    <a:pt x="1250" y="0"/>
                    <a:pt x="1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2" name="Google Shape;13022;p63"/>
            <p:cNvSpPr/>
            <p:nvPr/>
          </p:nvSpPr>
          <p:spPr>
            <a:xfrm>
              <a:off x="6977677" y="1667154"/>
              <a:ext cx="48416" cy="59456"/>
            </a:xfrm>
            <a:custGeom>
              <a:avLst/>
              <a:gdLst/>
              <a:ahLst/>
              <a:cxnLst/>
              <a:rect l="l" t="t" r="r" b="b"/>
              <a:pathLst>
                <a:path w="1513" h="1858" extrusionOk="0">
                  <a:moveTo>
                    <a:pt x="751" y="0"/>
                  </a:moveTo>
                  <a:cubicBezTo>
                    <a:pt x="334" y="0"/>
                    <a:pt x="1" y="346"/>
                    <a:pt x="1" y="762"/>
                  </a:cubicBezTo>
                  <a:lnTo>
                    <a:pt x="1" y="1096"/>
                  </a:lnTo>
                  <a:cubicBezTo>
                    <a:pt x="1" y="1524"/>
                    <a:pt x="334" y="1858"/>
                    <a:pt x="751" y="1858"/>
                  </a:cubicBezTo>
                  <a:cubicBezTo>
                    <a:pt x="1167" y="1858"/>
                    <a:pt x="1513" y="1524"/>
                    <a:pt x="1513" y="1096"/>
                  </a:cubicBezTo>
                  <a:lnTo>
                    <a:pt x="1513" y="762"/>
                  </a:lnTo>
                  <a:cubicBezTo>
                    <a:pt x="1501" y="643"/>
                    <a:pt x="1489" y="536"/>
                    <a:pt x="1429" y="429"/>
                  </a:cubicBezTo>
                  <a:cubicBezTo>
                    <a:pt x="1395" y="378"/>
                    <a:pt x="1342" y="338"/>
                    <a:pt x="1284" y="338"/>
                  </a:cubicBezTo>
                  <a:cubicBezTo>
                    <a:pt x="1261" y="338"/>
                    <a:pt x="1238" y="344"/>
                    <a:pt x="1215" y="358"/>
                  </a:cubicBezTo>
                  <a:cubicBezTo>
                    <a:pt x="1144" y="405"/>
                    <a:pt x="1096" y="489"/>
                    <a:pt x="1144" y="560"/>
                  </a:cubicBezTo>
                  <a:cubicBezTo>
                    <a:pt x="1179" y="620"/>
                    <a:pt x="1191" y="679"/>
                    <a:pt x="1191" y="762"/>
                  </a:cubicBezTo>
                  <a:lnTo>
                    <a:pt x="1191" y="1096"/>
                  </a:lnTo>
                  <a:cubicBezTo>
                    <a:pt x="1191" y="1346"/>
                    <a:pt x="1001" y="1536"/>
                    <a:pt x="751" y="1536"/>
                  </a:cubicBezTo>
                  <a:cubicBezTo>
                    <a:pt x="524" y="1536"/>
                    <a:pt x="322" y="1334"/>
                    <a:pt x="322" y="1096"/>
                  </a:cubicBezTo>
                  <a:lnTo>
                    <a:pt x="322" y="762"/>
                  </a:lnTo>
                  <a:cubicBezTo>
                    <a:pt x="322" y="524"/>
                    <a:pt x="512" y="334"/>
                    <a:pt x="751" y="334"/>
                  </a:cubicBezTo>
                  <a:cubicBezTo>
                    <a:pt x="846" y="334"/>
                    <a:pt x="917" y="250"/>
                    <a:pt x="917" y="167"/>
                  </a:cubicBezTo>
                  <a:cubicBezTo>
                    <a:pt x="917" y="72"/>
                    <a:pt x="846" y="0"/>
                    <a:pt x="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3" name="Google Shape;13023;p63"/>
            <p:cNvSpPr/>
            <p:nvPr/>
          </p:nvSpPr>
          <p:spPr>
            <a:xfrm>
              <a:off x="7113709" y="1667154"/>
              <a:ext cx="48800" cy="59456"/>
            </a:xfrm>
            <a:custGeom>
              <a:avLst/>
              <a:gdLst/>
              <a:ahLst/>
              <a:cxnLst/>
              <a:rect l="l" t="t" r="r" b="b"/>
              <a:pathLst>
                <a:path w="1525" h="1858" extrusionOk="0">
                  <a:moveTo>
                    <a:pt x="762" y="0"/>
                  </a:moveTo>
                  <a:cubicBezTo>
                    <a:pt x="345" y="0"/>
                    <a:pt x="0" y="346"/>
                    <a:pt x="0" y="762"/>
                  </a:cubicBezTo>
                  <a:lnTo>
                    <a:pt x="0" y="1096"/>
                  </a:lnTo>
                  <a:cubicBezTo>
                    <a:pt x="0" y="1524"/>
                    <a:pt x="345" y="1858"/>
                    <a:pt x="762" y="1858"/>
                  </a:cubicBezTo>
                  <a:cubicBezTo>
                    <a:pt x="1179" y="1858"/>
                    <a:pt x="1524" y="1524"/>
                    <a:pt x="1524" y="1096"/>
                  </a:cubicBezTo>
                  <a:lnTo>
                    <a:pt x="1524" y="762"/>
                  </a:lnTo>
                  <a:cubicBezTo>
                    <a:pt x="1512" y="643"/>
                    <a:pt x="1476" y="536"/>
                    <a:pt x="1429" y="429"/>
                  </a:cubicBezTo>
                  <a:cubicBezTo>
                    <a:pt x="1403" y="378"/>
                    <a:pt x="1346" y="338"/>
                    <a:pt x="1290" y="338"/>
                  </a:cubicBezTo>
                  <a:cubicBezTo>
                    <a:pt x="1268" y="338"/>
                    <a:pt x="1246" y="344"/>
                    <a:pt x="1226" y="358"/>
                  </a:cubicBezTo>
                  <a:cubicBezTo>
                    <a:pt x="1143" y="405"/>
                    <a:pt x="1107" y="489"/>
                    <a:pt x="1143" y="560"/>
                  </a:cubicBezTo>
                  <a:cubicBezTo>
                    <a:pt x="1179" y="620"/>
                    <a:pt x="1191" y="679"/>
                    <a:pt x="1191" y="762"/>
                  </a:cubicBezTo>
                  <a:lnTo>
                    <a:pt x="1191" y="1096"/>
                  </a:lnTo>
                  <a:cubicBezTo>
                    <a:pt x="1191" y="1346"/>
                    <a:pt x="1000" y="1536"/>
                    <a:pt x="762" y="1536"/>
                  </a:cubicBezTo>
                  <a:cubicBezTo>
                    <a:pt x="524" y="1536"/>
                    <a:pt x="333" y="1334"/>
                    <a:pt x="333" y="1096"/>
                  </a:cubicBezTo>
                  <a:lnTo>
                    <a:pt x="333" y="762"/>
                  </a:lnTo>
                  <a:cubicBezTo>
                    <a:pt x="333" y="524"/>
                    <a:pt x="524" y="334"/>
                    <a:pt x="762" y="334"/>
                  </a:cubicBezTo>
                  <a:cubicBezTo>
                    <a:pt x="845" y="334"/>
                    <a:pt x="929" y="250"/>
                    <a:pt x="929" y="167"/>
                  </a:cubicBezTo>
                  <a:cubicBezTo>
                    <a:pt x="929" y="72"/>
                    <a:pt x="845" y="0"/>
                    <a:pt x="7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24" name="Google Shape;13024;p63"/>
          <p:cNvGrpSpPr/>
          <p:nvPr/>
        </p:nvGrpSpPr>
        <p:grpSpPr>
          <a:xfrm>
            <a:off x="4147597" y="1505458"/>
            <a:ext cx="347904" cy="336992"/>
            <a:chOff x="4147597" y="1505458"/>
            <a:chExt cx="347904" cy="336992"/>
          </a:xfrm>
        </p:grpSpPr>
        <p:sp>
          <p:nvSpPr>
            <p:cNvPr id="13025" name="Google Shape;13025;p63"/>
            <p:cNvSpPr/>
            <p:nvPr/>
          </p:nvSpPr>
          <p:spPr>
            <a:xfrm>
              <a:off x="4293901" y="1707410"/>
              <a:ext cx="22528" cy="15392"/>
            </a:xfrm>
            <a:custGeom>
              <a:avLst/>
              <a:gdLst/>
              <a:ahLst/>
              <a:cxnLst/>
              <a:rect l="l" t="t" r="r" b="b"/>
              <a:pathLst>
                <a:path w="704" h="481" extrusionOk="0">
                  <a:moveTo>
                    <a:pt x="182" y="1"/>
                  </a:moveTo>
                  <a:cubicBezTo>
                    <a:pt x="124" y="1"/>
                    <a:pt x="65" y="32"/>
                    <a:pt x="49" y="100"/>
                  </a:cubicBezTo>
                  <a:cubicBezTo>
                    <a:pt x="1" y="171"/>
                    <a:pt x="37" y="278"/>
                    <a:pt x="120" y="302"/>
                  </a:cubicBezTo>
                  <a:lnTo>
                    <a:pt x="465" y="469"/>
                  </a:lnTo>
                  <a:cubicBezTo>
                    <a:pt x="489" y="481"/>
                    <a:pt x="513" y="481"/>
                    <a:pt x="537" y="481"/>
                  </a:cubicBezTo>
                  <a:cubicBezTo>
                    <a:pt x="596" y="481"/>
                    <a:pt x="656" y="457"/>
                    <a:pt x="691" y="397"/>
                  </a:cubicBezTo>
                  <a:cubicBezTo>
                    <a:pt x="703" y="326"/>
                    <a:pt x="668" y="219"/>
                    <a:pt x="596" y="183"/>
                  </a:cubicBezTo>
                  <a:lnTo>
                    <a:pt x="251" y="16"/>
                  </a:lnTo>
                  <a:cubicBezTo>
                    <a:pt x="230" y="6"/>
                    <a:pt x="206" y="1"/>
                    <a:pt x="1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6" name="Google Shape;13026;p63"/>
            <p:cNvSpPr/>
            <p:nvPr/>
          </p:nvSpPr>
          <p:spPr>
            <a:xfrm>
              <a:off x="4326669" y="1707250"/>
              <a:ext cx="22528" cy="15168"/>
            </a:xfrm>
            <a:custGeom>
              <a:avLst/>
              <a:gdLst/>
              <a:ahLst/>
              <a:cxnLst/>
              <a:rect l="l" t="t" r="r" b="b"/>
              <a:pathLst>
                <a:path w="704" h="474" extrusionOk="0">
                  <a:moveTo>
                    <a:pt x="508" y="1"/>
                  </a:moveTo>
                  <a:cubicBezTo>
                    <a:pt x="489" y="1"/>
                    <a:pt x="471" y="4"/>
                    <a:pt x="453" y="10"/>
                  </a:cubicBezTo>
                  <a:lnTo>
                    <a:pt x="108" y="176"/>
                  </a:lnTo>
                  <a:cubicBezTo>
                    <a:pt x="37" y="224"/>
                    <a:pt x="1" y="307"/>
                    <a:pt x="37" y="391"/>
                  </a:cubicBezTo>
                  <a:cubicBezTo>
                    <a:pt x="60" y="438"/>
                    <a:pt x="120" y="474"/>
                    <a:pt x="179" y="474"/>
                  </a:cubicBezTo>
                  <a:cubicBezTo>
                    <a:pt x="215" y="474"/>
                    <a:pt x="227" y="474"/>
                    <a:pt x="263" y="462"/>
                  </a:cubicBezTo>
                  <a:lnTo>
                    <a:pt x="596" y="295"/>
                  </a:lnTo>
                  <a:cubicBezTo>
                    <a:pt x="656" y="271"/>
                    <a:pt x="703" y="164"/>
                    <a:pt x="656" y="93"/>
                  </a:cubicBezTo>
                  <a:cubicBezTo>
                    <a:pt x="629" y="30"/>
                    <a:pt x="567"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7" name="Google Shape;13027;p63"/>
            <p:cNvSpPr/>
            <p:nvPr/>
          </p:nvSpPr>
          <p:spPr>
            <a:xfrm>
              <a:off x="4147597" y="1505458"/>
              <a:ext cx="347904" cy="336992"/>
            </a:xfrm>
            <a:custGeom>
              <a:avLst/>
              <a:gdLst/>
              <a:ahLst/>
              <a:cxnLst/>
              <a:rect l="l" t="t" r="r" b="b"/>
              <a:pathLst>
                <a:path w="10872" h="10531" extrusionOk="0">
                  <a:moveTo>
                    <a:pt x="1525" y="3387"/>
                  </a:moveTo>
                  <a:cubicBezTo>
                    <a:pt x="1632" y="3387"/>
                    <a:pt x="1727" y="3398"/>
                    <a:pt x="1834" y="3434"/>
                  </a:cubicBezTo>
                  <a:cubicBezTo>
                    <a:pt x="1751" y="3756"/>
                    <a:pt x="1703" y="4089"/>
                    <a:pt x="1703" y="4422"/>
                  </a:cubicBezTo>
                  <a:cubicBezTo>
                    <a:pt x="1703" y="4720"/>
                    <a:pt x="1608" y="5042"/>
                    <a:pt x="1453" y="5315"/>
                  </a:cubicBezTo>
                  <a:cubicBezTo>
                    <a:pt x="1358" y="5470"/>
                    <a:pt x="1299" y="5613"/>
                    <a:pt x="1239" y="5768"/>
                  </a:cubicBezTo>
                  <a:cubicBezTo>
                    <a:pt x="703" y="5637"/>
                    <a:pt x="322" y="5161"/>
                    <a:pt x="322" y="4589"/>
                  </a:cubicBezTo>
                  <a:cubicBezTo>
                    <a:pt x="322" y="3922"/>
                    <a:pt x="858" y="3387"/>
                    <a:pt x="1525" y="3387"/>
                  </a:cubicBezTo>
                  <a:close/>
                  <a:moveTo>
                    <a:pt x="9347" y="3387"/>
                  </a:moveTo>
                  <a:cubicBezTo>
                    <a:pt x="10026" y="3387"/>
                    <a:pt x="10562" y="3922"/>
                    <a:pt x="10562" y="4589"/>
                  </a:cubicBezTo>
                  <a:cubicBezTo>
                    <a:pt x="10538" y="5161"/>
                    <a:pt x="10157" y="5637"/>
                    <a:pt x="9633" y="5768"/>
                  </a:cubicBezTo>
                  <a:cubicBezTo>
                    <a:pt x="9574" y="5625"/>
                    <a:pt x="9502" y="5470"/>
                    <a:pt x="9431" y="5327"/>
                  </a:cubicBezTo>
                  <a:cubicBezTo>
                    <a:pt x="9264" y="5042"/>
                    <a:pt x="9169" y="4732"/>
                    <a:pt x="9169" y="4434"/>
                  </a:cubicBezTo>
                  <a:cubicBezTo>
                    <a:pt x="9169" y="4089"/>
                    <a:pt x="9133" y="3756"/>
                    <a:pt x="9038" y="3434"/>
                  </a:cubicBezTo>
                  <a:cubicBezTo>
                    <a:pt x="9145" y="3398"/>
                    <a:pt x="9252" y="3387"/>
                    <a:pt x="9347" y="3387"/>
                  </a:cubicBezTo>
                  <a:close/>
                  <a:moveTo>
                    <a:pt x="5656" y="386"/>
                  </a:moveTo>
                  <a:lnTo>
                    <a:pt x="5775" y="886"/>
                  </a:lnTo>
                  <a:cubicBezTo>
                    <a:pt x="5799" y="934"/>
                    <a:pt x="5823" y="982"/>
                    <a:pt x="5871" y="993"/>
                  </a:cubicBezTo>
                  <a:cubicBezTo>
                    <a:pt x="5898" y="1000"/>
                    <a:pt x="5922" y="1007"/>
                    <a:pt x="5946" y="1007"/>
                  </a:cubicBezTo>
                  <a:cubicBezTo>
                    <a:pt x="5964" y="1007"/>
                    <a:pt x="5982" y="1003"/>
                    <a:pt x="6002" y="993"/>
                  </a:cubicBezTo>
                  <a:lnTo>
                    <a:pt x="6633" y="743"/>
                  </a:lnTo>
                  <a:lnTo>
                    <a:pt x="6633" y="1112"/>
                  </a:lnTo>
                  <a:cubicBezTo>
                    <a:pt x="6633" y="1172"/>
                    <a:pt x="6668" y="1232"/>
                    <a:pt x="6728" y="1255"/>
                  </a:cubicBezTo>
                  <a:cubicBezTo>
                    <a:pt x="8014" y="1791"/>
                    <a:pt x="8847" y="3029"/>
                    <a:pt x="8847" y="4411"/>
                  </a:cubicBezTo>
                  <a:cubicBezTo>
                    <a:pt x="8847" y="4768"/>
                    <a:pt x="8954" y="5137"/>
                    <a:pt x="9145" y="5470"/>
                  </a:cubicBezTo>
                  <a:cubicBezTo>
                    <a:pt x="9395" y="5923"/>
                    <a:pt x="9526" y="6399"/>
                    <a:pt x="9526" y="6887"/>
                  </a:cubicBezTo>
                  <a:cubicBezTo>
                    <a:pt x="9526" y="8732"/>
                    <a:pt x="7680" y="10221"/>
                    <a:pt x="5442" y="10221"/>
                  </a:cubicBezTo>
                  <a:cubicBezTo>
                    <a:pt x="3180" y="10221"/>
                    <a:pt x="1346" y="8732"/>
                    <a:pt x="1346" y="6887"/>
                  </a:cubicBezTo>
                  <a:cubicBezTo>
                    <a:pt x="1346" y="6399"/>
                    <a:pt x="1477" y="5923"/>
                    <a:pt x="1727" y="5470"/>
                  </a:cubicBezTo>
                  <a:cubicBezTo>
                    <a:pt x="1930" y="5149"/>
                    <a:pt x="2025" y="4768"/>
                    <a:pt x="2025" y="4411"/>
                  </a:cubicBezTo>
                  <a:cubicBezTo>
                    <a:pt x="2025" y="3637"/>
                    <a:pt x="2299" y="2863"/>
                    <a:pt x="2787" y="2267"/>
                  </a:cubicBezTo>
                  <a:cubicBezTo>
                    <a:pt x="3275" y="1672"/>
                    <a:pt x="3954" y="1255"/>
                    <a:pt x="4692" y="1101"/>
                  </a:cubicBezTo>
                  <a:cubicBezTo>
                    <a:pt x="4728" y="1101"/>
                    <a:pt x="4751" y="1065"/>
                    <a:pt x="4763" y="1053"/>
                  </a:cubicBezTo>
                  <a:cubicBezTo>
                    <a:pt x="5061" y="743"/>
                    <a:pt x="5359" y="517"/>
                    <a:pt x="5656" y="386"/>
                  </a:cubicBezTo>
                  <a:close/>
                  <a:moveTo>
                    <a:pt x="5754" y="1"/>
                  </a:moveTo>
                  <a:cubicBezTo>
                    <a:pt x="5741" y="1"/>
                    <a:pt x="5729" y="2"/>
                    <a:pt x="5716" y="5"/>
                  </a:cubicBezTo>
                  <a:cubicBezTo>
                    <a:pt x="5335" y="148"/>
                    <a:pt x="4930" y="398"/>
                    <a:pt x="4573" y="779"/>
                  </a:cubicBezTo>
                  <a:cubicBezTo>
                    <a:pt x="3775" y="982"/>
                    <a:pt x="3061" y="1422"/>
                    <a:pt x="2537" y="2065"/>
                  </a:cubicBezTo>
                  <a:cubicBezTo>
                    <a:pt x="2287" y="2375"/>
                    <a:pt x="2073" y="2732"/>
                    <a:pt x="1942" y="3125"/>
                  </a:cubicBezTo>
                  <a:cubicBezTo>
                    <a:pt x="1811" y="3077"/>
                    <a:pt x="1668" y="3065"/>
                    <a:pt x="1525" y="3065"/>
                  </a:cubicBezTo>
                  <a:cubicBezTo>
                    <a:pt x="691" y="3065"/>
                    <a:pt x="1" y="3744"/>
                    <a:pt x="1" y="4577"/>
                  </a:cubicBezTo>
                  <a:cubicBezTo>
                    <a:pt x="1" y="5280"/>
                    <a:pt x="477" y="5875"/>
                    <a:pt x="1132" y="6054"/>
                  </a:cubicBezTo>
                  <a:cubicBezTo>
                    <a:pt x="1061" y="6316"/>
                    <a:pt x="1013" y="6601"/>
                    <a:pt x="1013" y="6887"/>
                  </a:cubicBezTo>
                  <a:cubicBezTo>
                    <a:pt x="1013" y="7863"/>
                    <a:pt x="1477" y="8792"/>
                    <a:pt x="2323" y="9471"/>
                  </a:cubicBezTo>
                  <a:cubicBezTo>
                    <a:pt x="3156" y="10161"/>
                    <a:pt x="4263" y="10530"/>
                    <a:pt x="5442" y="10530"/>
                  </a:cubicBezTo>
                  <a:cubicBezTo>
                    <a:pt x="6609" y="10530"/>
                    <a:pt x="7716" y="10161"/>
                    <a:pt x="8550" y="9471"/>
                  </a:cubicBezTo>
                  <a:cubicBezTo>
                    <a:pt x="9383" y="8792"/>
                    <a:pt x="9859" y="7863"/>
                    <a:pt x="9859" y="6887"/>
                  </a:cubicBezTo>
                  <a:cubicBezTo>
                    <a:pt x="9859" y="6601"/>
                    <a:pt x="9812" y="6339"/>
                    <a:pt x="9740" y="6054"/>
                  </a:cubicBezTo>
                  <a:cubicBezTo>
                    <a:pt x="10395" y="5887"/>
                    <a:pt x="10871" y="5292"/>
                    <a:pt x="10871" y="4589"/>
                  </a:cubicBezTo>
                  <a:cubicBezTo>
                    <a:pt x="10871" y="3756"/>
                    <a:pt x="10181" y="3077"/>
                    <a:pt x="9347" y="3077"/>
                  </a:cubicBezTo>
                  <a:cubicBezTo>
                    <a:pt x="9216" y="3077"/>
                    <a:pt x="9073" y="3089"/>
                    <a:pt x="8931" y="3137"/>
                  </a:cubicBezTo>
                  <a:cubicBezTo>
                    <a:pt x="8835" y="2851"/>
                    <a:pt x="8692" y="2577"/>
                    <a:pt x="8514" y="2327"/>
                  </a:cubicBezTo>
                  <a:cubicBezTo>
                    <a:pt x="8133" y="1755"/>
                    <a:pt x="7585" y="1303"/>
                    <a:pt x="6954" y="1017"/>
                  </a:cubicBezTo>
                  <a:lnTo>
                    <a:pt x="6954" y="517"/>
                  </a:lnTo>
                  <a:cubicBezTo>
                    <a:pt x="6954" y="458"/>
                    <a:pt x="6930" y="410"/>
                    <a:pt x="6883" y="374"/>
                  </a:cubicBezTo>
                  <a:cubicBezTo>
                    <a:pt x="6855" y="360"/>
                    <a:pt x="6823" y="355"/>
                    <a:pt x="6792" y="355"/>
                  </a:cubicBezTo>
                  <a:cubicBezTo>
                    <a:pt x="6769" y="355"/>
                    <a:pt x="6748" y="357"/>
                    <a:pt x="6728" y="362"/>
                  </a:cubicBezTo>
                  <a:lnTo>
                    <a:pt x="6049" y="636"/>
                  </a:lnTo>
                  <a:lnTo>
                    <a:pt x="5930" y="124"/>
                  </a:lnTo>
                  <a:cubicBezTo>
                    <a:pt x="5918" y="77"/>
                    <a:pt x="5883" y="53"/>
                    <a:pt x="5859" y="29"/>
                  </a:cubicBezTo>
                  <a:cubicBezTo>
                    <a:pt x="5824" y="12"/>
                    <a:pt x="5789" y="1"/>
                    <a:pt x="575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8" name="Google Shape;13028;p63"/>
            <p:cNvSpPr/>
            <p:nvPr/>
          </p:nvSpPr>
          <p:spPr>
            <a:xfrm>
              <a:off x="4250477" y="1641618"/>
              <a:ext cx="43456" cy="48032"/>
            </a:xfrm>
            <a:custGeom>
              <a:avLst/>
              <a:gdLst/>
              <a:ahLst/>
              <a:cxnLst/>
              <a:rect l="l" t="t" r="r" b="b"/>
              <a:pathLst>
                <a:path w="1358" h="1501" extrusionOk="0">
                  <a:moveTo>
                    <a:pt x="679" y="1"/>
                  </a:moveTo>
                  <a:cubicBezTo>
                    <a:pt x="298" y="1"/>
                    <a:pt x="1" y="298"/>
                    <a:pt x="1" y="667"/>
                  </a:cubicBezTo>
                  <a:lnTo>
                    <a:pt x="1" y="834"/>
                  </a:lnTo>
                  <a:cubicBezTo>
                    <a:pt x="1" y="1203"/>
                    <a:pt x="298" y="1501"/>
                    <a:pt x="679" y="1501"/>
                  </a:cubicBezTo>
                  <a:cubicBezTo>
                    <a:pt x="1048" y="1501"/>
                    <a:pt x="1346" y="1203"/>
                    <a:pt x="1346" y="834"/>
                  </a:cubicBezTo>
                  <a:lnTo>
                    <a:pt x="1346" y="667"/>
                  </a:lnTo>
                  <a:cubicBezTo>
                    <a:pt x="1358" y="596"/>
                    <a:pt x="1286" y="513"/>
                    <a:pt x="1191" y="513"/>
                  </a:cubicBezTo>
                  <a:cubicBezTo>
                    <a:pt x="1108" y="513"/>
                    <a:pt x="1036" y="596"/>
                    <a:pt x="1036" y="679"/>
                  </a:cubicBezTo>
                  <a:lnTo>
                    <a:pt x="1036" y="846"/>
                  </a:lnTo>
                  <a:cubicBezTo>
                    <a:pt x="1036" y="1037"/>
                    <a:pt x="870" y="1203"/>
                    <a:pt x="679" y="1203"/>
                  </a:cubicBezTo>
                  <a:cubicBezTo>
                    <a:pt x="477" y="1203"/>
                    <a:pt x="322" y="1037"/>
                    <a:pt x="322" y="846"/>
                  </a:cubicBezTo>
                  <a:lnTo>
                    <a:pt x="322" y="679"/>
                  </a:lnTo>
                  <a:cubicBezTo>
                    <a:pt x="322" y="489"/>
                    <a:pt x="477" y="322"/>
                    <a:pt x="679" y="322"/>
                  </a:cubicBezTo>
                  <a:cubicBezTo>
                    <a:pt x="763" y="322"/>
                    <a:pt x="834" y="251"/>
                    <a:pt x="834" y="156"/>
                  </a:cubicBezTo>
                  <a:cubicBezTo>
                    <a:pt x="834" y="72"/>
                    <a:pt x="763"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9" name="Google Shape;13029;p63"/>
            <p:cNvSpPr/>
            <p:nvPr/>
          </p:nvSpPr>
          <p:spPr>
            <a:xfrm>
              <a:off x="4348781" y="1641618"/>
              <a:ext cx="43456" cy="48032"/>
            </a:xfrm>
            <a:custGeom>
              <a:avLst/>
              <a:gdLst/>
              <a:ahLst/>
              <a:cxnLst/>
              <a:rect l="l" t="t" r="r" b="b"/>
              <a:pathLst>
                <a:path w="1358" h="1501" extrusionOk="0">
                  <a:moveTo>
                    <a:pt x="667" y="1"/>
                  </a:moveTo>
                  <a:cubicBezTo>
                    <a:pt x="298" y="1"/>
                    <a:pt x="0" y="298"/>
                    <a:pt x="0" y="667"/>
                  </a:cubicBezTo>
                  <a:lnTo>
                    <a:pt x="0" y="834"/>
                  </a:lnTo>
                  <a:cubicBezTo>
                    <a:pt x="0" y="1203"/>
                    <a:pt x="298" y="1501"/>
                    <a:pt x="667" y="1501"/>
                  </a:cubicBezTo>
                  <a:cubicBezTo>
                    <a:pt x="1036" y="1501"/>
                    <a:pt x="1334" y="1203"/>
                    <a:pt x="1334" y="834"/>
                  </a:cubicBezTo>
                  <a:lnTo>
                    <a:pt x="1334" y="667"/>
                  </a:lnTo>
                  <a:cubicBezTo>
                    <a:pt x="1358" y="596"/>
                    <a:pt x="1274" y="513"/>
                    <a:pt x="1191" y="513"/>
                  </a:cubicBezTo>
                  <a:cubicBezTo>
                    <a:pt x="1096" y="513"/>
                    <a:pt x="1024" y="596"/>
                    <a:pt x="1024" y="679"/>
                  </a:cubicBezTo>
                  <a:lnTo>
                    <a:pt x="1024" y="846"/>
                  </a:lnTo>
                  <a:cubicBezTo>
                    <a:pt x="1024" y="1037"/>
                    <a:pt x="858" y="1203"/>
                    <a:pt x="667" y="1203"/>
                  </a:cubicBezTo>
                  <a:cubicBezTo>
                    <a:pt x="477" y="1203"/>
                    <a:pt x="310" y="1037"/>
                    <a:pt x="310" y="846"/>
                  </a:cubicBezTo>
                  <a:lnTo>
                    <a:pt x="310" y="679"/>
                  </a:lnTo>
                  <a:cubicBezTo>
                    <a:pt x="310" y="489"/>
                    <a:pt x="477" y="322"/>
                    <a:pt x="667" y="322"/>
                  </a:cubicBezTo>
                  <a:cubicBezTo>
                    <a:pt x="762" y="322"/>
                    <a:pt x="834" y="251"/>
                    <a:pt x="834" y="156"/>
                  </a:cubicBezTo>
                  <a:cubicBezTo>
                    <a:pt x="834" y="72"/>
                    <a:pt x="762"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0" name="Google Shape;13030;p63"/>
            <p:cNvSpPr/>
            <p:nvPr/>
          </p:nvSpPr>
          <p:spPr>
            <a:xfrm>
              <a:off x="4261517" y="1739922"/>
              <a:ext cx="119680" cy="59840"/>
            </a:xfrm>
            <a:custGeom>
              <a:avLst/>
              <a:gdLst/>
              <a:ahLst/>
              <a:cxnLst/>
              <a:rect l="l" t="t" r="r" b="b"/>
              <a:pathLst>
                <a:path w="3740" h="1870" extrusionOk="0">
                  <a:moveTo>
                    <a:pt x="3394" y="322"/>
                  </a:moveTo>
                  <a:cubicBezTo>
                    <a:pt x="3370" y="643"/>
                    <a:pt x="3192" y="941"/>
                    <a:pt x="2918" y="1167"/>
                  </a:cubicBezTo>
                  <a:cubicBezTo>
                    <a:pt x="2727" y="774"/>
                    <a:pt x="2323" y="513"/>
                    <a:pt x="1858" y="513"/>
                  </a:cubicBezTo>
                  <a:cubicBezTo>
                    <a:pt x="1418" y="513"/>
                    <a:pt x="1013" y="763"/>
                    <a:pt x="810" y="1167"/>
                  </a:cubicBezTo>
                  <a:cubicBezTo>
                    <a:pt x="549" y="941"/>
                    <a:pt x="370" y="655"/>
                    <a:pt x="334" y="322"/>
                  </a:cubicBezTo>
                  <a:close/>
                  <a:moveTo>
                    <a:pt x="1858" y="834"/>
                  </a:moveTo>
                  <a:cubicBezTo>
                    <a:pt x="2204" y="834"/>
                    <a:pt x="2513" y="1048"/>
                    <a:pt x="2644" y="1346"/>
                  </a:cubicBezTo>
                  <a:cubicBezTo>
                    <a:pt x="2477" y="1429"/>
                    <a:pt x="2263" y="1501"/>
                    <a:pt x="2025" y="1525"/>
                  </a:cubicBezTo>
                  <a:lnTo>
                    <a:pt x="2025" y="1346"/>
                  </a:lnTo>
                  <a:cubicBezTo>
                    <a:pt x="2025" y="1251"/>
                    <a:pt x="1953" y="1179"/>
                    <a:pt x="1858" y="1179"/>
                  </a:cubicBezTo>
                  <a:cubicBezTo>
                    <a:pt x="1775" y="1179"/>
                    <a:pt x="1703" y="1251"/>
                    <a:pt x="1703" y="1346"/>
                  </a:cubicBezTo>
                  <a:lnTo>
                    <a:pt x="1703" y="1525"/>
                  </a:lnTo>
                  <a:cubicBezTo>
                    <a:pt x="1477" y="1501"/>
                    <a:pt x="1251" y="1429"/>
                    <a:pt x="1072" y="1346"/>
                  </a:cubicBezTo>
                  <a:cubicBezTo>
                    <a:pt x="1203" y="1036"/>
                    <a:pt x="1525" y="834"/>
                    <a:pt x="1858" y="834"/>
                  </a:cubicBezTo>
                  <a:close/>
                  <a:moveTo>
                    <a:pt x="168" y="1"/>
                  </a:moveTo>
                  <a:cubicBezTo>
                    <a:pt x="72" y="1"/>
                    <a:pt x="1" y="84"/>
                    <a:pt x="1" y="167"/>
                  </a:cubicBezTo>
                  <a:cubicBezTo>
                    <a:pt x="1" y="1108"/>
                    <a:pt x="834" y="1870"/>
                    <a:pt x="1858" y="1870"/>
                  </a:cubicBezTo>
                  <a:cubicBezTo>
                    <a:pt x="2894" y="1870"/>
                    <a:pt x="3728" y="1108"/>
                    <a:pt x="3728" y="167"/>
                  </a:cubicBezTo>
                  <a:cubicBezTo>
                    <a:pt x="3739" y="84"/>
                    <a:pt x="3668" y="1"/>
                    <a:pt x="3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1" name="Google Shape;13031;p63"/>
            <p:cNvSpPr/>
            <p:nvPr/>
          </p:nvSpPr>
          <p:spPr>
            <a:xfrm>
              <a:off x="4221517" y="1614482"/>
              <a:ext cx="199296" cy="206624"/>
            </a:xfrm>
            <a:custGeom>
              <a:avLst/>
              <a:gdLst/>
              <a:ahLst/>
              <a:cxnLst/>
              <a:rect l="l" t="t" r="r" b="b"/>
              <a:pathLst>
                <a:path w="6228" h="6457" extrusionOk="0">
                  <a:moveTo>
                    <a:pt x="1764" y="1"/>
                  </a:moveTo>
                  <a:cubicBezTo>
                    <a:pt x="1669" y="1"/>
                    <a:pt x="1573" y="9"/>
                    <a:pt x="1477" y="27"/>
                  </a:cubicBezTo>
                  <a:cubicBezTo>
                    <a:pt x="763" y="134"/>
                    <a:pt x="191" y="706"/>
                    <a:pt x="72" y="1420"/>
                  </a:cubicBezTo>
                  <a:cubicBezTo>
                    <a:pt x="1" y="1920"/>
                    <a:pt x="132" y="2408"/>
                    <a:pt x="453" y="2778"/>
                  </a:cubicBezTo>
                  <a:cubicBezTo>
                    <a:pt x="632" y="2992"/>
                    <a:pt x="656" y="3266"/>
                    <a:pt x="548" y="3528"/>
                  </a:cubicBezTo>
                  <a:cubicBezTo>
                    <a:pt x="453" y="3766"/>
                    <a:pt x="406" y="4004"/>
                    <a:pt x="406" y="4254"/>
                  </a:cubicBezTo>
                  <a:cubicBezTo>
                    <a:pt x="406" y="5468"/>
                    <a:pt x="1620" y="6457"/>
                    <a:pt x="3108" y="6457"/>
                  </a:cubicBezTo>
                  <a:cubicBezTo>
                    <a:pt x="4597" y="6457"/>
                    <a:pt x="5823" y="5468"/>
                    <a:pt x="5823" y="4254"/>
                  </a:cubicBezTo>
                  <a:cubicBezTo>
                    <a:pt x="5823" y="4004"/>
                    <a:pt x="5775" y="3766"/>
                    <a:pt x="5668" y="3528"/>
                  </a:cubicBezTo>
                  <a:cubicBezTo>
                    <a:pt x="5573" y="3266"/>
                    <a:pt x="5609" y="2992"/>
                    <a:pt x="5775" y="2778"/>
                  </a:cubicBezTo>
                  <a:cubicBezTo>
                    <a:pt x="6085" y="2408"/>
                    <a:pt x="6228" y="1920"/>
                    <a:pt x="6144" y="1420"/>
                  </a:cubicBezTo>
                  <a:cubicBezTo>
                    <a:pt x="6109" y="1146"/>
                    <a:pt x="5990" y="861"/>
                    <a:pt x="5787" y="634"/>
                  </a:cubicBezTo>
                  <a:cubicBezTo>
                    <a:pt x="5754" y="595"/>
                    <a:pt x="5714" y="577"/>
                    <a:pt x="5673" y="577"/>
                  </a:cubicBezTo>
                  <a:cubicBezTo>
                    <a:pt x="5639" y="577"/>
                    <a:pt x="5605" y="589"/>
                    <a:pt x="5573" y="611"/>
                  </a:cubicBezTo>
                  <a:cubicBezTo>
                    <a:pt x="5489" y="658"/>
                    <a:pt x="5489" y="753"/>
                    <a:pt x="5537" y="825"/>
                  </a:cubicBezTo>
                  <a:cubicBezTo>
                    <a:pt x="5692" y="1027"/>
                    <a:pt x="5787" y="1230"/>
                    <a:pt x="5823" y="1468"/>
                  </a:cubicBezTo>
                  <a:cubicBezTo>
                    <a:pt x="5882" y="1873"/>
                    <a:pt x="5775" y="2254"/>
                    <a:pt x="5525" y="2575"/>
                  </a:cubicBezTo>
                  <a:cubicBezTo>
                    <a:pt x="5263" y="2873"/>
                    <a:pt x="5216" y="3290"/>
                    <a:pt x="5370" y="3635"/>
                  </a:cubicBezTo>
                  <a:cubicBezTo>
                    <a:pt x="5466" y="3837"/>
                    <a:pt x="5513" y="4040"/>
                    <a:pt x="5513" y="4254"/>
                  </a:cubicBezTo>
                  <a:cubicBezTo>
                    <a:pt x="5513" y="5290"/>
                    <a:pt x="4430" y="6123"/>
                    <a:pt x="3108" y="6123"/>
                  </a:cubicBezTo>
                  <a:cubicBezTo>
                    <a:pt x="1787" y="6123"/>
                    <a:pt x="715" y="5278"/>
                    <a:pt x="715" y="4254"/>
                  </a:cubicBezTo>
                  <a:cubicBezTo>
                    <a:pt x="715" y="4040"/>
                    <a:pt x="763" y="3837"/>
                    <a:pt x="846" y="3635"/>
                  </a:cubicBezTo>
                  <a:cubicBezTo>
                    <a:pt x="1013" y="3290"/>
                    <a:pt x="953" y="2873"/>
                    <a:pt x="703" y="2575"/>
                  </a:cubicBezTo>
                  <a:cubicBezTo>
                    <a:pt x="441" y="2254"/>
                    <a:pt x="346" y="1873"/>
                    <a:pt x="406" y="1468"/>
                  </a:cubicBezTo>
                  <a:cubicBezTo>
                    <a:pt x="489" y="884"/>
                    <a:pt x="953" y="432"/>
                    <a:pt x="1537" y="337"/>
                  </a:cubicBezTo>
                  <a:cubicBezTo>
                    <a:pt x="1606" y="327"/>
                    <a:pt x="1676" y="322"/>
                    <a:pt x="1746" y="322"/>
                  </a:cubicBezTo>
                  <a:cubicBezTo>
                    <a:pt x="2090" y="322"/>
                    <a:pt x="2422" y="444"/>
                    <a:pt x="2680" y="682"/>
                  </a:cubicBezTo>
                  <a:cubicBezTo>
                    <a:pt x="2805" y="795"/>
                    <a:pt x="2962" y="852"/>
                    <a:pt x="3120" y="852"/>
                  </a:cubicBezTo>
                  <a:cubicBezTo>
                    <a:pt x="3278" y="852"/>
                    <a:pt x="3436" y="795"/>
                    <a:pt x="3561" y="682"/>
                  </a:cubicBezTo>
                  <a:cubicBezTo>
                    <a:pt x="3818" y="444"/>
                    <a:pt x="4150" y="322"/>
                    <a:pt x="4495" y="322"/>
                  </a:cubicBezTo>
                  <a:cubicBezTo>
                    <a:pt x="4564" y="322"/>
                    <a:pt x="4634" y="327"/>
                    <a:pt x="4704" y="337"/>
                  </a:cubicBezTo>
                  <a:cubicBezTo>
                    <a:pt x="4835" y="349"/>
                    <a:pt x="4966" y="396"/>
                    <a:pt x="5097" y="456"/>
                  </a:cubicBezTo>
                  <a:cubicBezTo>
                    <a:pt x="5117" y="469"/>
                    <a:pt x="5139" y="475"/>
                    <a:pt x="5162" y="475"/>
                  </a:cubicBezTo>
                  <a:cubicBezTo>
                    <a:pt x="5221" y="475"/>
                    <a:pt x="5282" y="436"/>
                    <a:pt x="5299" y="384"/>
                  </a:cubicBezTo>
                  <a:cubicBezTo>
                    <a:pt x="5323" y="313"/>
                    <a:pt x="5299" y="206"/>
                    <a:pt x="5228" y="170"/>
                  </a:cubicBezTo>
                  <a:cubicBezTo>
                    <a:pt x="5073" y="99"/>
                    <a:pt x="4918" y="39"/>
                    <a:pt x="4751" y="27"/>
                  </a:cubicBezTo>
                  <a:cubicBezTo>
                    <a:pt x="4664" y="15"/>
                    <a:pt x="4577" y="9"/>
                    <a:pt x="4491" y="9"/>
                  </a:cubicBezTo>
                  <a:cubicBezTo>
                    <a:pt x="4063" y="9"/>
                    <a:pt x="3662" y="156"/>
                    <a:pt x="3334" y="444"/>
                  </a:cubicBezTo>
                  <a:cubicBezTo>
                    <a:pt x="3275" y="503"/>
                    <a:pt x="3192" y="533"/>
                    <a:pt x="3108" y="533"/>
                  </a:cubicBezTo>
                  <a:cubicBezTo>
                    <a:pt x="3025" y="533"/>
                    <a:pt x="2942" y="503"/>
                    <a:pt x="2882" y="444"/>
                  </a:cubicBezTo>
                  <a:cubicBezTo>
                    <a:pt x="2572" y="163"/>
                    <a:pt x="2176" y="1"/>
                    <a:pt x="17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2" name="Google Shape;13032;p63"/>
          <p:cNvGrpSpPr/>
          <p:nvPr/>
        </p:nvGrpSpPr>
        <p:grpSpPr>
          <a:xfrm>
            <a:off x="2499405" y="1499890"/>
            <a:ext cx="347488" cy="348256"/>
            <a:chOff x="2499405" y="1499890"/>
            <a:chExt cx="347488" cy="348256"/>
          </a:xfrm>
        </p:grpSpPr>
        <p:sp>
          <p:nvSpPr>
            <p:cNvPr id="13033" name="Google Shape;13033;p63"/>
            <p:cNvSpPr/>
            <p:nvPr/>
          </p:nvSpPr>
          <p:spPr>
            <a:xfrm>
              <a:off x="2634669" y="1725842"/>
              <a:ext cx="75840" cy="38496"/>
            </a:xfrm>
            <a:custGeom>
              <a:avLst/>
              <a:gdLst/>
              <a:ahLst/>
              <a:cxnLst/>
              <a:rect l="l" t="t" r="r" b="b"/>
              <a:pathLst>
                <a:path w="2370" h="1203" extrusionOk="0">
                  <a:moveTo>
                    <a:pt x="1965" y="310"/>
                  </a:moveTo>
                  <a:cubicBezTo>
                    <a:pt x="2012" y="310"/>
                    <a:pt x="2024" y="333"/>
                    <a:pt x="2024" y="357"/>
                  </a:cubicBezTo>
                  <a:cubicBezTo>
                    <a:pt x="2024" y="381"/>
                    <a:pt x="2024" y="417"/>
                    <a:pt x="2000" y="429"/>
                  </a:cubicBezTo>
                  <a:lnTo>
                    <a:pt x="1643" y="726"/>
                  </a:lnTo>
                  <a:cubicBezTo>
                    <a:pt x="1506" y="839"/>
                    <a:pt x="1346" y="896"/>
                    <a:pt x="1185" y="896"/>
                  </a:cubicBezTo>
                  <a:cubicBezTo>
                    <a:pt x="1024" y="896"/>
                    <a:pt x="863" y="839"/>
                    <a:pt x="726" y="726"/>
                  </a:cubicBezTo>
                  <a:lnTo>
                    <a:pt x="369" y="429"/>
                  </a:lnTo>
                  <a:cubicBezTo>
                    <a:pt x="345" y="405"/>
                    <a:pt x="345" y="369"/>
                    <a:pt x="357" y="357"/>
                  </a:cubicBezTo>
                  <a:cubicBezTo>
                    <a:pt x="357" y="333"/>
                    <a:pt x="369" y="310"/>
                    <a:pt x="417" y="310"/>
                  </a:cubicBezTo>
                  <a:close/>
                  <a:moveTo>
                    <a:pt x="417" y="0"/>
                  </a:moveTo>
                  <a:cubicBezTo>
                    <a:pt x="250" y="0"/>
                    <a:pt x="119" y="107"/>
                    <a:pt x="60" y="250"/>
                  </a:cubicBezTo>
                  <a:cubicBezTo>
                    <a:pt x="0" y="405"/>
                    <a:pt x="48" y="560"/>
                    <a:pt x="179" y="667"/>
                  </a:cubicBezTo>
                  <a:lnTo>
                    <a:pt x="536" y="964"/>
                  </a:lnTo>
                  <a:cubicBezTo>
                    <a:pt x="726" y="1131"/>
                    <a:pt x="965" y="1203"/>
                    <a:pt x="1191" y="1203"/>
                  </a:cubicBezTo>
                  <a:cubicBezTo>
                    <a:pt x="1429" y="1203"/>
                    <a:pt x="1655" y="1131"/>
                    <a:pt x="1846" y="964"/>
                  </a:cubicBezTo>
                  <a:lnTo>
                    <a:pt x="2203" y="667"/>
                  </a:lnTo>
                  <a:cubicBezTo>
                    <a:pt x="2322" y="583"/>
                    <a:pt x="2370" y="417"/>
                    <a:pt x="2322" y="250"/>
                  </a:cubicBezTo>
                  <a:cubicBezTo>
                    <a:pt x="2262" y="107"/>
                    <a:pt x="2131" y="0"/>
                    <a:pt x="1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4" name="Google Shape;13034;p63"/>
            <p:cNvSpPr/>
            <p:nvPr/>
          </p:nvSpPr>
          <p:spPr>
            <a:xfrm>
              <a:off x="2596173" y="1658002"/>
              <a:ext cx="43456" cy="48416"/>
            </a:xfrm>
            <a:custGeom>
              <a:avLst/>
              <a:gdLst/>
              <a:ahLst/>
              <a:cxnLst/>
              <a:rect l="l" t="t" r="r" b="b"/>
              <a:pathLst>
                <a:path w="1358" h="1513" extrusionOk="0">
                  <a:moveTo>
                    <a:pt x="667" y="1"/>
                  </a:moveTo>
                  <a:cubicBezTo>
                    <a:pt x="298" y="1"/>
                    <a:pt x="1" y="298"/>
                    <a:pt x="1" y="679"/>
                  </a:cubicBezTo>
                  <a:lnTo>
                    <a:pt x="1" y="834"/>
                  </a:lnTo>
                  <a:cubicBezTo>
                    <a:pt x="1" y="1215"/>
                    <a:pt x="298" y="1513"/>
                    <a:pt x="667" y="1513"/>
                  </a:cubicBezTo>
                  <a:cubicBezTo>
                    <a:pt x="1036" y="1513"/>
                    <a:pt x="1334" y="1215"/>
                    <a:pt x="1334" y="834"/>
                  </a:cubicBezTo>
                  <a:lnTo>
                    <a:pt x="1334" y="679"/>
                  </a:lnTo>
                  <a:cubicBezTo>
                    <a:pt x="1358" y="584"/>
                    <a:pt x="1275" y="525"/>
                    <a:pt x="1191" y="525"/>
                  </a:cubicBezTo>
                  <a:cubicBezTo>
                    <a:pt x="1096" y="525"/>
                    <a:pt x="1025" y="596"/>
                    <a:pt x="1025" y="691"/>
                  </a:cubicBezTo>
                  <a:lnTo>
                    <a:pt x="1025" y="858"/>
                  </a:lnTo>
                  <a:cubicBezTo>
                    <a:pt x="1025" y="1048"/>
                    <a:pt x="858" y="1215"/>
                    <a:pt x="667" y="1215"/>
                  </a:cubicBezTo>
                  <a:cubicBezTo>
                    <a:pt x="477" y="1215"/>
                    <a:pt x="310" y="1048"/>
                    <a:pt x="310" y="858"/>
                  </a:cubicBezTo>
                  <a:lnTo>
                    <a:pt x="310" y="691"/>
                  </a:lnTo>
                  <a:cubicBezTo>
                    <a:pt x="310" y="501"/>
                    <a:pt x="477" y="334"/>
                    <a:pt x="667" y="334"/>
                  </a:cubicBezTo>
                  <a:cubicBezTo>
                    <a:pt x="763" y="334"/>
                    <a:pt x="834" y="263"/>
                    <a:pt x="834" y="167"/>
                  </a:cubicBezTo>
                  <a:cubicBezTo>
                    <a:pt x="834" y="84"/>
                    <a:pt x="763"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5" name="Google Shape;13035;p63"/>
            <p:cNvSpPr/>
            <p:nvPr/>
          </p:nvSpPr>
          <p:spPr>
            <a:xfrm>
              <a:off x="2705133" y="1658002"/>
              <a:ext cx="43488" cy="48416"/>
            </a:xfrm>
            <a:custGeom>
              <a:avLst/>
              <a:gdLst/>
              <a:ahLst/>
              <a:cxnLst/>
              <a:rect l="l" t="t" r="r" b="b"/>
              <a:pathLst>
                <a:path w="1359" h="1513" extrusionOk="0">
                  <a:moveTo>
                    <a:pt x="668" y="1"/>
                  </a:moveTo>
                  <a:cubicBezTo>
                    <a:pt x="298" y="1"/>
                    <a:pt x="1" y="298"/>
                    <a:pt x="1" y="679"/>
                  </a:cubicBezTo>
                  <a:lnTo>
                    <a:pt x="1" y="834"/>
                  </a:lnTo>
                  <a:cubicBezTo>
                    <a:pt x="1" y="1215"/>
                    <a:pt x="298" y="1513"/>
                    <a:pt x="668" y="1513"/>
                  </a:cubicBezTo>
                  <a:cubicBezTo>
                    <a:pt x="1037" y="1513"/>
                    <a:pt x="1334" y="1215"/>
                    <a:pt x="1334" y="834"/>
                  </a:cubicBezTo>
                  <a:lnTo>
                    <a:pt x="1334" y="679"/>
                  </a:lnTo>
                  <a:cubicBezTo>
                    <a:pt x="1358" y="584"/>
                    <a:pt x="1287" y="525"/>
                    <a:pt x="1191" y="525"/>
                  </a:cubicBezTo>
                  <a:cubicBezTo>
                    <a:pt x="1096" y="525"/>
                    <a:pt x="1025" y="596"/>
                    <a:pt x="1025" y="691"/>
                  </a:cubicBezTo>
                  <a:lnTo>
                    <a:pt x="1025" y="858"/>
                  </a:lnTo>
                  <a:cubicBezTo>
                    <a:pt x="1025" y="1048"/>
                    <a:pt x="858" y="1215"/>
                    <a:pt x="668" y="1215"/>
                  </a:cubicBezTo>
                  <a:cubicBezTo>
                    <a:pt x="477" y="1215"/>
                    <a:pt x="310" y="1048"/>
                    <a:pt x="310" y="858"/>
                  </a:cubicBezTo>
                  <a:lnTo>
                    <a:pt x="310" y="691"/>
                  </a:lnTo>
                  <a:cubicBezTo>
                    <a:pt x="310" y="501"/>
                    <a:pt x="477" y="334"/>
                    <a:pt x="668" y="334"/>
                  </a:cubicBezTo>
                  <a:cubicBezTo>
                    <a:pt x="763" y="334"/>
                    <a:pt x="834" y="263"/>
                    <a:pt x="834" y="167"/>
                  </a:cubicBezTo>
                  <a:cubicBezTo>
                    <a:pt x="834" y="84"/>
                    <a:pt x="763" y="1"/>
                    <a:pt x="6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6" name="Google Shape;13036;p63"/>
            <p:cNvSpPr/>
            <p:nvPr/>
          </p:nvSpPr>
          <p:spPr>
            <a:xfrm>
              <a:off x="2499405" y="1499890"/>
              <a:ext cx="347488" cy="348256"/>
            </a:xfrm>
            <a:custGeom>
              <a:avLst/>
              <a:gdLst/>
              <a:ahLst/>
              <a:cxnLst/>
              <a:rect l="l" t="t" r="r" b="b"/>
              <a:pathLst>
                <a:path w="10859" h="10883" extrusionOk="0">
                  <a:moveTo>
                    <a:pt x="2102" y="1361"/>
                  </a:moveTo>
                  <a:cubicBezTo>
                    <a:pt x="2136" y="1361"/>
                    <a:pt x="2169" y="1364"/>
                    <a:pt x="2203" y="1370"/>
                  </a:cubicBezTo>
                  <a:cubicBezTo>
                    <a:pt x="2382" y="1406"/>
                    <a:pt x="2917" y="1537"/>
                    <a:pt x="3549" y="1953"/>
                  </a:cubicBezTo>
                  <a:cubicBezTo>
                    <a:pt x="3441" y="1989"/>
                    <a:pt x="3346" y="2048"/>
                    <a:pt x="3263" y="2108"/>
                  </a:cubicBezTo>
                  <a:cubicBezTo>
                    <a:pt x="3227" y="2132"/>
                    <a:pt x="3191" y="2156"/>
                    <a:pt x="3144" y="2191"/>
                  </a:cubicBezTo>
                  <a:cubicBezTo>
                    <a:pt x="2715" y="1763"/>
                    <a:pt x="2239" y="1525"/>
                    <a:pt x="1965" y="1477"/>
                  </a:cubicBezTo>
                  <a:cubicBezTo>
                    <a:pt x="1905" y="1465"/>
                    <a:pt x="1846" y="1465"/>
                    <a:pt x="1798" y="1465"/>
                  </a:cubicBezTo>
                  <a:cubicBezTo>
                    <a:pt x="1889" y="1392"/>
                    <a:pt x="1994" y="1361"/>
                    <a:pt x="2102" y="1361"/>
                  </a:cubicBezTo>
                  <a:close/>
                  <a:moveTo>
                    <a:pt x="6442" y="346"/>
                  </a:moveTo>
                  <a:cubicBezTo>
                    <a:pt x="6906" y="346"/>
                    <a:pt x="7311" y="477"/>
                    <a:pt x="7525" y="572"/>
                  </a:cubicBezTo>
                  <a:lnTo>
                    <a:pt x="7347" y="751"/>
                  </a:lnTo>
                  <a:cubicBezTo>
                    <a:pt x="7311" y="798"/>
                    <a:pt x="7287" y="846"/>
                    <a:pt x="7311" y="894"/>
                  </a:cubicBezTo>
                  <a:cubicBezTo>
                    <a:pt x="7323" y="953"/>
                    <a:pt x="7370" y="1001"/>
                    <a:pt x="7430" y="1013"/>
                  </a:cubicBezTo>
                  <a:cubicBezTo>
                    <a:pt x="7632" y="1072"/>
                    <a:pt x="7847" y="1132"/>
                    <a:pt x="8025" y="1215"/>
                  </a:cubicBezTo>
                  <a:cubicBezTo>
                    <a:pt x="7692" y="1334"/>
                    <a:pt x="7263" y="1537"/>
                    <a:pt x="6811" y="1894"/>
                  </a:cubicBezTo>
                  <a:cubicBezTo>
                    <a:pt x="6608" y="1906"/>
                    <a:pt x="6382" y="1953"/>
                    <a:pt x="6144" y="2048"/>
                  </a:cubicBezTo>
                  <a:cubicBezTo>
                    <a:pt x="5835" y="2144"/>
                    <a:pt x="5561" y="2299"/>
                    <a:pt x="5430" y="2370"/>
                  </a:cubicBezTo>
                  <a:cubicBezTo>
                    <a:pt x="5299" y="2299"/>
                    <a:pt x="5025" y="2144"/>
                    <a:pt x="4715" y="2048"/>
                  </a:cubicBezTo>
                  <a:cubicBezTo>
                    <a:pt x="4465" y="1953"/>
                    <a:pt x="4239" y="1906"/>
                    <a:pt x="4049" y="1894"/>
                  </a:cubicBezTo>
                  <a:cubicBezTo>
                    <a:pt x="3596" y="1548"/>
                    <a:pt x="3168" y="1346"/>
                    <a:pt x="2846" y="1215"/>
                  </a:cubicBezTo>
                  <a:cubicBezTo>
                    <a:pt x="2989" y="1132"/>
                    <a:pt x="3203" y="1060"/>
                    <a:pt x="3406" y="1013"/>
                  </a:cubicBezTo>
                  <a:cubicBezTo>
                    <a:pt x="3465" y="1001"/>
                    <a:pt x="3513" y="953"/>
                    <a:pt x="3525" y="894"/>
                  </a:cubicBezTo>
                  <a:cubicBezTo>
                    <a:pt x="3537" y="834"/>
                    <a:pt x="3525" y="775"/>
                    <a:pt x="3489" y="751"/>
                  </a:cubicBezTo>
                  <a:lnTo>
                    <a:pt x="3298" y="572"/>
                  </a:lnTo>
                  <a:cubicBezTo>
                    <a:pt x="3525" y="477"/>
                    <a:pt x="3930" y="346"/>
                    <a:pt x="4394" y="346"/>
                  </a:cubicBezTo>
                  <a:cubicBezTo>
                    <a:pt x="4751" y="346"/>
                    <a:pt x="5013" y="453"/>
                    <a:pt x="5168" y="536"/>
                  </a:cubicBezTo>
                  <a:cubicBezTo>
                    <a:pt x="5239" y="584"/>
                    <a:pt x="5328" y="608"/>
                    <a:pt x="5418" y="608"/>
                  </a:cubicBezTo>
                  <a:cubicBezTo>
                    <a:pt x="5507" y="608"/>
                    <a:pt x="5596" y="584"/>
                    <a:pt x="5668" y="536"/>
                  </a:cubicBezTo>
                  <a:cubicBezTo>
                    <a:pt x="5823" y="453"/>
                    <a:pt x="6073" y="346"/>
                    <a:pt x="6442" y="346"/>
                  </a:cubicBezTo>
                  <a:close/>
                  <a:moveTo>
                    <a:pt x="1840" y="1782"/>
                  </a:moveTo>
                  <a:cubicBezTo>
                    <a:pt x="1869" y="1782"/>
                    <a:pt x="1902" y="1784"/>
                    <a:pt x="1941" y="1787"/>
                  </a:cubicBezTo>
                  <a:cubicBezTo>
                    <a:pt x="2120" y="1822"/>
                    <a:pt x="2513" y="2013"/>
                    <a:pt x="2929" y="2406"/>
                  </a:cubicBezTo>
                  <a:cubicBezTo>
                    <a:pt x="2727" y="2644"/>
                    <a:pt x="2489" y="2953"/>
                    <a:pt x="2275" y="3394"/>
                  </a:cubicBezTo>
                  <a:cubicBezTo>
                    <a:pt x="1917" y="2953"/>
                    <a:pt x="1727" y="2358"/>
                    <a:pt x="1667" y="1894"/>
                  </a:cubicBezTo>
                  <a:cubicBezTo>
                    <a:pt x="1667" y="1882"/>
                    <a:pt x="1667" y="1834"/>
                    <a:pt x="1679" y="1822"/>
                  </a:cubicBezTo>
                  <a:cubicBezTo>
                    <a:pt x="1706" y="1795"/>
                    <a:pt x="1753" y="1782"/>
                    <a:pt x="1840" y="1782"/>
                  </a:cubicBezTo>
                  <a:close/>
                  <a:moveTo>
                    <a:pt x="8691" y="1364"/>
                  </a:moveTo>
                  <a:cubicBezTo>
                    <a:pt x="8804" y="1364"/>
                    <a:pt x="8923" y="1408"/>
                    <a:pt x="9002" y="1477"/>
                  </a:cubicBezTo>
                  <a:cubicBezTo>
                    <a:pt x="8942" y="1477"/>
                    <a:pt x="8906" y="1477"/>
                    <a:pt x="8847" y="1489"/>
                  </a:cubicBezTo>
                  <a:cubicBezTo>
                    <a:pt x="8704" y="1513"/>
                    <a:pt x="8513" y="1584"/>
                    <a:pt x="8335" y="1703"/>
                  </a:cubicBezTo>
                  <a:cubicBezTo>
                    <a:pt x="8263" y="1751"/>
                    <a:pt x="8228" y="1834"/>
                    <a:pt x="8275" y="1929"/>
                  </a:cubicBezTo>
                  <a:cubicBezTo>
                    <a:pt x="8308" y="1979"/>
                    <a:pt x="8358" y="2005"/>
                    <a:pt x="8417" y="2005"/>
                  </a:cubicBezTo>
                  <a:cubicBezTo>
                    <a:pt x="8444" y="2005"/>
                    <a:pt x="8472" y="2000"/>
                    <a:pt x="8502" y="1989"/>
                  </a:cubicBezTo>
                  <a:cubicBezTo>
                    <a:pt x="8644" y="1894"/>
                    <a:pt x="8799" y="1834"/>
                    <a:pt x="8906" y="1822"/>
                  </a:cubicBezTo>
                  <a:cubicBezTo>
                    <a:pt x="8948" y="1815"/>
                    <a:pt x="8984" y="1812"/>
                    <a:pt x="9014" y="1812"/>
                  </a:cubicBezTo>
                  <a:cubicBezTo>
                    <a:pt x="9088" y="1812"/>
                    <a:pt x="9131" y="1829"/>
                    <a:pt x="9156" y="1846"/>
                  </a:cubicBezTo>
                  <a:cubicBezTo>
                    <a:pt x="9168" y="1858"/>
                    <a:pt x="9180" y="1906"/>
                    <a:pt x="9168" y="1941"/>
                  </a:cubicBezTo>
                  <a:cubicBezTo>
                    <a:pt x="9109" y="2382"/>
                    <a:pt x="8918" y="2977"/>
                    <a:pt x="8561" y="3442"/>
                  </a:cubicBezTo>
                  <a:cubicBezTo>
                    <a:pt x="8347" y="3013"/>
                    <a:pt x="8109" y="2680"/>
                    <a:pt x="7906" y="2441"/>
                  </a:cubicBezTo>
                  <a:cubicBezTo>
                    <a:pt x="7930" y="2418"/>
                    <a:pt x="7966" y="2406"/>
                    <a:pt x="7978" y="2370"/>
                  </a:cubicBezTo>
                  <a:cubicBezTo>
                    <a:pt x="8037" y="2310"/>
                    <a:pt x="8049" y="2203"/>
                    <a:pt x="7990" y="2144"/>
                  </a:cubicBezTo>
                  <a:cubicBezTo>
                    <a:pt x="7957" y="2111"/>
                    <a:pt x="7913" y="2093"/>
                    <a:pt x="7871" y="2093"/>
                  </a:cubicBezTo>
                  <a:cubicBezTo>
                    <a:pt x="7836" y="2093"/>
                    <a:pt x="7802" y="2105"/>
                    <a:pt x="7775" y="2132"/>
                  </a:cubicBezTo>
                  <a:lnTo>
                    <a:pt x="7680" y="2227"/>
                  </a:lnTo>
                  <a:cubicBezTo>
                    <a:pt x="7632" y="2191"/>
                    <a:pt x="7609" y="2168"/>
                    <a:pt x="7561" y="2132"/>
                  </a:cubicBezTo>
                  <a:cubicBezTo>
                    <a:pt x="7478" y="2072"/>
                    <a:pt x="7382" y="2013"/>
                    <a:pt x="7275" y="1989"/>
                  </a:cubicBezTo>
                  <a:cubicBezTo>
                    <a:pt x="7894" y="1537"/>
                    <a:pt x="8442" y="1406"/>
                    <a:pt x="8621" y="1370"/>
                  </a:cubicBezTo>
                  <a:cubicBezTo>
                    <a:pt x="8643" y="1366"/>
                    <a:pt x="8667" y="1364"/>
                    <a:pt x="8691" y="1364"/>
                  </a:cubicBezTo>
                  <a:close/>
                  <a:moveTo>
                    <a:pt x="6873" y="2207"/>
                  </a:moveTo>
                  <a:cubicBezTo>
                    <a:pt x="7051" y="2207"/>
                    <a:pt x="7212" y="2247"/>
                    <a:pt x="7335" y="2346"/>
                  </a:cubicBezTo>
                  <a:cubicBezTo>
                    <a:pt x="8168" y="3001"/>
                    <a:pt x="8585" y="4334"/>
                    <a:pt x="8763" y="5085"/>
                  </a:cubicBezTo>
                  <a:cubicBezTo>
                    <a:pt x="9013" y="6168"/>
                    <a:pt x="9049" y="7144"/>
                    <a:pt x="8978" y="7442"/>
                  </a:cubicBezTo>
                  <a:cubicBezTo>
                    <a:pt x="8930" y="7656"/>
                    <a:pt x="8632" y="7966"/>
                    <a:pt x="8240" y="8264"/>
                  </a:cubicBezTo>
                  <a:cubicBezTo>
                    <a:pt x="7859" y="8549"/>
                    <a:pt x="7430" y="8787"/>
                    <a:pt x="6978" y="8954"/>
                  </a:cubicBezTo>
                  <a:cubicBezTo>
                    <a:pt x="7323" y="8704"/>
                    <a:pt x="7549" y="8323"/>
                    <a:pt x="7549" y="7883"/>
                  </a:cubicBezTo>
                  <a:cubicBezTo>
                    <a:pt x="7561" y="7787"/>
                    <a:pt x="7489" y="7716"/>
                    <a:pt x="7394" y="7716"/>
                  </a:cubicBezTo>
                  <a:cubicBezTo>
                    <a:pt x="7311" y="7716"/>
                    <a:pt x="7228" y="7787"/>
                    <a:pt x="7228" y="7883"/>
                  </a:cubicBezTo>
                  <a:cubicBezTo>
                    <a:pt x="7228" y="8418"/>
                    <a:pt x="6799" y="8859"/>
                    <a:pt x="6263" y="8859"/>
                  </a:cubicBezTo>
                  <a:cubicBezTo>
                    <a:pt x="6037" y="8859"/>
                    <a:pt x="5835" y="8787"/>
                    <a:pt x="5656" y="8656"/>
                  </a:cubicBezTo>
                  <a:cubicBezTo>
                    <a:pt x="5579" y="8597"/>
                    <a:pt x="5486" y="8567"/>
                    <a:pt x="5394" y="8567"/>
                  </a:cubicBezTo>
                  <a:cubicBezTo>
                    <a:pt x="5302" y="8567"/>
                    <a:pt x="5209" y="8597"/>
                    <a:pt x="5132" y="8656"/>
                  </a:cubicBezTo>
                  <a:cubicBezTo>
                    <a:pt x="4953" y="8787"/>
                    <a:pt x="4751" y="8859"/>
                    <a:pt x="4525" y="8859"/>
                  </a:cubicBezTo>
                  <a:cubicBezTo>
                    <a:pt x="3989" y="8859"/>
                    <a:pt x="3560" y="8418"/>
                    <a:pt x="3560" y="7883"/>
                  </a:cubicBezTo>
                  <a:cubicBezTo>
                    <a:pt x="3560" y="7787"/>
                    <a:pt x="3477" y="7716"/>
                    <a:pt x="3394" y="7716"/>
                  </a:cubicBezTo>
                  <a:cubicBezTo>
                    <a:pt x="3298" y="7716"/>
                    <a:pt x="3227" y="7787"/>
                    <a:pt x="3227" y="7883"/>
                  </a:cubicBezTo>
                  <a:cubicBezTo>
                    <a:pt x="3227" y="8323"/>
                    <a:pt x="3453" y="8728"/>
                    <a:pt x="3799" y="8954"/>
                  </a:cubicBezTo>
                  <a:cubicBezTo>
                    <a:pt x="3346" y="8787"/>
                    <a:pt x="2917" y="8549"/>
                    <a:pt x="2525" y="8264"/>
                  </a:cubicBezTo>
                  <a:cubicBezTo>
                    <a:pt x="2144" y="7966"/>
                    <a:pt x="1846" y="7656"/>
                    <a:pt x="1798" y="7442"/>
                  </a:cubicBezTo>
                  <a:cubicBezTo>
                    <a:pt x="1727" y="7144"/>
                    <a:pt x="1751" y="6168"/>
                    <a:pt x="2013" y="5085"/>
                  </a:cubicBezTo>
                  <a:cubicBezTo>
                    <a:pt x="2191" y="4334"/>
                    <a:pt x="2608" y="3001"/>
                    <a:pt x="3441" y="2346"/>
                  </a:cubicBezTo>
                  <a:cubicBezTo>
                    <a:pt x="3562" y="2252"/>
                    <a:pt x="3719" y="2214"/>
                    <a:pt x="3893" y="2214"/>
                  </a:cubicBezTo>
                  <a:cubicBezTo>
                    <a:pt x="4356" y="2214"/>
                    <a:pt x="4933" y="2479"/>
                    <a:pt x="5227" y="2644"/>
                  </a:cubicBezTo>
                  <a:lnTo>
                    <a:pt x="5227" y="2894"/>
                  </a:lnTo>
                  <a:cubicBezTo>
                    <a:pt x="5227" y="2977"/>
                    <a:pt x="5299" y="3061"/>
                    <a:pt x="5382" y="3061"/>
                  </a:cubicBezTo>
                  <a:cubicBezTo>
                    <a:pt x="5477" y="3061"/>
                    <a:pt x="5549" y="2977"/>
                    <a:pt x="5549" y="2894"/>
                  </a:cubicBezTo>
                  <a:lnTo>
                    <a:pt x="5549" y="2644"/>
                  </a:lnTo>
                  <a:cubicBezTo>
                    <a:pt x="5841" y="2472"/>
                    <a:pt x="6412" y="2207"/>
                    <a:pt x="6873" y="2207"/>
                  </a:cubicBezTo>
                  <a:close/>
                  <a:moveTo>
                    <a:pt x="5401" y="8880"/>
                  </a:moveTo>
                  <a:cubicBezTo>
                    <a:pt x="5424" y="8880"/>
                    <a:pt x="5448" y="8889"/>
                    <a:pt x="5465" y="8906"/>
                  </a:cubicBezTo>
                  <a:cubicBezTo>
                    <a:pt x="5680" y="9085"/>
                    <a:pt x="5965" y="9192"/>
                    <a:pt x="6263" y="9192"/>
                  </a:cubicBezTo>
                  <a:cubicBezTo>
                    <a:pt x="6382" y="9168"/>
                    <a:pt x="6489" y="9156"/>
                    <a:pt x="6597" y="9145"/>
                  </a:cubicBezTo>
                  <a:lnTo>
                    <a:pt x="6597" y="9145"/>
                  </a:lnTo>
                  <a:cubicBezTo>
                    <a:pt x="6442" y="9490"/>
                    <a:pt x="6085" y="9728"/>
                    <a:pt x="5704" y="9728"/>
                  </a:cubicBezTo>
                  <a:lnTo>
                    <a:pt x="5120" y="9728"/>
                  </a:lnTo>
                  <a:cubicBezTo>
                    <a:pt x="4715" y="9728"/>
                    <a:pt x="4382" y="9478"/>
                    <a:pt x="4227" y="9145"/>
                  </a:cubicBezTo>
                  <a:lnTo>
                    <a:pt x="4227" y="9145"/>
                  </a:lnTo>
                  <a:cubicBezTo>
                    <a:pt x="4334" y="9168"/>
                    <a:pt x="4441" y="9192"/>
                    <a:pt x="4537" y="9192"/>
                  </a:cubicBezTo>
                  <a:cubicBezTo>
                    <a:pt x="4834" y="9192"/>
                    <a:pt x="5108" y="9085"/>
                    <a:pt x="5346" y="8906"/>
                  </a:cubicBezTo>
                  <a:cubicBezTo>
                    <a:pt x="5358" y="8889"/>
                    <a:pt x="5379" y="8880"/>
                    <a:pt x="5401" y="8880"/>
                  </a:cubicBezTo>
                  <a:close/>
                  <a:moveTo>
                    <a:pt x="9418" y="2144"/>
                  </a:moveTo>
                  <a:cubicBezTo>
                    <a:pt x="9918" y="2632"/>
                    <a:pt x="10168" y="3156"/>
                    <a:pt x="10276" y="3430"/>
                  </a:cubicBezTo>
                  <a:lnTo>
                    <a:pt x="9811" y="3430"/>
                  </a:lnTo>
                  <a:cubicBezTo>
                    <a:pt x="9752" y="3430"/>
                    <a:pt x="9704" y="3453"/>
                    <a:pt x="9680" y="3513"/>
                  </a:cubicBezTo>
                  <a:cubicBezTo>
                    <a:pt x="9645" y="3561"/>
                    <a:pt x="9645" y="3632"/>
                    <a:pt x="9680" y="3680"/>
                  </a:cubicBezTo>
                  <a:cubicBezTo>
                    <a:pt x="10311" y="4704"/>
                    <a:pt x="10466" y="6073"/>
                    <a:pt x="10490" y="6597"/>
                  </a:cubicBezTo>
                  <a:lnTo>
                    <a:pt x="10228" y="6490"/>
                  </a:lnTo>
                  <a:cubicBezTo>
                    <a:pt x="10210" y="6485"/>
                    <a:pt x="10191" y="6482"/>
                    <a:pt x="10172" y="6482"/>
                  </a:cubicBezTo>
                  <a:cubicBezTo>
                    <a:pt x="10138" y="6482"/>
                    <a:pt x="10103" y="6491"/>
                    <a:pt x="10073" y="6513"/>
                  </a:cubicBezTo>
                  <a:cubicBezTo>
                    <a:pt x="10037" y="6537"/>
                    <a:pt x="10014" y="6585"/>
                    <a:pt x="10014" y="6644"/>
                  </a:cubicBezTo>
                  <a:cubicBezTo>
                    <a:pt x="10014" y="6656"/>
                    <a:pt x="10014" y="8014"/>
                    <a:pt x="9454" y="8966"/>
                  </a:cubicBezTo>
                  <a:lnTo>
                    <a:pt x="9085" y="8716"/>
                  </a:lnTo>
                  <a:cubicBezTo>
                    <a:pt x="9049" y="8680"/>
                    <a:pt x="9002" y="8680"/>
                    <a:pt x="8966" y="8680"/>
                  </a:cubicBezTo>
                  <a:cubicBezTo>
                    <a:pt x="8918" y="8692"/>
                    <a:pt x="8883" y="8716"/>
                    <a:pt x="8859" y="8752"/>
                  </a:cubicBezTo>
                  <a:cubicBezTo>
                    <a:pt x="8859" y="8776"/>
                    <a:pt x="8394" y="9514"/>
                    <a:pt x="7656" y="9990"/>
                  </a:cubicBezTo>
                  <a:lnTo>
                    <a:pt x="7394" y="9740"/>
                  </a:lnTo>
                  <a:cubicBezTo>
                    <a:pt x="7363" y="9708"/>
                    <a:pt x="7325" y="9694"/>
                    <a:pt x="7287" y="9694"/>
                  </a:cubicBezTo>
                  <a:cubicBezTo>
                    <a:pt x="7253" y="9694"/>
                    <a:pt x="7220" y="9706"/>
                    <a:pt x="7192" y="9728"/>
                  </a:cubicBezTo>
                  <a:cubicBezTo>
                    <a:pt x="7168" y="9728"/>
                    <a:pt x="6370" y="10359"/>
                    <a:pt x="5418" y="10538"/>
                  </a:cubicBezTo>
                  <a:cubicBezTo>
                    <a:pt x="4465" y="10383"/>
                    <a:pt x="3644" y="9740"/>
                    <a:pt x="3644" y="9728"/>
                  </a:cubicBezTo>
                  <a:cubicBezTo>
                    <a:pt x="3616" y="9706"/>
                    <a:pt x="3582" y="9694"/>
                    <a:pt x="3549" y="9694"/>
                  </a:cubicBezTo>
                  <a:cubicBezTo>
                    <a:pt x="3511" y="9694"/>
                    <a:pt x="3473" y="9708"/>
                    <a:pt x="3441" y="9740"/>
                  </a:cubicBezTo>
                  <a:lnTo>
                    <a:pt x="3191" y="9990"/>
                  </a:lnTo>
                  <a:cubicBezTo>
                    <a:pt x="2441" y="9502"/>
                    <a:pt x="2001" y="8752"/>
                    <a:pt x="1977" y="8752"/>
                  </a:cubicBezTo>
                  <a:cubicBezTo>
                    <a:pt x="1953" y="8716"/>
                    <a:pt x="1917" y="8692"/>
                    <a:pt x="1870" y="8680"/>
                  </a:cubicBezTo>
                  <a:cubicBezTo>
                    <a:pt x="1861" y="8677"/>
                    <a:pt x="1851" y="8676"/>
                    <a:pt x="1841" y="8676"/>
                  </a:cubicBezTo>
                  <a:cubicBezTo>
                    <a:pt x="1812" y="8676"/>
                    <a:pt x="1780" y="8689"/>
                    <a:pt x="1763" y="8716"/>
                  </a:cubicBezTo>
                  <a:lnTo>
                    <a:pt x="1382" y="8966"/>
                  </a:lnTo>
                  <a:cubicBezTo>
                    <a:pt x="822" y="8002"/>
                    <a:pt x="822" y="6656"/>
                    <a:pt x="822" y="6644"/>
                  </a:cubicBezTo>
                  <a:cubicBezTo>
                    <a:pt x="822" y="6597"/>
                    <a:pt x="786" y="6537"/>
                    <a:pt x="762" y="6513"/>
                  </a:cubicBezTo>
                  <a:cubicBezTo>
                    <a:pt x="732" y="6490"/>
                    <a:pt x="701" y="6477"/>
                    <a:pt x="667" y="6477"/>
                  </a:cubicBezTo>
                  <a:cubicBezTo>
                    <a:pt x="648" y="6477"/>
                    <a:pt x="629" y="6481"/>
                    <a:pt x="608" y="6490"/>
                  </a:cubicBezTo>
                  <a:lnTo>
                    <a:pt x="310" y="6597"/>
                  </a:lnTo>
                  <a:cubicBezTo>
                    <a:pt x="346" y="6061"/>
                    <a:pt x="489" y="4704"/>
                    <a:pt x="1132" y="3680"/>
                  </a:cubicBezTo>
                  <a:cubicBezTo>
                    <a:pt x="1167" y="3632"/>
                    <a:pt x="1167" y="3572"/>
                    <a:pt x="1132" y="3513"/>
                  </a:cubicBezTo>
                  <a:cubicBezTo>
                    <a:pt x="1108" y="3465"/>
                    <a:pt x="1060" y="3430"/>
                    <a:pt x="1001" y="3430"/>
                  </a:cubicBezTo>
                  <a:lnTo>
                    <a:pt x="536" y="3430"/>
                  </a:lnTo>
                  <a:cubicBezTo>
                    <a:pt x="643" y="3156"/>
                    <a:pt x="893" y="2632"/>
                    <a:pt x="1382" y="2144"/>
                  </a:cubicBezTo>
                  <a:cubicBezTo>
                    <a:pt x="1489" y="2668"/>
                    <a:pt x="1727" y="3275"/>
                    <a:pt x="2132" y="3739"/>
                  </a:cubicBezTo>
                  <a:cubicBezTo>
                    <a:pt x="1977" y="4096"/>
                    <a:pt x="1846" y="4513"/>
                    <a:pt x="1727" y="5013"/>
                  </a:cubicBezTo>
                  <a:cubicBezTo>
                    <a:pt x="1477" y="6109"/>
                    <a:pt x="1417" y="7144"/>
                    <a:pt x="1524" y="7537"/>
                  </a:cubicBezTo>
                  <a:cubicBezTo>
                    <a:pt x="1596" y="7811"/>
                    <a:pt x="1905" y="8192"/>
                    <a:pt x="2370" y="8525"/>
                  </a:cubicBezTo>
                  <a:cubicBezTo>
                    <a:pt x="2846" y="8883"/>
                    <a:pt x="3429" y="9168"/>
                    <a:pt x="3977" y="9335"/>
                  </a:cubicBezTo>
                  <a:cubicBezTo>
                    <a:pt x="4203" y="9752"/>
                    <a:pt x="4632" y="10038"/>
                    <a:pt x="5120" y="10038"/>
                  </a:cubicBezTo>
                  <a:lnTo>
                    <a:pt x="5692" y="10038"/>
                  </a:lnTo>
                  <a:cubicBezTo>
                    <a:pt x="6180" y="10038"/>
                    <a:pt x="6620" y="9752"/>
                    <a:pt x="6835" y="9335"/>
                  </a:cubicBezTo>
                  <a:cubicBezTo>
                    <a:pt x="7382" y="9168"/>
                    <a:pt x="7966" y="8883"/>
                    <a:pt x="8442" y="8525"/>
                  </a:cubicBezTo>
                  <a:cubicBezTo>
                    <a:pt x="8918" y="8192"/>
                    <a:pt x="9216" y="7811"/>
                    <a:pt x="9287" y="7537"/>
                  </a:cubicBezTo>
                  <a:cubicBezTo>
                    <a:pt x="9383" y="7144"/>
                    <a:pt x="9335" y="6109"/>
                    <a:pt x="9085" y="5013"/>
                  </a:cubicBezTo>
                  <a:cubicBezTo>
                    <a:pt x="8966" y="4513"/>
                    <a:pt x="8823" y="4096"/>
                    <a:pt x="8680" y="3739"/>
                  </a:cubicBezTo>
                  <a:cubicBezTo>
                    <a:pt x="9085" y="3287"/>
                    <a:pt x="9335" y="2668"/>
                    <a:pt x="9418" y="2144"/>
                  </a:cubicBezTo>
                  <a:close/>
                  <a:moveTo>
                    <a:pt x="4406" y="1"/>
                  </a:moveTo>
                  <a:cubicBezTo>
                    <a:pt x="3596" y="1"/>
                    <a:pt x="2989" y="346"/>
                    <a:pt x="2965" y="358"/>
                  </a:cubicBezTo>
                  <a:cubicBezTo>
                    <a:pt x="2917" y="394"/>
                    <a:pt x="2882" y="441"/>
                    <a:pt x="2882" y="477"/>
                  </a:cubicBezTo>
                  <a:cubicBezTo>
                    <a:pt x="2882" y="524"/>
                    <a:pt x="2906" y="584"/>
                    <a:pt x="2929" y="620"/>
                  </a:cubicBezTo>
                  <a:lnTo>
                    <a:pt x="3084" y="763"/>
                  </a:lnTo>
                  <a:cubicBezTo>
                    <a:pt x="2822" y="834"/>
                    <a:pt x="2584" y="941"/>
                    <a:pt x="2370" y="1060"/>
                  </a:cubicBezTo>
                  <a:cubicBezTo>
                    <a:pt x="2334" y="1060"/>
                    <a:pt x="2310" y="1048"/>
                    <a:pt x="2286" y="1048"/>
                  </a:cubicBezTo>
                  <a:cubicBezTo>
                    <a:pt x="2234" y="1038"/>
                    <a:pt x="2181" y="1033"/>
                    <a:pt x="2129" y="1033"/>
                  </a:cubicBezTo>
                  <a:cubicBezTo>
                    <a:pt x="1942" y="1033"/>
                    <a:pt x="1759" y="1099"/>
                    <a:pt x="1620" y="1239"/>
                  </a:cubicBezTo>
                  <a:cubicBezTo>
                    <a:pt x="1477" y="1370"/>
                    <a:pt x="1382" y="1548"/>
                    <a:pt x="1370" y="1751"/>
                  </a:cubicBezTo>
                  <a:cubicBezTo>
                    <a:pt x="429" y="2584"/>
                    <a:pt x="191" y="3501"/>
                    <a:pt x="179" y="3549"/>
                  </a:cubicBezTo>
                  <a:cubicBezTo>
                    <a:pt x="167" y="3596"/>
                    <a:pt x="179" y="3656"/>
                    <a:pt x="203" y="3680"/>
                  </a:cubicBezTo>
                  <a:cubicBezTo>
                    <a:pt x="239" y="3727"/>
                    <a:pt x="286" y="3739"/>
                    <a:pt x="322" y="3739"/>
                  </a:cubicBezTo>
                  <a:lnTo>
                    <a:pt x="727" y="3739"/>
                  </a:lnTo>
                  <a:cubicBezTo>
                    <a:pt x="0" y="5096"/>
                    <a:pt x="0" y="6751"/>
                    <a:pt x="0" y="6811"/>
                  </a:cubicBezTo>
                  <a:cubicBezTo>
                    <a:pt x="0" y="6847"/>
                    <a:pt x="24" y="6906"/>
                    <a:pt x="60" y="6942"/>
                  </a:cubicBezTo>
                  <a:cubicBezTo>
                    <a:pt x="90" y="6957"/>
                    <a:pt x="115" y="6972"/>
                    <a:pt x="145" y="6972"/>
                  </a:cubicBezTo>
                  <a:cubicBezTo>
                    <a:pt x="162" y="6972"/>
                    <a:pt x="181" y="6967"/>
                    <a:pt x="203" y="6954"/>
                  </a:cubicBezTo>
                  <a:lnTo>
                    <a:pt x="524" y="6847"/>
                  </a:lnTo>
                  <a:cubicBezTo>
                    <a:pt x="548" y="7323"/>
                    <a:pt x="667" y="8442"/>
                    <a:pt x="1215" y="9276"/>
                  </a:cubicBezTo>
                  <a:cubicBezTo>
                    <a:pt x="1251" y="9311"/>
                    <a:pt x="1274" y="9335"/>
                    <a:pt x="1322" y="9347"/>
                  </a:cubicBezTo>
                  <a:cubicBezTo>
                    <a:pt x="1336" y="9354"/>
                    <a:pt x="1350" y="9357"/>
                    <a:pt x="1363" y="9357"/>
                  </a:cubicBezTo>
                  <a:cubicBezTo>
                    <a:pt x="1396" y="9357"/>
                    <a:pt x="1424" y="9340"/>
                    <a:pt x="1441" y="9323"/>
                  </a:cubicBezTo>
                  <a:lnTo>
                    <a:pt x="1810" y="9073"/>
                  </a:lnTo>
                  <a:cubicBezTo>
                    <a:pt x="2013" y="9335"/>
                    <a:pt x="2465" y="9942"/>
                    <a:pt x="3144" y="10347"/>
                  </a:cubicBezTo>
                  <a:cubicBezTo>
                    <a:pt x="3169" y="10367"/>
                    <a:pt x="3198" y="10377"/>
                    <a:pt x="3226" y="10377"/>
                  </a:cubicBezTo>
                  <a:cubicBezTo>
                    <a:pt x="3267" y="10377"/>
                    <a:pt x="3306" y="10358"/>
                    <a:pt x="3334" y="10323"/>
                  </a:cubicBezTo>
                  <a:lnTo>
                    <a:pt x="3572" y="10085"/>
                  </a:lnTo>
                  <a:cubicBezTo>
                    <a:pt x="3834" y="10276"/>
                    <a:pt x="4549" y="10740"/>
                    <a:pt x="5406" y="10883"/>
                  </a:cubicBezTo>
                  <a:lnTo>
                    <a:pt x="5465" y="10883"/>
                  </a:lnTo>
                  <a:cubicBezTo>
                    <a:pt x="6299" y="10752"/>
                    <a:pt x="7025" y="10276"/>
                    <a:pt x="7287" y="10085"/>
                  </a:cubicBezTo>
                  <a:lnTo>
                    <a:pt x="7525" y="10323"/>
                  </a:lnTo>
                  <a:cubicBezTo>
                    <a:pt x="7556" y="10347"/>
                    <a:pt x="7607" y="10365"/>
                    <a:pt x="7656" y="10365"/>
                  </a:cubicBezTo>
                  <a:cubicBezTo>
                    <a:pt x="7682" y="10365"/>
                    <a:pt x="7707" y="10360"/>
                    <a:pt x="7728" y="10347"/>
                  </a:cubicBezTo>
                  <a:cubicBezTo>
                    <a:pt x="8394" y="9942"/>
                    <a:pt x="8859" y="9335"/>
                    <a:pt x="9049" y="9073"/>
                  </a:cubicBezTo>
                  <a:lnTo>
                    <a:pt x="9418" y="9323"/>
                  </a:lnTo>
                  <a:cubicBezTo>
                    <a:pt x="9454" y="9347"/>
                    <a:pt x="9490" y="9347"/>
                    <a:pt x="9537" y="9347"/>
                  </a:cubicBezTo>
                  <a:cubicBezTo>
                    <a:pt x="9585" y="9335"/>
                    <a:pt x="9609" y="9323"/>
                    <a:pt x="9645" y="9276"/>
                  </a:cubicBezTo>
                  <a:cubicBezTo>
                    <a:pt x="10192" y="8442"/>
                    <a:pt x="10311" y="7323"/>
                    <a:pt x="10347" y="6847"/>
                  </a:cubicBezTo>
                  <a:lnTo>
                    <a:pt x="10657" y="6954"/>
                  </a:lnTo>
                  <a:cubicBezTo>
                    <a:pt x="10676" y="6959"/>
                    <a:pt x="10698" y="6962"/>
                    <a:pt x="10719" y="6962"/>
                  </a:cubicBezTo>
                  <a:cubicBezTo>
                    <a:pt x="10749" y="6962"/>
                    <a:pt x="10778" y="6956"/>
                    <a:pt x="10799" y="6942"/>
                  </a:cubicBezTo>
                  <a:cubicBezTo>
                    <a:pt x="10847" y="6906"/>
                    <a:pt x="10859" y="6871"/>
                    <a:pt x="10859" y="6811"/>
                  </a:cubicBezTo>
                  <a:cubicBezTo>
                    <a:pt x="10835" y="6728"/>
                    <a:pt x="10835" y="5096"/>
                    <a:pt x="10109" y="3739"/>
                  </a:cubicBezTo>
                  <a:lnTo>
                    <a:pt x="10514" y="3739"/>
                  </a:lnTo>
                  <a:cubicBezTo>
                    <a:pt x="10549" y="3739"/>
                    <a:pt x="10597" y="3715"/>
                    <a:pt x="10633" y="3680"/>
                  </a:cubicBezTo>
                  <a:cubicBezTo>
                    <a:pt x="10657" y="3632"/>
                    <a:pt x="10668" y="3596"/>
                    <a:pt x="10657" y="3549"/>
                  </a:cubicBezTo>
                  <a:cubicBezTo>
                    <a:pt x="10645" y="3501"/>
                    <a:pt x="10407" y="2584"/>
                    <a:pt x="9466" y="1751"/>
                  </a:cubicBezTo>
                  <a:cubicBezTo>
                    <a:pt x="9454" y="1548"/>
                    <a:pt x="9359" y="1370"/>
                    <a:pt x="9216" y="1239"/>
                  </a:cubicBezTo>
                  <a:cubicBezTo>
                    <a:pt x="9074" y="1106"/>
                    <a:pt x="8886" y="1034"/>
                    <a:pt x="8696" y="1034"/>
                  </a:cubicBezTo>
                  <a:cubicBezTo>
                    <a:pt x="8647" y="1034"/>
                    <a:pt x="8598" y="1039"/>
                    <a:pt x="8549" y="1048"/>
                  </a:cubicBezTo>
                  <a:cubicBezTo>
                    <a:pt x="8525" y="1048"/>
                    <a:pt x="8502" y="1060"/>
                    <a:pt x="8466" y="1060"/>
                  </a:cubicBezTo>
                  <a:cubicBezTo>
                    <a:pt x="8251" y="941"/>
                    <a:pt x="7990" y="858"/>
                    <a:pt x="7751" y="763"/>
                  </a:cubicBezTo>
                  <a:lnTo>
                    <a:pt x="7906" y="620"/>
                  </a:lnTo>
                  <a:cubicBezTo>
                    <a:pt x="7930" y="584"/>
                    <a:pt x="7954" y="524"/>
                    <a:pt x="7954" y="477"/>
                  </a:cubicBezTo>
                  <a:cubicBezTo>
                    <a:pt x="7954" y="441"/>
                    <a:pt x="7918" y="394"/>
                    <a:pt x="7870" y="358"/>
                  </a:cubicBezTo>
                  <a:cubicBezTo>
                    <a:pt x="7847" y="346"/>
                    <a:pt x="7239" y="1"/>
                    <a:pt x="6430" y="1"/>
                  </a:cubicBezTo>
                  <a:cubicBezTo>
                    <a:pt x="6001" y="1"/>
                    <a:pt x="5680" y="143"/>
                    <a:pt x="5501" y="239"/>
                  </a:cubicBezTo>
                  <a:cubicBezTo>
                    <a:pt x="5471" y="257"/>
                    <a:pt x="5442" y="266"/>
                    <a:pt x="5412" y="266"/>
                  </a:cubicBezTo>
                  <a:cubicBezTo>
                    <a:pt x="5382" y="266"/>
                    <a:pt x="5352" y="257"/>
                    <a:pt x="5323" y="239"/>
                  </a:cubicBezTo>
                  <a:cubicBezTo>
                    <a:pt x="5144" y="143"/>
                    <a:pt x="4834" y="1"/>
                    <a:pt x="44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7" name="Google Shape;13037;p63"/>
            <p:cNvSpPr/>
            <p:nvPr/>
          </p:nvSpPr>
          <p:spPr>
            <a:xfrm>
              <a:off x="2667053" y="1609618"/>
              <a:ext cx="10688" cy="37760"/>
            </a:xfrm>
            <a:custGeom>
              <a:avLst/>
              <a:gdLst/>
              <a:ahLst/>
              <a:cxnLst/>
              <a:rect l="l" t="t" r="r" b="b"/>
              <a:pathLst>
                <a:path w="334" h="1180" extrusionOk="0">
                  <a:moveTo>
                    <a:pt x="167" y="1"/>
                  </a:moveTo>
                  <a:cubicBezTo>
                    <a:pt x="72" y="1"/>
                    <a:pt x="0" y="72"/>
                    <a:pt x="0" y="167"/>
                  </a:cubicBezTo>
                  <a:lnTo>
                    <a:pt x="0" y="1013"/>
                  </a:lnTo>
                  <a:cubicBezTo>
                    <a:pt x="0" y="1096"/>
                    <a:pt x="72" y="1179"/>
                    <a:pt x="167" y="1179"/>
                  </a:cubicBezTo>
                  <a:cubicBezTo>
                    <a:pt x="250" y="1179"/>
                    <a:pt x="334" y="1096"/>
                    <a:pt x="334" y="1013"/>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8" name="Google Shape;13038;p63"/>
          <p:cNvGrpSpPr/>
          <p:nvPr/>
        </p:nvGrpSpPr>
        <p:grpSpPr>
          <a:xfrm>
            <a:off x="1956845" y="1500498"/>
            <a:ext cx="331520" cy="348032"/>
            <a:chOff x="1956845" y="1500498"/>
            <a:chExt cx="331520" cy="348032"/>
          </a:xfrm>
        </p:grpSpPr>
        <p:sp>
          <p:nvSpPr>
            <p:cNvPr id="13039" name="Google Shape;13039;p63"/>
            <p:cNvSpPr/>
            <p:nvPr/>
          </p:nvSpPr>
          <p:spPr>
            <a:xfrm>
              <a:off x="2078413" y="1736882"/>
              <a:ext cx="88800" cy="44608"/>
            </a:xfrm>
            <a:custGeom>
              <a:avLst/>
              <a:gdLst/>
              <a:ahLst/>
              <a:cxnLst/>
              <a:rect l="l" t="t" r="r" b="b"/>
              <a:pathLst>
                <a:path w="2775" h="1394" extrusionOk="0">
                  <a:moveTo>
                    <a:pt x="2322" y="310"/>
                  </a:moveTo>
                  <a:cubicBezTo>
                    <a:pt x="2381" y="310"/>
                    <a:pt x="2417" y="357"/>
                    <a:pt x="2429" y="381"/>
                  </a:cubicBezTo>
                  <a:cubicBezTo>
                    <a:pt x="2429" y="405"/>
                    <a:pt x="2429" y="477"/>
                    <a:pt x="2381" y="500"/>
                  </a:cubicBezTo>
                  <a:lnTo>
                    <a:pt x="1953" y="858"/>
                  </a:lnTo>
                  <a:cubicBezTo>
                    <a:pt x="1786" y="994"/>
                    <a:pt x="1584" y="1063"/>
                    <a:pt x="1384" y="1063"/>
                  </a:cubicBezTo>
                  <a:cubicBezTo>
                    <a:pt x="1185" y="1063"/>
                    <a:pt x="988" y="994"/>
                    <a:pt x="833" y="858"/>
                  </a:cubicBezTo>
                  <a:lnTo>
                    <a:pt x="405" y="500"/>
                  </a:lnTo>
                  <a:cubicBezTo>
                    <a:pt x="345" y="453"/>
                    <a:pt x="357" y="393"/>
                    <a:pt x="369" y="381"/>
                  </a:cubicBezTo>
                  <a:cubicBezTo>
                    <a:pt x="393" y="369"/>
                    <a:pt x="405" y="310"/>
                    <a:pt x="476" y="310"/>
                  </a:cubicBezTo>
                  <a:close/>
                  <a:moveTo>
                    <a:pt x="464" y="0"/>
                  </a:moveTo>
                  <a:cubicBezTo>
                    <a:pt x="286" y="0"/>
                    <a:pt x="119" y="96"/>
                    <a:pt x="60" y="274"/>
                  </a:cubicBezTo>
                  <a:cubicBezTo>
                    <a:pt x="0" y="441"/>
                    <a:pt x="48" y="631"/>
                    <a:pt x="191" y="750"/>
                  </a:cubicBezTo>
                  <a:lnTo>
                    <a:pt x="631" y="1108"/>
                  </a:lnTo>
                  <a:cubicBezTo>
                    <a:pt x="845" y="1286"/>
                    <a:pt x="1119" y="1393"/>
                    <a:pt x="1381" y="1393"/>
                  </a:cubicBezTo>
                  <a:cubicBezTo>
                    <a:pt x="1655" y="1393"/>
                    <a:pt x="1941" y="1298"/>
                    <a:pt x="2143" y="1108"/>
                  </a:cubicBezTo>
                  <a:lnTo>
                    <a:pt x="2572" y="750"/>
                  </a:lnTo>
                  <a:cubicBezTo>
                    <a:pt x="2727" y="631"/>
                    <a:pt x="2774" y="453"/>
                    <a:pt x="2715" y="274"/>
                  </a:cubicBezTo>
                  <a:cubicBezTo>
                    <a:pt x="2655" y="107"/>
                    <a:pt x="2488" y="0"/>
                    <a:pt x="2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0" name="Google Shape;13040;p63"/>
            <p:cNvSpPr/>
            <p:nvPr/>
          </p:nvSpPr>
          <p:spPr>
            <a:xfrm>
              <a:off x="1956845" y="1500498"/>
              <a:ext cx="331520" cy="348032"/>
            </a:xfrm>
            <a:custGeom>
              <a:avLst/>
              <a:gdLst/>
              <a:ahLst/>
              <a:cxnLst/>
              <a:rect l="l" t="t" r="r" b="b"/>
              <a:pathLst>
                <a:path w="10360" h="10876" extrusionOk="0">
                  <a:moveTo>
                    <a:pt x="1205" y="326"/>
                  </a:moveTo>
                  <a:cubicBezTo>
                    <a:pt x="1252" y="326"/>
                    <a:pt x="1300" y="330"/>
                    <a:pt x="1346" y="339"/>
                  </a:cubicBezTo>
                  <a:cubicBezTo>
                    <a:pt x="1942" y="494"/>
                    <a:pt x="2525" y="791"/>
                    <a:pt x="3061" y="1232"/>
                  </a:cubicBezTo>
                  <a:cubicBezTo>
                    <a:pt x="2894" y="1315"/>
                    <a:pt x="2727" y="1387"/>
                    <a:pt x="2585" y="1458"/>
                  </a:cubicBezTo>
                  <a:cubicBezTo>
                    <a:pt x="2108" y="922"/>
                    <a:pt x="1489" y="565"/>
                    <a:pt x="1108" y="470"/>
                  </a:cubicBezTo>
                  <a:cubicBezTo>
                    <a:pt x="989" y="458"/>
                    <a:pt x="882" y="458"/>
                    <a:pt x="811" y="458"/>
                  </a:cubicBezTo>
                  <a:cubicBezTo>
                    <a:pt x="918" y="368"/>
                    <a:pt x="1060" y="326"/>
                    <a:pt x="1205" y="326"/>
                  </a:cubicBezTo>
                  <a:close/>
                  <a:moveTo>
                    <a:pt x="9179" y="326"/>
                  </a:moveTo>
                  <a:cubicBezTo>
                    <a:pt x="9324" y="326"/>
                    <a:pt x="9466" y="368"/>
                    <a:pt x="9574" y="458"/>
                  </a:cubicBezTo>
                  <a:lnTo>
                    <a:pt x="9585" y="482"/>
                  </a:lnTo>
                  <a:cubicBezTo>
                    <a:pt x="9548" y="471"/>
                    <a:pt x="9506" y="465"/>
                    <a:pt x="9459" y="465"/>
                  </a:cubicBezTo>
                  <a:cubicBezTo>
                    <a:pt x="9401" y="465"/>
                    <a:pt x="9336" y="474"/>
                    <a:pt x="9264" y="494"/>
                  </a:cubicBezTo>
                  <a:cubicBezTo>
                    <a:pt x="9085" y="541"/>
                    <a:pt x="8847" y="636"/>
                    <a:pt x="8609" y="779"/>
                  </a:cubicBezTo>
                  <a:cubicBezTo>
                    <a:pt x="8538" y="815"/>
                    <a:pt x="8502" y="922"/>
                    <a:pt x="8562" y="994"/>
                  </a:cubicBezTo>
                  <a:cubicBezTo>
                    <a:pt x="8591" y="1046"/>
                    <a:pt x="8644" y="1074"/>
                    <a:pt x="8697" y="1074"/>
                  </a:cubicBezTo>
                  <a:cubicBezTo>
                    <a:pt x="8729" y="1074"/>
                    <a:pt x="8761" y="1064"/>
                    <a:pt x="8788" y="1041"/>
                  </a:cubicBezTo>
                  <a:cubicBezTo>
                    <a:pt x="8990" y="922"/>
                    <a:pt x="9193" y="815"/>
                    <a:pt x="9335" y="791"/>
                  </a:cubicBezTo>
                  <a:cubicBezTo>
                    <a:pt x="9389" y="780"/>
                    <a:pt x="9439" y="774"/>
                    <a:pt x="9484" y="774"/>
                  </a:cubicBezTo>
                  <a:cubicBezTo>
                    <a:pt x="9580" y="774"/>
                    <a:pt x="9656" y="798"/>
                    <a:pt x="9705" y="839"/>
                  </a:cubicBezTo>
                  <a:cubicBezTo>
                    <a:pt x="9788" y="898"/>
                    <a:pt x="9800" y="994"/>
                    <a:pt x="9800" y="1053"/>
                  </a:cubicBezTo>
                  <a:cubicBezTo>
                    <a:pt x="9764" y="1577"/>
                    <a:pt x="9633" y="2244"/>
                    <a:pt x="9228" y="2756"/>
                  </a:cubicBezTo>
                  <a:cubicBezTo>
                    <a:pt x="9133" y="2601"/>
                    <a:pt x="9014" y="2446"/>
                    <a:pt x="8871" y="2303"/>
                  </a:cubicBezTo>
                  <a:cubicBezTo>
                    <a:pt x="8633" y="2041"/>
                    <a:pt x="8371" y="1815"/>
                    <a:pt x="8085" y="1625"/>
                  </a:cubicBezTo>
                  <a:cubicBezTo>
                    <a:pt x="8133" y="1565"/>
                    <a:pt x="8192" y="1518"/>
                    <a:pt x="8252" y="1458"/>
                  </a:cubicBezTo>
                  <a:cubicBezTo>
                    <a:pt x="8312" y="1398"/>
                    <a:pt x="8312" y="1291"/>
                    <a:pt x="8252" y="1232"/>
                  </a:cubicBezTo>
                  <a:cubicBezTo>
                    <a:pt x="8222" y="1202"/>
                    <a:pt x="8181" y="1187"/>
                    <a:pt x="8139" y="1187"/>
                  </a:cubicBezTo>
                  <a:cubicBezTo>
                    <a:pt x="8097" y="1187"/>
                    <a:pt x="8056" y="1202"/>
                    <a:pt x="8026" y="1232"/>
                  </a:cubicBezTo>
                  <a:lnTo>
                    <a:pt x="7800" y="1458"/>
                  </a:lnTo>
                  <a:cubicBezTo>
                    <a:pt x="7657" y="1375"/>
                    <a:pt x="7490" y="1291"/>
                    <a:pt x="7323" y="1232"/>
                  </a:cubicBezTo>
                  <a:cubicBezTo>
                    <a:pt x="7859" y="791"/>
                    <a:pt x="8442" y="494"/>
                    <a:pt x="9038" y="339"/>
                  </a:cubicBezTo>
                  <a:cubicBezTo>
                    <a:pt x="9084" y="330"/>
                    <a:pt x="9132" y="326"/>
                    <a:pt x="9179" y="326"/>
                  </a:cubicBezTo>
                  <a:close/>
                  <a:moveTo>
                    <a:pt x="902" y="792"/>
                  </a:moveTo>
                  <a:cubicBezTo>
                    <a:pt x="947" y="792"/>
                    <a:pt x="996" y="796"/>
                    <a:pt x="1049" y="803"/>
                  </a:cubicBezTo>
                  <a:cubicBezTo>
                    <a:pt x="1489" y="886"/>
                    <a:pt x="2013" y="1327"/>
                    <a:pt x="2299" y="1637"/>
                  </a:cubicBezTo>
                  <a:cubicBezTo>
                    <a:pt x="2013" y="1827"/>
                    <a:pt x="1751" y="2053"/>
                    <a:pt x="1513" y="2327"/>
                  </a:cubicBezTo>
                  <a:cubicBezTo>
                    <a:pt x="1370" y="2470"/>
                    <a:pt x="1251" y="2625"/>
                    <a:pt x="1156" y="2768"/>
                  </a:cubicBezTo>
                  <a:cubicBezTo>
                    <a:pt x="763" y="2244"/>
                    <a:pt x="632" y="1589"/>
                    <a:pt x="584" y="1077"/>
                  </a:cubicBezTo>
                  <a:cubicBezTo>
                    <a:pt x="584" y="994"/>
                    <a:pt x="596" y="910"/>
                    <a:pt x="680" y="851"/>
                  </a:cubicBezTo>
                  <a:cubicBezTo>
                    <a:pt x="728" y="810"/>
                    <a:pt x="805" y="792"/>
                    <a:pt x="902" y="792"/>
                  </a:cubicBezTo>
                  <a:close/>
                  <a:moveTo>
                    <a:pt x="5192" y="1160"/>
                  </a:moveTo>
                  <a:cubicBezTo>
                    <a:pt x="6668" y="1160"/>
                    <a:pt x="7811" y="1625"/>
                    <a:pt x="8633" y="2518"/>
                  </a:cubicBezTo>
                  <a:cubicBezTo>
                    <a:pt x="9478" y="3470"/>
                    <a:pt x="9812" y="4744"/>
                    <a:pt x="9931" y="5661"/>
                  </a:cubicBezTo>
                  <a:cubicBezTo>
                    <a:pt x="10002" y="6375"/>
                    <a:pt x="9990" y="6947"/>
                    <a:pt x="9978" y="7244"/>
                  </a:cubicBezTo>
                  <a:lnTo>
                    <a:pt x="9526" y="7078"/>
                  </a:lnTo>
                  <a:cubicBezTo>
                    <a:pt x="9513" y="7073"/>
                    <a:pt x="9497" y="7071"/>
                    <a:pt x="9479" y="7071"/>
                  </a:cubicBezTo>
                  <a:cubicBezTo>
                    <a:pt x="9448" y="7071"/>
                    <a:pt x="9413" y="7079"/>
                    <a:pt x="9383" y="7102"/>
                  </a:cubicBezTo>
                  <a:cubicBezTo>
                    <a:pt x="9335" y="7125"/>
                    <a:pt x="9312" y="7173"/>
                    <a:pt x="9312" y="7233"/>
                  </a:cubicBezTo>
                  <a:cubicBezTo>
                    <a:pt x="9312" y="7244"/>
                    <a:pt x="9276" y="8256"/>
                    <a:pt x="8871" y="9376"/>
                  </a:cubicBezTo>
                  <a:lnTo>
                    <a:pt x="8562" y="9007"/>
                  </a:lnTo>
                  <a:cubicBezTo>
                    <a:pt x="8538" y="8959"/>
                    <a:pt x="8478" y="8947"/>
                    <a:pt x="8431" y="8947"/>
                  </a:cubicBezTo>
                  <a:cubicBezTo>
                    <a:pt x="8371" y="8947"/>
                    <a:pt x="8323" y="8971"/>
                    <a:pt x="8312" y="9030"/>
                  </a:cubicBezTo>
                  <a:cubicBezTo>
                    <a:pt x="8061" y="9507"/>
                    <a:pt x="7645" y="9923"/>
                    <a:pt x="7430" y="10138"/>
                  </a:cubicBezTo>
                  <a:lnTo>
                    <a:pt x="7049" y="9614"/>
                  </a:lnTo>
                  <a:cubicBezTo>
                    <a:pt x="7466" y="9340"/>
                    <a:pt x="7740" y="8864"/>
                    <a:pt x="7740" y="8328"/>
                  </a:cubicBezTo>
                  <a:cubicBezTo>
                    <a:pt x="7740" y="8245"/>
                    <a:pt x="7669" y="8173"/>
                    <a:pt x="7585" y="8173"/>
                  </a:cubicBezTo>
                  <a:cubicBezTo>
                    <a:pt x="7490" y="8173"/>
                    <a:pt x="7419" y="8245"/>
                    <a:pt x="7419" y="8328"/>
                  </a:cubicBezTo>
                  <a:cubicBezTo>
                    <a:pt x="7419" y="9007"/>
                    <a:pt x="6883" y="9542"/>
                    <a:pt x="6228" y="9542"/>
                  </a:cubicBezTo>
                  <a:cubicBezTo>
                    <a:pt x="5954" y="9542"/>
                    <a:pt x="5704" y="9447"/>
                    <a:pt x="5478" y="9280"/>
                  </a:cubicBezTo>
                  <a:cubicBezTo>
                    <a:pt x="5389" y="9215"/>
                    <a:pt x="5284" y="9182"/>
                    <a:pt x="5183" y="9182"/>
                  </a:cubicBezTo>
                  <a:cubicBezTo>
                    <a:pt x="5082" y="9182"/>
                    <a:pt x="4984" y="9215"/>
                    <a:pt x="4906" y="9280"/>
                  </a:cubicBezTo>
                  <a:cubicBezTo>
                    <a:pt x="4692" y="9447"/>
                    <a:pt x="4442" y="9542"/>
                    <a:pt x="4156" y="9542"/>
                  </a:cubicBezTo>
                  <a:cubicBezTo>
                    <a:pt x="3501" y="9542"/>
                    <a:pt x="2966" y="9007"/>
                    <a:pt x="2966" y="8328"/>
                  </a:cubicBezTo>
                  <a:cubicBezTo>
                    <a:pt x="2966" y="8245"/>
                    <a:pt x="2894" y="8173"/>
                    <a:pt x="2799" y="8173"/>
                  </a:cubicBezTo>
                  <a:cubicBezTo>
                    <a:pt x="2716" y="8173"/>
                    <a:pt x="2632" y="8245"/>
                    <a:pt x="2632" y="8328"/>
                  </a:cubicBezTo>
                  <a:cubicBezTo>
                    <a:pt x="2632" y="8864"/>
                    <a:pt x="2918" y="9340"/>
                    <a:pt x="3335" y="9614"/>
                  </a:cubicBezTo>
                  <a:lnTo>
                    <a:pt x="2954" y="10138"/>
                  </a:lnTo>
                  <a:cubicBezTo>
                    <a:pt x="2739" y="9935"/>
                    <a:pt x="2323" y="9507"/>
                    <a:pt x="2073" y="9030"/>
                  </a:cubicBezTo>
                  <a:cubicBezTo>
                    <a:pt x="2037" y="8983"/>
                    <a:pt x="2001" y="8959"/>
                    <a:pt x="1954" y="8947"/>
                  </a:cubicBezTo>
                  <a:cubicBezTo>
                    <a:pt x="1894" y="8947"/>
                    <a:pt x="1846" y="8959"/>
                    <a:pt x="1823" y="9007"/>
                  </a:cubicBezTo>
                  <a:lnTo>
                    <a:pt x="1501" y="9376"/>
                  </a:lnTo>
                  <a:cubicBezTo>
                    <a:pt x="1108" y="8256"/>
                    <a:pt x="1073" y="7233"/>
                    <a:pt x="1073" y="7233"/>
                  </a:cubicBezTo>
                  <a:cubicBezTo>
                    <a:pt x="1073" y="7185"/>
                    <a:pt x="1049" y="7125"/>
                    <a:pt x="1001" y="7102"/>
                  </a:cubicBezTo>
                  <a:cubicBezTo>
                    <a:pt x="971" y="7079"/>
                    <a:pt x="941" y="7071"/>
                    <a:pt x="907" y="7071"/>
                  </a:cubicBezTo>
                  <a:cubicBezTo>
                    <a:pt x="888" y="7071"/>
                    <a:pt x="868" y="7073"/>
                    <a:pt x="846" y="7078"/>
                  </a:cubicBezTo>
                  <a:lnTo>
                    <a:pt x="406" y="7244"/>
                  </a:lnTo>
                  <a:cubicBezTo>
                    <a:pt x="394" y="6947"/>
                    <a:pt x="370" y="6375"/>
                    <a:pt x="465" y="5673"/>
                  </a:cubicBezTo>
                  <a:cubicBezTo>
                    <a:pt x="584" y="4756"/>
                    <a:pt x="894" y="3470"/>
                    <a:pt x="1763" y="2518"/>
                  </a:cubicBezTo>
                  <a:cubicBezTo>
                    <a:pt x="2561" y="1625"/>
                    <a:pt x="3728" y="1160"/>
                    <a:pt x="5192" y="1160"/>
                  </a:cubicBezTo>
                  <a:close/>
                  <a:moveTo>
                    <a:pt x="5192" y="9492"/>
                  </a:moveTo>
                  <a:cubicBezTo>
                    <a:pt x="5225" y="9492"/>
                    <a:pt x="5258" y="9501"/>
                    <a:pt x="5287" y="9518"/>
                  </a:cubicBezTo>
                  <a:cubicBezTo>
                    <a:pt x="5561" y="9745"/>
                    <a:pt x="5883" y="9852"/>
                    <a:pt x="6228" y="9852"/>
                  </a:cubicBezTo>
                  <a:cubicBezTo>
                    <a:pt x="6371" y="9852"/>
                    <a:pt x="6526" y="9840"/>
                    <a:pt x="6657" y="9792"/>
                  </a:cubicBezTo>
                  <a:lnTo>
                    <a:pt x="6657" y="9792"/>
                  </a:lnTo>
                  <a:cubicBezTo>
                    <a:pt x="6466" y="10245"/>
                    <a:pt x="6037" y="10554"/>
                    <a:pt x="5525" y="10554"/>
                  </a:cubicBezTo>
                  <a:lnTo>
                    <a:pt x="4847" y="10554"/>
                  </a:lnTo>
                  <a:cubicBezTo>
                    <a:pt x="4335" y="10554"/>
                    <a:pt x="3906" y="10233"/>
                    <a:pt x="3728" y="9792"/>
                  </a:cubicBezTo>
                  <a:lnTo>
                    <a:pt x="3728" y="9792"/>
                  </a:lnTo>
                  <a:cubicBezTo>
                    <a:pt x="3859" y="9840"/>
                    <a:pt x="4013" y="9852"/>
                    <a:pt x="4156" y="9852"/>
                  </a:cubicBezTo>
                  <a:cubicBezTo>
                    <a:pt x="4502" y="9852"/>
                    <a:pt x="4823" y="9733"/>
                    <a:pt x="5097" y="9518"/>
                  </a:cubicBezTo>
                  <a:cubicBezTo>
                    <a:pt x="5127" y="9501"/>
                    <a:pt x="5159" y="9492"/>
                    <a:pt x="5192" y="9492"/>
                  </a:cubicBezTo>
                  <a:close/>
                  <a:moveTo>
                    <a:pt x="9185" y="0"/>
                  </a:moveTo>
                  <a:cubicBezTo>
                    <a:pt x="9105" y="0"/>
                    <a:pt x="9024" y="10"/>
                    <a:pt x="8943" y="29"/>
                  </a:cubicBezTo>
                  <a:cubicBezTo>
                    <a:pt x="8252" y="208"/>
                    <a:pt x="7597" y="565"/>
                    <a:pt x="6966" y="1101"/>
                  </a:cubicBezTo>
                  <a:cubicBezTo>
                    <a:pt x="6430" y="934"/>
                    <a:pt x="5835" y="851"/>
                    <a:pt x="5180" y="851"/>
                  </a:cubicBezTo>
                  <a:cubicBezTo>
                    <a:pt x="4525" y="851"/>
                    <a:pt x="3930" y="934"/>
                    <a:pt x="3394" y="1101"/>
                  </a:cubicBezTo>
                  <a:cubicBezTo>
                    <a:pt x="2775" y="565"/>
                    <a:pt x="2096" y="196"/>
                    <a:pt x="1418" y="29"/>
                  </a:cubicBezTo>
                  <a:cubicBezTo>
                    <a:pt x="1344" y="11"/>
                    <a:pt x="1269" y="2"/>
                    <a:pt x="1195" y="2"/>
                  </a:cubicBezTo>
                  <a:cubicBezTo>
                    <a:pt x="982" y="2"/>
                    <a:pt x="773" y="75"/>
                    <a:pt x="596" y="208"/>
                  </a:cubicBezTo>
                  <a:cubicBezTo>
                    <a:pt x="370" y="386"/>
                    <a:pt x="239" y="672"/>
                    <a:pt x="251" y="946"/>
                  </a:cubicBezTo>
                  <a:cubicBezTo>
                    <a:pt x="287" y="1565"/>
                    <a:pt x="418" y="2410"/>
                    <a:pt x="965" y="3030"/>
                  </a:cubicBezTo>
                  <a:cubicBezTo>
                    <a:pt x="453" y="3911"/>
                    <a:pt x="227" y="4899"/>
                    <a:pt x="132" y="5637"/>
                  </a:cubicBezTo>
                  <a:cubicBezTo>
                    <a:pt x="1" y="6661"/>
                    <a:pt x="96" y="7459"/>
                    <a:pt x="96" y="7483"/>
                  </a:cubicBezTo>
                  <a:cubicBezTo>
                    <a:pt x="96" y="7530"/>
                    <a:pt x="120" y="7578"/>
                    <a:pt x="168" y="7602"/>
                  </a:cubicBezTo>
                  <a:cubicBezTo>
                    <a:pt x="198" y="7624"/>
                    <a:pt x="223" y="7633"/>
                    <a:pt x="250" y="7633"/>
                  </a:cubicBezTo>
                  <a:cubicBezTo>
                    <a:pt x="265" y="7633"/>
                    <a:pt x="281" y="7630"/>
                    <a:pt x="299" y="7625"/>
                  </a:cubicBezTo>
                  <a:lnTo>
                    <a:pt x="751" y="7459"/>
                  </a:lnTo>
                  <a:cubicBezTo>
                    <a:pt x="775" y="7852"/>
                    <a:pt x="894" y="8780"/>
                    <a:pt x="1299" y="9745"/>
                  </a:cubicBezTo>
                  <a:cubicBezTo>
                    <a:pt x="1311" y="9792"/>
                    <a:pt x="1370" y="9840"/>
                    <a:pt x="1418" y="9852"/>
                  </a:cubicBezTo>
                  <a:cubicBezTo>
                    <a:pt x="1428" y="9854"/>
                    <a:pt x="1438" y="9855"/>
                    <a:pt x="1447" y="9855"/>
                  </a:cubicBezTo>
                  <a:cubicBezTo>
                    <a:pt x="1493" y="9855"/>
                    <a:pt x="1531" y="9832"/>
                    <a:pt x="1561" y="9792"/>
                  </a:cubicBezTo>
                  <a:lnTo>
                    <a:pt x="1906" y="9388"/>
                  </a:lnTo>
                  <a:cubicBezTo>
                    <a:pt x="2299" y="10007"/>
                    <a:pt x="2847" y="10471"/>
                    <a:pt x="2870" y="10495"/>
                  </a:cubicBezTo>
                  <a:cubicBezTo>
                    <a:pt x="2896" y="10512"/>
                    <a:pt x="2929" y="10523"/>
                    <a:pt x="2959" y="10523"/>
                  </a:cubicBezTo>
                  <a:cubicBezTo>
                    <a:pt x="2969" y="10523"/>
                    <a:pt x="2980" y="10522"/>
                    <a:pt x="2989" y="10519"/>
                  </a:cubicBezTo>
                  <a:cubicBezTo>
                    <a:pt x="3037" y="10519"/>
                    <a:pt x="3085" y="10495"/>
                    <a:pt x="3097" y="10459"/>
                  </a:cubicBezTo>
                  <a:lnTo>
                    <a:pt x="3454" y="9983"/>
                  </a:lnTo>
                  <a:cubicBezTo>
                    <a:pt x="3549" y="10173"/>
                    <a:pt x="3680" y="10352"/>
                    <a:pt x="3847" y="10507"/>
                  </a:cubicBezTo>
                  <a:cubicBezTo>
                    <a:pt x="4109" y="10745"/>
                    <a:pt x="4466" y="10876"/>
                    <a:pt x="4823" y="10876"/>
                  </a:cubicBezTo>
                  <a:lnTo>
                    <a:pt x="5514" y="10876"/>
                  </a:lnTo>
                  <a:cubicBezTo>
                    <a:pt x="6121" y="10876"/>
                    <a:pt x="6657" y="10519"/>
                    <a:pt x="6895" y="9983"/>
                  </a:cubicBezTo>
                  <a:lnTo>
                    <a:pt x="7252" y="10459"/>
                  </a:lnTo>
                  <a:cubicBezTo>
                    <a:pt x="7276" y="10495"/>
                    <a:pt x="7311" y="10519"/>
                    <a:pt x="7359" y="10519"/>
                  </a:cubicBezTo>
                  <a:lnTo>
                    <a:pt x="7371" y="10519"/>
                  </a:lnTo>
                  <a:cubicBezTo>
                    <a:pt x="7419" y="10519"/>
                    <a:pt x="7442" y="10507"/>
                    <a:pt x="7478" y="10471"/>
                  </a:cubicBezTo>
                  <a:cubicBezTo>
                    <a:pt x="7502" y="10459"/>
                    <a:pt x="8050" y="9983"/>
                    <a:pt x="8442" y="9376"/>
                  </a:cubicBezTo>
                  <a:lnTo>
                    <a:pt x="8788" y="9780"/>
                  </a:lnTo>
                  <a:cubicBezTo>
                    <a:pt x="8812" y="9816"/>
                    <a:pt x="8871" y="9840"/>
                    <a:pt x="8931" y="9840"/>
                  </a:cubicBezTo>
                  <a:cubicBezTo>
                    <a:pt x="8990" y="9816"/>
                    <a:pt x="9038" y="9792"/>
                    <a:pt x="9050" y="9733"/>
                  </a:cubicBezTo>
                  <a:cubicBezTo>
                    <a:pt x="9443" y="8780"/>
                    <a:pt x="9562" y="7852"/>
                    <a:pt x="9597" y="7435"/>
                  </a:cubicBezTo>
                  <a:lnTo>
                    <a:pt x="10050" y="7602"/>
                  </a:lnTo>
                  <a:cubicBezTo>
                    <a:pt x="10071" y="7612"/>
                    <a:pt x="10095" y="7618"/>
                    <a:pt x="10117" y="7618"/>
                  </a:cubicBezTo>
                  <a:cubicBezTo>
                    <a:pt x="10144" y="7618"/>
                    <a:pt x="10168" y="7609"/>
                    <a:pt x="10181" y="7590"/>
                  </a:cubicBezTo>
                  <a:cubicBezTo>
                    <a:pt x="10228" y="7554"/>
                    <a:pt x="10252" y="7518"/>
                    <a:pt x="10252" y="7471"/>
                  </a:cubicBezTo>
                  <a:cubicBezTo>
                    <a:pt x="10276" y="7459"/>
                    <a:pt x="10359" y="6673"/>
                    <a:pt x="10228" y="5637"/>
                  </a:cubicBezTo>
                  <a:cubicBezTo>
                    <a:pt x="10133" y="4899"/>
                    <a:pt x="9919" y="3911"/>
                    <a:pt x="9395" y="3030"/>
                  </a:cubicBezTo>
                  <a:cubicBezTo>
                    <a:pt x="9943" y="2410"/>
                    <a:pt x="10097" y="1565"/>
                    <a:pt x="10109" y="946"/>
                  </a:cubicBezTo>
                  <a:cubicBezTo>
                    <a:pt x="10121" y="648"/>
                    <a:pt x="9990" y="386"/>
                    <a:pt x="9764" y="208"/>
                  </a:cubicBezTo>
                  <a:cubicBezTo>
                    <a:pt x="9600" y="69"/>
                    <a:pt x="9397" y="0"/>
                    <a:pt x="9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1" name="Google Shape;13041;p63"/>
            <p:cNvSpPr/>
            <p:nvPr/>
          </p:nvSpPr>
          <p:spPr>
            <a:xfrm>
              <a:off x="2030765" y="1652690"/>
              <a:ext cx="48800" cy="59840"/>
            </a:xfrm>
            <a:custGeom>
              <a:avLst/>
              <a:gdLst/>
              <a:ahLst/>
              <a:cxnLst/>
              <a:rect l="l" t="t" r="r" b="b"/>
              <a:pathLst>
                <a:path w="1525" h="1870" extrusionOk="0">
                  <a:moveTo>
                    <a:pt x="763" y="0"/>
                  </a:moveTo>
                  <a:cubicBezTo>
                    <a:pt x="346" y="0"/>
                    <a:pt x="1" y="345"/>
                    <a:pt x="1" y="762"/>
                  </a:cubicBezTo>
                  <a:lnTo>
                    <a:pt x="1" y="1107"/>
                  </a:lnTo>
                  <a:cubicBezTo>
                    <a:pt x="1" y="1524"/>
                    <a:pt x="346" y="1869"/>
                    <a:pt x="763" y="1869"/>
                  </a:cubicBezTo>
                  <a:cubicBezTo>
                    <a:pt x="1179" y="1869"/>
                    <a:pt x="1525" y="1524"/>
                    <a:pt x="1525" y="1107"/>
                  </a:cubicBezTo>
                  <a:lnTo>
                    <a:pt x="1525" y="762"/>
                  </a:lnTo>
                  <a:cubicBezTo>
                    <a:pt x="1501" y="643"/>
                    <a:pt x="1477" y="548"/>
                    <a:pt x="1430" y="441"/>
                  </a:cubicBezTo>
                  <a:cubicBezTo>
                    <a:pt x="1394" y="379"/>
                    <a:pt x="1340" y="343"/>
                    <a:pt x="1285" y="343"/>
                  </a:cubicBezTo>
                  <a:cubicBezTo>
                    <a:pt x="1265" y="343"/>
                    <a:pt x="1246" y="348"/>
                    <a:pt x="1227" y="357"/>
                  </a:cubicBezTo>
                  <a:cubicBezTo>
                    <a:pt x="1144" y="405"/>
                    <a:pt x="1108" y="500"/>
                    <a:pt x="1144" y="572"/>
                  </a:cubicBezTo>
                  <a:cubicBezTo>
                    <a:pt x="1179" y="631"/>
                    <a:pt x="1191" y="691"/>
                    <a:pt x="1191" y="762"/>
                  </a:cubicBezTo>
                  <a:lnTo>
                    <a:pt x="1191" y="1107"/>
                  </a:lnTo>
                  <a:cubicBezTo>
                    <a:pt x="1191" y="1345"/>
                    <a:pt x="1001" y="1536"/>
                    <a:pt x="763" y="1536"/>
                  </a:cubicBezTo>
                  <a:cubicBezTo>
                    <a:pt x="525" y="1536"/>
                    <a:pt x="334" y="1345"/>
                    <a:pt x="334" y="1107"/>
                  </a:cubicBezTo>
                  <a:lnTo>
                    <a:pt x="334" y="762"/>
                  </a:lnTo>
                  <a:cubicBezTo>
                    <a:pt x="334" y="524"/>
                    <a:pt x="525" y="333"/>
                    <a:pt x="763" y="333"/>
                  </a:cubicBezTo>
                  <a:cubicBezTo>
                    <a:pt x="846" y="333"/>
                    <a:pt x="929" y="262"/>
                    <a:pt x="929" y="167"/>
                  </a:cubicBezTo>
                  <a:cubicBezTo>
                    <a:pt x="929" y="83"/>
                    <a:pt x="846" y="0"/>
                    <a:pt x="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2" name="Google Shape;13042;p63"/>
            <p:cNvSpPr/>
            <p:nvPr/>
          </p:nvSpPr>
          <p:spPr>
            <a:xfrm>
              <a:off x="2167181" y="1652690"/>
              <a:ext cx="48416" cy="59840"/>
            </a:xfrm>
            <a:custGeom>
              <a:avLst/>
              <a:gdLst/>
              <a:ahLst/>
              <a:cxnLst/>
              <a:rect l="l" t="t" r="r" b="b"/>
              <a:pathLst>
                <a:path w="1513" h="1870" extrusionOk="0">
                  <a:moveTo>
                    <a:pt x="750" y="0"/>
                  </a:moveTo>
                  <a:cubicBezTo>
                    <a:pt x="334" y="0"/>
                    <a:pt x="0" y="345"/>
                    <a:pt x="0" y="762"/>
                  </a:cubicBezTo>
                  <a:lnTo>
                    <a:pt x="0" y="1107"/>
                  </a:lnTo>
                  <a:cubicBezTo>
                    <a:pt x="0" y="1524"/>
                    <a:pt x="334" y="1869"/>
                    <a:pt x="750" y="1869"/>
                  </a:cubicBezTo>
                  <a:cubicBezTo>
                    <a:pt x="1167" y="1869"/>
                    <a:pt x="1512" y="1524"/>
                    <a:pt x="1512" y="1107"/>
                  </a:cubicBezTo>
                  <a:lnTo>
                    <a:pt x="1512" y="762"/>
                  </a:lnTo>
                  <a:cubicBezTo>
                    <a:pt x="1500" y="643"/>
                    <a:pt x="1465" y="548"/>
                    <a:pt x="1429" y="441"/>
                  </a:cubicBezTo>
                  <a:cubicBezTo>
                    <a:pt x="1394" y="379"/>
                    <a:pt x="1333" y="343"/>
                    <a:pt x="1274" y="343"/>
                  </a:cubicBezTo>
                  <a:cubicBezTo>
                    <a:pt x="1254" y="343"/>
                    <a:pt x="1233" y="348"/>
                    <a:pt x="1215" y="357"/>
                  </a:cubicBezTo>
                  <a:cubicBezTo>
                    <a:pt x="1143" y="405"/>
                    <a:pt x="1096" y="500"/>
                    <a:pt x="1143" y="572"/>
                  </a:cubicBezTo>
                  <a:cubicBezTo>
                    <a:pt x="1167" y="631"/>
                    <a:pt x="1191" y="691"/>
                    <a:pt x="1191" y="762"/>
                  </a:cubicBezTo>
                  <a:lnTo>
                    <a:pt x="1191" y="1107"/>
                  </a:lnTo>
                  <a:cubicBezTo>
                    <a:pt x="1191" y="1345"/>
                    <a:pt x="988" y="1536"/>
                    <a:pt x="750" y="1536"/>
                  </a:cubicBezTo>
                  <a:cubicBezTo>
                    <a:pt x="512" y="1536"/>
                    <a:pt x="322" y="1345"/>
                    <a:pt x="322" y="1107"/>
                  </a:cubicBezTo>
                  <a:lnTo>
                    <a:pt x="322" y="762"/>
                  </a:lnTo>
                  <a:cubicBezTo>
                    <a:pt x="322" y="524"/>
                    <a:pt x="512" y="333"/>
                    <a:pt x="750" y="333"/>
                  </a:cubicBezTo>
                  <a:cubicBezTo>
                    <a:pt x="846" y="333"/>
                    <a:pt x="917" y="262"/>
                    <a:pt x="917" y="167"/>
                  </a:cubicBezTo>
                  <a:cubicBezTo>
                    <a:pt x="917" y="83"/>
                    <a:pt x="846" y="0"/>
                    <a:pt x="7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3" name="Google Shape;13043;p63"/>
            <p:cNvSpPr/>
            <p:nvPr/>
          </p:nvSpPr>
          <p:spPr>
            <a:xfrm>
              <a:off x="2020877" y="1729234"/>
              <a:ext cx="20608" cy="15680"/>
            </a:xfrm>
            <a:custGeom>
              <a:avLst/>
              <a:gdLst/>
              <a:ahLst/>
              <a:cxnLst/>
              <a:rect l="l" t="t" r="r" b="b"/>
              <a:pathLst>
                <a:path w="644" h="490" extrusionOk="0">
                  <a:moveTo>
                    <a:pt x="178" y="0"/>
                  </a:moveTo>
                  <a:cubicBezTo>
                    <a:pt x="124" y="0"/>
                    <a:pt x="71" y="26"/>
                    <a:pt x="48" y="73"/>
                  </a:cubicBezTo>
                  <a:cubicBezTo>
                    <a:pt x="0" y="144"/>
                    <a:pt x="12" y="251"/>
                    <a:pt x="84" y="299"/>
                  </a:cubicBezTo>
                  <a:cubicBezTo>
                    <a:pt x="191" y="346"/>
                    <a:pt x="298" y="430"/>
                    <a:pt x="405" y="477"/>
                  </a:cubicBezTo>
                  <a:cubicBezTo>
                    <a:pt x="429" y="489"/>
                    <a:pt x="441" y="489"/>
                    <a:pt x="476" y="489"/>
                  </a:cubicBezTo>
                  <a:cubicBezTo>
                    <a:pt x="536" y="489"/>
                    <a:pt x="596" y="454"/>
                    <a:pt x="619" y="394"/>
                  </a:cubicBezTo>
                  <a:cubicBezTo>
                    <a:pt x="643" y="323"/>
                    <a:pt x="607" y="215"/>
                    <a:pt x="536" y="192"/>
                  </a:cubicBezTo>
                  <a:cubicBezTo>
                    <a:pt x="441" y="144"/>
                    <a:pt x="357" y="85"/>
                    <a:pt x="262" y="25"/>
                  </a:cubicBezTo>
                  <a:cubicBezTo>
                    <a:pt x="237" y="8"/>
                    <a:pt x="207" y="0"/>
                    <a:pt x="17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4" name="Google Shape;13044;p63"/>
            <p:cNvSpPr/>
            <p:nvPr/>
          </p:nvSpPr>
          <p:spPr>
            <a:xfrm>
              <a:off x="1986189" y="1685426"/>
              <a:ext cx="27840" cy="38144"/>
            </a:xfrm>
            <a:custGeom>
              <a:avLst/>
              <a:gdLst/>
              <a:ahLst/>
              <a:cxnLst/>
              <a:rect l="l" t="t" r="r" b="b"/>
              <a:pathLst>
                <a:path w="870" h="1192" extrusionOk="0">
                  <a:moveTo>
                    <a:pt x="189" y="1"/>
                  </a:moveTo>
                  <a:cubicBezTo>
                    <a:pt x="170" y="1"/>
                    <a:pt x="150" y="5"/>
                    <a:pt x="132" y="13"/>
                  </a:cubicBezTo>
                  <a:cubicBezTo>
                    <a:pt x="36" y="37"/>
                    <a:pt x="1" y="132"/>
                    <a:pt x="25" y="215"/>
                  </a:cubicBezTo>
                  <a:cubicBezTo>
                    <a:pt x="25" y="239"/>
                    <a:pt x="179" y="680"/>
                    <a:pt x="560" y="1132"/>
                  </a:cubicBezTo>
                  <a:cubicBezTo>
                    <a:pt x="596" y="1156"/>
                    <a:pt x="632" y="1192"/>
                    <a:pt x="679" y="1192"/>
                  </a:cubicBezTo>
                  <a:cubicBezTo>
                    <a:pt x="715" y="1192"/>
                    <a:pt x="751" y="1168"/>
                    <a:pt x="787" y="1144"/>
                  </a:cubicBezTo>
                  <a:cubicBezTo>
                    <a:pt x="870" y="1084"/>
                    <a:pt x="870" y="977"/>
                    <a:pt x="810" y="918"/>
                  </a:cubicBezTo>
                  <a:cubicBezTo>
                    <a:pt x="477" y="513"/>
                    <a:pt x="334" y="120"/>
                    <a:pt x="334" y="120"/>
                  </a:cubicBezTo>
                  <a:cubicBezTo>
                    <a:pt x="316" y="46"/>
                    <a:pt x="254"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5" name="Google Shape;13045;p63"/>
            <p:cNvSpPr/>
            <p:nvPr/>
          </p:nvSpPr>
          <p:spPr>
            <a:xfrm>
              <a:off x="2198797" y="1729234"/>
              <a:ext cx="20608" cy="15680"/>
            </a:xfrm>
            <a:custGeom>
              <a:avLst/>
              <a:gdLst/>
              <a:ahLst/>
              <a:cxnLst/>
              <a:rect l="l" t="t" r="r" b="b"/>
              <a:pathLst>
                <a:path w="644" h="490" extrusionOk="0">
                  <a:moveTo>
                    <a:pt x="466" y="0"/>
                  </a:moveTo>
                  <a:cubicBezTo>
                    <a:pt x="437" y="0"/>
                    <a:pt x="407" y="8"/>
                    <a:pt x="381" y="25"/>
                  </a:cubicBezTo>
                  <a:cubicBezTo>
                    <a:pt x="286" y="85"/>
                    <a:pt x="203" y="144"/>
                    <a:pt x="108" y="192"/>
                  </a:cubicBezTo>
                  <a:cubicBezTo>
                    <a:pt x="36" y="239"/>
                    <a:pt x="0" y="323"/>
                    <a:pt x="36" y="394"/>
                  </a:cubicBezTo>
                  <a:cubicBezTo>
                    <a:pt x="60" y="454"/>
                    <a:pt x="119" y="489"/>
                    <a:pt x="179" y="489"/>
                  </a:cubicBezTo>
                  <a:cubicBezTo>
                    <a:pt x="215" y="489"/>
                    <a:pt x="227" y="489"/>
                    <a:pt x="262" y="477"/>
                  </a:cubicBezTo>
                  <a:lnTo>
                    <a:pt x="572" y="299"/>
                  </a:lnTo>
                  <a:cubicBezTo>
                    <a:pt x="631" y="239"/>
                    <a:pt x="643" y="144"/>
                    <a:pt x="596" y="73"/>
                  </a:cubicBezTo>
                  <a:cubicBezTo>
                    <a:pt x="573" y="26"/>
                    <a:pt x="520" y="0"/>
                    <a:pt x="4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6" name="Google Shape;13046;p63"/>
            <p:cNvSpPr/>
            <p:nvPr/>
          </p:nvSpPr>
          <p:spPr>
            <a:xfrm>
              <a:off x="2225453" y="1685426"/>
              <a:ext cx="28224" cy="37760"/>
            </a:xfrm>
            <a:custGeom>
              <a:avLst/>
              <a:gdLst/>
              <a:ahLst/>
              <a:cxnLst/>
              <a:rect l="l" t="t" r="r" b="b"/>
              <a:pathLst>
                <a:path w="882" h="1180" extrusionOk="0">
                  <a:moveTo>
                    <a:pt x="688" y="1"/>
                  </a:moveTo>
                  <a:cubicBezTo>
                    <a:pt x="620" y="1"/>
                    <a:pt x="564" y="44"/>
                    <a:pt x="537" y="108"/>
                  </a:cubicBezTo>
                  <a:cubicBezTo>
                    <a:pt x="537" y="108"/>
                    <a:pt x="406" y="513"/>
                    <a:pt x="60" y="918"/>
                  </a:cubicBezTo>
                  <a:cubicBezTo>
                    <a:pt x="1" y="989"/>
                    <a:pt x="25" y="1084"/>
                    <a:pt x="84" y="1144"/>
                  </a:cubicBezTo>
                  <a:cubicBezTo>
                    <a:pt x="108" y="1168"/>
                    <a:pt x="144" y="1180"/>
                    <a:pt x="179" y="1180"/>
                  </a:cubicBezTo>
                  <a:cubicBezTo>
                    <a:pt x="227" y="1180"/>
                    <a:pt x="275" y="1168"/>
                    <a:pt x="299" y="1120"/>
                  </a:cubicBezTo>
                  <a:cubicBezTo>
                    <a:pt x="691" y="668"/>
                    <a:pt x="834" y="227"/>
                    <a:pt x="834" y="215"/>
                  </a:cubicBezTo>
                  <a:cubicBezTo>
                    <a:pt x="882" y="132"/>
                    <a:pt x="834" y="37"/>
                    <a:pt x="751" y="13"/>
                  </a:cubicBezTo>
                  <a:cubicBezTo>
                    <a:pt x="729" y="5"/>
                    <a:pt x="708" y="1"/>
                    <a:pt x="6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7" name="Google Shape;13047;p63"/>
            <p:cNvSpPr/>
            <p:nvPr/>
          </p:nvSpPr>
          <p:spPr>
            <a:xfrm>
              <a:off x="2046381" y="1573906"/>
              <a:ext cx="22528" cy="16320"/>
            </a:xfrm>
            <a:custGeom>
              <a:avLst/>
              <a:gdLst/>
              <a:ahLst/>
              <a:cxnLst/>
              <a:rect l="l" t="t" r="r" b="b"/>
              <a:pathLst>
                <a:path w="704" h="510" extrusionOk="0">
                  <a:moveTo>
                    <a:pt x="508" y="1"/>
                  </a:moveTo>
                  <a:cubicBezTo>
                    <a:pt x="489" y="1"/>
                    <a:pt x="471" y="4"/>
                    <a:pt x="453" y="9"/>
                  </a:cubicBezTo>
                  <a:cubicBezTo>
                    <a:pt x="334" y="69"/>
                    <a:pt x="215" y="140"/>
                    <a:pt x="96" y="212"/>
                  </a:cubicBezTo>
                  <a:cubicBezTo>
                    <a:pt x="25" y="247"/>
                    <a:pt x="1" y="355"/>
                    <a:pt x="49" y="426"/>
                  </a:cubicBezTo>
                  <a:cubicBezTo>
                    <a:pt x="84" y="474"/>
                    <a:pt x="120" y="509"/>
                    <a:pt x="180" y="509"/>
                  </a:cubicBezTo>
                  <a:cubicBezTo>
                    <a:pt x="215" y="509"/>
                    <a:pt x="239" y="486"/>
                    <a:pt x="275" y="474"/>
                  </a:cubicBezTo>
                  <a:cubicBezTo>
                    <a:pt x="382" y="414"/>
                    <a:pt x="477" y="343"/>
                    <a:pt x="596" y="295"/>
                  </a:cubicBezTo>
                  <a:cubicBezTo>
                    <a:pt x="656" y="271"/>
                    <a:pt x="703" y="176"/>
                    <a:pt x="656" y="93"/>
                  </a:cubicBezTo>
                  <a:cubicBezTo>
                    <a:pt x="629" y="30"/>
                    <a:pt x="568" y="1"/>
                    <a:pt x="5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8" name="Google Shape;13048;p63"/>
            <p:cNvSpPr/>
            <p:nvPr/>
          </p:nvSpPr>
          <p:spPr>
            <a:xfrm>
              <a:off x="2078765" y="1587538"/>
              <a:ext cx="87680" cy="18304"/>
            </a:xfrm>
            <a:custGeom>
              <a:avLst/>
              <a:gdLst/>
              <a:ahLst/>
              <a:cxnLst/>
              <a:rect l="l" t="t" r="r" b="b"/>
              <a:pathLst>
                <a:path w="2740" h="572" extrusionOk="0">
                  <a:moveTo>
                    <a:pt x="1370" y="0"/>
                  </a:moveTo>
                  <a:cubicBezTo>
                    <a:pt x="942" y="0"/>
                    <a:pt x="513" y="95"/>
                    <a:pt x="120" y="262"/>
                  </a:cubicBezTo>
                  <a:cubicBezTo>
                    <a:pt x="49" y="286"/>
                    <a:pt x="1" y="393"/>
                    <a:pt x="37" y="464"/>
                  </a:cubicBezTo>
                  <a:cubicBezTo>
                    <a:pt x="56" y="523"/>
                    <a:pt x="132" y="566"/>
                    <a:pt x="198" y="566"/>
                  </a:cubicBezTo>
                  <a:cubicBezTo>
                    <a:pt x="213" y="566"/>
                    <a:pt x="226" y="564"/>
                    <a:pt x="239" y="560"/>
                  </a:cubicBezTo>
                  <a:cubicBezTo>
                    <a:pt x="584" y="405"/>
                    <a:pt x="965" y="333"/>
                    <a:pt x="1370" y="333"/>
                  </a:cubicBezTo>
                  <a:cubicBezTo>
                    <a:pt x="1775" y="333"/>
                    <a:pt x="2168" y="405"/>
                    <a:pt x="2501" y="560"/>
                  </a:cubicBezTo>
                  <a:cubicBezTo>
                    <a:pt x="2525" y="572"/>
                    <a:pt x="2549" y="572"/>
                    <a:pt x="2561" y="572"/>
                  </a:cubicBezTo>
                  <a:cubicBezTo>
                    <a:pt x="2620" y="572"/>
                    <a:pt x="2680" y="536"/>
                    <a:pt x="2716" y="464"/>
                  </a:cubicBezTo>
                  <a:cubicBezTo>
                    <a:pt x="2739" y="381"/>
                    <a:pt x="2716" y="286"/>
                    <a:pt x="2620" y="262"/>
                  </a:cubicBezTo>
                  <a:cubicBezTo>
                    <a:pt x="2239" y="95"/>
                    <a:pt x="181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9" name="Google Shape;13049;p63"/>
            <p:cNvSpPr/>
            <p:nvPr/>
          </p:nvSpPr>
          <p:spPr>
            <a:xfrm>
              <a:off x="2177069" y="1574130"/>
              <a:ext cx="22528" cy="16480"/>
            </a:xfrm>
            <a:custGeom>
              <a:avLst/>
              <a:gdLst/>
              <a:ahLst/>
              <a:cxnLst/>
              <a:rect l="l" t="t" r="r" b="b"/>
              <a:pathLst>
                <a:path w="704" h="515" extrusionOk="0">
                  <a:moveTo>
                    <a:pt x="190" y="0"/>
                  </a:moveTo>
                  <a:cubicBezTo>
                    <a:pt x="129" y="0"/>
                    <a:pt x="66" y="36"/>
                    <a:pt x="48" y="98"/>
                  </a:cubicBezTo>
                  <a:cubicBezTo>
                    <a:pt x="1" y="169"/>
                    <a:pt x="48" y="276"/>
                    <a:pt x="120" y="300"/>
                  </a:cubicBezTo>
                  <a:cubicBezTo>
                    <a:pt x="239" y="360"/>
                    <a:pt x="346" y="419"/>
                    <a:pt x="441" y="479"/>
                  </a:cubicBezTo>
                  <a:cubicBezTo>
                    <a:pt x="477" y="490"/>
                    <a:pt x="501" y="514"/>
                    <a:pt x="537" y="514"/>
                  </a:cubicBezTo>
                  <a:cubicBezTo>
                    <a:pt x="596" y="514"/>
                    <a:pt x="644" y="479"/>
                    <a:pt x="668" y="431"/>
                  </a:cubicBezTo>
                  <a:cubicBezTo>
                    <a:pt x="703" y="360"/>
                    <a:pt x="668" y="264"/>
                    <a:pt x="608" y="217"/>
                  </a:cubicBezTo>
                  <a:cubicBezTo>
                    <a:pt x="489" y="133"/>
                    <a:pt x="370" y="86"/>
                    <a:pt x="251" y="14"/>
                  </a:cubicBezTo>
                  <a:cubicBezTo>
                    <a:pt x="232" y="5"/>
                    <a:pt x="211" y="0"/>
                    <a:pt x="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0" name="Google Shape;13050;p63"/>
            <p:cNvSpPr/>
            <p:nvPr/>
          </p:nvSpPr>
          <p:spPr>
            <a:xfrm>
              <a:off x="2078413" y="1560466"/>
              <a:ext cx="88800" cy="15648"/>
            </a:xfrm>
            <a:custGeom>
              <a:avLst/>
              <a:gdLst/>
              <a:ahLst/>
              <a:cxnLst/>
              <a:rect l="l" t="t" r="r" b="b"/>
              <a:pathLst>
                <a:path w="2775" h="489" extrusionOk="0">
                  <a:moveTo>
                    <a:pt x="1381" y="1"/>
                  </a:moveTo>
                  <a:cubicBezTo>
                    <a:pt x="953" y="1"/>
                    <a:pt x="536" y="60"/>
                    <a:pt x="131" y="179"/>
                  </a:cubicBezTo>
                  <a:cubicBezTo>
                    <a:pt x="48" y="215"/>
                    <a:pt x="0" y="298"/>
                    <a:pt x="36" y="370"/>
                  </a:cubicBezTo>
                  <a:cubicBezTo>
                    <a:pt x="54" y="444"/>
                    <a:pt x="116" y="489"/>
                    <a:pt x="175" y="489"/>
                  </a:cubicBezTo>
                  <a:cubicBezTo>
                    <a:pt x="193" y="489"/>
                    <a:pt x="210" y="485"/>
                    <a:pt x="226" y="477"/>
                  </a:cubicBezTo>
                  <a:cubicBezTo>
                    <a:pt x="595" y="370"/>
                    <a:pt x="988" y="310"/>
                    <a:pt x="1381" y="310"/>
                  </a:cubicBezTo>
                  <a:cubicBezTo>
                    <a:pt x="1786" y="310"/>
                    <a:pt x="2179" y="370"/>
                    <a:pt x="2548" y="477"/>
                  </a:cubicBezTo>
                  <a:lnTo>
                    <a:pt x="2596" y="477"/>
                  </a:lnTo>
                  <a:cubicBezTo>
                    <a:pt x="2667" y="477"/>
                    <a:pt x="2727" y="429"/>
                    <a:pt x="2738" y="358"/>
                  </a:cubicBezTo>
                  <a:cubicBezTo>
                    <a:pt x="2774" y="286"/>
                    <a:pt x="2727" y="191"/>
                    <a:pt x="2631" y="179"/>
                  </a:cubicBezTo>
                  <a:cubicBezTo>
                    <a:pt x="2238" y="60"/>
                    <a:pt x="1822" y="1"/>
                    <a:pt x="13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1" name="Google Shape;13051;p63"/>
          <p:cNvGrpSpPr/>
          <p:nvPr/>
        </p:nvGrpSpPr>
        <p:grpSpPr>
          <a:xfrm>
            <a:off x="6345613" y="1549874"/>
            <a:ext cx="348640" cy="250656"/>
            <a:chOff x="6345613" y="1549874"/>
            <a:chExt cx="348640" cy="250656"/>
          </a:xfrm>
        </p:grpSpPr>
        <p:sp>
          <p:nvSpPr>
            <p:cNvPr id="13052" name="Google Shape;13052;p63"/>
            <p:cNvSpPr/>
            <p:nvPr/>
          </p:nvSpPr>
          <p:spPr>
            <a:xfrm>
              <a:off x="6405805" y="1685810"/>
              <a:ext cx="32416" cy="32416"/>
            </a:xfrm>
            <a:custGeom>
              <a:avLst/>
              <a:gdLst/>
              <a:ahLst/>
              <a:cxnLst/>
              <a:rect l="l" t="t" r="r" b="b"/>
              <a:pathLst>
                <a:path w="1013" h="1013" extrusionOk="0">
                  <a:moveTo>
                    <a:pt x="500" y="310"/>
                  </a:moveTo>
                  <a:cubicBezTo>
                    <a:pt x="607" y="310"/>
                    <a:pt x="679" y="382"/>
                    <a:pt x="679" y="489"/>
                  </a:cubicBezTo>
                  <a:cubicBezTo>
                    <a:pt x="691" y="596"/>
                    <a:pt x="607" y="668"/>
                    <a:pt x="500" y="668"/>
                  </a:cubicBezTo>
                  <a:cubicBezTo>
                    <a:pt x="393" y="668"/>
                    <a:pt x="322" y="596"/>
                    <a:pt x="322" y="489"/>
                  </a:cubicBezTo>
                  <a:cubicBezTo>
                    <a:pt x="322" y="382"/>
                    <a:pt x="393" y="310"/>
                    <a:pt x="500" y="310"/>
                  </a:cubicBezTo>
                  <a:close/>
                  <a:moveTo>
                    <a:pt x="500" y="1"/>
                  </a:moveTo>
                  <a:cubicBezTo>
                    <a:pt x="215" y="1"/>
                    <a:pt x="0" y="215"/>
                    <a:pt x="0" y="501"/>
                  </a:cubicBezTo>
                  <a:cubicBezTo>
                    <a:pt x="0" y="787"/>
                    <a:pt x="215" y="1013"/>
                    <a:pt x="500" y="1013"/>
                  </a:cubicBezTo>
                  <a:cubicBezTo>
                    <a:pt x="786" y="1013"/>
                    <a:pt x="1012" y="787"/>
                    <a:pt x="1012" y="501"/>
                  </a:cubicBezTo>
                  <a:cubicBezTo>
                    <a:pt x="1012"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3" name="Google Shape;13053;p63"/>
            <p:cNvSpPr/>
            <p:nvPr/>
          </p:nvSpPr>
          <p:spPr>
            <a:xfrm>
              <a:off x="6345613" y="1549874"/>
              <a:ext cx="348640" cy="250656"/>
            </a:xfrm>
            <a:custGeom>
              <a:avLst/>
              <a:gdLst/>
              <a:ahLst/>
              <a:cxnLst/>
              <a:rect l="l" t="t" r="r" b="b"/>
              <a:pathLst>
                <a:path w="10895" h="7833" extrusionOk="0">
                  <a:moveTo>
                    <a:pt x="691" y="4380"/>
                  </a:moveTo>
                  <a:lnTo>
                    <a:pt x="691" y="4380"/>
                  </a:lnTo>
                  <a:cubicBezTo>
                    <a:pt x="703" y="4511"/>
                    <a:pt x="655" y="4630"/>
                    <a:pt x="548" y="4737"/>
                  </a:cubicBezTo>
                  <a:cubicBezTo>
                    <a:pt x="512" y="4797"/>
                    <a:pt x="464" y="4832"/>
                    <a:pt x="429" y="4856"/>
                  </a:cubicBezTo>
                  <a:cubicBezTo>
                    <a:pt x="405" y="4808"/>
                    <a:pt x="369" y="4761"/>
                    <a:pt x="345" y="4713"/>
                  </a:cubicBezTo>
                  <a:cubicBezTo>
                    <a:pt x="345" y="4677"/>
                    <a:pt x="357" y="4630"/>
                    <a:pt x="393" y="4570"/>
                  </a:cubicBezTo>
                  <a:cubicBezTo>
                    <a:pt x="452" y="4475"/>
                    <a:pt x="548" y="4416"/>
                    <a:pt x="691" y="4380"/>
                  </a:cubicBezTo>
                  <a:close/>
                  <a:moveTo>
                    <a:pt x="5691" y="403"/>
                  </a:moveTo>
                  <a:lnTo>
                    <a:pt x="5536" y="903"/>
                  </a:lnTo>
                  <a:cubicBezTo>
                    <a:pt x="5525" y="963"/>
                    <a:pt x="5536" y="1022"/>
                    <a:pt x="5584" y="1058"/>
                  </a:cubicBezTo>
                  <a:cubicBezTo>
                    <a:pt x="5616" y="1090"/>
                    <a:pt x="5653" y="1106"/>
                    <a:pt x="5692" y="1106"/>
                  </a:cubicBezTo>
                  <a:cubicBezTo>
                    <a:pt x="5711" y="1106"/>
                    <a:pt x="5731" y="1102"/>
                    <a:pt x="5751" y="1094"/>
                  </a:cubicBezTo>
                  <a:cubicBezTo>
                    <a:pt x="6167" y="922"/>
                    <a:pt x="6580" y="867"/>
                    <a:pt x="6935" y="867"/>
                  </a:cubicBezTo>
                  <a:cubicBezTo>
                    <a:pt x="7270" y="867"/>
                    <a:pt x="7554" y="916"/>
                    <a:pt x="7739" y="963"/>
                  </a:cubicBezTo>
                  <a:lnTo>
                    <a:pt x="7370" y="1296"/>
                  </a:lnTo>
                  <a:cubicBezTo>
                    <a:pt x="7322" y="1344"/>
                    <a:pt x="7310" y="1415"/>
                    <a:pt x="7322" y="1475"/>
                  </a:cubicBezTo>
                  <a:cubicBezTo>
                    <a:pt x="7358" y="1534"/>
                    <a:pt x="7394" y="1582"/>
                    <a:pt x="7477" y="1582"/>
                  </a:cubicBezTo>
                  <a:cubicBezTo>
                    <a:pt x="8323" y="1618"/>
                    <a:pt x="9001" y="1856"/>
                    <a:pt x="9358" y="1999"/>
                  </a:cubicBezTo>
                  <a:lnTo>
                    <a:pt x="8989" y="2225"/>
                  </a:lnTo>
                  <a:cubicBezTo>
                    <a:pt x="8930" y="2249"/>
                    <a:pt x="8906" y="2332"/>
                    <a:pt x="8918" y="2391"/>
                  </a:cubicBezTo>
                  <a:cubicBezTo>
                    <a:pt x="8930" y="2451"/>
                    <a:pt x="8977" y="2511"/>
                    <a:pt x="9037" y="2522"/>
                  </a:cubicBezTo>
                  <a:cubicBezTo>
                    <a:pt x="9561" y="2653"/>
                    <a:pt x="10156" y="3058"/>
                    <a:pt x="10418" y="3249"/>
                  </a:cubicBezTo>
                  <a:lnTo>
                    <a:pt x="10037" y="3642"/>
                  </a:lnTo>
                  <a:cubicBezTo>
                    <a:pt x="9977" y="3701"/>
                    <a:pt x="9977" y="3785"/>
                    <a:pt x="10013" y="3844"/>
                  </a:cubicBezTo>
                  <a:cubicBezTo>
                    <a:pt x="10299" y="4249"/>
                    <a:pt x="10418" y="4713"/>
                    <a:pt x="10466" y="5023"/>
                  </a:cubicBezTo>
                  <a:cubicBezTo>
                    <a:pt x="10251" y="4808"/>
                    <a:pt x="9775" y="4570"/>
                    <a:pt x="9120" y="4392"/>
                  </a:cubicBezTo>
                  <a:cubicBezTo>
                    <a:pt x="9113" y="4390"/>
                    <a:pt x="9105" y="4390"/>
                    <a:pt x="9098" y="4390"/>
                  </a:cubicBezTo>
                  <a:cubicBezTo>
                    <a:pt x="9032" y="4390"/>
                    <a:pt x="8962" y="4435"/>
                    <a:pt x="8930" y="4499"/>
                  </a:cubicBezTo>
                  <a:lnTo>
                    <a:pt x="8787" y="4963"/>
                  </a:lnTo>
                  <a:cubicBezTo>
                    <a:pt x="7775" y="4344"/>
                    <a:pt x="7072" y="4082"/>
                    <a:pt x="7037" y="4070"/>
                  </a:cubicBezTo>
                  <a:cubicBezTo>
                    <a:pt x="7018" y="4061"/>
                    <a:pt x="6998" y="4056"/>
                    <a:pt x="6979" y="4056"/>
                  </a:cubicBezTo>
                  <a:cubicBezTo>
                    <a:pt x="6924" y="4056"/>
                    <a:pt x="6869" y="4092"/>
                    <a:pt x="6834" y="4154"/>
                  </a:cubicBezTo>
                  <a:lnTo>
                    <a:pt x="6537" y="4797"/>
                  </a:lnTo>
                  <a:cubicBezTo>
                    <a:pt x="6239" y="4594"/>
                    <a:pt x="5941" y="4416"/>
                    <a:pt x="5632" y="4249"/>
                  </a:cubicBezTo>
                  <a:cubicBezTo>
                    <a:pt x="5606" y="4234"/>
                    <a:pt x="5578" y="4227"/>
                    <a:pt x="5552" y="4227"/>
                  </a:cubicBezTo>
                  <a:cubicBezTo>
                    <a:pt x="5494" y="4227"/>
                    <a:pt x="5442" y="4259"/>
                    <a:pt x="5417" y="4308"/>
                  </a:cubicBezTo>
                  <a:cubicBezTo>
                    <a:pt x="5370" y="4380"/>
                    <a:pt x="5405" y="4487"/>
                    <a:pt x="5477" y="4511"/>
                  </a:cubicBezTo>
                  <a:cubicBezTo>
                    <a:pt x="5834" y="4713"/>
                    <a:pt x="6191" y="4928"/>
                    <a:pt x="6525" y="5154"/>
                  </a:cubicBezTo>
                  <a:cubicBezTo>
                    <a:pt x="6560" y="5189"/>
                    <a:pt x="6608" y="5189"/>
                    <a:pt x="6656" y="5189"/>
                  </a:cubicBezTo>
                  <a:cubicBezTo>
                    <a:pt x="6703" y="5166"/>
                    <a:pt x="6739" y="5142"/>
                    <a:pt x="6763" y="5094"/>
                  </a:cubicBezTo>
                  <a:lnTo>
                    <a:pt x="7072" y="4404"/>
                  </a:lnTo>
                  <a:cubicBezTo>
                    <a:pt x="7334" y="4523"/>
                    <a:pt x="7977" y="4808"/>
                    <a:pt x="8799" y="5320"/>
                  </a:cubicBezTo>
                  <a:cubicBezTo>
                    <a:pt x="8827" y="5334"/>
                    <a:pt x="8850" y="5340"/>
                    <a:pt x="8875" y="5340"/>
                  </a:cubicBezTo>
                  <a:cubicBezTo>
                    <a:pt x="8892" y="5340"/>
                    <a:pt x="8910" y="5337"/>
                    <a:pt x="8930" y="5332"/>
                  </a:cubicBezTo>
                  <a:cubicBezTo>
                    <a:pt x="8977" y="5320"/>
                    <a:pt x="9001" y="5273"/>
                    <a:pt x="9025" y="5225"/>
                  </a:cubicBezTo>
                  <a:lnTo>
                    <a:pt x="9180" y="4725"/>
                  </a:lnTo>
                  <a:cubicBezTo>
                    <a:pt x="9573" y="4832"/>
                    <a:pt x="9894" y="4975"/>
                    <a:pt x="10132" y="5106"/>
                  </a:cubicBezTo>
                  <a:cubicBezTo>
                    <a:pt x="9763" y="5630"/>
                    <a:pt x="9061" y="6047"/>
                    <a:pt x="8132" y="6297"/>
                  </a:cubicBezTo>
                  <a:cubicBezTo>
                    <a:pt x="7420" y="6505"/>
                    <a:pt x="6565" y="6601"/>
                    <a:pt x="5681" y="6601"/>
                  </a:cubicBezTo>
                  <a:cubicBezTo>
                    <a:pt x="5455" y="6601"/>
                    <a:pt x="5228" y="6595"/>
                    <a:pt x="5001" y="6582"/>
                  </a:cubicBezTo>
                  <a:cubicBezTo>
                    <a:pt x="4274" y="6535"/>
                    <a:pt x="3560" y="6416"/>
                    <a:pt x="2905" y="6261"/>
                  </a:cubicBezTo>
                  <a:cubicBezTo>
                    <a:pt x="3572" y="5785"/>
                    <a:pt x="3620" y="5130"/>
                    <a:pt x="3572" y="4749"/>
                  </a:cubicBezTo>
                  <a:cubicBezTo>
                    <a:pt x="3561" y="4673"/>
                    <a:pt x="3500" y="4616"/>
                    <a:pt x="3417" y="4616"/>
                  </a:cubicBezTo>
                  <a:cubicBezTo>
                    <a:pt x="3409" y="4616"/>
                    <a:pt x="3401" y="4617"/>
                    <a:pt x="3393" y="4618"/>
                  </a:cubicBezTo>
                  <a:cubicBezTo>
                    <a:pt x="3310" y="4630"/>
                    <a:pt x="3250" y="4713"/>
                    <a:pt x="3262" y="4797"/>
                  </a:cubicBezTo>
                  <a:cubicBezTo>
                    <a:pt x="3310" y="5213"/>
                    <a:pt x="3215" y="5785"/>
                    <a:pt x="2500" y="6142"/>
                  </a:cubicBezTo>
                  <a:cubicBezTo>
                    <a:pt x="2357" y="6094"/>
                    <a:pt x="2203" y="6035"/>
                    <a:pt x="2060" y="5975"/>
                  </a:cubicBezTo>
                  <a:cubicBezTo>
                    <a:pt x="1429" y="5725"/>
                    <a:pt x="941" y="5428"/>
                    <a:pt x="631" y="5082"/>
                  </a:cubicBezTo>
                  <a:cubicBezTo>
                    <a:pt x="822" y="4951"/>
                    <a:pt x="1024" y="4689"/>
                    <a:pt x="1000" y="4320"/>
                  </a:cubicBezTo>
                  <a:cubicBezTo>
                    <a:pt x="1441" y="4249"/>
                    <a:pt x="1786" y="4118"/>
                    <a:pt x="2119" y="3999"/>
                  </a:cubicBezTo>
                  <a:cubicBezTo>
                    <a:pt x="2460" y="3863"/>
                    <a:pt x="2746" y="3748"/>
                    <a:pt x="3051" y="3748"/>
                  </a:cubicBezTo>
                  <a:cubicBezTo>
                    <a:pt x="3066" y="3748"/>
                    <a:pt x="3081" y="3748"/>
                    <a:pt x="3096" y="3749"/>
                  </a:cubicBezTo>
                  <a:cubicBezTo>
                    <a:pt x="3084" y="3808"/>
                    <a:pt x="3072" y="3892"/>
                    <a:pt x="3072" y="3951"/>
                  </a:cubicBezTo>
                  <a:cubicBezTo>
                    <a:pt x="3072" y="4035"/>
                    <a:pt x="3084" y="4118"/>
                    <a:pt x="3108" y="4189"/>
                  </a:cubicBezTo>
                  <a:cubicBezTo>
                    <a:pt x="3137" y="4258"/>
                    <a:pt x="3199" y="4303"/>
                    <a:pt x="3267" y="4303"/>
                  </a:cubicBezTo>
                  <a:cubicBezTo>
                    <a:pt x="3281" y="4303"/>
                    <a:pt x="3295" y="4301"/>
                    <a:pt x="3310" y="4296"/>
                  </a:cubicBezTo>
                  <a:cubicBezTo>
                    <a:pt x="3393" y="4261"/>
                    <a:pt x="3441" y="4166"/>
                    <a:pt x="3405" y="4094"/>
                  </a:cubicBezTo>
                  <a:cubicBezTo>
                    <a:pt x="3393" y="4035"/>
                    <a:pt x="3381" y="4011"/>
                    <a:pt x="3381" y="3963"/>
                  </a:cubicBezTo>
                  <a:cubicBezTo>
                    <a:pt x="3381" y="3725"/>
                    <a:pt x="3572" y="3534"/>
                    <a:pt x="3810" y="3534"/>
                  </a:cubicBezTo>
                  <a:cubicBezTo>
                    <a:pt x="4048" y="3534"/>
                    <a:pt x="4239" y="3725"/>
                    <a:pt x="4239" y="3963"/>
                  </a:cubicBezTo>
                  <a:cubicBezTo>
                    <a:pt x="4239" y="4082"/>
                    <a:pt x="4203" y="4189"/>
                    <a:pt x="4108" y="4273"/>
                  </a:cubicBezTo>
                  <a:cubicBezTo>
                    <a:pt x="4048" y="4332"/>
                    <a:pt x="4048" y="4439"/>
                    <a:pt x="4108" y="4499"/>
                  </a:cubicBezTo>
                  <a:cubicBezTo>
                    <a:pt x="4143" y="4535"/>
                    <a:pt x="4179" y="4547"/>
                    <a:pt x="4227" y="4547"/>
                  </a:cubicBezTo>
                  <a:cubicBezTo>
                    <a:pt x="4274" y="4547"/>
                    <a:pt x="4298" y="4535"/>
                    <a:pt x="4334" y="4499"/>
                  </a:cubicBezTo>
                  <a:cubicBezTo>
                    <a:pt x="4453" y="4392"/>
                    <a:pt x="4513" y="4249"/>
                    <a:pt x="4536" y="4094"/>
                  </a:cubicBezTo>
                  <a:cubicBezTo>
                    <a:pt x="4632" y="4130"/>
                    <a:pt x="4739" y="4177"/>
                    <a:pt x="4858" y="4237"/>
                  </a:cubicBezTo>
                  <a:cubicBezTo>
                    <a:pt x="4870" y="4249"/>
                    <a:pt x="4894" y="4249"/>
                    <a:pt x="4917" y="4249"/>
                  </a:cubicBezTo>
                  <a:cubicBezTo>
                    <a:pt x="4977" y="4249"/>
                    <a:pt x="5036" y="4213"/>
                    <a:pt x="5060" y="4154"/>
                  </a:cubicBezTo>
                  <a:cubicBezTo>
                    <a:pt x="5096" y="4082"/>
                    <a:pt x="5060" y="3975"/>
                    <a:pt x="4989" y="3951"/>
                  </a:cubicBezTo>
                  <a:cubicBezTo>
                    <a:pt x="4774" y="3856"/>
                    <a:pt x="4620" y="3796"/>
                    <a:pt x="4524" y="3773"/>
                  </a:cubicBezTo>
                  <a:cubicBezTo>
                    <a:pt x="4441" y="3463"/>
                    <a:pt x="4143" y="3225"/>
                    <a:pt x="3798" y="3225"/>
                  </a:cubicBezTo>
                  <a:cubicBezTo>
                    <a:pt x="3572" y="3225"/>
                    <a:pt x="3381" y="3320"/>
                    <a:pt x="3227" y="3475"/>
                  </a:cubicBezTo>
                  <a:cubicBezTo>
                    <a:pt x="3162" y="3463"/>
                    <a:pt x="3098" y="3458"/>
                    <a:pt x="3034" y="3458"/>
                  </a:cubicBezTo>
                  <a:cubicBezTo>
                    <a:pt x="2897" y="3458"/>
                    <a:pt x="2757" y="3482"/>
                    <a:pt x="2596" y="3523"/>
                  </a:cubicBezTo>
                  <a:cubicBezTo>
                    <a:pt x="2488" y="3546"/>
                    <a:pt x="2369" y="3582"/>
                    <a:pt x="2262" y="3618"/>
                  </a:cubicBezTo>
                  <a:cubicBezTo>
                    <a:pt x="2155" y="2999"/>
                    <a:pt x="2322" y="2415"/>
                    <a:pt x="2738" y="1891"/>
                  </a:cubicBezTo>
                  <a:cubicBezTo>
                    <a:pt x="2953" y="1641"/>
                    <a:pt x="3167" y="1451"/>
                    <a:pt x="3322" y="1344"/>
                  </a:cubicBezTo>
                  <a:lnTo>
                    <a:pt x="3405" y="1594"/>
                  </a:lnTo>
                  <a:cubicBezTo>
                    <a:pt x="3429" y="1641"/>
                    <a:pt x="3465" y="1689"/>
                    <a:pt x="3524" y="1701"/>
                  </a:cubicBezTo>
                  <a:cubicBezTo>
                    <a:pt x="3538" y="1704"/>
                    <a:pt x="3552" y="1705"/>
                    <a:pt x="3565" y="1705"/>
                  </a:cubicBezTo>
                  <a:cubicBezTo>
                    <a:pt x="3606" y="1705"/>
                    <a:pt x="3643" y="1690"/>
                    <a:pt x="3679" y="1653"/>
                  </a:cubicBezTo>
                  <a:cubicBezTo>
                    <a:pt x="4393" y="927"/>
                    <a:pt x="5251" y="558"/>
                    <a:pt x="5691" y="403"/>
                  </a:cubicBezTo>
                  <a:close/>
                  <a:moveTo>
                    <a:pt x="3036" y="6642"/>
                  </a:moveTo>
                  <a:cubicBezTo>
                    <a:pt x="3262" y="6702"/>
                    <a:pt x="3500" y="6749"/>
                    <a:pt x="3739" y="6797"/>
                  </a:cubicBezTo>
                  <a:lnTo>
                    <a:pt x="3739" y="6928"/>
                  </a:lnTo>
                  <a:lnTo>
                    <a:pt x="3608" y="6940"/>
                  </a:lnTo>
                  <a:cubicBezTo>
                    <a:pt x="3393" y="6975"/>
                    <a:pt x="3227" y="7142"/>
                    <a:pt x="3227" y="7368"/>
                  </a:cubicBezTo>
                  <a:cubicBezTo>
                    <a:pt x="3250" y="7404"/>
                    <a:pt x="3262" y="7428"/>
                    <a:pt x="3262" y="7475"/>
                  </a:cubicBezTo>
                  <a:lnTo>
                    <a:pt x="2655" y="7475"/>
                  </a:lnTo>
                  <a:cubicBezTo>
                    <a:pt x="2596" y="7475"/>
                    <a:pt x="2536" y="7428"/>
                    <a:pt x="2536" y="7356"/>
                  </a:cubicBezTo>
                  <a:cubicBezTo>
                    <a:pt x="2536" y="7297"/>
                    <a:pt x="2572" y="7249"/>
                    <a:pt x="2631" y="7249"/>
                  </a:cubicBezTo>
                  <a:lnTo>
                    <a:pt x="2905" y="7225"/>
                  </a:lnTo>
                  <a:cubicBezTo>
                    <a:pt x="2977" y="7214"/>
                    <a:pt x="3036" y="7154"/>
                    <a:pt x="3036" y="7059"/>
                  </a:cubicBezTo>
                  <a:lnTo>
                    <a:pt x="3036" y="6642"/>
                  </a:lnTo>
                  <a:close/>
                  <a:moveTo>
                    <a:pt x="4084" y="6833"/>
                  </a:moveTo>
                  <a:cubicBezTo>
                    <a:pt x="4262" y="6868"/>
                    <a:pt x="4441" y="6880"/>
                    <a:pt x="4620" y="6892"/>
                  </a:cubicBezTo>
                  <a:lnTo>
                    <a:pt x="4620" y="7297"/>
                  </a:lnTo>
                  <a:cubicBezTo>
                    <a:pt x="4620" y="7404"/>
                    <a:pt x="4536" y="7475"/>
                    <a:pt x="4441" y="7475"/>
                  </a:cubicBezTo>
                  <a:lnTo>
                    <a:pt x="3691" y="7475"/>
                  </a:lnTo>
                  <a:cubicBezTo>
                    <a:pt x="3631" y="7475"/>
                    <a:pt x="3572" y="7428"/>
                    <a:pt x="3572" y="7356"/>
                  </a:cubicBezTo>
                  <a:cubicBezTo>
                    <a:pt x="3572" y="7297"/>
                    <a:pt x="3620" y="7249"/>
                    <a:pt x="3679" y="7249"/>
                  </a:cubicBezTo>
                  <a:lnTo>
                    <a:pt x="3941" y="7225"/>
                  </a:lnTo>
                  <a:cubicBezTo>
                    <a:pt x="4024" y="7202"/>
                    <a:pt x="4084" y="7142"/>
                    <a:pt x="4084" y="7059"/>
                  </a:cubicBezTo>
                  <a:lnTo>
                    <a:pt x="4084" y="6833"/>
                  </a:lnTo>
                  <a:close/>
                  <a:moveTo>
                    <a:pt x="7489" y="6809"/>
                  </a:moveTo>
                  <a:lnTo>
                    <a:pt x="7489" y="6928"/>
                  </a:lnTo>
                  <a:lnTo>
                    <a:pt x="7358" y="6940"/>
                  </a:lnTo>
                  <a:cubicBezTo>
                    <a:pt x="7144" y="6975"/>
                    <a:pt x="6977" y="7142"/>
                    <a:pt x="6977" y="7368"/>
                  </a:cubicBezTo>
                  <a:cubicBezTo>
                    <a:pt x="7001" y="7404"/>
                    <a:pt x="7001" y="7428"/>
                    <a:pt x="7013" y="7475"/>
                  </a:cubicBezTo>
                  <a:lnTo>
                    <a:pt x="6406" y="7475"/>
                  </a:lnTo>
                  <a:cubicBezTo>
                    <a:pt x="6346" y="7475"/>
                    <a:pt x="6287" y="7428"/>
                    <a:pt x="6287" y="7356"/>
                  </a:cubicBezTo>
                  <a:cubicBezTo>
                    <a:pt x="6287" y="7297"/>
                    <a:pt x="6322" y="7249"/>
                    <a:pt x="6382" y="7249"/>
                  </a:cubicBezTo>
                  <a:lnTo>
                    <a:pt x="6656" y="7225"/>
                  </a:lnTo>
                  <a:cubicBezTo>
                    <a:pt x="6727" y="7214"/>
                    <a:pt x="6787" y="7154"/>
                    <a:pt x="6787" y="7059"/>
                  </a:cubicBezTo>
                  <a:lnTo>
                    <a:pt x="6787" y="6892"/>
                  </a:lnTo>
                  <a:cubicBezTo>
                    <a:pt x="7025" y="6868"/>
                    <a:pt x="7263" y="6833"/>
                    <a:pt x="7489" y="6809"/>
                  </a:cubicBezTo>
                  <a:close/>
                  <a:moveTo>
                    <a:pt x="8525" y="6547"/>
                  </a:moveTo>
                  <a:lnTo>
                    <a:pt x="8525" y="7297"/>
                  </a:lnTo>
                  <a:cubicBezTo>
                    <a:pt x="8525" y="7392"/>
                    <a:pt x="8442" y="7475"/>
                    <a:pt x="8346" y="7475"/>
                  </a:cubicBezTo>
                  <a:lnTo>
                    <a:pt x="7430" y="7475"/>
                  </a:lnTo>
                  <a:cubicBezTo>
                    <a:pt x="7370" y="7475"/>
                    <a:pt x="7310" y="7428"/>
                    <a:pt x="7310" y="7356"/>
                  </a:cubicBezTo>
                  <a:cubicBezTo>
                    <a:pt x="7310" y="7297"/>
                    <a:pt x="7358" y="7249"/>
                    <a:pt x="7418" y="7249"/>
                  </a:cubicBezTo>
                  <a:lnTo>
                    <a:pt x="7680" y="7225"/>
                  </a:lnTo>
                  <a:cubicBezTo>
                    <a:pt x="7751" y="7214"/>
                    <a:pt x="7811" y="7154"/>
                    <a:pt x="7811" y="7059"/>
                  </a:cubicBezTo>
                  <a:lnTo>
                    <a:pt x="7811" y="6737"/>
                  </a:lnTo>
                  <a:lnTo>
                    <a:pt x="8215" y="6642"/>
                  </a:lnTo>
                  <a:lnTo>
                    <a:pt x="8525" y="6547"/>
                  </a:lnTo>
                  <a:close/>
                  <a:moveTo>
                    <a:pt x="5948" y="1"/>
                  </a:moveTo>
                  <a:cubicBezTo>
                    <a:pt x="5933" y="1"/>
                    <a:pt x="5919" y="4"/>
                    <a:pt x="5906" y="10"/>
                  </a:cubicBezTo>
                  <a:cubicBezTo>
                    <a:pt x="5846" y="22"/>
                    <a:pt x="4691" y="308"/>
                    <a:pt x="3667" y="1260"/>
                  </a:cubicBezTo>
                  <a:lnTo>
                    <a:pt x="3584" y="1046"/>
                  </a:lnTo>
                  <a:cubicBezTo>
                    <a:pt x="3572" y="998"/>
                    <a:pt x="3548" y="975"/>
                    <a:pt x="3500" y="963"/>
                  </a:cubicBezTo>
                  <a:cubicBezTo>
                    <a:pt x="3479" y="952"/>
                    <a:pt x="3458" y="946"/>
                    <a:pt x="3437" y="946"/>
                  </a:cubicBezTo>
                  <a:cubicBezTo>
                    <a:pt x="3412" y="946"/>
                    <a:pt x="3389" y="955"/>
                    <a:pt x="3370" y="975"/>
                  </a:cubicBezTo>
                  <a:cubicBezTo>
                    <a:pt x="3346" y="987"/>
                    <a:pt x="2917" y="1225"/>
                    <a:pt x="2536" y="1701"/>
                  </a:cubicBezTo>
                  <a:cubicBezTo>
                    <a:pt x="2036" y="2308"/>
                    <a:pt x="1846" y="3023"/>
                    <a:pt x="2000" y="3761"/>
                  </a:cubicBezTo>
                  <a:cubicBezTo>
                    <a:pt x="1619" y="3892"/>
                    <a:pt x="1203" y="4058"/>
                    <a:pt x="655" y="4118"/>
                  </a:cubicBezTo>
                  <a:cubicBezTo>
                    <a:pt x="333" y="4142"/>
                    <a:pt x="167" y="4320"/>
                    <a:pt x="95" y="4463"/>
                  </a:cubicBezTo>
                  <a:cubicBezTo>
                    <a:pt x="12" y="4618"/>
                    <a:pt x="0" y="4761"/>
                    <a:pt x="0" y="4785"/>
                  </a:cubicBezTo>
                  <a:cubicBezTo>
                    <a:pt x="0" y="4808"/>
                    <a:pt x="0" y="4832"/>
                    <a:pt x="12" y="4856"/>
                  </a:cubicBezTo>
                  <a:cubicBezTo>
                    <a:pt x="310" y="5451"/>
                    <a:pt x="964" y="5951"/>
                    <a:pt x="1917" y="6332"/>
                  </a:cubicBezTo>
                  <a:cubicBezTo>
                    <a:pt x="2179" y="6428"/>
                    <a:pt x="2441" y="6523"/>
                    <a:pt x="2727" y="6594"/>
                  </a:cubicBezTo>
                  <a:lnTo>
                    <a:pt x="2727" y="6952"/>
                  </a:lnTo>
                  <a:lnTo>
                    <a:pt x="2596" y="6975"/>
                  </a:lnTo>
                  <a:cubicBezTo>
                    <a:pt x="2381" y="6999"/>
                    <a:pt x="2215" y="7178"/>
                    <a:pt x="2215" y="7404"/>
                  </a:cubicBezTo>
                  <a:cubicBezTo>
                    <a:pt x="2215" y="7642"/>
                    <a:pt x="2417" y="7833"/>
                    <a:pt x="2655" y="7833"/>
                  </a:cubicBezTo>
                  <a:lnTo>
                    <a:pt x="4417" y="7833"/>
                  </a:lnTo>
                  <a:cubicBezTo>
                    <a:pt x="4703" y="7833"/>
                    <a:pt x="4929" y="7606"/>
                    <a:pt x="4929" y="7321"/>
                  </a:cubicBezTo>
                  <a:lnTo>
                    <a:pt x="4929" y="6952"/>
                  </a:lnTo>
                  <a:lnTo>
                    <a:pt x="4989" y="6952"/>
                  </a:lnTo>
                  <a:cubicBezTo>
                    <a:pt x="5227" y="6975"/>
                    <a:pt x="5465" y="6975"/>
                    <a:pt x="5703" y="6975"/>
                  </a:cubicBezTo>
                  <a:cubicBezTo>
                    <a:pt x="5965" y="6975"/>
                    <a:pt x="6227" y="6952"/>
                    <a:pt x="6489" y="6940"/>
                  </a:cubicBezTo>
                  <a:lnTo>
                    <a:pt x="6489" y="6940"/>
                  </a:lnTo>
                  <a:lnTo>
                    <a:pt x="6358" y="6952"/>
                  </a:lnTo>
                  <a:cubicBezTo>
                    <a:pt x="6144" y="6987"/>
                    <a:pt x="5989" y="7166"/>
                    <a:pt x="5989" y="7392"/>
                  </a:cubicBezTo>
                  <a:cubicBezTo>
                    <a:pt x="5989" y="7630"/>
                    <a:pt x="6179" y="7821"/>
                    <a:pt x="6418" y="7821"/>
                  </a:cubicBezTo>
                  <a:lnTo>
                    <a:pt x="8346" y="7821"/>
                  </a:lnTo>
                  <a:cubicBezTo>
                    <a:pt x="8632" y="7821"/>
                    <a:pt x="8858" y="7594"/>
                    <a:pt x="8858" y="7309"/>
                  </a:cubicBezTo>
                  <a:lnTo>
                    <a:pt x="8858" y="6452"/>
                  </a:lnTo>
                  <a:cubicBezTo>
                    <a:pt x="9573" y="6166"/>
                    <a:pt x="10108" y="5785"/>
                    <a:pt x="10430" y="5320"/>
                  </a:cubicBezTo>
                  <a:cubicBezTo>
                    <a:pt x="10525" y="5380"/>
                    <a:pt x="10585" y="5416"/>
                    <a:pt x="10644" y="5463"/>
                  </a:cubicBezTo>
                  <a:cubicBezTo>
                    <a:pt x="10668" y="5499"/>
                    <a:pt x="10704" y="5511"/>
                    <a:pt x="10751" y="5511"/>
                  </a:cubicBezTo>
                  <a:cubicBezTo>
                    <a:pt x="10775" y="5511"/>
                    <a:pt x="10787" y="5511"/>
                    <a:pt x="10811" y="5499"/>
                  </a:cubicBezTo>
                  <a:cubicBezTo>
                    <a:pt x="10870" y="5463"/>
                    <a:pt x="10894" y="5404"/>
                    <a:pt x="10894" y="5344"/>
                  </a:cubicBezTo>
                  <a:cubicBezTo>
                    <a:pt x="10882" y="5285"/>
                    <a:pt x="10882" y="4439"/>
                    <a:pt x="10418" y="3737"/>
                  </a:cubicBezTo>
                  <a:lnTo>
                    <a:pt x="10835" y="3320"/>
                  </a:lnTo>
                  <a:cubicBezTo>
                    <a:pt x="10870" y="3296"/>
                    <a:pt x="10882" y="3249"/>
                    <a:pt x="10882" y="3201"/>
                  </a:cubicBezTo>
                  <a:cubicBezTo>
                    <a:pt x="10882" y="3153"/>
                    <a:pt x="10847" y="3118"/>
                    <a:pt x="10823" y="3082"/>
                  </a:cubicBezTo>
                  <a:cubicBezTo>
                    <a:pt x="10787" y="3058"/>
                    <a:pt x="10156" y="2558"/>
                    <a:pt x="9489" y="2308"/>
                  </a:cubicBezTo>
                  <a:lnTo>
                    <a:pt x="9823" y="2106"/>
                  </a:lnTo>
                  <a:cubicBezTo>
                    <a:pt x="9870" y="2070"/>
                    <a:pt x="9894" y="2010"/>
                    <a:pt x="9894" y="1975"/>
                  </a:cubicBezTo>
                  <a:cubicBezTo>
                    <a:pt x="9894" y="1915"/>
                    <a:pt x="9870" y="1868"/>
                    <a:pt x="9823" y="1832"/>
                  </a:cubicBezTo>
                  <a:cubicBezTo>
                    <a:pt x="9787" y="1820"/>
                    <a:pt x="9037" y="1391"/>
                    <a:pt x="7918" y="1272"/>
                  </a:cubicBezTo>
                  <a:lnTo>
                    <a:pt x="8215" y="987"/>
                  </a:lnTo>
                  <a:cubicBezTo>
                    <a:pt x="8263" y="939"/>
                    <a:pt x="8275" y="903"/>
                    <a:pt x="8263" y="844"/>
                  </a:cubicBezTo>
                  <a:cubicBezTo>
                    <a:pt x="8251" y="784"/>
                    <a:pt x="8215" y="737"/>
                    <a:pt x="8156" y="725"/>
                  </a:cubicBezTo>
                  <a:cubicBezTo>
                    <a:pt x="8123" y="708"/>
                    <a:pt x="7644" y="530"/>
                    <a:pt x="6979" y="530"/>
                  </a:cubicBezTo>
                  <a:cubicBezTo>
                    <a:pt x="6672" y="530"/>
                    <a:pt x="6326" y="568"/>
                    <a:pt x="5965" y="677"/>
                  </a:cubicBezTo>
                  <a:lnTo>
                    <a:pt x="6096" y="201"/>
                  </a:lnTo>
                  <a:cubicBezTo>
                    <a:pt x="6120" y="141"/>
                    <a:pt x="6096" y="82"/>
                    <a:pt x="6060" y="46"/>
                  </a:cubicBezTo>
                  <a:cubicBezTo>
                    <a:pt x="6026" y="20"/>
                    <a:pt x="5985" y="1"/>
                    <a:pt x="59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4" name="Google Shape;13054;p63"/>
            <p:cNvSpPr/>
            <p:nvPr/>
          </p:nvSpPr>
          <p:spPr>
            <a:xfrm>
              <a:off x="6472845" y="1588626"/>
              <a:ext cx="41952" cy="38944"/>
            </a:xfrm>
            <a:custGeom>
              <a:avLst/>
              <a:gdLst/>
              <a:ahLst/>
              <a:cxnLst/>
              <a:rect l="l" t="t" r="r" b="b"/>
              <a:pathLst>
                <a:path w="1311" h="1217" extrusionOk="0">
                  <a:moveTo>
                    <a:pt x="1110" y="1"/>
                  </a:moveTo>
                  <a:cubicBezTo>
                    <a:pt x="1080" y="1"/>
                    <a:pt x="1050" y="9"/>
                    <a:pt x="1025" y="26"/>
                  </a:cubicBezTo>
                  <a:cubicBezTo>
                    <a:pt x="596" y="323"/>
                    <a:pt x="251" y="704"/>
                    <a:pt x="60" y="966"/>
                  </a:cubicBezTo>
                  <a:cubicBezTo>
                    <a:pt x="1" y="1038"/>
                    <a:pt x="13" y="1133"/>
                    <a:pt x="84" y="1192"/>
                  </a:cubicBezTo>
                  <a:cubicBezTo>
                    <a:pt x="120" y="1204"/>
                    <a:pt x="144" y="1216"/>
                    <a:pt x="179" y="1216"/>
                  </a:cubicBezTo>
                  <a:cubicBezTo>
                    <a:pt x="227" y="1216"/>
                    <a:pt x="263" y="1204"/>
                    <a:pt x="310" y="1157"/>
                  </a:cubicBezTo>
                  <a:cubicBezTo>
                    <a:pt x="501" y="907"/>
                    <a:pt x="798" y="561"/>
                    <a:pt x="1203" y="299"/>
                  </a:cubicBezTo>
                  <a:cubicBezTo>
                    <a:pt x="1275" y="240"/>
                    <a:pt x="1310" y="133"/>
                    <a:pt x="1251" y="73"/>
                  </a:cubicBezTo>
                  <a:cubicBezTo>
                    <a:pt x="1220" y="27"/>
                    <a:pt x="1165" y="1"/>
                    <a:pt x="11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5" name="Google Shape;13055;p63"/>
            <p:cNvSpPr/>
            <p:nvPr/>
          </p:nvSpPr>
          <p:spPr>
            <a:xfrm>
              <a:off x="6528109" y="1592402"/>
              <a:ext cx="40800" cy="23360"/>
            </a:xfrm>
            <a:custGeom>
              <a:avLst/>
              <a:gdLst/>
              <a:ahLst/>
              <a:cxnLst/>
              <a:rect l="l" t="t" r="r" b="b"/>
              <a:pathLst>
                <a:path w="1275" h="730" extrusionOk="0">
                  <a:moveTo>
                    <a:pt x="1103" y="1"/>
                  </a:moveTo>
                  <a:cubicBezTo>
                    <a:pt x="1092" y="1"/>
                    <a:pt x="1082" y="1"/>
                    <a:pt x="1072" y="3"/>
                  </a:cubicBezTo>
                  <a:cubicBezTo>
                    <a:pt x="643" y="110"/>
                    <a:pt x="298" y="300"/>
                    <a:pt x="83" y="431"/>
                  </a:cubicBezTo>
                  <a:cubicBezTo>
                    <a:pt x="12" y="479"/>
                    <a:pt x="0" y="586"/>
                    <a:pt x="48" y="658"/>
                  </a:cubicBezTo>
                  <a:cubicBezTo>
                    <a:pt x="72" y="705"/>
                    <a:pt x="119" y="729"/>
                    <a:pt x="179" y="729"/>
                  </a:cubicBezTo>
                  <a:cubicBezTo>
                    <a:pt x="203" y="729"/>
                    <a:pt x="238" y="717"/>
                    <a:pt x="262" y="705"/>
                  </a:cubicBezTo>
                  <a:cubicBezTo>
                    <a:pt x="441" y="586"/>
                    <a:pt x="738" y="408"/>
                    <a:pt x="1131" y="312"/>
                  </a:cubicBezTo>
                  <a:cubicBezTo>
                    <a:pt x="1238" y="289"/>
                    <a:pt x="1274" y="193"/>
                    <a:pt x="1262" y="122"/>
                  </a:cubicBezTo>
                  <a:cubicBezTo>
                    <a:pt x="1252" y="38"/>
                    <a:pt x="1177" y="1"/>
                    <a:pt x="11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6" name="Google Shape;13056;p63"/>
            <p:cNvSpPr/>
            <p:nvPr/>
          </p:nvSpPr>
          <p:spPr>
            <a:xfrm>
              <a:off x="6581453" y="1614994"/>
              <a:ext cx="38496" cy="11040"/>
            </a:xfrm>
            <a:custGeom>
              <a:avLst/>
              <a:gdLst/>
              <a:ahLst/>
              <a:cxnLst/>
              <a:rect l="l" t="t" r="r" b="b"/>
              <a:pathLst>
                <a:path w="1203" h="345" extrusionOk="0">
                  <a:moveTo>
                    <a:pt x="713" y="1"/>
                  </a:moveTo>
                  <a:cubicBezTo>
                    <a:pt x="555" y="1"/>
                    <a:pt x="354" y="8"/>
                    <a:pt x="143" y="35"/>
                  </a:cubicBezTo>
                  <a:cubicBezTo>
                    <a:pt x="60" y="59"/>
                    <a:pt x="0" y="130"/>
                    <a:pt x="12" y="214"/>
                  </a:cubicBezTo>
                  <a:cubicBezTo>
                    <a:pt x="24" y="297"/>
                    <a:pt x="83" y="345"/>
                    <a:pt x="179" y="345"/>
                  </a:cubicBezTo>
                  <a:lnTo>
                    <a:pt x="191" y="345"/>
                  </a:lnTo>
                  <a:cubicBezTo>
                    <a:pt x="405" y="321"/>
                    <a:pt x="613" y="315"/>
                    <a:pt x="768" y="315"/>
                  </a:cubicBezTo>
                  <a:cubicBezTo>
                    <a:pt x="923" y="315"/>
                    <a:pt x="1024" y="321"/>
                    <a:pt x="1024" y="321"/>
                  </a:cubicBezTo>
                  <a:cubicBezTo>
                    <a:pt x="1107" y="321"/>
                    <a:pt x="1191" y="261"/>
                    <a:pt x="1203" y="178"/>
                  </a:cubicBezTo>
                  <a:cubicBezTo>
                    <a:pt x="1191" y="95"/>
                    <a:pt x="1131" y="11"/>
                    <a:pt x="1036" y="11"/>
                  </a:cubicBezTo>
                  <a:cubicBezTo>
                    <a:pt x="1029" y="11"/>
                    <a:pt x="902" y="1"/>
                    <a:pt x="7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7" name="Google Shape;13057;p63"/>
            <p:cNvSpPr/>
            <p:nvPr/>
          </p:nvSpPr>
          <p:spPr>
            <a:xfrm>
              <a:off x="6634765" y="1648274"/>
              <a:ext cx="25184" cy="16992"/>
            </a:xfrm>
            <a:custGeom>
              <a:avLst/>
              <a:gdLst/>
              <a:ahLst/>
              <a:cxnLst/>
              <a:rect l="l" t="t" r="r" b="b"/>
              <a:pathLst>
                <a:path w="787" h="531" extrusionOk="0">
                  <a:moveTo>
                    <a:pt x="190" y="1"/>
                  </a:moveTo>
                  <a:cubicBezTo>
                    <a:pt x="116" y="1"/>
                    <a:pt x="54" y="44"/>
                    <a:pt x="25" y="102"/>
                  </a:cubicBezTo>
                  <a:cubicBezTo>
                    <a:pt x="1" y="186"/>
                    <a:pt x="37" y="281"/>
                    <a:pt x="120" y="305"/>
                  </a:cubicBezTo>
                  <a:cubicBezTo>
                    <a:pt x="334" y="400"/>
                    <a:pt x="501" y="507"/>
                    <a:pt x="501" y="507"/>
                  </a:cubicBezTo>
                  <a:cubicBezTo>
                    <a:pt x="537" y="519"/>
                    <a:pt x="560" y="531"/>
                    <a:pt x="596" y="531"/>
                  </a:cubicBezTo>
                  <a:cubicBezTo>
                    <a:pt x="632" y="531"/>
                    <a:pt x="691" y="507"/>
                    <a:pt x="727" y="459"/>
                  </a:cubicBezTo>
                  <a:cubicBezTo>
                    <a:pt x="787" y="388"/>
                    <a:pt x="775" y="281"/>
                    <a:pt x="703" y="233"/>
                  </a:cubicBezTo>
                  <a:cubicBezTo>
                    <a:pt x="680" y="233"/>
                    <a:pt x="525" y="102"/>
                    <a:pt x="239" y="7"/>
                  </a:cubicBezTo>
                  <a:cubicBezTo>
                    <a:pt x="222" y="3"/>
                    <a:pt x="206" y="1"/>
                    <a:pt x="1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58" name="Google Shape;13058;p63"/>
          <p:cNvGrpSpPr/>
          <p:nvPr/>
        </p:nvGrpSpPr>
        <p:grpSpPr>
          <a:xfrm>
            <a:off x="7444781" y="1507026"/>
            <a:ext cx="348640" cy="334272"/>
            <a:chOff x="7444781" y="1507026"/>
            <a:chExt cx="348640" cy="334272"/>
          </a:xfrm>
        </p:grpSpPr>
        <p:sp>
          <p:nvSpPr>
            <p:cNvPr id="13059" name="Google Shape;13059;p63"/>
            <p:cNvSpPr/>
            <p:nvPr/>
          </p:nvSpPr>
          <p:spPr>
            <a:xfrm>
              <a:off x="7575469" y="1750066"/>
              <a:ext cx="40032" cy="39424"/>
            </a:xfrm>
            <a:custGeom>
              <a:avLst/>
              <a:gdLst/>
              <a:ahLst/>
              <a:cxnLst/>
              <a:rect l="l" t="t" r="r" b="b"/>
              <a:pathLst>
                <a:path w="1251" h="1232" extrusionOk="0">
                  <a:moveTo>
                    <a:pt x="691" y="291"/>
                  </a:moveTo>
                  <a:cubicBezTo>
                    <a:pt x="727" y="291"/>
                    <a:pt x="739" y="291"/>
                    <a:pt x="774" y="315"/>
                  </a:cubicBezTo>
                  <a:cubicBezTo>
                    <a:pt x="858" y="386"/>
                    <a:pt x="870" y="565"/>
                    <a:pt x="798" y="719"/>
                  </a:cubicBezTo>
                  <a:cubicBezTo>
                    <a:pt x="751" y="803"/>
                    <a:pt x="679" y="862"/>
                    <a:pt x="608" y="886"/>
                  </a:cubicBezTo>
                  <a:cubicBezTo>
                    <a:pt x="586" y="897"/>
                    <a:pt x="565" y="903"/>
                    <a:pt x="546" y="903"/>
                  </a:cubicBezTo>
                  <a:cubicBezTo>
                    <a:pt x="522" y="903"/>
                    <a:pt x="502" y="894"/>
                    <a:pt x="489" y="874"/>
                  </a:cubicBezTo>
                  <a:cubicBezTo>
                    <a:pt x="381" y="815"/>
                    <a:pt x="370" y="636"/>
                    <a:pt x="441" y="493"/>
                  </a:cubicBezTo>
                  <a:cubicBezTo>
                    <a:pt x="489" y="398"/>
                    <a:pt x="560" y="338"/>
                    <a:pt x="631" y="315"/>
                  </a:cubicBezTo>
                  <a:cubicBezTo>
                    <a:pt x="655" y="315"/>
                    <a:pt x="667" y="291"/>
                    <a:pt x="691" y="291"/>
                  </a:cubicBezTo>
                  <a:close/>
                  <a:moveTo>
                    <a:pt x="673" y="0"/>
                  </a:moveTo>
                  <a:cubicBezTo>
                    <a:pt x="632" y="0"/>
                    <a:pt x="590" y="5"/>
                    <a:pt x="548" y="17"/>
                  </a:cubicBezTo>
                  <a:cubicBezTo>
                    <a:pt x="381" y="65"/>
                    <a:pt x="250" y="196"/>
                    <a:pt x="155" y="362"/>
                  </a:cubicBezTo>
                  <a:cubicBezTo>
                    <a:pt x="0" y="672"/>
                    <a:pt x="72" y="1029"/>
                    <a:pt x="334" y="1172"/>
                  </a:cubicBezTo>
                  <a:cubicBezTo>
                    <a:pt x="417" y="1219"/>
                    <a:pt x="489" y="1231"/>
                    <a:pt x="560" y="1231"/>
                  </a:cubicBezTo>
                  <a:cubicBezTo>
                    <a:pt x="608" y="1231"/>
                    <a:pt x="655" y="1231"/>
                    <a:pt x="715" y="1219"/>
                  </a:cubicBezTo>
                  <a:cubicBezTo>
                    <a:pt x="870" y="1172"/>
                    <a:pt x="1012" y="1041"/>
                    <a:pt x="1096" y="874"/>
                  </a:cubicBezTo>
                  <a:cubicBezTo>
                    <a:pt x="1251" y="553"/>
                    <a:pt x="1167" y="196"/>
                    <a:pt x="917" y="65"/>
                  </a:cubicBezTo>
                  <a:cubicBezTo>
                    <a:pt x="844" y="24"/>
                    <a:pt x="761"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0" name="Google Shape;13060;p63"/>
            <p:cNvSpPr/>
            <p:nvPr/>
          </p:nvSpPr>
          <p:spPr>
            <a:xfrm>
              <a:off x="7623469" y="1749714"/>
              <a:ext cx="40032" cy="39776"/>
            </a:xfrm>
            <a:custGeom>
              <a:avLst/>
              <a:gdLst/>
              <a:ahLst/>
              <a:cxnLst/>
              <a:rect l="l" t="t" r="r" b="b"/>
              <a:pathLst>
                <a:path w="1251" h="1243" extrusionOk="0">
                  <a:moveTo>
                    <a:pt x="560" y="337"/>
                  </a:moveTo>
                  <a:cubicBezTo>
                    <a:pt x="584" y="337"/>
                    <a:pt x="596" y="337"/>
                    <a:pt x="620" y="349"/>
                  </a:cubicBezTo>
                  <a:cubicBezTo>
                    <a:pt x="703" y="385"/>
                    <a:pt x="775" y="445"/>
                    <a:pt x="822" y="528"/>
                  </a:cubicBezTo>
                  <a:cubicBezTo>
                    <a:pt x="882" y="671"/>
                    <a:pt x="858" y="849"/>
                    <a:pt x="763" y="897"/>
                  </a:cubicBezTo>
                  <a:cubicBezTo>
                    <a:pt x="736" y="914"/>
                    <a:pt x="704" y="926"/>
                    <a:pt x="674" y="926"/>
                  </a:cubicBezTo>
                  <a:cubicBezTo>
                    <a:pt x="664" y="926"/>
                    <a:pt x="653" y="924"/>
                    <a:pt x="644" y="921"/>
                  </a:cubicBezTo>
                  <a:cubicBezTo>
                    <a:pt x="560" y="885"/>
                    <a:pt x="489" y="826"/>
                    <a:pt x="441" y="742"/>
                  </a:cubicBezTo>
                  <a:cubicBezTo>
                    <a:pt x="370" y="588"/>
                    <a:pt x="382" y="409"/>
                    <a:pt x="489" y="349"/>
                  </a:cubicBezTo>
                  <a:cubicBezTo>
                    <a:pt x="501" y="337"/>
                    <a:pt x="536" y="337"/>
                    <a:pt x="560" y="337"/>
                  </a:cubicBezTo>
                  <a:close/>
                  <a:moveTo>
                    <a:pt x="547" y="0"/>
                  </a:moveTo>
                  <a:cubicBezTo>
                    <a:pt x="468" y="0"/>
                    <a:pt x="395" y="24"/>
                    <a:pt x="322" y="76"/>
                  </a:cubicBezTo>
                  <a:cubicBezTo>
                    <a:pt x="72" y="218"/>
                    <a:pt x="1" y="576"/>
                    <a:pt x="143" y="885"/>
                  </a:cubicBezTo>
                  <a:cubicBezTo>
                    <a:pt x="239" y="1052"/>
                    <a:pt x="370" y="1183"/>
                    <a:pt x="536" y="1230"/>
                  </a:cubicBezTo>
                  <a:cubicBezTo>
                    <a:pt x="584" y="1242"/>
                    <a:pt x="620" y="1242"/>
                    <a:pt x="679" y="1242"/>
                  </a:cubicBezTo>
                  <a:cubicBezTo>
                    <a:pt x="763" y="1242"/>
                    <a:pt x="846" y="1230"/>
                    <a:pt x="905" y="1183"/>
                  </a:cubicBezTo>
                  <a:cubicBezTo>
                    <a:pt x="1179" y="1040"/>
                    <a:pt x="1251" y="683"/>
                    <a:pt x="1084" y="373"/>
                  </a:cubicBezTo>
                  <a:cubicBezTo>
                    <a:pt x="1001" y="207"/>
                    <a:pt x="858" y="76"/>
                    <a:pt x="703" y="28"/>
                  </a:cubicBezTo>
                  <a:cubicBezTo>
                    <a:pt x="648" y="10"/>
                    <a:pt x="597" y="0"/>
                    <a:pt x="5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1" name="Google Shape;13061;p63"/>
            <p:cNvSpPr/>
            <p:nvPr/>
          </p:nvSpPr>
          <p:spPr>
            <a:xfrm>
              <a:off x="7537741" y="1640498"/>
              <a:ext cx="43456" cy="48032"/>
            </a:xfrm>
            <a:custGeom>
              <a:avLst/>
              <a:gdLst/>
              <a:ahLst/>
              <a:cxnLst/>
              <a:rect l="l" t="t" r="r" b="b"/>
              <a:pathLst>
                <a:path w="1358" h="1501" extrusionOk="0">
                  <a:moveTo>
                    <a:pt x="667" y="0"/>
                  </a:moveTo>
                  <a:cubicBezTo>
                    <a:pt x="298" y="0"/>
                    <a:pt x="1" y="298"/>
                    <a:pt x="1" y="667"/>
                  </a:cubicBezTo>
                  <a:lnTo>
                    <a:pt x="1" y="833"/>
                  </a:lnTo>
                  <a:cubicBezTo>
                    <a:pt x="1" y="1203"/>
                    <a:pt x="298" y="1500"/>
                    <a:pt x="667" y="1500"/>
                  </a:cubicBezTo>
                  <a:cubicBezTo>
                    <a:pt x="1037" y="1500"/>
                    <a:pt x="1334" y="1203"/>
                    <a:pt x="1334" y="833"/>
                  </a:cubicBezTo>
                  <a:lnTo>
                    <a:pt x="1334" y="691"/>
                  </a:lnTo>
                  <a:cubicBezTo>
                    <a:pt x="1358" y="595"/>
                    <a:pt x="1275" y="524"/>
                    <a:pt x="1191" y="524"/>
                  </a:cubicBezTo>
                  <a:cubicBezTo>
                    <a:pt x="1096" y="524"/>
                    <a:pt x="1025" y="595"/>
                    <a:pt x="1025" y="691"/>
                  </a:cubicBezTo>
                  <a:lnTo>
                    <a:pt x="1025" y="845"/>
                  </a:lnTo>
                  <a:cubicBezTo>
                    <a:pt x="1025" y="1048"/>
                    <a:pt x="858" y="1203"/>
                    <a:pt x="667" y="1203"/>
                  </a:cubicBezTo>
                  <a:cubicBezTo>
                    <a:pt x="477" y="1203"/>
                    <a:pt x="310" y="1036"/>
                    <a:pt x="310" y="845"/>
                  </a:cubicBezTo>
                  <a:lnTo>
                    <a:pt x="310" y="691"/>
                  </a:lnTo>
                  <a:cubicBezTo>
                    <a:pt x="310" y="488"/>
                    <a:pt x="477" y="333"/>
                    <a:pt x="667" y="333"/>
                  </a:cubicBezTo>
                  <a:cubicBezTo>
                    <a:pt x="763" y="333"/>
                    <a:pt x="834" y="250"/>
                    <a:pt x="834" y="167"/>
                  </a:cubicBezTo>
                  <a:cubicBezTo>
                    <a:pt x="834" y="71"/>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2" name="Google Shape;13062;p63"/>
            <p:cNvSpPr/>
            <p:nvPr/>
          </p:nvSpPr>
          <p:spPr>
            <a:xfrm>
              <a:off x="7657389" y="1640498"/>
              <a:ext cx="43072" cy="48032"/>
            </a:xfrm>
            <a:custGeom>
              <a:avLst/>
              <a:gdLst/>
              <a:ahLst/>
              <a:cxnLst/>
              <a:rect l="l" t="t" r="r" b="b"/>
              <a:pathLst>
                <a:path w="1346" h="1501" extrusionOk="0">
                  <a:moveTo>
                    <a:pt x="667" y="0"/>
                  </a:moveTo>
                  <a:cubicBezTo>
                    <a:pt x="298" y="0"/>
                    <a:pt x="0" y="298"/>
                    <a:pt x="0" y="667"/>
                  </a:cubicBezTo>
                  <a:lnTo>
                    <a:pt x="0" y="833"/>
                  </a:lnTo>
                  <a:cubicBezTo>
                    <a:pt x="0" y="1203"/>
                    <a:pt x="298" y="1500"/>
                    <a:pt x="667" y="1500"/>
                  </a:cubicBezTo>
                  <a:cubicBezTo>
                    <a:pt x="1036" y="1500"/>
                    <a:pt x="1334" y="1203"/>
                    <a:pt x="1334" y="833"/>
                  </a:cubicBezTo>
                  <a:lnTo>
                    <a:pt x="1334" y="691"/>
                  </a:lnTo>
                  <a:cubicBezTo>
                    <a:pt x="1346" y="595"/>
                    <a:pt x="1274" y="524"/>
                    <a:pt x="1191" y="524"/>
                  </a:cubicBezTo>
                  <a:cubicBezTo>
                    <a:pt x="1096" y="524"/>
                    <a:pt x="1024" y="595"/>
                    <a:pt x="1024" y="691"/>
                  </a:cubicBezTo>
                  <a:lnTo>
                    <a:pt x="1024" y="845"/>
                  </a:lnTo>
                  <a:cubicBezTo>
                    <a:pt x="1024" y="1048"/>
                    <a:pt x="858" y="1203"/>
                    <a:pt x="667" y="1203"/>
                  </a:cubicBezTo>
                  <a:cubicBezTo>
                    <a:pt x="465" y="1203"/>
                    <a:pt x="310" y="1036"/>
                    <a:pt x="310" y="845"/>
                  </a:cubicBezTo>
                  <a:lnTo>
                    <a:pt x="310" y="691"/>
                  </a:lnTo>
                  <a:cubicBezTo>
                    <a:pt x="310" y="488"/>
                    <a:pt x="465" y="333"/>
                    <a:pt x="667" y="333"/>
                  </a:cubicBezTo>
                  <a:cubicBezTo>
                    <a:pt x="750" y="333"/>
                    <a:pt x="822" y="250"/>
                    <a:pt x="822" y="167"/>
                  </a:cubicBezTo>
                  <a:cubicBezTo>
                    <a:pt x="822" y="71"/>
                    <a:pt x="750"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3" name="Google Shape;13063;p63"/>
            <p:cNvSpPr/>
            <p:nvPr/>
          </p:nvSpPr>
          <p:spPr>
            <a:xfrm>
              <a:off x="7444781" y="1507026"/>
              <a:ext cx="348640" cy="334272"/>
            </a:xfrm>
            <a:custGeom>
              <a:avLst/>
              <a:gdLst/>
              <a:ahLst/>
              <a:cxnLst/>
              <a:rect l="l" t="t" r="r" b="b"/>
              <a:pathLst>
                <a:path w="10895" h="10446" extrusionOk="0">
                  <a:moveTo>
                    <a:pt x="1203" y="349"/>
                  </a:moveTo>
                  <a:lnTo>
                    <a:pt x="1203" y="349"/>
                  </a:lnTo>
                  <a:cubicBezTo>
                    <a:pt x="1596" y="432"/>
                    <a:pt x="2001" y="575"/>
                    <a:pt x="2382" y="778"/>
                  </a:cubicBezTo>
                  <a:cubicBezTo>
                    <a:pt x="2894" y="1052"/>
                    <a:pt x="3263" y="1385"/>
                    <a:pt x="3501" y="1611"/>
                  </a:cubicBezTo>
                  <a:cubicBezTo>
                    <a:pt x="3263" y="1778"/>
                    <a:pt x="3037" y="1968"/>
                    <a:pt x="2810" y="2183"/>
                  </a:cubicBezTo>
                  <a:cubicBezTo>
                    <a:pt x="2549" y="1564"/>
                    <a:pt x="2179" y="1063"/>
                    <a:pt x="1703" y="671"/>
                  </a:cubicBezTo>
                  <a:cubicBezTo>
                    <a:pt x="1536" y="540"/>
                    <a:pt x="1370" y="432"/>
                    <a:pt x="1203" y="349"/>
                  </a:cubicBezTo>
                  <a:close/>
                  <a:moveTo>
                    <a:pt x="9740" y="361"/>
                  </a:moveTo>
                  <a:lnTo>
                    <a:pt x="9740" y="361"/>
                  </a:lnTo>
                  <a:cubicBezTo>
                    <a:pt x="9407" y="540"/>
                    <a:pt x="9061" y="790"/>
                    <a:pt x="8740" y="1194"/>
                  </a:cubicBezTo>
                  <a:cubicBezTo>
                    <a:pt x="8680" y="1266"/>
                    <a:pt x="8692" y="1361"/>
                    <a:pt x="8752" y="1421"/>
                  </a:cubicBezTo>
                  <a:cubicBezTo>
                    <a:pt x="8775" y="1444"/>
                    <a:pt x="8811" y="1444"/>
                    <a:pt x="8859" y="1444"/>
                  </a:cubicBezTo>
                  <a:cubicBezTo>
                    <a:pt x="8895" y="1444"/>
                    <a:pt x="8942" y="1433"/>
                    <a:pt x="8978" y="1385"/>
                  </a:cubicBezTo>
                  <a:cubicBezTo>
                    <a:pt x="9454" y="825"/>
                    <a:pt x="9966" y="552"/>
                    <a:pt x="10371" y="432"/>
                  </a:cubicBezTo>
                  <a:lnTo>
                    <a:pt x="10371" y="432"/>
                  </a:lnTo>
                  <a:cubicBezTo>
                    <a:pt x="10252" y="647"/>
                    <a:pt x="10169" y="956"/>
                    <a:pt x="10216" y="1373"/>
                  </a:cubicBezTo>
                  <a:cubicBezTo>
                    <a:pt x="10276" y="1945"/>
                    <a:pt x="10228" y="2361"/>
                    <a:pt x="10073" y="2718"/>
                  </a:cubicBezTo>
                  <a:cubicBezTo>
                    <a:pt x="9918" y="3076"/>
                    <a:pt x="9645" y="3385"/>
                    <a:pt x="9228" y="3683"/>
                  </a:cubicBezTo>
                  <a:cubicBezTo>
                    <a:pt x="9037" y="3326"/>
                    <a:pt x="8799" y="2980"/>
                    <a:pt x="8549" y="2671"/>
                  </a:cubicBezTo>
                  <a:cubicBezTo>
                    <a:pt x="8478" y="2599"/>
                    <a:pt x="8406" y="2504"/>
                    <a:pt x="8347" y="2433"/>
                  </a:cubicBezTo>
                  <a:cubicBezTo>
                    <a:pt x="8406" y="2278"/>
                    <a:pt x="8466" y="2147"/>
                    <a:pt x="8549" y="2016"/>
                  </a:cubicBezTo>
                  <a:cubicBezTo>
                    <a:pt x="8585" y="1933"/>
                    <a:pt x="8561" y="1837"/>
                    <a:pt x="8478" y="1802"/>
                  </a:cubicBezTo>
                  <a:cubicBezTo>
                    <a:pt x="8456" y="1791"/>
                    <a:pt x="8430" y="1785"/>
                    <a:pt x="8405" y="1785"/>
                  </a:cubicBezTo>
                  <a:cubicBezTo>
                    <a:pt x="8348" y="1785"/>
                    <a:pt x="8292" y="1812"/>
                    <a:pt x="8275" y="1861"/>
                  </a:cubicBezTo>
                  <a:cubicBezTo>
                    <a:pt x="8216" y="1968"/>
                    <a:pt x="8168" y="2076"/>
                    <a:pt x="8121" y="2183"/>
                  </a:cubicBezTo>
                  <a:cubicBezTo>
                    <a:pt x="7906" y="1956"/>
                    <a:pt x="7680" y="1778"/>
                    <a:pt x="7442" y="1611"/>
                  </a:cubicBezTo>
                  <a:cubicBezTo>
                    <a:pt x="7668" y="1385"/>
                    <a:pt x="8049" y="1040"/>
                    <a:pt x="8561" y="778"/>
                  </a:cubicBezTo>
                  <a:cubicBezTo>
                    <a:pt x="8942" y="575"/>
                    <a:pt x="9347" y="421"/>
                    <a:pt x="9740" y="361"/>
                  </a:cubicBezTo>
                  <a:close/>
                  <a:moveTo>
                    <a:pt x="560" y="456"/>
                  </a:moveTo>
                  <a:lnTo>
                    <a:pt x="560" y="456"/>
                  </a:lnTo>
                  <a:cubicBezTo>
                    <a:pt x="1132" y="635"/>
                    <a:pt x="2037" y="1135"/>
                    <a:pt x="2572" y="2445"/>
                  </a:cubicBezTo>
                  <a:cubicBezTo>
                    <a:pt x="2501" y="2516"/>
                    <a:pt x="2441" y="2599"/>
                    <a:pt x="2382" y="2683"/>
                  </a:cubicBezTo>
                  <a:cubicBezTo>
                    <a:pt x="2132" y="2992"/>
                    <a:pt x="1894" y="3338"/>
                    <a:pt x="1703" y="3695"/>
                  </a:cubicBezTo>
                  <a:cubicBezTo>
                    <a:pt x="1263" y="3385"/>
                    <a:pt x="1001" y="3088"/>
                    <a:pt x="834" y="2718"/>
                  </a:cubicBezTo>
                  <a:cubicBezTo>
                    <a:pt x="691" y="2361"/>
                    <a:pt x="644" y="1921"/>
                    <a:pt x="703" y="1373"/>
                  </a:cubicBezTo>
                  <a:cubicBezTo>
                    <a:pt x="739" y="956"/>
                    <a:pt x="667" y="659"/>
                    <a:pt x="560" y="456"/>
                  </a:cubicBezTo>
                  <a:close/>
                  <a:moveTo>
                    <a:pt x="882" y="6207"/>
                  </a:moveTo>
                  <a:lnTo>
                    <a:pt x="882" y="6207"/>
                  </a:lnTo>
                  <a:cubicBezTo>
                    <a:pt x="1239" y="6612"/>
                    <a:pt x="1727" y="6945"/>
                    <a:pt x="2298" y="7195"/>
                  </a:cubicBezTo>
                  <a:cubicBezTo>
                    <a:pt x="2727" y="7386"/>
                    <a:pt x="3096" y="7481"/>
                    <a:pt x="3263" y="7517"/>
                  </a:cubicBezTo>
                  <a:cubicBezTo>
                    <a:pt x="3144" y="7802"/>
                    <a:pt x="3072" y="8112"/>
                    <a:pt x="3072" y="8457"/>
                  </a:cubicBezTo>
                  <a:lnTo>
                    <a:pt x="3072" y="8469"/>
                  </a:lnTo>
                  <a:cubicBezTo>
                    <a:pt x="2120" y="8255"/>
                    <a:pt x="1441" y="7695"/>
                    <a:pt x="1084" y="6909"/>
                  </a:cubicBezTo>
                  <a:cubicBezTo>
                    <a:pt x="989" y="6659"/>
                    <a:pt x="905" y="6421"/>
                    <a:pt x="882" y="6207"/>
                  </a:cubicBezTo>
                  <a:close/>
                  <a:moveTo>
                    <a:pt x="5466" y="1302"/>
                  </a:moveTo>
                  <a:cubicBezTo>
                    <a:pt x="6442" y="1302"/>
                    <a:pt x="7454" y="1861"/>
                    <a:pt x="8311" y="2909"/>
                  </a:cubicBezTo>
                  <a:cubicBezTo>
                    <a:pt x="9061" y="3814"/>
                    <a:pt x="9585" y="5016"/>
                    <a:pt x="9692" y="6100"/>
                  </a:cubicBezTo>
                  <a:cubicBezTo>
                    <a:pt x="9287" y="6505"/>
                    <a:pt x="8811" y="6755"/>
                    <a:pt x="8442" y="6945"/>
                  </a:cubicBezTo>
                  <a:cubicBezTo>
                    <a:pt x="8359" y="6969"/>
                    <a:pt x="8323" y="7076"/>
                    <a:pt x="8347" y="7148"/>
                  </a:cubicBezTo>
                  <a:cubicBezTo>
                    <a:pt x="8376" y="7206"/>
                    <a:pt x="8454" y="7249"/>
                    <a:pt x="8520" y="7249"/>
                  </a:cubicBezTo>
                  <a:cubicBezTo>
                    <a:pt x="8535" y="7249"/>
                    <a:pt x="8549" y="7247"/>
                    <a:pt x="8561" y="7243"/>
                  </a:cubicBezTo>
                  <a:cubicBezTo>
                    <a:pt x="9240" y="6945"/>
                    <a:pt x="9704" y="6564"/>
                    <a:pt x="10014" y="6243"/>
                  </a:cubicBezTo>
                  <a:lnTo>
                    <a:pt x="10014" y="6243"/>
                  </a:lnTo>
                  <a:cubicBezTo>
                    <a:pt x="9990" y="6433"/>
                    <a:pt x="9930" y="6671"/>
                    <a:pt x="9811" y="6921"/>
                  </a:cubicBezTo>
                  <a:cubicBezTo>
                    <a:pt x="9466" y="7719"/>
                    <a:pt x="8775" y="8267"/>
                    <a:pt x="7811" y="8517"/>
                  </a:cubicBezTo>
                  <a:lnTo>
                    <a:pt x="7811" y="8505"/>
                  </a:lnTo>
                  <a:cubicBezTo>
                    <a:pt x="7811" y="8172"/>
                    <a:pt x="7752" y="7850"/>
                    <a:pt x="7621" y="7564"/>
                  </a:cubicBezTo>
                  <a:cubicBezTo>
                    <a:pt x="7692" y="7552"/>
                    <a:pt x="7787" y="7517"/>
                    <a:pt x="7906" y="7493"/>
                  </a:cubicBezTo>
                  <a:cubicBezTo>
                    <a:pt x="7990" y="7457"/>
                    <a:pt x="8037" y="7374"/>
                    <a:pt x="8013" y="7290"/>
                  </a:cubicBezTo>
                  <a:cubicBezTo>
                    <a:pt x="7986" y="7226"/>
                    <a:pt x="7930" y="7183"/>
                    <a:pt x="7868" y="7183"/>
                  </a:cubicBezTo>
                  <a:cubicBezTo>
                    <a:pt x="7849" y="7183"/>
                    <a:pt x="7830" y="7187"/>
                    <a:pt x="7811" y="7195"/>
                  </a:cubicBezTo>
                  <a:cubicBezTo>
                    <a:pt x="7632" y="7255"/>
                    <a:pt x="7502" y="7267"/>
                    <a:pt x="7478" y="7279"/>
                  </a:cubicBezTo>
                  <a:cubicBezTo>
                    <a:pt x="7371" y="7136"/>
                    <a:pt x="7263" y="6981"/>
                    <a:pt x="7132" y="6862"/>
                  </a:cubicBezTo>
                  <a:cubicBezTo>
                    <a:pt x="6704" y="6445"/>
                    <a:pt x="6108" y="6231"/>
                    <a:pt x="5466" y="6231"/>
                  </a:cubicBezTo>
                  <a:cubicBezTo>
                    <a:pt x="4584" y="6231"/>
                    <a:pt x="3858" y="6648"/>
                    <a:pt x="3441" y="7279"/>
                  </a:cubicBezTo>
                  <a:cubicBezTo>
                    <a:pt x="3334" y="7267"/>
                    <a:pt x="2072" y="7005"/>
                    <a:pt x="1227" y="6136"/>
                  </a:cubicBezTo>
                  <a:cubicBezTo>
                    <a:pt x="1346" y="5052"/>
                    <a:pt x="1858" y="3850"/>
                    <a:pt x="2620" y="2909"/>
                  </a:cubicBezTo>
                  <a:cubicBezTo>
                    <a:pt x="3465" y="1861"/>
                    <a:pt x="4477" y="1302"/>
                    <a:pt x="5466" y="1302"/>
                  </a:cubicBezTo>
                  <a:close/>
                  <a:moveTo>
                    <a:pt x="5466" y="6493"/>
                  </a:moveTo>
                  <a:cubicBezTo>
                    <a:pt x="6644" y="6493"/>
                    <a:pt x="7513" y="7338"/>
                    <a:pt x="7513" y="8469"/>
                  </a:cubicBezTo>
                  <a:cubicBezTo>
                    <a:pt x="7513" y="8707"/>
                    <a:pt x="7454" y="8874"/>
                    <a:pt x="7323" y="8993"/>
                  </a:cubicBezTo>
                  <a:cubicBezTo>
                    <a:pt x="7144" y="9164"/>
                    <a:pt x="6837" y="9212"/>
                    <a:pt x="6517" y="9212"/>
                  </a:cubicBezTo>
                  <a:cubicBezTo>
                    <a:pt x="6304" y="9212"/>
                    <a:pt x="6085" y="9191"/>
                    <a:pt x="5894" y="9172"/>
                  </a:cubicBezTo>
                  <a:cubicBezTo>
                    <a:pt x="5727" y="9160"/>
                    <a:pt x="5585" y="9148"/>
                    <a:pt x="5466" y="9148"/>
                  </a:cubicBezTo>
                  <a:cubicBezTo>
                    <a:pt x="5346" y="9148"/>
                    <a:pt x="5192" y="9160"/>
                    <a:pt x="5049" y="9172"/>
                  </a:cubicBezTo>
                  <a:cubicBezTo>
                    <a:pt x="4869" y="9190"/>
                    <a:pt x="4663" y="9208"/>
                    <a:pt x="4461" y="9208"/>
                  </a:cubicBezTo>
                  <a:cubicBezTo>
                    <a:pt x="4127" y="9208"/>
                    <a:pt x="3801" y="9159"/>
                    <a:pt x="3608" y="8981"/>
                  </a:cubicBezTo>
                  <a:cubicBezTo>
                    <a:pt x="3465" y="8874"/>
                    <a:pt x="3406" y="8707"/>
                    <a:pt x="3406" y="8469"/>
                  </a:cubicBezTo>
                  <a:cubicBezTo>
                    <a:pt x="3406" y="7921"/>
                    <a:pt x="3620" y="7421"/>
                    <a:pt x="4001" y="7040"/>
                  </a:cubicBezTo>
                  <a:cubicBezTo>
                    <a:pt x="4382" y="6683"/>
                    <a:pt x="4894" y="6493"/>
                    <a:pt x="5466" y="6493"/>
                  </a:cubicBezTo>
                  <a:close/>
                  <a:moveTo>
                    <a:pt x="1941" y="8338"/>
                  </a:moveTo>
                  <a:lnTo>
                    <a:pt x="1941" y="8338"/>
                  </a:lnTo>
                  <a:cubicBezTo>
                    <a:pt x="2263" y="8541"/>
                    <a:pt x="2668" y="8731"/>
                    <a:pt x="3156" y="8826"/>
                  </a:cubicBezTo>
                  <a:cubicBezTo>
                    <a:pt x="3203" y="8993"/>
                    <a:pt x="3287" y="9124"/>
                    <a:pt x="3394" y="9231"/>
                  </a:cubicBezTo>
                  <a:cubicBezTo>
                    <a:pt x="3662" y="9475"/>
                    <a:pt x="4075" y="9532"/>
                    <a:pt x="4480" y="9532"/>
                  </a:cubicBezTo>
                  <a:cubicBezTo>
                    <a:pt x="4687" y="9532"/>
                    <a:pt x="4891" y="9517"/>
                    <a:pt x="5073" y="9505"/>
                  </a:cubicBezTo>
                  <a:cubicBezTo>
                    <a:pt x="5227" y="9481"/>
                    <a:pt x="5358" y="9469"/>
                    <a:pt x="5466" y="9469"/>
                  </a:cubicBezTo>
                  <a:cubicBezTo>
                    <a:pt x="5573" y="9469"/>
                    <a:pt x="5716" y="9481"/>
                    <a:pt x="5870" y="9505"/>
                  </a:cubicBezTo>
                  <a:cubicBezTo>
                    <a:pt x="6061" y="9517"/>
                    <a:pt x="6275" y="9529"/>
                    <a:pt x="6489" y="9529"/>
                  </a:cubicBezTo>
                  <a:cubicBezTo>
                    <a:pt x="6894" y="9529"/>
                    <a:pt x="7275" y="9469"/>
                    <a:pt x="7537" y="9231"/>
                  </a:cubicBezTo>
                  <a:cubicBezTo>
                    <a:pt x="7656" y="9124"/>
                    <a:pt x="7728" y="8993"/>
                    <a:pt x="7763" y="8826"/>
                  </a:cubicBezTo>
                  <a:cubicBezTo>
                    <a:pt x="8264" y="8731"/>
                    <a:pt x="8656" y="8553"/>
                    <a:pt x="8990" y="8338"/>
                  </a:cubicBezTo>
                  <a:lnTo>
                    <a:pt x="8990" y="8338"/>
                  </a:lnTo>
                  <a:cubicBezTo>
                    <a:pt x="8752" y="8767"/>
                    <a:pt x="8371" y="9160"/>
                    <a:pt x="7871" y="9469"/>
                  </a:cubicBezTo>
                  <a:cubicBezTo>
                    <a:pt x="7180" y="9898"/>
                    <a:pt x="6323" y="10136"/>
                    <a:pt x="5466" y="10136"/>
                  </a:cubicBezTo>
                  <a:cubicBezTo>
                    <a:pt x="4596" y="10136"/>
                    <a:pt x="3739" y="9898"/>
                    <a:pt x="3049" y="9469"/>
                  </a:cubicBezTo>
                  <a:cubicBezTo>
                    <a:pt x="2560" y="9160"/>
                    <a:pt x="2179" y="8767"/>
                    <a:pt x="1941" y="8338"/>
                  </a:cubicBezTo>
                  <a:close/>
                  <a:moveTo>
                    <a:pt x="602" y="1"/>
                  </a:moveTo>
                  <a:cubicBezTo>
                    <a:pt x="450" y="1"/>
                    <a:pt x="297" y="10"/>
                    <a:pt x="143" y="28"/>
                  </a:cubicBezTo>
                  <a:cubicBezTo>
                    <a:pt x="84" y="51"/>
                    <a:pt x="24" y="87"/>
                    <a:pt x="12" y="147"/>
                  </a:cubicBezTo>
                  <a:cubicBezTo>
                    <a:pt x="1" y="218"/>
                    <a:pt x="24" y="290"/>
                    <a:pt x="72" y="313"/>
                  </a:cubicBezTo>
                  <a:cubicBezTo>
                    <a:pt x="84" y="325"/>
                    <a:pt x="441" y="599"/>
                    <a:pt x="370" y="1337"/>
                  </a:cubicBezTo>
                  <a:cubicBezTo>
                    <a:pt x="310" y="1956"/>
                    <a:pt x="358" y="2433"/>
                    <a:pt x="536" y="2849"/>
                  </a:cubicBezTo>
                  <a:cubicBezTo>
                    <a:pt x="715" y="3278"/>
                    <a:pt x="1036" y="3635"/>
                    <a:pt x="1536" y="3981"/>
                  </a:cubicBezTo>
                  <a:cubicBezTo>
                    <a:pt x="1239" y="4576"/>
                    <a:pt x="1025" y="5195"/>
                    <a:pt x="941" y="5790"/>
                  </a:cubicBezTo>
                  <a:cubicBezTo>
                    <a:pt x="894" y="5731"/>
                    <a:pt x="858" y="5695"/>
                    <a:pt x="834" y="5635"/>
                  </a:cubicBezTo>
                  <a:cubicBezTo>
                    <a:pt x="803" y="5584"/>
                    <a:pt x="745" y="5550"/>
                    <a:pt x="683" y="5550"/>
                  </a:cubicBezTo>
                  <a:cubicBezTo>
                    <a:pt x="674" y="5550"/>
                    <a:pt x="665" y="5551"/>
                    <a:pt x="655" y="5552"/>
                  </a:cubicBezTo>
                  <a:cubicBezTo>
                    <a:pt x="596" y="5576"/>
                    <a:pt x="536" y="5635"/>
                    <a:pt x="536" y="5707"/>
                  </a:cubicBezTo>
                  <a:cubicBezTo>
                    <a:pt x="536" y="5731"/>
                    <a:pt x="489" y="6350"/>
                    <a:pt x="798" y="7040"/>
                  </a:cubicBezTo>
                  <a:cubicBezTo>
                    <a:pt x="917" y="7326"/>
                    <a:pt x="1120" y="7636"/>
                    <a:pt x="1394" y="7921"/>
                  </a:cubicBezTo>
                  <a:cubicBezTo>
                    <a:pt x="1608" y="8636"/>
                    <a:pt x="2132" y="9279"/>
                    <a:pt x="2870" y="9731"/>
                  </a:cubicBezTo>
                  <a:cubicBezTo>
                    <a:pt x="3620" y="10196"/>
                    <a:pt x="4537" y="10446"/>
                    <a:pt x="5466" y="10446"/>
                  </a:cubicBezTo>
                  <a:cubicBezTo>
                    <a:pt x="6382" y="10446"/>
                    <a:pt x="7311" y="10196"/>
                    <a:pt x="8049" y="9731"/>
                  </a:cubicBezTo>
                  <a:cubicBezTo>
                    <a:pt x="8799" y="9279"/>
                    <a:pt x="9311" y="8624"/>
                    <a:pt x="9526" y="7921"/>
                  </a:cubicBezTo>
                  <a:cubicBezTo>
                    <a:pt x="9811" y="7624"/>
                    <a:pt x="10002" y="7314"/>
                    <a:pt x="10121" y="7040"/>
                  </a:cubicBezTo>
                  <a:cubicBezTo>
                    <a:pt x="10419" y="6350"/>
                    <a:pt x="10383" y="5731"/>
                    <a:pt x="10383" y="5707"/>
                  </a:cubicBezTo>
                  <a:cubicBezTo>
                    <a:pt x="10383" y="5635"/>
                    <a:pt x="10323" y="5588"/>
                    <a:pt x="10264" y="5552"/>
                  </a:cubicBezTo>
                  <a:cubicBezTo>
                    <a:pt x="10256" y="5551"/>
                    <a:pt x="10248" y="5550"/>
                    <a:pt x="10240" y="5550"/>
                  </a:cubicBezTo>
                  <a:cubicBezTo>
                    <a:pt x="10186" y="5550"/>
                    <a:pt x="10127" y="5584"/>
                    <a:pt x="10085" y="5635"/>
                  </a:cubicBezTo>
                  <a:cubicBezTo>
                    <a:pt x="10061" y="5683"/>
                    <a:pt x="10014" y="5731"/>
                    <a:pt x="9990" y="5790"/>
                  </a:cubicBezTo>
                  <a:cubicBezTo>
                    <a:pt x="9883" y="5183"/>
                    <a:pt x="9668" y="4576"/>
                    <a:pt x="9395" y="3981"/>
                  </a:cubicBezTo>
                  <a:cubicBezTo>
                    <a:pt x="9883" y="3647"/>
                    <a:pt x="10204" y="3278"/>
                    <a:pt x="10383" y="2849"/>
                  </a:cubicBezTo>
                  <a:cubicBezTo>
                    <a:pt x="10561" y="2433"/>
                    <a:pt x="10609" y="1956"/>
                    <a:pt x="10550" y="1337"/>
                  </a:cubicBezTo>
                  <a:cubicBezTo>
                    <a:pt x="10478" y="611"/>
                    <a:pt x="10835" y="325"/>
                    <a:pt x="10835" y="313"/>
                  </a:cubicBezTo>
                  <a:cubicBezTo>
                    <a:pt x="10883" y="278"/>
                    <a:pt x="10895" y="218"/>
                    <a:pt x="10883" y="159"/>
                  </a:cubicBezTo>
                  <a:cubicBezTo>
                    <a:pt x="10871" y="99"/>
                    <a:pt x="10811" y="51"/>
                    <a:pt x="10740" y="40"/>
                  </a:cubicBezTo>
                  <a:cubicBezTo>
                    <a:pt x="10583" y="18"/>
                    <a:pt x="10426" y="8"/>
                    <a:pt x="10269" y="8"/>
                  </a:cubicBezTo>
                  <a:cubicBezTo>
                    <a:pt x="9633" y="8"/>
                    <a:pt x="9004" y="181"/>
                    <a:pt x="8383" y="516"/>
                  </a:cubicBezTo>
                  <a:cubicBezTo>
                    <a:pt x="7811" y="825"/>
                    <a:pt x="7382" y="1206"/>
                    <a:pt x="7144" y="1444"/>
                  </a:cubicBezTo>
                  <a:cubicBezTo>
                    <a:pt x="6597" y="1123"/>
                    <a:pt x="6025" y="956"/>
                    <a:pt x="5442" y="956"/>
                  </a:cubicBezTo>
                  <a:cubicBezTo>
                    <a:pt x="4882" y="956"/>
                    <a:pt x="4299" y="1123"/>
                    <a:pt x="3751" y="1444"/>
                  </a:cubicBezTo>
                  <a:cubicBezTo>
                    <a:pt x="3513" y="1206"/>
                    <a:pt x="3096" y="825"/>
                    <a:pt x="2513" y="504"/>
                  </a:cubicBezTo>
                  <a:cubicBezTo>
                    <a:pt x="1886" y="166"/>
                    <a:pt x="1251" y="1"/>
                    <a:pt x="6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64" name="Google Shape;13064;p63"/>
          <p:cNvGrpSpPr/>
          <p:nvPr/>
        </p:nvGrpSpPr>
        <p:grpSpPr>
          <a:xfrm>
            <a:off x="7995341" y="1506738"/>
            <a:ext cx="347872" cy="334944"/>
            <a:chOff x="7995341" y="1506738"/>
            <a:chExt cx="347872" cy="334944"/>
          </a:xfrm>
        </p:grpSpPr>
        <p:sp>
          <p:nvSpPr>
            <p:cNvPr id="13065" name="Google Shape;13065;p63"/>
            <p:cNvSpPr/>
            <p:nvPr/>
          </p:nvSpPr>
          <p:spPr>
            <a:xfrm>
              <a:off x="8129837" y="1722674"/>
              <a:ext cx="33536" cy="35936"/>
            </a:xfrm>
            <a:custGeom>
              <a:avLst/>
              <a:gdLst/>
              <a:ahLst/>
              <a:cxnLst/>
              <a:rect l="l" t="t" r="r" b="b"/>
              <a:pathLst>
                <a:path w="1048" h="1123" extrusionOk="0">
                  <a:moveTo>
                    <a:pt x="572" y="301"/>
                  </a:moveTo>
                  <a:cubicBezTo>
                    <a:pt x="595" y="301"/>
                    <a:pt x="619" y="301"/>
                    <a:pt x="631" y="325"/>
                  </a:cubicBezTo>
                  <a:cubicBezTo>
                    <a:pt x="679" y="349"/>
                    <a:pt x="714" y="409"/>
                    <a:pt x="714" y="444"/>
                  </a:cubicBezTo>
                  <a:cubicBezTo>
                    <a:pt x="738" y="516"/>
                    <a:pt x="726" y="587"/>
                    <a:pt x="679" y="647"/>
                  </a:cubicBezTo>
                  <a:cubicBezTo>
                    <a:pt x="620" y="745"/>
                    <a:pt x="528" y="811"/>
                    <a:pt x="445" y="811"/>
                  </a:cubicBezTo>
                  <a:cubicBezTo>
                    <a:pt x="427" y="811"/>
                    <a:pt x="410" y="808"/>
                    <a:pt x="393" y="801"/>
                  </a:cubicBezTo>
                  <a:cubicBezTo>
                    <a:pt x="357" y="766"/>
                    <a:pt x="321" y="706"/>
                    <a:pt x="321" y="682"/>
                  </a:cubicBezTo>
                  <a:cubicBezTo>
                    <a:pt x="310" y="623"/>
                    <a:pt x="321" y="540"/>
                    <a:pt x="357" y="468"/>
                  </a:cubicBezTo>
                  <a:cubicBezTo>
                    <a:pt x="381" y="409"/>
                    <a:pt x="441" y="349"/>
                    <a:pt x="500" y="325"/>
                  </a:cubicBezTo>
                  <a:cubicBezTo>
                    <a:pt x="512" y="325"/>
                    <a:pt x="548" y="301"/>
                    <a:pt x="572" y="301"/>
                  </a:cubicBezTo>
                  <a:close/>
                  <a:moveTo>
                    <a:pt x="584" y="0"/>
                  </a:moveTo>
                  <a:cubicBezTo>
                    <a:pt x="522" y="0"/>
                    <a:pt x="457" y="13"/>
                    <a:pt x="393" y="39"/>
                  </a:cubicBezTo>
                  <a:cubicBezTo>
                    <a:pt x="262" y="99"/>
                    <a:pt x="155" y="182"/>
                    <a:pt x="83" y="313"/>
                  </a:cubicBezTo>
                  <a:cubicBezTo>
                    <a:pt x="12" y="456"/>
                    <a:pt x="0" y="599"/>
                    <a:pt x="12" y="730"/>
                  </a:cubicBezTo>
                  <a:cubicBezTo>
                    <a:pt x="36" y="885"/>
                    <a:pt x="131" y="1004"/>
                    <a:pt x="250" y="1063"/>
                  </a:cubicBezTo>
                  <a:cubicBezTo>
                    <a:pt x="310" y="1087"/>
                    <a:pt x="381" y="1123"/>
                    <a:pt x="452" y="1123"/>
                  </a:cubicBezTo>
                  <a:cubicBezTo>
                    <a:pt x="655" y="1123"/>
                    <a:pt x="857" y="1004"/>
                    <a:pt x="964" y="790"/>
                  </a:cubicBezTo>
                  <a:cubicBezTo>
                    <a:pt x="1036" y="659"/>
                    <a:pt x="1048" y="516"/>
                    <a:pt x="1036" y="385"/>
                  </a:cubicBezTo>
                  <a:cubicBezTo>
                    <a:pt x="1012" y="230"/>
                    <a:pt x="917" y="111"/>
                    <a:pt x="798" y="51"/>
                  </a:cubicBezTo>
                  <a:cubicBezTo>
                    <a:pt x="732" y="19"/>
                    <a:pt x="660"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6" name="Google Shape;13066;p63"/>
            <p:cNvSpPr/>
            <p:nvPr/>
          </p:nvSpPr>
          <p:spPr>
            <a:xfrm>
              <a:off x="8172877" y="1722610"/>
              <a:ext cx="35840" cy="36000"/>
            </a:xfrm>
            <a:custGeom>
              <a:avLst/>
              <a:gdLst/>
              <a:ahLst/>
              <a:cxnLst/>
              <a:rect l="l" t="t" r="r" b="b"/>
              <a:pathLst>
                <a:path w="1120" h="1125" extrusionOk="0">
                  <a:moveTo>
                    <a:pt x="530" y="323"/>
                  </a:moveTo>
                  <a:cubicBezTo>
                    <a:pt x="610" y="323"/>
                    <a:pt x="705" y="381"/>
                    <a:pt x="751" y="482"/>
                  </a:cubicBezTo>
                  <a:cubicBezTo>
                    <a:pt x="774" y="542"/>
                    <a:pt x="798" y="625"/>
                    <a:pt x="774" y="684"/>
                  </a:cubicBezTo>
                  <a:cubicBezTo>
                    <a:pt x="774" y="708"/>
                    <a:pt x="751" y="768"/>
                    <a:pt x="703" y="803"/>
                  </a:cubicBezTo>
                  <a:cubicBezTo>
                    <a:pt x="687" y="810"/>
                    <a:pt x="669" y="814"/>
                    <a:pt x="649" y="814"/>
                  </a:cubicBezTo>
                  <a:cubicBezTo>
                    <a:pt x="568" y="814"/>
                    <a:pt x="465" y="754"/>
                    <a:pt x="417" y="649"/>
                  </a:cubicBezTo>
                  <a:cubicBezTo>
                    <a:pt x="346" y="530"/>
                    <a:pt x="381" y="387"/>
                    <a:pt x="465" y="339"/>
                  </a:cubicBezTo>
                  <a:cubicBezTo>
                    <a:pt x="484" y="328"/>
                    <a:pt x="506" y="323"/>
                    <a:pt x="530" y="323"/>
                  </a:cubicBezTo>
                  <a:close/>
                  <a:moveTo>
                    <a:pt x="532" y="0"/>
                  </a:moveTo>
                  <a:cubicBezTo>
                    <a:pt x="459" y="0"/>
                    <a:pt x="387" y="17"/>
                    <a:pt x="322" y="53"/>
                  </a:cubicBezTo>
                  <a:cubicBezTo>
                    <a:pt x="84" y="184"/>
                    <a:pt x="0" y="518"/>
                    <a:pt x="155" y="803"/>
                  </a:cubicBezTo>
                  <a:cubicBezTo>
                    <a:pt x="262" y="1006"/>
                    <a:pt x="465" y="1125"/>
                    <a:pt x="655" y="1125"/>
                  </a:cubicBezTo>
                  <a:cubicBezTo>
                    <a:pt x="739" y="1125"/>
                    <a:pt x="810" y="1113"/>
                    <a:pt x="870" y="1065"/>
                  </a:cubicBezTo>
                  <a:cubicBezTo>
                    <a:pt x="989" y="1006"/>
                    <a:pt x="1072" y="875"/>
                    <a:pt x="1108" y="744"/>
                  </a:cubicBezTo>
                  <a:cubicBezTo>
                    <a:pt x="1120" y="601"/>
                    <a:pt x="1096" y="458"/>
                    <a:pt x="1036" y="327"/>
                  </a:cubicBezTo>
                  <a:cubicBezTo>
                    <a:pt x="924" y="120"/>
                    <a:pt x="724" y="0"/>
                    <a:pt x="5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7" name="Google Shape;13067;p63"/>
            <p:cNvSpPr/>
            <p:nvPr/>
          </p:nvSpPr>
          <p:spPr>
            <a:xfrm>
              <a:off x="7995341" y="1506738"/>
              <a:ext cx="347872" cy="334944"/>
            </a:xfrm>
            <a:custGeom>
              <a:avLst/>
              <a:gdLst/>
              <a:ahLst/>
              <a:cxnLst/>
              <a:rect l="l" t="t" r="r" b="b"/>
              <a:pathLst>
                <a:path w="10871" h="10467" extrusionOk="0">
                  <a:moveTo>
                    <a:pt x="1548" y="489"/>
                  </a:moveTo>
                  <a:cubicBezTo>
                    <a:pt x="2500" y="799"/>
                    <a:pt x="3262" y="1477"/>
                    <a:pt x="3620" y="1834"/>
                  </a:cubicBezTo>
                  <a:cubicBezTo>
                    <a:pt x="3453" y="1930"/>
                    <a:pt x="3286" y="2037"/>
                    <a:pt x="3143" y="2156"/>
                  </a:cubicBezTo>
                  <a:cubicBezTo>
                    <a:pt x="2870" y="1537"/>
                    <a:pt x="2429" y="1025"/>
                    <a:pt x="1822" y="644"/>
                  </a:cubicBezTo>
                  <a:cubicBezTo>
                    <a:pt x="1727" y="584"/>
                    <a:pt x="1643" y="537"/>
                    <a:pt x="1548" y="489"/>
                  </a:cubicBezTo>
                  <a:close/>
                  <a:moveTo>
                    <a:pt x="333" y="382"/>
                  </a:moveTo>
                  <a:lnTo>
                    <a:pt x="333" y="382"/>
                  </a:lnTo>
                  <a:cubicBezTo>
                    <a:pt x="905" y="501"/>
                    <a:pt x="2310" y="942"/>
                    <a:pt x="2893" y="2382"/>
                  </a:cubicBezTo>
                  <a:cubicBezTo>
                    <a:pt x="2679" y="2573"/>
                    <a:pt x="2489" y="2787"/>
                    <a:pt x="2298" y="3025"/>
                  </a:cubicBezTo>
                  <a:cubicBezTo>
                    <a:pt x="2203" y="3144"/>
                    <a:pt x="2119" y="3263"/>
                    <a:pt x="2024" y="3394"/>
                  </a:cubicBezTo>
                  <a:cubicBezTo>
                    <a:pt x="667" y="2977"/>
                    <a:pt x="393" y="1025"/>
                    <a:pt x="333" y="382"/>
                  </a:cubicBezTo>
                  <a:close/>
                  <a:moveTo>
                    <a:pt x="10525" y="382"/>
                  </a:moveTo>
                  <a:lnTo>
                    <a:pt x="10525" y="382"/>
                  </a:lnTo>
                  <a:cubicBezTo>
                    <a:pt x="10466" y="1025"/>
                    <a:pt x="10180" y="2977"/>
                    <a:pt x="8823" y="3394"/>
                  </a:cubicBezTo>
                  <a:cubicBezTo>
                    <a:pt x="8739" y="3263"/>
                    <a:pt x="8644" y="3144"/>
                    <a:pt x="8561" y="3025"/>
                  </a:cubicBezTo>
                  <a:cubicBezTo>
                    <a:pt x="8382" y="2787"/>
                    <a:pt x="8168" y="2573"/>
                    <a:pt x="7965" y="2382"/>
                  </a:cubicBezTo>
                  <a:cubicBezTo>
                    <a:pt x="8013" y="2275"/>
                    <a:pt x="8049" y="2168"/>
                    <a:pt x="8108" y="2073"/>
                  </a:cubicBezTo>
                  <a:cubicBezTo>
                    <a:pt x="8156" y="1989"/>
                    <a:pt x="8132" y="1894"/>
                    <a:pt x="8049" y="1846"/>
                  </a:cubicBezTo>
                  <a:cubicBezTo>
                    <a:pt x="8024" y="1830"/>
                    <a:pt x="7996" y="1822"/>
                    <a:pt x="7967" y="1822"/>
                  </a:cubicBezTo>
                  <a:cubicBezTo>
                    <a:pt x="7912" y="1822"/>
                    <a:pt x="7858" y="1851"/>
                    <a:pt x="7834" y="1906"/>
                  </a:cubicBezTo>
                  <a:cubicBezTo>
                    <a:pt x="7787" y="1989"/>
                    <a:pt x="7739" y="2073"/>
                    <a:pt x="7715" y="2156"/>
                  </a:cubicBezTo>
                  <a:cubicBezTo>
                    <a:pt x="7561" y="2037"/>
                    <a:pt x="7394" y="1918"/>
                    <a:pt x="7239" y="1823"/>
                  </a:cubicBezTo>
                  <a:cubicBezTo>
                    <a:pt x="7596" y="1477"/>
                    <a:pt x="8346" y="799"/>
                    <a:pt x="9299" y="489"/>
                  </a:cubicBezTo>
                  <a:lnTo>
                    <a:pt x="9299" y="489"/>
                  </a:lnTo>
                  <a:cubicBezTo>
                    <a:pt x="8942" y="680"/>
                    <a:pt x="8573" y="930"/>
                    <a:pt x="8263" y="1311"/>
                  </a:cubicBezTo>
                  <a:cubicBezTo>
                    <a:pt x="8204" y="1370"/>
                    <a:pt x="8215" y="1477"/>
                    <a:pt x="8275" y="1525"/>
                  </a:cubicBezTo>
                  <a:cubicBezTo>
                    <a:pt x="8311" y="1561"/>
                    <a:pt x="8346" y="1573"/>
                    <a:pt x="8382" y="1573"/>
                  </a:cubicBezTo>
                  <a:cubicBezTo>
                    <a:pt x="8430" y="1573"/>
                    <a:pt x="8465" y="1561"/>
                    <a:pt x="8501" y="1513"/>
                  </a:cubicBezTo>
                  <a:cubicBezTo>
                    <a:pt x="9168" y="763"/>
                    <a:pt x="10073" y="477"/>
                    <a:pt x="10525" y="382"/>
                  </a:cubicBezTo>
                  <a:close/>
                  <a:moveTo>
                    <a:pt x="5429" y="1608"/>
                  </a:moveTo>
                  <a:cubicBezTo>
                    <a:pt x="5965" y="1608"/>
                    <a:pt x="6501" y="1751"/>
                    <a:pt x="7013" y="2049"/>
                  </a:cubicBezTo>
                  <a:cubicBezTo>
                    <a:pt x="7489" y="2335"/>
                    <a:pt x="7930" y="2716"/>
                    <a:pt x="8323" y="3216"/>
                  </a:cubicBezTo>
                  <a:cubicBezTo>
                    <a:pt x="9061" y="4180"/>
                    <a:pt x="9525" y="5430"/>
                    <a:pt x="9525" y="6561"/>
                  </a:cubicBezTo>
                  <a:cubicBezTo>
                    <a:pt x="9525" y="8538"/>
                    <a:pt x="7692" y="10145"/>
                    <a:pt x="5429" y="10145"/>
                  </a:cubicBezTo>
                  <a:cubicBezTo>
                    <a:pt x="3167" y="10145"/>
                    <a:pt x="1346" y="8538"/>
                    <a:pt x="1346" y="6561"/>
                  </a:cubicBezTo>
                  <a:cubicBezTo>
                    <a:pt x="1346" y="5430"/>
                    <a:pt x="1786" y="4180"/>
                    <a:pt x="2548" y="3216"/>
                  </a:cubicBezTo>
                  <a:cubicBezTo>
                    <a:pt x="2929" y="2716"/>
                    <a:pt x="3381" y="2335"/>
                    <a:pt x="3858" y="2049"/>
                  </a:cubicBezTo>
                  <a:cubicBezTo>
                    <a:pt x="4358" y="1751"/>
                    <a:pt x="4894" y="1608"/>
                    <a:pt x="5429" y="1608"/>
                  </a:cubicBezTo>
                  <a:close/>
                  <a:moveTo>
                    <a:pt x="535" y="1"/>
                  </a:moveTo>
                  <a:cubicBezTo>
                    <a:pt x="400" y="1"/>
                    <a:pt x="266" y="9"/>
                    <a:pt x="131" y="25"/>
                  </a:cubicBezTo>
                  <a:cubicBezTo>
                    <a:pt x="60" y="49"/>
                    <a:pt x="0" y="108"/>
                    <a:pt x="0" y="191"/>
                  </a:cubicBezTo>
                  <a:cubicBezTo>
                    <a:pt x="0" y="227"/>
                    <a:pt x="24" y="953"/>
                    <a:pt x="286" y="1751"/>
                  </a:cubicBezTo>
                  <a:cubicBezTo>
                    <a:pt x="595" y="2751"/>
                    <a:pt x="1143" y="3406"/>
                    <a:pt x="1857" y="3656"/>
                  </a:cubicBezTo>
                  <a:cubicBezTo>
                    <a:pt x="1322" y="4549"/>
                    <a:pt x="1024" y="5597"/>
                    <a:pt x="1024" y="6561"/>
                  </a:cubicBezTo>
                  <a:cubicBezTo>
                    <a:pt x="1024" y="7609"/>
                    <a:pt x="1488" y="8585"/>
                    <a:pt x="2322" y="9335"/>
                  </a:cubicBezTo>
                  <a:cubicBezTo>
                    <a:pt x="3155" y="10062"/>
                    <a:pt x="4251" y="10466"/>
                    <a:pt x="5429" y="10466"/>
                  </a:cubicBezTo>
                  <a:cubicBezTo>
                    <a:pt x="6608" y="10466"/>
                    <a:pt x="7715" y="10062"/>
                    <a:pt x="8549" y="9335"/>
                  </a:cubicBezTo>
                  <a:cubicBezTo>
                    <a:pt x="9382" y="8585"/>
                    <a:pt x="9835" y="7609"/>
                    <a:pt x="9835" y="6561"/>
                  </a:cubicBezTo>
                  <a:cubicBezTo>
                    <a:pt x="9835" y="5609"/>
                    <a:pt x="9525" y="4573"/>
                    <a:pt x="9001" y="3656"/>
                  </a:cubicBezTo>
                  <a:cubicBezTo>
                    <a:pt x="9716" y="3418"/>
                    <a:pt x="10251" y="2751"/>
                    <a:pt x="10585" y="1751"/>
                  </a:cubicBezTo>
                  <a:cubicBezTo>
                    <a:pt x="10835" y="953"/>
                    <a:pt x="10871" y="227"/>
                    <a:pt x="10871" y="191"/>
                  </a:cubicBezTo>
                  <a:cubicBezTo>
                    <a:pt x="10871" y="120"/>
                    <a:pt x="10811" y="49"/>
                    <a:pt x="10728" y="25"/>
                  </a:cubicBezTo>
                  <a:cubicBezTo>
                    <a:pt x="10595" y="9"/>
                    <a:pt x="10462" y="1"/>
                    <a:pt x="10328" y="1"/>
                  </a:cubicBezTo>
                  <a:cubicBezTo>
                    <a:pt x="9657" y="1"/>
                    <a:pt x="8970" y="201"/>
                    <a:pt x="8275" y="608"/>
                  </a:cubicBezTo>
                  <a:cubicBezTo>
                    <a:pt x="7668" y="965"/>
                    <a:pt x="7203" y="1394"/>
                    <a:pt x="6953" y="1668"/>
                  </a:cubicBezTo>
                  <a:cubicBezTo>
                    <a:pt x="6465" y="1418"/>
                    <a:pt x="5941" y="1299"/>
                    <a:pt x="5429" y="1299"/>
                  </a:cubicBezTo>
                  <a:cubicBezTo>
                    <a:pt x="4917" y="1299"/>
                    <a:pt x="4405" y="1418"/>
                    <a:pt x="3917" y="1668"/>
                  </a:cubicBezTo>
                  <a:cubicBezTo>
                    <a:pt x="3655" y="1394"/>
                    <a:pt x="3203" y="965"/>
                    <a:pt x="2584" y="608"/>
                  </a:cubicBezTo>
                  <a:cubicBezTo>
                    <a:pt x="1899" y="201"/>
                    <a:pt x="1214" y="1"/>
                    <a:pt x="5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8" name="Google Shape;13068;p63"/>
            <p:cNvSpPr/>
            <p:nvPr/>
          </p:nvSpPr>
          <p:spPr>
            <a:xfrm>
              <a:off x="8103149" y="1685426"/>
              <a:ext cx="132256" cy="123104"/>
            </a:xfrm>
            <a:custGeom>
              <a:avLst/>
              <a:gdLst/>
              <a:ahLst/>
              <a:cxnLst/>
              <a:rect l="l" t="t" r="r" b="b"/>
              <a:pathLst>
                <a:path w="4133" h="3847" extrusionOk="0">
                  <a:moveTo>
                    <a:pt x="2037" y="311"/>
                  </a:moveTo>
                  <a:cubicBezTo>
                    <a:pt x="2513" y="311"/>
                    <a:pt x="2953" y="489"/>
                    <a:pt x="3275" y="799"/>
                  </a:cubicBezTo>
                  <a:cubicBezTo>
                    <a:pt x="3596" y="1108"/>
                    <a:pt x="3775" y="1561"/>
                    <a:pt x="3775" y="2049"/>
                  </a:cubicBezTo>
                  <a:cubicBezTo>
                    <a:pt x="3811" y="2263"/>
                    <a:pt x="3763" y="2406"/>
                    <a:pt x="3644" y="2513"/>
                  </a:cubicBezTo>
                  <a:cubicBezTo>
                    <a:pt x="3496" y="2654"/>
                    <a:pt x="3235" y="2695"/>
                    <a:pt x="2963" y="2695"/>
                  </a:cubicBezTo>
                  <a:cubicBezTo>
                    <a:pt x="2776" y="2695"/>
                    <a:pt x="2583" y="2675"/>
                    <a:pt x="2418" y="2656"/>
                  </a:cubicBezTo>
                  <a:cubicBezTo>
                    <a:pt x="2287" y="2644"/>
                    <a:pt x="2156" y="2632"/>
                    <a:pt x="2048" y="2632"/>
                  </a:cubicBezTo>
                  <a:cubicBezTo>
                    <a:pt x="1941" y="2632"/>
                    <a:pt x="1810" y="2644"/>
                    <a:pt x="1679" y="2656"/>
                  </a:cubicBezTo>
                  <a:cubicBezTo>
                    <a:pt x="1511" y="2671"/>
                    <a:pt x="1316" y="2690"/>
                    <a:pt x="1127" y="2690"/>
                  </a:cubicBezTo>
                  <a:cubicBezTo>
                    <a:pt x="861" y="2690"/>
                    <a:pt x="606" y="2652"/>
                    <a:pt x="453" y="2513"/>
                  </a:cubicBezTo>
                  <a:cubicBezTo>
                    <a:pt x="358" y="2406"/>
                    <a:pt x="298" y="2263"/>
                    <a:pt x="298" y="2049"/>
                  </a:cubicBezTo>
                  <a:cubicBezTo>
                    <a:pt x="298" y="1561"/>
                    <a:pt x="477" y="1108"/>
                    <a:pt x="798" y="799"/>
                  </a:cubicBezTo>
                  <a:cubicBezTo>
                    <a:pt x="1132" y="489"/>
                    <a:pt x="1560" y="311"/>
                    <a:pt x="2037" y="311"/>
                  </a:cubicBezTo>
                  <a:close/>
                  <a:moveTo>
                    <a:pt x="2060" y="2954"/>
                  </a:moveTo>
                  <a:cubicBezTo>
                    <a:pt x="2156" y="2954"/>
                    <a:pt x="2287" y="2978"/>
                    <a:pt x="2406" y="2978"/>
                  </a:cubicBezTo>
                  <a:cubicBezTo>
                    <a:pt x="2584" y="2989"/>
                    <a:pt x="2763" y="3001"/>
                    <a:pt x="2953" y="3001"/>
                  </a:cubicBezTo>
                  <a:cubicBezTo>
                    <a:pt x="3060" y="3001"/>
                    <a:pt x="3156" y="3001"/>
                    <a:pt x="3239" y="2989"/>
                  </a:cubicBezTo>
                  <a:lnTo>
                    <a:pt x="3239" y="2989"/>
                  </a:lnTo>
                  <a:cubicBezTo>
                    <a:pt x="3037" y="3335"/>
                    <a:pt x="2644" y="3537"/>
                    <a:pt x="2239" y="3537"/>
                  </a:cubicBezTo>
                  <a:lnTo>
                    <a:pt x="1882" y="3537"/>
                  </a:lnTo>
                  <a:cubicBezTo>
                    <a:pt x="1465" y="3537"/>
                    <a:pt x="1096" y="3335"/>
                    <a:pt x="870" y="2989"/>
                  </a:cubicBezTo>
                  <a:lnTo>
                    <a:pt x="870" y="2989"/>
                  </a:lnTo>
                  <a:cubicBezTo>
                    <a:pt x="979" y="2999"/>
                    <a:pt x="1092" y="3002"/>
                    <a:pt x="1204" y="3002"/>
                  </a:cubicBezTo>
                  <a:cubicBezTo>
                    <a:pt x="1385" y="3002"/>
                    <a:pt x="1565" y="2992"/>
                    <a:pt x="1727" y="2978"/>
                  </a:cubicBezTo>
                  <a:cubicBezTo>
                    <a:pt x="1858" y="2954"/>
                    <a:pt x="1977" y="2954"/>
                    <a:pt x="2060" y="2954"/>
                  </a:cubicBezTo>
                  <a:close/>
                  <a:moveTo>
                    <a:pt x="2060" y="1"/>
                  </a:moveTo>
                  <a:cubicBezTo>
                    <a:pt x="894" y="1"/>
                    <a:pt x="1" y="870"/>
                    <a:pt x="1" y="2049"/>
                  </a:cubicBezTo>
                  <a:cubicBezTo>
                    <a:pt x="1" y="2346"/>
                    <a:pt x="84" y="2573"/>
                    <a:pt x="263" y="2739"/>
                  </a:cubicBezTo>
                  <a:cubicBezTo>
                    <a:pt x="322" y="2799"/>
                    <a:pt x="393" y="2835"/>
                    <a:pt x="477" y="2870"/>
                  </a:cubicBezTo>
                  <a:cubicBezTo>
                    <a:pt x="691" y="3466"/>
                    <a:pt x="1263" y="3847"/>
                    <a:pt x="1882" y="3847"/>
                  </a:cubicBezTo>
                  <a:lnTo>
                    <a:pt x="2239" y="3847"/>
                  </a:lnTo>
                  <a:cubicBezTo>
                    <a:pt x="2870" y="3847"/>
                    <a:pt x="3430" y="3466"/>
                    <a:pt x="3656" y="2870"/>
                  </a:cubicBezTo>
                  <a:cubicBezTo>
                    <a:pt x="3727" y="2835"/>
                    <a:pt x="3811" y="2775"/>
                    <a:pt x="3870" y="2716"/>
                  </a:cubicBezTo>
                  <a:cubicBezTo>
                    <a:pt x="4049" y="2561"/>
                    <a:pt x="4132" y="2335"/>
                    <a:pt x="4132" y="2037"/>
                  </a:cubicBezTo>
                  <a:cubicBezTo>
                    <a:pt x="4132" y="1489"/>
                    <a:pt x="3906" y="953"/>
                    <a:pt x="3525" y="572"/>
                  </a:cubicBezTo>
                  <a:cubicBezTo>
                    <a:pt x="3132" y="203"/>
                    <a:pt x="2620" y="1"/>
                    <a:pt x="2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9" name="Google Shape;13069;p63"/>
            <p:cNvSpPr/>
            <p:nvPr/>
          </p:nvSpPr>
          <p:spPr>
            <a:xfrm>
              <a:off x="8087149" y="1640498"/>
              <a:ext cx="43456" cy="48032"/>
            </a:xfrm>
            <a:custGeom>
              <a:avLst/>
              <a:gdLst/>
              <a:ahLst/>
              <a:cxnLst/>
              <a:rect l="l" t="t" r="r" b="b"/>
              <a:pathLst>
                <a:path w="1358" h="1501" extrusionOk="0">
                  <a:moveTo>
                    <a:pt x="679" y="0"/>
                  </a:moveTo>
                  <a:cubicBezTo>
                    <a:pt x="298" y="0"/>
                    <a:pt x="1" y="298"/>
                    <a:pt x="1" y="667"/>
                  </a:cubicBezTo>
                  <a:lnTo>
                    <a:pt x="1" y="833"/>
                  </a:lnTo>
                  <a:cubicBezTo>
                    <a:pt x="1" y="1203"/>
                    <a:pt x="298" y="1500"/>
                    <a:pt x="679" y="1500"/>
                  </a:cubicBezTo>
                  <a:cubicBezTo>
                    <a:pt x="1048" y="1500"/>
                    <a:pt x="1346" y="1203"/>
                    <a:pt x="1346" y="833"/>
                  </a:cubicBezTo>
                  <a:lnTo>
                    <a:pt x="1346" y="691"/>
                  </a:lnTo>
                  <a:cubicBezTo>
                    <a:pt x="1358" y="595"/>
                    <a:pt x="1286" y="524"/>
                    <a:pt x="1191" y="524"/>
                  </a:cubicBezTo>
                  <a:cubicBezTo>
                    <a:pt x="1108" y="524"/>
                    <a:pt x="1036" y="595"/>
                    <a:pt x="1036" y="691"/>
                  </a:cubicBezTo>
                  <a:lnTo>
                    <a:pt x="1036" y="845"/>
                  </a:lnTo>
                  <a:cubicBezTo>
                    <a:pt x="1036" y="1048"/>
                    <a:pt x="870" y="1203"/>
                    <a:pt x="679" y="1203"/>
                  </a:cubicBezTo>
                  <a:cubicBezTo>
                    <a:pt x="477" y="1203"/>
                    <a:pt x="322" y="1036"/>
                    <a:pt x="322" y="845"/>
                  </a:cubicBezTo>
                  <a:lnTo>
                    <a:pt x="322" y="691"/>
                  </a:lnTo>
                  <a:cubicBezTo>
                    <a:pt x="322" y="488"/>
                    <a:pt x="477" y="333"/>
                    <a:pt x="679" y="333"/>
                  </a:cubicBezTo>
                  <a:cubicBezTo>
                    <a:pt x="763" y="333"/>
                    <a:pt x="834" y="250"/>
                    <a:pt x="834" y="167"/>
                  </a:cubicBezTo>
                  <a:cubicBezTo>
                    <a:pt x="834" y="71"/>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0" name="Google Shape;13070;p63"/>
            <p:cNvSpPr/>
            <p:nvPr/>
          </p:nvSpPr>
          <p:spPr>
            <a:xfrm>
              <a:off x="8207149" y="1640498"/>
              <a:ext cx="43104" cy="48032"/>
            </a:xfrm>
            <a:custGeom>
              <a:avLst/>
              <a:gdLst/>
              <a:ahLst/>
              <a:cxnLst/>
              <a:rect l="l" t="t" r="r" b="b"/>
              <a:pathLst>
                <a:path w="1347" h="1501" extrusionOk="0">
                  <a:moveTo>
                    <a:pt x="680" y="0"/>
                  </a:moveTo>
                  <a:cubicBezTo>
                    <a:pt x="299" y="0"/>
                    <a:pt x="1" y="298"/>
                    <a:pt x="1" y="667"/>
                  </a:cubicBezTo>
                  <a:lnTo>
                    <a:pt x="1" y="833"/>
                  </a:lnTo>
                  <a:cubicBezTo>
                    <a:pt x="1" y="1203"/>
                    <a:pt x="299" y="1500"/>
                    <a:pt x="680" y="1500"/>
                  </a:cubicBezTo>
                  <a:cubicBezTo>
                    <a:pt x="1049" y="1500"/>
                    <a:pt x="1346" y="1203"/>
                    <a:pt x="1346" y="833"/>
                  </a:cubicBezTo>
                  <a:lnTo>
                    <a:pt x="1346" y="691"/>
                  </a:lnTo>
                  <a:cubicBezTo>
                    <a:pt x="1346" y="595"/>
                    <a:pt x="1287" y="524"/>
                    <a:pt x="1192" y="524"/>
                  </a:cubicBezTo>
                  <a:cubicBezTo>
                    <a:pt x="1108" y="524"/>
                    <a:pt x="1037" y="595"/>
                    <a:pt x="1037" y="691"/>
                  </a:cubicBezTo>
                  <a:lnTo>
                    <a:pt x="1037" y="845"/>
                  </a:lnTo>
                  <a:cubicBezTo>
                    <a:pt x="1037" y="1048"/>
                    <a:pt x="870" y="1203"/>
                    <a:pt x="680" y="1203"/>
                  </a:cubicBezTo>
                  <a:cubicBezTo>
                    <a:pt x="477" y="1203"/>
                    <a:pt x="311" y="1036"/>
                    <a:pt x="311" y="845"/>
                  </a:cubicBezTo>
                  <a:lnTo>
                    <a:pt x="311" y="691"/>
                  </a:lnTo>
                  <a:cubicBezTo>
                    <a:pt x="311" y="488"/>
                    <a:pt x="477" y="333"/>
                    <a:pt x="680" y="333"/>
                  </a:cubicBezTo>
                  <a:cubicBezTo>
                    <a:pt x="763" y="333"/>
                    <a:pt x="834" y="250"/>
                    <a:pt x="834" y="167"/>
                  </a:cubicBezTo>
                  <a:cubicBezTo>
                    <a:pt x="834" y="71"/>
                    <a:pt x="763" y="0"/>
                    <a:pt x="6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71" name="Google Shape;13071;p63"/>
          <p:cNvGrpSpPr/>
          <p:nvPr/>
        </p:nvGrpSpPr>
        <p:grpSpPr>
          <a:xfrm>
            <a:off x="3048045" y="1522930"/>
            <a:ext cx="347872" cy="303904"/>
            <a:chOff x="3048045" y="1522930"/>
            <a:chExt cx="347872" cy="303904"/>
          </a:xfrm>
        </p:grpSpPr>
        <p:sp>
          <p:nvSpPr>
            <p:cNvPr id="13072" name="Google Shape;13072;p63"/>
            <p:cNvSpPr/>
            <p:nvPr/>
          </p:nvSpPr>
          <p:spPr>
            <a:xfrm>
              <a:off x="3137965" y="1548658"/>
              <a:ext cx="10688" cy="13760"/>
            </a:xfrm>
            <a:custGeom>
              <a:avLst/>
              <a:gdLst/>
              <a:ahLst/>
              <a:cxnLst/>
              <a:rect l="l" t="t" r="r" b="b"/>
              <a:pathLst>
                <a:path w="334" h="430" extrusionOk="0">
                  <a:moveTo>
                    <a:pt x="167" y="1"/>
                  </a:moveTo>
                  <a:cubicBezTo>
                    <a:pt x="72" y="1"/>
                    <a:pt x="0" y="72"/>
                    <a:pt x="0" y="167"/>
                  </a:cubicBezTo>
                  <a:lnTo>
                    <a:pt x="0" y="263"/>
                  </a:lnTo>
                  <a:cubicBezTo>
                    <a:pt x="0" y="358"/>
                    <a:pt x="72" y="429"/>
                    <a:pt x="167" y="429"/>
                  </a:cubicBezTo>
                  <a:cubicBezTo>
                    <a:pt x="262" y="429"/>
                    <a:pt x="334" y="358"/>
                    <a:pt x="334" y="263"/>
                  </a:cubicBezTo>
                  <a:lnTo>
                    <a:pt x="334" y="167"/>
                  </a:lnTo>
                  <a:cubicBezTo>
                    <a:pt x="310" y="60"/>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73" name="Google Shape;13073;p63"/>
            <p:cNvGrpSpPr/>
            <p:nvPr/>
          </p:nvGrpSpPr>
          <p:grpSpPr>
            <a:xfrm>
              <a:off x="3048045" y="1522930"/>
              <a:ext cx="347872" cy="303904"/>
              <a:chOff x="3048045" y="1522930"/>
              <a:chExt cx="347872" cy="303904"/>
            </a:xfrm>
          </p:grpSpPr>
          <p:sp>
            <p:nvSpPr>
              <p:cNvPr id="13074" name="Google Shape;13074;p63"/>
              <p:cNvSpPr/>
              <p:nvPr/>
            </p:nvSpPr>
            <p:spPr>
              <a:xfrm>
                <a:off x="3048045" y="1522930"/>
                <a:ext cx="347872" cy="303904"/>
              </a:xfrm>
              <a:custGeom>
                <a:avLst/>
                <a:gdLst/>
                <a:ahLst/>
                <a:cxnLst/>
                <a:rect l="l" t="t" r="r" b="b"/>
                <a:pathLst>
                  <a:path w="10871" h="9497" extrusionOk="0">
                    <a:moveTo>
                      <a:pt x="5752" y="4495"/>
                    </a:moveTo>
                    <a:cubicBezTo>
                      <a:pt x="6093" y="4495"/>
                      <a:pt x="6440" y="4510"/>
                      <a:pt x="6775" y="4543"/>
                    </a:cubicBezTo>
                    <a:cubicBezTo>
                      <a:pt x="6680" y="4674"/>
                      <a:pt x="6597" y="4817"/>
                      <a:pt x="6513" y="4972"/>
                    </a:cubicBezTo>
                    <a:cubicBezTo>
                      <a:pt x="6229" y="4945"/>
                      <a:pt x="5949" y="4933"/>
                      <a:pt x="5681" y="4933"/>
                    </a:cubicBezTo>
                    <a:cubicBezTo>
                      <a:pt x="5354" y="4933"/>
                      <a:pt x="5044" y="4951"/>
                      <a:pt x="4763" y="4984"/>
                    </a:cubicBezTo>
                    <a:cubicBezTo>
                      <a:pt x="4834" y="4841"/>
                      <a:pt x="4918" y="4674"/>
                      <a:pt x="4977" y="4519"/>
                    </a:cubicBezTo>
                    <a:cubicBezTo>
                      <a:pt x="5227" y="4504"/>
                      <a:pt x="5488" y="4495"/>
                      <a:pt x="5752" y="4495"/>
                    </a:cubicBezTo>
                    <a:close/>
                    <a:moveTo>
                      <a:pt x="5644" y="5242"/>
                    </a:moveTo>
                    <a:cubicBezTo>
                      <a:pt x="5874" y="5242"/>
                      <a:pt x="6115" y="5252"/>
                      <a:pt x="6358" y="5269"/>
                    </a:cubicBezTo>
                    <a:lnTo>
                      <a:pt x="6085" y="5853"/>
                    </a:lnTo>
                    <a:cubicBezTo>
                      <a:pt x="5751" y="6579"/>
                      <a:pt x="5418" y="7282"/>
                      <a:pt x="4930" y="7639"/>
                    </a:cubicBezTo>
                    <a:cubicBezTo>
                      <a:pt x="4811" y="7722"/>
                      <a:pt x="4680" y="7794"/>
                      <a:pt x="4561" y="7877"/>
                    </a:cubicBezTo>
                    <a:cubicBezTo>
                      <a:pt x="4525" y="7853"/>
                      <a:pt x="4501" y="7841"/>
                      <a:pt x="4477" y="7829"/>
                    </a:cubicBezTo>
                    <a:cubicBezTo>
                      <a:pt x="4120" y="7555"/>
                      <a:pt x="3989" y="7246"/>
                      <a:pt x="4049" y="6805"/>
                    </a:cubicBezTo>
                    <a:cubicBezTo>
                      <a:pt x="4108" y="6389"/>
                      <a:pt x="4334" y="5889"/>
                      <a:pt x="4596" y="5329"/>
                    </a:cubicBezTo>
                    <a:cubicBezTo>
                      <a:pt x="4895" y="5269"/>
                      <a:pt x="5255" y="5242"/>
                      <a:pt x="5644" y="5242"/>
                    </a:cubicBezTo>
                    <a:close/>
                    <a:moveTo>
                      <a:pt x="2060" y="6412"/>
                    </a:moveTo>
                    <a:lnTo>
                      <a:pt x="2060" y="6412"/>
                    </a:lnTo>
                    <a:cubicBezTo>
                      <a:pt x="2036" y="6948"/>
                      <a:pt x="2096" y="7460"/>
                      <a:pt x="2322" y="7936"/>
                    </a:cubicBezTo>
                    <a:cubicBezTo>
                      <a:pt x="2132" y="7794"/>
                      <a:pt x="1977" y="7615"/>
                      <a:pt x="1905" y="7413"/>
                    </a:cubicBezTo>
                    <a:cubicBezTo>
                      <a:pt x="1763" y="6984"/>
                      <a:pt x="1858" y="6662"/>
                      <a:pt x="2060" y="6412"/>
                    </a:cubicBezTo>
                    <a:close/>
                    <a:moveTo>
                      <a:pt x="7370" y="5400"/>
                    </a:moveTo>
                    <a:cubicBezTo>
                      <a:pt x="8251" y="5579"/>
                      <a:pt x="8918" y="5900"/>
                      <a:pt x="9121" y="6281"/>
                    </a:cubicBezTo>
                    <a:cubicBezTo>
                      <a:pt x="9192" y="6424"/>
                      <a:pt x="9216" y="6555"/>
                      <a:pt x="9156" y="6710"/>
                    </a:cubicBezTo>
                    <a:cubicBezTo>
                      <a:pt x="9025" y="7067"/>
                      <a:pt x="8561" y="7389"/>
                      <a:pt x="7859" y="7663"/>
                    </a:cubicBezTo>
                    <a:cubicBezTo>
                      <a:pt x="7335" y="7853"/>
                      <a:pt x="6727" y="7984"/>
                      <a:pt x="6144" y="8032"/>
                    </a:cubicBezTo>
                    <a:cubicBezTo>
                      <a:pt x="6704" y="7377"/>
                      <a:pt x="6954" y="6615"/>
                      <a:pt x="7192" y="5924"/>
                    </a:cubicBezTo>
                    <a:cubicBezTo>
                      <a:pt x="7251" y="5746"/>
                      <a:pt x="7311" y="5567"/>
                      <a:pt x="7370" y="5400"/>
                    </a:cubicBezTo>
                    <a:close/>
                    <a:moveTo>
                      <a:pt x="3407" y="319"/>
                    </a:moveTo>
                    <a:cubicBezTo>
                      <a:pt x="3697" y="319"/>
                      <a:pt x="3980" y="376"/>
                      <a:pt x="4239" y="495"/>
                    </a:cubicBezTo>
                    <a:cubicBezTo>
                      <a:pt x="4989" y="828"/>
                      <a:pt x="5346" y="1590"/>
                      <a:pt x="5203" y="2591"/>
                    </a:cubicBezTo>
                    <a:cubicBezTo>
                      <a:pt x="5084" y="3543"/>
                      <a:pt x="4692" y="4388"/>
                      <a:pt x="4334" y="5150"/>
                    </a:cubicBezTo>
                    <a:cubicBezTo>
                      <a:pt x="4049" y="5746"/>
                      <a:pt x="3810" y="6270"/>
                      <a:pt x="3739" y="6746"/>
                    </a:cubicBezTo>
                    <a:cubicBezTo>
                      <a:pt x="3656" y="7258"/>
                      <a:pt x="3822" y="7675"/>
                      <a:pt x="4227" y="8008"/>
                    </a:cubicBezTo>
                    <a:cubicBezTo>
                      <a:pt x="4060" y="8067"/>
                      <a:pt x="3894" y="8127"/>
                      <a:pt x="3739" y="8151"/>
                    </a:cubicBezTo>
                    <a:cubicBezTo>
                      <a:pt x="3644" y="8032"/>
                      <a:pt x="3584" y="7913"/>
                      <a:pt x="3525" y="7817"/>
                    </a:cubicBezTo>
                    <a:cubicBezTo>
                      <a:pt x="3498" y="7754"/>
                      <a:pt x="3436" y="7725"/>
                      <a:pt x="3377" y="7725"/>
                    </a:cubicBezTo>
                    <a:cubicBezTo>
                      <a:pt x="3358" y="7725"/>
                      <a:pt x="3340" y="7728"/>
                      <a:pt x="3322" y="7734"/>
                    </a:cubicBezTo>
                    <a:cubicBezTo>
                      <a:pt x="3239" y="7782"/>
                      <a:pt x="3215" y="7865"/>
                      <a:pt x="3239" y="7948"/>
                    </a:cubicBezTo>
                    <a:cubicBezTo>
                      <a:pt x="3287" y="8032"/>
                      <a:pt x="3334" y="8115"/>
                      <a:pt x="3382" y="8186"/>
                    </a:cubicBezTo>
                    <a:cubicBezTo>
                      <a:pt x="3179" y="8186"/>
                      <a:pt x="2989" y="8163"/>
                      <a:pt x="2810" y="8127"/>
                    </a:cubicBezTo>
                    <a:cubicBezTo>
                      <a:pt x="2025" y="6984"/>
                      <a:pt x="2453" y="5353"/>
                      <a:pt x="2846" y="3912"/>
                    </a:cubicBezTo>
                    <a:cubicBezTo>
                      <a:pt x="2977" y="3412"/>
                      <a:pt x="3108" y="2924"/>
                      <a:pt x="3179" y="2483"/>
                    </a:cubicBezTo>
                    <a:cubicBezTo>
                      <a:pt x="3572" y="2412"/>
                      <a:pt x="3918" y="2305"/>
                      <a:pt x="4120" y="2233"/>
                    </a:cubicBezTo>
                    <a:lnTo>
                      <a:pt x="4120" y="2555"/>
                    </a:lnTo>
                    <a:cubicBezTo>
                      <a:pt x="4120" y="2650"/>
                      <a:pt x="4180" y="2722"/>
                      <a:pt x="4275" y="2722"/>
                    </a:cubicBezTo>
                    <a:cubicBezTo>
                      <a:pt x="4358" y="2722"/>
                      <a:pt x="4418" y="2650"/>
                      <a:pt x="4430" y="2579"/>
                    </a:cubicBezTo>
                    <a:cubicBezTo>
                      <a:pt x="4453" y="2376"/>
                      <a:pt x="4430" y="2186"/>
                      <a:pt x="4418" y="1995"/>
                    </a:cubicBezTo>
                    <a:cubicBezTo>
                      <a:pt x="4418" y="1948"/>
                      <a:pt x="4394" y="1900"/>
                      <a:pt x="4346" y="1876"/>
                    </a:cubicBezTo>
                    <a:cubicBezTo>
                      <a:pt x="4320" y="1857"/>
                      <a:pt x="4294" y="1848"/>
                      <a:pt x="4270" y="1848"/>
                    </a:cubicBezTo>
                    <a:cubicBezTo>
                      <a:pt x="4250" y="1848"/>
                      <a:pt x="4231" y="1854"/>
                      <a:pt x="4215" y="1864"/>
                    </a:cubicBezTo>
                    <a:cubicBezTo>
                      <a:pt x="4215" y="1864"/>
                      <a:pt x="3656" y="2079"/>
                      <a:pt x="3084" y="2174"/>
                    </a:cubicBezTo>
                    <a:cubicBezTo>
                      <a:pt x="2919" y="2202"/>
                      <a:pt x="2741" y="2221"/>
                      <a:pt x="2569" y="2221"/>
                    </a:cubicBezTo>
                    <a:cubicBezTo>
                      <a:pt x="2307" y="2221"/>
                      <a:pt x="2059" y="2177"/>
                      <a:pt x="1894" y="2055"/>
                    </a:cubicBezTo>
                    <a:lnTo>
                      <a:pt x="1953" y="2055"/>
                    </a:lnTo>
                    <a:cubicBezTo>
                      <a:pt x="1973" y="2055"/>
                      <a:pt x="1992" y="2056"/>
                      <a:pt x="2012" y="2056"/>
                    </a:cubicBezTo>
                    <a:cubicBezTo>
                      <a:pt x="2431" y="2056"/>
                      <a:pt x="2946" y="1937"/>
                      <a:pt x="3537" y="1709"/>
                    </a:cubicBezTo>
                    <a:cubicBezTo>
                      <a:pt x="3620" y="1686"/>
                      <a:pt x="3656" y="1590"/>
                      <a:pt x="3632" y="1507"/>
                    </a:cubicBezTo>
                    <a:cubicBezTo>
                      <a:pt x="3614" y="1434"/>
                      <a:pt x="3554" y="1403"/>
                      <a:pt x="3489" y="1403"/>
                    </a:cubicBezTo>
                    <a:cubicBezTo>
                      <a:pt x="3469" y="1403"/>
                      <a:pt x="3449" y="1406"/>
                      <a:pt x="3429" y="1412"/>
                    </a:cubicBezTo>
                    <a:cubicBezTo>
                      <a:pt x="2837" y="1644"/>
                      <a:pt x="2361" y="1735"/>
                      <a:pt x="2013" y="1735"/>
                    </a:cubicBezTo>
                    <a:cubicBezTo>
                      <a:pt x="1683" y="1735"/>
                      <a:pt x="1469" y="1653"/>
                      <a:pt x="1382" y="1531"/>
                    </a:cubicBezTo>
                    <a:cubicBezTo>
                      <a:pt x="1298" y="1412"/>
                      <a:pt x="1382" y="1293"/>
                      <a:pt x="1429" y="1245"/>
                    </a:cubicBezTo>
                    <a:cubicBezTo>
                      <a:pt x="1975" y="648"/>
                      <a:pt x="2712" y="319"/>
                      <a:pt x="3407" y="319"/>
                    </a:cubicBezTo>
                    <a:close/>
                    <a:moveTo>
                      <a:pt x="7716" y="4674"/>
                    </a:moveTo>
                    <a:cubicBezTo>
                      <a:pt x="8549" y="4817"/>
                      <a:pt x="9240" y="5055"/>
                      <a:pt x="9752" y="5353"/>
                    </a:cubicBezTo>
                    <a:cubicBezTo>
                      <a:pt x="10121" y="5567"/>
                      <a:pt x="10549" y="5924"/>
                      <a:pt x="10549" y="6412"/>
                    </a:cubicBezTo>
                    <a:cubicBezTo>
                      <a:pt x="10549" y="6889"/>
                      <a:pt x="10287" y="7365"/>
                      <a:pt x="9775" y="7782"/>
                    </a:cubicBezTo>
                    <a:cubicBezTo>
                      <a:pt x="9168" y="8270"/>
                      <a:pt x="8263" y="8663"/>
                      <a:pt x="7204" y="8877"/>
                    </a:cubicBezTo>
                    <a:cubicBezTo>
                      <a:pt x="6612" y="8997"/>
                      <a:pt x="6014" y="9062"/>
                      <a:pt x="5455" y="9062"/>
                    </a:cubicBezTo>
                    <a:cubicBezTo>
                      <a:pt x="5237" y="9062"/>
                      <a:pt x="5026" y="9052"/>
                      <a:pt x="4822" y="9032"/>
                    </a:cubicBezTo>
                    <a:cubicBezTo>
                      <a:pt x="4894" y="9008"/>
                      <a:pt x="4977" y="8960"/>
                      <a:pt x="5049" y="8925"/>
                    </a:cubicBezTo>
                    <a:cubicBezTo>
                      <a:pt x="5358" y="8758"/>
                      <a:pt x="5608" y="8579"/>
                      <a:pt x="5835" y="8389"/>
                    </a:cubicBezTo>
                    <a:cubicBezTo>
                      <a:pt x="6549" y="8365"/>
                      <a:pt x="7335" y="8210"/>
                      <a:pt x="7990" y="7972"/>
                    </a:cubicBezTo>
                    <a:cubicBezTo>
                      <a:pt x="8549" y="7770"/>
                      <a:pt x="9264" y="7413"/>
                      <a:pt x="9466" y="6841"/>
                    </a:cubicBezTo>
                    <a:cubicBezTo>
                      <a:pt x="9561" y="6603"/>
                      <a:pt x="9537" y="6365"/>
                      <a:pt x="9406" y="6139"/>
                    </a:cubicBezTo>
                    <a:cubicBezTo>
                      <a:pt x="9156" y="5698"/>
                      <a:pt x="8442" y="5305"/>
                      <a:pt x="7489" y="5115"/>
                    </a:cubicBezTo>
                    <a:cubicBezTo>
                      <a:pt x="7549" y="4972"/>
                      <a:pt x="7620" y="4817"/>
                      <a:pt x="7716" y="4674"/>
                    </a:cubicBezTo>
                    <a:close/>
                    <a:moveTo>
                      <a:pt x="7870" y="3888"/>
                    </a:moveTo>
                    <a:lnTo>
                      <a:pt x="7870" y="3888"/>
                    </a:lnTo>
                    <a:cubicBezTo>
                      <a:pt x="7335" y="4365"/>
                      <a:pt x="7120" y="5055"/>
                      <a:pt x="6858" y="5805"/>
                    </a:cubicBezTo>
                    <a:cubicBezTo>
                      <a:pt x="6501" y="6865"/>
                      <a:pt x="6144" y="7948"/>
                      <a:pt x="4858" y="8615"/>
                    </a:cubicBezTo>
                    <a:cubicBezTo>
                      <a:pt x="4221" y="8982"/>
                      <a:pt x="3593" y="9144"/>
                      <a:pt x="3002" y="9144"/>
                    </a:cubicBezTo>
                    <a:cubicBezTo>
                      <a:pt x="2941" y="9144"/>
                      <a:pt x="2882" y="9142"/>
                      <a:pt x="2822" y="9139"/>
                    </a:cubicBezTo>
                    <a:cubicBezTo>
                      <a:pt x="2286" y="9091"/>
                      <a:pt x="1822" y="8901"/>
                      <a:pt x="1441" y="8556"/>
                    </a:cubicBezTo>
                    <a:cubicBezTo>
                      <a:pt x="1143" y="8270"/>
                      <a:pt x="953" y="7913"/>
                      <a:pt x="870" y="7532"/>
                    </a:cubicBezTo>
                    <a:cubicBezTo>
                      <a:pt x="774" y="7127"/>
                      <a:pt x="822" y="6722"/>
                      <a:pt x="989" y="6341"/>
                    </a:cubicBezTo>
                    <a:cubicBezTo>
                      <a:pt x="1179" y="5912"/>
                      <a:pt x="1632" y="5460"/>
                      <a:pt x="2203" y="5162"/>
                    </a:cubicBezTo>
                    <a:lnTo>
                      <a:pt x="2203" y="5162"/>
                    </a:lnTo>
                    <a:cubicBezTo>
                      <a:pt x="2155" y="5400"/>
                      <a:pt x="2120" y="5639"/>
                      <a:pt x="2084" y="5877"/>
                    </a:cubicBezTo>
                    <a:cubicBezTo>
                      <a:pt x="1739" y="6210"/>
                      <a:pt x="1346" y="6722"/>
                      <a:pt x="1596" y="7496"/>
                    </a:cubicBezTo>
                    <a:cubicBezTo>
                      <a:pt x="1727" y="7913"/>
                      <a:pt x="2096" y="8246"/>
                      <a:pt x="2596" y="8413"/>
                    </a:cubicBezTo>
                    <a:cubicBezTo>
                      <a:pt x="2810" y="8484"/>
                      <a:pt x="3037" y="8508"/>
                      <a:pt x="3275" y="8508"/>
                    </a:cubicBezTo>
                    <a:cubicBezTo>
                      <a:pt x="3870" y="8508"/>
                      <a:pt x="4525" y="8294"/>
                      <a:pt x="5096" y="7877"/>
                    </a:cubicBezTo>
                    <a:cubicBezTo>
                      <a:pt x="5656" y="7460"/>
                      <a:pt x="6013" y="6698"/>
                      <a:pt x="6358" y="5948"/>
                    </a:cubicBezTo>
                    <a:cubicBezTo>
                      <a:pt x="6775" y="5079"/>
                      <a:pt x="7156" y="4222"/>
                      <a:pt x="7870" y="3888"/>
                    </a:cubicBezTo>
                    <a:close/>
                    <a:moveTo>
                      <a:pt x="3412" y="0"/>
                    </a:moveTo>
                    <a:cubicBezTo>
                      <a:pt x="3196" y="0"/>
                      <a:pt x="2974" y="30"/>
                      <a:pt x="2751" y="90"/>
                    </a:cubicBezTo>
                    <a:cubicBezTo>
                      <a:pt x="2155" y="233"/>
                      <a:pt x="1620" y="566"/>
                      <a:pt x="1179" y="1043"/>
                    </a:cubicBezTo>
                    <a:cubicBezTo>
                      <a:pt x="989" y="1245"/>
                      <a:pt x="953" y="1519"/>
                      <a:pt x="1108" y="1721"/>
                    </a:cubicBezTo>
                    <a:cubicBezTo>
                      <a:pt x="1143" y="1781"/>
                      <a:pt x="1191" y="1840"/>
                      <a:pt x="1263" y="1888"/>
                    </a:cubicBezTo>
                    <a:lnTo>
                      <a:pt x="631" y="2352"/>
                    </a:lnTo>
                    <a:lnTo>
                      <a:pt x="167" y="2352"/>
                    </a:lnTo>
                    <a:cubicBezTo>
                      <a:pt x="72" y="2352"/>
                      <a:pt x="0" y="2424"/>
                      <a:pt x="0" y="2519"/>
                    </a:cubicBezTo>
                    <a:cubicBezTo>
                      <a:pt x="0" y="2602"/>
                      <a:pt x="72" y="2674"/>
                      <a:pt x="167" y="2674"/>
                    </a:cubicBezTo>
                    <a:lnTo>
                      <a:pt x="453" y="2674"/>
                    </a:lnTo>
                    <a:lnTo>
                      <a:pt x="346" y="2972"/>
                    </a:lnTo>
                    <a:cubicBezTo>
                      <a:pt x="310" y="3067"/>
                      <a:pt x="358" y="3150"/>
                      <a:pt x="453" y="3186"/>
                    </a:cubicBezTo>
                    <a:cubicBezTo>
                      <a:pt x="465" y="3186"/>
                      <a:pt x="477" y="3198"/>
                      <a:pt x="489" y="3198"/>
                    </a:cubicBezTo>
                    <a:cubicBezTo>
                      <a:pt x="548" y="3198"/>
                      <a:pt x="631" y="3150"/>
                      <a:pt x="643" y="3091"/>
                    </a:cubicBezTo>
                    <a:lnTo>
                      <a:pt x="786" y="2638"/>
                    </a:lnTo>
                    <a:lnTo>
                      <a:pt x="1477" y="2138"/>
                    </a:lnTo>
                    <a:cubicBezTo>
                      <a:pt x="1710" y="2468"/>
                      <a:pt x="2125" y="2569"/>
                      <a:pt x="2548" y="2569"/>
                    </a:cubicBezTo>
                    <a:cubicBezTo>
                      <a:pt x="2644" y="2569"/>
                      <a:pt x="2740" y="2564"/>
                      <a:pt x="2834" y="2555"/>
                    </a:cubicBezTo>
                    <a:lnTo>
                      <a:pt x="2834" y="2555"/>
                    </a:lnTo>
                    <a:cubicBezTo>
                      <a:pt x="2751" y="2960"/>
                      <a:pt x="2632" y="3412"/>
                      <a:pt x="2513" y="3865"/>
                    </a:cubicBezTo>
                    <a:cubicBezTo>
                      <a:pt x="2441" y="4186"/>
                      <a:pt x="2358" y="4496"/>
                      <a:pt x="2275" y="4805"/>
                    </a:cubicBezTo>
                    <a:cubicBezTo>
                      <a:pt x="1548" y="5138"/>
                      <a:pt x="929" y="5686"/>
                      <a:pt x="691" y="6246"/>
                    </a:cubicBezTo>
                    <a:cubicBezTo>
                      <a:pt x="489" y="6686"/>
                      <a:pt x="441" y="7174"/>
                      <a:pt x="548" y="7639"/>
                    </a:cubicBezTo>
                    <a:cubicBezTo>
                      <a:pt x="655" y="8091"/>
                      <a:pt x="882" y="8508"/>
                      <a:pt x="1227" y="8829"/>
                    </a:cubicBezTo>
                    <a:cubicBezTo>
                      <a:pt x="1632" y="9210"/>
                      <a:pt x="2179" y="9437"/>
                      <a:pt x="2798" y="9484"/>
                    </a:cubicBezTo>
                    <a:cubicBezTo>
                      <a:pt x="2870" y="9484"/>
                      <a:pt x="2953" y="9496"/>
                      <a:pt x="3025" y="9496"/>
                    </a:cubicBezTo>
                    <a:cubicBezTo>
                      <a:pt x="3406" y="9496"/>
                      <a:pt x="3799" y="9425"/>
                      <a:pt x="4215" y="9282"/>
                    </a:cubicBezTo>
                    <a:cubicBezTo>
                      <a:pt x="4596" y="9365"/>
                      <a:pt x="5037" y="9401"/>
                      <a:pt x="5489" y="9401"/>
                    </a:cubicBezTo>
                    <a:cubicBezTo>
                      <a:pt x="6061" y="9401"/>
                      <a:pt x="6668" y="9341"/>
                      <a:pt x="7251" y="9222"/>
                    </a:cubicBezTo>
                    <a:cubicBezTo>
                      <a:pt x="8371" y="9008"/>
                      <a:pt x="9323" y="8591"/>
                      <a:pt x="9978" y="8067"/>
                    </a:cubicBezTo>
                    <a:cubicBezTo>
                      <a:pt x="10573" y="7591"/>
                      <a:pt x="10871" y="7008"/>
                      <a:pt x="10871" y="6412"/>
                    </a:cubicBezTo>
                    <a:cubicBezTo>
                      <a:pt x="10871" y="5472"/>
                      <a:pt x="9764" y="4734"/>
                      <a:pt x="7906" y="4376"/>
                    </a:cubicBezTo>
                    <a:cubicBezTo>
                      <a:pt x="8109" y="4103"/>
                      <a:pt x="8394" y="3900"/>
                      <a:pt x="8787" y="3769"/>
                    </a:cubicBezTo>
                    <a:cubicBezTo>
                      <a:pt x="8871" y="3734"/>
                      <a:pt x="8918" y="3650"/>
                      <a:pt x="8883" y="3555"/>
                    </a:cubicBezTo>
                    <a:cubicBezTo>
                      <a:pt x="8871" y="3495"/>
                      <a:pt x="8811" y="3448"/>
                      <a:pt x="8740" y="3448"/>
                    </a:cubicBezTo>
                    <a:cubicBezTo>
                      <a:pt x="8698" y="3446"/>
                      <a:pt x="8657" y="3444"/>
                      <a:pt x="8616" y="3444"/>
                    </a:cubicBezTo>
                    <a:cubicBezTo>
                      <a:pt x="8002" y="3444"/>
                      <a:pt x="7472" y="3695"/>
                      <a:pt x="7037" y="4186"/>
                    </a:cubicBezTo>
                    <a:cubicBezTo>
                      <a:pt x="7025" y="4198"/>
                      <a:pt x="7013" y="4210"/>
                      <a:pt x="7001" y="4246"/>
                    </a:cubicBezTo>
                    <a:cubicBezTo>
                      <a:pt x="6574" y="4205"/>
                      <a:pt x="6141" y="4176"/>
                      <a:pt x="5714" y="4176"/>
                    </a:cubicBezTo>
                    <a:cubicBezTo>
                      <a:pt x="5511" y="4176"/>
                      <a:pt x="5308" y="4183"/>
                      <a:pt x="5108" y="4198"/>
                    </a:cubicBezTo>
                    <a:cubicBezTo>
                      <a:pt x="5299" y="3698"/>
                      <a:pt x="5454" y="3198"/>
                      <a:pt x="5525" y="2626"/>
                    </a:cubicBezTo>
                    <a:cubicBezTo>
                      <a:pt x="5596" y="2031"/>
                      <a:pt x="5525" y="1531"/>
                      <a:pt x="5299" y="1102"/>
                    </a:cubicBezTo>
                    <a:cubicBezTo>
                      <a:pt x="5096" y="697"/>
                      <a:pt x="4775" y="400"/>
                      <a:pt x="4358" y="209"/>
                    </a:cubicBezTo>
                    <a:cubicBezTo>
                      <a:pt x="4068" y="72"/>
                      <a:pt x="3748" y="0"/>
                      <a:pt x="34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5" name="Google Shape;13075;p63"/>
              <p:cNvSpPr/>
              <p:nvPr/>
            </p:nvSpPr>
            <p:spPr>
              <a:xfrm>
                <a:off x="3139117" y="1621010"/>
                <a:ext cx="49152" cy="137600"/>
              </a:xfrm>
              <a:custGeom>
                <a:avLst/>
                <a:gdLst/>
                <a:ahLst/>
                <a:cxnLst/>
                <a:rect l="l" t="t" r="r" b="b"/>
                <a:pathLst>
                  <a:path w="1536" h="4300" extrusionOk="0">
                    <a:moveTo>
                      <a:pt x="1360" y="0"/>
                    </a:moveTo>
                    <a:cubicBezTo>
                      <a:pt x="1284" y="0"/>
                      <a:pt x="1212" y="56"/>
                      <a:pt x="1191" y="121"/>
                    </a:cubicBezTo>
                    <a:cubicBezTo>
                      <a:pt x="1072" y="669"/>
                      <a:pt x="857" y="1192"/>
                      <a:pt x="655" y="1692"/>
                    </a:cubicBezTo>
                    <a:cubicBezTo>
                      <a:pt x="310" y="2526"/>
                      <a:pt x="0" y="3336"/>
                      <a:pt x="119" y="4169"/>
                    </a:cubicBezTo>
                    <a:cubicBezTo>
                      <a:pt x="131" y="4240"/>
                      <a:pt x="191" y="4300"/>
                      <a:pt x="286" y="4300"/>
                    </a:cubicBezTo>
                    <a:lnTo>
                      <a:pt x="310" y="4300"/>
                    </a:lnTo>
                    <a:cubicBezTo>
                      <a:pt x="405" y="4288"/>
                      <a:pt x="464" y="4217"/>
                      <a:pt x="441" y="4121"/>
                    </a:cubicBezTo>
                    <a:cubicBezTo>
                      <a:pt x="322" y="3383"/>
                      <a:pt x="643" y="2621"/>
                      <a:pt x="953" y="1835"/>
                    </a:cubicBezTo>
                    <a:cubicBezTo>
                      <a:pt x="1155" y="1311"/>
                      <a:pt x="1381" y="776"/>
                      <a:pt x="1500" y="192"/>
                    </a:cubicBezTo>
                    <a:cubicBezTo>
                      <a:pt x="1536" y="109"/>
                      <a:pt x="1476" y="14"/>
                      <a:pt x="1381" y="2"/>
                    </a:cubicBezTo>
                    <a:cubicBezTo>
                      <a:pt x="1374" y="1"/>
                      <a:pt x="1367" y="0"/>
                      <a:pt x="13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076" name="Google Shape;13076;p63"/>
          <p:cNvGrpSpPr/>
          <p:nvPr/>
        </p:nvGrpSpPr>
        <p:grpSpPr>
          <a:xfrm>
            <a:off x="1133133" y="3351922"/>
            <a:ext cx="313984" cy="358560"/>
            <a:chOff x="1133133" y="3351922"/>
            <a:chExt cx="313984" cy="358560"/>
          </a:xfrm>
        </p:grpSpPr>
        <p:sp>
          <p:nvSpPr>
            <p:cNvPr id="13077" name="Google Shape;13077;p63"/>
            <p:cNvSpPr/>
            <p:nvPr/>
          </p:nvSpPr>
          <p:spPr>
            <a:xfrm>
              <a:off x="1133133" y="3351922"/>
              <a:ext cx="313984" cy="358560"/>
            </a:xfrm>
            <a:custGeom>
              <a:avLst/>
              <a:gdLst/>
              <a:ahLst/>
              <a:cxnLst/>
              <a:rect l="l" t="t" r="r" b="b"/>
              <a:pathLst>
                <a:path w="9812" h="11205" extrusionOk="0">
                  <a:moveTo>
                    <a:pt x="1251" y="4025"/>
                  </a:moveTo>
                  <a:cubicBezTo>
                    <a:pt x="1548" y="4025"/>
                    <a:pt x="1787" y="4263"/>
                    <a:pt x="1787" y="4561"/>
                  </a:cubicBezTo>
                  <a:lnTo>
                    <a:pt x="1787" y="7704"/>
                  </a:lnTo>
                  <a:cubicBezTo>
                    <a:pt x="1787" y="7990"/>
                    <a:pt x="2013" y="8204"/>
                    <a:pt x="2287" y="8204"/>
                  </a:cubicBezTo>
                  <a:lnTo>
                    <a:pt x="3001" y="8204"/>
                  </a:lnTo>
                  <a:lnTo>
                    <a:pt x="3001" y="9300"/>
                  </a:lnTo>
                  <a:lnTo>
                    <a:pt x="1775" y="9300"/>
                  </a:lnTo>
                  <a:cubicBezTo>
                    <a:pt x="1191" y="9300"/>
                    <a:pt x="715" y="8823"/>
                    <a:pt x="715" y="8240"/>
                  </a:cubicBezTo>
                  <a:lnTo>
                    <a:pt x="715" y="4561"/>
                  </a:lnTo>
                  <a:cubicBezTo>
                    <a:pt x="715" y="4263"/>
                    <a:pt x="953" y="4025"/>
                    <a:pt x="1251" y="4025"/>
                  </a:cubicBezTo>
                  <a:close/>
                  <a:moveTo>
                    <a:pt x="4906" y="1"/>
                  </a:moveTo>
                  <a:cubicBezTo>
                    <a:pt x="4823" y="1"/>
                    <a:pt x="4739" y="84"/>
                    <a:pt x="4739" y="167"/>
                  </a:cubicBezTo>
                  <a:lnTo>
                    <a:pt x="4739" y="548"/>
                  </a:lnTo>
                  <a:cubicBezTo>
                    <a:pt x="4346" y="572"/>
                    <a:pt x="3965" y="739"/>
                    <a:pt x="3668" y="989"/>
                  </a:cubicBezTo>
                  <a:lnTo>
                    <a:pt x="3406" y="727"/>
                  </a:lnTo>
                  <a:cubicBezTo>
                    <a:pt x="3376" y="697"/>
                    <a:pt x="3334" y="682"/>
                    <a:pt x="3291" y="682"/>
                  </a:cubicBezTo>
                  <a:cubicBezTo>
                    <a:pt x="3248" y="682"/>
                    <a:pt x="3203" y="697"/>
                    <a:pt x="3168" y="727"/>
                  </a:cubicBezTo>
                  <a:cubicBezTo>
                    <a:pt x="3108" y="787"/>
                    <a:pt x="3108" y="882"/>
                    <a:pt x="3168" y="965"/>
                  </a:cubicBezTo>
                  <a:lnTo>
                    <a:pt x="3430" y="1227"/>
                  </a:lnTo>
                  <a:cubicBezTo>
                    <a:pt x="3180" y="1525"/>
                    <a:pt x="3037" y="1882"/>
                    <a:pt x="2989" y="2299"/>
                  </a:cubicBezTo>
                  <a:lnTo>
                    <a:pt x="2620" y="2299"/>
                  </a:lnTo>
                  <a:cubicBezTo>
                    <a:pt x="2525" y="2299"/>
                    <a:pt x="2453" y="2370"/>
                    <a:pt x="2453" y="2465"/>
                  </a:cubicBezTo>
                  <a:cubicBezTo>
                    <a:pt x="2453" y="2549"/>
                    <a:pt x="2525" y="2632"/>
                    <a:pt x="2620" y="2632"/>
                  </a:cubicBezTo>
                  <a:lnTo>
                    <a:pt x="2977" y="2632"/>
                  </a:lnTo>
                  <a:lnTo>
                    <a:pt x="2977" y="3704"/>
                  </a:lnTo>
                  <a:lnTo>
                    <a:pt x="2620" y="3704"/>
                  </a:lnTo>
                  <a:cubicBezTo>
                    <a:pt x="2525" y="3704"/>
                    <a:pt x="2453" y="3775"/>
                    <a:pt x="2453" y="3858"/>
                  </a:cubicBezTo>
                  <a:cubicBezTo>
                    <a:pt x="2453" y="3954"/>
                    <a:pt x="2525" y="4025"/>
                    <a:pt x="2620" y="4025"/>
                  </a:cubicBezTo>
                  <a:lnTo>
                    <a:pt x="2977" y="4025"/>
                  </a:lnTo>
                  <a:lnTo>
                    <a:pt x="2977" y="5097"/>
                  </a:lnTo>
                  <a:lnTo>
                    <a:pt x="2620" y="5097"/>
                  </a:lnTo>
                  <a:cubicBezTo>
                    <a:pt x="2525" y="5097"/>
                    <a:pt x="2453" y="5168"/>
                    <a:pt x="2453" y="5263"/>
                  </a:cubicBezTo>
                  <a:cubicBezTo>
                    <a:pt x="2453" y="5347"/>
                    <a:pt x="2525" y="5430"/>
                    <a:pt x="2620" y="5430"/>
                  </a:cubicBezTo>
                  <a:lnTo>
                    <a:pt x="2977" y="5430"/>
                  </a:lnTo>
                  <a:lnTo>
                    <a:pt x="2977" y="6502"/>
                  </a:lnTo>
                  <a:lnTo>
                    <a:pt x="2620" y="6502"/>
                  </a:lnTo>
                  <a:cubicBezTo>
                    <a:pt x="2525" y="6502"/>
                    <a:pt x="2453" y="6573"/>
                    <a:pt x="2453" y="6656"/>
                  </a:cubicBezTo>
                  <a:cubicBezTo>
                    <a:pt x="2453" y="6752"/>
                    <a:pt x="2525" y="6823"/>
                    <a:pt x="2620" y="6823"/>
                  </a:cubicBezTo>
                  <a:lnTo>
                    <a:pt x="2977" y="6823"/>
                  </a:lnTo>
                  <a:lnTo>
                    <a:pt x="2977" y="7895"/>
                  </a:lnTo>
                  <a:lnTo>
                    <a:pt x="2263" y="7895"/>
                  </a:lnTo>
                  <a:cubicBezTo>
                    <a:pt x="2156" y="7895"/>
                    <a:pt x="2084" y="7811"/>
                    <a:pt x="2084" y="7716"/>
                  </a:cubicBezTo>
                  <a:lnTo>
                    <a:pt x="2084" y="7359"/>
                  </a:lnTo>
                  <a:lnTo>
                    <a:pt x="2263" y="7359"/>
                  </a:lnTo>
                  <a:cubicBezTo>
                    <a:pt x="2346" y="7359"/>
                    <a:pt x="2418" y="7287"/>
                    <a:pt x="2418" y="7192"/>
                  </a:cubicBezTo>
                  <a:cubicBezTo>
                    <a:pt x="2418" y="7109"/>
                    <a:pt x="2346" y="7037"/>
                    <a:pt x="2263" y="7037"/>
                  </a:cubicBezTo>
                  <a:lnTo>
                    <a:pt x="2084" y="7037"/>
                  </a:lnTo>
                  <a:lnTo>
                    <a:pt x="2084" y="6144"/>
                  </a:lnTo>
                  <a:lnTo>
                    <a:pt x="2263" y="6144"/>
                  </a:lnTo>
                  <a:cubicBezTo>
                    <a:pt x="2346" y="6144"/>
                    <a:pt x="2418" y="6061"/>
                    <a:pt x="2418" y="5978"/>
                  </a:cubicBezTo>
                  <a:cubicBezTo>
                    <a:pt x="2418" y="5882"/>
                    <a:pt x="2346" y="5811"/>
                    <a:pt x="2263" y="5811"/>
                  </a:cubicBezTo>
                  <a:lnTo>
                    <a:pt x="2084" y="5811"/>
                  </a:lnTo>
                  <a:lnTo>
                    <a:pt x="2084" y="4918"/>
                  </a:lnTo>
                  <a:lnTo>
                    <a:pt x="2263" y="4918"/>
                  </a:lnTo>
                  <a:cubicBezTo>
                    <a:pt x="2346" y="4918"/>
                    <a:pt x="2418" y="4847"/>
                    <a:pt x="2418" y="4751"/>
                  </a:cubicBezTo>
                  <a:cubicBezTo>
                    <a:pt x="2418" y="4668"/>
                    <a:pt x="2346" y="4597"/>
                    <a:pt x="2263" y="4597"/>
                  </a:cubicBezTo>
                  <a:lnTo>
                    <a:pt x="2084" y="4597"/>
                  </a:lnTo>
                  <a:lnTo>
                    <a:pt x="2084" y="4573"/>
                  </a:lnTo>
                  <a:cubicBezTo>
                    <a:pt x="2084" y="4156"/>
                    <a:pt x="1787" y="3799"/>
                    <a:pt x="1382" y="3727"/>
                  </a:cubicBezTo>
                  <a:lnTo>
                    <a:pt x="1382" y="3525"/>
                  </a:lnTo>
                  <a:cubicBezTo>
                    <a:pt x="1382" y="3430"/>
                    <a:pt x="1310" y="3358"/>
                    <a:pt x="1215" y="3358"/>
                  </a:cubicBezTo>
                  <a:cubicBezTo>
                    <a:pt x="1132" y="3358"/>
                    <a:pt x="1048" y="3430"/>
                    <a:pt x="1048" y="3525"/>
                  </a:cubicBezTo>
                  <a:lnTo>
                    <a:pt x="1048" y="3727"/>
                  </a:lnTo>
                  <a:cubicBezTo>
                    <a:pt x="655" y="3799"/>
                    <a:pt x="358" y="4156"/>
                    <a:pt x="358" y="4573"/>
                  </a:cubicBezTo>
                  <a:lnTo>
                    <a:pt x="358" y="4597"/>
                  </a:lnTo>
                  <a:lnTo>
                    <a:pt x="179" y="4597"/>
                  </a:lnTo>
                  <a:cubicBezTo>
                    <a:pt x="84" y="4597"/>
                    <a:pt x="13" y="4668"/>
                    <a:pt x="13" y="4751"/>
                  </a:cubicBezTo>
                  <a:cubicBezTo>
                    <a:pt x="13" y="4847"/>
                    <a:pt x="84" y="4918"/>
                    <a:pt x="179" y="4918"/>
                  </a:cubicBezTo>
                  <a:lnTo>
                    <a:pt x="358" y="4918"/>
                  </a:lnTo>
                  <a:lnTo>
                    <a:pt x="358" y="5811"/>
                  </a:lnTo>
                  <a:lnTo>
                    <a:pt x="179" y="5811"/>
                  </a:lnTo>
                  <a:cubicBezTo>
                    <a:pt x="84" y="5811"/>
                    <a:pt x="13" y="5882"/>
                    <a:pt x="13" y="5978"/>
                  </a:cubicBezTo>
                  <a:cubicBezTo>
                    <a:pt x="13" y="6061"/>
                    <a:pt x="84" y="6144"/>
                    <a:pt x="179" y="6144"/>
                  </a:cubicBezTo>
                  <a:lnTo>
                    <a:pt x="358" y="6144"/>
                  </a:lnTo>
                  <a:lnTo>
                    <a:pt x="358" y="7037"/>
                  </a:lnTo>
                  <a:lnTo>
                    <a:pt x="179" y="7037"/>
                  </a:lnTo>
                  <a:cubicBezTo>
                    <a:pt x="84" y="7037"/>
                    <a:pt x="13" y="7109"/>
                    <a:pt x="13" y="7192"/>
                  </a:cubicBezTo>
                  <a:cubicBezTo>
                    <a:pt x="13" y="7287"/>
                    <a:pt x="84" y="7359"/>
                    <a:pt x="179" y="7359"/>
                  </a:cubicBezTo>
                  <a:lnTo>
                    <a:pt x="358" y="7359"/>
                  </a:lnTo>
                  <a:lnTo>
                    <a:pt x="358" y="8240"/>
                  </a:lnTo>
                  <a:lnTo>
                    <a:pt x="358" y="8252"/>
                  </a:lnTo>
                  <a:lnTo>
                    <a:pt x="155" y="8252"/>
                  </a:lnTo>
                  <a:cubicBezTo>
                    <a:pt x="72" y="8252"/>
                    <a:pt x="1" y="8323"/>
                    <a:pt x="1" y="8418"/>
                  </a:cubicBezTo>
                  <a:cubicBezTo>
                    <a:pt x="1" y="8502"/>
                    <a:pt x="72" y="8585"/>
                    <a:pt x="155" y="8585"/>
                  </a:cubicBezTo>
                  <a:lnTo>
                    <a:pt x="382" y="8585"/>
                  </a:lnTo>
                  <a:cubicBezTo>
                    <a:pt x="536" y="9180"/>
                    <a:pt x="1084" y="9621"/>
                    <a:pt x="1727" y="9621"/>
                  </a:cubicBezTo>
                  <a:lnTo>
                    <a:pt x="2953" y="9621"/>
                  </a:lnTo>
                  <a:lnTo>
                    <a:pt x="2953" y="11038"/>
                  </a:lnTo>
                  <a:cubicBezTo>
                    <a:pt x="2953" y="11121"/>
                    <a:pt x="3037" y="11205"/>
                    <a:pt x="3120" y="11205"/>
                  </a:cubicBezTo>
                  <a:cubicBezTo>
                    <a:pt x="3215" y="11205"/>
                    <a:pt x="3287" y="11121"/>
                    <a:pt x="3287" y="11038"/>
                  </a:cubicBezTo>
                  <a:lnTo>
                    <a:pt x="3287" y="2477"/>
                  </a:lnTo>
                  <a:cubicBezTo>
                    <a:pt x="3287" y="1596"/>
                    <a:pt x="4001" y="906"/>
                    <a:pt x="4858" y="906"/>
                  </a:cubicBezTo>
                  <a:cubicBezTo>
                    <a:pt x="5728" y="906"/>
                    <a:pt x="6442" y="1620"/>
                    <a:pt x="6442" y="2477"/>
                  </a:cubicBezTo>
                  <a:lnTo>
                    <a:pt x="6442" y="5454"/>
                  </a:lnTo>
                  <a:cubicBezTo>
                    <a:pt x="6442" y="5549"/>
                    <a:pt x="6513" y="5621"/>
                    <a:pt x="6609" y="5621"/>
                  </a:cubicBezTo>
                  <a:cubicBezTo>
                    <a:pt x="6692" y="5621"/>
                    <a:pt x="6775" y="5549"/>
                    <a:pt x="6775" y="5454"/>
                  </a:cubicBezTo>
                  <a:lnTo>
                    <a:pt x="6775" y="5442"/>
                  </a:lnTo>
                  <a:lnTo>
                    <a:pt x="7490" y="5442"/>
                  </a:lnTo>
                  <a:cubicBezTo>
                    <a:pt x="7764" y="5442"/>
                    <a:pt x="7990" y="5216"/>
                    <a:pt x="7990" y="4930"/>
                  </a:cubicBezTo>
                  <a:lnTo>
                    <a:pt x="7990" y="3192"/>
                  </a:lnTo>
                  <a:cubicBezTo>
                    <a:pt x="7990" y="2894"/>
                    <a:pt x="8228" y="2656"/>
                    <a:pt x="8526" y="2656"/>
                  </a:cubicBezTo>
                  <a:cubicBezTo>
                    <a:pt x="8823" y="2656"/>
                    <a:pt x="9061" y="2894"/>
                    <a:pt x="9061" y="3192"/>
                  </a:cubicBezTo>
                  <a:lnTo>
                    <a:pt x="9061" y="5466"/>
                  </a:lnTo>
                  <a:cubicBezTo>
                    <a:pt x="9061" y="6049"/>
                    <a:pt x="8585" y="6525"/>
                    <a:pt x="8002" y="6525"/>
                  </a:cubicBezTo>
                  <a:lnTo>
                    <a:pt x="6775" y="6525"/>
                  </a:lnTo>
                  <a:lnTo>
                    <a:pt x="6775" y="6144"/>
                  </a:lnTo>
                  <a:cubicBezTo>
                    <a:pt x="6775" y="6049"/>
                    <a:pt x="6692" y="5978"/>
                    <a:pt x="6609" y="5978"/>
                  </a:cubicBezTo>
                  <a:cubicBezTo>
                    <a:pt x="6513" y="5978"/>
                    <a:pt x="6442" y="6049"/>
                    <a:pt x="6442" y="6144"/>
                  </a:cubicBezTo>
                  <a:lnTo>
                    <a:pt x="6442" y="11038"/>
                  </a:lnTo>
                  <a:cubicBezTo>
                    <a:pt x="6442" y="11121"/>
                    <a:pt x="6513" y="11205"/>
                    <a:pt x="6609" y="11205"/>
                  </a:cubicBezTo>
                  <a:cubicBezTo>
                    <a:pt x="6692" y="11205"/>
                    <a:pt x="6775" y="11121"/>
                    <a:pt x="6775" y="11038"/>
                  </a:cubicBezTo>
                  <a:lnTo>
                    <a:pt x="6775" y="9621"/>
                  </a:lnTo>
                  <a:lnTo>
                    <a:pt x="7132" y="9621"/>
                  </a:lnTo>
                  <a:cubicBezTo>
                    <a:pt x="7216" y="9621"/>
                    <a:pt x="7287" y="9550"/>
                    <a:pt x="7287" y="9454"/>
                  </a:cubicBezTo>
                  <a:cubicBezTo>
                    <a:pt x="7287" y="9371"/>
                    <a:pt x="7216" y="9300"/>
                    <a:pt x="7132" y="9300"/>
                  </a:cubicBezTo>
                  <a:lnTo>
                    <a:pt x="6775" y="9300"/>
                  </a:lnTo>
                  <a:lnTo>
                    <a:pt x="6775" y="8228"/>
                  </a:lnTo>
                  <a:lnTo>
                    <a:pt x="7132" y="8228"/>
                  </a:lnTo>
                  <a:cubicBezTo>
                    <a:pt x="7216" y="8228"/>
                    <a:pt x="7287" y="8145"/>
                    <a:pt x="7287" y="8061"/>
                  </a:cubicBezTo>
                  <a:cubicBezTo>
                    <a:pt x="7287" y="7966"/>
                    <a:pt x="7216" y="7895"/>
                    <a:pt x="7132" y="7895"/>
                  </a:cubicBezTo>
                  <a:lnTo>
                    <a:pt x="6775" y="7895"/>
                  </a:lnTo>
                  <a:lnTo>
                    <a:pt x="6775" y="6823"/>
                  </a:lnTo>
                  <a:lnTo>
                    <a:pt x="8002" y="6823"/>
                  </a:lnTo>
                  <a:cubicBezTo>
                    <a:pt x="8585" y="6823"/>
                    <a:pt x="9097" y="6466"/>
                    <a:pt x="9299" y="5942"/>
                  </a:cubicBezTo>
                  <a:lnTo>
                    <a:pt x="9585" y="5942"/>
                  </a:lnTo>
                  <a:cubicBezTo>
                    <a:pt x="9669" y="5942"/>
                    <a:pt x="9752" y="5871"/>
                    <a:pt x="9752" y="5775"/>
                  </a:cubicBezTo>
                  <a:cubicBezTo>
                    <a:pt x="9811" y="5704"/>
                    <a:pt x="9728" y="5632"/>
                    <a:pt x="9645" y="5632"/>
                  </a:cubicBezTo>
                  <a:lnTo>
                    <a:pt x="9454" y="5632"/>
                  </a:lnTo>
                  <a:cubicBezTo>
                    <a:pt x="9466" y="5573"/>
                    <a:pt x="9466" y="5513"/>
                    <a:pt x="9466" y="5454"/>
                  </a:cubicBezTo>
                  <a:lnTo>
                    <a:pt x="9466" y="4739"/>
                  </a:lnTo>
                  <a:lnTo>
                    <a:pt x="9645" y="4739"/>
                  </a:lnTo>
                  <a:cubicBezTo>
                    <a:pt x="9728" y="4739"/>
                    <a:pt x="9811" y="4668"/>
                    <a:pt x="9811" y="4573"/>
                  </a:cubicBezTo>
                  <a:cubicBezTo>
                    <a:pt x="9811" y="4489"/>
                    <a:pt x="9728" y="4418"/>
                    <a:pt x="9645" y="4418"/>
                  </a:cubicBezTo>
                  <a:lnTo>
                    <a:pt x="9466" y="4418"/>
                  </a:lnTo>
                  <a:lnTo>
                    <a:pt x="9466" y="3525"/>
                  </a:lnTo>
                  <a:lnTo>
                    <a:pt x="9645" y="3525"/>
                  </a:lnTo>
                  <a:cubicBezTo>
                    <a:pt x="9728" y="3525"/>
                    <a:pt x="9811" y="3442"/>
                    <a:pt x="9811" y="3358"/>
                  </a:cubicBezTo>
                  <a:cubicBezTo>
                    <a:pt x="9811" y="3263"/>
                    <a:pt x="9728" y="3192"/>
                    <a:pt x="9645" y="3192"/>
                  </a:cubicBezTo>
                  <a:lnTo>
                    <a:pt x="9466" y="3192"/>
                  </a:lnTo>
                  <a:lnTo>
                    <a:pt x="9466" y="3180"/>
                  </a:lnTo>
                  <a:cubicBezTo>
                    <a:pt x="9466" y="2763"/>
                    <a:pt x="9168" y="2406"/>
                    <a:pt x="8764" y="2322"/>
                  </a:cubicBezTo>
                  <a:lnTo>
                    <a:pt x="8764" y="2120"/>
                  </a:lnTo>
                  <a:cubicBezTo>
                    <a:pt x="8764" y="2037"/>
                    <a:pt x="8692" y="1953"/>
                    <a:pt x="8597" y="1953"/>
                  </a:cubicBezTo>
                  <a:cubicBezTo>
                    <a:pt x="8514" y="1953"/>
                    <a:pt x="8430" y="2037"/>
                    <a:pt x="8430" y="2120"/>
                  </a:cubicBezTo>
                  <a:lnTo>
                    <a:pt x="8430" y="2334"/>
                  </a:lnTo>
                  <a:cubicBezTo>
                    <a:pt x="8037" y="2406"/>
                    <a:pt x="7740" y="2763"/>
                    <a:pt x="7740" y="3180"/>
                  </a:cubicBezTo>
                  <a:lnTo>
                    <a:pt x="7740" y="3192"/>
                  </a:lnTo>
                  <a:lnTo>
                    <a:pt x="7561" y="3192"/>
                  </a:lnTo>
                  <a:cubicBezTo>
                    <a:pt x="7466" y="3192"/>
                    <a:pt x="7394" y="3263"/>
                    <a:pt x="7394" y="3358"/>
                  </a:cubicBezTo>
                  <a:cubicBezTo>
                    <a:pt x="7394" y="3442"/>
                    <a:pt x="7466" y="3525"/>
                    <a:pt x="7561" y="3525"/>
                  </a:cubicBezTo>
                  <a:lnTo>
                    <a:pt x="7740" y="3525"/>
                  </a:lnTo>
                  <a:lnTo>
                    <a:pt x="7740" y="4418"/>
                  </a:lnTo>
                  <a:lnTo>
                    <a:pt x="7561" y="4418"/>
                  </a:lnTo>
                  <a:cubicBezTo>
                    <a:pt x="7466" y="4418"/>
                    <a:pt x="7394" y="4489"/>
                    <a:pt x="7394" y="4573"/>
                  </a:cubicBezTo>
                  <a:cubicBezTo>
                    <a:pt x="7394" y="4668"/>
                    <a:pt x="7466" y="4739"/>
                    <a:pt x="7561" y="4739"/>
                  </a:cubicBezTo>
                  <a:lnTo>
                    <a:pt x="7740" y="4739"/>
                  </a:lnTo>
                  <a:lnTo>
                    <a:pt x="7740" y="4918"/>
                  </a:lnTo>
                  <a:cubicBezTo>
                    <a:pt x="7740" y="5025"/>
                    <a:pt x="7644" y="5097"/>
                    <a:pt x="7561" y="5097"/>
                  </a:cubicBezTo>
                  <a:lnTo>
                    <a:pt x="6847" y="5097"/>
                  </a:lnTo>
                  <a:lnTo>
                    <a:pt x="6847" y="4025"/>
                  </a:lnTo>
                  <a:lnTo>
                    <a:pt x="7204" y="4025"/>
                  </a:lnTo>
                  <a:cubicBezTo>
                    <a:pt x="7287" y="4025"/>
                    <a:pt x="7371" y="3954"/>
                    <a:pt x="7371" y="3858"/>
                  </a:cubicBezTo>
                  <a:cubicBezTo>
                    <a:pt x="7371" y="3775"/>
                    <a:pt x="7287" y="3704"/>
                    <a:pt x="7204" y="3704"/>
                  </a:cubicBezTo>
                  <a:lnTo>
                    <a:pt x="6847" y="3704"/>
                  </a:lnTo>
                  <a:lnTo>
                    <a:pt x="6847" y="2632"/>
                  </a:lnTo>
                  <a:lnTo>
                    <a:pt x="7204" y="2632"/>
                  </a:lnTo>
                  <a:cubicBezTo>
                    <a:pt x="7287" y="2632"/>
                    <a:pt x="7371" y="2549"/>
                    <a:pt x="7371" y="2465"/>
                  </a:cubicBezTo>
                  <a:cubicBezTo>
                    <a:pt x="7371" y="2370"/>
                    <a:pt x="7287" y="2299"/>
                    <a:pt x="7204" y="2299"/>
                  </a:cubicBezTo>
                  <a:lnTo>
                    <a:pt x="6823" y="2299"/>
                  </a:lnTo>
                  <a:cubicBezTo>
                    <a:pt x="6799" y="1894"/>
                    <a:pt x="6632" y="1525"/>
                    <a:pt x="6382" y="1227"/>
                  </a:cubicBezTo>
                  <a:lnTo>
                    <a:pt x="6644" y="965"/>
                  </a:lnTo>
                  <a:cubicBezTo>
                    <a:pt x="6704" y="906"/>
                    <a:pt x="6704" y="798"/>
                    <a:pt x="6644" y="727"/>
                  </a:cubicBezTo>
                  <a:cubicBezTo>
                    <a:pt x="6621" y="697"/>
                    <a:pt x="6582" y="682"/>
                    <a:pt x="6539" y="682"/>
                  </a:cubicBezTo>
                  <a:cubicBezTo>
                    <a:pt x="6495" y="682"/>
                    <a:pt x="6448" y="697"/>
                    <a:pt x="6406" y="727"/>
                  </a:cubicBezTo>
                  <a:lnTo>
                    <a:pt x="6144" y="989"/>
                  </a:lnTo>
                  <a:cubicBezTo>
                    <a:pt x="5847" y="739"/>
                    <a:pt x="5478" y="584"/>
                    <a:pt x="5073" y="548"/>
                  </a:cubicBezTo>
                  <a:lnTo>
                    <a:pt x="5073" y="167"/>
                  </a:lnTo>
                  <a:cubicBezTo>
                    <a:pt x="5073" y="84"/>
                    <a:pt x="5001" y="1"/>
                    <a:pt x="490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8" name="Google Shape;13078;p63"/>
            <p:cNvSpPr/>
            <p:nvPr/>
          </p:nvSpPr>
          <p:spPr>
            <a:xfrm>
              <a:off x="1285549" y="3414418"/>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9" name="Google Shape;13079;p63"/>
            <p:cNvSpPr/>
            <p:nvPr/>
          </p:nvSpPr>
          <p:spPr>
            <a:xfrm>
              <a:off x="1285549" y="3459378"/>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0" name="Google Shape;13080;p63"/>
            <p:cNvSpPr/>
            <p:nvPr/>
          </p:nvSpPr>
          <p:spPr>
            <a:xfrm>
              <a:off x="1285549" y="3503954"/>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1" name="Google Shape;13081;p63"/>
            <p:cNvSpPr/>
            <p:nvPr/>
          </p:nvSpPr>
          <p:spPr>
            <a:xfrm>
              <a:off x="1167821" y="3498226"/>
              <a:ext cx="10688" cy="16416"/>
            </a:xfrm>
            <a:custGeom>
              <a:avLst/>
              <a:gdLst/>
              <a:ahLst/>
              <a:cxnLst/>
              <a:rect l="l" t="t" r="r" b="b"/>
              <a:pathLst>
                <a:path w="334" h="513" extrusionOk="0">
                  <a:moveTo>
                    <a:pt x="167" y="1"/>
                  </a:moveTo>
                  <a:cubicBezTo>
                    <a:pt x="72" y="1"/>
                    <a:pt x="0" y="84"/>
                    <a:pt x="0" y="167"/>
                  </a:cubicBezTo>
                  <a:lnTo>
                    <a:pt x="0" y="346"/>
                  </a:lnTo>
                  <a:cubicBezTo>
                    <a:pt x="0" y="441"/>
                    <a:pt x="72" y="513"/>
                    <a:pt x="167" y="513"/>
                  </a:cubicBezTo>
                  <a:cubicBezTo>
                    <a:pt x="250" y="513"/>
                    <a:pt x="333" y="441"/>
                    <a:pt x="333" y="346"/>
                  </a:cubicBezTo>
                  <a:lnTo>
                    <a:pt x="333" y="167"/>
                  </a:lnTo>
                  <a:cubicBezTo>
                    <a:pt x="333"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2" name="Google Shape;13082;p63"/>
            <p:cNvSpPr/>
            <p:nvPr/>
          </p:nvSpPr>
          <p:spPr>
            <a:xfrm>
              <a:off x="1167821" y="3537490"/>
              <a:ext cx="10688" cy="16032"/>
            </a:xfrm>
            <a:custGeom>
              <a:avLst/>
              <a:gdLst/>
              <a:ahLst/>
              <a:cxnLst/>
              <a:rect l="l" t="t" r="r" b="b"/>
              <a:pathLst>
                <a:path w="334" h="501" extrusionOk="0">
                  <a:moveTo>
                    <a:pt x="167" y="0"/>
                  </a:moveTo>
                  <a:cubicBezTo>
                    <a:pt x="72" y="0"/>
                    <a:pt x="0" y="72"/>
                    <a:pt x="0" y="167"/>
                  </a:cubicBezTo>
                  <a:lnTo>
                    <a:pt x="0" y="345"/>
                  </a:lnTo>
                  <a:cubicBezTo>
                    <a:pt x="0" y="429"/>
                    <a:pt x="72" y="500"/>
                    <a:pt x="167" y="500"/>
                  </a:cubicBezTo>
                  <a:cubicBezTo>
                    <a:pt x="250" y="500"/>
                    <a:pt x="333" y="429"/>
                    <a:pt x="333" y="345"/>
                  </a:cubicBezTo>
                  <a:lnTo>
                    <a:pt x="333" y="167"/>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3" name="Google Shape;13083;p63"/>
            <p:cNvSpPr/>
            <p:nvPr/>
          </p:nvSpPr>
          <p:spPr>
            <a:xfrm>
              <a:off x="1167821" y="3577106"/>
              <a:ext cx="10688" cy="16032"/>
            </a:xfrm>
            <a:custGeom>
              <a:avLst/>
              <a:gdLst/>
              <a:ahLst/>
              <a:cxnLst/>
              <a:rect l="l" t="t" r="r" b="b"/>
              <a:pathLst>
                <a:path w="334" h="501" extrusionOk="0">
                  <a:moveTo>
                    <a:pt x="167" y="0"/>
                  </a:moveTo>
                  <a:cubicBezTo>
                    <a:pt x="72" y="0"/>
                    <a:pt x="0" y="72"/>
                    <a:pt x="0" y="155"/>
                  </a:cubicBezTo>
                  <a:lnTo>
                    <a:pt x="0" y="334"/>
                  </a:lnTo>
                  <a:cubicBezTo>
                    <a:pt x="0" y="429"/>
                    <a:pt x="72" y="500"/>
                    <a:pt x="167" y="500"/>
                  </a:cubicBezTo>
                  <a:cubicBezTo>
                    <a:pt x="250" y="500"/>
                    <a:pt x="333" y="429"/>
                    <a:pt x="333" y="334"/>
                  </a:cubicBezTo>
                  <a:lnTo>
                    <a:pt x="333" y="155"/>
                  </a:lnTo>
                  <a:cubicBezTo>
                    <a:pt x="333"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4" name="Google Shape;13084;p63"/>
            <p:cNvSpPr/>
            <p:nvPr/>
          </p:nvSpPr>
          <p:spPr>
            <a:xfrm>
              <a:off x="1402509" y="3493266"/>
              <a:ext cx="10688" cy="16064"/>
            </a:xfrm>
            <a:custGeom>
              <a:avLst/>
              <a:gdLst/>
              <a:ahLst/>
              <a:cxnLst/>
              <a:rect l="l" t="t" r="r" b="b"/>
              <a:pathLst>
                <a:path w="334" h="502" extrusionOk="0">
                  <a:moveTo>
                    <a:pt x="167" y="1"/>
                  </a:moveTo>
                  <a:cubicBezTo>
                    <a:pt x="72" y="1"/>
                    <a:pt x="0" y="72"/>
                    <a:pt x="0" y="156"/>
                  </a:cubicBezTo>
                  <a:lnTo>
                    <a:pt x="0" y="334"/>
                  </a:lnTo>
                  <a:cubicBezTo>
                    <a:pt x="0" y="430"/>
                    <a:pt x="72" y="501"/>
                    <a:pt x="167" y="501"/>
                  </a:cubicBezTo>
                  <a:cubicBezTo>
                    <a:pt x="262" y="501"/>
                    <a:pt x="334" y="430"/>
                    <a:pt x="334" y="334"/>
                  </a:cubicBezTo>
                  <a:lnTo>
                    <a:pt x="334" y="156"/>
                  </a:lnTo>
                  <a:cubicBezTo>
                    <a:pt x="334" y="61"/>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5" name="Google Shape;13085;p63"/>
            <p:cNvSpPr/>
            <p:nvPr/>
          </p:nvSpPr>
          <p:spPr>
            <a:xfrm>
              <a:off x="1393357" y="3526898"/>
              <a:ext cx="15648" cy="14432"/>
            </a:xfrm>
            <a:custGeom>
              <a:avLst/>
              <a:gdLst/>
              <a:ahLst/>
              <a:cxnLst/>
              <a:rect l="l" t="t" r="r" b="b"/>
              <a:pathLst>
                <a:path w="489" h="451" extrusionOk="0">
                  <a:moveTo>
                    <a:pt x="313" y="1"/>
                  </a:moveTo>
                  <a:cubicBezTo>
                    <a:pt x="268" y="1"/>
                    <a:pt x="221" y="16"/>
                    <a:pt x="179" y="45"/>
                  </a:cubicBezTo>
                  <a:lnTo>
                    <a:pt x="60" y="164"/>
                  </a:lnTo>
                  <a:cubicBezTo>
                    <a:pt x="1" y="224"/>
                    <a:pt x="1" y="331"/>
                    <a:pt x="60" y="403"/>
                  </a:cubicBezTo>
                  <a:cubicBezTo>
                    <a:pt x="96" y="438"/>
                    <a:pt x="143" y="450"/>
                    <a:pt x="179" y="450"/>
                  </a:cubicBezTo>
                  <a:cubicBezTo>
                    <a:pt x="227" y="450"/>
                    <a:pt x="274" y="426"/>
                    <a:pt x="298" y="403"/>
                  </a:cubicBezTo>
                  <a:lnTo>
                    <a:pt x="429" y="283"/>
                  </a:lnTo>
                  <a:cubicBezTo>
                    <a:pt x="489" y="212"/>
                    <a:pt x="489" y="105"/>
                    <a:pt x="429" y="45"/>
                  </a:cubicBezTo>
                  <a:cubicBezTo>
                    <a:pt x="399" y="16"/>
                    <a:pt x="358" y="1"/>
                    <a:pt x="3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6" name="Google Shape;13086;p63"/>
            <p:cNvSpPr/>
            <p:nvPr/>
          </p:nvSpPr>
          <p:spPr>
            <a:xfrm>
              <a:off x="1402509" y="3453650"/>
              <a:ext cx="10688" cy="16032"/>
            </a:xfrm>
            <a:custGeom>
              <a:avLst/>
              <a:gdLst/>
              <a:ahLst/>
              <a:cxnLst/>
              <a:rect l="l" t="t" r="r" b="b"/>
              <a:pathLst>
                <a:path w="334" h="501" extrusionOk="0">
                  <a:moveTo>
                    <a:pt x="167" y="1"/>
                  </a:moveTo>
                  <a:cubicBezTo>
                    <a:pt x="72" y="1"/>
                    <a:pt x="0" y="72"/>
                    <a:pt x="0" y="167"/>
                  </a:cubicBezTo>
                  <a:lnTo>
                    <a:pt x="0" y="346"/>
                  </a:lnTo>
                  <a:cubicBezTo>
                    <a:pt x="0" y="429"/>
                    <a:pt x="72" y="501"/>
                    <a:pt x="167" y="501"/>
                  </a:cubicBezTo>
                  <a:cubicBezTo>
                    <a:pt x="262" y="501"/>
                    <a:pt x="334" y="429"/>
                    <a:pt x="334" y="346"/>
                  </a:cubicBezTo>
                  <a:lnTo>
                    <a:pt x="334" y="167"/>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7" name="Google Shape;13087;p63"/>
            <p:cNvSpPr/>
            <p:nvPr/>
          </p:nvSpPr>
          <p:spPr>
            <a:xfrm>
              <a:off x="1171629" y="3612306"/>
              <a:ext cx="15264" cy="14752"/>
            </a:xfrm>
            <a:custGeom>
              <a:avLst/>
              <a:gdLst/>
              <a:ahLst/>
              <a:cxnLst/>
              <a:rect l="l" t="t" r="r" b="b"/>
              <a:pathLst>
                <a:path w="477" h="461" extrusionOk="0">
                  <a:moveTo>
                    <a:pt x="179" y="0"/>
                  </a:moveTo>
                  <a:cubicBezTo>
                    <a:pt x="139" y="0"/>
                    <a:pt x="100" y="15"/>
                    <a:pt x="72" y="43"/>
                  </a:cubicBezTo>
                  <a:cubicBezTo>
                    <a:pt x="0" y="103"/>
                    <a:pt x="0" y="210"/>
                    <a:pt x="60" y="270"/>
                  </a:cubicBezTo>
                  <a:lnTo>
                    <a:pt x="179" y="401"/>
                  </a:lnTo>
                  <a:cubicBezTo>
                    <a:pt x="214" y="448"/>
                    <a:pt x="250" y="460"/>
                    <a:pt x="298" y="460"/>
                  </a:cubicBezTo>
                  <a:cubicBezTo>
                    <a:pt x="345" y="460"/>
                    <a:pt x="369" y="448"/>
                    <a:pt x="405" y="412"/>
                  </a:cubicBezTo>
                  <a:cubicBezTo>
                    <a:pt x="465" y="365"/>
                    <a:pt x="476" y="270"/>
                    <a:pt x="417" y="186"/>
                  </a:cubicBezTo>
                  <a:lnTo>
                    <a:pt x="298" y="55"/>
                  </a:lnTo>
                  <a:cubicBezTo>
                    <a:pt x="267" y="18"/>
                    <a:pt x="223"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8" name="Google Shape;13088;p63"/>
            <p:cNvSpPr/>
            <p:nvPr/>
          </p:nvSpPr>
          <p:spPr>
            <a:xfrm>
              <a:off x="1285549" y="3548914"/>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9" name="Google Shape;13089;p63"/>
            <p:cNvSpPr/>
            <p:nvPr/>
          </p:nvSpPr>
          <p:spPr>
            <a:xfrm>
              <a:off x="1285549" y="3593490"/>
              <a:ext cx="10304" cy="27456"/>
            </a:xfrm>
            <a:custGeom>
              <a:avLst/>
              <a:gdLst/>
              <a:ahLst/>
              <a:cxnLst/>
              <a:rect l="l" t="t" r="r" b="b"/>
              <a:pathLst>
                <a:path w="322" h="858" extrusionOk="0">
                  <a:moveTo>
                    <a:pt x="167" y="0"/>
                  </a:moveTo>
                  <a:cubicBezTo>
                    <a:pt x="72" y="0"/>
                    <a:pt x="0" y="84"/>
                    <a:pt x="0" y="167"/>
                  </a:cubicBezTo>
                  <a:lnTo>
                    <a:pt x="0" y="691"/>
                  </a:lnTo>
                  <a:cubicBezTo>
                    <a:pt x="0" y="774"/>
                    <a:pt x="72" y="858"/>
                    <a:pt x="167" y="858"/>
                  </a:cubicBezTo>
                  <a:cubicBezTo>
                    <a:pt x="250" y="858"/>
                    <a:pt x="322" y="774"/>
                    <a:pt x="322" y="691"/>
                  </a:cubicBezTo>
                  <a:lnTo>
                    <a:pt x="322" y="167"/>
                  </a:lnTo>
                  <a:cubicBezTo>
                    <a:pt x="322" y="84"/>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0" name="Google Shape;13090;p63"/>
            <p:cNvSpPr/>
            <p:nvPr/>
          </p:nvSpPr>
          <p:spPr>
            <a:xfrm>
              <a:off x="1285549" y="3638450"/>
              <a:ext cx="10304" cy="27072"/>
            </a:xfrm>
            <a:custGeom>
              <a:avLst/>
              <a:gdLst/>
              <a:ahLst/>
              <a:cxnLst/>
              <a:rect l="l" t="t" r="r" b="b"/>
              <a:pathLst>
                <a:path w="322" h="846" extrusionOk="0">
                  <a:moveTo>
                    <a:pt x="167" y="0"/>
                  </a:moveTo>
                  <a:cubicBezTo>
                    <a:pt x="72" y="0"/>
                    <a:pt x="0" y="72"/>
                    <a:pt x="0" y="167"/>
                  </a:cubicBezTo>
                  <a:lnTo>
                    <a:pt x="0" y="679"/>
                  </a:lnTo>
                  <a:cubicBezTo>
                    <a:pt x="0" y="774"/>
                    <a:pt x="72" y="846"/>
                    <a:pt x="167" y="846"/>
                  </a:cubicBezTo>
                  <a:cubicBezTo>
                    <a:pt x="250" y="846"/>
                    <a:pt x="322" y="774"/>
                    <a:pt x="322" y="679"/>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1" name="Google Shape;13091;p63"/>
            <p:cNvSpPr/>
            <p:nvPr/>
          </p:nvSpPr>
          <p:spPr>
            <a:xfrm>
              <a:off x="1201325" y="3627026"/>
              <a:ext cx="16032" cy="10304"/>
            </a:xfrm>
            <a:custGeom>
              <a:avLst/>
              <a:gdLst/>
              <a:ahLst/>
              <a:cxnLst/>
              <a:rect l="l" t="t" r="r" b="b"/>
              <a:pathLst>
                <a:path w="501" h="322" extrusionOk="0">
                  <a:moveTo>
                    <a:pt x="156" y="0"/>
                  </a:moveTo>
                  <a:cubicBezTo>
                    <a:pt x="72" y="0"/>
                    <a:pt x="1" y="72"/>
                    <a:pt x="1" y="167"/>
                  </a:cubicBezTo>
                  <a:cubicBezTo>
                    <a:pt x="1" y="250"/>
                    <a:pt x="72" y="322"/>
                    <a:pt x="156" y="322"/>
                  </a:cubicBezTo>
                  <a:lnTo>
                    <a:pt x="334" y="322"/>
                  </a:lnTo>
                  <a:cubicBezTo>
                    <a:pt x="429" y="322"/>
                    <a:pt x="501" y="250"/>
                    <a:pt x="501" y="167"/>
                  </a:cubicBezTo>
                  <a:cubicBezTo>
                    <a:pt x="501" y="72"/>
                    <a:pt x="429"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2" name="Google Shape;13092;p63"/>
            <p:cNvSpPr/>
            <p:nvPr/>
          </p:nvSpPr>
          <p:spPr>
            <a:xfrm>
              <a:off x="1363629" y="3537490"/>
              <a:ext cx="16032" cy="10304"/>
            </a:xfrm>
            <a:custGeom>
              <a:avLst/>
              <a:gdLst/>
              <a:ahLst/>
              <a:cxnLst/>
              <a:rect l="l" t="t" r="r" b="b"/>
              <a:pathLst>
                <a:path w="501" h="322" extrusionOk="0">
                  <a:moveTo>
                    <a:pt x="168" y="0"/>
                  </a:moveTo>
                  <a:cubicBezTo>
                    <a:pt x="72" y="0"/>
                    <a:pt x="1" y="72"/>
                    <a:pt x="1" y="167"/>
                  </a:cubicBezTo>
                  <a:cubicBezTo>
                    <a:pt x="1" y="250"/>
                    <a:pt x="72" y="322"/>
                    <a:pt x="168" y="322"/>
                  </a:cubicBezTo>
                  <a:lnTo>
                    <a:pt x="334" y="322"/>
                  </a:lnTo>
                  <a:cubicBezTo>
                    <a:pt x="430" y="322"/>
                    <a:pt x="501" y="250"/>
                    <a:pt x="501" y="167"/>
                  </a:cubicBezTo>
                  <a:cubicBezTo>
                    <a:pt x="501" y="72"/>
                    <a:pt x="430" y="0"/>
                    <a:pt x="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093" name="Google Shape;13093;p63"/>
          <p:cNvSpPr/>
          <p:nvPr/>
        </p:nvSpPr>
        <p:spPr>
          <a:xfrm>
            <a:off x="1709197" y="3353842"/>
            <a:ext cx="262944" cy="354720"/>
          </a:xfrm>
          <a:custGeom>
            <a:avLst/>
            <a:gdLst/>
            <a:ahLst/>
            <a:cxnLst/>
            <a:rect l="l" t="t" r="r" b="b"/>
            <a:pathLst>
              <a:path w="8217" h="11085" extrusionOk="0">
                <a:moveTo>
                  <a:pt x="5359" y="1298"/>
                </a:moveTo>
                <a:cubicBezTo>
                  <a:pt x="5775" y="1298"/>
                  <a:pt x="6180" y="1370"/>
                  <a:pt x="6526" y="1465"/>
                </a:cubicBezTo>
                <a:cubicBezTo>
                  <a:pt x="6728" y="1524"/>
                  <a:pt x="6930" y="1584"/>
                  <a:pt x="7085" y="1643"/>
                </a:cubicBezTo>
                <a:cubicBezTo>
                  <a:pt x="7004" y="1642"/>
                  <a:pt x="6923" y="1641"/>
                  <a:pt x="6842" y="1641"/>
                </a:cubicBezTo>
                <a:cubicBezTo>
                  <a:pt x="6387" y="1641"/>
                  <a:pt x="5932" y="1671"/>
                  <a:pt x="5478" y="1762"/>
                </a:cubicBezTo>
                <a:cubicBezTo>
                  <a:pt x="4811" y="1881"/>
                  <a:pt x="4144" y="2108"/>
                  <a:pt x="3513" y="2405"/>
                </a:cubicBezTo>
                <a:cubicBezTo>
                  <a:pt x="3489" y="2417"/>
                  <a:pt x="3454" y="2429"/>
                  <a:pt x="3418" y="2441"/>
                </a:cubicBezTo>
                <a:cubicBezTo>
                  <a:pt x="3394" y="2262"/>
                  <a:pt x="3442" y="1941"/>
                  <a:pt x="3835" y="1703"/>
                </a:cubicBezTo>
                <a:cubicBezTo>
                  <a:pt x="4323" y="1405"/>
                  <a:pt x="4859" y="1298"/>
                  <a:pt x="5359" y="1298"/>
                </a:cubicBezTo>
                <a:close/>
                <a:moveTo>
                  <a:pt x="1537" y="298"/>
                </a:moveTo>
                <a:cubicBezTo>
                  <a:pt x="1465" y="679"/>
                  <a:pt x="1406" y="1179"/>
                  <a:pt x="1406" y="1715"/>
                </a:cubicBezTo>
                <a:cubicBezTo>
                  <a:pt x="1406" y="2251"/>
                  <a:pt x="1453" y="2763"/>
                  <a:pt x="1537" y="3132"/>
                </a:cubicBezTo>
                <a:cubicBezTo>
                  <a:pt x="1465" y="3144"/>
                  <a:pt x="1406" y="3203"/>
                  <a:pt x="1406" y="3298"/>
                </a:cubicBezTo>
                <a:cubicBezTo>
                  <a:pt x="1406" y="3382"/>
                  <a:pt x="1477" y="3453"/>
                  <a:pt x="1573" y="3453"/>
                </a:cubicBezTo>
                <a:cubicBezTo>
                  <a:pt x="1668" y="3453"/>
                  <a:pt x="1751" y="3548"/>
                  <a:pt x="1751" y="3632"/>
                </a:cubicBezTo>
                <a:cubicBezTo>
                  <a:pt x="1751" y="3739"/>
                  <a:pt x="1656" y="3822"/>
                  <a:pt x="1573" y="3822"/>
                </a:cubicBezTo>
                <a:lnTo>
                  <a:pt x="525" y="3822"/>
                </a:lnTo>
                <a:cubicBezTo>
                  <a:pt x="418" y="3822"/>
                  <a:pt x="346" y="3727"/>
                  <a:pt x="346" y="3632"/>
                </a:cubicBezTo>
                <a:cubicBezTo>
                  <a:pt x="346" y="3536"/>
                  <a:pt x="441" y="3453"/>
                  <a:pt x="525" y="3453"/>
                </a:cubicBezTo>
                <a:lnTo>
                  <a:pt x="870" y="3453"/>
                </a:lnTo>
                <a:cubicBezTo>
                  <a:pt x="953" y="3453"/>
                  <a:pt x="1037" y="3382"/>
                  <a:pt x="1037" y="3298"/>
                </a:cubicBezTo>
                <a:cubicBezTo>
                  <a:pt x="1037" y="3203"/>
                  <a:pt x="953" y="3132"/>
                  <a:pt x="870" y="3132"/>
                </a:cubicBezTo>
                <a:lnTo>
                  <a:pt x="560" y="3132"/>
                </a:lnTo>
                <a:cubicBezTo>
                  <a:pt x="632" y="2763"/>
                  <a:pt x="691" y="2251"/>
                  <a:pt x="691" y="1715"/>
                </a:cubicBezTo>
                <a:cubicBezTo>
                  <a:pt x="691" y="1179"/>
                  <a:pt x="644" y="679"/>
                  <a:pt x="560" y="298"/>
                </a:cubicBezTo>
                <a:close/>
                <a:moveTo>
                  <a:pt x="4723" y="3566"/>
                </a:moveTo>
                <a:cubicBezTo>
                  <a:pt x="5218" y="3566"/>
                  <a:pt x="5698" y="3690"/>
                  <a:pt x="6168" y="3953"/>
                </a:cubicBezTo>
                <a:cubicBezTo>
                  <a:pt x="6692" y="4251"/>
                  <a:pt x="7073" y="4715"/>
                  <a:pt x="7299" y="5346"/>
                </a:cubicBezTo>
                <a:cubicBezTo>
                  <a:pt x="7383" y="5608"/>
                  <a:pt x="7430" y="5846"/>
                  <a:pt x="7466" y="6001"/>
                </a:cubicBezTo>
                <a:cubicBezTo>
                  <a:pt x="6823" y="5763"/>
                  <a:pt x="5049" y="5013"/>
                  <a:pt x="3978" y="3656"/>
                </a:cubicBezTo>
                <a:cubicBezTo>
                  <a:pt x="4230" y="3596"/>
                  <a:pt x="4478" y="3566"/>
                  <a:pt x="4723" y="3566"/>
                </a:cubicBezTo>
                <a:close/>
                <a:moveTo>
                  <a:pt x="1537" y="4144"/>
                </a:moveTo>
                <a:cubicBezTo>
                  <a:pt x="1465" y="4513"/>
                  <a:pt x="1406" y="5025"/>
                  <a:pt x="1406" y="5561"/>
                </a:cubicBezTo>
                <a:cubicBezTo>
                  <a:pt x="1406" y="6096"/>
                  <a:pt x="1453" y="6596"/>
                  <a:pt x="1537" y="6977"/>
                </a:cubicBezTo>
                <a:lnTo>
                  <a:pt x="560" y="6977"/>
                </a:lnTo>
                <a:cubicBezTo>
                  <a:pt x="632" y="6596"/>
                  <a:pt x="691" y="6096"/>
                  <a:pt x="691" y="5561"/>
                </a:cubicBezTo>
                <a:cubicBezTo>
                  <a:pt x="691" y="5025"/>
                  <a:pt x="632" y="4513"/>
                  <a:pt x="560" y="4144"/>
                </a:cubicBezTo>
                <a:close/>
                <a:moveTo>
                  <a:pt x="1573" y="7299"/>
                </a:moveTo>
                <a:cubicBezTo>
                  <a:pt x="1656" y="7299"/>
                  <a:pt x="1751" y="7370"/>
                  <a:pt x="1751" y="7477"/>
                </a:cubicBezTo>
                <a:cubicBezTo>
                  <a:pt x="1751" y="7585"/>
                  <a:pt x="1656" y="7656"/>
                  <a:pt x="1573" y="7656"/>
                </a:cubicBezTo>
                <a:lnTo>
                  <a:pt x="525" y="7656"/>
                </a:lnTo>
                <a:cubicBezTo>
                  <a:pt x="418" y="7656"/>
                  <a:pt x="346" y="7573"/>
                  <a:pt x="346" y="7477"/>
                </a:cubicBezTo>
                <a:cubicBezTo>
                  <a:pt x="346" y="7394"/>
                  <a:pt x="441" y="7299"/>
                  <a:pt x="525" y="7299"/>
                </a:cubicBezTo>
                <a:close/>
                <a:moveTo>
                  <a:pt x="3966" y="5310"/>
                </a:moveTo>
                <a:cubicBezTo>
                  <a:pt x="5049" y="6751"/>
                  <a:pt x="6109" y="7489"/>
                  <a:pt x="6526" y="7751"/>
                </a:cubicBezTo>
                <a:lnTo>
                  <a:pt x="5466" y="8799"/>
                </a:lnTo>
                <a:cubicBezTo>
                  <a:pt x="4251" y="7799"/>
                  <a:pt x="3501" y="6156"/>
                  <a:pt x="3311" y="5680"/>
                </a:cubicBezTo>
                <a:lnTo>
                  <a:pt x="3966" y="5310"/>
                </a:lnTo>
                <a:close/>
                <a:moveTo>
                  <a:pt x="1525" y="7989"/>
                </a:moveTo>
                <a:cubicBezTo>
                  <a:pt x="1453" y="8358"/>
                  <a:pt x="1394" y="8859"/>
                  <a:pt x="1394" y="9394"/>
                </a:cubicBezTo>
                <a:cubicBezTo>
                  <a:pt x="1406" y="9930"/>
                  <a:pt x="1453" y="10442"/>
                  <a:pt x="1525" y="10811"/>
                </a:cubicBezTo>
                <a:lnTo>
                  <a:pt x="537" y="10811"/>
                </a:lnTo>
                <a:cubicBezTo>
                  <a:pt x="608" y="10442"/>
                  <a:pt x="668" y="9930"/>
                  <a:pt x="668" y="9394"/>
                </a:cubicBezTo>
                <a:cubicBezTo>
                  <a:pt x="668" y="8859"/>
                  <a:pt x="632" y="8358"/>
                  <a:pt x="537" y="7989"/>
                </a:cubicBezTo>
                <a:close/>
                <a:moveTo>
                  <a:pt x="346" y="0"/>
                </a:moveTo>
                <a:cubicBezTo>
                  <a:pt x="299" y="0"/>
                  <a:pt x="239" y="36"/>
                  <a:pt x="215" y="60"/>
                </a:cubicBezTo>
                <a:cubicBezTo>
                  <a:pt x="179" y="107"/>
                  <a:pt x="168" y="155"/>
                  <a:pt x="179" y="215"/>
                </a:cubicBezTo>
                <a:cubicBezTo>
                  <a:pt x="287" y="560"/>
                  <a:pt x="346" y="1119"/>
                  <a:pt x="346" y="1727"/>
                </a:cubicBezTo>
                <a:cubicBezTo>
                  <a:pt x="346" y="2346"/>
                  <a:pt x="287" y="2905"/>
                  <a:pt x="179" y="3251"/>
                </a:cubicBezTo>
                <a:cubicBezTo>
                  <a:pt x="84" y="3334"/>
                  <a:pt x="1" y="3489"/>
                  <a:pt x="1" y="3632"/>
                </a:cubicBezTo>
                <a:cubicBezTo>
                  <a:pt x="1" y="3786"/>
                  <a:pt x="84" y="3929"/>
                  <a:pt x="179" y="4025"/>
                </a:cubicBezTo>
                <a:cubicBezTo>
                  <a:pt x="287" y="4370"/>
                  <a:pt x="346" y="4929"/>
                  <a:pt x="346" y="5549"/>
                </a:cubicBezTo>
                <a:cubicBezTo>
                  <a:pt x="346" y="6156"/>
                  <a:pt x="287" y="6715"/>
                  <a:pt x="179" y="7061"/>
                </a:cubicBezTo>
                <a:cubicBezTo>
                  <a:pt x="84" y="7156"/>
                  <a:pt x="1" y="7299"/>
                  <a:pt x="1" y="7454"/>
                </a:cubicBezTo>
                <a:cubicBezTo>
                  <a:pt x="1" y="7596"/>
                  <a:pt x="84" y="7751"/>
                  <a:pt x="179" y="7835"/>
                </a:cubicBezTo>
                <a:cubicBezTo>
                  <a:pt x="287" y="8180"/>
                  <a:pt x="346" y="8739"/>
                  <a:pt x="346" y="9359"/>
                </a:cubicBezTo>
                <a:cubicBezTo>
                  <a:pt x="346" y="9966"/>
                  <a:pt x="287" y="10525"/>
                  <a:pt x="179" y="10871"/>
                </a:cubicBezTo>
                <a:cubicBezTo>
                  <a:pt x="168" y="10918"/>
                  <a:pt x="179" y="10978"/>
                  <a:pt x="215" y="11025"/>
                </a:cubicBezTo>
                <a:cubicBezTo>
                  <a:pt x="239" y="11061"/>
                  <a:pt x="287" y="11085"/>
                  <a:pt x="346" y="11085"/>
                </a:cubicBezTo>
                <a:lnTo>
                  <a:pt x="1751" y="11085"/>
                </a:lnTo>
                <a:cubicBezTo>
                  <a:pt x="1787" y="11085"/>
                  <a:pt x="1846" y="11049"/>
                  <a:pt x="1882" y="11025"/>
                </a:cubicBezTo>
                <a:cubicBezTo>
                  <a:pt x="1906" y="10978"/>
                  <a:pt x="1930" y="10930"/>
                  <a:pt x="1906" y="10871"/>
                </a:cubicBezTo>
                <a:cubicBezTo>
                  <a:pt x="1799" y="10525"/>
                  <a:pt x="1739" y="9966"/>
                  <a:pt x="1739" y="9359"/>
                </a:cubicBezTo>
                <a:cubicBezTo>
                  <a:pt x="1739" y="8739"/>
                  <a:pt x="1799" y="8180"/>
                  <a:pt x="1906" y="7835"/>
                </a:cubicBezTo>
                <a:cubicBezTo>
                  <a:pt x="2013" y="7751"/>
                  <a:pt x="2084" y="7596"/>
                  <a:pt x="2084" y="7454"/>
                </a:cubicBezTo>
                <a:cubicBezTo>
                  <a:pt x="2084" y="7299"/>
                  <a:pt x="2013" y="7156"/>
                  <a:pt x="1906" y="7061"/>
                </a:cubicBezTo>
                <a:cubicBezTo>
                  <a:pt x="1799" y="6715"/>
                  <a:pt x="1739" y="6156"/>
                  <a:pt x="1739" y="5549"/>
                </a:cubicBezTo>
                <a:cubicBezTo>
                  <a:pt x="1739" y="5346"/>
                  <a:pt x="1739" y="5156"/>
                  <a:pt x="1763" y="4977"/>
                </a:cubicBezTo>
                <a:cubicBezTo>
                  <a:pt x="1882" y="4846"/>
                  <a:pt x="2299" y="4453"/>
                  <a:pt x="2870" y="4120"/>
                </a:cubicBezTo>
                <a:lnTo>
                  <a:pt x="3347" y="5287"/>
                </a:lnTo>
                <a:lnTo>
                  <a:pt x="3037" y="5465"/>
                </a:lnTo>
                <a:cubicBezTo>
                  <a:pt x="2966" y="5513"/>
                  <a:pt x="2930" y="5584"/>
                  <a:pt x="2966" y="5668"/>
                </a:cubicBezTo>
                <a:cubicBezTo>
                  <a:pt x="2989" y="5751"/>
                  <a:pt x="3823" y="7942"/>
                  <a:pt x="5394" y="9144"/>
                </a:cubicBezTo>
                <a:cubicBezTo>
                  <a:pt x="5418" y="9180"/>
                  <a:pt x="5454" y="9180"/>
                  <a:pt x="5490" y="9180"/>
                </a:cubicBezTo>
                <a:cubicBezTo>
                  <a:pt x="5537" y="9180"/>
                  <a:pt x="5585" y="9156"/>
                  <a:pt x="5609" y="9132"/>
                </a:cubicBezTo>
                <a:lnTo>
                  <a:pt x="6918" y="7823"/>
                </a:lnTo>
                <a:cubicBezTo>
                  <a:pt x="6954" y="7787"/>
                  <a:pt x="6978" y="7727"/>
                  <a:pt x="6966" y="7692"/>
                </a:cubicBezTo>
                <a:cubicBezTo>
                  <a:pt x="6954" y="7644"/>
                  <a:pt x="6918" y="7596"/>
                  <a:pt x="6883" y="7573"/>
                </a:cubicBezTo>
                <a:cubicBezTo>
                  <a:pt x="6883" y="7573"/>
                  <a:pt x="6537" y="7394"/>
                  <a:pt x="6049" y="6989"/>
                </a:cubicBezTo>
                <a:cubicBezTo>
                  <a:pt x="5585" y="6620"/>
                  <a:pt x="4871" y="5965"/>
                  <a:pt x="4156" y="4989"/>
                </a:cubicBezTo>
                <a:cubicBezTo>
                  <a:pt x="4128" y="4946"/>
                  <a:pt x="4078" y="4925"/>
                  <a:pt x="4029" y="4925"/>
                </a:cubicBezTo>
                <a:cubicBezTo>
                  <a:pt x="3997" y="4925"/>
                  <a:pt x="3966" y="4934"/>
                  <a:pt x="3942" y="4953"/>
                </a:cubicBezTo>
                <a:lnTo>
                  <a:pt x="3644" y="5132"/>
                </a:lnTo>
                <a:lnTo>
                  <a:pt x="3168" y="3965"/>
                </a:lnTo>
                <a:cubicBezTo>
                  <a:pt x="3335" y="3894"/>
                  <a:pt x="3501" y="3822"/>
                  <a:pt x="3668" y="3763"/>
                </a:cubicBezTo>
                <a:cubicBezTo>
                  <a:pt x="4359" y="4691"/>
                  <a:pt x="5394" y="5370"/>
                  <a:pt x="6133" y="5751"/>
                </a:cubicBezTo>
                <a:cubicBezTo>
                  <a:pt x="6954" y="6180"/>
                  <a:pt x="7597" y="6394"/>
                  <a:pt x="7621" y="6406"/>
                </a:cubicBezTo>
                <a:cubicBezTo>
                  <a:pt x="7645" y="6406"/>
                  <a:pt x="7657" y="6418"/>
                  <a:pt x="7669" y="6418"/>
                </a:cubicBezTo>
                <a:cubicBezTo>
                  <a:pt x="7704" y="6418"/>
                  <a:pt x="7740" y="6406"/>
                  <a:pt x="7776" y="6394"/>
                </a:cubicBezTo>
                <a:cubicBezTo>
                  <a:pt x="7823" y="6358"/>
                  <a:pt x="7835" y="6299"/>
                  <a:pt x="7835" y="6263"/>
                </a:cubicBezTo>
                <a:cubicBezTo>
                  <a:pt x="7835" y="6239"/>
                  <a:pt x="7811" y="5811"/>
                  <a:pt x="7633" y="5275"/>
                </a:cubicBezTo>
                <a:cubicBezTo>
                  <a:pt x="7383" y="4560"/>
                  <a:pt x="6942" y="4013"/>
                  <a:pt x="6359" y="3679"/>
                </a:cubicBezTo>
                <a:cubicBezTo>
                  <a:pt x="5848" y="3401"/>
                  <a:pt x="5309" y="3261"/>
                  <a:pt x="4754" y="3261"/>
                </a:cubicBezTo>
                <a:cubicBezTo>
                  <a:pt x="4171" y="3261"/>
                  <a:pt x="3570" y="3416"/>
                  <a:pt x="2966" y="3727"/>
                </a:cubicBezTo>
                <a:cubicBezTo>
                  <a:pt x="2477" y="3977"/>
                  <a:pt x="2084" y="4275"/>
                  <a:pt x="1834" y="4501"/>
                </a:cubicBezTo>
                <a:cubicBezTo>
                  <a:pt x="1858" y="4322"/>
                  <a:pt x="1894" y="4179"/>
                  <a:pt x="1918" y="4060"/>
                </a:cubicBezTo>
                <a:cubicBezTo>
                  <a:pt x="2013" y="3977"/>
                  <a:pt x="2073" y="3858"/>
                  <a:pt x="2096" y="3739"/>
                </a:cubicBezTo>
                <a:cubicBezTo>
                  <a:pt x="2263" y="3608"/>
                  <a:pt x="2811" y="3132"/>
                  <a:pt x="3692" y="2715"/>
                </a:cubicBezTo>
                <a:cubicBezTo>
                  <a:pt x="4299" y="2429"/>
                  <a:pt x="4930" y="2227"/>
                  <a:pt x="5585" y="2108"/>
                </a:cubicBezTo>
                <a:cubicBezTo>
                  <a:pt x="6017" y="2024"/>
                  <a:pt x="6460" y="1982"/>
                  <a:pt x="6905" y="1982"/>
                </a:cubicBezTo>
                <a:cubicBezTo>
                  <a:pt x="7282" y="1982"/>
                  <a:pt x="7661" y="2012"/>
                  <a:pt x="8038" y="2072"/>
                </a:cubicBezTo>
                <a:cubicBezTo>
                  <a:pt x="8050" y="2076"/>
                  <a:pt x="8063" y="2078"/>
                  <a:pt x="8076" y="2078"/>
                </a:cubicBezTo>
                <a:cubicBezTo>
                  <a:pt x="8137" y="2078"/>
                  <a:pt x="8197" y="2036"/>
                  <a:pt x="8216" y="1977"/>
                </a:cubicBezTo>
                <a:cubicBezTo>
                  <a:pt x="8204" y="1870"/>
                  <a:pt x="8180" y="1798"/>
                  <a:pt x="8121" y="1751"/>
                </a:cubicBezTo>
                <a:cubicBezTo>
                  <a:pt x="8085" y="1727"/>
                  <a:pt x="7478" y="1381"/>
                  <a:pt x="6609" y="1155"/>
                </a:cubicBezTo>
                <a:cubicBezTo>
                  <a:pt x="6168" y="1040"/>
                  <a:pt x="5744" y="982"/>
                  <a:pt x="5346" y="982"/>
                </a:cubicBezTo>
                <a:cubicBezTo>
                  <a:pt x="4713" y="982"/>
                  <a:pt x="4143" y="1129"/>
                  <a:pt x="3668" y="1429"/>
                </a:cubicBezTo>
                <a:cubicBezTo>
                  <a:pt x="3097" y="1786"/>
                  <a:pt x="3049" y="2310"/>
                  <a:pt x="3120" y="2608"/>
                </a:cubicBezTo>
                <a:cubicBezTo>
                  <a:pt x="2596" y="2894"/>
                  <a:pt x="2204" y="3179"/>
                  <a:pt x="2001" y="3358"/>
                </a:cubicBezTo>
                <a:cubicBezTo>
                  <a:pt x="1965" y="3310"/>
                  <a:pt x="1942" y="3286"/>
                  <a:pt x="1906" y="3251"/>
                </a:cubicBezTo>
                <a:cubicBezTo>
                  <a:pt x="1799" y="2905"/>
                  <a:pt x="1739" y="2346"/>
                  <a:pt x="1739" y="1727"/>
                </a:cubicBezTo>
                <a:cubicBezTo>
                  <a:pt x="1739" y="1119"/>
                  <a:pt x="1799" y="560"/>
                  <a:pt x="1906" y="215"/>
                </a:cubicBezTo>
                <a:cubicBezTo>
                  <a:pt x="1930" y="167"/>
                  <a:pt x="1906" y="107"/>
                  <a:pt x="1882" y="60"/>
                </a:cubicBezTo>
                <a:cubicBezTo>
                  <a:pt x="1846" y="24"/>
                  <a:pt x="1799" y="0"/>
                  <a:pt x="17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094" name="Google Shape;13094;p63"/>
          <p:cNvGrpSpPr/>
          <p:nvPr/>
        </p:nvGrpSpPr>
        <p:grpSpPr>
          <a:xfrm>
            <a:off x="2795053" y="3352594"/>
            <a:ext cx="288448" cy="357120"/>
            <a:chOff x="2795053" y="3352594"/>
            <a:chExt cx="288448" cy="357120"/>
          </a:xfrm>
        </p:grpSpPr>
        <p:sp>
          <p:nvSpPr>
            <p:cNvPr id="13095" name="Google Shape;13095;p63"/>
            <p:cNvSpPr/>
            <p:nvPr/>
          </p:nvSpPr>
          <p:spPr>
            <a:xfrm>
              <a:off x="2839629" y="3550386"/>
              <a:ext cx="19840" cy="16448"/>
            </a:xfrm>
            <a:custGeom>
              <a:avLst/>
              <a:gdLst/>
              <a:ahLst/>
              <a:cxnLst/>
              <a:rect l="l" t="t" r="r" b="b"/>
              <a:pathLst>
                <a:path w="620" h="514" extrusionOk="0">
                  <a:moveTo>
                    <a:pt x="443" y="1"/>
                  </a:moveTo>
                  <a:cubicBezTo>
                    <a:pt x="413" y="1"/>
                    <a:pt x="383" y="9"/>
                    <a:pt x="358" y="26"/>
                  </a:cubicBezTo>
                  <a:lnTo>
                    <a:pt x="84" y="216"/>
                  </a:lnTo>
                  <a:cubicBezTo>
                    <a:pt x="13" y="264"/>
                    <a:pt x="1" y="371"/>
                    <a:pt x="36" y="442"/>
                  </a:cubicBezTo>
                  <a:cubicBezTo>
                    <a:pt x="72" y="490"/>
                    <a:pt x="132" y="514"/>
                    <a:pt x="179" y="514"/>
                  </a:cubicBezTo>
                  <a:cubicBezTo>
                    <a:pt x="203" y="514"/>
                    <a:pt x="239" y="502"/>
                    <a:pt x="263" y="490"/>
                  </a:cubicBezTo>
                  <a:lnTo>
                    <a:pt x="537" y="300"/>
                  </a:lnTo>
                  <a:cubicBezTo>
                    <a:pt x="608" y="240"/>
                    <a:pt x="620" y="145"/>
                    <a:pt x="572" y="73"/>
                  </a:cubicBezTo>
                  <a:cubicBezTo>
                    <a:pt x="549" y="27"/>
                    <a:pt x="496" y="1"/>
                    <a:pt x="44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6" name="Google Shape;13096;p63"/>
            <p:cNvSpPr/>
            <p:nvPr/>
          </p:nvSpPr>
          <p:spPr>
            <a:xfrm>
              <a:off x="2865165" y="3511410"/>
              <a:ext cx="50688" cy="37536"/>
            </a:xfrm>
            <a:custGeom>
              <a:avLst/>
              <a:gdLst/>
              <a:ahLst/>
              <a:cxnLst/>
              <a:rect l="l" t="t" r="r" b="b"/>
              <a:pathLst>
                <a:path w="1584" h="1173" extrusionOk="0">
                  <a:moveTo>
                    <a:pt x="1395" y="1"/>
                  </a:moveTo>
                  <a:cubicBezTo>
                    <a:pt x="1361" y="1"/>
                    <a:pt x="1327" y="10"/>
                    <a:pt x="1298" y="29"/>
                  </a:cubicBezTo>
                  <a:lnTo>
                    <a:pt x="96" y="875"/>
                  </a:lnTo>
                  <a:cubicBezTo>
                    <a:pt x="12" y="922"/>
                    <a:pt x="0" y="1018"/>
                    <a:pt x="48" y="1101"/>
                  </a:cubicBezTo>
                  <a:cubicBezTo>
                    <a:pt x="72" y="1137"/>
                    <a:pt x="131" y="1172"/>
                    <a:pt x="179" y="1172"/>
                  </a:cubicBezTo>
                  <a:cubicBezTo>
                    <a:pt x="215" y="1172"/>
                    <a:pt x="239" y="1160"/>
                    <a:pt x="274" y="1137"/>
                  </a:cubicBezTo>
                  <a:lnTo>
                    <a:pt x="1477" y="291"/>
                  </a:lnTo>
                  <a:cubicBezTo>
                    <a:pt x="1548" y="232"/>
                    <a:pt x="1584" y="125"/>
                    <a:pt x="1524" y="65"/>
                  </a:cubicBezTo>
                  <a:cubicBezTo>
                    <a:pt x="1496" y="22"/>
                    <a:pt x="1446" y="1"/>
                    <a:pt x="139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7" name="Google Shape;13097;p63"/>
            <p:cNvSpPr/>
            <p:nvPr/>
          </p:nvSpPr>
          <p:spPr>
            <a:xfrm>
              <a:off x="2795053" y="3352594"/>
              <a:ext cx="288448" cy="357120"/>
            </a:xfrm>
            <a:custGeom>
              <a:avLst/>
              <a:gdLst/>
              <a:ahLst/>
              <a:cxnLst/>
              <a:rect l="l" t="t" r="r" b="b"/>
              <a:pathLst>
                <a:path w="9014" h="11160" extrusionOk="0">
                  <a:moveTo>
                    <a:pt x="3311" y="361"/>
                  </a:moveTo>
                  <a:cubicBezTo>
                    <a:pt x="3465" y="361"/>
                    <a:pt x="3620" y="385"/>
                    <a:pt x="3763" y="468"/>
                  </a:cubicBezTo>
                  <a:cubicBezTo>
                    <a:pt x="4454" y="825"/>
                    <a:pt x="4585" y="1861"/>
                    <a:pt x="4573" y="2682"/>
                  </a:cubicBezTo>
                  <a:cubicBezTo>
                    <a:pt x="4561" y="3278"/>
                    <a:pt x="4477" y="3837"/>
                    <a:pt x="4418" y="4171"/>
                  </a:cubicBezTo>
                  <a:cubicBezTo>
                    <a:pt x="4398" y="4220"/>
                    <a:pt x="4355" y="4260"/>
                    <a:pt x="4300" y="4260"/>
                  </a:cubicBezTo>
                  <a:cubicBezTo>
                    <a:pt x="4288" y="4260"/>
                    <a:pt x="4276" y="4258"/>
                    <a:pt x="4263" y="4254"/>
                  </a:cubicBezTo>
                  <a:cubicBezTo>
                    <a:pt x="3930" y="4195"/>
                    <a:pt x="3382" y="4099"/>
                    <a:pt x="2811" y="3885"/>
                  </a:cubicBezTo>
                  <a:cubicBezTo>
                    <a:pt x="2037" y="3623"/>
                    <a:pt x="1120" y="3147"/>
                    <a:pt x="1013" y="2385"/>
                  </a:cubicBezTo>
                  <a:cubicBezTo>
                    <a:pt x="989" y="2111"/>
                    <a:pt x="1060" y="1849"/>
                    <a:pt x="1227" y="1623"/>
                  </a:cubicBezTo>
                  <a:cubicBezTo>
                    <a:pt x="1465" y="1325"/>
                    <a:pt x="1739" y="1218"/>
                    <a:pt x="1953" y="1206"/>
                  </a:cubicBezTo>
                  <a:cubicBezTo>
                    <a:pt x="2120" y="1194"/>
                    <a:pt x="2263" y="1087"/>
                    <a:pt x="2334" y="944"/>
                  </a:cubicBezTo>
                  <a:cubicBezTo>
                    <a:pt x="2430" y="766"/>
                    <a:pt x="2620" y="527"/>
                    <a:pt x="2977" y="408"/>
                  </a:cubicBezTo>
                  <a:cubicBezTo>
                    <a:pt x="3084" y="373"/>
                    <a:pt x="3192" y="361"/>
                    <a:pt x="3311" y="361"/>
                  </a:cubicBezTo>
                  <a:close/>
                  <a:moveTo>
                    <a:pt x="6699" y="947"/>
                  </a:moveTo>
                  <a:cubicBezTo>
                    <a:pt x="6925" y="947"/>
                    <a:pt x="7145" y="1020"/>
                    <a:pt x="7323" y="1158"/>
                  </a:cubicBezTo>
                  <a:cubicBezTo>
                    <a:pt x="7621" y="1397"/>
                    <a:pt x="7728" y="1682"/>
                    <a:pt x="7740" y="1885"/>
                  </a:cubicBezTo>
                  <a:cubicBezTo>
                    <a:pt x="7752" y="2051"/>
                    <a:pt x="7859" y="2206"/>
                    <a:pt x="8014" y="2278"/>
                  </a:cubicBezTo>
                  <a:cubicBezTo>
                    <a:pt x="8192" y="2361"/>
                    <a:pt x="8430" y="2563"/>
                    <a:pt x="8549" y="2921"/>
                  </a:cubicBezTo>
                  <a:cubicBezTo>
                    <a:pt x="8668" y="3183"/>
                    <a:pt x="8645" y="3468"/>
                    <a:pt x="8514" y="3706"/>
                  </a:cubicBezTo>
                  <a:cubicBezTo>
                    <a:pt x="8171" y="4370"/>
                    <a:pt x="7201" y="4517"/>
                    <a:pt x="6397" y="4517"/>
                  </a:cubicBezTo>
                  <a:cubicBezTo>
                    <a:pt x="6364" y="4517"/>
                    <a:pt x="6331" y="4517"/>
                    <a:pt x="6299" y="4516"/>
                  </a:cubicBezTo>
                  <a:cubicBezTo>
                    <a:pt x="5704" y="4492"/>
                    <a:pt x="5144" y="4421"/>
                    <a:pt x="4811" y="4361"/>
                  </a:cubicBezTo>
                  <a:cubicBezTo>
                    <a:pt x="4739" y="4349"/>
                    <a:pt x="4692" y="4290"/>
                    <a:pt x="4704" y="4218"/>
                  </a:cubicBezTo>
                  <a:cubicBezTo>
                    <a:pt x="4763" y="3885"/>
                    <a:pt x="4870" y="3337"/>
                    <a:pt x="5061" y="2766"/>
                  </a:cubicBezTo>
                  <a:cubicBezTo>
                    <a:pt x="5335" y="1992"/>
                    <a:pt x="5811" y="1051"/>
                    <a:pt x="6561" y="956"/>
                  </a:cubicBezTo>
                  <a:cubicBezTo>
                    <a:pt x="6607" y="950"/>
                    <a:pt x="6653" y="947"/>
                    <a:pt x="6699" y="947"/>
                  </a:cubicBezTo>
                  <a:close/>
                  <a:moveTo>
                    <a:pt x="2739" y="4433"/>
                  </a:moveTo>
                  <a:cubicBezTo>
                    <a:pt x="3334" y="4457"/>
                    <a:pt x="3906" y="4528"/>
                    <a:pt x="4227" y="4587"/>
                  </a:cubicBezTo>
                  <a:cubicBezTo>
                    <a:pt x="4231" y="4587"/>
                    <a:pt x="4234" y="4586"/>
                    <a:pt x="4238" y="4586"/>
                  </a:cubicBezTo>
                  <a:cubicBezTo>
                    <a:pt x="4282" y="4586"/>
                    <a:pt x="4323" y="4652"/>
                    <a:pt x="4323" y="4718"/>
                  </a:cubicBezTo>
                  <a:cubicBezTo>
                    <a:pt x="4263" y="5052"/>
                    <a:pt x="4156" y="5600"/>
                    <a:pt x="3965" y="6159"/>
                  </a:cubicBezTo>
                  <a:cubicBezTo>
                    <a:pt x="3692" y="6933"/>
                    <a:pt x="3215" y="7874"/>
                    <a:pt x="2465" y="7981"/>
                  </a:cubicBezTo>
                  <a:cubicBezTo>
                    <a:pt x="2431" y="7984"/>
                    <a:pt x="2397" y="7985"/>
                    <a:pt x="2363" y="7985"/>
                  </a:cubicBezTo>
                  <a:cubicBezTo>
                    <a:pt x="2127" y="7985"/>
                    <a:pt x="1901" y="7912"/>
                    <a:pt x="1703" y="7766"/>
                  </a:cubicBezTo>
                  <a:cubicBezTo>
                    <a:pt x="1406" y="7528"/>
                    <a:pt x="1298" y="7254"/>
                    <a:pt x="1287" y="7040"/>
                  </a:cubicBezTo>
                  <a:cubicBezTo>
                    <a:pt x="1275" y="6873"/>
                    <a:pt x="1168" y="6731"/>
                    <a:pt x="1013" y="6659"/>
                  </a:cubicBezTo>
                  <a:cubicBezTo>
                    <a:pt x="834" y="6564"/>
                    <a:pt x="596" y="6373"/>
                    <a:pt x="477" y="6016"/>
                  </a:cubicBezTo>
                  <a:cubicBezTo>
                    <a:pt x="394" y="5742"/>
                    <a:pt x="417" y="5469"/>
                    <a:pt x="536" y="5242"/>
                  </a:cubicBezTo>
                  <a:cubicBezTo>
                    <a:pt x="882" y="4587"/>
                    <a:pt x="1870" y="4433"/>
                    <a:pt x="2656" y="4433"/>
                  </a:cubicBezTo>
                  <a:close/>
                  <a:moveTo>
                    <a:pt x="4757" y="4645"/>
                  </a:moveTo>
                  <a:cubicBezTo>
                    <a:pt x="4767" y="4645"/>
                    <a:pt x="4777" y="4646"/>
                    <a:pt x="4787" y="4647"/>
                  </a:cubicBezTo>
                  <a:cubicBezTo>
                    <a:pt x="5108" y="4707"/>
                    <a:pt x="5656" y="4814"/>
                    <a:pt x="6228" y="5016"/>
                  </a:cubicBezTo>
                  <a:cubicBezTo>
                    <a:pt x="6990" y="5302"/>
                    <a:pt x="7918" y="5778"/>
                    <a:pt x="8026" y="6540"/>
                  </a:cubicBezTo>
                  <a:cubicBezTo>
                    <a:pt x="8061" y="6802"/>
                    <a:pt x="7978" y="7076"/>
                    <a:pt x="7823" y="7290"/>
                  </a:cubicBezTo>
                  <a:cubicBezTo>
                    <a:pt x="7585" y="7588"/>
                    <a:pt x="7299" y="7695"/>
                    <a:pt x="7085" y="7707"/>
                  </a:cubicBezTo>
                  <a:cubicBezTo>
                    <a:pt x="6930" y="7731"/>
                    <a:pt x="6775" y="7826"/>
                    <a:pt x="6704" y="7981"/>
                  </a:cubicBezTo>
                  <a:cubicBezTo>
                    <a:pt x="6609" y="8159"/>
                    <a:pt x="6418" y="8397"/>
                    <a:pt x="6061" y="8517"/>
                  </a:cubicBezTo>
                  <a:cubicBezTo>
                    <a:pt x="5957" y="8550"/>
                    <a:pt x="5849" y="8566"/>
                    <a:pt x="5742" y="8566"/>
                  </a:cubicBezTo>
                  <a:cubicBezTo>
                    <a:pt x="5581" y="8566"/>
                    <a:pt x="5423" y="8529"/>
                    <a:pt x="5287" y="8457"/>
                  </a:cubicBezTo>
                  <a:cubicBezTo>
                    <a:pt x="4608" y="8100"/>
                    <a:pt x="4466" y="7052"/>
                    <a:pt x="4489" y="6242"/>
                  </a:cubicBezTo>
                  <a:cubicBezTo>
                    <a:pt x="4501" y="5647"/>
                    <a:pt x="4573" y="5076"/>
                    <a:pt x="4632" y="4754"/>
                  </a:cubicBezTo>
                  <a:cubicBezTo>
                    <a:pt x="4643" y="4681"/>
                    <a:pt x="4690" y="4645"/>
                    <a:pt x="4757" y="4645"/>
                  </a:cubicBezTo>
                  <a:close/>
                  <a:moveTo>
                    <a:pt x="3309" y="1"/>
                  </a:moveTo>
                  <a:cubicBezTo>
                    <a:pt x="3162" y="1"/>
                    <a:pt x="3014" y="25"/>
                    <a:pt x="2870" y="75"/>
                  </a:cubicBezTo>
                  <a:cubicBezTo>
                    <a:pt x="2501" y="194"/>
                    <a:pt x="2203" y="444"/>
                    <a:pt x="2037" y="777"/>
                  </a:cubicBezTo>
                  <a:cubicBezTo>
                    <a:pt x="2013" y="837"/>
                    <a:pt x="1965" y="861"/>
                    <a:pt x="1906" y="885"/>
                  </a:cubicBezTo>
                  <a:cubicBezTo>
                    <a:pt x="1537" y="920"/>
                    <a:pt x="1191" y="1123"/>
                    <a:pt x="953" y="1432"/>
                  </a:cubicBezTo>
                  <a:cubicBezTo>
                    <a:pt x="727" y="1718"/>
                    <a:pt x="632" y="2087"/>
                    <a:pt x="667" y="2432"/>
                  </a:cubicBezTo>
                  <a:cubicBezTo>
                    <a:pt x="775" y="3230"/>
                    <a:pt x="1560" y="3754"/>
                    <a:pt x="2382" y="4099"/>
                  </a:cubicBezTo>
                  <a:cubicBezTo>
                    <a:pt x="1489" y="4123"/>
                    <a:pt x="572" y="4349"/>
                    <a:pt x="191" y="5064"/>
                  </a:cubicBezTo>
                  <a:cubicBezTo>
                    <a:pt x="36" y="5373"/>
                    <a:pt x="1" y="5742"/>
                    <a:pt x="120" y="6088"/>
                  </a:cubicBezTo>
                  <a:cubicBezTo>
                    <a:pt x="239" y="6457"/>
                    <a:pt x="489" y="6754"/>
                    <a:pt x="822" y="6921"/>
                  </a:cubicBezTo>
                  <a:cubicBezTo>
                    <a:pt x="882" y="6957"/>
                    <a:pt x="906" y="6993"/>
                    <a:pt x="929" y="7052"/>
                  </a:cubicBezTo>
                  <a:cubicBezTo>
                    <a:pt x="965" y="7433"/>
                    <a:pt x="1168" y="7766"/>
                    <a:pt x="1477" y="8005"/>
                  </a:cubicBezTo>
                  <a:cubicBezTo>
                    <a:pt x="1715" y="8207"/>
                    <a:pt x="2013" y="8290"/>
                    <a:pt x="2311" y="8290"/>
                  </a:cubicBezTo>
                  <a:cubicBezTo>
                    <a:pt x="2370" y="8290"/>
                    <a:pt x="2430" y="8290"/>
                    <a:pt x="2477" y="8278"/>
                  </a:cubicBezTo>
                  <a:cubicBezTo>
                    <a:pt x="3132" y="8183"/>
                    <a:pt x="3584" y="7671"/>
                    <a:pt x="3918" y="7028"/>
                  </a:cubicBezTo>
                  <a:lnTo>
                    <a:pt x="3918" y="7028"/>
                  </a:lnTo>
                  <a:cubicBezTo>
                    <a:pt x="3775" y="9040"/>
                    <a:pt x="4204" y="10326"/>
                    <a:pt x="4620" y="11076"/>
                  </a:cubicBezTo>
                  <a:cubicBezTo>
                    <a:pt x="4644" y="11136"/>
                    <a:pt x="4704" y="11160"/>
                    <a:pt x="4763" y="11160"/>
                  </a:cubicBezTo>
                  <a:cubicBezTo>
                    <a:pt x="4799" y="11160"/>
                    <a:pt x="4823" y="11160"/>
                    <a:pt x="4847" y="11148"/>
                  </a:cubicBezTo>
                  <a:cubicBezTo>
                    <a:pt x="4918" y="11100"/>
                    <a:pt x="4942" y="11005"/>
                    <a:pt x="4906" y="10922"/>
                  </a:cubicBezTo>
                  <a:cubicBezTo>
                    <a:pt x="4525" y="10255"/>
                    <a:pt x="4156" y="9124"/>
                    <a:pt x="4216" y="7385"/>
                  </a:cubicBezTo>
                  <a:lnTo>
                    <a:pt x="4216" y="7385"/>
                  </a:lnTo>
                  <a:cubicBezTo>
                    <a:pt x="4335" y="7969"/>
                    <a:pt x="4608" y="8481"/>
                    <a:pt x="5097" y="8743"/>
                  </a:cubicBezTo>
                  <a:cubicBezTo>
                    <a:pt x="5287" y="8838"/>
                    <a:pt x="5501" y="8886"/>
                    <a:pt x="5704" y="8886"/>
                  </a:cubicBezTo>
                  <a:cubicBezTo>
                    <a:pt x="5859" y="8886"/>
                    <a:pt x="5990" y="8874"/>
                    <a:pt x="6121" y="8826"/>
                  </a:cubicBezTo>
                  <a:cubicBezTo>
                    <a:pt x="6490" y="8707"/>
                    <a:pt x="6787" y="8457"/>
                    <a:pt x="6954" y="8124"/>
                  </a:cubicBezTo>
                  <a:cubicBezTo>
                    <a:pt x="6990" y="8064"/>
                    <a:pt x="7025" y="8040"/>
                    <a:pt x="7085" y="8028"/>
                  </a:cubicBezTo>
                  <a:cubicBezTo>
                    <a:pt x="7454" y="7981"/>
                    <a:pt x="7799" y="7790"/>
                    <a:pt x="8037" y="7469"/>
                  </a:cubicBezTo>
                  <a:cubicBezTo>
                    <a:pt x="8264" y="7195"/>
                    <a:pt x="8371" y="6814"/>
                    <a:pt x="8323" y="6481"/>
                  </a:cubicBezTo>
                  <a:cubicBezTo>
                    <a:pt x="8216" y="5671"/>
                    <a:pt x="7430" y="5147"/>
                    <a:pt x="6609" y="4814"/>
                  </a:cubicBezTo>
                  <a:cubicBezTo>
                    <a:pt x="7502" y="4778"/>
                    <a:pt x="8430" y="4552"/>
                    <a:pt x="8799" y="3837"/>
                  </a:cubicBezTo>
                  <a:cubicBezTo>
                    <a:pt x="8978" y="3540"/>
                    <a:pt x="9014" y="3171"/>
                    <a:pt x="8895" y="2825"/>
                  </a:cubicBezTo>
                  <a:cubicBezTo>
                    <a:pt x="8776" y="2456"/>
                    <a:pt x="8514" y="2159"/>
                    <a:pt x="8192" y="1992"/>
                  </a:cubicBezTo>
                  <a:cubicBezTo>
                    <a:pt x="8133" y="1968"/>
                    <a:pt x="8097" y="1920"/>
                    <a:pt x="8085" y="1861"/>
                  </a:cubicBezTo>
                  <a:cubicBezTo>
                    <a:pt x="8037" y="1492"/>
                    <a:pt x="7847" y="1147"/>
                    <a:pt x="7537" y="908"/>
                  </a:cubicBezTo>
                  <a:cubicBezTo>
                    <a:pt x="7296" y="718"/>
                    <a:pt x="6996" y="612"/>
                    <a:pt x="6701" y="612"/>
                  </a:cubicBezTo>
                  <a:cubicBezTo>
                    <a:pt x="6646" y="612"/>
                    <a:pt x="6591" y="615"/>
                    <a:pt x="6537" y="623"/>
                  </a:cubicBezTo>
                  <a:cubicBezTo>
                    <a:pt x="5728" y="730"/>
                    <a:pt x="5216" y="1516"/>
                    <a:pt x="4870" y="2337"/>
                  </a:cubicBezTo>
                  <a:cubicBezTo>
                    <a:pt x="4835" y="1444"/>
                    <a:pt x="4620" y="527"/>
                    <a:pt x="3906" y="146"/>
                  </a:cubicBezTo>
                  <a:cubicBezTo>
                    <a:pt x="3718" y="49"/>
                    <a:pt x="3515" y="1"/>
                    <a:pt x="330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8" name="Google Shape;13098;p63"/>
            <p:cNvSpPr/>
            <p:nvPr/>
          </p:nvSpPr>
          <p:spPr>
            <a:xfrm>
              <a:off x="3019853" y="3423794"/>
              <a:ext cx="20224" cy="16576"/>
            </a:xfrm>
            <a:custGeom>
              <a:avLst/>
              <a:gdLst/>
              <a:ahLst/>
              <a:cxnLst/>
              <a:rect l="l" t="t" r="r" b="b"/>
              <a:pathLst>
                <a:path w="632" h="518" extrusionOk="0">
                  <a:moveTo>
                    <a:pt x="454" y="0"/>
                  </a:moveTo>
                  <a:cubicBezTo>
                    <a:pt x="420" y="0"/>
                    <a:pt x="386" y="10"/>
                    <a:pt x="358" y="29"/>
                  </a:cubicBezTo>
                  <a:lnTo>
                    <a:pt x="96" y="219"/>
                  </a:lnTo>
                  <a:cubicBezTo>
                    <a:pt x="24" y="255"/>
                    <a:pt x="0" y="362"/>
                    <a:pt x="48" y="434"/>
                  </a:cubicBezTo>
                  <a:cubicBezTo>
                    <a:pt x="84" y="481"/>
                    <a:pt x="143" y="517"/>
                    <a:pt x="179" y="517"/>
                  </a:cubicBezTo>
                  <a:cubicBezTo>
                    <a:pt x="215" y="517"/>
                    <a:pt x="239" y="493"/>
                    <a:pt x="274" y="481"/>
                  </a:cubicBezTo>
                  <a:lnTo>
                    <a:pt x="536" y="291"/>
                  </a:lnTo>
                  <a:cubicBezTo>
                    <a:pt x="620" y="243"/>
                    <a:pt x="631" y="136"/>
                    <a:pt x="584" y="65"/>
                  </a:cubicBezTo>
                  <a:cubicBezTo>
                    <a:pt x="555" y="22"/>
                    <a:pt x="505" y="0"/>
                    <a:pt x="4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9" name="Google Shape;13099;p63"/>
            <p:cNvSpPr/>
            <p:nvPr/>
          </p:nvSpPr>
          <p:spPr>
            <a:xfrm>
              <a:off x="2964237" y="3441810"/>
              <a:ext cx="49920" cy="37408"/>
            </a:xfrm>
            <a:custGeom>
              <a:avLst/>
              <a:gdLst/>
              <a:ahLst/>
              <a:cxnLst/>
              <a:rect l="l" t="t" r="r" b="b"/>
              <a:pathLst>
                <a:path w="1560" h="1169" extrusionOk="0">
                  <a:moveTo>
                    <a:pt x="1383" y="1"/>
                  </a:moveTo>
                  <a:cubicBezTo>
                    <a:pt x="1353" y="1"/>
                    <a:pt x="1323" y="9"/>
                    <a:pt x="1298" y="25"/>
                  </a:cubicBezTo>
                  <a:lnTo>
                    <a:pt x="83" y="871"/>
                  </a:lnTo>
                  <a:cubicBezTo>
                    <a:pt x="12" y="918"/>
                    <a:pt x="0" y="1026"/>
                    <a:pt x="48" y="1097"/>
                  </a:cubicBezTo>
                  <a:cubicBezTo>
                    <a:pt x="72" y="1145"/>
                    <a:pt x="131" y="1168"/>
                    <a:pt x="179" y="1168"/>
                  </a:cubicBezTo>
                  <a:cubicBezTo>
                    <a:pt x="214" y="1168"/>
                    <a:pt x="238" y="1157"/>
                    <a:pt x="274" y="1145"/>
                  </a:cubicBezTo>
                  <a:lnTo>
                    <a:pt x="1476" y="299"/>
                  </a:lnTo>
                  <a:cubicBezTo>
                    <a:pt x="1548" y="252"/>
                    <a:pt x="1560" y="145"/>
                    <a:pt x="1524" y="73"/>
                  </a:cubicBezTo>
                  <a:cubicBezTo>
                    <a:pt x="1493" y="27"/>
                    <a:pt x="1438" y="1"/>
                    <a:pt x="13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0" name="Google Shape;13100;p63"/>
            <p:cNvSpPr/>
            <p:nvPr/>
          </p:nvSpPr>
          <p:spPr>
            <a:xfrm>
              <a:off x="2867437" y="3395602"/>
              <a:ext cx="17952" cy="18848"/>
            </a:xfrm>
            <a:custGeom>
              <a:avLst/>
              <a:gdLst/>
              <a:ahLst/>
              <a:cxnLst/>
              <a:rect l="l" t="t" r="r" b="b"/>
              <a:pathLst>
                <a:path w="561" h="589" extrusionOk="0">
                  <a:moveTo>
                    <a:pt x="189" y="1"/>
                  </a:moveTo>
                  <a:cubicBezTo>
                    <a:pt x="156" y="1"/>
                    <a:pt x="124" y="10"/>
                    <a:pt x="96" y="29"/>
                  </a:cubicBezTo>
                  <a:cubicBezTo>
                    <a:pt x="25" y="76"/>
                    <a:pt x="1" y="172"/>
                    <a:pt x="49" y="255"/>
                  </a:cubicBezTo>
                  <a:lnTo>
                    <a:pt x="239" y="517"/>
                  </a:lnTo>
                  <a:cubicBezTo>
                    <a:pt x="275" y="565"/>
                    <a:pt x="334" y="588"/>
                    <a:pt x="382" y="588"/>
                  </a:cubicBezTo>
                  <a:cubicBezTo>
                    <a:pt x="406" y="588"/>
                    <a:pt x="430" y="576"/>
                    <a:pt x="465" y="565"/>
                  </a:cubicBezTo>
                  <a:cubicBezTo>
                    <a:pt x="537" y="517"/>
                    <a:pt x="560" y="410"/>
                    <a:pt x="513" y="338"/>
                  </a:cubicBezTo>
                  <a:lnTo>
                    <a:pt x="322" y="76"/>
                  </a:lnTo>
                  <a:cubicBezTo>
                    <a:pt x="293" y="25"/>
                    <a:pt x="241" y="1"/>
                    <a:pt x="1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1" name="Google Shape;13101;p63"/>
            <p:cNvSpPr/>
            <p:nvPr/>
          </p:nvSpPr>
          <p:spPr>
            <a:xfrm>
              <a:off x="2885741" y="3421234"/>
              <a:ext cx="38496" cy="49216"/>
            </a:xfrm>
            <a:custGeom>
              <a:avLst/>
              <a:gdLst/>
              <a:ahLst/>
              <a:cxnLst/>
              <a:rect l="l" t="t" r="r" b="b"/>
              <a:pathLst>
                <a:path w="1203" h="1538" extrusionOk="0">
                  <a:moveTo>
                    <a:pt x="169" y="1"/>
                  </a:moveTo>
                  <a:cubicBezTo>
                    <a:pt x="139" y="1"/>
                    <a:pt x="109" y="9"/>
                    <a:pt x="84" y="26"/>
                  </a:cubicBezTo>
                  <a:cubicBezTo>
                    <a:pt x="12" y="73"/>
                    <a:pt x="0" y="180"/>
                    <a:pt x="48" y="252"/>
                  </a:cubicBezTo>
                  <a:lnTo>
                    <a:pt x="893" y="1454"/>
                  </a:lnTo>
                  <a:cubicBezTo>
                    <a:pt x="917" y="1502"/>
                    <a:pt x="977" y="1538"/>
                    <a:pt x="1024" y="1538"/>
                  </a:cubicBezTo>
                  <a:cubicBezTo>
                    <a:pt x="1060" y="1538"/>
                    <a:pt x="1084" y="1514"/>
                    <a:pt x="1120" y="1502"/>
                  </a:cubicBezTo>
                  <a:cubicBezTo>
                    <a:pt x="1191" y="1454"/>
                    <a:pt x="1203" y="1359"/>
                    <a:pt x="1155" y="1276"/>
                  </a:cubicBezTo>
                  <a:lnTo>
                    <a:pt x="310" y="73"/>
                  </a:lnTo>
                  <a:cubicBezTo>
                    <a:pt x="279" y="27"/>
                    <a:pt x="224" y="1"/>
                    <a:pt x="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2" name="Google Shape;13102;p63"/>
            <p:cNvSpPr/>
            <p:nvPr/>
          </p:nvSpPr>
          <p:spPr>
            <a:xfrm>
              <a:off x="2993933" y="3576178"/>
              <a:ext cx="17952" cy="18848"/>
            </a:xfrm>
            <a:custGeom>
              <a:avLst/>
              <a:gdLst/>
              <a:ahLst/>
              <a:cxnLst/>
              <a:rect l="l" t="t" r="r" b="b"/>
              <a:pathLst>
                <a:path w="561" h="589" extrusionOk="0">
                  <a:moveTo>
                    <a:pt x="181" y="1"/>
                  </a:moveTo>
                  <a:cubicBezTo>
                    <a:pt x="147" y="1"/>
                    <a:pt x="113" y="10"/>
                    <a:pt x="84" y="29"/>
                  </a:cubicBezTo>
                  <a:cubicBezTo>
                    <a:pt x="13" y="65"/>
                    <a:pt x="1" y="172"/>
                    <a:pt x="36" y="244"/>
                  </a:cubicBezTo>
                  <a:lnTo>
                    <a:pt x="239" y="518"/>
                  </a:lnTo>
                  <a:cubicBezTo>
                    <a:pt x="263" y="565"/>
                    <a:pt x="322" y="589"/>
                    <a:pt x="370" y="589"/>
                  </a:cubicBezTo>
                  <a:cubicBezTo>
                    <a:pt x="394" y="589"/>
                    <a:pt x="429" y="577"/>
                    <a:pt x="453" y="565"/>
                  </a:cubicBezTo>
                  <a:cubicBezTo>
                    <a:pt x="537" y="518"/>
                    <a:pt x="560" y="410"/>
                    <a:pt x="501" y="339"/>
                  </a:cubicBezTo>
                  <a:lnTo>
                    <a:pt x="310" y="65"/>
                  </a:lnTo>
                  <a:cubicBezTo>
                    <a:pt x="282" y="22"/>
                    <a:pt x="232" y="1"/>
                    <a:pt x="1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3" name="Google Shape;13103;p63"/>
            <p:cNvSpPr/>
            <p:nvPr/>
          </p:nvSpPr>
          <p:spPr>
            <a:xfrm>
              <a:off x="2954701" y="3520466"/>
              <a:ext cx="39264" cy="49056"/>
            </a:xfrm>
            <a:custGeom>
              <a:avLst/>
              <a:gdLst/>
              <a:ahLst/>
              <a:cxnLst/>
              <a:rect l="l" t="t" r="r" b="b"/>
              <a:pathLst>
                <a:path w="1227" h="1533" extrusionOk="0">
                  <a:moveTo>
                    <a:pt x="178" y="1"/>
                  </a:moveTo>
                  <a:cubicBezTo>
                    <a:pt x="147" y="1"/>
                    <a:pt x="114" y="7"/>
                    <a:pt x="84" y="20"/>
                  </a:cubicBezTo>
                  <a:cubicBezTo>
                    <a:pt x="12" y="68"/>
                    <a:pt x="0" y="175"/>
                    <a:pt x="48" y="246"/>
                  </a:cubicBezTo>
                  <a:lnTo>
                    <a:pt x="893" y="1449"/>
                  </a:lnTo>
                  <a:cubicBezTo>
                    <a:pt x="929" y="1497"/>
                    <a:pt x="989" y="1532"/>
                    <a:pt x="1024" y="1532"/>
                  </a:cubicBezTo>
                  <a:cubicBezTo>
                    <a:pt x="1060" y="1532"/>
                    <a:pt x="1084" y="1508"/>
                    <a:pt x="1120" y="1497"/>
                  </a:cubicBezTo>
                  <a:cubicBezTo>
                    <a:pt x="1203" y="1437"/>
                    <a:pt x="1227" y="1354"/>
                    <a:pt x="1167" y="1270"/>
                  </a:cubicBezTo>
                  <a:lnTo>
                    <a:pt x="310" y="68"/>
                  </a:lnTo>
                  <a:cubicBezTo>
                    <a:pt x="287" y="22"/>
                    <a:pt x="235"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4" name="Google Shape;13104;p63"/>
          <p:cNvGrpSpPr/>
          <p:nvPr/>
        </p:nvGrpSpPr>
        <p:grpSpPr>
          <a:xfrm>
            <a:off x="2236525" y="3353202"/>
            <a:ext cx="304832" cy="356512"/>
            <a:chOff x="2236525" y="3353202"/>
            <a:chExt cx="304832" cy="356512"/>
          </a:xfrm>
        </p:grpSpPr>
        <p:sp>
          <p:nvSpPr>
            <p:cNvPr id="13105" name="Google Shape;13105;p63"/>
            <p:cNvSpPr/>
            <p:nvPr/>
          </p:nvSpPr>
          <p:spPr>
            <a:xfrm>
              <a:off x="2236525" y="3353202"/>
              <a:ext cx="304832" cy="356512"/>
            </a:xfrm>
            <a:custGeom>
              <a:avLst/>
              <a:gdLst/>
              <a:ahLst/>
              <a:cxnLst/>
              <a:rect l="l" t="t" r="r" b="b"/>
              <a:pathLst>
                <a:path w="9526" h="11141" extrusionOk="0">
                  <a:moveTo>
                    <a:pt x="4239" y="413"/>
                  </a:moveTo>
                  <a:cubicBezTo>
                    <a:pt x="4525" y="616"/>
                    <a:pt x="5120" y="1128"/>
                    <a:pt x="5275" y="1675"/>
                  </a:cubicBezTo>
                  <a:cubicBezTo>
                    <a:pt x="5358" y="1997"/>
                    <a:pt x="5156" y="2342"/>
                    <a:pt x="4989" y="2533"/>
                  </a:cubicBezTo>
                  <a:cubicBezTo>
                    <a:pt x="4894" y="2116"/>
                    <a:pt x="4775" y="1699"/>
                    <a:pt x="4644" y="1282"/>
                  </a:cubicBezTo>
                  <a:cubicBezTo>
                    <a:pt x="4625" y="1209"/>
                    <a:pt x="4564" y="1163"/>
                    <a:pt x="4498" y="1163"/>
                  </a:cubicBezTo>
                  <a:cubicBezTo>
                    <a:pt x="4479" y="1163"/>
                    <a:pt x="4460" y="1167"/>
                    <a:pt x="4441" y="1175"/>
                  </a:cubicBezTo>
                  <a:cubicBezTo>
                    <a:pt x="4346" y="1199"/>
                    <a:pt x="4298" y="1294"/>
                    <a:pt x="4334" y="1378"/>
                  </a:cubicBezTo>
                  <a:cubicBezTo>
                    <a:pt x="4465" y="1782"/>
                    <a:pt x="4572" y="2211"/>
                    <a:pt x="4679" y="2628"/>
                  </a:cubicBezTo>
                  <a:cubicBezTo>
                    <a:pt x="4441" y="2568"/>
                    <a:pt x="4060" y="2366"/>
                    <a:pt x="3977" y="2021"/>
                  </a:cubicBezTo>
                  <a:cubicBezTo>
                    <a:pt x="3822" y="1473"/>
                    <a:pt x="4108" y="735"/>
                    <a:pt x="4239" y="413"/>
                  </a:cubicBezTo>
                  <a:close/>
                  <a:moveTo>
                    <a:pt x="2824" y="3117"/>
                  </a:moveTo>
                  <a:cubicBezTo>
                    <a:pt x="3186" y="3117"/>
                    <a:pt x="3616" y="3172"/>
                    <a:pt x="3929" y="3378"/>
                  </a:cubicBezTo>
                  <a:cubicBezTo>
                    <a:pt x="4203" y="3556"/>
                    <a:pt x="4298" y="3926"/>
                    <a:pt x="4298" y="4164"/>
                  </a:cubicBezTo>
                  <a:cubicBezTo>
                    <a:pt x="3810" y="3747"/>
                    <a:pt x="3382" y="3556"/>
                    <a:pt x="3346" y="3556"/>
                  </a:cubicBezTo>
                  <a:cubicBezTo>
                    <a:pt x="3324" y="3547"/>
                    <a:pt x="3301" y="3543"/>
                    <a:pt x="3279" y="3543"/>
                  </a:cubicBezTo>
                  <a:cubicBezTo>
                    <a:pt x="3218" y="3543"/>
                    <a:pt x="3161" y="3578"/>
                    <a:pt x="3143" y="3640"/>
                  </a:cubicBezTo>
                  <a:cubicBezTo>
                    <a:pt x="3096" y="3723"/>
                    <a:pt x="3143" y="3818"/>
                    <a:pt x="3215" y="3854"/>
                  </a:cubicBezTo>
                  <a:cubicBezTo>
                    <a:pt x="3215" y="3854"/>
                    <a:pt x="3667" y="4045"/>
                    <a:pt x="4144" y="4473"/>
                  </a:cubicBezTo>
                  <a:cubicBezTo>
                    <a:pt x="4011" y="4547"/>
                    <a:pt x="3795" y="4621"/>
                    <a:pt x="3580" y="4621"/>
                  </a:cubicBezTo>
                  <a:cubicBezTo>
                    <a:pt x="3448" y="4621"/>
                    <a:pt x="3316" y="4593"/>
                    <a:pt x="3203" y="4521"/>
                  </a:cubicBezTo>
                  <a:cubicBezTo>
                    <a:pt x="2715" y="4211"/>
                    <a:pt x="2417" y="3497"/>
                    <a:pt x="2310" y="3152"/>
                  </a:cubicBezTo>
                  <a:cubicBezTo>
                    <a:pt x="2438" y="3135"/>
                    <a:pt x="2620" y="3117"/>
                    <a:pt x="2824" y="3117"/>
                  </a:cubicBezTo>
                  <a:close/>
                  <a:moveTo>
                    <a:pt x="7192" y="3818"/>
                  </a:moveTo>
                  <a:cubicBezTo>
                    <a:pt x="7549" y="3818"/>
                    <a:pt x="7894" y="3878"/>
                    <a:pt x="8084" y="3937"/>
                  </a:cubicBezTo>
                  <a:cubicBezTo>
                    <a:pt x="7918" y="4259"/>
                    <a:pt x="7549" y="4938"/>
                    <a:pt x="7025" y="5176"/>
                  </a:cubicBezTo>
                  <a:cubicBezTo>
                    <a:pt x="6928" y="5224"/>
                    <a:pt x="6828" y="5241"/>
                    <a:pt x="6734" y="5241"/>
                  </a:cubicBezTo>
                  <a:cubicBezTo>
                    <a:pt x="6594" y="5241"/>
                    <a:pt x="6467" y="5204"/>
                    <a:pt x="6382" y="5176"/>
                  </a:cubicBezTo>
                  <a:cubicBezTo>
                    <a:pt x="6263" y="5128"/>
                    <a:pt x="6179" y="5092"/>
                    <a:pt x="6120" y="5033"/>
                  </a:cubicBezTo>
                  <a:cubicBezTo>
                    <a:pt x="6179" y="4985"/>
                    <a:pt x="6239" y="4938"/>
                    <a:pt x="6310" y="4890"/>
                  </a:cubicBezTo>
                  <a:cubicBezTo>
                    <a:pt x="6382" y="4854"/>
                    <a:pt x="6418" y="4747"/>
                    <a:pt x="6358" y="4676"/>
                  </a:cubicBezTo>
                  <a:cubicBezTo>
                    <a:pt x="6328" y="4624"/>
                    <a:pt x="6276" y="4595"/>
                    <a:pt x="6223" y="4595"/>
                  </a:cubicBezTo>
                  <a:cubicBezTo>
                    <a:pt x="6191" y="4595"/>
                    <a:pt x="6159" y="4606"/>
                    <a:pt x="6132" y="4628"/>
                  </a:cubicBezTo>
                  <a:cubicBezTo>
                    <a:pt x="6084" y="4652"/>
                    <a:pt x="6049" y="4688"/>
                    <a:pt x="5989" y="4735"/>
                  </a:cubicBezTo>
                  <a:cubicBezTo>
                    <a:pt x="6001" y="4473"/>
                    <a:pt x="6144" y="4104"/>
                    <a:pt x="6441" y="3961"/>
                  </a:cubicBezTo>
                  <a:cubicBezTo>
                    <a:pt x="6668" y="3854"/>
                    <a:pt x="6918" y="3818"/>
                    <a:pt x="7192" y="3818"/>
                  </a:cubicBezTo>
                  <a:close/>
                  <a:moveTo>
                    <a:pt x="2605" y="5627"/>
                  </a:moveTo>
                  <a:cubicBezTo>
                    <a:pt x="2832" y="5627"/>
                    <a:pt x="3055" y="5651"/>
                    <a:pt x="3262" y="5711"/>
                  </a:cubicBezTo>
                  <a:cubicBezTo>
                    <a:pt x="3703" y="5842"/>
                    <a:pt x="3977" y="6235"/>
                    <a:pt x="4096" y="6462"/>
                  </a:cubicBezTo>
                  <a:cubicBezTo>
                    <a:pt x="4203" y="6664"/>
                    <a:pt x="4274" y="6854"/>
                    <a:pt x="4286" y="7021"/>
                  </a:cubicBezTo>
                  <a:cubicBezTo>
                    <a:pt x="4215" y="6974"/>
                    <a:pt x="4155" y="6938"/>
                    <a:pt x="4084" y="6890"/>
                  </a:cubicBezTo>
                  <a:cubicBezTo>
                    <a:pt x="3667" y="6664"/>
                    <a:pt x="3155" y="6485"/>
                    <a:pt x="2548" y="6366"/>
                  </a:cubicBezTo>
                  <a:cubicBezTo>
                    <a:pt x="2540" y="6365"/>
                    <a:pt x="2532" y="6365"/>
                    <a:pt x="2524" y="6365"/>
                  </a:cubicBezTo>
                  <a:cubicBezTo>
                    <a:pt x="2439" y="6365"/>
                    <a:pt x="2368" y="6421"/>
                    <a:pt x="2358" y="6497"/>
                  </a:cubicBezTo>
                  <a:cubicBezTo>
                    <a:pt x="2322" y="6593"/>
                    <a:pt x="2381" y="6676"/>
                    <a:pt x="2477" y="6700"/>
                  </a:cubicBezTo>
                  <a:cubicBezTo>
                    <a:pt x="2977" y="6795"/>
                    <a:pt x="3703" y="6997"/>
                    <a:pt x="4227" y="7378"/>
                  </a:cubicBezTo>
                  <a:cubicBezTo>
                    <a:pt x="4144" y="7509"/>
                    <a:pt x="3941" y="7688"/>
                    <a:pt x="3691" y="7831"/>
                  </a:cubicBezTo>
                  <a:cubicBezTo>
                    <a:pt x="3524" y="7919"/>
                    <a:pt x="3248" y="8039"/>
                    <a:pt x="2938" y="8039"/>
                  </a:cubicBezTo>
                  <a:cubicBezTo>
                    <a:pt x="2827" y="8039"/>
                    <a:pt x="2712" y="8023"/>
                    <a:pt x="2596" y="7986"/>
                  </a:cubicBezTo>
                  <a:cubicBezTo>
                    <a:pt x="1596" y="7688"/>
                    <a:pt x="762" y="6545"/>
                    <a:pt x="476" y="6128"/>
                  </a:cubicBezTo>
                  <a:cubicBezTo>
                    <a:pt x="843" y="5978"/>
                    <a:pt x="1752" y="5627"/>
                    <a:pt x="2605" y="5627"/>
                  </a:cubicBezTo>
                  <a:close/>
                  <a:moveTo>
                    <a:pt x="7656" y="7009"/>
                  </a:moveTo>
                  <a:cubicBezTo>
                    <a:pt x="8251" y="7009"/>
                    <a:pt x="8811" y="7128"/>
                    <a:pt x="9097" y="7200"/>
                  </a:cubicBezTo>
                  <a:cubicBezTo>
                    <a:pt x="8930" y="7616"/>
                    <a:pt x="8323" y="8759"/>
                    <a:pt x="7477" y="9164"/>
                  </a:cubicBezTo>
                  <a:cubicBezTo>
                    <a:pt x="7322" y="9236"/>
                    <a:pt x="7156" y="9271"/>
                    <a:pt x="7001" y="9271"/>
                  </a:cubicBezTo>
                  <a:cubicBezTo>
                    <a:pt x="6537" y="9271"/>
                    <a:pt x="6072" y="9033"/>
                    <a:pt x="5894" y="8843"/>
                  </a:cubicBezTo>
                  <a:cubicBezTo>
                    <a:pt x="6465" y="8462"/>
                    <a:pt x="7239" y="8033"/>
                    <a:pt x="8108" y="7783"/>
                  </a:cubicBezTo>
                  <a:cubicBezTo>
                    <a:pt x="8204" y="7747"/>
                    <a:pt x="8251" y="7664"/>
                    <a:pt x="8215" y="7569"/>
                  </a:cubicBezTo>
                  <a:cubicBezTo>
                    <a:pt x="8197" y="7505"/>
                    <a:pt x="8136" y="7462"/>
                    <a:pt x="8071" y="7462"/>
                  </a:cubicBezTo>
                  <a:cubicBezTo>
                    <a:pt x="8052" y="7462"/>
                    <a:pt x="8032" y="7465"/>
                    <a:pt x="8013" y="7474"/>
                  </a:cubicBezTo>
                  <a:cubicBezTo>
                    <a:pt x="7132" y="7724"/>
                    <a:pt x="6358" y="8140"/>
                    <a:pt x="5775" y="8509"/>
                  </a:cubicBezTo>
                  <a:cubicBezTo>
                    <a:pt x="5787" y="8128"/>
                    <a:pt x="6013" y="7450"/>
                    <a:pt x="6525" y="7212"/>
                  </a:cubicBezTo>
                  <a:cubicBezTo>
                    <a:pt x="6858" y="7057"/>
                    <a:pt x="7263" y="7009"/>
                    <a:pt x="7656" y="7009"/>
                  </a:cubicBezTo>
                  <a:close/>
                  <a:moveTo>
                    <a:pt x="4166" y="1"/>
                  </a:moveTo>
                  <a:cubicBezTo>
                    <a:pt x="4147" y="1"/>
                    <a:pt x="4128" y="3"/>
                    <a:pt x="4108" y="8"/>
                  </a:cubicBezTo>
                  <a:cubicBezTo>
                    <a:pt x="4060" y="20"/>
                    <a:pt x="4036" y="56"/>
                    <a:pt x="4001" y="80"/>
                  </a:cubicBezTo>
                  <a:cubicBezTo>
                    <a:pt x="3977" y="127"/>
                    <a:pt x="3393" y="1247"/>
                    <a:pt x="3620" y="2092"/>
                  </a:cubicBezTo>
                  <a:cubicBezTo>
                    <a:pt x="3751" y="2628"/>
                    <a:pt x="4346" y="2925"/>
                    <a:pt x="4703" y="2961"/>
                  </a:cubicBezTo>
                  <a:cubicBezTo>
                    <a:pt x="4822" y="3592"/>
                    <a:pt x="4917" y="4247"/>
                    <a:pt x="4941" y="4902"/>
                  </a:cubicBezTo>
                  <a:cubicBezTo>
                    <a:pt x="4810" y="4723"/>
                    <a:pt x="4679" y="4568"/>
                    <a:pt x="4536" y="4426"/>
                  </a:cubicBezTo>
                  <a:cubicBezTo>
                    <a:pt x="4644" y="4092"/>
                    <a:pt x="4536" y="3402"/>
                    <a:pt x="4048" y="3092"/>
                  </a:cubicBezTo>
                  <a:cubicBezTo>
                    <a:pt x="3663" y="2851"/>
                    <a:pt x="3161" y="2790"/>
                    <a:pt x="2752" y="2790"/>
                  </a:cubicBezTo>
                  <a:cubicBezTo>
                    <a:pt x="2353" y="2790"/>
                    <a:pt x="2042" y="2848"/>
                    <a:pt x="2012" y="2854"/>
                  </a:cubicBezTo>
                  <a:cubicBezTo>
                    <a:pt x="1965" y="2866"/>
                    <a:pt x="1917" y="2878"/>
                    <a:pt x="1905" y="2925"/>
                  </a:cubicBezTo>
                  <a:cubicBezTo>
                    <a:pt x="1881" y="2973"/>
                    <a:pt x="1881" y="3021"/>
                    <a:pt x="1893" y="3056"/>
                  </a:cubicBezTo>
                  <a:cubicBezTo>
                    <a:pt x="1905" y="3104"/>
                    <a:pt x="2239" y="4307"/>
                    <a:pt x="2989" y="4783"/>
                  </a:cubicBezTo>
                  <a:cubicBezTo>
                    <a:pt x="3167" y="4890"/>
                    <a:pt x="3370" y="4938"/>
                    <a:pt x="3560" y="4938"/>
                  </a:cubicBezTo>
                  <a:cubicBezTo>
                    <a:pt x="3858" y="4938"/>
                    <a:pt x="4155" y="4830"/>
                    <a:pt x="4334" y="4699"/>
                  </a:cubicBezTo>
                  <a:cubicBezTo>
                    <a:pt x="4560" y="4938"/>
                    <a:pt x="4775" y="5235"/>
                    <a:pt x="4953" y="5592"/>
                  </a:cubicBezTo>
                  <a:cubicBezTo>
                    <a:pt x="4977" y="6259"/>
                    <a:pt x="4929" y="6926"/>
                    <a:pt x="4858" y="7605"/>
                  </a:cubicBezTo>
                  <a:cubicBezTo>
                    <a:pt x="4775" y="7486"/>
                    <a:pt x="4679" y="7378"/>
                    <a:pt x="4572" y="7271"/>
                  </a:cubicBezTo>
                  <a:cubicBezTo>
                    <a:pt x="4644" y="6747"/>
                    <a:pt x="4179" y="5664"/>
                    <a:pt x="3310" y="5402"/>
                  </a:cubicBezTo>
                  <a:cubicBezTo>
                    <a:pt x="3067" y="5331"/>
                    <a:pt x="2797" y="5294"/>
                    <a:pt x="2503" y="5294"/>
                  </a:cubicBezTo>
                  <a:cubicBezTo>
                    <a:pt x="2108" y="5294"/>
                    <a:pt x="1669" y="5361"/>
                    <a:pt x="1191" y="5497"/>
                  </a:cubicBezTo>
                  <a:cubicBezTo>
                    <a:pt x="584" y="5676"/>
                    <a:pt x="131" y="5890"/>
                    <a:pt x="107" y="5902"/>
                  </a:cubicBezTo>
                  <a:cubicBezTo>
                    <a:pt x="60" y="5914"/>
                    <a:pt x="36" y="5962"/>
                    <a:pt x="12" y="6009"/>
                  </a:cubicBezTo>
                  <a:cubicBezTo>
                    <a:pt x="0" y="6057"/>
                    <a:pt x="12" y="6092"/>
                    <a:pt x="36" y="6140"/>
                  </a:cubicBezTo>
                  <a:cubicBezTo>
                    <a:pt x="48" y="6152"/>
                    <a:pt x="298" y="6593"/>
                    <a:pt x="715" y="7069"/>
                  </a:cubicBezTo>
                  <a:cubicBezTo>
                    <a:pt x="1286" y="7724"/>
                    <a:pt x="1858" y="8140"/>
                    <a:pt x="2429" y="8295"/>
                  </a:cubicBezTo>
                  <a:cubicBezTo>
                    <a:pt x="2572" y="8343"/>
                    <a:pt x="2715" y="8355"/>
                    <a:pt x="2846" y="8355"/>
                  </a:cubicBezTo>
                  <a:cubicBezTo>
                    <a:pt x="3227" y="8355"/>
                    <a:pt x="3572" y="8212"/>
                    <a:pt x="3763" y="8105"/>
                  </a:cubicBezTo>
                  <a:cubicBezTo>
                    <a:pt x="4036" y="7962"/>
                    <a:pt x="4263" y="7783"/>
                    <a:pt x="4394" y="7581"/>
                  </a:cubicBezTo>
                  <a:cubicBezTo>
                    <a:pt x="4560" y="7759"/>
                    <a:pt x="4691" y="7962"/>
                    <a:pt x="4751" y="8200"/>
                  </a:cubicBezTo>
                  <a:cubicBezTo>
                    <a:pt x="4679" y="8652"/>
                    <a:pt x="4584" y="9093"/>
                    <a:pt x="4501" y="9462"/>
                  </a:cubicBezTo>
                  <a:cubicBezTo>
                    <a:pt x="4334" y="10164"/>
                    <a:pt x="4155" y="10676"/>
                    <a:pt x="4048" y="10915"/>
                  </a:cubicBezTo>
                  <a:cubicBezTo>
                    <a:pt x="4024" y="11010"/>
                    <a:pt x="4048" y="11093"/>
                    <a:pt x="4144" y="11129"/>
                  </a:cubicBezTo>
                  <a:cubicBezTo>
                    <a:pt x="4155" y="11141"/>
                    <a:pt x="4179" y="11141"/>
                    <a:pt x="4203" y="11141"/>
                  </a:cubicBezTo>
                  <a:cubicBezTo>
                    <a:pt x="4263" y="11141"/>
                    <a:pt x="4322" y="11093"/>
                    <a:pt x="4346" y="11034"/>
                  </a:cubicBezTo>
                  <a:cubicBezTo>
                    <a:pt x="4358" y="11010"/>
                    <a:pt x="4572" y="10474"/>
                    <a:pt x="4798" y="9569"/>
                  </a:cubicBezTo>
                  <a:cubicBezTo>
                    <a:pt x="4882" y="9474"/>
                    <a:pt x="5132" y="9248"/>
                    <a:pt x="5525" y="8986"/>
                  </a:cubicBezTo>
                  <a:cubicBezTo>
                    <a:pt x="5763" y="9271"/>
                    <a:pt x="6322" y="9569"/>
                    <a:pt x="6894" y="9569"/>
                  </a:cubicBezTo>
                  <a:cubicBezTo>
                    <a:pt x="7096" y="9569"/>
                    <a:pt x="7311" y="9521"/>
                    <a:pt x="7501" y="9426"/>
                  </a:cubicBezTo>
                  <a:cubicBezTo>
                    <a:pt x="8680" y="8879"/>
                    <a:pt x="9382" y="7188"/>
                    <a:pt x="9406" y="7105"/>
                  </a:cubicBezTo>
                  <a:cubicBezTo>
                    <a:pt x="9525" y="7093"/>
                    <a:pt x="9525" y="7057"/>
                    <a:pt x="9501" y="7009"/>
                  </a:cubicBezTo>
                  <a:cubicBezTo>
                    <a:pt x="9478" y="6962"/>
                    <a:pt x="9442" y="6938"/>
                    <a:pt x="9394" y="6914"/>
                  </a:cubicBezTo>
                  <a:cubicBezTo>
                    <a:pt x="9347" y="6898"/>
                    <a:pt x="8553" y="6656"/>
                    <a:pt x="7680" y="6656"/>
                  </a:cubicBezTo>
                  <a:cubicBezTo>
                    <a:pt x="7239" y="6656"/>
                    <a:pt x="6778" y="6718"/>
                    <a:pt x="6382" y="6902"/>
                  </a:cubicBezTo>
                  <a:cubicBezTo>
                    <a:pt x="5668" y="7247"/>
                    <a:pt x="5370" y="8200"/>
                    <a:pt x="5465" y="8700"/>
                  </a:cubicBezTo>
                  <a:cubicBezTo>
                    <a:pt x="5275" y="8843"/>
                    <a:pt x="5120" y="8962"/>
                    <a:pt x="4989" y="9057"/>
                  </a:cubicBezTo>
                  <a:cubicBezTo>
                    <a:pt x="5048" y="8783"/>
                    <a:pt x="5108" y="8450"/>
                    <a:pt x="5156" y="8105"/>
                  </a:cubicBezTo>
                  <a:cubicBezTo>
                    <a:pt x="5239" y="7486"/>
                    <a:pt x="5298" y="6854"/>
                    <a:pt x="5310" y="6235"/>
                  </a:cubicBezTo>
                  <a:cubicBezTo>
                    <a:pt x="5334" y="6164"/>
                    <a:pt x="5429" y="5700"/>
                    <a:pt x="5846" y="5247"/>
                  </a:cubicBezTo>
                  <a:cubicBezTo>
                    <a:pt x="5953" y="5342"/>
                    <a:pt x="6108" y="5414"/>
                    <a:pt x="6251" y="5473"/>
                  </a:cubicBezTo>
                  <a:cubicBezTo>
                    <a:pt x="6406" y="5533"/>
                    <a:pt x="6560" y="5569"/>
                    <a:pt x="6715" y="5569"/>
                  </a:cubicBezTo>
                  <a:cubicBezTo>
                    <a:pt x="6858" y="5569"/>
                    <a:pt x="7013" y="5533"/>
                    <a:pt x="7144" y="5473"/>
                  </a:cubicBezTo>
                  <a:cubicBezTo>
                    <a:pt x="7954" y="5104"/>
                    <a:pt x="8430" y="3937"/>
                    <a:pt x="8454" y="3902"/>
                  </a:cubicBezTo>
                  <a:cubicBezTo>
                    <a:pt x="8465" y="3854"/>
                    <a:pt x="8465" y="3806"/>
                    <a:pt x="8454" y="3759"/>
                  </a:cubicBezTo>
                  <a:cubicBezTo>
                    <a:pt x="8442" y="3723"/>
                    <a:pt x="8394" y="3687"/>
                    <a:pt x="8346" y="3676"/>
                  </a:cubicBezTo>
                  <a:cubicBezTo>
                    <a:pt x="8322" y="3660"/>
                    <a:pt x="7769" y="3489"/>
                    <a:pt x="7167" y="3489"/>
                  </a:cubicBezTo>
                  <a:cubicBezTo>
                    <a:pt x="6870" y="3489"/>
                    <a:pt x="6562" y="3530"/>
                    <a:pt x="6299" y="3652"/>
                  </a:cubicBezTo>
                  <a:cubicBezTo>
                    <a:pt x="5751" y="3914"/>
                    <a:pt x="5572" y="4640"/>
                    <a:pt x="5656" y="4985"/>
                  </a:cubicBezTo>
                  <a:cubicBezTo>
                    <a:pt x="5525" y="5116"/>
                    <a:pt x="5406" y="5259"/>
                    <a:pt x="5310" y="5402"/>
                  </a:cubicBezTo>
                  <a:cubicBezTo>
                    <a:pt x="5310" y="5259"/>
                    <a:pt x="5298" y="5128"/>
                    <a:pt x="5298" y="4997"/>
                  </a:cubicBezTo>
                  <a:cubicBezTo>
                    <a:pt x="5263" y="4283"/>
                    <a:pt x="5179" y="3568"/>
                    <a:pt x="5048" y="2878"/>
                  </a:cubicBezTo>
                  <a:cubicBezTo>
                    <a:pt x="5358" y="2675"/>
                    <a:pt x="5715" y="2128"/>
                    <a:pt x="5560" y="1592"/>
                  </a:cubicBezTo>
                  <a:cubicBezTo>
                    <a:pt x="5346" y="723"/>
                    <a:pt x="4286" y="56"/>
                    <a:pt x="4239" y="20"/>
                  </a:cubicBezTo>
                  <a:cubicBezTo>
                    <a:pt x="4218" y="6"/>
                    <a:pt x="4193" y="1"/>
                    <a:pt x="4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6" name="Google Shape;13106;p63"/>
            <p:cNvSpPr/>
            <p:nvPr/>
          </p:nvSpPr>
          <p:spPr>
            <a:xfrm>
              <a:off x="2283373" y="3553106"/>
              <a:ext cx="16416" cy="11072"/>
            </a:xfrm>
            <a:custGeom>
              <a:avLst/>
              <a:gdLst/>
              <a:ahLst/>
              <a:cxnLst/>
              <a:rect l="l" t="t" r="r" b="b"/>
              <a:pathLst>
                <a:path w="513" h="346" extrusionOk="0">
                  <a:moveTo>
                    <a:pt x="179" y="0"/>
                  </a:moveTo>
                  <a:cubicBezTo>
                    <a:pt x="84" y="0"/>
                    <a:pt x="13" y="60"/>
                    <a:pt x="1" y="155"/>
                  </a:cubicBezTo>
                  <a:cubicBezTo>
                    <a:pt x="1" y="238"/>
                    <a:pt x="60" y="310"/>
                    <a:pt x="143" y="334"/>
                  </a:cubicBezTo>
                  <a:cubicBezTo>
                    <a:pt x="143" y="334"/>
                    <a:pt x="203" y="334"/>
                    <a:pt x="322" y="346"/>
                  </a:cubicBezTo>
                  <a:lnTo>
                    <a:pt x="334" y="346"/>
                  </a:lnTo>
                  <a:cubicBezTo>
                    <a:pt x="429" y="346"/>
                    <a:pt x="489" y="286"/>
                    <a:pt x="501" y="191"/>
                  </a:cubicBezTo>
                  <a:cubicBezTo>
                    <a:pt x="513" y="107"/>
                    <a:pt x="453" y="36"/>
                    <a:pt x="370" y="12"/>
                  </a:cubicBezTo>
                  <a:cubicBezTo>
                    <a:pt x="251" y="0"/>
                    <a:pt x="191"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7" name="Google Shape;13107;p63"/>
            <p:cNvSpPr/>
            <p:nvPr/>
          </p:nvSpPr>
          <p:spPr>
            <a:xfrm>
              <a:off x="2449485" y="3488658"/>
              <a:ext cx="17184" cy="12288"/>
            </a:xfrm>
            <a:custGeom>
              <a:avLst/>
              <a:gdLst/>
              <a:ahLst/>
              <a:cxnLst/>
              <a:rect l="l" t="t" r="r" b="b"/>
              <a:pathLst>
                <a:path w="537" h="384" extrusionOk="0">
                  <a:moveTo>
                    <a:pt x="348" y="0"/>
                  </a:moveTo>
                  <a:cubicBezTo>
                    <a:pt x="339" y="0"/>
                    <a:pt x="331" y="1"/>
                    <a:pt x="322" y="2"/>
                  </a:cubicBezTo>
                  <a:cubicBezTo>
                    <a:pt x="251" y="26"/>
                    <a:pt x="191" y="50"/>
                    <a:pt x="132" y="62"/>
                  </a:cubicBezTo>
                  <a:cubicBezTo>
                    <a:pt x="48" y="97"/>
                    <a:pt x="1" y="181"/>
                    <a:pt x="25" y="276"/>
                  </a:cubicBezTo>
                  <a:cubicBezTo>
                    <a:pt x="60" y="347"/>
                    <a:pt x="120" y="383"/>
                    <a:pt x="179" y="383"/>
                  </a:cubicBezTo>
                  <a:cubicBezTo>
                    <a:pt x="191" y="383"/>
                    <a:pt x="203" y="383"/>
                    <a:pt x="227" y="359"/>
                  </a:cubicBezTo>
                  <a:cubicBezTo>
                    <a:pt x="286" y="347"/>
                    <a:pt x="346" y="324"/>
                    <a:pt x="406" y="300"/>
                  </a:cubicBezTo>
                  <a:cubicBezTo>
                    <a:pt x="489" y="300"/>
                    <a:pt x="537" y="216"/>
                    <a:pt x="525" y="121"/>
                  </a:cubicBezTo>
                  <a:cubicBezTo>
                    <a:pt x="493" y="46"/>
                    <a:pt x="422" y="0"/>
                    <a:pt x="3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08" name="Google Shape;13108;p63"/>
          <p:cNvGrpSpPr/>
          <p:nvPr/>
        </p:nvGrpSpPr>
        <p:grpSpPr>
          <a:xfrm>
            <a:off x="3910637" y="3352690"/>
            <a:ext cx="256800" cy="357024"/>
            <a:chOff x="3910637" y="3352690"/>
            <a:chExt cx="256800" cy="357024"/>
          </a:xfrm>
        </p:grpSpPr>
        <p:sp>
          <p:nvSpPr>
            <p:cNvPr id="13109" name="Google Shape;13109;p63"/>
            <p:cNvSpPr/>
            <p:nvPr/>
          </p:nvSpPr>
          <p:spPr>
            <a:xfrm>
              <a:off x="3910637" y="3352690"/>
              <a:ext cx="256800" cy="357024"/>
            </a:xfrm>
            <a:custGeom>
              <a:avLst/>
              <a:gdLst/>
              <a:ahLst/>
              <a:cxnLst/>
              <a:rect l="l" t="t" r="r" b="b"/>
              <a:pathLst>
                <a:path w="8025" h="11157" extrusionOk="0">
                  <a:moveTo>
                    <a:pt x="4001" y="310"/>
                  </a:moveTo>
                  <a:cubicBezTo>
                    <a:pt x="4596" y="310"/>
                    <a:pt x="5144" y="608"/>
                    <a:pt x="5477" y="1120"/>
                  </a:cubicBezTo>
                  <a:cubicBezTo>
                    <a:pt x="5501" y="1155"/>
                    <a:pt x="5560" y="1191"/>
                    <a:pt x="5608" y="1191"/>
                  </a:cubicBezTo>
                  <a:lnTo>
                    <a:pt x="5656" y="1191"/>
                  </a:lnTo>
                  <a:cubicBezTo>
                    <a:pt x="6668" y="1191"/>
                    <a:pt x="7501" y="2025"/>
                    <a:pt x="7501" y="3037"/>
                  </a:cubicBezTo>
                  <a:cubicBezTo>
                    <a:pt x="7501" y="3346"/>
                    <a:pt x="7418" y="3656"/>
                    <a:pt x="7263" y="3930"/>
                  </a:cubicBezTo>
                  <a:lnTo>
                    <a:pt x="7215" y="3882"/>
                  </a:lnTo>
                  <a:cubicBezTo>
                    <a:pt x="7186" y="3852"/>
                    <a:pt x="7144" y="3837"/>
                    <a:pt x="7101" y="3837"/>
                  </a:cubicBezTo>
                  <a:cubicBezTo>
                    <a:pt x="7058" y="3837"/>
                    <a:pt x="7013" y="3852"/>
                    <a:pt x="6977" y="3882"/>
                  </a:cubicBezTo>
                  <a:cubicBezTo>
                    <a:pt x="6918" y="3942"/>
                    <a:pt x="6918" y="4049"/>
                    <a:pt x="6977" y="4120"/>
                  </a:cubicBezTo>
                  <a:cubicBezTo>
                    <a:pt x="7418" y="4549"/>
                    <a:pt x="7656" y="5132"/>
                    <a:pt x="7656" y="5763"/>
                  </a:cubicBezTo>
                  <a:cubicBezTo>
                    <a:pt x="7692" y="7025"/>
                    <a:pt x="6668" y="8049"/>
                    <a:pt x="5418" y="8049"/>
                  </a:cubicBezTo>
                  <a:cubicBezTo>
                    <a:pt x="5179" y="8049"/>
                    <a:pt x="4953" y="8025"/>
                    <a:pt x="4727" y="7942"/>
                  </a:cubicBezTo>
                  <a:lnTo>
                    <a:pt x="4715" y="7513"/>
                  </a:lnTo>
                  <a:cubicBezTo>
                    <a:pt x="4763" y="7490"/>
                    <a:pt x="4810" y="7442"/>
                    <a:pt x="4834" y="7394"/>
                  </a:cubicBezTo>
                  <a:cubicBezTo>
                    <a:pt x="4894" y="7335"/>
                    <a:pt x="4894" y="7228"/>
                    <a:pt x="4834" y="7156"/>
                  </a:cubicBezTo>
                  <a:cubicBezTo>
                    <a:pt x="4804" y="7126"/>
                    <a:pt x="4763" y="7112"/>
                    <a:pt x="4720" y="7112"/>
                  </a:cubicBezTo>
                  <a:cubicBezTo>
                    <a:pt x="4676" y="7112"/>
                    <a:pt x="4632" y="7126"/>
                    <a:pt x="4596" y="7156"/>
                  </a:cubicBezTo>
                  <a:cubicBezTo>
                    <a:pt x="4382" y="7371"/>
                    <a:pt x="4120" y="7466"/>
                    <a:pt x="3834" y="7466"/>
                  </a:cubicBezTo>
                  <a:cubicBezTo>
                    <a:pt x="3667" y="7466"/>
                    <a:pt x="3524" y="7442"/>
                    <a:pt x="3370" y="7371"/>
                  </a:cubicBezTo>
                  <a:cubicBezTo>
                    <a:pt x="3350" y="7357"/>
                    <a:pt x="3327" y="7351"/>
                    <a:pt x="3304" y="7351"/>
                  </a:cubicBezTo>
                  <a:cubicBezTo>
                    <a:pt x="3244" y="7351"/>
                    <a:pt x="3181" y="7390"/>
                    <a:pt x="3155" y="7442"/>
                  </a:cubicBezTo>
                  <a:cubicBezTo>
                    <a:pt x="3108" y="7513"/>
                    <a:pt x="3155" y="7621"/>
                    <a:pt x="3227" y="7668"/>
                  </a:cubicBezTo>
                  <a:cubicBezTo>
                    <a:pt x="3358" y="7728"/>
                    <a:pt x="3489" y="7763"/>
                    <a:pt x="3644" y="7787"/>
                  </a:cubicBezTo>
                  <a:lnTo>
                    <a:pt x="3608" y="8347"/>
                  </a:lnTo>
                  <a:cubicBezTo>
                    <a:pt x="3513" y="8359"/>
                    <a:pt x="3405" y="8359"/>
                    <a:pt x="3298" y="8359"/>
                  </a:cubicBezTo>
                  <a:cubicBezTo>
                    <a:pt x="2036" y="8359"/>
                    <a:pt x="1024" y="7335"/>
                    <a:pt x="1024" y="6085"/>
                  </a:cubicBezTo>
                  <a:cubicBezTo>
                    <a:pt x="1024" y="6013"/>
                    <a:pt x="1024" y="5942"/>
                    <a:pt x="1036" y="5858"/>
                  </a:cubicBezTo>
                  <a:cubicBezTo>
                    <a:pt x="1036" y="5823"/>
                    <a:pt x="1024" y="5775"/>
                    <a:pt x="988" y="5739"/>
                  </a:cubicBezTo>
                  <a:cubicBezTo>
                    <a:pt x="560" y="5251"/>
                    <a:pt x="322" y="4644"/>
                    <a:pt x="322" y="3989"/>
                  </a:cubicBezTo>
                  <a:cubicBezTo>
                    <a:pt x="322" y="2906"/>
                    <a:pt x="988" y="1929"/>
                    <a:pt x="1989" y="1548"/>
                  </a:cubicBezTo>
                  <a:lnTo>
                    <a:pt x="1989" y="1548"/>
                  </a:lnTo>
                  <a:cubicBezTo>
                    <a:pt x="1965" y="1656"/>
                    <a:pt x="1941" y="1775"/>
                    <a:pt x="1929" y="1870"/>
                  </a:cubicBezTo>
                  <a:cubicBezTo>
                    <a:pt x="1917" y="1965"/>
                    <a:pt x="1989" y="2037"/>
                    <a:pt x="2084" y="2048"/>
                  </a:cubicBezTo>
                  <a:lnTo>
                    <a:pt x="2096" y="2048"/>
                  </a:lnTo>
                  <a:cubicBezTo>
                    <a:pt x="2179" y="2048"/>
                    <a:pt x="2239" y="1989"/>
                    <a:pt x="2262" y="1906"/>
                  </a:cubicBezTo>
                  <a:cubicBezTo>
                    <a:pt x="2274" y="1715"/>
                    <a:pt x="2322" y="1536"/>
                    <a:pt x="2393" y="1370"/>
                  </a:cubicBezTo>
                  <a:lnTo>
                    <a:pt x="2393" y="1358"/>
                  </a:lnTo>
                  <a:cubicBezTo>
                    <a:pt x="2679" y="715"/>
                    <a:pt x="3298" y="310"/>
                    <a:pt x="4001" y="310"/>
                  </a:cubicBezTo>
                  <a:close/>
                  <a:moveTo>
                    <a:pt x="4394" y="7704"/>
                  </a:moveTo>
                  <a:lnTo>
                    <a:pt x="4536" y="10847"/>
                  </a:lnTo>
                  <a:lnTo>
                    <a:pt x="3834" y="10847"/>
                  </a:lnTo>
                  <a:lnTo>
                    <a:pt x="3989" y="7811"/>
                  </a:lnTo>
                  <a:cubicBezTo>
                    <a:pt x="4120" y="7799"/>
                    <a:pt x="4251" y="7763"/>
                    <a:pt x="4394" y="7704"/>
                  </a:cubicBezTo>
                  <a:close/>
                  <a:moveTo>
                    <a:pt x="4013" y="1"/>
                  </a:moveTo>
                  <a:cubicBezTo>
                    <a:pt x="3215" y="1"/>
                    <a:pt x="2501" y="465"/>
                    <a:pt x="2143" y="1155"/>
                  </a:cubicBezTo>
                  <a:cubicBezTo>
                    <a:pt x="881" y="1536"/>
                    <a:pt x="0" y="2679"/>
                    <a:pt x="0" y="4001"/>
                  </a:cubicBezTo>
                  <a:cubicBezTo>
                    <a:pt x="0" y="4704"/>
                    <a:pt x="250" y="5382"/>
                    <a:pt x="703" y="5918"/>
                  </a:cubicBezTo>
                  <a:lnTo>
                    <a:pt x="703" y="6097"/>
                  </a:lnTo>
                  <a:cubicBezTo>
                    <a:pt x="703" y="7549"/>
                    <a:pt x="1869" y="8704"/>
                    <a:pt x="3298" y="8704"/>
                  </a:cubicBezTo>
                  <a:cubicBezTo>
                    <a:pt x="3405" y="8704"/>
                    <a:pt x="3501" y="8704"/>
                    <a:pt x="3596" y="8692"/>
                  </a:cubicBezTo>
                  <a:lnTo>
                    <a:pt x="3596" y="8692"/>
                  </a:lnTo>
                  <a:lnTo>
                    <a:pt x="3501" y="10835"/>
                  </a:lnTo>
                  <a:lnTo>
                    <a:pt x="3298" y="10835"/>
                  </a:lnTo>
                  <a:cubicBezTo>
                    <a:pt x="3215" y="10835"/>
                    <a:pt x="3143" y="10907"/>
                    <a:pt x="3143" y="11002"/>
                  </a:cubicBezTo>
                  <a:cubicBezTo>
                    <a:pt x="3143" y="11085"/>
                    <a:pt x="3215" y="11157"/>
                    <a:pt x="3298" y="11157"/>
                  </a:cubicBezTo>
                  <a:lnTo>
                    <a:pt x="5048" y="11157"/>
                  </a:lnTo>
                  <a:cubicBezTo>
                    <a:pt x="5132" y="11157"/>
                    <a:pt x="5203" y="11085"/>
                    <a:pt x="5203" y="11002"/>
                  </a:cubicBezTo>
                  <a:cubicBezTo>
                    <a:pt x="5203" y="10907"/>
                    <a:pt x="5132" y="10835"/>
                    <a:pt x="5048" y="10835"/>
                  </a:cubicBezTo>
                  <a:lnTo>
                    <a:pt x="4846" y="10835"/>
                  </a:lnTo>
                  <a:lnTo>
                    <a:pt x="4715" y="8275"/>
                  </a:lnTo>
                  <a:lnTo>
                    <a:pt x="4715" y="8275"/>
                  </a:lnTo>
                  <a:cubicBezTo>
                    <a:pt x="4941" y="8335"/>
                    <a:pt x="5168" y="8359"/>
                    <a:pt x="5382" y="8359"/>
                  </a:cubicBezTo>
                  <a:cubicBezTo>
                    <a:pt x="6834" y="8359"/>
                    <a:pt x="7989" y="7192"/>
                    <a:pt x="7989" y="5763"/>
                  </a:cubicBezTo>
                  <a:cubicBezTo>
                    <a:pt x="8025" y="5204"/>
                    <a:pt x="7846" y="4656"/>
                    <a:pt x="7513" y="4215"/>
                  </a:cubicBezTo>
                  <a:cubicBezTo>
                    <a:pt x="7739" y="3870"/>
                    <a:pt x="7858" y="3465"/>
                    <a:pt x="7858" y="3049"/>
                  </a:cubicBezTo>
                  <a:cubicBezTo>
                    <a:pt x="7858" y="1858"/>
                    <a:pt x="6906" y="894"/>
                    <a:pt x="5715" y="882"/>
                  </a:cubicBezTo>
                  <a:cubicBezTo>
                    <a:pt x="5322" y="322"/>
                    <a:pt x="4691" y="1"/>
                    <a:pt x="4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0" name="Google Shape;13110;p63"/>
            <p:cNvSpPr/>
            <p:nvPr/>
          </p:nvSpPr>
          <p:spPr>
            <a:xfrm>
              <a:off x="3960909" y="3498226"/>
              <a:ext cx="60992" cy="60992"/>
            </a:xfrm>
            <a:custGeom>
              <a:avLst/>
              <a:gdLst/>
              <a:ahLst/>
              <a:cxnLst/>
              <a:rect l="l" t="t" r="r" b="b"/>
              <a:pathLst>
                <a:path w="1906" h="1906" extrusionOk="0">
                  <a:moveTo>
                    <a:pt x="168" y="1"/>
                  </a:moveTo>
                  <a:cubicBezTo>
                    <a:pt x="84" y="1"/>
                    <a:pt x="1" y="84"/>
                    <a:pt x="1" y="167"/>
                  </a:cubicBezTo>
                  <a:cubicBezTo>
                    <a:pt x="1" y="1120"/>
                    <a:pt x="775" y="1906"/>
                    <a:pt x="1751" y="1906"/>
                  </a:cubicBezTo>
                  <a:cubicBezTo>
                    <a:pt x="1834" y="1906"/>
                    <a:pt x="1906" y="1834"/>
                    <a:pt x="1906" y="1751"/>
                  </a:cubicBezTo>
                  <a:cubicBezTo>
                    <a:pt x="1906" y="1656"/>
                    <a:pt x="1834" y="1584"/>
                    <a:pt x="1751" y="1584"/>
                  </a:cubicBezTo>
                  <a:cubicBezTo>
                    <a:pt x="977" y="1584"/>
                    <a:pt x="334" y="953"/>
                    <a:pt x="334" y="167"/>
                  </a:cubicBez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1" name="Google Shape;13111;p63"/>
            <p:cNvSpPr/>
            <p:nvPr/>
          </p:nvSpPr>
          <p:spPr>
            <a:xfrm>
              <a:off x="4083981" y="3408690"/>
              <a:ext cx="44224" cy="43872"/>
            </a:xfrm>
            <a:custGeom>
              <a:avLst/>
              <a:gdLst/>
              <a:ahLst/>
              <a:cxnLst/>
              <a:rect l="l" t="t" r="r" b="b"/>
              <a:pathLst>
                <a:path w="1382" h="1371" extrusionOk="0">
                  <a:moveTo>
                    <a:pt x="167" y="1"/>
                  </a:moveTo>
                  <a:cubicBezTo>
                    <a:pt x="72" y="1"/>
                    <a:pt x="1" y="84"/>
                    <a:pt x="1" y="167"/>
                  </a:cubicBezTo>
                  <a:cubicBezTo>
                    <a:pt x="1" y="263"/>
                    <a:pt x="72" y="334"/>
                    <a:pt x="167" y="334"/>
                  </a:cubicBezTo>
                  <a:cubicBezTo>
                    <a:pt x="655" y="334"/>
                    <a:pt x="1036" y="739"/>
                    <a:pt x="1036" y="1215"/>
                  </a:cubicBezTo>
                  <a:cubicBezTo>
                    <a:pt x="1036" y="1299"/>
                    <a:pt x="1120" y="1370"/>
                    <a:pt x="1203" y="1370"/>
                  </a:cubicBezTo>
                  <a:cubicBezTo>
                    <a:pt x="1298" y="1370"/>
                    <a:pt x="1370" y="1299"/>
                    <a:pt x="1370" y="1215"/>
                  </a:cubicBezTo>
                  <a:cubicBezTo>
                    <a:pt x="1382" y="560"/>
                    <a:pt x="83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2" name="Google Shape;13112;p63"/>
          <p:cNvGrpSpPr/>
          <p:nvPr/>
        </p:nvGrpSpPr>
        <p:grpSpPr>
          <a:xfrm>
            <a:off x="6056429" y="3351922"/>
            <a:ext cx="360064" cy="360096"/>
            <a:chOff x="6056429" y="3351922"/>
            <a:chExt cx="360064" cy="360096"/>
          </a:xfrm>
        </p:grpSpPr>
        <p:sp>
          <p:nvSpPr>
            <p:cNvPr id="13113" name="Google Shape;13113;p63"/>
            <p:cNvSpPr/>
            <p:nvPr/>
          </p:nvSpPr>
          <p:spPr>
            <a:xfrm>
              <a:off x="6056429" y="3351922"/>
              <a:ext cx="360064" cy="360096"/>
            </a:xfrm>
            <a:custGeom>
              <a:avLst/>
              <a:gdLst/>
              <a:ahLst/>
              <a:cxnLst/>
              <a:rect l="l" t="t" r="r" b="b"/>
              <a:pathLst>
                <a:path w="11252" h="11253" extrusionOk="0">
                  <a:moveTo>
                    <a:pt x="5501" y="3394"/>
                  </a:moveTo>
                  <a:lnTo>
                    <a:pt x="5501" y="5216"/>
                  </a:lnTo>
                  <a:lnTo>
                    <a:pt x="4215" y="3942"/>
                  </a:lnTo>
                  <a:lnTo>
                    <a:pt x="5501" y="3394"/>
                  </a:lnTo>
                  <a:close/>
                  <a:moveTo>
                    <a:pt x="3989" y="4180"/>
                  </a:moveTo>
                  <a:lnTo>
                    <a:pt x="5275" y="5454"/>
                  </a:lnTo>
                  <a:lnTo>
                    <a:pt x="3453" y="5454"/>
                  </a:lnTo>
                  <a:lnTo>
                    <a:pt x="3989" y="4180"/>
                  </a:lnTo>
                  <a:close/>
                  <a:moveTo>
                    <a:pt x="7346" y="4180"/>
                  </a:moveTo>
                  <a:lnTo>
                    <a:pt x="7882" y="5454"/>
                  </a:lnTo>
                  <a:lnTo>
                    <a:pt x="6060" y="5454"/>
                  </a:lnTo>
                  <a:lnTo>
                    <a:pt x="7346" y="4180"/>
                  </a:lnTo>
                  <a:close/>
                  <a:moveTo>
                    <a:pt x="5263" y="5787"/>
                  </a:moveTo>
                  <a:lnTo>
                    <a:pt x="3989" y="7061"/>
                  </a:lnTo>
                  <a:lnTo>
                    <a:pt x="3453" y="5787"/>
                  </a:lnTo>
                  <a:close/>
                  <a:moveTo>
                    <a:pt x="7858" y="5787"/>
                  </a:moveTo>
                  <a:lnTo>
                    <a:pt x="7346" y="7061"/>
                  </a:lnTo>
                  <a:lnTo>
                    <a:pt x="6060" y="5787"/>
                  </a:lnTo>
                  <a:close/>
                  <a:moveTo>
                    <a:pt x="5822" y="6025"/>
                  </a:moveTo>
                  <a:lnTo>
                    <a:pt x="7096" y="7299"/>
                  </a:lnTo>
                  <a:lnTo>
                    <a:pt x="5822" y="7823"/>
                  </a:lnTo>
                  <a:lnTo>
                    <a:pt x="5822" y="6025"/>
                  </a:lnTo>
                  <a:close/>
                  <a:moveTo>
                    <a:pt x="5632" y="1"/>
                  </a:moveTo>
                  <a:cubicBezTo>
                    <a:pt x="5537" y="1"/>
                    <a:pt x="5465" y="84"/>
                    <a:pt x="5465" y="167"/>
                  </a:cubicBezTo>
                  <a:lnTo>
                    <a:pt x="5465" y="1703"/>
                  </a:lnTo>
                  <a:lnTo>
                    <a:pt x="4525" y="763"/>
                  </a:lnTo>
                  <a:cubicBezTo>
                    <a:pt x="4495" y="733"/>
                    <a:pt x="4456" y="718"/>
                    <a:pt x="4414" y="718"/>
                  </a:cubicBezTo>
                  <a:cubicBezTo>
                    <a:pt x="4373" y="718"/>
                    <a:pt x="4328" y="733"/>
                    <a:pt x="4286" y="763"/>
                  </a:cubicBezTo>
                  <a:cubicBezTo>
                    <a:pt x="4227" y="822"/>
                    <a:pt x="4227" y="929"/>
                    <a:pt x="4286" y="1001"/>
                  </a:cubicBezTo>
                  <a:lnTo>
                    <a:pt x="5465" y="2180"/>
                  </a:lnTo>
                  <a:lnTo>
                    <a:pt x="5465" y="3061"/>
                  </a:lnTo>
                  <a:lnTo>
                    <a:pt x="3929" y="3692"/>
                  </a:lnTo>
                  <a:lnTo>
                    <a:pt x="3322" y="3084"/>
                  </a:lnTo>
                  <a:lnTo>
                    <a:pt x="3322" y="1418"/>
                  </a:lnTo>
                  <a:cubicBezTo>
                    <a:pt x="3322" y="1334"/>
                    <a:pt x="3251" y="1251"/>
                    <a:pt x="3155" y="1251"/>
                  </a:cubicBezTo>
                  <a:cubicBezTo>
                    <a:pt x="3072" y="1251"/>
                    <a:pt x="3001" y="1334"/>
                    <a:pt x="3001" y="1418"/>
                  </a:cubicBezTo>
                  <a:lnTo>
                    <a:pt x="3001" y="2763"/>
                  </a:lnTo>
                  <a:lnTo>
                    <a:pt x="1905" y="1668"/>
                  </a:lnTo>
                  <a:cubicBezTo>
                    <a:pt x="1875" y="1638"/>
                    <a:pt x="1837" y="1623"/>
                    <a:pt x="1795" y="1623"/>
                  </a:cubicBezTo>
                  <a:cubicBezTo>
                    <a:pt x="1753" y="1623"/>
                    <a:pt x="1709" y="1638"/>
                    <a:pt x="1667" y="1668"/>
                  </a:cubicBezTo>
                  <a:cubicBezTo>
                    <a:pt x="1608" y="1727"/>
                    <a:pt x="1608" y="1834"/>
                    <a:pt x="1667" y="1906"/>
                  </a:cubicBezTo>
                  <a:lnTo>
                    <a:pt x="2762" y="3001"/>
                  </a:lnTo>
                  <a:lnTo>
                    <a:pt x="1417" y="3001"/>
                  </a:lnTo>
                  <a:cubicBezTo>
                    <a:pt x="1334" y="3001"/>
                    <a:pt x="1250" y="3073"/>
                    <a:pt x="1250" y="3156"/>
                  </a:cubicBezTo>
                  <a:cubicBezTo>
                    <a:pt x="1250" y="3251"/>
                    <a:pt x="1334" y="3323"/>
                    <a:pt x="1417" y="3323"/>
                  </a:cubicBezTo>
                  <a:lnTo>
                    <a:pt x="3084" y="3323"/>
                  </a:lnTo>
                  <a:lnTo>
                    <a:pt x="3691" y="3930"/>
                  </a:lnTo>
                  <a:lnTo>
                    <a:pt x="3060" y="5466"/>
                  </a:lnTo>
                  <a:lnTo>
                    <a:pt x="2179" y="5466"/>
                  </a:lnTo>
                  <a:lnTo>
                    <a:pt x="1000" y="4287"/>
                  </a:lnTo>
                  <a:cubicBezTo>
                    <a:pt x="971" y="4257"/>
                    <a:pt x="929" y="4242"/>
                    <a:pt x="886" y="4242"/>
                  </a:cubicBezTo>
                  <a:cubicBezTo>
                    <a:pt x="843" y="4242"/>
                    <a:pt x="798" y="4257"/>
                    <a:pt x="762" y="4287"/>
                  </a:cubicBezTo>
                  <a:cubicBezTo>
                    <a:pt x="703" y="4347"/>
                    <a:pt x="703" y="4454"/>
                    <a:pt x="762" y="4525"/>
                  </a:cubicBezTo>
                  <a:lnTo>
                    <a:pt x="1703" y="5466"/>
                  </a:lnTo>
                  <a:lnTo>
                    <a:pt x="167" y="5466"/>
                  </a:lnTo>
                  <a:cubicBezTo>
                    <a:pt x="84" y="5466"/>
                    <a:pt x="0" y="5537"/>
                    <a:pt x="0" y="5632"/>
                  </a:cubicBezTo>
                  <a:cubicBezTo>
                    <a:pt x="0" y="5716"/>
                    <a:pt x="84" y="5799"/>
                    <a:pt x="167" y="5799"/>
                  </a:cubicBezTo>
                  <a:lnTo>
                    <a:pt x="1703" y="5799"/>
                  </a:lnTo>
                  <a:lnTo>
                    <a:pt x="762" y="6728"/>
                  </a:lnTo>
                  <a:cubicBezTo>
                    <a:pt x="703" y="6787"/>
                    <a:pt x="703" y="6894"/>
                    <a:pt x="762" y="6966"/>
                  </a:cubicBezTo>
                  <a:cubicBezTo>
                    <a:pt x="798" y="7002"/>
                    <a:pt x="834" y="7014"/>
                    <a:pt x="881" y="7014"/>
                  </a:cubicBezTo>
                  <a:cubicBezTo>
                    <a:pt x="929" y="7014"/>
                    <a:pt x="977" y="7002"/>
                    <a:pt x="1000" y="6966"/>
                  </a:cubicBezTo>
                  <a:lnTo>
                    <a:pt x="2179" y="5799"/>
                  </a:lnTo>
                  <a:lnTo>
                    <a:pt x="3060" y="5799"/>
                  </a:lnTo>
                  <a:lnTo>
                    <a:pt x="3691" y="7323"/>
                  </a:lnTo>
                  <a:lnTo>
                    <a:pt x="3084" y="7942"/>
                  </a:lnTo>
                  <a:lnTo>
                    <a:pt x="1417" y="7942"/>
                  </a:lnTo>
                  <a:cubicBezTo>
                    <a:pt x="1334" y="7942"/>
                    <a:pt x="1250" y="8014"/>
                    <a:pt x="1250" y="8097"/>
                  </a:cubicBezTo>
                  <a:cubicBezTo>
                    <a:pt x="1250" y="8192"/>
                    <a:pt x="1334" y="8264"/>
                    <a:pt x="1417" y="8264"/>
                  </a:cubicBezTo>
                  <a:lnTo>
                    <a:pt x="2762" y="8264"/>
                  </a:lnTo>
                  <a:lnTo>
                    <a:pt x="1667" y="9347"/>
                  </a:lnTo>
                  <a:cubicBezTo>
                    <a:pt x="1608" y="9407"/>
                    <a:pt x="1608" y="9514"/>
                    <a:pt x="1667" y="9585"/>
                  </a:cubicBezTo>
                  <a:cubicBezTo>
                    <a:pt x="1703" y="9621"/>
                    <a:pt x="1750" y="9633"/>
                    <a:pt x="1786" y="9633"/>
                  </a:cubicBezTo>
                  <a:cubicBezTo>
                    <a:pt x="1834" y="9633"/>
                    <a:pt x="1881" y="9621"/>
                    <a:pt x="1905" y="9585"/>
                  </a:cubicBezTo>
                  <a:lnTo>
                    <a:pt x="3001" y="8502"/>
                  </a:lnTo>
                  <a:lnTo>
                    <a:pt x="3001" y="8788"/>
                  </a:lnTo>
                  <a:cubicBezTo>
                    <a:pt x="3001" y="8871"/>
                    <a:pt x="3072" y="8954"/>
                    <a:pt x="3155" y="8954"/>
                  </a:cubicBezTo>
                  <a:cubicBezTo>
                    <a:pt x="3251" y="8954"/>
                    <a:pt x="3322" y="8871"/>
                    <a:pt x="3322" y="8788"/>
                  </a:cubicBezTo>
                  <a:lnTo>
                    <a:pt x="3322" y="8180"/>
                  </a:lnTo>
                  <a:lnTo>
                    <a:pt x="3929" y="7561"/>
                  </a:lnTo>
                  <a:lnTo>
                    <a:pt x="4394" y="7764"/>
                  </a:lnTo>
                  <a:cubicBezTo>
                    <a:pt x="4406" y="7776"/>
                    <a:pt x="4441" y="7776"/>
                    <a:pt x="4453" y="7776"/>
                  </a:cubicBezTo>
                  <a:cubicBezTo>
                    <a:pt x="4513" y="7776"/>
                    <a:pt x="4572" y="7728"/>
                    <a:pt x="4608" y="7668"/>
                  </a:cubicBezTo>
                  <a:cubicBezTo>
                    <a:pt x="4632" y="7585"/>
                    <a:pt x="4608" y="7490"/>
                    <a:pt x="4513" y="7466"/>
                  </a:cubicBezTo>
                  <a:lnTo>
                    <a:pt x="4191" y="7323"/>
                  </a:lnTo>
                  <a:lnTo>
                    <a:pt x="5465" y="6049"/>
                  </a:lnTo>
                  <a:lnTo>
                    <a:pt x="5465" y="7847"/>
                  </a:lnTo>
                  <a:lnTo>
                    <a:pt x="5168" y="7728"/>
                  </a:lnTo>
                  <a:cubicBezTo>
                    <a:pt x="5148" y="7722"/>
                    <a:pt x="5127" y="7719"/>
                    <a:pt x="5108" y="7719"/>
                  </a:cubicBezTo>
                  <a:cubicBezTo>
                    <a:pt x="5043" y="7719"/>
                    <a:pt x="4983" y="7750"/>
                    <a:pt x="4965" y="7823"/>
                  </a:cubicBezTo>
                  <a:cubicBezTo>
                    <a:pt x="4929" y="7907"/>
                    <a:pt x="4965" y="8002"/>
                    <a:pt x="5048" y="8026"/>
                  </a:cubicBezTo>
                  <a:lnTo>
                    <a:pt x="5465" y="8204"/>
                  </a:lnTo>
                  <a:lnTo>
                    <a:pt x="5465" y="9085"/>
                  </a:lnTo>
                  <a:lnTo>
                    <a:pt x="4286" y="10264"/>
                  </a:lnTo>
                  <a:cubicBezTo>
                    <a:pt x="4227" y="10323"/>
                    <a:pt x="4227" y="10419"/>
                    <a:pt x="4286" y="10502"/>
                  </a:cubicBezTo>
                  <a:cubicBezTo>
                    <a:pt x="4316" y="10532"/>
                    <a:pt x="4358" y="10547"/>
                    <a:pt x="4401" y="10547"/>
                  </a:cubicBezTo>
                  <a:cubicBezTo>
                    <a:pt x="4444" y="10547"/>
                    <a:pt x="4489" y="10532"/>
                    <a:pt x="4525" y="10502"/>
                  </a:cubicBezTo>
                  <a:lnTo>
                    <a:pt x="5465" y="9561"/>
                  </a:lnTo>
                  <a:lnTo>
                    <a:pt x="5465" y="11097"/>
                  </a:lnTo>
                  <a:cubicBezTo>
                    <a:pt x="5465" y="11181"/>
                    <a:pt x="5537" y="11252"/>
                    <a:pt x="5632" y="11252"/>
                  </a:cubicBezTo>
                  <a:cubicBezTo>
                    <a:pt x="5715" y="11252"/>
                    <a:pt x="5799" y="11181"/>
                    <a:pt x="5799" y="11097"/>
                  </a:cubicBezTo>
                  <a:lnTo>
                    <a:pt x="5799" y="9561"/>
                  </a:lnTo>
                  <a:lnTo>
                    <a:pt x="6727" y="10502"/>
                  </a:lnTo>
                  <a:cubicBezTo>
                    <a:pt x="6763" y="10526"/>
                    <a:pt x="6811" y="10538"/>
                    <a:pt x="6846" y="10538"/>
                  </a:cubicBezTo>
                  <a:cubicBezTo>
                    <a:pt x="6894" y="10538"/>
                    <a:pt x="6942" y="10526"/>
                    <a:pt x="6965" y="10502"/>
                  </a:cubicBezTo>
                  <a:cubicBezTo>
                    <a:pt x="7025" y="10443"/>
                    <a:pt x="7025" y="10335"/>
                    <a:pt x="6965" y="10264"/>
                  </a:cubicBezTo>
                  <a:lnTo>
                    <a:pt x="5799" y="9085"/>
                  </a:lnTo>
                  <a:lnTo>
                    <a:pt x="5799" y="8204"/>
                  </a:lnTo>
                  <a:lnTo>
                    <a:pt x="7323" y="7561"/>
                  </a:lnTo>
                  <a:lnTo>
                    <a:pt x="7942" y="8180"/>
                  </a:lnTo>
                  <a:lnTo>
                    <a:pt x="7942" y="9847"/>
                  </a:lnTo>
                  <a:cubicBezTo>
                    <a:pt x="7942" y="9931"/>
                    <a:pt x="8013" y="10014"/>
                    <a:pt x="8096" y="10014"/>
                  </a:cubicBezTo>
                  <a:cubicBezTo>
                    <a:pt x="8192" y="10014"/>
                    <a:pt x="8263" y="9931"/>
                    <a:pt x="8263" y="9847"/>
                  </a:cubicBezTo>
                  <a:lnTo>
                    <a:pt x="8263" y="8502"/>
                  </a:lnTo>
                  <a:lnTo>
                    <a:pt x="9347" y="9597"/>
                  </a:lnTo>
                  <a:cubicBezTo>
                    <a:pt x="9382" y="9621"/>
                    <a:pt x="9430" y="9633"/>
                    <a:pt x="9466" y="9633"/>
                  </a:cubicBezTo>
                  <a:cubicBezTo>
                    <a:pt x="9513" y="9633"/>
                    <a:pt x="9561" y="9621"/>
                    <a:pt x="9585" y="9597"/>
                  </a:cubicBezTo>
                  <a:cubicBezTo>
                    <a:pt x="9644" y="9538"/>
                    <a:pt x="9644" y="9431"/>
                    <a:pt x="9585" y="9347"/>
                  </a:cubicBezTo>
                  <a:lnTo>
                    <a:pt x="8501" y="8264"/>
                  </a:lnTo>
                  <a:lnTo>
                    <a:pt x="9847" y="8264"/>
                  </a:lnTo>
                  <a:cubicBezTo>
                    <a:pt x="9930" y="8264"/>
                    <a:pt x="10001" y="8192"/>
                    <a:pt x="10001" y="8109"/>
                  </a:cubicBezTo>
                  <a:cubicBezTo>
                    <a:pt x="10001" y="8014"/>
                    <a:pt x="9930" y="7942"/>
                    <a:pt x="9847" y="7942"/>
                  </a:cubicBezTo>
                  <a:lnTo>
                    <a:pt x="8180" y="7942"/>
                  </a:lnTo>
                  <a:lnTo>
                    <a:pt x="7561" y="7323"/>
                  </a:lnTo>
                  <a:lnTo>
                    <a:pt x="8204" y="5799"/>
                  </a:lnTo>
                  <a:lnTo>
                    <a:pt x="9085" y="5799"/>
                  </a:lnTo>
                  <a:lnTo>
                    <a:pt x="10263" y="6966"/>
                  </a:lnTo>
                  <a:cubicBezTo>
                    <a:pt x="10287" y="7002"/>
                    <a:pt x="10335" y="7014"/>
                    <a:pt x="10382" y="7014"/>
                  </a:cubicBezTo>
                  <a:cubicBezTo>
                    <a:pt x="10418" y="7014"/>
                    <a:pt x="10466" y="7002"/>
                    <a:pt x="10502" y="6966"/>
                  </a:cubicBezTo>
                  <a:cubicBezTo>
                    <a:pt x="10561" y="6918"/>
                    <a:pt x="10561" y="6811"/>
                    <a:pt x="10502" y="6728"/>
                  </a:cubicBezTo>
                  <a:lnTo>
                    <a:pt x="9561" y="5799"/>
                  </a:lnTo>
                  <a:lnTo>
                    <a:pt x="11097" y="5799"/>
                  </a:lnTo>
                  <a:cubicBezTo>
                    <a:pt x="11180" y="5799"/>
                    <a:pt x="11252" y="5728"/>
                    <a:pt x="11252" y="5632"/>
                  </a:cubicBezTo>
                  <a:cubicBezTo>
                    <a:pt x="11240" y="5525"/>
                    <a:pt x="11168" y="5454"/>
                    <a:pt x="11073" y="5454"/>
                  </a:cubicBezTo>
                  <a:lnTo>
                    <a:pt x="9549" y="5454"/>
                  </a:lnTo>
                  <a:lnTo>
                    <a:pt x="10478" y="4513"/>
                  </a:lnTo>
                  <a:cubicBezTo>
                    <a:pt x="10537" y="4454"/>
                    <a:pt x="10537" y="4358"/>
                    <a:pt x="10478" y="4275"/>
                  </a:cubicBezTo>
                  <a:cubicBezTo>
                    <a:pt x="10448" y="4245"/>
                    <a:pt x="10409" y="4230"/>
                    <a:pt x="10368" y="4230"/>
                  </a:cubicBezTo>
                  <a:cubicBezTo>
                    <a:pt x="10326" y="4230"/>
                    <a:pt x="10281" y="4245"/>
                    <a:pt x="10240" y="4275"/>
                  </a:cubicBezTo>
                  <a:lnTo>
                    <a:pt x="9073" y="5454"/>
                  </a:lnTo>
                  <a:lnTo>
                    <a:pt x="8192" y="5454"/>
                  </a:lnTo>
                  <a:lnTo>
                    <a:pt x="7549" y="3918"/>
                  </a:lnTo>
                  <a:lnTo>
                    <a:pt x="8156" y="3311"/>
                  </a:lnTo>
                  <a:lnTo>
                    <a:pt x="9823" y="3311"/>
                  </a:lnTo>
                  <a:cubicBezTo>
                    <a:pt x="9918" y="3311"/>
                    <a:pt x="9990" y="3239"/>
                    <a:pt x="9990" y="3144"/>
                  </a:cubicBezTo>
                  <a:cubicBezTo>
                    <a:pt x="9990" y="3061"/>
                    <a:pt x="9918" y="2989"/>
                    <a:pt x="9823" y="2989"/>
                  </a:cubicBezTo>
                  <a:lnTo>
                    <a:pt x="8489" y="2989"/>
                  </a:lnTo>
                  <a:lnTo>
                    <a:pt x="9573" y="1894"/>
                  </a:lnTo>
                  <a:cubicBezTo>
                    <a:pt x="9632" y="1834"/>
                    <a:pt x="9632" y="1739"/>
                    <a:pt x="9573" y="1656"/>
                  </a:cubicBezTo>
                  <a:cubicBezTo>
                    <a:pt x="9543" y="1626"/>
                    <a:pt x="9501" y="1611"/>
                    <a:pt x="9458" y="1611"/>
                  </a:cubicBezTo>
                  <a:cubicBezTo>
                    <a:pt x="9415" y="1611"/>
                    <a:pt x="9370" y="1626"/>
                    <a:pt x="9335" y="1656"/>
                  </a:cubicBezTo>
                  <a:lnTo>
                    <a:pt x="8251" y="2739"/>
                  </a:lnTo>
                  <a:lnTo>
                    <a:pt x="8251" y="2465"/>
                  </a:lnTo>
                  <a:cubicBezTo>
                    <a:pt x="8251" y="2370"/>
                    <a:pt x="8180" y="2299"/>
                    <a:pt x="8085" y="2299"/>
                  </a:cubicBezTo>
                  <a:cubicBezTo>
                    <a:pt x="8001" y="2299"/>
                    <a:pt x="7918" y="2370"/>
                    <a:pt x="7918" y="2465"/>
                  </a:cubicBezTo>
                  <a:lnTo>
                    <a:pt x="7918" y="3073"/>
                  </a:lnTo>
                  <a:lnTo>
                    <a:pt x="7311" y="3680"/>
                  </a:lnTo>
                  <a:lnTo>
                    <a:pt x="6906" y="3525"/>
                  </a:lnTo>
                  <a:cubicBezTo>
                    <a:pt x="6884" y="3516"/>
                    <a:pt x="6861" y="3511"/>
                    <a:pt x="6840" y="3511"/>
                  </a:cubicBezTo>
                  <a:cubicBezTo>
                    <a:pt x="6778" y="3511"/>
                    <a:pt x="6721" y="3547"/>
                    <a:pt x="6703" y="3608"/>
                  </a:cubicBezTo>
                  <a:cubicBezTo>
                    <a:pt x="6668" y="3704"/>
                    <a:pt x="6703" y="3787"/>
                    <a:pt x="6787" y="3823"/>
                  </a:cubicBezTo>
                  <a:lnTo>
                    <a:pt x="7073" y="3942"/>
                  </a:lnTo>
                  <a:lnTo>
                    <a:pt x="5799" y="5216"/>
                  </a:lnTo>
                  <a:lnTo>
                    <a:pt x="5799" y="3418"/>
                  </a:lnTo>
                  <a:lnTo>
                    <a:pt x="6096" y="3537"/>
                  </a:lnTo>
                  <a:cubicBezTo>
                    <a:pt x="6116" y="3543"/>
                    <a:pt x="6136" y="3546"/>
                    <a:pt x="6156" y="3546"/>
                  </a:cubicBezTo>
                  <a:cubicBezTo>
                    <a:pt x="6221" y="3546"/>
                    <a:pt x="6280" y="3514"/>
                    <a:pt x="6299" y="3442"/>
                  </a:cubicBezTo>
                  <a:cubicBezTo>
                    <a:pt x="6334" y="3358"/>
                    <a:pt x="6299" y="3263"/>
                    <a:pt x="6215" y="3239"/>
                  </a:cubicBezTo>
                  <a:lnTo>
                    <a:pt x="5799" y="3061"/>
                  </a:lnTo>
                  <a:lnTo>
                    <a:pt x="5799" y="2180"/>
                  </a:lnTo>
                  <a:lnTo>
                    <a:pt x="6965" y="1001"/>
                  </a:lnTo>
                  <a:cubicBezTo>
                    <a:pt x="7025" y="941"/>
                    <a:pt x="7025" y="834"/>
                    <a:pt x="6965" y="763"/>
                  </a:cubicBezTo>
                  <a:cubicBezTo>
                    <a:pt x="6936" y="733"/>
                    <a:pt x="6897" y="718"/>
                    <a:pt x="6855" y="718"/>
                  </a:cubicBezTo>
                  <a:cubicBezTo>
                    <a:pt x="6814" y="718"/>
                    <a:pt x="6769" y="733"/>
                    <a:pt x="6727" y="763"/>
                  </a:cubicBezTo>
                  <a:lnTo>
                    <a:pt x="5799" y="1703"/>
                  </a:lnTo>
                  <a:lnTo>
                    <a:pt x="5799" y="167"/>
                  </a:lnTo>
                  <a:cubicBezTo>
                    <a:pt x="5799" y="84"/>
                    <a:pt x="5715" y="1"/>
                    <a:pt x="56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4" name="Google Shape;13114;p63"/>
            <p:cNvSpPr/>
            <p:nvPr/>
          </p:nvSpPr>
          <p:spPr>
            <a:xfrm>
              <a:off x="6311309" y="3392306"/>
              <a:ext cx="10688" cy="21760"/>
            </a:xfrm>
            <a:custGeom>
              <a:avLst/>
              <a:gdLst/>
              <a:ahLst/>
              <a:cxnLst/>
              <a:rect l="l" t="t" r="r" b="b"/>
              <a:pathLst>
                <a:path w="334" h="680" extrusionOk="0">
                  <a:moveTo>
                    <a:pt x="167" y="1"/>
                  </a:moveTo>
                  <a:cubicBezTo>
                    <a:pt x="72" y="1"/>
                    <a:pt x="0" y="72"/>
                    <a:pt x="0" y="156"/>
                  </a:cubicBezTo>
                  <a:lnTo>
                    <a:pt x="0" y="513"/>
                  </a:lnTo>
                  <a:cubicBezTo>
                    <a:pt x="0" y="608"/>
                    <a:pt x="72" y="679"/>
                    <a:pt x="167" y="679"/>
                  </a:cubicBezTo>
                  <a:cubicBezTo>
                    <a:pt x="251" y="679"/>
                    <a:pt x="322" y="608"/>
                    <a:pt x="322" y="513"/>
                  </a:cubicBezTo>
                  <a:lnTo>
                    <a:pt x="322" y="156"/>
                  </a:lnTo>
                  <a:cubicBezTo>
                    <a:pt x="334"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5" name="Google Shape;13115;p63"/>
            <p:cNvSpPr/>
            <p:nvPr/>
          </p:nvSpPr>
          <p:spPr>
            <a:xfrm>
              <a:off x="6153197" y="3649490"/>
              <a:ext cx="10688" cy="21760"/>
            </a:xfrm>
            <a:custGeom>
              <a:avLst/>
              <a:gdLst/>
              <a:ahLst/>
              <a:cxnLst/>
              <a:rect l="l" t="t" r="r" b="b"/>
              <a:pathLst>
                <a:path w="334" h="680" extrusionOk="0">
                  <a:moveTo>
                    <a:pt x="167" y="1"/>
                  </a:moveTo>
                  <a:cubicBezTo>
                    <a:pt x="72" y="1"/>
                    <a:pt x="0" y="72"/>
                    <a:pt x="0" y="155"/>
                  </a:cubicBezTo>
                  <a:lnTo>
                    <a:pt x="0" y="513"/>
                  </a:lnTo>
                  <a:cubicBezTo>
                    <a:pt x="0" y="608"/>
                    <a:pt x="72" y="679"/>
                    <a:pt x="167" y="679"/>
                  </a:cubicBezTo>
                  <a:cubicBezTo>
                    <a:pt x="250" y="679"/>
                    <a:pt x="334" y="608"/>
                    <a:pt x="334" y="513"/>
                  </a:cubicBezTo>
                  <a:lnTo>
                    <a:pt x="334" y="155"/>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16" name="Google Shape;13116;p63"/>
          <p:cNvGrpSpPr/>
          <p:nvPr/>
        </p:nvGrpSpPr>
        <p:grpSpPr>
          <a:xfrm>
            <a:off x="6608877" y="3353074"/>
            <a:ext cx="357408" cy="357408"/>
            <a:chOff x="6608877" y="3353074"/>
            <a:chExt cx="357408" cy="357408"/>
          </a:xfrm>
        </p:grpSpPr>
        <p:sp>
          <p:nvSpPr>
            <p:cNvPr id="13117" name="Google Shape;13117;p63"/>
            <p:cNvSpPr/>
            <p:nvPr/>
          </p:nvSpPr>
          <p:spPr>
            <a:xfrm>
              <a:off x="6608877" y="3353074"/>
              <a:ext cx="357408" cy="357408"/>
            </a:xfrm>
            <a:custGeom>
              <a:avLst/>
              <a:gdLst/>
              <a:ahLst/>
              <a:cxnLst/>
              <a:rect l="l" t="t" r="r" b="b"/>
              <a:pathLst>
                <a:path w="11169" h="11169" extrusionOk="0">
                  <a:moveTo>
                    <a:pt x="357" y="5049"/>
                  </a:moveTo>
                  <a:lnTo>
                    <a:pt x="477" y="5215"/>
                  </a:lnTo>
                  <a:cubicBezTo>
                    <a:pt x="536" y="5287"/>
                    <a:pt x="619" y="5334"/>
                    <a:pt x="703" y="5346"/>
                  </a:cubicBezTo>
                  <a:lnTo>
                    <a:pt x="750" y="5346"/>
                  </a:lnTo>
                  <a:lnTo>
                    <a:pt x="619" y="6001"/>
                  </a:lnTo>
                  <a:cubicBezTo>
                    <a:pt x="584" y="6132"/>
                    <a:pt x="596" y="6251"/>
                    <a:pt x="643" y="6382"/>
                  </a:cubicBezTo>
                  <a:lnTo>
                    <a:pt x="988" y="7311"/>
                  </a:lnTo>
                  <a:cubicBezTo>
                    <a:pt x="988" y="7323"/>
                    <a:pt x="1000" y="7359"/>
                    <a:pt x="1000" y="7370"/>
                  </a:cubicBezTo>
                  <a:lnTo>
                    <a:pt x="1012" y="8156"/>
                  </a:lnTo>
                  <a:cubicBezTo>
                    <a:pt x="560" y="7370"/>
                    <a:pt x="334" y="6489"/>
                    <a:pt x="334" y="5585"/>
                  </a:cubicBezTo>
                  <a:cubicBezTo>
                    <a:pt x="334" y="5406"/>
                    <a:pt x="346" y="5227"/>
                    <a:pt x="357" y="5049"/>
                  </a:cubicBezTo>
                  <a:close/>
                  <a:moveTo>
                    <a:pt x="5537" y="405"/>
                  </a:moveTo>
                  <a:cubicBezTo>
                    <a:pt x="6525" y="405"/>
                    <a:pt x="7477" y="667"/>
                    <a:pt x="8299" y="1179"/>
                  </a:cubicBezTo>
                  <a:lnTo>
                    <a:pt x="7656" y="1608"/>
                  </a:lnTo>
                  <a:cubicBezTo>
                    <a:pt x="7596" y="1655"/>
                    <a:pt x="7561" y="1727"/>
                    <a:pt x="7596" y="1798"/>
                  </a:cubicBezTo>
                  <a:lnTo>
                    <a:pt x="7763" y="2251"/>
                  </a:lnTo>
                  <a:lnTo>
                    <a:pt x="7763" y="2263"/>
                  </a:lnTo>
                  <a:lnTo>
                    <a:pt x="7585" y="2334"/>
                  </a:lnTo>
                  <a:cubicBezTo>
                    <a:pt x="7406" y="2394"/>
                    <a:pt x="7287" y="2560"/>
                    <a:pt x="7251" y="2751"/>
                  </a:cubicBezTo>
                  <a:lnTo>
                    <a:pt x="6751" y="3037"/>
                  </a:lnTo>
                  <a:cubicBezTo>
                    <a:pt x="6703" y="3060"/>
                    <a:pt x="6668" y="3108"/>
                    <a:pt x="6656" y="3168"/>
                  </a:cubicBezTo>
                  <a:lnTo>
                    <a:pt x="6549" y="4132"/>
                  </a:lnTo>
                  <a:lnTo>
                    <a:pt x="6418" y="4180"/>
                  </a:lnTo>
                  <a:cubicBezTo>
                    <a:pt x="6334" y="4215"/>
                    <a:pt x="6287" y="4299"/>
                    <a:pt x="6311" y="4394"/>
                  </a:cubicBezTo>
                  <a:cubicBezTo>
                    <a:pt x="6346" y="4465"/>
                    <a:pt x="6406" y="4489"/>
                    <a:pt x="6465" y="4489"/>
                  </a:cubicBezTo>
                  <a:cubicBezTo>
                    <a:pt x="6477" y="4489"/>
                    <a:pt x="6489" y="4489"/>
                    <a:pt x="6525" y="4477"/>
                  </a:cubicBezTo>
                  <a:lnTo>
                    <a:pt x="6763" y="4406"/>
                  </a:lnTo>
                  <a:cubicBezTo>
                    <a:pt x="6823" y="4394"/>
                    <a:pt x="6870" y="4334"/>
                    <a:pt x="6870" y="4275"/>
                  </a:cubicBezTo>
                  <a:lnTo>
                    <a:pt x="6965" y="3287"/>
                  </a:lnTo>
                  <a:lnTo>
                    <a:pt x="7227" y="3156"/>
                  </a:lnTo>
                  <a:lnTo>
                    <a:pt x="7204" y="3441"/>
                  </a:lnTo>
                  <a:cubicBezTo>
                    <a:pt x="7204" y="3525"/>
                    <a:pt x="7263" y="3596"/>
                    <a:pt x="7358" y="3620"/>
                  </a:cubicBezTo>
                  <a:lnTo>
                    <a:pt x="7370" y="3620"/>
                  </a:lnTo>
                  <a:cubicBezTo>
                    <a:pt x="7465" y="3620"/>
                    <a:pt x="7537" y="3560"/>
                    <a:pt x="7537" y="3465"/>
                  </a:cubicBezTo>
                  <a:lnTo>
                    <a:pt x="7585" y="2822"/>
                  </a:lnTo>
                  <a:cubicBezTo>
                    <a:pt x="7585" y="2751"/>
                    <a:pt x="7644" y="2691"/>
                    <a:pt x="7692" y="2667"/>
                  </a:cubicBezTo>
                  <a:lnTo>
                    <a:pt x="7882" y="2584"/>
                  </a:lnTo>
                  <a:cubicBezTo>
                    <a:pt x="8037" y="2525"/>
                    <a:pt x="8132" y="2334"/>
                    <a:pt x="8073" y="2156"/>
                  </a:cubicBezTo>
                  <a:lnTo>
                    <a:pt x="7954" y="1834"/>
                  </a:lnTo>
                  <a:lnTo>
                    <a:pt x="8608" y="1394"/>
                  </a:lnTo>
                  <a:cubicBezTo>
                    <a:pt x="8847" y="1560"/>
                    <a:pt x="9073" y="1751"/>
                    <a:pt x="9275" y="1965"/>
                  </a:cubicBezTo>
                  <a:cubicBezTo>
                    <a:pt x="10275" y="2965"/>
                    <a:pt x="10811" y="4275"/>
                    <a:pt x="10811" y="5680"/>
                  </a:cubicBezTo>
                  <a:cubicBezTo>
                    <a:pt x="10811" y="7097"/>
                    <a:pt x="10287" y="8311"/>
                    <a:pt x="9287" y="9299"/>
                  </a:cubicBezTo>
                  <a:cubicBezTo>
                    <a:pt x="8299" y="10299"/>
                    <a:pt x="6989" y="10835"/>
                    <a:pt x="5572" y="10835"/>
                  </a:cubicBezTo>
                  <a:cubicBezTo>
                    <a:pt x="4156" y="10835"/>
                    <a:pt x="2846" y="10287"/>
                    <a:pt x="1846" y="9299"/>
                  </a:cubicBezTo>
                  <a:cubicBezTo>
                    <a:pt x="1655" y="9109"/>
                    <a:pt x="1477" y="8906"/>
                    <a:pt x="1310" y="8680"/>
                  </a:cubicBezTo>
                  <a:lnTo>
                    <a:pt x="1286" y="7370"/>
                  </a:lnTo>
                  <a:cubicBezTo>
                    <a:pt x="1286" y="7311"/>
                    <a:pt x="1274" y="7251"/>
                    <a:pt x="1250" y="7204"/>
                  </a:cubicBezTo>
                  <a:lnTo>
                    <a:pt x="917" y="6287"/>
                  </a:lnTo>
                  <a:cubicBezTo>
                    <a:pt x="881" y="6227"/>
                    <a:pt x="881" y="6144"/>
                    <a:pt x="893" y="6085"/>
                  </a:cubicBezTo>
                  <a:lnTo>
                    <a:pt x="1096" y="5156"/>
                  </a:lnTo>
                  <a:lnTo>
                    <a:pt x="1393" y="4918"/>
                  </a:lnTo>
                  <a:cubicBezTo>
                    <a:pt x="1429" y="4882"/>
                    <a:pt x="1453" y="4834"/>
                    <a:pt x="1453" y="4799"/>
                  </a:cubicBezTo>
                  <a:lnTo>
                    <a:pt x="1453" y="4442"/>
                  </a:lnTo>
                  <a:lnTo>
                    <a:pt x="1846" y="4465"/>
                  </a:lnTo>
                  <a:lnTo>
                    <a:pt x="2179" y="5418"/>
                  </a:lnTo>
                  <a:cubicBezTo>
                    <a:pt x="2203" y="5513"/>
                    <a:pt x="2286" y="5596"/>
                    <a:pt x="2358" y="5644"/>
                  </a:cubicBezTo>
                  <a:cubicBezTo>
                    <a:pt x="2420" y="5679"/>
                    <a:pt x="2479" y="5697"/>
                    <a:pt x="2540" y="5697"/>
                  </a:cubicBezTo>
                  <a:cubicBezTo>
                    <a:pt x="2584" y="5697"/>
                    <a:pt x="2629" y="5688"/>
                    <a:pt x="2679" y="5668"/>
                  </a:cubicBezTo>
                  <a:cubicBezTo>
                    <a:pt x="2786" y="5644"/>
                    <a:pt x="2882" y="5573"/>
                    <a:pt x="2941" y="5465"/>
                  </a:cubicBezTo>
                  <a:lnTo>
                    <a:pt x="3144" y="5037"/>
                  </a:lnTo>
                  <a:lnTo>
                    <a:pt x="3536" y="4763"/>
                  </a:lnTo>
                  <a:cubicBezTo>
                    <a:pt x="3565" y="4739"/>
                    <a:pt x="3602" y="4727"/>
                    <a:pt x="3639" y="4727"/>
                  </a:cubicBezTo>
                  <a:cubicBezTo>
                    <a:pt x="3694" y="4727"/>
                    <a:pt x="3751" y="4754"/>
                    <a:pt x="3786" y="4811"/>
                  </a:cubicBezTo>
                  <a:lnTo>
                    <a:pt x="4227" y="5406"/>
                  </a:lnTo>
                  <a:cubicBezTo>
                    <a:pt x="4263" y="5430"/>
                    <a:pt x="4310" y="5465"/>
                    <a:pt x="4346" y="5465"/>
                  </a:cubicBezTo>
                  <a:lnTo>
                    <a:pt x="4525" y="5477"/>
                  </a:lnTo>
                  <a:cubicBezTo>
                    <a:pt x="4525" y="5477"/>
                    <a:pt x="4548" y="5477"/>
                    <a:pt x="4548" y="5489"/>
                  </a:cubicBezTo>
                  <a:lnTo>
                    <a:pt x="4751" y="6204"/>
                  </a:lnTo>
                  <a:cubicBezTo>
                    <a:pt x="4763" y="6287"/>
                    <a:pt x="4846" y="6323"/>
                    <a:pt x="4918" y="6323"/>
                  </a:cubicBezTo>
                  <a:lnTo>
                    <a:pt x="4965" y="6323"/>
                  </a:lnTo>
                  <a:cubicBezTo>
                    <a:pt x="5049" y="6299"/>
                    <a:pt x="5096" y="6204"/>
                    <a:pt x="5060" y="6120"/>
                  </a:cubicBezTo>
                  <a:lnTo>
                    <a:pt x="4977" y="5835"/>
                  </a:lnTo>
                  <a:lnTo>
                    <a:pt x="5299" y="5715"/>
                  </a:lnTo>
                  <a:cubicBezTo>
                    <a:pt x="5513" y="5644"/>
                    <a:pt x="5656" y="5418"/>
                    <a:pt x="5632" y="5192"/>
                  </a:cubicBezTo>
                  <a:lnTo>
                    <a:pt x="5596" y="4751"/>
                  </a:lnTo>
                  <a:lnTo>
                    <a:pt x="5870" y="4656"/>
                  </a:lnTo>
                  <a:cubicBezTo>
                    <a:pt x="5953" y="4632"/>
                    <a:pt x="6001" y="4537"/>
                    <a:pt x="5977" y="4453"/>
                  </a:cubicBezTo>
                  <a:cubicBezTo>
                    <a:pt x="5949" y="4377"/>
                    <a:pt x="5890" y="4339"/>
                    <a:pt x="5818" y="4339"/>
                  </a:cubicBezTo>
                  <a:cubicBezTo>
                    <a:pt x="5801" y="4339"/>
                    <a:pt x="5782" y="4342"/>
                    <a:pt x="5763" y="4346"/>
                  </a:cubicBezTo>
                  <a:lnTo>
                    <a:pt x="5382" y="4477"/>
                  </a:lnTo>
                  <a:cubicBezTo>
                    <a:pt x="5299" y="4513"/>
                    <a:pt x="5263" y="4572"/>
                    <a:pt x="5275" y="4644"/>
                  </a:cubicBezTo>
                  <a:lnTo>
                    <a:pt x="5322" y="5215"/>
                  </a:lnTo>
                  <a:cubicBezTo>
                    <a:pt x="5322" y="5299"/>
                    <a:pt x="5275" y="5370"/>
                    <a:pt x="5203" y="5406"/>
                  </a:cubicBezTo>
                  <a:lnTo>
                    <a:pt x="4906" y="5525"/>
                  </a:lnTo>
                  <a:lnTo>
                    <a:pt x="4870" y="5418"/>
                  </a:lnTo>
                  <a:cubicBezTo>
                    <a:pt x="4822" y="5287"/>
                    <a:pt x="4703" y="5180"/>
                    <a:pt x="4572" y="5180"/>
                  </a:cubicBezTo>
                  <a:lnTo>
                    <a:pt x="4465" y="5168"/>
                  </a:lnTo>
                  <a:lnTo>
                    <a:pt x="4072" y="4632"/>
                  </a:lnTo>
                  <a:cubicBezTo>
                    <a:pt x="3973" y="4497"/>
                    <a:pt x="3822" y="4425"/>
                    <a:pt x="3669" y="4425"/>
                  </a:cubicBezTo>
                  <a:cubicBezTo>
                    <a:pt x="3565" y="4425"/>
                    <a:pt x="3461" y="4458"/>
                    <a:pt x="3370" y="4525"/>
                  </a:cubicBezTo>
                  <a:lnTo>
                    <a:pt x="2941" y="4823"/>
                  </a:lnTo>
                  <a:cubicBezTo>
                    <a:pt x="2905" y="4834"/>
                    <a:pt x="2893" y="4846"/>
                    <a:pt x="2882" y="4882"/>
                  </a:cubicBezTo>
                  <a:lnTo>
                    <a:pt x="2643" y="5346"/>
                  </a:lnTo>
                  <a:cubicBezTo>
                    <a:pt x="2620" y="5370"/>
                    <a:pt x="2596" y="5382"/>
                    <a:pt x="2596" y="5382"/>
                  </a:cubicBezTo>
                  <a:cubicBezTo>
                    <a:pt x="2588" y="5382"/>
                    <a:pt x="2569" y="5393"/>
                    <a:pt x="2554" y="5393"/>
                  </a:cubicBezTo>
                  <a:cubicBezTo>
                    <a:pt x="2547" y="5393"/>
                    <a:pt x="2540" y="5390"/>
                    <a:pt x="2536" y="5382"/>
                  </a:cubicBezTo>
                  <a:cubicBezTo>
                    <a:pt x="2524" y="5370"/>
                    <a:pt x="2501" y="5358"/>
                    <a:pt x="2501" y="5346"/>
                  </a:cubicBezTo>
                  <a:lnTo>
                    <a:pt x="2131" y="4287"/>
                  </a:lnTo>
                  <a:cubicBezTo>
                    <a:pt x="2120" y="4227"/>
                    <a:pt x="2060" y="4180"/>
                    <a:pt x="1989" y="4180"/>
                  </a:cubicBezTo>
                  <a:lnTo>
                    <a:pt x="1369" y="4132"/>
                  </a:lnTo>
                  <a:lnTo>
                    <a:pt x="1167" y="3858"/>
                  </a:lnTo>
                  <a:cubicBezTo>
                    <a:pt x="1132" y="3809"/>
                    <a:pt x="1085" y="3785"/>
                    <a:pt x="1038" y="3785"/>
                  </a:cubicBezTo>
                  <a:cubicBezTo>
                    <a:pt x="1005" y="3785"/>
                    <a:pt x="971" y="3798"/>
                    <a:pt x="941" y="3822"/>
                  </a:cubicBezTo>
                  <a:cubicBezTo>
                    <a:pt x="869" y="3882"/>
                    <a:pt x="858" y="3977"/>
                    <a:pt x="917" y="4049"/>
                  </a:cubicBezTo>
                  <a:lnTo>
                    <a:pt x="1131" y="4346"/>
                  </a:lnTo>
                  <a:lnTo>
                    <a:pt x="1131" y="4751"/>
                  </a:lnTo>
                  <a:lnTo>
                    <a:pt x="715" y="5073"/>
                  </a:lnTo>
                  <a:lnTo>
                    <a:pt x="691" y="5073"/>
                  </a:lnTo>
                  <a:lnTo>
                    <a:pt x="381" y="4656"/>
                  </a:lnTo>
                  <a:cubicBezTo>
                    <a:pt x="500" y="4001"/>
                    <a:pt x="750" y="3394"/>
                    <a:pt x="1096" y="2846"/>
                  </a:cubicBezTo>
                  <a:lnTo>
                    <a:pt x="1310" y="3179"/>
                  </a:lnTo>
                  <a:cubicBezTo>
                    <a:pt x="1346" y="3227"/>
                    <a:pt x="1405" y="3263"/>
                    <a:pt x="1453" y="3263"/>
                  </a:cubicBezTo>
                  <a:cubicBezTo>
                    <a:pt x="1477" y="3263"/>
                    <a:pt x="1512" y="3239"/>
                    <a:pt x="1536" y="3227"/>
                  </a:cubicBezTo>
                  <a:cubicBezTo>
                    <a:pt x="1608" y="3179"/>
                    <a:pt x="1631" y="3084"/>
                    <a:pt x="1584" y="3001"/>
                  </a:cubicBezTo>
                  <a:lnTo>
                    <a:pt x="1286" y="2560"/>
                  </a:lnTo>
                  <a:cubicBezTo>
                    <a:pt x="1453" y="2334"/>
                    <a:pt x="1631" y="2132"/>
                    <a:pt x="1822" y="1929"/>
                  </a:cubicBezTo>
                  <a:cubicBezTo>
                    <a:pt x="2822" y="941"/>
                    <a:pt x="4132" y="405"/>
                    <a:pt x="5537" y="405"/>
                  </a:cubicBezTo>
                  <a:close/>
                  <a:moveTo>
                    <a:pt x="5584" y="0"/>
                  </a:moveTo>
                  <a:cubicBezTo>
                    <a:pt x="4096" y="0"/>
                    <a:pt x="2703" y="584"/>
                    <a:pt x="1643" y="1644"/>
                  </a:cubicBezTo>
                  <a:cubicBezTo>
                    <a:pt x="584" y="2691"/>
                    <a:pt x="0" y="4096"/>
                    <a:pt x="0" y="5585"/>
                  </a:cubicBezTo>
                  <a:cubicBezTo>
                    <a:pt x="0" y="7073"/>
                    <a:pt x="584" y="8466"/>
                    <a:pt x="1643" y="9525"/>
                  </a:cubicBezTo>
                  <a:cubicBezTo>
                    <a:pt x="2703" y="10585"/>
                    <a:pt x="4096" y="11169"/>
                    <a:pt x="5584" y="11169"/>
                  </a:cubicBezTo>
                  <a:cubicBezTo>
                    <a:pt x="7073" y="11169"/>
                    <a:pt x="8478" y="10585"/>
                    <a:pt x="9525" y="9525"/>
                  </a:cubicBezTo>
                  <a:cubicBezTo>
                    <a:pt x="10585" y="8466"/>
                    <a:pt x="11168" y="7073"/>
                    <a:pt x="11168" y="5585"/>
                  </a:cubicBezTo>
                  <a:cubicBezTo>
                    <a:pt x="11168" y="4096"/>
                    <a:pt x="10585" y="2691"/>
                    <a:pt x="9525" y="1644"/>
                  </a:cubicBezTo>
                  <a:cubicBezTo>
                    <a:pt x="8478" y="584"/>
                    <a:pt x="7073"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8" name="Google Shape;13118;p63"/>
            <p:cNvSpPr/>
            <p:nvPr/>
          </p:nvSpPr>
          <p:spPr>
            <a:xfrm>
              <a:off x="6770029" y="3565170"/>
              <a:ext cx="44608" cy="27968"/>
            </a:xfrm>
            <a:custGeom>
              <a:avLst/>
              <a:gdLst/>
              <a:ahLst/>
              <a:cxnLst/>
              <a:rect l="l" t="t" r="r" b="b"/>
              <a:pathLst>
                <a:path w="1394" h="874" extrusionOk="0">
                  <a:moveTo>
                    <a:pt x="166" y="1"/>
                  </a:moveTo>
                  <a:cubicBezTo>
                    <a:pt x="121" y="1"/>
                    <a:pt x="80" y="19"/>
                    <a:pt x="60" y="52"/>
                  </a:cubicBezTo>
                  <a:cubicBezTo>
                    <a:pt x="1" y="135"/>
                    <a:pt x="13" y="230"/>
                    <a:pt x="72" y="278"/>
                  </a:cubicBezTo>
                  <a:lnTo>
                    <a:pt x="620" y="742"/>
                  </a:lnTo>
                  <a:cubicBezTo>
                    <a:pt x="715" y="814"/>
                    <a:pt x="798" y="850"/>
                    <a:pt x="917" y="862"/>
                  </a:cubicBezTo>
                  <a:lnTo>
                    <a:pt x="1215" y="873"/>
                  </a:lnTo>
                  <a:lnTo>
                    <a:pt x="1227" y="873"/>
                  </a:lnTo>
                  <a:cubicBezTo>
                    <a:pt x="1322" y="873"/>
                    <a:pt x="1394" y="814"/>
                    <a:pt x="1394" y="731"/>
                  </a:cubicBezTo>
                  <a:cubicBezTo>
                    <a:pt x="1394" y="647"/>
                    <a:pt x="1322" y="576"/>
                    <a:pt x="1239" y="564"/>
                  </a:cubicBezTo>
                  <a:lnTo>
                    <a:pt x="941" y="552"/>
                  </a:lnTo>
                  <a:cubicBezTo>
                    <a:pt x="894" y="552"/>
                    <a:pt x="858" y="528"/>
                    <a:pt x="834" y="504"/>
                  </a:cubicBezTo>
                  <a:lnTo>
                    <a:pt x="274" y="40"/>
                  </a:lnTo>
                  <a:cubicBezTo>
                    <a:pt x="242" y="13"/>
                    <a:pt x="203"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9" name="Google Shape;13119;p63"/>
            <p:cNvSpPr/>
            <p:nvPr/>
          </p:nvSpPr>
          <p:spPr>
            <a:xfrm>
              <a:off x="6859949" y="3437074"/>
              <a:ext cx="24416" cy="31840"/>
            </a:xfrm>
            <a:custGeom>
              <a:avLst/>
              <a:gdLst/>
              <a:ahLst/>
              <a:cxnLst/>
              <a:rect l="l" t="t" r="r" b="b"/>
              <a:pathLst>
                <a:path w="763" h="995" extrusionOk="0">
                  <a:moveTo>
                    <a:pt x="583" y="1"/>
                  </a:moveTo>
                  <a:cubicBezTo>
                    <a:pt x="509" y="1"/>
                    <a:pt x="447" y="45"/>
                    <a:pt x="417" y="114"/>
                  </a:cubicBezTo>
                  <a:lnTo>
                    <a:pt x="334" y="400"/>
                  </a:lnTo>
                  <a:lnTo>
                    <a:pt x="60" y="745"/>
                  </a:lnTo>
                  <a:cubicBezTo>
                    <a:pt x="0" y="816"/>
                    <a:pt x="12" y="924"/>
                    <a:pt x="96" y="959"/>
                  </a:cubicBezTo>
                  <a:cubicBezTo>
                    <a:pt x="120" y="995"/>
                    <a:pt x="155" y="995"/>
                    <a:pt x="191" y="995"/>
                  </a:cubicBezTo>
                  <a:cubicBezTo>
                    <a:pt x="239" y="995"/>
                    <a:pt x="298" y="983"/>
                    <a:pt x="334" y="935"/>
                  </a:cubicBezTo>
                  <a:lnTo>
                    <a:pt x="608" y="566"/>
                  </a:lnTo>
                  <a:cubicBezTo>
                    <a:pt x="632" y="543"/>
                    <a:pt x="632" y="531"/>
                    <a:pt x="643" y="519"/>
                  </a:cubicBezTo>
                  <a:lnTo>
                    <a:pt x="751" y="209"/>
                  </a:lnTo>
                  <a:cubicBezTo>
                    <a:pt x="762" y="126"/>
                    <a:pt x="715" y="42"/>
                    <a:pt x="632" y="7"/>
                  </a:cubicBezTo>
                  <a:cubicBezTo>
                    <a:pt x="615" y="3"/>
                    <a:pt x="599" y="1"/>
                    <a:pt x="58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0" name="Google Shape;13120;p63"/>
            <p:cNvSpPr/>
            <p:nvPr/>
          </p:nvSpPr>
          <p:spPr>
            <a:xfrm>
              <a:off x="6824525" y="3509426"/>
              <a:ext cx="17920" cy="28448"/>
            </a:xfrm>
            <a:custGeom>
              <a:avLst/>
              <a:gdLst/>
              <a:ahLst/>
              <a:cxnLst/>
              <a:rect l="l" t="t" r="r" b="b"/>
              <a:pathLst>
                <a:path w="560" h="889" extrusionOk="0">
                  <a:moveTo>
                    <a:pt x="194" y="1"/>
                  </a:moveTo>
                  <a:cubicBezTo>
                    <a:pt x="177" y="1"/>
                    <a:pt x="160" y="3"/>
                    <a:pt x="143" y="8"/>
                  </a:cubicBezTo>
                  <a:cubicBezTo>
                    <a:pt x="48" y="44"/>
                    <a:pt x="0" y="127"/>
                    <a:pt x="36" y="222"/>
                  </a:cubicBezTo>
                  <a:lnTo>
                    <a:pt x="215" y="770"/>
                  </a:lnTo>
                  <a:cubicBezTo>
                    <a:pt x="226" y="841"/>
                    <a:pt x="298" y="889"/>
                    <a:pt x="357" y="889"/>
                  </a:cubicBezTo>
                  <a:cubicBezTo>
                    <a:pt x="381" y="889"/>
                    <a:pt x="393" y="889"/>
                    <a:pt x="405" y="877"/>
                  </a:cubicBezTo>
                  <a:cubicBezTo>
                    <a:pt x="500" y="841"/>
                    <a:pt x="560" y="746"/>
                    <a:pt x="524" y="663"/>
                  </a:cubicBezTo>
                  <a:lnTo>
                    <a:pt x="345" y="115"/>
                  </a:lnTo>
                  <a:cubicBezTo>
                    <a:pt x="326" y="39"/>
                    <a:pt x="262" y="1"/>
                    <a:pt x="1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1" name="Google Shape;13121;p63"/>
            <p:cNvSpPr/>
            <p:nvPr/>
          </p:nvSpPr>
          <p:spPr>
            <a:xfrm>
              <a:off x="6790989" y="3541906"/>
              <a:ext cx="42688" cy="34464"/>
            </a:xfrm>
            <a:custGeom>
              <a:avLst/>
              <a:gdLst/>
              <a:ahLst/>
              <a:cxnLst/>
              <a:rect l="l" t="t" r="r" b="b"/>
              <a:pathLst>
                <a:path w="1334" h="1077" extrusionOk="0">
                  <a:moveTo>
                    <a:pt x="508" y="333"/>
                  </a:moveTo>
                  <a:cubicBezTo>
                    <a:pt x="511" y="333"/>
                    <a:pt x="516" y="334"/>
                    <a:pt x="524" y="338"/>
                  </a:cubicBezTo>
                  <a:lnTo>
                    <a:pt x="977" y="410"/>
                  </a:lnTo>
                  <a:lnTo>
                    <a:pt x="977" y="422"/>
                  </a:lnTo>
                  <a:lnTo>
                    <a:pt x="739" y="755"/>
                  </a:lnTo>
                  <a:lnTo>
                    <a:pt x="727" y="755"/>
                  </a:lnTo>
                  <a:lnTo>
                    <a:pt x="381" y="624"/>
                  </a:lnTo>
                  <a:lnTo>
                    <a:pt x="501" y="338"/>
                  </a:lnTo>
                  <a:cubicBezTo>
                    <a:pt x="501" y="338"/>
                    <a:pt x="501" y="333"/>
                    <a:pt x="508" y="333"/>
                  </a:cubicBezTo>
                  <a:close/>
                  <a:moveTo>
                    <a:pt x="531" y="1"/>
                  </a:moveTo>
                  <a:cubicBezTo>
                    <a:pt x="397" y="1"/>
                    <a:pt x="277" y="81"/>
                    <a:pt x="203" y="207"/>
                  </a:cubicBezTo>
                  <a:lnTo>
                    <a:pt x="12" y="648"/>
                  </a:lnTo>
                  <a:cubicBezTo>
                    <a:pt x="0" y="696"/>
                    <a:pt x="0" y="743"/>
                    <a:pt x="12" y="779"/>
                  </a:cubicBezTo>
                  <a:cubicBezTo>
                    <a:pt x="24" y="827"/>
                    <a:pt x="60" y="862"/>
                    <a:pt x="108" y="874"/>
                  </a:cubicBezTo>
                  <a:lnTo>
                    <a:pt x="608" y="1065"/>
                  </a:lnTo>
                  <a:cubicBezTo>
                    <a:pt x="655" y="1077"/>
                    <a:pt x="679" y="1077"/>
                    <a:pt x="727" y="1077"/>
                  </a:cubicBezTo>
                  <a:cubicBezTo>
                    <a:pt x="834" y="1077"/>
                    <a:pt x="941" y="1041"/>
                    <a:pt x="1001" y="946"/>
                  </a:cubicBezTo>
                  <a:lnTo>
                    <a:pt x="1239" y="624"/>
                  </a:lnTo>
                  <a:cubicBezTo>
                    <a:pt x="1310" y="529"/>
                    <a:pt x="1334" y="410"/>
                    <a:pt x="1298" y="291"/>
                  </a:cubicBezTo>
                  <a:cubicBezTo>
                    <a:pt x="1251" y="184"/>
                    <a:pt x="1155" y="100"/>
                    <a:pt x="1036" y="88"/>
                  </a:cubicBezTo>
                  <a:lnTo>
                    <a:pt x="584" y="5"/>
                  </a:lnTo>
                  <a:cubicBezTo>
                    <a:pt x="566" y="2"/>
                    <a:pt x="549" y="1"/>
                    <a:pt x="53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2" name="Google Shape;13122;p63"/>
            <p:cNvSpPr/>
            <p:nvPr/>
          </p:nvSpPr>
          <p:spPr>
            <a:xfrm>
              <a:off x="6840525" y="3544914"/>
              <a:ext cx="54112" cy="32608"/>
            </a:xfrm>
            <a:custGeom>
              <a:avLst/>
              <a:gdLst/>
              <a:ahLst/>
              <a:cxnLst/>
              <a:rect l="l" t="t" r="r" b="b"/>
              <a:pathLst>
                <a:path w="1691" h="1019" extrusionOk="0">
                  <a:moveTo>
                    <a:pt x="864" y="346"/>
                  </a:moveTo>
                  <a:cubicBezTo>
                    <a:pt x="913" y="346"/>
                    <a:pt x="962" y="364"/>
                    <a:pt x="1000" y="387"/>
                  </a:cubicBezTo>
                  <a:lnTo>
                    <a:pt x="1250" y="649"/>
                  </a:lnTo>
                  <a:lnTo>
                    <a:pt x="1191" y="673"/>
                  </a:lnTo>
                  <a:cubicBezTo>
                    <a:pt x="1165" y="693"/>
                    <a:pt x="1131" y="701"/>
                    <a:pt x="1099" y="701"/>
                  </a:cubicBezTo>
                  <a:cubicBezTo>
                    <a:pt x="1072" y="701"/>
                    <a:pt x="1046" y="696"/>
                    <a:pt x="1024" y="685"/>
                  </a:cubicBezTo>
                  <a:lnTo>
                    <a:pt x="548" y="482"/>
                  </a:lnTo>
                  <a:lnTo>
                    <a:pt x="786" y="363"/>
                  </a:lnTo>
                  <a:cubicBezTo>
                    <a:pt x="811" y="351"/>
                    <a:pt x="837" y="346"/>
                    <a:pt x="864" y="346"/>
                  </a:cubicBezTo>
                  <a:close/>
                  <a:moveTo>
                    <a:pt x="857" y="1"/>
                  </a:moveTo>
                  <a:cubicBezTo>
                    <a:pt x="787" y="1"/>
                    <a:pt x="719" y="14"/>
                    <a:pt x="655" y="42"/>
                  </a:cubicBezTo>
                  <a:lnTo>
                    <a:pt x="84" y="316"/>
                  </a:lnTo>
                  <a:cubicBezTo>
                    <a:pt x="24" y="340"/>
                    <a:pt x="0" y="399"/>
                    <a:pt x="0" y="459"/>
                  </a:cubicBezTo>
                  <a:cubicBezTo>
                    <a:pt x="0" y="518"/>
                    <a:pt x="48" y="578"/>
                    <a:pt x="84" y="613"/>
                  </a:cubicBezTo>
                  <a:lnTo>
                    <a:pt x="893" y="971"/>
                  </a:lnTo>
                  <a:cubicBezTo>
                    <a:pt x="965" y="994"/>
                    <a:pt x="1024" y="1018"/>
                    <a:pt x="1096" y="1018"/>
                  </a:cubicBezTo>
                  <a:cubicBezTo>
                    <a:pt x="1191" y="1018"/>
                    <a:pt x="1274" y="983"/>
                    <a:pt x="1358" y="935"/>
                  </a:cubicBezTo>
                  <a:lnTo>
                    <a:pt x="1608" y="792"/>
                  </a:lnTo>
                  <a:cubicBezTo>
                    <a:pt x="1655" y="756"/>
                    <a:pt x="1679" y="721"/>
                    <a:pt x="1679" y="673"/>
                  </a:cubicBezTo>
                  <a:cubicBezTo>
                    <a:pt x="1691" y="625"/>
                    <a:pt x="1679" y="590"/>
                    <a:pt x="1655" y="554"/>
                  </a:cubicBezTo>
                  <a:lnTo>
                    <a:pt x="1239" y="149"/>
                  </a:lnTo>
                  <a:cubicBezTo>
                    <a:pt x="1135" y="54"/>
                    <a:pt x="995" y="1"/>
                    <a:pt x="85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3" name="Google Shape;13123;p63"/>
            <p:cNvSpPr/>
            <p:nvPr/>
          </p:nvSpPr>
          <p:spPr>
            <a:xfrm>
              <a:off x="6793645" y="3582770"/>
              <a:ext cx="102144" cy="75520"/>
            </a:xfrm>
            <a:custGeom>
              <a:avLst/>
              <a:gdLst/>
              <a:ahLst/>
              <a:cxnLst/>
              <a:rect l="l" t="t" r="r" b="b"/>
              <a:pathLst>
                <a:path w="3192" h="2360" extrusionOk="0">
                  <a:moveTo>
                    <a:pt x="1757" y="0"/>
                  </a:moveTo>
                  <a:cubicBezTo>
                    <a:pt x="1683" y="0"/>
                    <a:pt x="1609" y="24"/>
                    <a:pt x="1549" y="61"/>
                  </a:cubicBezTo>
                  <a:lnTo>
                    <a:pt x="775" y="609"/>
                  </a:lnTo>
                  <a:lnTo>
                    <a:pt x="465" y="669"/>
                  </a:lnTo>
                  <a:cubicBezTo>
                    <a:pt x="239" y="716"/>
                    <a:pt x="60" y="907"/>
                    <a:pt x="48" y="1133"/>
                  </a:cubicBezTo>
                  <a:lnTo>
                    <a:pt x="1" y="1669"/>
                  </a:lnTo>
                  <a:cubicBezTo>
                    <a:pt x="1" y="1764"/>
                    <a:pt x="37" y="1859"/>
                    <a:pt x="108" y="1931"/>
                  </a:cubicBezTo>
                  <a:cubicBezTo>
                    <a:pt x="179" y="2002"/>
                    <a:pt x="275" y="2038"/>
                    <a:pt x="382" y="2038"/>
                  </a:cubicBezTo>
                  <a:lnTo>
                    <a:pt x="715" y="2002"/>
                  </a:lnTo>
                  <a:cubicBezTo>
                    <a:pt x="810" y="2002"/>
                    <a:pt x="882" y="1919"/>
                    <a:pt x="870" y="1824"/>
                  </a:cubicBezTo>
                  <a:cubicBezTo>
                    <a:pt x="859" y="1746"/>
                    <a:pt x="787" y="1679"/>
                    <a:pt x="710" y="1679"/>
                  </a:cubicBezTo>
                  <a:cubicBezTo>
                    <a:pt x="704" y="1679"/>
                    <a:pt x="697" y="1680"/>
                    <a:pt x="691" y="1681"/>
                  </a:cubicBezTo>
                  <a:lnTo>
                    <a:pt x="346" y="1705"/>
                  </a:lnTo>
                  <a:lnTo>
                    <a:pt x="334" y="1705"/>
                  </a:lnTo>
                  <a:lnTo>
                    <a:pt x="334" y="1693"/>
                  </a:lnTo>
                  <a:lnTo>
                    <a:pt x="382" y="1157"/>
                  </a:lnTo>
                  <a:cubicBezTo>
                    <a:pt x="382" y="1074"/>
                    <a:pt x="453" y="1014"/>
                    <a:pt x="525" y="990"/>
                  </a:cubicBezTo>
                  <a:lnTo>
                    <a:pt x="870" y="931"/>
                  </a:lnTo>
                  <a:cubicBezTo>
                    <a:pt x="894" y="931"/>
                    <a:pt x="918" y="919"/>
                    <a:pt x="929" y="907"/>
                  </a:cubicBezTo>
                  <a:lnTo>
                    <a:pt x="1727" y="335"/>
                  </a:lnTo>
                  <a:lnTo>
                    <a:pt x="1751" y="335"/>
                  </a:lnTo>
                  <a:lnTo>
                    <a:pt x="2311" y="597"/>
                  </a:lnTo>
                  <a:cubicBezTo>
                    <a:pt x="2346" y="609"/>
                    <a:pt x="2382" y="609"/>
                    <a:pt x="2418" y="609"/>
                  </a:cubicBezTo>
                  <a:lnTo>
                    <a:pt x="2680" y="550"/>
                  </a:lnTo>
                  <a:lnTo>
                    <a:pt x="2834" y="1109"/>
                  </a:lnTo>
                  <a:lnTo>
                    <a:pt x="2834" y="1133"/>
                  </a:lnTo>
                  <a:lnTo>
                    <a:pt x="2203" y="2038"/>
                  </a:lnTo>
                  <a:lnTo>
                    <a:pt x="2180" y="2038"/>
                  </a:lnTo>
                  <a:lnTo>
                    <a:pt x="1882" y="1681"/>
                  </a:lnTo>
                  <a:cubicBezTo>
                    <a:pt x="1846" y="1633"/>
                    <a:pt x="1787" y="1621"/>
                    <a:pt x="1751" y="1621"/>
                  </a:cubicBezTo>
                  <a:lnTo>
                    <a:pt x="1346" y="1645"/>
                  </a:lnTo>
                  <a:cubicBezTo>
                    <a:pt x="1251" y="1645"/>
                    <a:pt x="1180" y="1740"/>
                    <a:pt x="1191" y="1824"/>
                  </a:cubicBezTo>
                  <a:cubicBezTo>
                    <a:pt x="1191" y="1912"/>
                    <a:pt x="1273" y="1980"/>
                    <a:pt x="1352" y="1980"/>
                  </a:cubicBezTo>
                  <a:cubicBezTo>
                    <a:pt x="1358" y="1980"/>
                    <a:pt x="1364" y="1979"/>
                    <a:pt x="1370" y="1978"/>
                  </a:cubicBezTo>
                  <a:lnTo>
                    <a:pt x="1691" y="1943"/>
                  </a:lnTo>
                  <a:lnTo>
                    <a:pt x="1942" y="2240"/>
                  </a:lnTo>
                  <a:cubicBezTo>
                    <a:pt x="2001" y="2324"/>
                    <a:pt x="2108" y="2359"/>
                    <a:pt x="2192" y="2359"/>
                  </a:cubicBezTo>
                  <a:lnTo>
                    <a:pt x="2203" y="2359"/>
                  </a:lnTo>
                  <a:cubicBezTo>
                    <a:pt x="2311" y="2359"/>
                    <a:pt x="2418" y="2300"/>
                    <a:pt x="2477" y="2217"/>
                  </a:cubicBezTo>
                  <a:lnTo>
                    <a:pt x="3096" y="1312"/>
                  </a:lnTo>
                  <a:cubicBezTo>
                    <a:pt x="3180" y="1204"/>
                    <a:pt x="3192" y="1097"/>
                    <a:pt x="3156" y="1014"/>
                  </a:cubicBezTo>
                  <a:lnTo>
                    <a:pt x="2965" y="276"/>
                  </a:lnTo>
                  <a:cubicBezTo>
                    <a:pt x="2944" y="201"/>
                    <a:pt x="2875" y="155"/>
                    <a:pt x="2800" y="155"/>
                  </a:cubicBezTo>
                  <a:cubicBezTo>
                    <a:pt x="2792" y="155"/>
                    <a:pt x="2783" y="156"/>
                    <a:pt x="2775" y="157"/>
                  </a:cubicBezTo>
                  <a:lnTo>
                    <a:pt x="2406" y="252"/>
                  </a:lnTo>
                  <a:lnTo>
                    <a:pt x="1882" y="26"/>
                  </a:lnTo>
                  <a:cubicBezTo>
                    <a:pt x="1843" y="8"/>
                    <a:pt x="1800" y="0"/>
                    <a:pt x="17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4" name="Google Shape;13124;p63"/>
          <p:cNvSpPr/>
          <p:nvPr/>
        </p:nvSpPr>
        <p:spPr>
          <a:xfrm>
            <a:off x="7708045" y="3351538"/>
            <a:ext cx="357408" cy="357408"/>
          </a:xfrm>
          <a:custGeom>
            <a:avLst/>
            <a:gdLst/>
            <a:ahLst/>
            <a:cxnLst/>
            <a:rect l="l" t="t" r="r" b="b"/>
            <a:pathLst>
              <a:path w="11169" h="11169" extrusionOk="0">
                <a:moveTo>
                  <a:pt x="5585" y="382"/>
                </a:moveTo>
                <a:cubicBezTo>
                  <a:pt x="6990" y="382"/>
                  <a:pt x="8311" y="930"/>
                  <a:pt x="9311" y="1906"/>
                </a:cubicBezTo>
                <a:cubicBezTo>
                  <a:pt x="10300" y="2906"/>
                  <a:pt x="10835" y="4216"/>
                  <a:pt x="10835" y="5633"/>
                </a:cubicBezTo>
                <a:cubicBezTo>
                  <a:pt x="10835" y="7002"/>
                  <a:pt x="10288" y="8311"/>
                  <a:pt x="9311" y="9312"/>
                </a:cubicBezTo>
                <a:cubicBezTo>
                  <a:pt x="8311" y="10300"/>
                  <a:pt x="7002" y="10836"/>
                  <a:pt x="5585" y="10836"/>
                </a:cubicBezTo>
                <a:cubicBezTo>
                  <a:pt x="4192" y="10836"/>
                  <a:pt x="2858" y="10288"/>
                  <a:pt x="1870" y="9312"/>
                </a:cubicBezTo>
                <a:cubicBezTo>
                  <a:pt x="870" y="8311"/>
                  <a:pt x="334" y="7002"/>
                  <a:pt x="334" y="5585"/>
                </a:cubicBezTo>
                <a:cubicBezTo>
                  <a:pt x="334" y="4192"/>
                  <a:pt x="882" y="2858"/>
                  <a:pt x="1870" y="1870"/>
                </a:cubicBezTo>
                <a:cubicBezTo>
                  <a:pt x="1953" y="1775"/>
                  <a:pt x="2061" y="1668"/>
                  <a:pt x="2168" y="1596"/>
                </a:cubicBezTo>
                <a:lnTo>
                  <a:pt x="2418" y="2001"/>
                </a:lnTo>
                <a:cubicBezTo>
                  <a:pt x="2465" y="2073"/>
                  <a:pt x="2489" y="2180"/>
                  <a:pt x="2465" y="2263"/>
                </a:cubicBezTo>
                <a:lnTo>
                  <a:pt x="2168" y="3537"/>
                </a:lnTo>
                <a:cubicBezTo>
                  <a:pt x="2120" y="3692"/>
                  <a:pt x="2180" y="3870"/>
                  <a:pt x="2299" y="4013"/>
                </a:cubicBezTo>
                <a:lnTo>
                  <a:pt x="3489" y="5228"/>
                </a:lnTo>
                <a:cubicBezTo>
                  <a:pt x="3586" y="5335"/>
                  <a:pt x="3721" y="5384"/>
                  <a:pt x="3869" y="5384"/>
                </a:cubicBezTo>
                <a:cubicBezTo>
                  <a:pt x="3885" y="5384"/>
                  <a:pt x="3901" y="5384"/>
                  <a:pt x="3918" y="5382"/>
                </a:cubicBezTo>
                <a:lnTo>
                  <a:pt x="4811" y="5275"/>
                </a:lnTo>
                <a:lnTo>
                  <a:pt x="5692" y="6014"/>
                </a:lnTo>
                <a:lnTo>
                  <a:pt x="5418" y="6752"/>
                </a:lnTo>
                <a:cubicBezTo>
                  <a:pt x="5406" y="6787"/>
                  <a:pt x="5406" y="6847"/>
                  <a:pt x="5442" y="6883"/>
                </a:cubicBezTo>
                <a:lnTo>
                  <a:pt x="5573" y="7109"/>
                </a:lnTo>
                <a:cubicBezTo>
                  <a:pt x="5606" y="7158"/>
                  <a:pt x="5661" y="7185"/>
                  <a:pt x="5720" y="7185"/>
                </a:cubicBezTo>
                <a:cubicBezTo>
                  <a:pt x="5746" y="7185"/>
                  <a:pt x="5773" y="7179"/>
                  <a:pt x="5799" y="7168"/>
                </a:cubicBezTo>
                <a:cubicBezTo>
                  <a:pt x="5871" y="7121"/>
                  <a:pt x="5894" y="7014"/>
                  <a:pt x="5859" y="6942"/>
                </a:cubicBezTo>
                <a:lnTo>
                  <a:pt x="5763" y="6787"/>
                </a:lnTo>
                <a:lnTo>
                  <a:pt x="6133" y="5799"/>
                </a:lnTo>
                <a:lnTo>
                  <a:pt x="7621" y="6002"/>
                </a:lnTo>
                <a:lnTo>
                  <a:pt x="8930" y="6930"/>
                </a:lnTo>
                <a:cubicBezTo>
                  <a:pt x="8978" y="6954"/>
                  <a:pt x="9014" y="7002"/>
                  <a:pt x="9014" y="7061"/>
                </a:cubicBezTo>
                <a:cubicBezTo>
                  <a:pt x="9014" y="7121"/>
                  <a:pt x="8990" y="7168"/>
                  <a:pt x="8966" y="7204"/>
                </a:cubicBezTo>
                <a:lnTo>
                  <a:pt x="6466" y="10169"/>
                </a:lnTo>
                <a:lnTo>
                  <a:pt x="6454" y="10169"/>
                </a:lnTo>
                <a:lnTo>
                  <a:pt x="6275" y="10038"/>
                </a:lnTo>
                <a:lnTo>
                  <a:pt x="6275" y="10026"/>
                </a:lnTo>
                <a:lnTo>
                  <a:pt x="6597" y="8264"/>
                </a:lnTo>
                <a:cubicBezTo>
                  <a:pt x="6597" y="8216"/>
                  <a:pt x="6597" y="8192"/>
                  <a:pt x="6585" y="8145"/>
                </a:cubicBezTo>
                <a:lnTo>
                  <a:pt x="6192" y="7502"/>
                </a:lnTo>
                <a:cubicBezTo>
                  <a:pt x="6167" y="7452"/>
                  <a:pt x="6109" y="7426"/>
                  <a:pt x="6051" y="7426"/>
                </a:cubicBezTo>
                <a:cubicBezTo>
                  <a:pt x="6025" y="7426"/>
                  <a:pt x="6000" y="7431"/>
                  <a:pt x="5978" y="7442"/>
                </a:cubicBezTo>
                <a:cubicBezTo>
                  <a:pt x="5894" y="7490"/>
                  <a:pt x="5871" y="7597"/>
                  <a:pt x="5918" y="7668"/>
                </a:cubicBezTo>
                <a:lnTo>
                  <a:pt x="6275" y="8264"/>
                </a:lnTo>
                <a:lnTo>
                  <a:pt x="5954" y="9966"/>
                </a:lnTo>
                <a:cubicBezTo>
                  <a:pt x="5930" y="10097"/>
                  <a:pt x="5990" y="10216"/>
                  <a:pt x="6097" y="10300"/>
                </a:cubicBezTo>
                <a:lnTo>
                  <a:pt x="6275" y="10443"/>
                </a:lnTo>
                <a:cubicBezTo>
                  <a:pt x="6335" y="10478"/>
                  <a:pt x="6406" y="10502"/>
                  <a:pt x="6466" y="10502"/>
                </a:cubicBezTo>
                <a:cubicBezTo>
                  <a:pt x="6573" y="10502"/>
                  <a:pt x="6656" y="10455"/>
                  <a:pt x="6716" y="10383"/>
                </a:cubicBezTo>
                <a:lnTo>
                  <a:pt x="9216" y="7418"/>
                </a:lnTo>
                <a:cubicBezTo>
                  <a:pt x="9311" y="7311"/>
                  <a:pt x="9347" y="7168"/>
                  <a:pt x="9335" y="7014"/>
                </a:cubicBezTo>
                <a:cubicBezTo>
                  <a:pt x="9323" y="6871"/>
                  <a:pt x="9228" y="6752"/>
                  <a:pt x="9133" y="6656"/>
                </a:cubicBezTo>
                <a:lnTo>
                  <a:pt x="7787" y="5716"/>
                </a:lnTo>
                <a:cubicBezTo>
                  <a:pt x="7776" y="5704"/>
                  <a:pt x="7740" y="5692"/>
                  <a:pt x="7716" y="5692"/>
                </a:cubicBezTo>
                <a:lnTo>
                  <a:pt x="6049" y="5454"/>
                </a:lnTo>
                <a:cubicBezTo>
                  <a:pt x="6040" y="5452"/>
                  <a:pt x="6031" y="5452"/>
                  <a:pt x="6022" y="5452"/>
                </a:cubicBezTo>
                <a:cubicBezTo>
                  <a:pt x="5958" y="5452"/>
                  <a:pt x="5891" y="5488"/>
                  <a:pt x="5871" y="5561"/>
                </a:cubicBezTo>
                <a:lnTo>
                  <a:pt x="5811" y="5704"/>
                </a:lnTo>
                <a:lnTo>
                  <a:pt x="4966" y="4990"/>
                </a:lnTo>
                <a:cubicBezTo>
                  <a:pt x="4930" y="4966"/>
                  <a:pt x="4882" y="4942"/>
                  <a:pt x="4847" y="4942"/>
                </a:cubicBezTo>
                <a:lnTo>
                  <a:pt x="4216" y="5025"/>
                </a:lnTo>
                <a:lnTo>
                  <a:pt x="4192" y="4466"/>
                </a:lnTo>
                <a:cubicBezTo>
                  <a:pt x="4192" y="4382"/>
                  <a:pt x="4251" y="4287"/>
                  <a:pt x="4335" y="4275"/>
                </a:cubicBezTo>
                <a:lnTo>
                  <a:pt x="5466" y="4097"/>
                </a:lnTo>
                <a:lnTo>
                  <a:pt x="5478" y="4501"/>
                </a:lnTo>
                <a:cubicBezTo>
                  <a:pt x="5478" y="4585"/>
                  <a:pt x="5561" y="4668"/>
                  <a:pt x="5644" y="4668"/>
                </a:cubicBezTo>
                <a:cubicBezTo>
                  <a:pt x="5740" y="4668"/>
                  <a:pt x="5811" y="4585"/>
                  <a:pt x="5811" y="4501"/>
                </a:cubicBezTo>
                <a:lnTo>
                  <a:pt x="5799" y="3978"/>
                </a:lnTo>
                <a:lnTo>
                  <a:pt x="6454" y="3239"/>
                </a:lnTo>
                <a:cubicBezTo>
                  <a:pt x="6514" y="3156"/>
                  <a:pt x="6514" y="3073"/>
                  <a:pt x="6430" y="3001"/>
                </a:cubicBezTo>
                <a:cubicBezTo>
                  <a:pt x="6396" y="2973"/>
                  <a:pt x="6359" y="2958"/>
                  <a:pt x="6321" y="2958"/>
                </a:cubicBezTo>
                <a:cubicBezTo>
                  <a:pt x="6279" y="2958"/>
                  <a:pt x="6236" y="2976"/>
                  <a:pt x="6192" y="3013"/>
                </a:cubicBezTo>
                <a:lnTo>
                  <a:pt x="5525" y="3775"/>
                </a:lnTo>
                <a:lnTo>
                  <a:pt x="4275" y="3978"/>
                </a:lnTo>
                <a:cubicBezTo>
                  <a:pt x="4025" y="4025"/>
                  <a:pt x="3835" y="4251"/>
                  <a:pt x="3847" y="4513"/>
                </a:cubicBezTo>
                <a:lnTo>
                  <a:pt x="3870" y="5085"/>
                </a:lnTo>
                <a:lnTo>
                  <a:pt x="3858" y="5085"/>
                </a:lnTo>
                <a:cubicBezTo>
                  <a:pt x="3799" y="5085"/>
                  <a:pt x="3739" y="5061"/>
                  <a:pt x="3716" y="5025"/>
                </a:cubicBezTo>
                <a:lnTo>
                  <a:pt x="2525" y="3799"/>
                </a:lnTo>
                <a:cubicBezTo>
                  <a:pt x="2477" y="3751"/>
                  <a:pt x="2465" y="3692"/>
                  <a:pt x="2477" y="3620"/>
                </a:cubicBezTo>
                <a:lnTo>
                  <a:pt x="2775" y="2358"/>
                </a:lnTo>
                <a:cubicBezTo>
                  <a:pt x="2823" y="2180"/>
                  <a:pt x="2787" y="1989"/>
                  <a:pt x="2680" y="1834"/>
                </a:cubicBezTo>
                <a:lnTo>
                  <a:pt x="2418" y="1406"/>
                </a:lnTo>
                <a:cubicBezTo>
                  <a:pt x="2668" y="1215"/>
                  <a:pt x="2954" y="1037"/>
                  <a:pt x="3239" y="894"/>
                </a:cubicBezTo>
                <a:lnTo>
                  <a:pt x="3454" y="1251"/>
                </a:lnTo>
                <a:cubicBezTo>
                  <a:pt x="3485" y="1306"/>
                  <a:pt x="3536" y="1330"/>
                  <a:pt x="3588" y="1330"/>
                </a:cubicBezTo>
                <a:cubicBezTo>
                  <a:pt x="3616" y="1330"/>
                  <a:pt x="3643" y="1323"/>
                  <a:pt x="3668" y="1311"/>
                </a:cubicBezTo>
                <a:lnTo>
                  <a:pt x="4442" y="989"/>
                </a:lnTo>
                <a:lnTo>
                  <a:pt x="5168" y="953"/>
                </a:lnTo>
                <a:cubicBezTo>
                  <a:pt x="5216" y="953"/>
                  <a:pt x="5228" y="977"/>
                  <a:pt x="5240" y="989"/>
                </a:cubicBezTo>
                <a:cubicBezTo>
                  <a:pt x="5263" y="1001"/>
                  <a:pt x="5275" y="1013"/>
                  <a:pt x="5275" y="1061"/>
                </a:cubicBezTo>
                <a:cubicBezTo>
                  <a:pt x="5275" y="1096"/>
                  <a:pt x="5240" y="1120"/>
                  <a:pt x="5228" y="1132"/>
                </a:cubicBezTo>
                <a:lnTo>
                  <a:pt x="4585" y="1453"/>
                </a:lnTo>
                <a:cubicBezTo>
                  <a:pt x="4525" y="1477"/>
                  <a:pt x="4501" y="1525"/>
                  <a:pt x="4501" y="1596"/>
                </a:cubicBezTo>
                <a:cubicBezTo>
                  <a:pt x="4501" y="1668"/>
                  <a:pt x="4525" y="1715"/>
                  <a:pt x="4585" y="1751"/>
                </a:cubicBezTo>
                <a:lnTo>
                  <a:pt x="5621" y="2346"/>
                </a:lnTo>
                <a:cubicBezTo>
                  <a:pt x="5641" y="2360"/>
                  <a:pt x="5666" y="2366"/>
                  <a:pt x="5693" y="2366"/>
                </a:cubicBezTo>
                <a:cubicBezTo>
                  <a:pt x="5712" y="2366"/>
                  <a:pt x="5732" y="2363"/>
                  <a:pt x="5752" y="2358"/>
                </a:cubicBezTo>
                <a:cubicBezTo>
                  <a:pt x="5799" y="2346"/>
                  <a:pt x="5823" y="2311"/>
                  <a:pt x="5859" y="2263"/>
                </a:cubicBezTo>
                <a:lnTo>
                  <a:pt x="6109" y="1608"/>
                </a:lnTo>
                <a:lnTo>
                  <a:pt x="7240" y="2311"/>
                </a:lnTo>
                <a:lnTo>
                  <a:pt x="7240" y="2323"/>
                </a:lnTo>
                <a:cubicBezTo>
                  <a:pt x="7240" y="2323"/>
                  <a:pt x="7240" y="2346"/>
                  <a:pt x="7228" y="2346"/>
                </a:cubicBezTo>
                <a:lnTo>
                  <a:pt x="6716" y="2501"/>
                </a:lnTo>
                <a:cubicBezTo>
                  <a:pt x="6633" y="2537"/>
                  <a:pt x="6585" y="2620"/>
                  <a:pt x="6609" y="2715"/>
                </a:cubicBezTo>
                <a:cubicBezTo>
                  <a:pt x="6644" y="2787"/>
                  <a:pt x="6704" y="2835"/>
                  <a:pt x="6764" y="2835"/>
                </a:cubicBezTo>
                <a:cubicBezTo>
                  <a:pt x="6775" y="2835"/>
                  <a:pt x="6787" y="2835"/>
                  <a:pt x="6811" y="2823"/>
                </a:cubicBezTo>
                <a:lnTo>
                  <a:pt x="7311" y="2656"/>
                </a:lnTo>
                <a:cubicBezTo>
                  <a:pt x="7430" y="2608"/>
                  <a:pt x="7526" y="2501"/>
                  <a:pt x="7537" y="2370"/>
                </a:cubicBezTo>
                <a:cubicBezTo>
                  <a:pt x="7549" y="2239"/>
                  <a:pt x="7490" y="2120"/>
                  <a:pt x="7371" y="2049"/>
                </a:cubicBezTo>
                <a:lnTo>
                  <a:pt x="6073" y="1239"/>
                </a:lnTo>
                <a:cubicBezTo>
                  <a:pt x="6052" y="1225"/>
                  <a:pt x="6027" y="1219"/>
                  <a:pt x="6000" y="1219"/>
                </a:cubicBezTo>
                <a:cubicBezTo>
                  <a:pt x="5981" y="1219"/>
                  <a:pt x="5962" y="1222"/>
                  <a:pt x="5942" y="1227"/>
                </a:cubicBezTo>
                <a:cubicBezTo>
                  <a:pt x="5894" y="1239"/>
                  <a:pt x="5859" y="1275"/>
                  <a:pt x="5835" y="1311"/>
                </a:cubicBezTo>
                <a:lnTo>
                  <a:pt x="5585" y="1965"/>
                </a:lnTo>
                <a:lnTo>
                  <a:pt x="4990" y="1632"/>
                </a:lnTo>
                <a:lnTo>
                  <a:pt x="5347" y="1453"/>
                </a:lnTo>
                <a:cubicBezTo>
                  <a:pt x="5478" y="1394"/>
                  <a:pt x="5561" y="1275"/>
                  <a:pt x="5585" y="1120"/>
                </a:cubicBezTo>
                <a:cubicBezTo>
                  <a:pt x="5597" y="1001"/>
                  <a:pt x="5561" y="882"/>
                  <a:pt x="5478" y="775"/>
                </a:cubicBezTo>
                <a:cubicBezTo>
                  <a:pt x="5394" y="691"/>
                  <a:pt x="5275" y="644"/>
                  <a:pt x="5156" y="644"/>
                </a:cubicBezTo>
                <a:lnTo>
                  <a:pt x="4394" y="680"/>
                </a:lnTo>
                <a:cubicBezTo>
                  <a:pt x="4382" y="680"/>
                  <a:pt x="4347" y="680"/>
                  <a:pt x="4335" y="691"/>
                </a:cubicBezTo>
                <a:lnTo>
                  <a:pt x="3668" y="977"/>
                </a:lnTo>
                <a:lnTo>
                  <a:pt x="3549" y="775"/>
                </a:lnTo>
                <a:cubicBezTo>
                  <a:pt x="4192" y="513"/>
                  <a:pt x="4870" y="382"/>
                  <a:pt x="5585" y="382"/>
                </a:cubicBezTo>
                <a:close/>
                <a:moveTo>
                  <a:pt x="5585" y="1"/>
                </a:moveTo>
                <a:cubicBezTo>
                  <a:pt x="4097" y="1"/>
                  <a:pt x="2704" y="584"/>
                  <a:pt x="1644" y="1644"/>
                </a:cubicBezTo>
                <a:cubicBezTo>
                  <a:pt x="584" y="2704"/>
                  <a:pt x="1" y="4097"/>
                  <a:pt x="1" y="5585"/>
                </a:cubicBezTo>
                <a:cubicBezTo>
                  <a:pt x="1" y="7073"/>
                  <a:pt x="584" y="8478"/>
                  <a:pt x="1644" y="9526"/>
                </a:cubicBezTo>
                <a:cubicBezTo>
                  <a:pt x="2704" y="10586"/>
                  <a:pt x="4097" y="11169"/>
                  <a:pt x="5585" y="11169"/>
                </a:cubicBezTo>
                <a:cubicBezTo>
                  <a:pt x="7073" y="11169"/>
                  <a:pt x="8478" y="10586"/>
                  <a:pt x="9526" y="9526"/>
                </a:cubicBezTo>
                <a:cubicBezTo>
                  <a:pt x="10585" y="8478"/>
                  <a:pt x="11169" y="7073"/>
                  <a:pt x="11169" y="5585"/>
                </a:cubicBezTo>
                <a:cubicBezTo>
                  <a:pt x="11169" y="4097"/>
                  <a:pt x="10585" y="2692"/>
                  <a:pt x="9526" y="1644"/>
                </a:cubicBezTo>
                <a:cubicBezTo>
                  <a:pt x="8478" y="584"/>
                  <a:pt x="7073" y="1"/>
                  <a:pt x="558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25" name="Google Shape;13125;p63"/>
          <p:cNvGrpSpPr/>
          <p:nvPr/>
        </p:nvGrpSpPr>
        <p:grpSpPr>
          <a:xfrm>
            <a:off x="3316269" y="3352402"/>
            <a:ext cx="344832" cy="356544"/>
            <a:chOff x="3316269" y="3352402"/>
            <a:chExt cx="344832" cy="356544"/>
          </a:xfrm>
        </p:grpSpPr>
        <p:sp>
          <p:nvSpPr>
            <p:cNvPr id="13126" name="Google Shape;13126;p63"/>
            <p:cNvSpPr/>
            <p:nvPr/>
          </p:nvSpPr>
          <p:spPr>
            <a:xfrm>
              <a:off x="3546381" y="3557138"/>
              <a:ext cx="19840" cy="16576"/>
            </a:xfrm>
            <a:custGeom>
              <a:avLst/>
              <a:gdLst/>
              <a:ahLst/>
              <a:cxnLst/>
              <a:rect l="l" t="t" r="r" b="b"/>
              <a:pathLst>
                <a:path w="620" h="518" extrusionOk="0">
                  <a:moveTo>
                    <a:pt x="166" y="0"/>
                  </a:moveTo>
                  <a:cubicBezTo>
                    <a:pt x="115" y="0"/>
                    <a:pt x="65" y="22"/>
                    <a:pt x="37" y="65"/>
                  </a:cubicBezTo>
                  <a:cubicBezTo>
                    <a:pt x="1" y="148"/>
                    <a:pt x="13" y="243"/>
                    <a:pt x="84" y="291"/>
                  </a:cubicBezTo>
                  <a:lnTo>
                    <a:pt x="358" y="481"/>
                  </a:lnTo>
                  <a:cubicBezTo>
                    <a:pt x="382" y="505"/>
                    <a:pt x="418" y="517"/>
                    <a:pt x="441" y="517"/>
                  </a:cubicBezTo>
                  <a:cubicBezTo>
                    <a:pt x="489" y="517"/>
                    <a:pt x="549" y="481"/>
                    <a:pt x="572" y="446"/>
                  </a:cubicBezTo>
                  <a:cubicBezTo>
                    <a:pt x="620" y="362"/>
                    <a:pt x="596" y="267"/>
                    <a:pt x="537" y="220"/>
                  </a:cubicBezTo>
                  <a:lnTo>
                    <a:pt x="263" y="29"/>
                  </a:lnTo>
                  <a:cubicBezTo>
                    <a:pt x="234" y="10"/>
                    <a:pt x="200" y="0"/>
                    <a:pt x="16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7" name="Google Shape;13127;p63"/>
            <p:cNvSpPr/>
            <p:nvPr/>
          </p:nvSpPr>
          <p:spPr>
            <a:xfrm>
              <a:off x="3449997" y="3423730"/>
              <a:ext cx="14496" cy="18144"/>
            </a:xfrm>
            <a:custGeom>
              <a:avLst/>
              <a:gdLst/>
              <a:ahLst/>
              <a:cxnLst/>
              <a:rect l="l" t="t" r="r" b="b"/>
              <a:pathLst>
                <a:path w="453" h="567" extrusionOk="0">
                  <a:moveTo>
                    <a:pt x="180" y="1"/>
                  </a:moveTo>
                  <a:cubicBezTo>
                    <a:pt x="164" y="1"/>
                    <a:pt x="148" y="3"/>
                    <a:pt x="132" y="7"/>
                  </a:cubicBezTo>
                  <a:cubicBezTo>
                    <a:pt x="48" y="43"/>
                    <a:pt x="1" y="126"/>
                    <a:pt x="36" y="221"/>
                  </a:cubicBezTo>
                  <a:lnTo>
                    <a:pt x="108" y="459"/>
                  </a:lnTo>
                  <a:cubicBezTo>
                    <a:pt x="132" y="531"/>
                    <a:pt x="191" y="567"/>
                    <a:pt x="251" y="567"/>
                  </a:cubicBezTo>
                  <a:cubicBezTo>
                    <a:pt x="274" y="567"/>
                    <a:pt x="286" y="567"/>
                    <a:pt x="310" y="543"/>
                  </a:cubicBezTo>
                  <a:cubicBezTo>
                    <a:pt x="405" y="531"/>
                    <a:pt x="453" y="436"/>
                    <a:pt x="417" y="352"/>
                  </a:cubicBezTo>
                  <a:lnTo>
                    <a:pt x="346" y="114"/>
                  </a:lnTo>
                  <a:cubicBezTo>
                    <a:pt x="316" y="45"/>
                    <a:pt x="254" y="1"/>
                    <a:pt x="1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8" name="Google Shape;13128;p63"/>
            <p:cNvSpPr/>
            <p:nvPr/>
          </p:nvSpPr>
          <p:spPr>
            <a:xfrm>
              <a:off x="3316269" y="3352402"/>
              <a:ext cx="344832" cy="356544"/>
            </a:xfrm>
            <a:custGeom>
              <a:avLst/>
              <a:gdLst/>
              <a:ahLst/>
              <a:cxnLst/>
              <a:rect l="l" t="t" r="r" b="b"/>
              <a:pathLst>
                <a:path w="10776" h="11142" extrusionOk="0">
                  <a:moveTo>
                    <a:pt x="2870" y="2819"/>
                  </a:moveTo>
                  <a:cubicBezTo>
                    <a:pt x="2941" y="2819"/>
                    <a:pt x="3013" y="2867"/>
                    <a:pt x="3048" y="2950"/>
                  </a:cubicBezTo>
                  <a:cubicBezTo>
                    <a:pt x="3084" y="2998"/>
                    <a:pt x="3060" y="3046"/>
                    <a:pt x="3048" y="3093"/>
                  </a:cubicBezTo>
                  <a:cubicBezTo>
                    <a:pt x="3025" y="3129"/>
                    <a:pt x="2989" y="3165"/>
                    <a:pt x="2941" y="3189"/>
                  </a:cubicBezTo>
                  <a:cubicBezTo>
                    <a:pt x="2925" y="3199"/>
                    <a:pt x="2904" y="3205"/>
                    <a:pt x="2882" y="3205"/>
                  </a:cubicBezTo>
                  <a:cubicBezTo>
                    <a:pt x="2854" y="3205"/>
                    <a:pt x="2825" y="3196"/>
                    <a:pt x="2798" y="3177"/>
                  </a:cubicBezTo>
                  <a:cubicBezTo>
                    <a:pt x="2751" y="3153"/>
                    <a:pt x="2727" y="3117"/>
                    <a:pt x="2691" y="3069"/>
                  </a:cubicBezTo>
                  <a:cubicBezTo>
                    <a:pt x="2656" y="2974"/>
                    <a:pt x="2703" y="2867"/>
                    <a:pt x="2810" y="2831"/>
                  </a:cubicBezTo>
                  <a:cubicBezTo>
                    <a:pt x="2822" y="2831"/>
                    <a:pt x="2858" y="2819"/>
                    <a:pt x="2870" y="2819"/>
                  </a:cubicBezTo>
                  <a:close/>
                  <a:moveTo>
                    <a:pt x="2310" y="3367"/>
                  </a:moveTo>
                  <a:cubicBezTo>
                    <a:pt x="2382" y="3367"/>
                    <a:pt x="2453" y="3415"/>
                    <a:pt x="2489" y="3498"/>
                  </a:cubicBezTo>
                  <a:cubicBezTo>
                    <a:pt x="2501" y="3546"/>
                    <a:pt x="2501" y="3605"/>
                    <a:pt x="2465" y="3653"/>
                  </a:cubicBezTo>
                  <a:cubicBezTo>
                    <a:pt x="2441" y="3701"/>
                    <a:pt x="2406" y="3724"/>
                    <a:pt x="2370" y="3760"/>
                  </a:cubicBezTo>
                  <a:cubicBezTo>
                    <a:pt x="2352" y="3764"/>
                    <a:pt x="2333" y="3767"/>
                    <a:pt x="2314" y="3767"/>
                  </a:cubicBezTo>
                  <a:cubicBezTo>
                    <a:pt x="2280" y="3767"/>
                    <a:pt x="2245" y="3759"/>
                    <a:pt x="2215" y="3736"/>
                  </a:cubicBezTo>
                  <a:cubicBezTo>
                    <a:pt x="2167" y="3712"/>
                    <a:pt x="2144" y="3677"/>
                    <a:pt x="2108" y="3641"/>
                  </a:cubicBezTo>
                  <a:cubicBezTo>
                    <a:pt x="2108" y="3593"/>
                    <a:pt x="2108" y="3534"/>
                    <a:pt x="2144" y="3486"/>
                  </a:cubicBezTo>
                  <a:cubicBezTo>
                    <a:pt x="2167" y="3450"/>
                    <a:pt x="2203" y="3415"/>
                    <a:pt x="2251" y="3379"/>
                  </a:cubicBezTo>
                  <a:cubicBezTo>
                    <a:pt x="2263" y="3379"/>
                    <a:pt x="2286" y="3367"/>
                    <a:pt x="2310" y="3367"/>
                  </a:cubicBezTo>
                  <a:close/>
                  <a:moveTo>
                    <a:pt x="3060" y="3546"/>
                  </a:moveTo>
                  <a:cubicBezTo>
                    <a:pt x="3096" y="3546"/>
                    <a:pt x="3120" y="3546"/>
                    <a:pt x="3156" y="3570"/>
                  </a:cubicBezTo>
                  <a:cubicBezTo>
                    <a:pt x="3191" y="3593"/>
                    <a:pt x="3227" y="3629"/>
                    <a:pt x="3263" y="3665"/>
                  </a:cubicBezTo>
                  <a:cubicBezTo>
                    <a:pt x="3275" y="3724"/>
                    <a:pt x="3263" y="3772"/>
                    <a:pt x="3239" y="3831"/>
                  </a:cubicBezTo>
                  <a:cubicBezTo>
                    <a:pt x="3215" y="3879"/>
                    <a:pt x="3179" y="3903"/>
                    <a:pt x="3144" y="3939"/>
                  </a:cubicBezTo>
                  <a:cubicBezTo>
                    <a:pt x="3124" y="3944"/>
                    <a:pt x="3102" y="3946"/>
                    <a:pt x="3080" y="3946"/>
                  </a:cubicBezTo>
                  <a:cubicBezTo>
                    <a:pt x="3049" y="3946"/>
                    <a:pt x="3017" y="3941"/>
                    <a:pt x="2989" y="3927"/>
                  </a:cubicBezTo>
                  <a:cubicBezTo>
                    <a:pt x="2941" y="3891"/>
                    <a:pt x="2917" y="3867"/>
                    <a:pt x="2882" y="3820"/>
                  </a:cubicBezTo>
                  <a:cubicBezTo>
                    <a:pt x="2870" y="3772"/>
                    <a:pt x="2870" y="3712"/>
                    <a:pt x="2894" y="3665"/>
                  </a:cubicBezTo>
                  <a:cubicBezTo>
                    <a:pt x="2929" y="3629"/>
                    <a:pt x="2953" y="3593"/>
                    <a:pt x="3001" y="3570"/>
                  </a:cubicBezTo>
                  <a:cubicBezTo>
                    <a:pt x="3025" y="3570"/>
                    <a:pt x="3048" y="3546"/>
                    <a:pt x="3060" y="3546"/>
                  </a:cubicBezTo>
                  <a:close/>
                  <a:moveTo>
                    <a:pt x="3584" y="3843"/>
                  </a:moveTo>
                  <a:lnTo>
                    <a:pt x="4191" y="4343"/>
                  </a:lnTo>
                  <a:lnTo>
                    <a:pt x="3501" y="4046"/>
                  </a:lnTo>
                  <a:cubicBezTo>
                    <a:pt x="3513" y="4022"/>
                    <a:pt x="3525" y="3998"/>
                    <a:pt x="3537" y="3962"/>
                  </a:cubicBezTo>
                  <a:cubicBezTo>
                    <a:pt x="3560" y="3939"/>
                    <a:pt x="3572" y="3891"/>
                    <a:pt x="3584" y="3843"/>
                  </a:cubicBezTo>
                  <a:close/>
                  <a:moveTo>
                    <a:pt x="9478" y="3974"/>
                  </a:moveTo>
                  <a:cubicBezTo>
                    <a:pt x="9835" y="4141"/>
                    <a:pt x="10145" y="4391"/>
                    <a:pt x="10418" y="4713"/>
                  </a:cubicBezTo>
                  <a:cubicBezTo>
                    <a:pt x="10228" y="4998"/>
                    <a:pt x="9966" y="5260"/>
                    <a:pt x="9704" y="5451"/>
                  </a:cubicBezTo>
                  <a:cubicBezTo>
                    <a:pt x="9597" y="5332"/>
                    <a:pt x="9478" y="5248"/>
                    <a:pt x="9347" y="5153"/>
                  </a:cubicBezTo>
                  <a:cubicBezTo>
                    <a:pt x="9228" y="5094"/>
                    <a:pt x="9097" y="5022"/>
                    <a:pt x="8918" y="4963"/>
                  </a:cubicBezTo>
                  <a:lnTo>
                    <a:pt x="9406" y="4939"/>
                  </a:lnTo>
                  <a:cubicBezTo>
                    <a:pt x="9490" y="4939"/>
                    <a:pt x="9573" y="4844"/>
                    <a:pt x="9549" y="4760"/>
                  </a:cubicBezTo>
                  <a:cubicBezTo>
                    <a:pt x="9549" y="4672"/>
                    <a:pt x="9478" y="4604"/>
                    <a:pt x="9391" y="4604"/>
                  </a:cubicBezTo>
                  <a:cubicBezTo>
                    <a:pt x="9385" y="4604"/>
                    <a:pt x="9378" y="4605"/>
                    <a:pt x="9371" y="4605"/>
                  </a:cubicBezTo>
                  <a:lnTo>
                    <a:pt x="8656" y="4665"/>
                  </a:lnTo>
                  <a:cubicBezTo>
                    <a:pt x="8871" y="4546"/>
                    <a:pt x="9061" y="4427"/>
                    <a:pt x="9192" y="4308"/>
                  </a:cubicBezTo>
                  <a:cubicBezTo>
                    <a:pt x="9299" y="4201"/>
                    <a:pt x="9394" y="4105"/>
                    <a:pt x="9478" y="3974"/>
                  </a:cubicBezTo>
                  <a:close/>
                  <a:moveTo>
                    <a:pt x="4245" y="304"/>
                  </a:moveTo>
                  <a:cubicBezTo>
                    <a:pt x="4475" y="304"/>
                    <a:pt x="4701" y="348"/>
                    <a:pt x="4906" y="438"/>
                  </a:cubicBezTo>
                  <a:cubicBezTo>
                    <a:pt x="5299" y="605"/>
                    <a:pt x="5561" y="903"/>
                    <a:pt x="5704" y="1260"/>
                  </a:cubicBezTo>
                  <a:cubicBezTo>
                    <a:pt x="5787" y="1522"/>
                    <a:pt x="5835" y="1867"/>
                    <a:pt x="5799" y="2284"/>
                  </a:cubicBezTo>
                  <a:cubicBezTo>
                    <a:pt x="5537" y="2819"/>
                    <a:pt x="5370" y="3367"/>
                    <a:pt x="5287" y="3665"/>
                  </a:cubicBezTo>
                  <a:cubicBezTo>
                    <a:pt x="5251" y="3760"/>
                    <a:pt x="5311" y="3843"/>
                    <a:pt x="5406" y="3879"/>
                  </a:cubicBezTo>
                  <a:cubicBezTo>
                    <a:pt x="5418" y="3883"/>
                    <a:pt x="5431" y="3884"/>
                    <a:pt x="5444" y="3884"/>
                  </a:cubicBezTo>
                  <a:cubicBezTo>
                    <a:pt x="5516" y="3884"/>
                    <a:pt x="5588" y="3831"/>
                    <a:pt x="5608" y="3760"/>
                  </a:cubicBezTo>
                  <a:cubicBezTo>
                    <a:pt x="5894" y="2748"/>
                    <a:pt x="6311" y="1926"/>
                    <a:pt x="6727" y="1534"/>
                  </a:cubicBezTo>
                  <a:cubicBezTo>
                    <a:pt x="6972" y="1309"/>
                    <a:pt x="7286" y="1190"/>
                    <a:pt x="7633" y="1190"/>
                  </a:cubicBezTo>
                  <a:cubicBezTo>
                    <a:pt x="7691" y="1190"/>
                    <a:pt x="7751" y="1193"/>
                    <a:pt x="7811" y="1200"/>
                  </a:cubicBezTo>
                  <a:cubicBezTo>
                    <a:pt x="8228" y="1236"/>
                    <a:pt x="8632" y="1450"/>
                    <a:pt x="8930" y="1772"/>
                  </a:cubicBezTo>
                  <a:cubicBezTo>
                    <a:pt x="9228" y="2105"/>
                    <a:pt x="9394" y="2522"/>
                    <a:pt x="9394" y="2939"/>
                  </a:cubicBezTo>
                  <a:cubicBezTo>
                    <a:pt x="9394" y="3355"/>
                    <a:pt x="9228" y="3724"/>
                    <a:pt x="8942" y="3974"/>
                  </a:cubicBezTo>
                  <a:cubicBezTo>
                    <a:pt x="8656" y="4236"/>
                    <a:pt x="8180" y="4474"/>
                    <a:pt x="7561" y="4653"/>
                  </a:cubicBezTo>
                  <a:lnTo>
                    <a:pt x="7549" y="4653"/>
                  </a:lnTo>
                  <a:cubicBezTo>
                    <a:pt x="7430" y="4641"/>
                    <a:pt x="7299" y="4635"/>
                    <a:pt x="7161" y="4635"/>
                  </a:cubicBezTo>
                  <a:cubicBezTo>
                    <a:pt x="7022" y="4635"/>
                    <a:pt x="6876" y="4641"/>
                    <a:pt x="6727" y="4653"/>
                  </a:cubicBezTo>
                  <a:cubicBezTo>
                    <a:pt x="6632" y="4653"/>
                    <a:pt x="6561" y="4724"/>
                    <a:pt x="6561" y="4808"/>
                  </a:cubicBezTo>
                  <a:cubicBezTo>
                    <a:pt x="6561" y="4903"/>
                    <a:pt x="6632" y="4974"/>
                    <a:pt x="6727" y="4974"/>
                  </a:cubicBezTo>
                  <a:cubicBezTo>
                    <a:pt x="6825" y="4971"/>
                    <a:pt x="6935" y="4968"/>
                    <a:pt x="7055" y="4968"/>
                  </a:cubicBezTo>
                  <a:cubicBezTo>
                    <a:pt x="7682" y="4968"/>
                    <a:pt x="8561" y="5039"/>
                    <a:pt x="9121" y="5379"/>
                  </a:cubicBezTo>
                  <a:cubicBezTo>
                    <a:pt x="9871" y="5856"/>
                    <a:pt x="10061" y="6844"/>
                    <a:pt x="9597" y="7630"/>
                  </a:cubicBezTo>
                  <a:cubicBezTo>
                    <a:pt x="9275" y="8174"/>
                    <a:pt x="8718" y="8485"/>
                    <a:pt x="8177" y="8485"/>
                  </a:cubicBezTo>
                  <a:cubicBezTo>
                    <a:pt x="7937" y="8485"/>
                    <a:pt x="7701" y="8424"/>
                    <a:pt x="7489" y="8296"/>
                  </a:cubicBezTo>
                  <a:cubicBezTo>
                    <a:pt x="6870" y="7939"/>
                    <a:pt x="6156" y="6975"/>
                    <a:pt x="5954" y="6487"/>
                  </a:cubicBezTo>
                  <a:cubicBezTo>
                    <a:pt x="5954" y="6463"/>
                    <a:pt x="5942" y="6463"/>
                    <a:pt x="5942" y="6451"/>
                  </a:cubicBezTo>
                  <a:cubicBezTo>
                    <a:pt x="5918" y="6356"/>
                    <a:pt x="5906" y="6284"/>
                    <a:pt x="5894" y="6213"/>
                  </a:cubicBezTo>
                  <a:cubicBezTo>
                    <a:pt x="5884" y="6132"/>
                    <a:pt x="5813" y="6077"/>
                    <a:pt x="5741" y="6077"/>
                  </a:cubicBezTo>
                  <a:cubicBezTo>
                    <a:pt x="5729" y="6077"/>
                    <a:pt x="5716" y="6078"/>
                    <a:pt x="5704" y="6082"/>
                  </a:cubicBezTo>
                  <a:cubicBezTo>
                    <a:pt x="5608" y="6094"/>
                    <a:pt x="5549" y="6189"/>
                    <a:pt x="5561" y="6272"/>
                  </a:cubicBezTo>
                  <a:cubicBezTo>
                    <a:pt x="5823" y="7463"/>
                    <a:pt x="5739" y="8475"/>
                    <a:pt x="5549" y="8951"/>
                  </a:cubicBezTo>
                  <a:cubicBezTo>
                    <a:pt x="5323" y="9499"/>
                    <a:pt x="4763" y="9844"/>
                    <a:pt x="4132" y="9844"/>
                  </a:cubicBezTo>
                  <a:cubicBezTo>
                    <a:pt x="3918" y="9844"/>
                    <a:pt x="3691" y="9797"/>
                    <a:pt x="3465" y="9713"/>
                  </a:cubicBezTo>
                  <a:cubicBezTo>
                    <a:pt x="2620" y="9368"/>
                    <a:pt x="2167" y="8487"/>
                    <a:pt x="2465" y="7737"/>
                  </a:cubicBezTo>
                  <a:cubicBezTo>
                    <a:pt x="2620" y="7356"/>
                    <a:pt x="2965" y="6927"/>
                    <a:pt x="3465" y="6463"/>
                  </a:cubicBezTo>
                  <a:cubicBezTo>
                    <a:pt x="3691" y="6379"/>
                    <a:pt x="3894" y="6272"/>
                    <a:pt x="4072" y="6165"/>
                  </a:cubicBezTo>
                  <a:cubicBezTo>
                    <a:pt x="4156" y="6129"/>
                    <a:pt x="4180" y="6034"/>
                    <a:pt x="4156" y="5951"/>
                  </a:cubicBezTo>
                  <a:cubicBezTo>
                    <a:pt x="4120" y="5888"/>
                    <a:pt x="4056" y="5859"/>
                    <a:pt x="3991" y="5859"/>
                  </a:cubicBezTo>
                  <a:cubicBezTo>
                    <a:pt x="3971" y="5859"/>
                    <a:pt x="3950" y="5862"/>
                    <a:pt x="3930" y="5867"/>
                  </a:cubicBezTo>
                  <a:cubicBezTo>
                    <a:pt x="3136" y="6291"/>
                    <a:pt x="2413" y="6517"/>
                    <a:pt x="1867" y="6517"/>
                  </a:cubicBezTo>
                  <a:cubicBezTo>
                    <a:pt x="1815" y="6517"/>
                    <a:pt x="1764" y="6515"/>
                    <a:pt x="1715" y="6510"/>
                  </a:cubicBezTo>
                  <a:cubicBezTo>
                    <a:pt x="1322" y="6475"/>
                    <a:pt x="965" y="6284"/>
                    <a:pt x="715" y="5963"/>
                  </a:cubicBezTo>
                  <a:cubicBezTo>
                    <a:pt x="465" y="5629"/>
                    <a:pt x="322" y="5201"/>
                    <a:pt x="370" y="4748"/>
                  </a:cubicBezTo>
                  <a:cubicBezTo>
                    <a:pt x="439" y="3885"/>
                    <a:pt x="1086" y="3222"/>
                    <a:pt x="1839" y="3222"/>
                  </a:cubicBezTo>
                  <a:cubicBezTo>
                    <a:pt x="1865" y="3222"/>
                    <a:pt x="1891" y="3223"/>
                    <a:pt x="1917" y="3224"/>
                  </a:cubicBezTo>
                  <a:cubicBezTo>
                    <a:pt x="1894" y="3248"/>
                    <a:pt x="1858" y="3296"/>
                    <a:pt x="1846" y="3343"/>
                  </a:cubicBezTo>
                  <a:cubicBezTo>
                    <a:pt x="1786" y="3462"/>
                    <a:pt x="1774" y="3605"/>
                    <a:pt x="1810" y="3736"/>
                  </a:cubicBezTo>
                  <a:cubicBezTo>
                    <a:pt x="1858" y="3879"/>
                    <a:pt x="1953" y="3974"/>
                    <a:pt x="2084" y="4034"/>
                  </a:cubicBezTo>
                  <a:cubicBezTo>
                    <a:pt x="2155" y="4070"/>
                    <a:pt x="2227" y="4093"/>
                    <a:pt x="2310" y="4093"/>
                  </a:cubicBezTo>
                  <a:cubicBezTo>
                    <a:pt x="2370" y="4093"/>
                    <a:pt x="2429" y="4082"/>
                    <a:pt x="2465" y="4070"/>
                  </a:cubicBezTo>
                  <a:cubicBezTo>
                    <a:pt x="2513" y="4058"/>
                    <a:pt x="2560" y="4022"/>
                    <a:pt x="2608" y="3998"/>
                  </a:cubicBezTo>
                  <a:cubicBezTo>
                    <a:pt x="2644" y="4082"/>
                    <a:pt x="2739" y="4153"/>
                    <a:pt x="2822" y="4201"/>
                  </a:cubicBezTo>
                  <a:cubicBezTo>
                    <a:pt x="2906" y="4236"/>
                    <a:pt x="2977" y="4260"/>
                    <a:pt x="3048" y="4260"/>
                  </a:cubicBezTo>
                  <a:cubicBezTo>
                    <a:pt x="3084" y="4260"/>
                    <a:pt x="3120" y="4260"/>
                    <a:pt x="3156" y="4248"/>
                  </a:cubicBezTo>
                  <a:lnTo>
                    <a:pt x="4692" y="4951"/>
                  </a:lnTo>
                  <a:lnTo>
                    <a:pt x="2406" y="4974"/>
                  </a:lnTo>
                  <a:cubicBezTo>
                    <a:pt x="2322" y="4974"/>
                    <a:pt x="2251" y="5046"/>
                    <a:pt x="2251" y="5141"/>
                  </a:cubicBezTo>
                  <a:cubicBezTo>
                    <a:pt x="2251" y="5225"/>
                    <a:pt x="2322" y="5308"/>
                    <a:pt x="2406" y="5308"/>
                  </a:cubicBezTo>
                  <a:lnTo>
                    <a:pt x="5049" y="5260"/>
                  </a:lnTo>
                  <a:lnTo>
                    <a:pt x="4275" y="7772"/>
                  </a:lnTo>
                  <a:lnTo>
                    <a:pt x="4275" y="7820"/>
                  </a:lnTo>
                  <a:cubicBezTo>
                    <a:pt x="4275" y="7892"/>
                    <a:pt x="4311" y="7951"/>
                    <a:pt x="4394" y="7963"/>
                  </a:cubicBezTo>
                  <a:lnTo>
                    <a:pt x="4430" y="7963"/>
                  </a:lnTo>
                  <a:cubicBezTo>
                    <a:pt x="4513" y="7963"/>
                    <a:pt x="4572" y="7927"/>
                    <a:pt x="4584" y="7844"/>
                  </a:cubicBezTo>
                  <a:lnTo>
                    <a:pt x="5358" y="5332"/>
                  </a:lnTo>
                  <a:lnTo>
                    <a:pt x="6668" y="6260"/>
                  </a:lnTo>
                  <a:cubicBezTo>
                    <a:pt x="6692" y="6272"/>
                    <a:pt x="6727" y="6284"/>
                    <a:pt x="6751" y="6284"/>
                  </a:cubicBezTo>
                  <a:cubicBezTo>
                    <a:pt x="6799" y="6284"/>
                    <a:pt x="6858" y="6260"/>
                    <a:pt x="6894" y="6213"/>
                  </a:cubicBezTo>
                  <a:cubicBezTo>
                    <a:pt x="6930" y="6141"/>
                    <a:pt x="6918" y="6034"/>
                    <a:pt x="6847" y="5987"/>
                  </a:cubicBezTo>
                  <a:lnTo>
                    <a:pt x="5537" y="5070"/>
                  </a:lnTo>
                  <a:lnTo>
                    <a:pt x="7644" y="3486"/>
                  </a:lnTo>
                  <a:cubicBezTo>
                    <a:pt x="7692" y="3462"/>
                    <a:pt x="7704" y="3415"/>
                    <a:pt x="7704" y="3355"/>
                  </a:cubicBezTo>
                  <a:cubicBezTo>
                    <a:pt x="7704" y="3331"/>
                    <a:pt x="7692" y="3284"/>
                    <a:pt x="7680" y="3248"/>
                  </a:cubicBezTo>
                  <a:cubicBezTo>
                    <a:pt x="7646" y="3208"/>
                    <a:pt x="7597" y="3186"/>
                    <a:pt x="7550" y="3186"/>
                  </a:cubicBezTo>
                  <a:cubicBezTo>
                    <a:pt x="7514" y="3186"/>
                    <a:pt x="7479" y="3199"/>
                    <a:pt x="7454" y="3224"/>
                  </a:cubicBezTo>
                  <a:lnTo>
                    <a:pt x="5346" y="4796"/>
                  </a:lnTo>
                  <a:lnTo>
                    <a:pt x="4775" y="3141"/>
                  </a:lnTo>
                  <a:cubicBezTo>
                    <a:pt x="4756" y="3077"/>
                    <a:pt x="4696" y="3034"/>
                    <a:pt x="4631" y="3034"/>
                  </a:cubicBezTo>
                  <a:cubicBezTo>
                    <a:pt x="4611" y="3034"/>
                    <a:pt x="4592" y="3037"/>
                    <a:pt x="4572" y="3046"/>
                  </a:cubicBezTo>
                  <a:cubicBezTo>
                    <a:pt x="4477" y="3069"/>
                    <a:pt x="4430" y="3165"/>
                    <a:pt x="4465" y="3248"/>
                  </a:cubicBezTo>
                  <a:lnTo>
                    <a:pt x="4882" y="4486"/>
                  </a:lnTo>
                  <a:lnTo>
                    <a:pt x="3298" y="3189"/>
                  </a:lnTo>
                  <a:cubicBezTo>
                    <a:pt x="3358" y="3069"/>
                    <a:pt x="3382" y="2927"/>
                    <a:pt x="3334" y="2784"/>
                  </a:cubicBezTo>
                  <a:cubicBezTo>
                    <a:pt x="3258" y="2575"/>
                    <a:pt x="3053" y="2434"/>
                    <a:pt x="2841" y="2434"/>
                  </a:cubicBezTo>
                  <a:cubicBezTo>
                    <a:pt x="2787" y="2434"/>
                    <a:pt x="2732" y="2443"/>
                    <a:pt x="2679" y="2462"/>
                  </a:cubicBezTo>
                  <a:cubicBezTo>
                    <a:pt x="2667" y="2462"/>
                    <a:pt x="2644" y="2474"/>
                    <a:pt x="2632" y="2474"/>
                  </a:cubicBezTo>
                  <a:cubicBezTo>
                    <a:pt x="2608" y="2415"/>
                    <a:pt x="2584" y="2367"/>
                    <a:pt x="2572" y="2331"/>
                  </a:cubicBezTo>
                  <a:cubicBezTo>
                    <a:pt x="2453" y="1950"/>
                    <a:pt x="2489" y="1557"/>
                    <a:pt x="2691" y="1200"/>
                  </a:cubicBezTo>
                  <a:cubicBezTo>
                    <a:pt x="2906" y="819"/>
                    <a:pt x="3239" y="545"/>
                    <a:pt x="3656" y="402"/>
                  </a:cubicBezTo>
                  <a:cubicBezTo>
                    <a:pt x="3848" y="337"/>
                    <a:pt x="4048" y="304"/>
                    <a:pt x="4245" y="304"/>
                  </a:cubicBezTo>
                  <a:close/>
                  <a:moveTo>
                    <a:pt x="6323" y="7677"/>
                  </a:moveTo>
                  <a:lnTo>
                    <a:pt x="6323" y="7677"/>
                  </a:lnTo>
                  <a:cubicBezTo>
                    <a:pt x="6620" y="8046"/>
                    <a:pt x="6978" y="8392"/>
                    <a:pt x="7311" y="8582"/>
                  </a:cubicBezTo>
                  <a:cubicBezTo>
                    <a:pt x="7501" y="8701"/>
                    <a:pt x="7704" y="8773"/>
                    <a:pt x="7930" y="8808"/>
                  </a:cubicBezTo>
                  <a:cubicBezTo>
                    <a:pt x="7930" y="9368"/>
                    <a:pt x="7704" y="9951"/>
                    <a:pt x="7263" y="10547"/>
                  </a:cubicBezTo>
                  <a:cubicBezTo>
                    <a:pt x="6454" y="10428"/>
                    <a:pt x="5787" y="9951"/>
                    <a:pt x="5442" y="9666"/>
                  </a:cubicBezTo>
                  <a:cubicBezTo>
                    <a:pt x="5608" y="9499"/>
                    <a:pt x="5739" y="9308"/>
                    <a:pt x="5846" y="9082"/>
                  </a:cubicBezTo>
                  <a:cubicBezTo>
                    <a:pt x="5965" y="8773"/>
                    <a:pt x="6037" y="8356"/>
                    <a:pt x="6037" y="7856"/>
                  </a:cubicBezTo>
                  <a:lnTo>
                    <a:pt x="6525" y="9308"/>
                  </a:lnTo>
                  <a:cubicBezTo>
                    <a:pt x="6561" y="9380"/>
                    <a:pt x="6620" y="9416"/>
                    <a:pt x="6680" y="9416"/>
                  </a:cubicBezTo>
                  <a:cubicBezTo>
                    <a:pt x="6692" y="9416"/>
                    <a:pt x="6716" y="9416"/>
                    <a:pt x="6739" y="9404"/>
                  </a:cubicBezTo>
                  <a:cubicBezTo>
                    <a:pt x="6823" y="9368"/>
                    <a:pt x="6870" y="9285"/>
                    <a:pt x="6847" y="9189"/>
                  </a:cubicBezTo>
                  <a:lnTo>
                    <a:pt x="6323" y="7677"/>
                  </a:lnTo>
                  <a:close/>
                  <a:moveTo>
                    <a:pt x="2096" y="8606"/>
                  </a:moveTo>
                  <a:cubicBezTo>
                    <a:pt x="2191" y="8987"/>
                    <a:pt x="2394" y="9332"/>
                    <a:pt x="2691" y="9618"/>
                  </a:cubicBezTo>
                  <a:lnTo>
                    <a:pt x="2572" y="9797"/>
                  </a:lnTo>
                  <a:cubicBezTo>
                    <a:pt x="2525" y="9880"/>
                    <a:pt x="2548" y="9975"/>
                    <a:pt x="2620" y="10023"/>
                  </a:cubicBezTo>
                  <a:cubicBezTo>
                    <a:pt x="2644" y="10035"/>
                    <a:pt x="2679" y="10058"/>
                    <a:pt x="2703" y="10058"/>
                  </a:cubicBezTo>
                  <a:cubicBezTo>
                    <a:pt x="2763" y="10058"/>
                    <a:pt x="2810" y="10023"/>
                    <a:pt x="2846" y="9975"/>
                  </a:cubicBezTo>
                  <a:lnTo>
                    <a:pt x="2941" y="9820"/>
                  </a:lnTo>
                  <a:cubicBezTo>
                    <a:pt x="3060" y="9892"/>
                    <a:pt x="3203" y="9963"/>
                    <a:pt x="3334" y="10023"/>
                  </a:cubicBezTo>
                  <a:cubicBezTo>
                    <a:pt x="3513" y="10094"/>
                    <a:pt x="3703" y="10142"/>
                    <a:pt x="3882" y="10154"/>
                  </a:cubicBezTo>
                  <a:cubicBezTo>
                    <a:pt x="3406" y="10570"/>
                    <a:pt x="2751" y="10832"/>
                    <a:pt x="2084" y="10856"/>
                  </a:cubicBezTo>
                  <a:cubicBezTo>
                    <a:pt x="1798" y="10118"/>
                    <a:pt x="1810" y="9308"/>
                    <a:pt x="2096" y="8606"/>
                  </a:cubicBezTo>
                  <a:close/>
                  <a:moveTo>
                    <a:pt x="4287" y="0"/>
                  </a:moveTo>
                  <a:cubicBezTo>
                    <a:pt x="4050" y="0"/>
                    <a:pt x="3812" y="39"/>
                    <a:pt x="3584" y="117"/>
                  </a:cubicBezTo>
                  <a:cubicBezTo>
                    <a:pt x="3096" y="272"/>
                    <a:pt x="2679" y="617"/>
                    <a:pt x="2441" y="1045"/>
                  </a:cubicBezTo>
                  <a:cubicBezTo>
                    <a:pt x="2191" y="1498"/>
                    <a:pt x="2144" y="1986"/>
                    <a:pt x="2286" y="2450"/>
                  </a:cubicBezTo>
                  <a:cubicBezTo>
                    <a:pt x="2322" y="2534"/>
                    <a:pt x="2370" y="2629"/>
                    <a:pt x="2406" y="2724"/>
                  </a:cubicBezTo>
                  <a:cubicBezTo>
                    <a:pt x="2406" y="2724"/>
                    <a:pt x="2406" y="2748"/>
                    <a:pt x="2394" y="2748"/>
                  </a:cubicBezTo>
                  <a:cubicBezTo>
                    <a:pt x="2358" y="2808"/>
                    <a:pt x="2346" y="2867"/>
                    <a:pt x="2346" y="2927"/>
                  </a:cubicBezTo>
                  <a:cubicBezTo>
                    <a:pt x="2227" y="2891"/>
                    <a:pt x="2108" y="2879"/>
                    <a:pt x="1989" y="2867"/>
                  </a:cubicBezTo>
                  <a:cubicBezTo>
                    <a:pt x="1949" y="2864"/>
                    <a:pt x="1909" y="2863"/>
                    <a:pt x="1869" y="2863"/>
                  </a:cubicBezTo>
                  <a:cubicBezTo>
                    <a:pt x="941" y="2863"/>
                    <a:pt x="128" y="3650"/>
                    <a:pt x="48" y="4701"/>
                  </a:cubicBezTo>
                  <a:cubicBezTo>
                    <a:pt x="0" y="5213"/>
                    <a:pt x="143" y="5725"/>
                    <a:pt x="465" y="6129"/>
                  </a:cubicBezTo>
                  <a:cubicBezTo>
                    <a:pt x="774" y="6522"/>
                    <a:pt x="1203" y="6760"/>
                    <a:pt x="1691" y="6808"/>
                  </a:cubicBezTo>
                  <a:lnTo>
                    <a:pt x="1858" y="6808"/>
                  </a:lnTo>
                  <a:cubicBezTo>
                    <a:pt x="2144" y="6808"/>
                    <a:pt x="2453" y="6749"/>
                    <a:pt x="2751" y="6677"/>
                  </a:cubicBezTo>
                  <a:lnTo>
                    <a:pt x="2751" y="6677"/>
                  </a:lnTo>
                  <a:cubicBezTo>
                    <a:pt x="2513" y="6939"/>
                    <a:pt x="2286" y="7260"/>
                    <a:pt x="2155" y="7570"/>
                  </a:cubicBezTo>
                  <a:cubicBezTo>
                    <a:pt x="2108" y="7677"/>
                    <a:pt x="2084" y="7796"/>
                    <a:pt x="2060" y="7892"/>
                  </a:cubicBezTo>
                  <a:cubicBezTo>
                    <a:pt x="1453" y="8820"/>
                    <a:pt x="1370" y="9999"/>
                    <a:pt x="1810" y="11035"/>
                  </a:cubicBezTo>
                  <a:cubicBezTo>
                    <a:pt x="1846" y="11094"/>
                    <a:pt x="1905" y="11142"/>
                    <a:pt x="1965" y="11142"/>
                  </a:cubicBezTo>
                  <a:cubicBezTo>
                    <a:pt x="2882" y="11130"/>
                    <a:pt x="3763" y="10749"/>
                    <a:pt x="4370" y="10118"/>
                  </a:cubicBezTo>
                  <a:cubicBezTo>
                    <a:pt x="4668" y="10082"/>
                    <a:pt x="4953" y="9975"/>
                    <a:pt x="5192" y="9832"/>
                  </a:cubicBezTo>
                  <a:cubicBezTo>
                    <a:pt x="5549" y="10142"/>
                    <a:pt x="6335" y="10725"/>
                    <a:pt x="7323" y="10844"/>
                  </a:cubicBezTo>
                  <a:lnTo>
                    <a:pt x="7335" y="10844"/>
                  </a:lnTo>
                  <a:cubicBezTo>
                    <a:pt x="7382" y="10844"/>
                    <a:pt x="7442" y="10809"/>
                    <a:pt x="7466" y="10785"/>
                  </a:cubicBezTo>
                  <a:cubicBezTo>
                    <a:pt x="7990" y="10118"/>
                    <a:pt x="8251" y="9439"/>
                    <a:pt x="8275" y="8773"/>
                  </a:cubicBezTo>
                  <a:cubicBezTo>
                    <a:pt x="8894" y="8749"/>
                    <a:pt x="9525" y="8368"/>
                    <a:pt x="9883" y="7761"/>
                  </a:cubicBezTo>
                  <a:cubicBezTo>
                    <a:pt x="10276" y="7082"/>
                    <a:pt x="10264" y="6272"/>
                    <a:pt x="9906" y="5689"/>
                  </a:cubicBezTo>
                  <a:cubicBezTo>
                    <a:pt x="10252" y="5439"/>
                    <a:pt x="10537" y="5117"/>
                    <a:pt x="10752" y="4724"/>
                  </a:cubicBezTo>
                  <a:cubicBezTo>
                    <a:pt x="10776" y="4701"/>
                    <a:pt x="10776" y="4617"/>
                    <a:pt x="10728" y="4582"/>
                  </a:cubicBezTo>
                  <a:cubicBezTo>
                    <a:pt x="10430" y="4189"/>
                    <a:pt x="10049" y="3891"/>
                    <a:pt x="9609" y="3689"/>
                  </a:cubicBezTo>
                  <a:cubicBezTo>
                    <a:pt x="9704" y="3474"/>
                    <a:pt x="9752" y="3248"/>
                    <a:pt x="9752" y="2998"/>
                  </a:cubicBezTo>
                  <a:cubicBezTo>
                    <a:pt x="9752" y="2498"/>
                    <a:pt x="9549" y="1998"/>
                    <a:pt x="9192" y="1617"/>
                  </a:cubicBezTo>
                  <a:cubicBezTo>
                    <a:pt x="8835" y="1224"/>
                    <a:pt x="8382" y="974"/>
                    <a:pt x="7870" y="926"/>
                  </a:cubicBezTo>
                  <a:cubicBezTo>
                    <a:pt x="7803" y="918"/>
                    <a:pt x="7736" y="914"/>
                    <a:pt x="7670" y="914"/>
                  </a:cubicBezTo>
                  <a:cubicBezTo>
                    <a:pt x="7244" y="914"/>
                    <a:pt x="6846" y="1075"/>
                    <a:pt x="6537" y="1343"/>
                  </a:cubicBezTo>
                  <a:cubicBezTo>
                    <a:pt x="6394" y="1462"/>
                    <a:pt x="6263" y="1617"/>
                    <a:pt x="6156" y="1772"/>
                  </a:cubicBezTo>
                  <a:cubicBezTo>
                    <a:pt x="6144" y="1557"/>
                    <a:pt x="6096" y="1367"/>
                    <a:pt x="6037" y="1176"/>
                  </a:cubicBezTo>
                  <a:cubicBezTo>
                    <a:pt x="5882" y="724"/>
                    <a:pt x="5537" y="367"/>
                    <a:pt x="5073" y="152"/>
                  </a:cubicBezTo>
                  <a:cubicBezTo>
                    <a:pt x="4825" y="51"/>
                    <a:pt x="4557" y="0"/>
                    <a:pt x="428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29" name="Google Shape;13129;p63"/>
          <p:cNvSpPr/>
          <p:nvPr/>
        </p:nvSpPr>
        <p:spPr>
          <a:xfrm>
            <a:off x="4423085" y="3353074"/>
            <a:ext cx="331872" cy="357792"/>
          </a:xfrm>
          <a:custGeom>
            <a:avLst/>
            <a:gdLst/>
            <a:ahLst/>
            <a:cxnLst/>
            <a:rect l="l" t="t" r="r" b="b"/>
            <a:pathLst>
              <a:path w="10371" h="11181" extrusionOk="0">
                <a:moveTo>
                  <a:pt x="5179" y="477"/>
                </a:moveTo>
                <a:lnTo>
                  <a:pt x="5513" y="1013"/>
                </a:lnTo>
                <a:cubicBezTo>
                  <a:pt x="5417" y="1132"/>
                  <a:pt x="5298" y="1263"/>
                  <a:pt x="5179" y="1417"/>
                </a:cubicBezTo>
                <a:cubicBezTo>
                  <a:pt x="5060" y="1263"/>
                  <a:pt x="4941" y="1132"/>
                  <a:pt x="4834" y="1013"/>
                </a:cubicBezTo>
                <a:lnTo>
                  <a:pt x="5179" y="477"/>
                </a:lnTo>
                <a:close/>
                <a:moveTo>
                  <a:pt x="607" y="2775"/>
                </a:moveTo>
                <a:lnTo>
                  <a:pt x="1238" y="2918"/>
                </a:lnTo>
                <a:cubicBezTo>
                  <a:pt x="1250" y="3072"/>
                  <a:pt x="1250" y="3251"/>
                  <a:pt x="1274" y="3441"/>
                </a:cubicBezTo>
                <a:cubicBezTo>
                  <a:pt x="1084" y="3429"/>
                  <a:pt x="917" y="3406"/>
                  <a:pt x="750" y="3394"/>
                </a:cubicBezTo>
                <a:lnTo>
                  <a:pt x="607" y="2775"/>
                </a:lnTo>
                <a:close/>
                <a:moveTo>
                  <a:pt x="9728" y="2775"/>
                </a:moveTo>
                <a:lnTo>
                  <a:pt x="9585" y="3394"/>
                </a:lnTo>
                <a:cubicBezTo>
                  <a:pt x="9430" y="3406"/>
                  <a:pt x="9251" y="3406"/>
                  <a:pt x="9061" y="3441"/>
                </a:cubicBezTo>
                <a:cubicBezTo>
                  <a:pt x="9096" y="3251"/>
                  <a:pt x="9108" y="3072"/>
                  <a:pt x="9108" y="2918"/>
                </a:cubicBezTo>
                <a:lnTo>
                  <a:pt x="9728" y="2775"/>
                </a:lnTo>
                <a:close/>
                <a:moveTo>
                  <a:pt x="4346" y="965"/>
                </a:moveTo>
                <a:cubicBezTo>
                  <a:pt x="4536" y="1155"/>
                  <a:pt x="4870" y="1524"/>
                  <a:pt x="5167" y="1941"/>
                </a:cubicBezTo>
                <a:cubicBezTo>
                  <a:pt x="5203" y="1984"/>
                  <a:pt x="5247" y="2005"/>
                  <a:pt x="5293" y="2005"/>
                </a:cubicBezTo>
                <a:cubicBezTo>
                  <a:pt x="5323" y="2005"/>
                  <a:pt x="5353" y="1996"/>
                  <a:pt x="5382" y="1977"/>
                </a:cubicBezTo>
                <a:cubicBezTo>
                  <a:pt x="5465" y="1917"/>
                  <a:pt x="5477" y="1834"/>
                  <a:pt x="5429" y="1751"/>
                </a:cubicBezTo>
                <a:cubicBezTo>
                  <a:pt x="5417" y="1727"/>
                  <a:pt x="5406" y="1715"/>
                  <a:pt x="5370" y="1679"/>
                </a:cubicBezTo>
                <a:cubicBezTo>
                  <a:pt x="5608" y="1382"/>
                  <a:pt x="5846" y="1132"/>
                  <a:pt x="6001" y="977"/>
                </a:cubicBezTo>
                <a:cubicBezTo>
                  <a:pt x="6191" y="1394"/>
                  <a:pt x="6572" y="2334"/>
                  <a:pt x="6572" y="2977"/>
                </a:cubicBezTo>
                <a:cubicBezTo>
                  <a:pt x="6572" y="3346"/>
                  <a:pt x="6441" y="3691"/>
                  <a:pt x="6191" y="3941"/>
                </a:cubicBezTo>
                <a:cubicBezTo>
                  <a:pt x="6179" y="3918"/>
                  <a:pt x="6144" y="3882"/>
                  <a:pt x="6096" y="3870"/>
                </a:cubicBezTo>
                <a:cubicBezTo>
                  <a:pt x="6144" y="3715"/>
                  <a:pt x="6156" y="3572"/>
                  <a:pt x="6144" y="3406"/>
                </a:cubicBezTo>
                <a:cubicBezTo>
                  <a:pt x="6132" y="3108"/>
                  <a:pt x="6013" y="2751"/>
                  <a:pt x="5798" y="2382"/>
                </a:cubicBezTo>
                <a:cubicBezTo>
                  <a:pt x="5774" y="2333"/>
                  <a:pt x="5716" y="2301"/>
                  <a:pt x="5659" y="2301"/>
                </a:cubicBezTo>
                <a:cubicBezTo>
                  <a:pt x="5632" y="2301"/>
                  <a:pt x="5607" y="2307"/>
                  <a:pt x="5584" y="2322"/>
                </a:cubicBezTo>
                <a:cubicBezTo>
                  <a:pt x="5501" y="2370"/>
                  <a:pt x="5477" y="2465"/>
                  <a:pt x="5525" y="2548"/>
                </a:cubicBezTo>
                <a:cubicBezTo>
                  <a:pt x="5858" y="3179"/>
                  <a:pt x="5906" y="3680"/>
                  <a:pt x="5667" y="4013"/>
                </a:cubicBezTo>
                <a:lnTo>
                  <a:pt x="5298" y="3418"/>
                </a:lnTo>
                <a:cubicBezTo>
                  <a:pt x="5263" y="3382"/>
                  <a:pt x="5203" y="3346"/>
                  <a:pt x="5167" y="3346"/>
                </a:cubicBezTo>
                <a:cubicBezTo>
                  <a:pt x="5108" y="3346"/>
                  <a:pt x="5060" y="3382"/>
                  <a:pt x="5025" y="3418"/>
                </a:cubicBezTo>
                <a:lnTo>
                  <a:pt x="4596" y="4108"/>
                </a:lnTo>
                <a:lnTo>
                  <a:pt x="4405" y="3918"/>
                </a:lnTo>
                <a:cubicBezTo>
                  <a:pt x="4358" y="3882"/>
                  <a:pt x="4310" y="3870"/>
                  <a:pt x="4274" y="3870"/>
                </a:cubicBezTo>
                <a:cubicBezTo>
                  <a:pt x="4227" y="3882"/>
                  <a:pt x="4179" y="3918"/>
                  <a:pt x="4155" y="3965"/>
                </a:cubicBezTo>
                <a:cubicBezTo>
                  <a:pt x="3893" y="3691"/>
                  <a:pt x="3762" y="3346"/>
                  <a:pt x="3762" y="2989"/>
                </a:cubicBezTo>
                <a:cubicBezTo>
                  <a:pt x="3762" y="2322"/>
                  <a:pt x="4167" y="1382"/>
                  <a:pt x="4346" y="965"/>
                </a:cubicBezTo>
                <a:close/>
                <a:moveTo>
                  <a:pt x="5179" y="3799"/>
                </a:moveTo>
                <a:lnTo>
                  <a:pt x="5513" y="4334"/>
                </a:lnTo>
                <a:cubicBezTo>
                  <a:pt x="5417" y="4453"/>
                  <a:pt x="5298" y="4584"/>
                  <a:pt x="5179" y="4739"/>
                </a:cubicBezTo>
                <a:cubicBezTo>
                  <a:pt x="5060" y="4584"/>
                  <a:pt x="4941" y="4453"/>
                  <a:pt x="4834" y="4334"/>
                </a:cubicBezTo>
                <a:lnTo>
                  <a:pt x="5179" y="3799"/>
                </a:lnTo>
                <a:close/>
                <a:moveTo>
                  <a:pt x="1560" y="2537"/>
                </a:moveTo>
                <a:lnTo>
                  <a:pt x="1560" y="2537"/>
                </a:lnTo>
                <a:cubicBezTo>
                  <a:pt x="1988" y="2691"/>
                  <a:pt x="2929" y="3084"/>
                  <a:pt x="3381" y="3525"/>
                </a:cubicBezTo>
                <a:cubicBezTo>
                  <a:pt x="3643" y="3799"/>
                  <a:pt x="3798" y="4156"/>
                  <a:pt x="3798" y="4525"/>
                </a:cubicBezTo>
                <a:cubicBezTo>
                  <a:pt x="3798" y="4596"/>
                  <a:pt x="3798" y="4680"/>
                  <a:pt x="3774" y="4751"/>
                </a:cubicBezTo>
                <a:cubicBezTo>
                  <a:pt x="3762" y="4680"/>
                  <a:pt x="3739" y="4620"/>
                  <a:pt x="3703" y="4561"/>
                </a:cubicBezTo>
                <a:cubicBezTo>
                  <a:pt x="3524" y="4156"/>
                  <a:pt x="3084" y="3846"/>
                  <a:pt x="2405" y="3644"/>
                </a:cubicBezTo>
                <a:cubicBezTo>
                  <a:pt x="2392" y="3640"/>
                  <a:pt x="2379" y="3638"/>
                  <a:pt x="2366" y="3638"/>
                </a:cubicBezTo>
                <a:cubicBezTo>
                  <a:pt x="2294" y="3638"/>
                  <a:pt x="2223" y="3690"/>
                  <a:pt x="2203" y="3751"/>
                </a:cubicBezTo>
                <a:cubicBezTo>
                  <a:pt x="2167" y="3846"/>
                  <a:pt x="2227" y="3930"/>
                  <a:pt x="2310" y="3965"/>
                </a:cubicBezTo>
                <a:cubicBezTo>
                  <a:pt x="2881" y="4144"/>
                  <a:pt x="3239" y="4382"/>
                  <a:pt x="3393" y="4692"/>
                </a:cubicBezTo>
                <a:cubicBezTo>
                  <a:pt x="3501" y="4930"/>
                  <a:pt x="3477" y="5215"/>
                  <a:pt x="3346" y="5537"/>
                </a:cubicBezTo>
                <a:cubicBezTo>
                  <a:pt x="3084" y="5787"/>
                  <a:pt x="2739" y="5930"/>
                  <a:pt x="2369" y="5930"/>
                </a:cubicBezTo>
                <a:cubicBezTo>
                  <a:pt x="1988" y="5930"/>
                  <a:pt x="1631" y="5775"/>
                  <a:pt x="1369" y="5513"/>
                </a:cubicBezTo>
                <a:cubicBezTo>
                  <a:pt x="941" y="5073"/>
                  <a:pt x="548" y="4144"/>
                  <a:pt x="381" y="3703"/>
                </a:cubicBezTo>
                <a:cubicBezTo>
                  <a:pt x="655" y="3703"/>
                  <a:pt x="1143" y="3739"/>
                  <a:pt x="1655" y="3810"/>
                </a:cubicBezTo>
                <a:cubicBezTo>
                  <a:pt x="1662" y="3812"/>
                  <a:pt x="1669" y="3812"/>
                  <a:pt x="1677" y="3812"/>
                </a:cubicBezTo>
                <a:cubicBezTo>
                  <a:pt x="1754" y="3812"/>
                  <a:pt x="1835" y="3756"/>
                  <a:pt x="1846" y="3680"/>
                </a:cubicBezTo>
                <a:cubicBezTo>
                  <a:pt x="1857" y="3584"/>
                  <a:pt x="1798" y="3501"/>
                  <a:pt x="1715" y="3489"/>
                </a:cubicBezTo>
                <a:cubicBezTo>
                  <a:pt x="1679" y="3489"/>
                  <a:pt x="1655" y="3465"/>
                  <a:pt x="1619" y="3465"/>
                </a:cubicBezTo>
                <a:cubicBezTo>
                  <a:pt x="1572" y="3084"/>
                  <a:pt x="1560" y="2739"/>
                  <a:pt x="1560" y="2537"/>
                </a:cubicBezTo>
                <a:close/>
                <a:moveTo>
                  <a:pt x="8787" y="2548"/>
                </a:moveTo>
                <a:cubicBezTo>
                  <a:pt x="8787" y="2751"/>
                  <a:pt x="8775" y="3096"/>
                  <a:pt x="8739" y="3477"/>
                </a:cubicBezTo>
                <a:cubicBezTo>
                  <a:pt x="8704" y="3477"/>
                  <a:pt x="8680" y="3501"/>
                  <a:pt x="8644" y="3501"/>
                </a:cubicBezTo>
                <a:cubicBezTo>
                  <a:pt x="8549" y="3513"/>
                  <a:pt x="8489" y="3608"/>
                  <a:pt x="8513" y="3691"/>
                </a:cubicBezTo>
                <a:cubicBezTo>
                  <a:pt x="8524" y="3768"/>
                  <a:pt x="8604" y="3824"/>
                  <a:pt x="8682" y="3824"/>
                </a:cubicBezTo>
                <a:cubicBezTo>
                  <a:pt x="8689" y="3824"/>
                  <a:pt x="8696" y="3823"/>
                  <a:pt x="8704" y="3822"/>
                </a:cubicBezTo>
                <a:cubicBezTo>
                  <a:pt x="9204" y="3739"/>
                  <a:pt x="9704" y="3715"/>
                  <a:pt x="9966" y="3715"/>
                </a:cubicBezTo>
                <a:cubicBezTo>
                  <a:pt x="9811" y="4144"/>
                  <a:pt x="9418" y="5073"/>
                  <a:pt x="8977" y="5537"/>
                </a:cubicBezTo>
                <a:cubicBezTo>
                  <a:pt x="8707" y="5808"/>
                  <a:pt x="8347" y="5945"/>
                  <a:pt x="7986" y="5945"/>
                </a:cubicBezTo>
                <a:cubicBezTo>
                  <a:pt x="7633" y="5945"/>
                  <a:pt x="7278" y="5814"/>
                  <a:pt x="7001" y="5549"/>
                </a:cubicBezTo>
                <a:cubicBezTo>
                  <a:pt x="6870" y="5227"/>
                  <a:pt x="6846" y="4930"/>
                  <a:pt x="6965" y="4703"/>
                </a:cubicBezTo>
                <a:cubicBezTo>
                  <a:pt x="7108" y="4394"/>
                  <a:pt x="7465" y="4144"/>
                  <a:pt x="8049" y="3977"/>
                </a:cubicBezTo>
                <a:cubicBezTo>
                  <a:pt x="8144" y="3941"/>
                  <a:pt x="8180" y="3858"/>
                  <a:pt x="8156" y="3763"/>
                </a:cubicBezTo>
                <a:cubicBezTo>
                  <a:pt x="8128" y="3699"/>
                  <a:pt x="8073" y="3656"/>
                  <a:pt x="8005" y="3656"/>
                </a:cubicBezTo>
                <a:cubicBezTo>
                  <a:pt x="7985" y="3656"/>
                  <a:pt x="7963" y="3659"/>
                  <a:pt x="7942" y="3668"/>
                </a:cubicBezTo>
                <a:cubicBezTo>
                  <a:pt x="7275" y="3870"/>
                  <a:pt x="6846" y="4168"/>
                  <a:pt x="6656" y="4572"/>
                </a:cubicBezTo>
                <a:cubicBezTo>
                  <a:pt x="6620" y="4632"/>
                  <a:pt x="6596" y="4703"/>
                  <a:pt x="6572" y="4763"/>
                </a:cubicBezTo>
                <a:cubicBezTo>
                  <a:pt x="6560" y="4692"/>
                  <a:pt x="6560" y="4620"/>
                  <a:pt x="6560" y="4537"/>
                </a:cubicBezTo>
                <a:cubicBezTo>
                  <a:pt x="6560" y="4168"/>
                  <a:pt x="6703" y="3810"/>
                  <a:pt x="6977" y="3549"/>
                </a:cubicBezTo>
                <a:cubicBezTo>
                  <a:pt x="7418" y="3096"/>
                  <a:pt x="8370" y="2703"/>
                  <a:pt x="8787" y="2548"/>
                </a:cubicBezTo>
                <a:close/>
                <a:moveTo>
                  <a:pt x="3465" y="5882"/>
                </a:moveTo>
                <a:lnTo>
                  <a:pt x="3465" y="5882"/>
                </a:lnTo>
                <a:cubicBezTo>
                  <a:pt x="3429" y="6013"/>
                  <a:pt x="3429" y="6144"/>
                  <a:pt x="3429" y="6287"/>
                </a:cubicBezTo>
                <a:cubicBezTo>
                  <a:pt x="3441" y="6489"/>
                  <a:pt x="3477" y="6680"/>
                  <a:pt x="3536" y="6858"/>
                </a:cubicBezTo>
                <a:cubicBezTo>
                  <a:pt x="3227" y="6668"/>
                  <a:pt x="2858" y="6466"/>
                  <a:pt x="2429" y="6263"/>
                </a:cubicBezTo>
                <a:cubicBezTo>
                  <a:pt x="2810" y="6251"/>
                  <a:pt x="3167" y="6120"/>
                  <a:pt x="3465" y="5882"/>
                </a:cubicBezTo>
                <a:close/>
                <a:moveTo>
                  <a:pt x="6870" y="5882"/>
                </a:moveTo>
                <a:lnTo>
                  <a:pt x="6870" y="5882"/>
                </a:lnTo>
                <a:cubicBezTo>
                  <a:pt x="7168" y="6120"/>
                  <a:pt x="7525" y="6251"/>
                  <a:pt x="7918" y="6263"/>
                </a:cubicBezTo>
                <a:cubicBezTo>
                  <a:pt x="7489" y="6466"/>
                  <a:pt x="7132" y="6668"/>
                  <a:pt x="6799" y="6858"/>
                </a:cubicBezTo>
                <a:cubicBezTo>
                  <a:pt x="6858" y="6680"/>
                  <a:pt x="6906" y="6477"/>
                  <a:pt x="6906" y="6287"/>
                </a:cubicBezTo>
                <a:cubicBezTo>
                  <a:pt x="6906" y="6168"/>
                  <a:pt x="6906" y="6013"/>
                  <a:pt x="6870" y="5882"/>
                </a:cubicBezTo>
                <a:close/>
                <a:moveTo>
                  <a:pt x="4346" y="4287"/>
                </a:moveTo>
                <a:cubicBezTo>
                  <a:pt x="4536" y="4477"/>
                  <a:pt x="4870" y="4834"/>
                  <a:pt x="5167" y="5251"/>
                </a:cubicBezTo>
                <a:cubicBezTo>
                  <a:pt x="5204" y="5302"/>
                  <a:pt x="5250" y="5327"/>
                  <a:pt x="5296" y="5327"/>
                </a:cubicBezTo>
                <a:cubicBezTo>
                  <a:pt x="5325" y="5327"/>
                  <a:pt x="5354" y="5317"/>
                  <a:pt x="5382" y="5299"/>
                </a:cubicBezTo>
                <a:cubicBezTo>
                  <a:pt x="5465" y="5239"/>
                  <a:pt x="5477" y="5156"/>
                  <a:pt x="5429" y="5073"/>
                </a:cubicBezTo>
                <a:cubicBezTo>
                  <a:pt x="5417" y="5049"/>
                  <a:pt x="5406" y="5037"/>
                  <a:pt x="5370" y="5001"/>
                </a:cubicBezTo>
                <a:cubicBezTo>
                  <a:pt x="5608" y="4703"/>
                  <a:pt x="5846" y="4453"/>
                  <a:pt x="6001" y="4299"/>
                </a:cubicBezTo>
                <a:cubicBezTo>
                  <a:pt x="6191" y="4715"/>
                  <a:pt x="6572" y="5656"/>
                  <a:pt x="6572" y="6299"/>
                </a:cubicBezTo>
                <a:cubicBezTo>
                  <a:pt x="6572" y="6775"/>
                  <a:pt x="6334" y="7192"/>
                  <a:pt x="6001" y="7442"/>
                </a:cubicBezTo>
                <a:cubicBezTo>
                  <a:pt x="6025" y="7382"/>
                  <a:pt x="6060" y="7323"/>
                  <a:pt x="6084" y="7251"/>
                </a:cubicBezTo>
                <a:cubicBezTo>
                  <a:pt x="6251" y="6823"/>
                  <a:pt x="6156" y="6299"/>
                  <a:pt x="5822" y="5692"/>
                </a:cubicBezTo>
                <a:cubicBezTo>
                  <a:pt x="5791" y="5637"/>
                  <a:pt x="5734" y="5608"/>
                  <a:pt x="5678" y="5608"/>
                </a:cubicBezTo>
                <a:cubicBezTo>
                  <a:pt x="5649" y="5608"/>
                  <a:pt x="5621" y="5616"/>
                  <a:pt x="5596" y="5632"/>
                </a:cubicBezTo>
                <a:cubicBezTo>
                  <a:pt x="5525" y="5668"/>
                  <a:pt x="5489" y="5775"/>
                  <a:pt x="5537" y="5846"/>
                </a:cubicBezTo>
                <a:cubicBezTo>
                  <a:pt x="5822" y="6382"/>
                  <a:pt x="5906" y="6823"/>
                  <a:pt x="5787" y="7132"/>
                </a:cubicBezTo>
                <a:cubicBezTo>
                  <a:pt x="5703" y="7370"/>
                  <a:pt x="5489" y="7561"/>
                  <a:pt x="5144" y="7692"/>
                </a:cubicBezTo>
                <a:cubicBezTo>
                  <a:pt x="4394" y="7680"/>
                  <a:pt x="3762" y="7061"/>
                  <a:pt x="3762" y="6287"/>
                </a:cubicBezTo>
                <a:cubicBezTo>
                  <a:pt x="3762" y="5656"/>
                  <a:pt x="4167" y="4703"/>
                  <a:pt x="4346" y="4287"/>
                </a:cubicBezTo>
                <a:close/>
                <a:moveTo>
                  <a:pt x="4917" y="7990"/>
                </a:moveTo>
                <a:lnTo>
                  <a:pt x="4917" y="7990"/>
                </a:lnTo>
                <a:cubicBezTo>
                  <a:pt x="5001" y="8013"/>
                  <a:pt x="5084" y="8013"/>
                  <a:pt x="5179" y="8013"/>
                </a:cubicBezTo>
                <a:cubicBezTo>
                  <a:pt x="5263" y="8013"/>
                  <a:pt x="5346" y="8013"/>
                  <a:pt x="5429" y="7990"/>
                </a:cubicBezTo>
                <a:lnTo>
                  <a:pt x="5429" y="7990"/>
                </a:lnTo>
                <a:cubicBezTo>
                  <a:pt x="5310" y="8109"/>
                  <a:pt x="5239" y="8204"/>
                  <a:pt x="5179" y="8275"/>
                </a:cubicBezTo>
                <a:cubicBezTo>
                  <a:pt x="5120" y="8204"/>
                  <a:pt x="5025" y="8097"/>
                  <a:pt x="4917" y="7990"/>
                </a:cubicBezTo>
                <a:close/>
                <a:moveTo>
                  <a:pt x="9704" y="6001"/>
                </a:moveTo>
                <a:lnTo>
                  <a:pt x="9704" y="6001"/>
                </a:lnTo>
                <a:cubicBezTo>
                  <a:pt x="9537" y="6227"/>
                  <a:pt x="9275" y="6525"/>
                  <a:pt x="8882" y="6835"/>
                </a:cubicBezTo>
                <a:cubicBezTo>
                  <a:pt x="8263" y="7359"/>
                  <a:pt x="7191" y="8013"/>
                  <a:pt x="5584" y="8311"/>
                </a:cubicBezTo>
                <a:cubicBezTo>
                  <a:pt x="5763" y="8109"/>
                  <a:pt x="6037" y="7823"/>
                  <a:pt x="6418" y="7525"/>
                </a:cubicBezTo>
                <a:cubicBezTo>
                  <a:pt x="7072" y="7037"/>
                  <a:pt x="8144" y="6382"/>
                  <a:pt x="9704" y="6001"/>
                </a:cubicBezTo>
                <a:close/>
                <a:moveTo>
                  <a:pt x="655" y="6013"/>
                </a:moveTo>
                <a:cubicBezTo>
                  <a:pt x="2203" y="6382"/>
                  <a:pt x="3286" y="7037"/>
                  <a:pt x="3929" y="7549"/>
                </a:cubicBezTo>
                <a:cubicBezTo>
                  <a:pt x="4310" y="7847"/>
                  <a:pt x="4596" y="8121"/>
                  <a:pt x="4775" y="8335"/>
                </a:cubicBezTo>
                <a:cubicBezTo>
                  <a:pt x="3167" y="8013"/>
                  <a:pt x="2096" y="7359"/>
                  <a:pt x="1476" y="6847"/>
                </a:cubicBezTo>
                <a:cubicBezTo>
                  <a:pt x="1084" y="6537"/>
                  <a:pt x="822" y="6227"/>
                  <a:pt x="655" y="6013"/>
                </a:cubicBezTo>
                <a:close/>
                <a:moveTo>
                  <a:pt x="1969" y="7829"/>
                </a:moveTo>
                <a:cubicBezTo>
                  <a:pt x="2107" y="7829"/>
                  <a:pt x="2244" y="7834"/>
                  <a:pt x="2381" y="7847"/>
                </a:cubicBezTo>
                <a:cubicBezTo>
                  <a:pt x="3000" y="8168"/>
                  <a:pt x="3774" y="8466"/>
                  <a:pt x="4751" y="8644"/>
                </a:cubicBezTo>
                <a:cubicBezTo>
                  <a:pt x="4409" y="8708"/>
                  <a:pt x="4091" y="8735"/>
                  <a:pt x="3795" y="8735"/>
                </a:cubicBezTo>
                <a:cubicBezTo>
                  <a:pt x="3041" y="8735"/>
                  <a:pt x="2440" y="8559"/>
                  <a:pt x="2012" y="8371"/>
                </a:cubicBezTo>
                <a:cubicBezTo>
                  <a:pt x="1631" y="8204"/>
                  <a:pt x="1357" y="8013"/>
                  <a:pt x="1179" y="7871"/>
                </a:cubicBezTo>
                <a:cubicBezTo>
                  <a:pt x="1450" y="7847"/>
                  <a:pt x="1712" y="7829"/>
                  <a:pt x="1969" y="7829"/>
                </a:cubicBezTo>
                <a:close/>
                <a:moveTo>
                  <a:pt x="8525" y="7824"/>
                </a:moveTo>
                <a:cubicBezTo>
                  <a:pt x="8741" y="7824"/>
                  <a:pt x="8954" y="7839"/>
                  <a:pt x="9168" y="7871"/>
                </a:cubicBezTo>
                <a:cubicBezTo>
                  <a:pt x="8989" y="8013"/>
                  <a:pt x="8715" y="8204"/>
                  <a:pt x="8346" y="8371"/>
                </a:cubicBezTo>
                <a:cubicBezTo>
                  <a:pt x="7909" y="8563"/>
                  <a:pt x="7285" y="8749"/>
                  <a:pt x="6498" y="8749"/>
                </a:cubicBezTo>
                <a:cubicBezTo>
                  <a:pt x="6214" y="8749"/>
                  <a:pt x="5909" y="8725"/>
                  <a:pt x="5584" y="8668"/>
                </a:cubicBezTo>
                <a:cubicBezTo>
                  <a:pt x="6549" y="8478"/>
                  <a:pt x="7334" y="8180"/>
                  <a:pt x="7942" y="7859"/>
                </a:cubicBezTo>
                <a:cubicBezTo>
                  <a:pt x="8138" y="7836"/>
                  <a:pt x="8332" y="7824"/>
                  <a:pt x="8525" y="7824"/>
                </a:cubicBezTo>
                <a:close/>
                <a:moveTo>
                  <a:pt x="5179" y="8906"/>
                </a:moveTo>
                <a:cubicBezTo>
                  <a:pt x="5191" y="8906"/>
                  <a:pt x="5227" y="8918"/>
                  <a:pt x="5239" y="8918"/>
                </a:cubicBezTo>
                <a:lnTo>
                  <a:pt x="5310" y="9442"/>
                </a:lnTo>
                <a:lnTo>
                  <a:pt x="5048" y="9442"/>
                </a:lnTo>
                <a:lnTo>
                  <a:pt x="5120" y="8918"/>
                </a:lnTo>
                <a:cubicBezTo>
                  <a:pt x="5132" y="8918"/>
                  <a:pt x="5167" y="8906"/>
                  <a:pt x="5179" y="8906"/>
                </a:cubicBezTo>
                <a:close/>
                <a:moveTo>
                  <a:pt x="5358" y="9764"/>
                </a:moveTo>
                <a:lnTo>
                  <a:pt x="5501" y="10835"/>
                </a:lnTo>
                <a:lnTo>
                  <a:pt x="4834" y="10835"/>
                </a:lnTo>
                <a:lnTo>
                  <a:pt x="4989" y="9764"/>
                </a:lnTo>
                <a:close/>
                <a:moveTo>
                  <a:pt x="5191" y="0"/>
                </a:moveTo>
                <a:cubicBezTo>
                  <a:pt x="5132" y="0"/>
                  <a:pt x="5084" y="36"/>
                  <a:pt x="5060" y="72"/>
                </a:cubicBezTo>
                <a:lnTo>
                  <a:pt x="4632" y="762"/>
                </a:lnTo>
                <a:lnTo>
                  <a:pt x="4429" y="572"/>
                </a:lnTo>
                <a:cubicBezTo>
                  <a:pt x="4394" y="536"/>
                  <a:pt x="4346" y="524"/>
                  <a:pt x="4298" y="524"/>
                </a:cubicBezTo>
                <a:cubicBezTo>
                  <a:pt x="4251" y="536"/>
                  <a:pt x="4215" y="572"/>
                  <a:pt x="4179" y="608"/>
                </a:cubicBezTo>
                <a:cubicBezTo>
                  <a:pt x="4155" y="667"/>
                  <a:pt x="3465" y="2060"/>
                  <a:pt x="3465" y="2965"/>
                </a:cubicBezTo>
                <a:cubicBezTo>
                  <a:pt x="3465" y="3037"/>
                  <a:pt x="3465" y="3096"/>
                  <a:pt x="3477" y="3168"/>
                </a:cubicBezTo>
                <a:cubicBezTo>
                  <a:pt x="2786" y="2608"/>
                  <a:pt x="1536" y="2179"/>
                  <a:pt x="1476" y="2156"/>
                </a:cubicBezTo>
                <a:cubicBezTo>
                  <a:pt x="1459" y="2151"/>
                  <a:pt x="1440" y="2148"/>
                  <a:pt x="1421" y="2148"/>
                </a:cubicBezTo>
                <a:cubicBezTo>
                  <a:pt x="1387" y="2148"/>
                  <a:pt x="1352" y="2157"/>
                  <a:pt x="1322" y="2179"/>
                </a:cubicBezTo>
                <a:cubicBezTo>
                  <a:pt x="1274" y="2203"/>
                  <a:pt x="1250" y="2251"/>
                  <a:pt x="1250" y="2310"/>
                </a:cubicBezTo>
                <a:lnTo>
                  <a:pt x="1250" y="2572"/>
                </a:lnTo>
                <a:lnTo>
                  <a:pt x="464" y="2394"/>
                </a:lnTo>
                <a:cubicBezTo>
                  <a:pt x="450" y="2391"/>
                  <a:pt x="436" y="2389"/>
                  <a:pt x="423" y="2389"/>
                </a:cubicBezTo>
                <a:cubicBezTo>
                  <a:pt x="378" y="2389"/>
                  <a:pt x="337" y="2405"/>
                  <a:pt x="310" y="2441"/>
                </a:cubicBezTo>
                <a:cubicBezTo>
                  <a:pt x="262" y="2489"/>
                  <a:pt x="250" y="2548"/>
                  <a:pt x="262" y="2596"/>
                </a:cubicBezTo>
                <a:lnTo>
                  <a:pt x="441" y="3382"/>
                </a:lnTo>
                <a:lnTo>
                  <a:pt x="179" y="3382"/>
                </a:lnTo>
                <a:cubicBezTo>
                  <a:pt x="131" y="3382"/>
                  <a:pt x="72" y="3406"/>
                  <a:pt x="48" y="3453"/>
                </a:cubicBezTo>
                <a:cubicBezTo>
                  <a:pt x="12" y="3501"/>
                  <a:pt x="0" y="3549"/>
                  <a:pt x="24" y="3608"/>
                </a:cubicBezTo>
                <a:cubicBezTo>
                  <a:pt x="48" y="3668"/>
                  <a:pt x="548" y="5132"/>
                  <a:pt x="1179" y="5763"/>
                </a:cubicBezTo>
                <a:lnTo>
                  <a:pt x="1238" y="5823"/>
                </a:lnTo>
                <a:cubicBezTo>
                  <a:pt x="953" y="5727"/>
                  <a:pt x="655" y="5656"/>
                  <a:pt x="345" y="5596"/>
                </a:cubicBezTo>
                <a:cubicBezTo>
                  <a:pt x="335" y="5594"/>
                  <a:pt x="325" y="5593"/>
                  <a:pt x="315" y="5593"/>
                </a:cubicBezTo>
                <a:cubicBezTo>
                  <a:pt x="266" y="5593"/>
                  <a:pt x="218" y="5616"/>
                  <a:pt x="179" y="5656"/>
                </a:cubicBezTo>
                <a:cubicBezTo>
                  <a:pt x="131" y="5704"/>
                  <a:pt x="131" y="5775"/>
                  <a:pt x="167" y="5835"/>
                </a:cubicBezTo>
                <a:cubicBezTo>
                  <a:pt x="179" y="5870"/>
                  <a:pt x="488" y="6442"/>
                  <a:pt x="1274" y="7085"/>
                </a:cubicBezTo>
                <a:cubicBezTo>
                  <a:pt x="1441" y="7216"/>
                  <a:pt x="1619" y="7359"/>
                  <a:pt x="1846" y="7501"/>
                </a:cubicBezTo>
                <a:cubicBezTo>
                  <a:pt x="1500" y="7501"/>
                  <a:pt x="1155" y="7549"/>
                  <a:pt x="822" y="7609"/>
                </a:cubicBezTo>
                <a:cubicBezTo>
                  <a:pt x="762" y="7620"/>
                  <a:pt x="714" y="7656"/>
                  <a:pt x="679" y="7716"/>
                </a:cubicBezTo>
                <a:cubicBezTo>
                  <a:pt x="655" y="7775"/>
                  <a:pt x="679" y="7835"/>
                  <a:pt x="714" y="7871"/>
                </a:cubicBezTo>
                <a:cubicBezTo>
                  <a:pt x="726" y="7894"/>
                  <a:pt x="1131" y="8323"/>
                  <a:pt x="1893" y="8668"/>
                </a:cubicBezTo>
                <a:cubicBezTo>
                  <a:pt x="2346" y="8871"/>
                  <a:pt x="3024" y="9061"/>
                  <a:pt x="3858" y="9061"/>
                </a:cubicBezTo>
                <a:cubicBezTo>
                  <a:pt x="4155" y="9061"/>
                  <a:pt x="4465" y="9037"/>
                  <a:pt x="4786" y="8990"/>
                </a:cubicBezTo>
                <a:lnTo>
                  <a:pt x="4786" y="8990"/>
                </a:lnTo>
                <a:lnTo>
                  <a:pt x="4513" y="10990"/>
                </a:lnTo>
                <a:cubicBezTo>
                  <a:pt x="4513" y="11026"/>
                  <a:pt x="4513" y="11073"/>
                  <a:pt x="4548" y="11121"/>
                </a:cubicBezTo>
                <a:cubicBezTo>
                  <a:pt x="4584" y="11145"/>
                  <a:pt x="4632" y="11180"/>
                  <a:pt x="4667" y="11180"/>
                </a:cubicBezTo>
                <a:lnTo>
                  <a:pt x="5715" y="11180"/>
                </a:lnTo>
                <a:cubicBezTo>
                  <a:pt x="5763" y="11180"/>
                  <a:pt x="5798" y="11169"/>
                  <a:pt x="5834" y="11121"/>
                </a:cubicBezTo>
                <a:cubicBezTo>
                  <a:pt x="5858" y="11085"/>
                  <a:pt x="5882" y="11026"/>
                  <a:pt x="5882" y="10990"/>
                </a:cubicBezTo>
                <a:lnTo>
                  <a:pt x="5596" y="8990"/>
                </a:lnTo>
                <a:lnTo>
                  <a:pt x="5596" y="8990"/>
                </a:lnTo>
                <a:cubicBezTo>
                  <a:pt x="5918" y="9049"/>
                  <a:pt x="6251" y="9061"/>
                  <a:pt x="6537" y="9061"/>
                </a:cubicBezTo>
                <a:cubicBezTo>
                  <a:pt x="7370" y="9061"/>
                  <a:pt x="8037" y="8871"/>
                  <a:pt x="8501" y="8668"/>
                </a:cubicBezTo>
                <a:cubicBezTo>
                  <a:pt x="9251" y="8323"/>
                  <a:pt x="9656" y="7894"/>
                  <a:pt x="9668" y="7871"/>
                </a:cubicBezTo>
                <a:cubicBezTo>
                  <a:pt x="9716" y="7835"/>
                  <a:pt x="9728" y="7775"/>
                  <a:pt x="9704" y="7716"/>
                </a:cubicBezTo>
                <a:cubicBezTo>
                  <a:pt x="9668" y="7656"/>
                  <a:pt x="9632" y="7609"/>
                  <a:pt x="9573" y="7609"/>
                </a:cubicBezTo>
                <a:cubicBezTo>
                  <a:pt x="9227" y="7549"/>
                  <a:pt x="8882" y="7513"/>
                  <a:pt x="8537" y="7501"/>
                </a:cubicBezTo>
                <a:cubicBezTo>
                  <a:pt x="8751" y="7359"/>
                  <a:pt x="8942" y="7216"/>
                  <a:pt x="9108" y="7085"/>
                </a:cubicBezTo>
                <a:cubicBezTo>
                  <a:pt x="9882" y="6442"/>
                  <a:pt x="10204" y="5870"/>
                  <a:pt x="10228" y="5835"/>
                </a:cubicBezTo>
                <a:cubicBezTo>
                  <a:pt x="10251" y="5775"/>
                  <a:pt x="10251" y="5715"/>
                  <a:pt x="10204" y="5656"/>
                </a:cubicBezTo>
                <a:cubicBezTo>
                  <a:pt x="10174" y="5616"/>
                  <a:pt x="10128" y="5593"/>
                  <a:pt x="10079" y="5593"/>
                </a:cubicBezTo>
                <a:cubicBezTo>
                  <a:pt x="10069" y="5593"/>
                  <a:pt x="10059" y="5594"/>
                  <a:pt x="10049" y="5596"/>
                </a:cubicBezTo>
                <a:cubicBezTo>
                  <a:pt x="9728" y="5656"/>
                  <a:pt x="9430" y="5727"/>
                  <a:pt x="9156" y="5823"/>
                </a:cubicBezTo>
                <a:cubicBezTo>
                  <a:pt x="9168" y="5811"/>
                  <a:pt x="9192" y="5787"/>
                  <a:pt x="9216" y="5763"/>
                </a:cubicBezTo>
                <a:cubicBezTo>
                  <a:pt x="9835" y="5120"/>
                  <a:pt x="10323" y="3668"/>
                  <a:pt x="10359" y="3608"/>
                </a:cubicBezTo>
                <a:cubicBezTo>
                  <a:pt x="10370" y="3560"/>
                  <a:pt x="10370" y="3501"/>
                  <a:pt x="10347" y="3453"/>
                </a:cubicBezTo>
                <a:cubicBezTo>
                  <a:pt x="10311" y="3406"/>
                  <a:pt x="10263" y="3382"/>
                  <a:pt x="10204" y="3382"/>
                </a:cubicBezTo>
                <a:lnTo>
                  <a:pt x="9942" y="3382"/>
                </a:lnTo>
                <a:lnTo>
                  <a:pt x="10120" y="2596"/>
                </a:lnTo>
                <a:cubicBezTo>
                  <a:pt x="10132" y="2537"/>
                  <a:pt x="10120" y="2477"/>
                  <a:pt x="10073" y="2441"/>
                </a:cubicBezTo>
                <a:cubicBezTo>
                  <a:pt x="10036" y="2405"/>
                  <a:pt x="9993" y="2389"/>
                  <a:pt x="9959" y="2389"/>
                </a:cubicBezTo>
                <a:cubicBezTo>
                  <a:pt x="9948" y="2389"/>
                  <a:pt x="9938" y="2391"/>
                  <a:pt x="9930" y="2394"/>
                </a:cubicBezTo>
                <a:lnTo>
                  <a:pt x="9132" y="2572"/>
                </a:lnTo>
                <a:lnTo>
                  <a:pt x="9132" y="2310"/>
                </a:lnTo>
                <a:cubicBezTo>
                  <a:pt x="9132" y="2263"/>
                  <a:pt x="9108" y="2203"/>
                  <a:pt x="9061" y="2179"/>
                </a:cubicBezTo>
                <a:cubicBezTo>
                  <a:pt x="9030" y="2156"/>
                  <a:pt x="9004" y="2143"/>
                  <a:pt x="8974" y="2143"/>
                </a:cubicBezTo>
                <a:cubicBezTo>
                  <a:pt x="8957" y="2143"/>
                  <a:pt x="8939" y="2147"/>
                  <a:pt x="8918" y="2156"/>
                </a:cubicBezTo>
                <a:cubicBezTo>
                  <a:pt x="8858" y="2179"/>
                  <a:pt x="7608" y="2608"/>
                  <a:pt x="6906" y="3168"/>
                </a:cubicBezTo>
                <a:cubicBezTo>
                  <a:pt x="6918" y="3096"/>
                  <a:pt x="6918" y="3037"/>
                  <a:pt x="6918" y="2965"/>
                </a:cubicBezTo>
                <a:cubicBezTo>
                  <a:pt x="6918" y="2060"/>
                  <a:pt x="6239" y="667"/>
                  <a:pt x="6203" y="608"/>
                </a:cubicBezTo>
                <a:cubicBezTo>
                  <a:pt x="6179" y="572"/>
                  <a:pt x="6144" y="536"/>
                  <a:pt x="6084" y="524"/>
                </a:cubicBezTo>
                <a:cubicBezTo>
                  <a:pt x="6070" y="522"/>
                  <a:pt x="6057" y="520"/>
                  <a:pt x="6044" y="520"/>
                </a:cubicBezTo>
                <a:cubicBezTo>
                  <a:pt x="6004" y="520"/>
                  <a:pt x="5971" y="536"/>
                  <a:pt x="5953" y="572"/>
                </a:cubicBezTo>
                <a:lnTo>
                  <a:pt x="5763" y="762"/>
                </a:lnTo>
                <a:lnTo>
                  <a:pt x="5322" y="72"/>
                </a:lnTo>
                <a:cubicBezTo>
                  <a:pt x="5298" y="36"/>
                  <a:pt x="5239" y="0"/>
                  <a:pt x="51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30" name="Google Shape;13130;p63"/>
          <p:cNvGrpSpPr/>
          <p:nvPr/>
        </p:nvGrpSpPr>
        <p:grpSpPr>
          <a:xfrm>
            <a:off x="4959533" y="3370226"/>
            <a:ext cx="357408" cy="323488"/>
            <a:chOff x="4959533" y="3370226"/>
            <a:chExt cx="357408" cy="323488"/>
          </a:xfrm>
        </p:grpSpPr>
        <p:sp>
          <p:nvSpPr>
            <p:cNvPr id="13131" name="Google Shape;13131;p63"/>
            <p:cNvSpPr/>
            <p:nvPr/>
          </p:nvSpPr>
          <p:spPr>
            <a:xfrm>
              <a:off x="4959533" y="3370226"/>
              <a:ext cx="357408" cy="323488"/>
            </a:xfrm>
            <a:custGeom>
              <a:avLst/>
              <a:gdLst/>
              <a:ahLst/>
              <a:cxnLst/>
              <a:rect l="l" t="t" r="r" b="b"/>
              <a:pathLst>
                <a:path w="11169" h="10109" extrusionOk="0">
                  <a:moveTo>
                    <a:pt x="7906" y="738"/>
                  </a:moveTo>
                  <a:cubicBezTo>
                    <a:pt x="8596" y="1012"/>
                    <a:pt x="9192" y="1393"/>
                    <a:pt x="9680" y="1870"/>
                  </a:cubicBezTo>
                  <a:cubicBezTo>
                    <a:pt x="9521" y="2137"/>
                    <a:pt x="9210" y="2287"/>
                    <a:pt x="8870" y="2287"/>
                  </a:cubicBezTo>
                  <a:cubicBezTo>
                    <a:pt x="8725" y="2287"/>
                    <a:pt x="8575" y="2260"/>
                    <a:pt x="8430" y="2203"/>
                  </a:cubicBezTo>
                  <a:cubicBezTo>
                    <a:pt x="8168" y="2096"/>
                    <a:pt x="7942" y="1917"/>
                    <a:pt x="7823" y="1679"/>
                  </a:cubicBezTo>
                  <a:cubicBezTo>
                    <a:pt x="7692" y="1465"/>
                    <a:pt x="7656" y="1203"/>
                    <a:pt x="7751" y="1000"/>
                  </a:cubicBezTo>
                  <a:cubicBezTo>
                    <a:pt x="7775" y="905"/>
                    <a:pt x="7834" y="822"/>
                    <a:pt x="7906" y="738"/>
                  </a:cubicBezTo>
                  <a:close/>
                  <a:moveTo>
                    <a:pt x="1024" y="2441"/>
                  </a:moveTo>
                  <a:cubicBezTo>
                    <a:pt x="1048" y="2441"/>
                    <a:pt x="1060" y="2453"/>
                    <a:pt x="1095" y="2477"/>
                  </a:cubicBezTo>
                  <a:cubicBezTo>
                    <a:pt x="1512" y="2620"/>
                    <a:pt x="1703" y="3132"/>
                    <a:pt x="1524" y="3584"/>
                  </a:cubicBezTo>
                  <a:cubicBezTo>
                    <a:pt x="1441" y="3810"/>
                    <a:pt x="1286" y="3989"/>
                    <a:pt x="1084" y="4096"/>
                  </a:cubicBezTo>
                  <a:cubicBezTo>
                    <a:pt x="965" y="4159"/>
                    <a:pt x="843" y="4189"/>
                    <a:pt x="722" y="4189"/>
                  </a:cubicBezTo>
                  <a:cubicBezTo>
                    <a:pt x="635" y="4189"/>
                    <a:pt x="549" y="4173"/>
                    <a:pt x="464" y="4144"/>
                  </a:cubicBezTo>
                  <a:cubicBezTo>
                    <a:pt x="441" y="4120"/>
                    <a:pt x="393" y="4108"/>
                    <a:pt x="369" y="4096"/>
                  </a:cubicBezTo>
                  <a:cubicBezTo>
                    <a:pt x="441" y="3489"/>
                    <a:pt x="679" y="2929"/>
                    <a:pt x="1024" y="2441"/>
                  </a:cubicBezTo>
                  <a:close/>
                  <a:moveTo>
                    <a:pt x="5596" y="310"/>
                  </a:moveTo>
                  <a:cubicBezTo>
                    <a:pt x="6299" y="310"/>
                    <a:pt x="6965" y="417"/>
                    <a:pt x="7596" y="619"/>
                  </a:cubicBezTo>
                  <a:cubicBezTo>
                    <a:pt x="7537" y="703"/>
                    <a:pt x="7489" y="786"/>
                    <a:pt x="7465" y="881"/>
                  </a:cubicBezTo>
                  <a:cubicBezTo>
                    <a:pt x="7346" y="1191"/>
                    <a:pt x="7370" y="1512"/>
                    <a:pt x="7537" y="1834"/>
                  </a:cubicBezTo>
                  <a:cubicBezTo>
                    <a:pt x="7703" y="2131"/>
                    <a:pt x="7977" y="2370"/>
                    <a:pt x="8323" y="2501"/>
                  </a:cubicBezTo>
                  <a:cubicBezTo>
                    <a:pt x="8513" y="2572"/>
                    <a:pt x="8692" y="2608"/>
                    <a:pt x="8894" y="2608"/>
                  </a:cubicBezTo>
                  <a:cubicBezTo>
                    <a:pt x="9311" y="2608"/>
                    <a:pt x="9692" y="2429"/>
                    <a:pt x="9930" y="2120"/>
                  </a:cubicBezTo>
                  <a:cubicBezTo>
                    <a:pt x="10501" y="2798"/>
                    <a:pt x="10847" y="3632"/>
                    <a:pt x="10847" y="4525"/>
                  </a:cubicBezTo>
                  <a:cubicBezTo>
                    <a:pt x="10847" y="4918"/>
                    <a:pt x="10513" y="5227"/>
                    <a:pt x="10109" y="5227"/>
                  </a:cubicBezTo>
                  <a:lnTo>
                    <a:pt x="9930" y="5227"/>
                  </a:lnTo>
                  <a:cubicBezTo>
                    <a:pt x="9930" y="5168"/>
                    <a:pt x="9942" y="5108"/>
                    <a:pt x="9942" y="5049"/>
                  </a:cubicBezTo>
                  <a:cubicBezTo>
                    <a:pt x="9942" y="4691"/>
                    <a:pt x="9823" y="4346"/>
                    <a:pt x="9608" y="4048"/>
                  </a:cubicBezTo>
                  <a:cubicBezTo>
                    <a:pt x="9573" y="4006"/>
                    <a:pt x="9520" y="3984"/>
                    <a:pt x="9470" y="3984"/>
                  </a:cubicBezTo>
                  <a:cubicBezTo>
                    <a:pt x="9437" y="3984"/>
                    <a:pt x="9406" y="3994"/>
                    <a:pt x="9382" y="4013"/>
                  </a:cubicBezTo>
                  <a:cubicBezTo>
                    <a:pt x="9311" y="4072"/>
                    <a:pt x="9287" y="4179"/>
                    <a:pt x="9347" y="4239"/>
                  </a:cubicBezTo>
                  <a:cubicBezTo>
                    <a:pt x="9525" y="4477"/>
                    <a:pt x="9620" y="4751"/>
                    <a:pt x="9620" y="5025"/>
                  </a:cubicBezTo>
                  <a:cubicBezTo>
                    <a:pt x="9620" y="5084"/>
                    <a:pt x="9620" y="5144"/>
                    <a:pt x="9608" y="5203"/>
                  </a:cubicBezTo>
                  <a:lnTo>
                    <a:pt x="6465" y="5203"/>
                  </a:lnTo>
                  <a:cubicBezTo>
                    <a:pt x="6453" y="5156"/>
                    <a:pt x="6453" y="5096"/>
                    <a:pt x="6453" y="5025"/>
                  </a:cubicBezTo>
                  <a:cubicBezTo>
                    <a:pt x="6453" y="4251"/>
                    <a:pt x="7168" y="3620"/>
                    <a:pt x="8025" y="3620"/>
                  </a:cubicBezTo>
                  <a:cubicBezTo>
                    <a:pt x="8323" y="3620"/>
                    <a:pt x="8608" y="3691"/>
                    <a:pt x="8858" y="3822"/>
                  </a:cubicBezTo>
                  <a:cubicBezTo>
                    <a:pt x="8881" y="3837"/>
                    <a:pt x="8907" y="3844"/>
                    <a:pt x="8933" y="3844"/>
                  </a:cubicBezTo>
                  <a:cubicBezTo>
                    <a:pt x="8991" y="3844"/>
                    <a:pt x="9052" y="3812"/>
                    <a:pt x="9085" y="3763"/>
                  </a:cubicBezTo>
                  <a:cubicBezTo>
                    <a:pt x="9132" y="3691"/>
                    <a:pt x="9096" y="3584"/>
                    <a:pt x="9025" y="3536"/>
                  </a:cubicBezTo>
                  <a:cubicBezTo>
                    <a:pt x="8727" y="3382"/>
                    <a:pt x="8382" y="3286"/>
                    <a:pt x="8025" y="3286"/>
                  </a:cubicBezTo>
                  <a:cubicBezTo>
                    <a:pt x="6965" y="3286"/>
                    <a:pt x="6120" y="4060"/>
                    <a:pt x="6120" y="5025"/>
                  </a:cubicBezTo>
                  <a:cubicBezTo>
                    <a:pt x="6120" y="5084"/>
                    <a:pt x="6120" y="5144"/>
                    <a:pt x="6132" y="5203"/>
                  </a:cubicBezTo>
                  <a:lnTo>
                    <a:pt x="1060" y="5203"/>
                  </a:lnTo>
                  <a:cubicBezTo>
                    <a:pt x="655" y="5203"/>
                    <a:pt x="333" y="4894"/>
                    <a:pt x="333" y="4513"/>
                  </a:cubicBezTo>
                  <a:lnTo>
                    <a:pt x="333" y="4417"/>
                  </a:lnTo>
                  <a:lnTo>
                    <a:pt x="345" y="4417"/>
                  </a:lnTo>
                  <a:cubicBezTo>
                    <a:pt x="464" y="4465"/>
                    <a:pt x="595" y="4501"/>
                    <a:pt x="714" y="4501"/>
                  </a:cubicBezTo>
                  <a:cubicBezTo>
                    <a:pt x="881" y="4501"/>
                    <a:pt x="1060" y="4453"/>
                    <a:pt x="1226" y="4382"/>
                  </a:cubicBezTo>
                  <a:cubicBezTo>
                    <a:pt x="1512" y="4239"/>
                    <a:pt x="1715" y="3989"/>
                    <a:pt x="1834" y="3691"/>
                  </a:cubicBezTo>
                  <a:cubicBezTo>
                    <a:pt x="2072" y="3084"/>
                    <a:pt x="1810" y="2393"/>
                    <a:pt x="1238" y="2167"/>
                  </a:cubicBezTo>
                  <a:cubicBezTo>
                    <a:pt x="2179" y="1060"/>
                    <a:pt x="3786" y="310"/>
                    <a:pt x="5596" y="310"/>
                  </a:cubicBezTo>
                  <a:close/>
                  <a:moveTo>
                    <a:pt x="6894" y="5572"/>
                  </a:moveTo>
                  <a:lnTo>
                    <a:pt x="7334" y="8573"/>
                  </a:lnTo>
                  <a:cubicBezTo>
                    <a:pt x="7370" y="8870"/>
                    <a:pt x="7287" y="9180"/>
                    <a:pt x="7072" y="9418"/>
                  </a:cubicBezTo>
                  <a:cubicBezTo>
                    <a:pt x="6870" y="9656"/>
                    <a:pt x="6584" y="9775"/>
                    <a:pt x="6275" y="9775"/>
                  </a:cubicBezTo>
                  <a:lnTo>
                    <a:pt x="4894" y="9775"/>
                  </a:lnTo>
                  <a:cubicBezTo>
                    <a:pt x="4572" y="9775"/>
                    <a:pt x="4298" y="9644"/>
                    <a:pt x="4084" y="9418"/>
                  </a:cubicBezTo>
                  <a:cubicBezTo>
                    <a:pt x="3870" y="9180"/>
                    <a:pt x="3786" y="8882"/>
                    <a:pt x="3834" y="8573"/>
                  </a:cubicBezTo>
                  <a:lnTo>
                    <a:pt x="4251" y="5572"/>
                  </a:lnTo>
                  <a:close/>
                  <a:moveTo>
                    <a:pt x="5584" y="0"/>
                  </a:moveTo>
                  <a:cubicBezTo>
                    <a:pt x="4096" y="0"/>
                    <a:pt x="2703" y="465"/>
                    <a:pt x="1655" y="1310"/>
                  </a:cubicBezTo>
                  <a:cubicBezTo>
                    <a:pt x="595" y="2167"/>
                    <a:pt x="0" y="3310"/>
                    <a:pt x="0" y="4525"/>
                  </a:cubicBezTo>
                  <a:lnTo>
                    <a:pt x="0" y="4537"/>
                  </a:lnTo>
                  <a:cubicBezTo>
                    <a:pt x="0" y="5108"/>
                    <a:pt x="476" y="5572"/>
                    <a:pt x="1060" y="5572"/>
                  </a:cubicBezTo>
                  <a:lnTo>
                    <a:pt x="3929" y="5572"/>
                  </a:lnTo>
                  <a:lnTo>
                    <a:pt x="3512" y="8525"/>
                  </a:lnTo>
                  <a:cubicBezTo>
                    <a:pt x="3453" y="8930"/>
                    <a:pt x="3572" y="9335"/>
                    <a:pt x="3846" y="9632"/>
                  </a:cubicBezTo>
                  <a:cubicBezTo>
                    <a:pt x="4108" y="9930"/>
                    <a:pt x="4489" y="10109"/>
                    <a:pt x="4882" y="10109"/>
                  </a:cubicBezTo>
                  <a:lnTo>
                    <a:pt x="6275" y="10109"/>
                  </a:lnTo>
                  <a:cubicBezTo>
                    <a:pt x="6668" y="10109"/>
                    <a:pt x="7061" y="9930"/>
                    <a:pt x="7311" y="9632"/>
                  </a:cubicBezTo>
                  <a:cubicBezTo>
                    <a:pt x="7584" y="9335"/>
                    <a:pt x="7703" y="8930"/>
                    <a:pt x="7644" y="8525"/>
                  </a:cubicBezTo>
                  <a:lnTo>
                    <a:pt x="7227" y="5572"/>
                  </a:lnTo>
                  <a:lnTo>
                    <a:pt x="10097" y="5572"/>
                  </a:lnTo>
                  <a:cubicBezTo>
                    <a:pt x="10680" y="5572"/>
                    <a:pt x="11132" y="5108"/>
                    <a:pt x="11156" y="4537"/>
                  </a:cubicBezTo>
                  <a:lnTo>
                    <a:pt x="11156" y="4525"/>
                  </a:lnTo>
                  <a:cubicBezTo>
                    <a:pt x="11168" y="3310"/>
                    <a:pt x="10585" y="2155"/>
                    <a:pt x="9513" y="1310"/>
                  </a:cubicBezTo>
                  <a:cubicBezTo>
                    <a:pt x="8465" y="465"/>
                    <a:pt x="7061" y="0"/>
                    <a:pt x="5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2" name="Google Shape;13132;p63"/>
            <p:cNvSpPr/>
            <p:nvPr/>
          </p:nvSpPr>
          <p:spPr>
            <a:xfrm>
              <a:off x="5055149" y="3409458"/>
              <a:ext cx="99840" cy="88416"/>
            </a:xfrm>
            <a:custGeom>
              <a:avLst/>
              <a:gdLst/>
              <a:ahLst/>
              <a:cxnLst/>
              <a:rect l="l" t="t" r="r" b="b"/>
              <a:pathLst>
                <a:path w="3120" h="2763" extrusionOk="0">
                  <a:moveTo>
                    <a:pt x="1560" y="1"/>
                  </a:moveTo>
                  <a:cubicBezTo>
                    <a:pt x="691" y="1"/>
                    <a:pt x="1" y="620"/>
                    <a:pt x="1" y="1382"/>
                  </a:cubicBezTo>
                  <a:cubicBezTo>
                    <a:pt x="1" y="2144"/>
                    <a:pt x="691" y="2763"/>
                    <a:pt x="1560" y="2763"/>
                  </a:cubicBezTo>
                  <a:cubicBezTo>
                    <a:pt x="2418" y="2763"/>
                    <a:pt x="3120" y="2144"/>
                    <a:pt x="3120" y="1382"/>
                  </a:cubicBezTo>
                  <a:cubicBezTo>
                    <a:pt x="3108" y="1084"/>
                    <a:pt x="3013" y="798"/>
                    <a:pt x="2822" y="560"/>
                  </a:cubicBezTo>
                  <a:cubicBezTo>
                    <a:pt x="2790" y="521"/>
                    <a:pt x="2742" y="503"/>
                    <a:pt x="2697" y="503"/>
                  </a:cubicBezTo>
                  <a:cubicBezTo>
                    <a:pt x="2659" y="503"/>
                    <a:pt x="2623" y="515"/>
                    <a:pt x="2596" y="536"/>
                  </a:cubicBezTo>
                  <a:cubicBezTo>
                    <a:pt x="2525" y="584"/>
                    <a:pt x="2525" y="691"/>
                    <a:pt x="2572" y="751"/>
                  </a:cubicBezTo>
                  <a:cubicBezTo>
                    <a:pt x="2715" y="929"/>
                    <a:pt x="2799" y="1144"/>
                    <a:pt x="2799" y="1370"/>
                  </a:cubicBezTo>
                  <a:cubicBezTo>
                    <a:pt x="2799" y="1941"/>
                    <a:pt x="2239" y="2418"/>
                    <a:pt x="1560" y="2418"/>
                  </a:cubicBezTo>
                  <a:cubicBezTo>
                    <a:pt x="870" y="2418"/>
                    <a:pt x="322" y="1941"/>
                    <a:pt x="322" y="1370"/>
                  </a:cubicBezTo>
                  <a:cubicBezTo>
                    <a:pt x="322" y="786"/>
                    <a:pt x="870" y="310"/>
                    <a:pt x="1560" y="310"/>
                  </a:cubicBezTo>
                  <a:cubicBezTo>
                    <a:pt x="1739" y="310"/>
                    <a:pt x="1917" y="334"/>
                    <a:pt x="2084" y="417"/>
                  </a:cubicBezTo>
                  <a:cubicBezTo>
                    <a:pt x="2104" y="423"/>
                    <a:pt x="2124" y="426"/>
                    <a:pt x="2144" y="426"/>
                  </a:cubicBezTo>
                  <a:cubicBezTo>
                    <a:pt x="2208" y="426"/>
                    <a:pt x="2268" y="395"/>
                    <a:pt x="2287" y="322"/>
                  </a:cubicBezTo>
                  <a:cubicBezTo>
                    <a:pt x="2322" y="239"/>
                    <a:pt x="2287" y="143"/>
                    <a:pt x="2203" y="120"/>
                  </a:cubicBezTo>
                  <a:cubicBezTo>
                    <a:pt x="1989" y="24"/>
                    <a:pt x="1787" y="1"/>
                    <a:pt x="1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3" name="Google Shape;13133;p63"/>
          <p:cNvGrpSpPr/>
          <p:nvPr/>
        </p:nvGrpSpPr>
        <p:grpSpPr>
          <a:xfrm>
            <a:off x="7158637" y="3353074"/>
            <a:ext cx="357056" cy="357408"/>
            <a:chOff x="7158637" y="3353074"/>
            <a:chExt cx="357056" cy="357408"/>
          </a:xfrm>
        </p:grpSpPr>
        <p:sp>
          <p:nvSpPr>
            <p:cNvPr id="13134" name="Google Shape;13134;p63"/>
            <p:cNvSpPr/>
            <p:nvPr/>
          </p:nvSpPr>
          <p:spPr>
            <a:xfrm>
              <a:off x="7158637" y="3353074"/>
              <a:ext cx="357056" cy="357408"/>
            </a:xfrm>
            <a:custGeom>
              <a:avLst/>
              <a:gdLst/>
              <a:ahLst/>
              <a:cxnLst/>
              <a:rect l="l" t="t" r="r" b="b"/>
              <a:pathLst>
                <a:path w="11158" h="11169" extrusionOk="0">
                  <a:moveTo>
                    <a:pt x="7157" y="2489"/>
                  </a:moveTo>
                  <a:cubicBezTo>
                    <a:pt x="7192" y="2489"/>
                    <a:pt x="7204" y="2501"/>
                    <a:pt x="7204" y="2501"/>
                  </a:cubicBezTo>
                  <a:cubicBezTo>
                    <a:pt x="7216" y="2513"/>
                    <a:pt x="7228" y="2537"/>
                    <a:pt x="7228" y="2560"/>
                  </a:cubicBezTo>
                  <a:cubicBezTo>
                    <a:pt x="7228" y="2608"/>
                    <a:pt x="7204" y="2632"/>
                    <a:pt x="7157" y="2656"/>
                  </a:cubicBezTo>
                  <a:lnTo>
                    <a:pt x="6776" y="2691"/>
                  </a:lnTo>
                  <a:lnTo>
                    <a:pt x="6788" y="2656"/>
                  </a:lnTo>
                  <a:cubicBezTo>
                    <a:pt x="6811" y="2596"/>
                    <a:pt x="6859" y="2548"/>
                    <a:pt x="6919" y="2537"/>
                  </a:cubicBezTo>
                  <a:lnTo>
                    <a:pt x="7145" y="2489"/>
                  </a:lnTo>
                  <a:close/>
                  <a:moveTo>
                    <a:pt x="5192" y="2632"/>
                  </a:moveTo>
                  <a:cubicBezTo>
                    <a:pt x="5014" y="3084"/>
                    <a:pt x="5014" y="3108"/>
                    <a:pt x="5014" y="3144"/>
                  </a:cubicBezTo>
                  <a:cubicBezTo>
                    <a:pt x="5002" y="3227"/>
                    <a:pt x="5073" y="3310"/>
                    <a:pt x="5168" y="3310"/>
                  </a:cubicBezTo>
                  <a:cubicBezTo>
                    <a:pt x="5240" y="3310"/>
                    <a:pt x="5311" y="3251"/>
                    <a:pt x="5323" y="3168"/>
                  </a:cubicBezTo>
                  <a:cubicBezTo>
                    <a:pt x="5335" y="3132"/>
                    <a:pt x="5395" y="2989"/>
                    <a:pt x="5466" y="2810"/>
                  </a:cubicBezTo>
                  <a:lnTo>
                    <a:pt x="5549" y="2953"/>
                  </a:lnTo>
                  <a:cubicBezTo>
                    <a:pt x="5641" y="3100"/>
                    <a:pt x="5803" y="3176"/>
                    <a:pt x="5966" y="3176"/>
                  </a:cubicBezTo>
                  <a:cubicBezTo>
                    <a:pt x="6014" y="3176"/>
                    <a:pt x="6062" y="3169"/>
                    <a:pt x="6109" y="3156"/>
                  </a:cubicBezTo>
                  <a:lnTo>
                    <a:pt x="6347" y="3096"/>
                  </a:lnTo>
                  <a:cubicBezTo>
                    <a:pt x="6347" y="3156"/>
                    <a:pt x="6383" y="3215"/>
                    <a:pt x="6442" y="3251"/>
                  </a:cubicBezTo>
                  <a:lnTo>
                    <a:pt x="6811" y="3441"/>
                  </a:lnTo>
                  <a:lnTo>
                    <a:pt x="6788" y="3489"/>
                  </a:lnTo>
                  <a:lnTo>
                    <a:pt x="5264" y="3489"/>
                  </a:lnTo>
                  <a:lnTo>
                    <a:pt x="4049" y="3013"/>
                  </a:lnTo>
                  <a:lnTo>
                    <a:pt x="4299" y="2667"/>
                  </a:lnTo>
                  <a:lnTo>
                    <a:pt x="5192" y="2632"/>
                  </a:lnTo>
                  <a:close/>
                  <a:moveTo>
                    <a:pt x="382" y="6442"/>
                  </a:moveTo>
                  <a:lnTo>
                    <a:pt x="1001" y="7025"/>
                  </a:lnTo>
                  <a:cubicBezTo>
                    <a:pt x="1037" y="7073"/>
                    <a:pt x="1061" y="7132"/>
                    <a:pt x="1061" y="7192"/>
                  </a:cubicBezTo>
                  <a:lnTo>
                    <a:pt x="953" y="8085"/>
                  </a:lnTo>
                  <a:cubicBezTo>
                    <a:pt x="668" y="7573"/>
                    <a:pt x="489" y="7025"/>
                    <a:pt x="382" y="6442"/>
                  </a:cubicBezTo>
                  <a:close/>
                  <a:moveTo>
                    <a:pt x="5537" y="310"/>
                  </a:moveTo>
                  <a:cubicBezTo>
                    <a:pt x="6930" y="310"/>
                    <a:pt x="8228" y="870"/>
                    <a:pt x="9228" y="1846"/>
                  </a:cubicBezTo>
                  <a:cubicBezTo>
                    <a:pt x="10193" y="2810"/>
                    <a:pt x="10729" y="4084"/>
                    <a:pt x="10752" y="5430"/>
                  </a:cubicBezTo>
                  <a:cubicBezTo>
                    <a:pt x="10717" y="5418"/>
                    <a:pt x="10669" y="5394"/>
                    <a:pt x="10657" y="5346"/>
                  </a:cubicBezTo>
                  <a:lnTo>
                    <a:pt x="10419" y="4894"/>
                  </a:lnTo>
                  <a:cubicBezTo>
                    <a:pt x="10386" y="4845"/>
                    <a:pt x="10325" y="4818"/>
                    <a:pt x="10267" y="4818"/>
                  </a:cubicBezTo>
                  <a:cubicBezTo>
                    <a:pt x="10240" y="4818"/>
                    <a:pt x="10215" y="4823"/>
                    <a:pt x="10193" y="4834"/>
                  </a:cubicBezTo>
                  <a:cubicBezTo>
                    <a:pt x="10181" y="4894"/>
                    <a:pt x="10145" y="4989"/>
                    <a:pt x="10193" y="5073"/>
                  </a:cubicBezTo>
                  <a:lnTo>
                    <a:pt x="10431" y="5525"/>
                  </a:lnTo>
                  <a:cubicBezTo>
                    <a:pt x="10490" y="5644"/>
                    <a:pt x="10598" y="5727"/>
                    <a:pt x="10729" y="5763"/>
                  </a:cubicBezTo>
                  <a:lnTo>
                    <a:pt x="10824" y="5787"/>
                  </a:lnTo>
                  <a:cubicBezTo>
                    <a:pt x="10752" y="7120"/>
                    <a:pt x="10228" y="8347"/>
                    <a:pt x="9288" y="9287"/>
                  </a:cubicBezTo>
                  <a:cubicBezTo>
                    <a:pt x="8288" y="10287"/>
                    <a:pt x="6978" y="10823"/>
                    <a:pt x="5561" y="10823"/>
                  </a:cubicBezTo>
                  <a:cubicBezTo>
                    <a:pt x="4168" y="10823"/>
                    <a:pt x="2847" y="10276"/>
                    <a:pt x="1846" y="9287"/>
                  </a:cubicBezTo>
                  <a:cubicBezTo>
                    <a:pt x="1608" y="9049"/>
                    <a:pt x="1394" y="8799"/>
                    <a:pt x="1215" y="8525"/>
                  </a:cubicBezTo>
                  <a:lnTo>
                    <a:pt x="1370" y="7216"/>
                  </a:lnTo>
                  <a:cubicBezTo>
                    <a:pt x="1382" y="7061"/>
                    <a:pt x="1323" y="6906"/>
                    <a:pt x="1215" y="6787"/>
                  </a:cubicBezTo>
                  <a:lnTo>
                    <a:pt x="322" y="5930"/>
                  </a:lnTo>
                  <a:cubicBezTo>
                    <a:pt x="311" y="5811"/>
                    <a:pt x="311" y="5692"/>
                    <a:pt x="311" y="5573"/>
                  </a:cubicBezTo>
                  <a:cubicBezTo>
                    <a:pt x="311" y="4168"/>
                    <a:pt x="858" y="2846"/>
                    <a:pt x="1846" y="1846"/>
                  </a:cubicBezTo>
                  <a:cubicBezTo>
                    <a:pt x="2466" y="1227"/>
                    <a:pt x="3216" y="774"/>
                    <a:pt x="4037" y="536"/>
                  </a:cubicBezTo>
                  <a:lnTo>
                    <a:pt x="4037" y="536"/>
                  </a:lnTo>
                  <a:lnTo>
                    <a:pt x="3930" y="822"/>
                  </a:lnTo>
                  <a:cubicBezTo>
                    <a:pt x="3894" y="905"/>
                    <a:pt x="3942" y="1001"/>
                    <a:pt x="4013" y="1024"/>
                  </a:cubicBezTo>
                  <a:cubicBezTo>
                    <a:pt x="4025" y="1024"/>
                    <a:pt x="4061" y="1048"/>
                    <a:pt x="4073" y="1048"/>
                  </a:cubicBezTo>
                  <a:cubicBezTo>
                    <a:pt x="4132" y="1048"/>
                    <a:pt x="4216" y="1001"/>
                    <a:pt x="4228" y="941"/>
                  </a:cubicBezTo>
                  <a:lnTo>
                    <a:pt x="4418" y="453"/>
                  </a:lnTo>
                  <a:cubicBezTo>
                    <a:pt x="4692" y="393"/>
                    <a:pt x="4966" y="346"/>
                    <a:pt x="5252" y="334"/>
                  </a:cubicBezTo>
                  <a:lnTo>
                    <a:pt x="5252" y="334"/>
                  </a:lnTo>
                  <a:lnTo>
                    <a:pt x="5025" y="1227"/>
                  </a:lnTo>
                  <a:lnTo>
                    <a:pt x="4966" y="1239"/>
                  </a:lnTo>
                  <a:lnTo>
                    <a:pt x="4073" y="1239"/>
                  </a:lnTo>
                  <a:cubicBezTo>
                    <a:pt x="3906" y="1239"/>
                    <a:pt x="3763" y="1358"/>
                    <a:pt x="3728" y="1536"/>
                  </a:cubicBezTo>
                  <a:lnTo>
                    <a:pt x="3656" y="2120"/>
                  </a:lnTo>
                  <a:lnTo>
                    <a:pt x="3251" y="2132"/>
                  </a:lnTo>
                  <a:cubicBezTo>
                    <a:pt x="3073" y="2144"/>
                    <a:pt x="2942" y="2275"/>
                    <a:pt x="2930" y="2453"/>
                  </a:cubicBezTo>
                  <a:lnTo>
                    <a:pt x="2918" y="2918"/>
                  </a:lnTo>
                  <a:cubicBezTo>
                    <a:pt x="2918" y="3025"/>
                    <a:pt x="2942" y="3108"/>
                    <a:pt x="3013" y="3168"/>
                  </a:cubicBezTo>
                  <a:cubicBezTo>
                    <a:pt x="3083" y="3238"/>
                    <a:pt x="3154" y="3266"/>
                    <a:pt x="3238" y="3266"/>
                  </a:cubicBezTo>
                  <a:cubicBezTo>
                    <a:pt x="3254" y="3266"/>
                    <a:pt x="3270" y="3265"/>
                    <a:pt x="3287" y="3263"/>
                  </a:cubicBezTo>
                  <a:lnTo>
                    <a:pt x="3311" y="3263"/>
                  </a:lnTo>
                  <a:lnTo>
                    <a:pt x="2989" y="3572"/>
                  </a:lnTo>
                  <a:cubicBezTo>
                    <a:pt x="2930" y="3632"/>
                    <a:pt x="2918" y="3739"/>
                    <a:pt x="2978" y="3810"/>
                  </a:cubicBezTo>
                  <a:cubicBezTo>
                    <a:pt x="3001" y="3846"/>
                    <a:pt x="3049" y="3870"/>
                    <a:pt x="3097" y="3870"/>
                  </a:cubicBezTo>
                  <a:cubicBezTo>
                    <a:pt x="3132" y="3870"/>
                    <a:pt x="3168" y="3858"/>
                    <a:pt x="3204" y="3822"/>
                  </a:cubicBezTo>
                  <a:lnTo>
                    <a:pt x="3811" y="3263"/>
                  </a:lnTo>
                  <a:lnTo>
                    <a:pt x="5144" y="3799"/>
                  </a:lnTo>
                  <a:cubicBezTo>
                    <a:pt x="5156" y="3810"/>
                    <a:pt x="5192" y="3810"/>
                    <a:pt x="5204" y="3810"/>
                  </a:cubicBezTo>
                  <a:lnTo>
                    <a:pt x="6847" y="3810"/>
                  </a:lnTo>
                  <a:cubicBezTo>
                    <a:pt x="6907" y="3810"/>
                    <a:pt x="6954" y="3787"/>
                    <a:pt x="6978" y="3739"/>
                  </a:cubicBezTo>
                  <a:lnTo>
                    <a:pt x="7157" y="3465"/>
                  </a:lnTo>
                  <a:cubicBezTo>
                    <a:pt x="7192" y="3429"/>
                    <a:pt x="7192" y="3382"/>
                    <a:pt x="7192" y="3334"/>
                  </a:cubicBezTo>
                  <a:cubicBezTo>
                    <a:pt x="7169" y="3287"/>
                    <a:pt x="7145" y="3251"/>
                    <a:pt x="7097" y="3227"/>
                  </a:cubicBezTo>
                  <a:lnTo>
                    <a:pt x="6680" y="3025"/>
                  </a:lnTo>
                  <a:lnTo>
                    <a:pt x="7169" y="2965"/>
                  </a:lnTo>
                  <a:cubicBezTo>
                    <a:pt x="7383" y="2929"/>
                    <a:pt x="7550" y="2751"/>
                    <a:pt x="7526" y="2548"/>
                  </a:cubicBezTo>
                  <a:cubicBezTo>
                    <a:pt x="7526" y="2429"/>
                    <a:pt x="7466" y="2322"/>
                    <a:pt x="7371" y="2251"/>
                  </a:cubicBezTo>
                  <a:cubicBezTo>
                    <a:pt x="7301" y="2198"/>
                    <a:pt x="7219" y="2165"/>
                    <a:pt x="7133" y="2165"/>
                  </a:cubicBezTo>
                  <a:cubicBezTo>
                    <a:pt x="7101" y="2165"/>
                    <a:pt x="7069" y="2170"/>
                    <a:pt x="7038" y="2179"/>
                  </a:cubicBezTo>
                  <a:lnTo>
                    <a:pt x="6811" y="2215"/>
                  </a:lnTo>
                  <a:cubicBezTo>
                    <a:pt x="6633" y="2251"/>
                    <a:pt x="6502" y="2370"/>
                    <a:pt x="6442" y="2548"/>
                  </a:cubicBezTo>
                  <a:lnTo>
                    <a:pt x="6371" y="2751"/>
                  </a:lnTo>
                  <a:lnTo>
                    <a:pt x="6002" y="2858"/>
                  </a:lnTo>
                  <a:cubicBezTo>
                    <a:pt x="5988" y="2860"/>
                    <a:pt x="5974" y="2861"/>
                    <a:pt x="5960" y="2861"/>
                  </a:cubicBezTo>
                  <a:cubicBezTo>
                    <a:pt x="5892" y="2861"/>
                    <a:pt x="5827" y="2836"/>
                    <a:pt x="5787" y="2787"/>
                  </a:cubicBezTo>
                  <a:lnTo>
                    <a:pt x="5525" y="2382"/>
                  </a:lnTo>
                  <a:cubicBezTo>
                    <a:pt x="5490" y="2334"/>
                    <a:pt x="5430" y="2310"/>
                    <a:pt x="5371" y="2310"/>
                  </a:cubicBezTo>
                  <a:lnTo>
                    <a:pt x="4156" y="2358"/>
                  </a:lnTo>
                  <a:cubicBezTo>
                    <a:pt x="4109" y="2358"/>
                    <a:pt x="4049" y="2382"/>
                    <a:pt x="4013" y="2429"/>
                  </a:cubicBezTo>
                  <a:lnTo>
                    <a:pt x="3644" y="2953"/>
                  </a:lnTo>
                  <a:lnTo>
                    <a:pt x="3216" y="2977"/>
                  </a:lnTo>
                  <a:lnTo>
                    <a:pt x="3204" y="2977"/>
                  </a:lnTo>
                  <a:lnTo>
                    <a:pt x="3204" y="2965"/>
                  </a:lnTo>
                  <a:lnTo>
                    <a:pt x="3216" y="2501"/>
                  </a:lnTo>
                  <a:cubicBezTo>
                    <a:pt x="3216" y="2501"/>
                    <a:pt x="3216" y="2489"/>
                    <a:pt x="3228" y="2489"/>
                  </a:cubicBezTo>
                  <a:lnTo>
                    <a:pt x="3763" y="2453"/>
                  </a:lnTo>
                  <a:cubicBezTo>
                    <a:pt x="3835" y="2453"/>
                    <a:pt x="3906" y="2394"/>
                    <a:pt x="3906" y="2310"/>
                  </a:cubicBezTo>
                  <a:lnTo>
                    <a:pt x="4001" y="1584"/>
                  </a:lnTo>
                  <a:cubicBezTo>
                    <a:pt x="4001" y="1584"/>
                    <a:pt x="4001" y="1560"/>
                    <a:pt x="4013" y="1560"/>
                  </a:cubicBezTo>
                  <a:lnTo>
                    <a:pt x="4966" y="1560"/>
                  </a:lnTo>
                  <a:lnTo>
                    <a:pt x="5871" y="1310"/>
                  </a:lnTo>
                  <a:cubicBezTo>
                    <a:pt x="5918" y="1298"/>
                    <a:pt x="5966" y="1263"/>
                    <a:pt x="5978" y="1203"/>
                  </a:cubicBezTo>
                  <a:lnTo>
                    <a:pt x="6097" y="882"/>
                  </a:lnTo>
                  <a:cubicBezTo>
                    <a:pt x="6133" y="786"/>
                    <a:pt x="6085" y="703"/>
                    <a:pt x="5990" y="667"/>
                  </a:cubicBezTo>
                  <a:cubicBezTo>
                    <a:pt x="5975" y="663"/>
                    <a:pt x="5960" y="661"/>
                    <a:pt x="5946" y="661"/>
                  </a:cubicBezTo>
                  <a:cubicBezTo>
                    <a:pt x="5875" y="661"/>
                    <a:pt x="5807" y="706"/>
                    <a:pt x="5787" y="774"/>
                  </a:cubicBezTo>
                  <a:lnTo>
                    <a:pt x="5692" y="1013"/>
                  </a:lnTo>
                  <a:lnTo>
                    <a:pt x="5323" y="1120"/>
                  </a:lnTo>
                  <a:lnTo>
                    <a:pt x="5537" y="310"/>
                  </a:lnTo>
                  <a:close/>
                  <a:moveTo>
                    <a:pt x="5585" y="0"/>
                  </a:moveTo>
                  <a:cubicBezTo>
                    <a:pt x="4097" y="0"/>
                    <a:pt x="2692" y="584"/>
                    <a:pt x="1632" y="1644"/>
                  </a:cubicBezTo>
                  <a:cubicBezTo>
                    <a:pt x="584" y="2691"/>
                    <a:pt x="1" y="4096"/>
                    <a:pt x="1" y="5585"/>
                  </a:cubicBezTo>
                  <a:cubicBezTo>
                    <a:pt x="1" y="7073"/>
                    <a:pt x="584" y="8466"/>
                    <a:pt x="1632" y="9525"/>
                  </a:cubicBezTo>
                  <a:cubicBezTo>
                    <a:pt x="2692" y="10585"/>
                    <a:pt x="4097" y="11169"/>
                    <a:pt x="5585" y="11169"/>
                  </a:cubicBezTo>
                  <a:cubicBezTo>
                    <a:pt x="7073" y="11169"/>
                    <a:pt x="8466" y="10585"/>
                    <a:pt x="9526" y="9525"/>
                  </a:cubicBezTo>
                  <a:cubicBezTo>
                    <a:pt x="10586" y="8466"/>
                    <a:pt x="11157" y="7073"/>
                    <a:pt x="11157" y="5585"/>
                  </a:cubicBezTo>
                  <a:cubicBezTo>
                    <a:pt x="11157" y="4096"/>
                    <a:pt x="10586" y="2691"/>
                    <a:pt x="9526" y="1644"/>
                  </a:cubicBezTo>
                  <a:cubicBezTo>
                    <a:pt x="8466" y="584"/>
                    <a:pt x="7073" y="0"/>
                    <a:pt x="55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5" name="Google Shape;13135;p63"/>
            <p:cNvSpPr/>
            <p:nvPr/>
          </p:nvSpPr>
          <p:spPr>
            <a:xfrm>
              <a:off x="7406669" y="3594898"/>
              <a:ext cx="26336" cy="27968"/>
            </a:xfrm>
            <a:custGeom>
              <a:avLst/>
              <a:gdLst/>
              <a:ahLst/>
              <a:cxnLst/>
              <a:rect l="l" t="t" r="r" b="b"/>
              <a:pathLst>
                <a:path w="823" h="874" extrusionOk="0">
                  <a:moveTo>
                    <a:pt x="637" y="1"/>
                  </a:moveTo>
                  <a:cubicBezTo>
                    <a:pt x="592" y="1"/>
                    <a:pt x="551" y="19"/>
                    <a:pt x="525" y="52"/>
                  </a:cubicBezTo>
                  <a:lnTo>
                    <a:pt x="60" y="599"/>
                  </a:lnTo>
                  <a:cubicBezTo>
                    <a:pt x="1" y="671"/>
                    <a:pt x="13" y="778"/>
                    <a:pt x="72" y="825"/>
                  </a:cubicBezTo>
                  <a:cubicBezTo>
                    <a:pt x="108" y="849"/>
                    <a:pt x="156" y="873"/>
                    <a:pt x="180" y="873"/>
                  </a:cubicBezTo>
                  <a:cubicBezTo>
                    <a:pt x="227" y="873"/>
                    <a:pt x="275" y="849"/>
                    <a:pt x="299" y="814"/>
                  </a:cubicBezTo>
                  <a:lnTo>
                    <a:pt x="763" y="254"/>
                  </a:lnTo>
                  <a:cubicBezTo>
                    <a:pt x="822" y="194"/>
                    <a:pt x="822" y="99"/>
                    <a:pt x="751" y="40"/>
                  </a:cubicBezTo>
                  <a:cubicBezTo>
                    <a:pt x="713" y="13"/>
                    <a:pt x="674" y="1"/>
                    <a:pt x="6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6" name="Google Shape;13136;p63"/>
            <p:cNvSpPr/>
            <p:nvPr/>
          </p:nvSpPr>
          <p:spPr>
            <a:xfrm>
              <a:off x="7229133" y="3469074"/>
              <a:ext cx="254912" cy="180832"/>
            </a:xfrm>
            <a:custGeom>
              <a:avLst/>
              <a:gdLst/>
              <a:ahLst/>
              <a:cxnLst/>
              <a:rect l="l" t="t" r="r" b="b"/>
              <a:pathLst>
                <a:path w="7966" h="5651" extrusionOk="0">
                  <a:moveTo>
                    <a:pt x="5980" y="1"/>
                  </a:moveTo>
                  <a:cubicBezTo>
                    <a:pt x="5931" y="1"/>
                    <a:pt x="5884" y="21"/>
                    <a:pt x="5859" y="66"/>
                  </a:cubicBezTo>
                  <a:cubicBezTo>
                    <a:pt x="5823" y="138"/>
                    <a:pt x="5835" y="233"/>
                    <a:pt x="5894" y="293"/>
                  </a:cubicBezTo>
                  <a:lnTo>
                    <a:pt x="6442" y="781"/>
                  </a:lnTo>
                  <a:cubicBezTo>
                    <a:pt x="6478" y="817"/>
                    <a:pt x="6513" y="828"/>
                    <a:pt x="6573" y="828"/>
                  </a:cubicBezTo>
                  <a:lnTo>
                    <a:pt x="6859" y="793"/>
                  </a:lnTo>
                  <a:lnTo>
                    <a:pt x="6978" y="959"/>
                  </a:lnTo>
                  <a:lnTo>
                    <a:pt x="5942" y="1662"/>
                  </a:lnTo>
                  <a:cubicBezTo>
                    <a:pt x="5927" y="1667"/>
                    <a:pt x="5910" y="1670"/>
                    <a:pt x="5895" y="1670"/>
                  </a:cubicBezTo>
                  <a:cubicBezTo>
                    <a:pt x="5873" y="1670"/>
                    <a:pt x="5854" y="1664"/>
                    <a:pt x="5847" y="1650"/>
                  </a:cubicBezTo>
                  <a:lnTo>
                    <a:pt x="5168" y="555"/>
                  </a:lnTo>
                  <a:cubicBezTo>
                    <a:pt x="5139" y="511"/>
                    <a:pt x="5088" y="485"/>
                    <a:pt x="5036" y="485"/>
                  </a:cubicBezTo>
                  <a:cubicBezTo>
                    <a:pt x="5003" y="485"/>
                    <a:pt x="4970" y="496"/>
                    <a:pt x="4942" y="519"/>
                  </a:cubicBezTo>
                  <a:cubicBezTo>
                    <a:pt x="4870" y="555"/>
                    <a:pt x="4846" y="662"/>
                    <a:pt x="4894" y="733"/>
                  </a:cubicBezTo>
                  <a:lnTo>
                    <a:pt x="5644" y="1912"/>
                  </a:lnTo>
                  <a:cubicBezTo>
                    <a:pt x="5668" y="1960"/>
                    <a:pt x="5704" y="1983"/>
                    <a:pt x="5763" y="1983"/>
                  </a:cubicBezTo>
                  <a:lnTo>
                    <a:pt x="6132" y="2043"/>
                  </a:lnTo>
                  <a:lnTo>
                    <a:pt x="6144" y="2043"/>
                  </a:lnTo>
                  <a:lnTo>
                    <a:pt x="6144" y="2067"/>
                  </a:lnTo>
                  <a:lnTo>
                    <a:pt x="5299" y="2995"/>
                  </a:lnTo>
                  <a:lnTo>
                    <a:pt x="5251" y="3091"/>
                  </a:lnTo>
                  <a:lnTo>
                    <a:pt x="5132" y="3948"/>
                  </a:lnTo>
                  <a:cubicBezTo>
                    <a:pt x="5120" y="4043"/>
                    <a:pt x="5073" y="4115"/>
                    <a:pt x="5013" y="4162"/>
                  </a:cubicBezTo>
                  <a:lnTo>
                    <a:pt x="3834" y="5234"/>
                  </a:lnTo>
                  <a:cubicBezTo>
                    <a:pt x="3775" y="5293"/>
                    <a:pt x="3692" y="5317"/>
                    <a:pt x="3596" y="5317"/>
                  </a:cubicBezTo>
                  <a:cubicBezTo>
                    <a:pt x="3453" y="5317"/>
                    <a:pt x="3334" y="5234"/>
                    <a:pt x="3275" y="5103"/>
                  </a:cubicBezTo>
                  <a:lnTo>
                    <a:pt x="2846" y="3972"/>
                  </a:lnTo>
                  <a:lnTo>
                    <a:pt x="2739" y="2781"/>
                  </a:lnTo>
                  <a:cubicBezTo>
                    <a:pt x="2703" y="2436"/>
                    <a:pt x="2430" y="2162"/>
                    <a:pt x="2084" y="2150"/>
                  </a:cubicBezTo>
                  <a:lnTo>
                    <a:pt x="763" y="2079"/>
                  </a:lnTo>
                  <a:cubicBezTo>
                    <a:pt x="667" y="2079"/>
                    <a:pt x="608" y="2019"/>
                    <a:pt x="596" y="1948"/>
                  </a:cubicBezTo>
                  <a:lnTo>
                    <a:pt x="358" y="971"/>
                  </a:lnTo>
                  <a:cubicBezTo>
                    <a:pt x="346" y="912"/>
                    <a:pt x="358" y="840"/>
                    <a:pt x="417" y="793"/>
                  </a:cubicBezTo>
                  <a:lnTo>
                    <a:pt x="548" y="674"/>
                  </a:lnTo>
                  <a:cubicBezTo>
                    <a:pt x="608" y="614"/>
                    <a:pt x="620" y="519"/>
                    <a:pt x="560" y="436"/>
                  </a:cubicBezTo>
                  <a:cubicBezTo>
                    <a:pt x="529" y="398"/>
                    <a:pt x="488" y="380"/>
                    <a:pt x="444" y="380"/>
                  </a:cubicBezTo>
                  <a:cubicBezTo>
                    <a:pt x="404" y="380"/>
                    <a:pt x="362" y="395"/>
                    <a:pt x="322" y="424"/>
                  </a:cubicBezTo>
                  <a:lnTo>
                    <a:pt x="191" y="543"/>
                  </a:lnTo>
                  <a:cubicBezTo>
                    <a:pt x="60" y="674"/>
                    <a:pt x="1" y="852"/>
                    <a:pt x="48" y="1043"/>
                  </a:cubicBezTo>
                  <a:lnTo>
                    <a:pt x="286" y="2019"/>
                  </a:lnTo>
                  <a:cubicBezTo>
                    <a:pt x="346" y="2233"/>
                    <a:pt x="525" y="2388"/>
                    <a:pt x="763" y="2400"/>
                  </a:cubicBezTo>
                  <a:lnTo>
                    <a:pt x="2084" y="2471"/>
                  </a:lnTo>
                  <a:cubicBezTo>
                    <a:pt x="2263" y="2495"/>
                    <a:pt x="2406" y="2626"/>
                    <a:pt x="2430" y="2805"/>
                  </a:cubicBezTo>
                  <a:lnTo>
                    <a:pt x="2525" y="4007"/>
                  </a:lnTo>
                  <a:cubicBezTo>
                    <a:pt x="2525" y="4031"/>
                    <a:pt x="2525" y="4043"/>
                    <a:pt x="2549" y="4055"/>
                  </a:cubicBezTo>
                  <a:lnTo>
                    <a:pt x="2989" y="5210"/>
                  </a:lnTo>
                  <a:cubicBezTo>
                    <a:pt x="3096" y="5472"/>
                    <a:pt x="3346" y="5650"/>
                    <a:pt x="3620" y="5650"/>
                  </a:cubicBezTo>
                  <a:cubicBezTo>
                    <a:pt x="3775" y="5650"/>
                    <a:pt x="3942" y="5591"/>
                    <a:pt x="4061" y="5472"/>
                  </a:cubicBezTo>
                  <a:lnTo>
                    <a:pt x="5239" y="4400"/>
                  </a:lnTo>
                  <a:cubicBezTo>
                    <a:pt x="5358" y="4293"/>
                    <a:pt x="5430" y="4138"/>
                    <a:pt x="5466" y="3984"/>
                  </a:cubicBezTo>
                  <a:lnTo>
                    <a:pt x="5585" y="3162"/>
                  </a:lnTo>
                  <a:lnTo>
                    <a:pt x="6394" y="2257"/>
                  </a:lnTo>
                  <a:cubicBezTo>
                    <a:pt x="6490" y="2162"/>
                    <a:pt x="6501" y="2031"/>
                    <a:pt x="6478" y="1912"/>
                  </a:cubicBezTo>
                  <a:cubicBezTo>
                    <a:pt x="6454" y="1852"/>
                    <a:pt x="6418" y="1793"/>
                    <a:pt x="6370" y="1757"/>
                  </a:cubicBezTo>
                  <a:lnTo>
                    <a:pt x="7335" y="1102"/>
                  </a:lnTo>
                  <a:lnTo>
                    <a:pt x="7383" y="1067"/>
                  </a:lnTo>
                  <a:cubicBezTo>
                    <a:pt x="7430" y="1007"/>
                    <a:pt x="7406" y="924"/>
                    <a:pt x="7383" y="888"/>
                  </a:cubicBezTo>
                  <a:lnTo>
                    <a:pt x="7263" y="733"/>
                  </a:lnTo>
                  <a:lnTo>
                    <a:pt x="7466" y="709"/>
                  </a:lnTo>
                  <a:cubicBezTo>
                    <a:pt x="7481" y="705"/>
                    <a:pt x="7496" y="703"/>
                    <a:pt x="7510" y="703"/>
                  </a:cubicBezTo>
                  <a:cubicBezTo>
                    <a:pt x="7573" y="703"/>
                    <a:pt x="7625" y="744"/>
                    <a:pt x="7644" y="793"/>
                  </a:cubicBezTo>
                  <a:cubicBezTo>
                    <a:pt x="7680" y="852"/>
                    <a:pt x="7740" y="888"/>
                    <a:pt x="7799" y="888"/>
                  </a:cubicBezTo>
                  <a:cubicBezTo>
                    <a:pt x="7823" y="888"/>
                    <a:pt x="7859" y="864"/>
                    <a:pt x="7883" y="852"/>
                  </a:cubicBezTo>
                  <a:cubicBezTo>
                    <a:pt x="7942" y="817"/>
                    <a:pt x="7966" y="709"/>
                    <a:pt x="7918" y="650"/>
                  </a:cubicBezTo>
                  <a:cubicBezTo>
                    <a:pt x="7825" y="494"/>
                    <a:pt x="7668" y="393"/>
                    <a:pt x="7488" y="393"/>
                  </a:cubicBezTo>
                  <a:cubicBezTo>
                    <a:pt x="7461" y="393"/>
                    <a:pt x="7434" y="395"/>
                    <a:pt x="7406" y="400"/>
                  </a:cubicBezTo>
                  <a:lnTo>
                    <a:pt x="6609" y="483"/>
                  </a:lnTo>
                  <a:lnTo>
                    <a:pt x="6097" y="43"/>
                  </a:lnTo>
                  <a:cubicBezTo>
                    <a:pt x="6064" y="15"/>
                    <a:pt x="6021" y="1"/>
                    <a:pt x="59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7" name="Google Shape;13137;p63"/>
            <p:cNvSpPr/>
            <p:nvPr/>
          </p:nvSpPr>
          <p:spPr>
            <a:xfrm>
              <a:off x="7409741" y="3428370"/>
              <a:ext cx="22880" cy="27616"/>
            </a:xfrm>
            <a:custGeom>
              <a:avLst/>
              <a:gdLst/>
              <a:ahLst/>
              <a:cxnLst/>
              <a:rect l="l" t="t" r="r" b="b"/>
              <a:pathLst>
                <a:path w="715" h="863" extrusionOk="0">
                  <a:moveTo>
                    <a:pt x="177" y="1"/>
                  </a:moveTo>
                  <a:cubicBezTo>
                    <a:pt x="144" y="1"/>
                    <a:pt x="111" y="10"/>
                    <a:pt x="84" y="29"/>
                  </a:cubicBezTo>
                  <a:cubicBezTo>
                    <a:pt x="12" y="76"/>
                    <a:pt x="0" y="184"/>
                    <a:pt x="36" y="255"/>
                  </a:cubicBezTo>
                  <a:lnTo>
                    <a:pt x="393" y="791"/>
                  </a:lnTo>
                  <a:cubicBezTo>
                    <a:pt x="429" y="838"/>
                    <a:pt x="488" y="862"/>
                    <a:pt x="536" y="862"/>
                  </a:cubicBezTo>
                  <a:cubicBezTo>
                    <a:pt x="560" y="862"/>
                    <a:pt x="596" y="850"/>
                    <a:pt x="619" y="838"/>
                  </a:cubicBezTo>
                  <a:cubicBezTo>
                    <a:pt x="691" y="779"/>
                    <a:pt x="715" y="684"/>
                    <a:pt x="667" y="612"/>
                  </a:cubicBezTo>
                  <a:lnTo>
                    <a:pt x="310" y="76"/>
                  </a:lnTo>
                  <a:cubicBezTo>
                    <a:pt x="280" y="25"/>
                    <a:pt x="229" y="1"/>
                    <a:pt x="1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38" name="Google Shape;13138;p63"/>
          <p:cNvGrpSpPr/>
          <p:nvPr/>
        </p:nvGrpSpPr>
        <p:grpSpPr>
          <a:xfrm>
            <a:off x="5508909" y="3371506"/>
            <a:ext cx="358560" cy="319552"/>
            <a:chOff x="5508909" y="3371506"/>
            <a:chExt cx="358560" cy="319552"/>
          </a:xfrm>
        </p:grpSpPr>
        <p:sp>
          <p:nvSpPr>
            <p:cNvPr id="13139" name="Google Shape;13139;p63"/>
            <p:cNvSpPr/>
            <p:nvPr/>
          </p:nvSpPr>
          <p:spPr>
            <a:xfrm>
              <a:off x="5545485" y="3384178"/>
              <a:ext cx="57184" cy="60736"/>
            </a:xfrm>
            <a:custGeom>
              <a:avLst/>
              <a:gdLst/>
              <a:ahLst/>
              <a:cxnLst/>
              <a:rect l="l" t="t" r="r" b="b"/>
              <a:pathLst>
                <a:path w="1787" h="1898" extrusionOk="0">
                  <a:moveTo>
                    <a:pt x="763" y="338"/>
                  </a:moveTo>
                  <a:cubicBezTo>
                    <a:pt x="942" y="338"/>
                    <a:pt x="1120" y="445"/>
                    <a:pt x="1239" y="636"/>
                  </a:cubicBezTo>
                  <a:cubicBezTo>
                    <a:pt x="1382" y="850"/>
                    <a:pt x="1465" y="1160"/>
                    <a:pt x="1394" y="1362"/>
                  </a:cubicBezTo>
                  <a:cubicBezTo>
                    <a:pt x="1382" y="1422"/>
                    <a:pt x="1358" y="1505"/>
                    <a:pt x="1299" y="1541"/>
                  </a:cubicBezTo>
                  <a:cubicBezTo>
                    <a:pt x="1263" y="1565"/>
                    <a:pt x="1215" y="1576"/>
                    <a:pt x="1180" y="1576"/>
                  </a:cubicBezTo>
                  <a:cubicBezTo>
                    <a:pt x="965" y="1576"/>
                    <a:pt x="644" y="1362"/>
                    <a:pt x="465" y="1100"/>
                  </a:cubicBezTo>
                  <a:cubicBezTo>
                    <a:pt x="370" y="945"/>
                    <a:pt x="322" y="791"/>
                    <a:pt x="358" y="648"/>
                  </a:cubicBezTo>
                  <a:cubicBezTo>
                    <a:pt x="394" y="552"/>
                    <a:pt x="441" y="457"/>
                    <a:pt x="537" y="398"/>
                  </a:cubicBezTo>
                  <a:cubicBezTo>
                    <a:pt x="608" y="350"/>
                    <a:pt x="691" y="338"/>
                    <a:pt x="763" y="338"/>
                  </a:cubicBezTo>
                  <a:close/>
                  <a:moveTo>
                    <a:pt x="780" y="0"/>
                  </a:moveTo>
                  <a:cubicBezTo>
                    <a:pt x="647" y="0"/>
                    <a:pt x="515" y="36"/>
                    <a:pt x="394" y="112"/>
                  </a:cubicBezTo>
                  <a:cubicBezTo>
                    <a:pt x="227" y="219"/>
                    <a:pt x="108" y="386"/>
                    <a:pt x="60" y="576"/>
                  </a:cubicBezTo>
                  <a:cubicBezTo>
                    <a:pt x="1" y="803"/>
                    <a:pt x="60" y="1053"/>
                    <a:pt x="191" y="1279"/>
                  </a:cubicBezTo>
                  <a:cubicBezTo>
                    <a:pt x="334" y="1481"/>
                    <a:pt x="537" y="1684"/>
                    <a:pt x="763" y="1779"/>
                  </a:cubicBezTo>
                  <a:cubicBezTo>
                    <a:pt x="906" y="1862"/>
                    <a:pt x="1061" y="1898"/>
                    <a:pt x="1180" y="1898"/>
                  </a:cubicBezTo>
                  <a:cubicBezTo>
                    <a:pt x="1287" y="1898"/>
                    <a:pt x="1382" y="1874"/>
                    <a:pt x="1465" y="1826"/>
                  </a:cubicBezTo>
                  <a:cubicBezTo>
                    <a:pt x="1596" y="1755"/>
                    <a:pt x="1668" y="1624"/>
                    <a:pt x="1715" y="1445"/>
                  </a:cubicBezTo>
                  <a:cubicBezTo>
                    <a:pt x="1787" y="1148"/>
                    <a:pt x="1715" y="755"/>
                    <a:pt x="1537" y="457"/>
                  </a:cubicBezTo>
                  <a:cubicBezTo>
                    <a:pt x="1350" y="165"/>
                    <a:pt x="1064" y="0"/>
                    <a:pt x="7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0" name="Google Shape;13140;p63"/>
            <p:cNvSpPr/>
            <p:nvPr/>
          </p:nvSpPr>
          <p:spPr>
            <a:xfrm>
              <a:off x="5508909" y="3429362"/>
              <a:ext cx="53760" cy="50624"/>
            </a:xfrm>
            <a:custGeom>
              <a:avLst/>
              <a:gdLst/>
              <a:ahLst/>
              <a:cxnLst/>
              <a:rect l="l" t="t" r="r" b="b"/>
              <a:pathLst>
                <a:path w="1680" h="1582" extrusionOk="0">
                  <a:moveTo>
                    <a:pt x="668" y="307"/>
                  </a:moveTo>
                  <a:cubicBezTo>
                    <a:pt x="775" y="307"/>
                    <a:pt x="906" y="355"/>
                    <a:pt x="1013" y="462"/>
                  </a:cubicBezTo>
                  <a:cubicBezTo>
                    <a:pt x="1215" y="641"/>
                    <a:pt x="1394" y="1045"/>
                    <a:pt x="1275" y="1176"/>
                  </a:cubicBezTo>
                  <a:cubicBezTo>
                    <a:pt x="1250" y="1217"/>
                    <a:pt x="1187" y="1236"/>
                    <a:pt x="1104" y="1236"/>
                  </a:cubicBezTo>
                  <a:cubicBezTo>
                    <a:pt x="1065" y="1236"/>
                    <a:pt x="1022" y="1232"/>
                    <a:pt x="977" y="1224"/>
                  </a:cubicBezTo>
                  <a:cubicBezTo>
                    <a:pt x="822" y="1188"/>
                    <a:pt x="656" y="1105"/>
                    <a:pt x="537" y="998"/>
                  </a:cubicBezTo>
                  <a:cubicBezTo>
                    <a:pt x="430" y="903"/>
                    <a:pt x="358" y="784"/>
                    <a:pt x="346" y="676"/>
                  </a:cubicBezTo>
                  <a:cubicBezTo>
                    <a:pt x="322" y="581"/>
                    <a:pt x="358" y="486"/>
                    <a:pt x="418" y="414"/>
                  </a:cubicBezTo>
                  <a:cubicBezTo>
                    <a:pt x="477" y="343"/>
                    <a:pt x="561" y="307"/>
                    <a:pt x="668" y="307"/>
                  </a:cubicBezTo>
                  <a:close/>
                  <a:moveTo>
                    <a:pt x="666" y="1"/>
                  </a:moveTo>
                  <a:cubicBezTo>
                    <a:pt x="480" y="1"/>
                    <a:pt x="305" y="75"/>
                    <a:pt x="180" y="224"/>
                  </a:cubicBezTo>
                  <a:cubicBezTo>
                    <a:pt x="60" y="367"/>
                    <a:pt x="1" y="545"/>
                    <a:pt x="25" y="748"/>
                  </a:cubicBezTo>
                  <a:cubicBezTo>
                    <a:pt x="60" y="938"/>
                    <a:pt x="168" y="1117"/>
                    <a:pt x="322" y="1260"/>
                  </a:cubicBezTo>
                  <a:cubicBezTo>
                    <a:pt x="489" y="1403"/>
                    <a:pt x="715" y="1522"/>
                    <a:pt x="918" y="1557"/>
                  </a:cubicBezTo>
                  <a:cubicBezTo>
                    <a:pt x="977" y="1581"/>
                    <a:pt x="1061" y="1581"/>
                    <a:pt x="1120" y="1581"/>
                  </a:cubicBezTo>
                  <a:cubicBezTo>
                    <a:pt x="1299" y="1581"/>
                    <a:pt x="1442" y="1522"/>
                    <a:pt x="1537" y="1415"/>
                  </a:cubicBezTo>
                  <a:cubicBezTo>
                    <a:pt x="1644" y="1236"/>
                    <a:pt x="1680" y="1022"/>
                    <a:pt x="1596" y="772"/>
                  </a:cubicBezTo>
                  <a:cubicBezTo>
                    <a:pt x="1513" y="569"/>
                    <a:pt x="1382" y="355"/>
                    <a:pt x="1215" y="224"/>
                  </a:cubicBezTo>
                  <a:cubicBezTo>
                    <a:pt x="1049" y="75"/>
                    <a:pt x="852" y="1"/>
                    <a:pt x="6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1" name="Google Shape;13141;p63"/>
            <p:cNvSpPr/>
            <p:nvPr/>
          </p:nvSpPr>
          <p:spPr>
            <a:xfrm>
              <a:off x="5606829" y="3371506"/>
              <a:ext cx="51104" cy="63520"/>
            </a:xfrm>
            <a:custGeom>
              <a:avLst/>
              <a:gdLst/>
              <a:ahLst/>
              <a:cxnLst/>
              <a:rect l="l" t="t" r="r" b="b"/>
              <a:pathLst>
                <a:path w="1597" h="1985" extrusionOk="0">
                  <a:moveTo>
                    <a:pt x="811" y="0"/>
                  </a:moveTo>
                  <a:cubicBezTo>
                    <a:pt x="519" y="0"/>
                    <a:pt x="257" y="172"/>
                    <a:pt x="108" y="448"/>
                  </a:cubicBezTo>
                  <a:cubicBezTo>
                    <a:pt x="60" y="532"/>
                    <a:pt x="96" y="627"/>
                    <a:pt x="179" y="675"/>
                  </a:cubicBezTo>
                  <a:cubicBezTo>
                    <a:pt x="205" y="689"/>
                    <a:pt x="231" y="696"/>
                    <a:pt x="257" y="696"/>
                  </a:cubicBezTo>
                  <a:cubicBezTo>
                    <a:pt x="317" y="696"/>
                    <a:pt x="373" y="661"/>
                    <a:pt x="406" y="603"/>
                  </a:cubicBezTo>
                  <a:cubicBezTo>
                    <a:pt x="503" y="430"/>
                    <a:pt x="659" y="326"/>
                    <a:pt x="829" y="326"/>
                  </a:cubicBezTo>
                  <a:cubicBezTo>
                    <a:pt x="847" y="326"/>
                    <a:pt x="864" y="327"/>
                    <a:pt x="882" y="329"/>
                  </a:cubicBezTo>
                  <a:cubicBezTo>
                    <a:pt x="989" y="353"/>
                    <a:pt x="1096" y="413"/>
                    <a:pt x="1156" y="496"/>
                  </a:cubicBezTo>
                  <a:cubicBezTo>
                    <a:pt x="1239" y="615"/>
                    <a:pt x="1263" y="782"/>
                    <a:pt x="1239" y="948"/>
                  </a:cubicBezTo>
                  <a:cubicBezTo>
                    <a:pt x="1181" y="1307"/>
                    <a:pt x="888" y="1676"/>
                    <a:pt x="675" y="1676"/>
                  </a:cubicBezTo>
                  <a:cubicBezTo>
                    <a:pt x="669" y="1676"/>
                    <a:pt x="662" y="1675"/>
                    <a:pt x="656" y="1675"/>
                  </a:cubicBezTo>
                  <a:cubicBezTo>
                    <a:pt x="513" y="1663"/>
                    <a:pt x="370" y="1401"/>
                    <a:pt x="334" y="1103"/>
                  </a:cubicBezTo>
                  <a:cubicBezTo>
                    <a:pt x="310" y="1020"/>
                    <a:pt x="239" y="960"/>
                    <a:pt x="156" y="960"/>
                  </a:cubicBezTo>
                  <a:cubicBezTo>
                    <a:pt x="60" y="972"/>
                    <a:pt x="1" y="1044"/>
                    <a:pt x="1" y="1139"/>
                  </a:cubicBezTo>
                  <a:cubicBezTo>
                    <a:pt x="48" y="1520"/>
                    <a:pt x="251" y="1937"/>
                    <a:pt x="608" y="1984"/>
                  </a:cubicBezTo>
                  <a:lnTo>
                    <a:pt x="691" y="1984"/>
                  </a:lnTo>
                  <a:cubicBezTo>
                    <a:pt x="882" y="1984"/>
                    <a:pt x="1072" y="1877"/>
                    <a:pt x="1251" y="1675"/>
                  </a:cubicBezTo>
                  <a:cubicBezTo>
                    <a:pt x="1418" y="1484"/>
                    <a:pt x="1537" y="1222"/>
                    <a:pt x="1561" y="984"/>
                  </a:cubicBezTo>
                  <a:cubicBezTo>
                    <a:pt x="1596" y="734"/>
                    <a:pt x="1537" y="484"/>
                    <a:pt x="1406" y="306"/>
                  </a:cubicBezTo>
                  <a:cubicBezTo>
                    <a:pt x="1287" y="139"/>
                    <a:pt x="1108" y="32"/>
                    <a:pt x="918" y="8"/>
                  </a:cubicBezTo>
                  <a:cubicBezTo>
                    <a:pt x="882" y="3"/>
                    <a:pt x="846" y="0"/>
                    <a:pt x="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2" name="Google Shape;13142;p63"/>
            <p:cNvSpPr/>
            <p:nvPr/>
          </p:nvSpPr>
          <p:spPr>
            <a:xfrm>
              <a:off x="5659789" y="3396786"/>
              <a:ext cx="48032" cy="55392"/>
            </a:xfrm>
            <a:custGeom>
              <a:avLst/>
              <a:gdLst/>
              <a:ahLst/>
              <a:cxnLst/>
              <a:rect l="l" t="t" r="r" b="b"/>
              <a:pathLst>
                <a:path w="1501" h="1731" extrusionOk="0">
                  <a:moveTo>
                    <a:pt x="834" y="313"/>
                  </a:moveTo>
                  <a:cubicBezTo>
                    <a:pt x="882" y="313"/>
                    <a:pt x="929" y="337"/>
                    <a:pt x="965" y="349"/>
                  </a:cubicBezTo>
                  <a:cubicBezTo>
                    <a:pt x="1060" y="385"/>
                    <a:pt x="1120" y="468"/>
                    <a:pt x="1144" y="551"/>
                  </a:cubicBezTo>
                  <a:cubicBezTo>
                    <a:pt x="1168" y="670"/>
                    <a:pt x="1144" y="813"/>
                    <a:pt x="1084" y="932"/>
                  </a:cubicBezTo>
                  <a:cubicBezTo>
                    <a:pt x="981" y="1149"/>
                    <a:pt x="718" y="1392"/>
                    <a:pt x="549" y="1392"/>
                  </a:cubicBezTo>
                  <a:cubicBezTo>
                    <a:pt x="522" y="1392"/>
                    <a:pt x="498" y="1386"/>
                    <a:pt x="477" y="1373"/>
                  </a:cubicBezTo>
                  <a:cubicBezTo>
                    <a:pt x="310" y="1301"/>
                    <a:pt x="334" y="873"/>
                    <a:pt x="453" y="611"/>
                  </a:cubicBezTo>
                  <a:cubicBezTo>
                    <a:pt x="513" y="492"/>
                    <a:pt x="596" y="385"/>
                    <a:pt x="703" y="349"/>
                  </a:cubicBezTo>
                  <a:cubicBezTo>
                    <a:pt x="751" y="337"/>
                    <a:pt x="787" y="313"/>
                    <a:pt x="834" y="313"/>
                  </a:cubicBezTo>
                  <a:close/>
                  <a:moveTo>
                    <a:pt x="828" y="1"/>
                  </a:moveTo>
                  <a:cubicBezTo>
                    <a:pt x="733" y="1"/>
                    <a:pt x="638" y="22"/>
                    <a:pt x="548" y="63"/>
                  </a:cubicBezTo>
                  <a:cubicBezTo>
                    <a:pt x="370" y="135"/>
                    <a:pt x="227" y="289"/>
                    <a:pt x="132" y="480"/>
                  </a:cubicBezTo>
                  <a:cubicBezTo>
                    <a:pt x="48" y="670"/>
                    <a:pt x="1" y="909"/>
                    <a:pt x="13" y="1135"/>
                  </a:cubicBezTo>
                  <a:cubicBezTo>
                    <a:pt x="37" y="1397"/>
                    <a:pt x="156" y="1599"/>
                    <a:pt x="334" y="1682"/>
                  </a:cubicBezTo>
                  <a:cubicBezTo>
                    <a:pt x="394" y="1718"/>
                    <a:pt x="465" y="1730"/>
                    <a:pt x="537" y="1730"/>
                  </a:cubicBezTo>
                  <a:cubicBezTo>
                    <a:pt x="882" y="1730"/>
                    <a:pt x="1239" y="1385"/>
                    <a:pt x="1382" y="1075"/>
                  </a:cubicBezTo>
                  <a:cubicBezTo>
                    <a:pt x="1477" y="885"/>
                    <a:pt x="1501" y="670"/>
                    <a:pt x="1441" y="480"/>
                  </a:cubicBezTo>
                  <a:cubicBezTo>
                    <a:pt x="1406" y="289"/>
                    <a:pt x="1263" y="135"/>
                    <a:pt x="1108" y="63"/>
                  </a:cubicBezTo>
                  <a:cubicBezTo>
                    <a:pt x="1019" y="22"/>
                    <a:pt x="924" y="1"/>
                    <a:pt x="8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3" name="Google Shape;13143;p63"/>
            <p:cNvSpPr/>
            <p:nvPr/>
          </p:nvSpPr>
          <p:spPr>
            <a:xfrm>
              <a:off x="5556941" y="3444402"/>
              <a:ext cx="131840" cy="93856"/>
            </a:xfrm>
            <a:custGeom>
              <a:avLst/>
              <a:gdLst/>
              <a:ahLst/>
              <a:cxnLst/>
              <a:rect l="l" t="t" r="r" b="b"/>
              <a:pathLst>
                <a:path w="4120" h="2933" extrusionOk="0">
                  <a:moveTo>
                    <a:pt x="2169" y="1"/>
                  </a:moveTo>
                  <a:cubicBezTo>
                    <a:pt x="2019" y="1"/>
                    <a:pt x="1871" y="17"/>
                    <a:pt x="1727" y="52"/>
                  </a:cubicBezTo>
                  <a:cubicBezTo>
                    <a:pt x="1203" y="159"/>
                    <a:pt x="750" y="433"/>
                    <a:pt x="429" y="849"/>
                  </a:cubicBezTo>
                  <a:cubicBezTo>
                    <a:pt x="119" y="1254"/>
                    <a:pt x="0" y="1730"/>
                    <a:pt x="72" y="2147"/>
                  </a:cubicBezTo>
                  <a:cubicBezTo>
                    <a:pt x="167" y="2564"/>
                    <a:pt x="429" y="2838"/>
                    <a:pt x="893" y="2909"/>
                  </a:cubicBezTo>
                  <a:cubicBezTo>
                    <a:pt x="1012" y="2921"/>
                    <a:pt x="1131" y="2933"/>
                    <a:pt x="1286" y="2933"/>
                  </a:cubicBezTo>
                  <a:cubicBezTo>
                    <a:pt x="1560" y="2933"/>
                    <a:pt x="1893" y="2897"/>
                    <a:pt x="2298" y="2814"/>
                  </a:cubicBezTo>
                  <a:cubicBezTo>
                    <a:pt x="2905" y="2695"/>
                    <a:pt x="3334" y="2552"/>
                    <a:pt x="3620" y="2361"/>
                  </a:cubicBezTo>
                  <a:cubicBezTo>
                    <a:pt x="3965" y="2135"/>
                    <a:pt x="4120" y="1790"/>
                    <a:pt x="4036" y="1361"/>
                  </a:cubicBezTo>
                  <a:cubicBezTo>
                    <a:pt x="3965" y="1016"/>
                    <a:pt x="3739" y="695"/>
                    <a:pt x="3405" y="433"/>
                  </a:cubicBezTo>
                  <a:cubicBezTo>
                    <a:pt x="3377" y="409"/>
                    <a:pt x="3344" y="399"/>
                    <a:pt x="3312" y="399"/>
                  </a:cubicBezTo>
                  <a:cubicBezTo>
                    <a:pt x="3261" y="399"/>
                    <a:pt x="3213" y="425"/>
                    <a:pt x="3191" y="468"/>
                  </a:cubicBezTo>
                  <a:cubicBezTo>
                    <a:pt x="3120" y="540"/>
                    <a:pt x="3143" y="647"/>
                    <a:pt x="3215" y="695"/>
                  </a:cubicBezTo>
                  <a:cubicBezTo>
                    <a:pt x="3489" y="885"/>
                    <a:pt x="3667" y="1135"/>
                    <a:pt x="3727" y="1397"/>
                  </a:cubicBezTo>
                  <a:cubicBezTo>
                    <a:pt x="3786" y="1683"/>
                    <a:pt x="3679" y="1909"/>
                    <a:pt x="3405" y="2088"/>
                  </a:cubicBezTo>
                  <a:cubicBezTo>
                    <a:pt x="3155" y="2254"/>
                    <a:pt x="2774" y="2385"/>
                    <a:pt x="2203" y="2504"/>
                  </a:cubicBezTo>
                  <a:cubicBezTo>
                    <a:pt x="1798" y="2576"/>
                    <a:pt x="1488" y="2623"/>
                    <a:pt x="1250" y="2623"/>
                  </a:cubicBezTo>
                  <a:cubicBezTo>
                    <a:pt x="595" y="2623"/>
                    <a:pt x="429" y="2373"/>
                    <a:pt x="369" y="2088"/>
                  </a:cubicBezTo>
                  <a:cubicBezTo>
                    <a:pt x="238" y="1433"/>
                    <a:pt x="810" y="564"/>
                    <a:pt x="1774" y="373"/>
                  </a:cubicBezTo>
                  <a:cubicBezTo>
                    <a:pt x="1898" y="348"/>
                    <a:pt x="2024" y="336"/>
                    <a:pt x="2151" y="336"/>
                  </a:cubicBezTo>
                  <a:cubicBezTo>
                    <a:pt x="2328" y="336"/>
                    <a:pt x="2505" y="360"/>
                    <a:pt x="2679" y="409"/>
                  </a:cubicBezTo>
                  <a:cubicBezTo>
                    <a:pt x="2694" y="412"/>
                    <a:pt x="2708" y="414"/>
                    <a:pt x="2722" y="414"/>
                  </a:cubicBezTo>
                  <a:cubicBezTo>
                    <a:pt x="2799" y="414"/>
                    <a:pt x="2863" y="362"/>
                    <a:pt x="2893" y="302"/>
                  </a:cubicBezTo>
                  <a:cubicBezTo>
                    <a:pt x="2917" y="206"/>
                    <a:pt x="2858" y="123"/>
                    <a:pt x="2786" y="87"/>
                  </a:cubicBezTo>
                  <a:cubicBezTo>
                    <a:pt x="2585" y="32"/>
                    <a:pt x="2376" y="1"/>
                    <a:pt x="2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4" name="Google Shape;13144;p63"/>
            <p:cNvSpPr/>
            <p:nvPr/>
          </p:nvSpPr>
          <p:spPr>
            <a:xfrm>
              <a:off x="5730285" y="3518386"/>
              <a:ext cx="50336" cy="64832"/>
            </a:xfrm>
            <a:custGeom>
              <a:avLst/>
              <a:gdLst/>
              <a:ahLst/>
              <a:cxnLst/>
              <a:rect l="l" t="t" r="r" b="b"/>
              <a:pathLst>
                <a:path w="1573" h="2026" extrusionOk="0">
                  <a:moveTo>
                    <a:pt x="786" y="311"/>
                  </a:moveTo>
                  <a:cubicBezTo>
                    <a:pt x="1060" y="323"/>
                    <a:pt x="1239" y="585"/>
                    <a:pt x="1239" y="907"/>
                  </a:cubicBezTo>
                  <a:cubicBezTo>
                    <a:pt x="1239" y="1157"/>
                    <a:pt x="1120" y="1454"/>
                    <a:pt x="953" y="1597"/>
                  </a:cubicBezTo>
                  <a:cubicBezTo>
                    <a:pt x="905" y="1633"/>
                    <a:pt x="834" y="1681"/>
                    <a:pt x="762" y="1681"/>
                  </a:cubicBezTo>
                  <a:cubicBezTo>
                    <a:pt x="548" y="1669"/>
                    <a:pt x="310" y="1240"/>
                    <a:pt x="322" y="847"/>
                  </a:cubicBezTo>
                  <a:cubicBezTo>
                    <a:pt x="322" y="669"/>
                    <a:pt x="381" y="526"/>
                    <a:pt x="489" y="419"/>
                  </a:cubicBezTo>
                  <a:cubicBezTo>
                    <a:pt x="560" y="347"/>
                    <a:pt x="667" y="311"/>
                    <a:pt x="774" y="311"/>
                  </a:cubicBezTo>
                  <a:close/>
                  <a:moveTo>
                    <a:pt x="766" y="1"/>
                  </a:moveTo>
                  <a:cubicBezTo>
                    <a:pt x="580" y="1"/>
                    <a:pt x="407" y="71"/>
                    <a:pt x="274" y="192"/>
                  </a:cubicBezTo>
                  <a:cubicBezTo>
                    <a:pt x="108" y="359"/>
                    <a:pt x="0" y="585"/>
                    <a:pt x="0" y="847"/>
                  </a:cubicBezTo>
                  <a:cubicBezTo>
                    <a:pt x="0" y="1085"/>
                    <a:pt x="60" y="1371"/>
                    <a:pt x="179" y="1597"/>
                  </a:cubicBezTo>
                  <a:cubicBezTo>
                    <a:pt x="334" y="1859"/>
                    <a:pt x="524" y="2014"/>
                    <a:pt x="751" y="2026"/>
                  </a:cubicBezTo>
                  <a:lnTo>
                    <a:pt x="774" y="2026"/>
                  </a:lnTo>
                  <a:cubicBezTo>
                    <a:pt x="905" y="2026"/>
                    <a:pt x="1060" y="1966"/>
                    <a:pt x="1179" y="1847"/>
                  </a:cubicBezTo>
                  <a:cubicBezTo>
                    <a:pt x="1405" y="1633"/>
                    <a:pt x="1560" y="1264"/>
                    <a:pt x="1560" y="919"/>
                  </a:cubicBezTo>
                  <a:cubicBezTo>
                    <a:pt x="1572" y="419"/>
                    <a:pt x="1251" y="14"/>
                    <a:pt x="810" y="2"/>
                  </a:cubicBezTo>
                  <a:cubicBezTo>
                    <a:pt x="795" y="1"/>
                    <a:pt x="781" y="1"/>
                    <a:pt x="7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5" name="Google Shape;13145;p63"/>
            <p:cNvSpPr/>
            <p:nvPr/>
          </p:nvSpPr>
          <p:spPr>
            <a:xfrm>
              <a:off x="5674669" y="3533234"/>
              <a:ext cx="49920" cy="56480"/>
            </a:xfrm>
            <a:custGeom>
              <a:avLst/>
              <a:gdLst/>
              <a:ahLst/>
              <a:cxnLst/>
              <a:rect l="l" t="t" r="r" b="b"/>
              <a:pathLst>
                <a:path w="1560" h="1765" extrusionOk="0">
                  <a:moveTo>
                    <a:pt x="726" y="324"/>
                  </a:moveTo>
                  <a:cubicBezTo>
                    <a:pt x="786" y="324"/>
                    <a:pt x="857" y="336"/>
                    <a:pt x="917" y="383"/>
                  </a:cubicBezTo>
                  <a:cubicBezTo>
                    <a:pt x="1012" y="443"/>
                    <a:pt x="1084" y="562"/>
                    <a:pt x="1119" y="693"/>
                  </a:cubicBezTo>
                  <a:cubicBezTo>
                    <a:pt x="1203" y="967"/>
                    <a:pt x="1131" y="1395"/>
                    <a:pt x="953" y="1443"/>
                  </a:cubicBezTo>
                  <a:cubicBezTo>
                    <a:pt x="945" y="1444"/>
                    <a:pt x="938" y="1445"/>
                    <a:pt x="930" y="1445"/>
                  </a:cubicBezTo>
                  <a:cubicBezTo>
                    <a:pt x="860" y="1445"/>
                    <a:pt x="764" y="1397"/>
                    <a:pt x="679" y="1312"/>
                  </a:cubicBezTo>
                  <a:cubicBezTo>
                    <a:pt x="560" y="1193"/>
                    <a:pt x="476" y="1026"/>
                    <a:pt x="429" y="871"/>
                  </a:cubicBezTo>
                  <a:cubicBezTo>
                    <a:pt x="357" y="621"/>
                    <a:pt x="464" y="383"/>
                    <a:pt x="655" y="336"/>
                  </a:cubicBezTo>
                  <a:cubicBezTo>
                    <a:pt x="679" y="336"/>
                    <a:pt x="715" y="324"/>
                    <a:pt x="726" y="324"/>
                  </a:cubicBezTo>
                  <a:close/>
                  <a:moveTo>
                    <a:pt x="740" y="0"/>
                  </a:moveTo>
                  <a:cubicBezTo>
                    <a:pt x="686" y="0"/>
                    <a:pt x="633" y="8"/>
                    <a:pt x="584" y="26"/>
                  </a:cubicBezTo>
                  <a:cubicBezTo>
                    <a:pt x="203" y="133"/>
                    <a:pt x="0" y="538"/>
                    <a:pt x="119" y="967"/>
                  </a:cubicBezTo>
                  <a:cubicBezTo>
                    <a:pt x="179" y="1169"/>
                    <a:pt x="298" y="1383"/>
                    <a:pt x="464" y="1550"/>
                  </a:cubicBezTo>
                  <a:cubicBezTo>
                    <a:pt x="607" y="1693"/>
                    <a:pt x="774" y="1764"/>
                    <a:pt x="941" y="1764"/>
                  </a:cubicBezTo>
                  <a:cubicBezTo>
                    <a:pt x="976" y="1764"/>
                    <a:pt x="1012" y="1764"/>
                    <a:pt x="1060" y="1752"/>
                  </a:cubicBezTo>
                  <a:cubicBezTo>
                    <a:pt x="1453" y="1645"/>
                    <a:pt x="1560" y="1014"/>
                    <a:pt x="1441" y="609"/>
                  </a:cubicBezTo>
                  <a:cubicBezTo>
                    <a:pt x="1381" y="395"/>
                    <a:pt x="1262" y="216"/>
                    <a:pt x="1119" y="121"/>
                  </a:cubicBezTo>
                  <a:cubicBezTo>
                    <a:pt x="1002" y="46"/>
                    <a:pt x="867" y="0"/>
                    <a:pt x="7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6" name="Google Shape;13146;p63"/>
            <p:cNvSpPr/>
            <p:nvPr/>
          </p:nvSpPr>
          <p:spPr>
            <a:xfrm>
              <a:off x="5777133" y="3542162"/>
              <a:ext cx="60608" cy="57440"/>
            </a:xfrm>
            <a:custGeom>
              <a:avLst/>
              <a:gdLst/>
              <a:ahLst/>
              <a:cxnLst/>
              <a:rect l="l" t="t" r="r" b="b"/>
              <a:pathLst>
                <a:path w="1894" h="1795" extrusionOk="0">
                  <a:moveTo>
                    <a:pt x="1132" y="0"/>
                  </a:moveTo>
                  <a:cubicBezTo>
                    <a:pt x="996" y="0"/>
                    <a:pt x="856" y="35"/>
                    <a:pt x="727" y="104"/>
                  </a:cubicBezTo>
                  <a:cubicBezTo>
                    <a:pt x="656" y="152"/>
                    <a:pt x="620" y="259"/>
                    <a:pt x="668" y="330"/>
                  </a:cubicBezTo>
                  <a:cubicBezTo>
                    <a:pt x="692" y="379"/>
                    <a:pt x="750" y="412"/>
                    <a:pt x="811" y="412"/>
                  </a:cubicBezTo>
                  <a:cubicBezTo>
                    <a:pt x="839" y="412"/>
                    <a:pt x="868" y="405"/>
                    <a:pt x="894" y="390"/>
                  </a:cubicBezTo>
                  <a:cubicBezTo>
                    <a:pt x="980" y="342"/>
                    <a:pt x="1068" y="318"/>
                    <a:pt x="1151" y="318"/>
                  </a:cubicBezTo>
                  <a:cubicBezTo>
                    <a:pt x="1252" y="318"/>
                    <a:pt x="1346" y="354"/>
                    <a:pt x="1418" y="426"/>
                  </a:cubicBezTo>
                  <a:cubicBezTo>
                    <a:pt x="1513" y="509"/>
                    <a:pt x="1561" y="616"/>
                    <a:pt x="1561" y="711"/>
                  </a:cubicBezTo>
                  <a:cubicBezTo>
                    <a:pt x="1561" y="866"/>
                    <a:pt x="1501" y="1009"/>
                    <a:pt x="1382" y="1140"/>
                  </a:cubicBezTo>
                  <a:cubicBezTo>
                    <a:pt x="1191" y="1348"/>
                    <a:pt x="886" y="1487"/>
                    <a:pt x="675" y="1487"/>
                  </a:cubicBezTo>
                  <a:cubicBezTo>
                    <a:pt x="597" y="1487"/>
                    <a:pt x="531" y="1468"/>
                    <a:pt x="489" y="1426"/>
                  </a:cubicBezTo>
                  <a:cubicBezTo>
                    <a:pt x="370" y="1319"/>
                    <a:pt x="394" y="1057"/>
                    <a:pt x="525" y="771"/>
                  </a:cubicBezTo>
                  <a:cubicBezTo>
                    <a:pt x="572" y="699"/>
                    <a:pt x="549" y="592"/>
                    <a:pt x="453" y="545"/>
                  </a:cubicBezTo>
                  <a:cubicBezTo>
                    <a:pt x="433" y="534"/>
                    <a:pt x="409" y="529"/>
                    <a:pt x="384" y="529"/>
                  </a:cubicBezTo>
                  <a:cubicBezTo>
                    <a:pt x="325" y="529"/>
                    <a:pt x="261" y="561"/>
                    <a:pt x="227" y="628"/>
                  </a:cubicBezTo>
                  <a:cubicBezTo>
                    <a:pt x="49" y="961"/>
                    <a:pt x="1" y="1426"/>
                    <a:pt x="263" y="1664"/>
                  </a:cubicBezTo>
                  <a:cubicBezTo>
                    <a:pt x="370" y="1759"/>
                    <a:pt x="501" y="1795"/>
                    <a:pt x="668" y="1795"/>
                  </a:cubicBezTo>
                  <a:cubicBezTo>
                    <a:pt x="751" y="1795"/>
                    <a:pt x="858" y="1783"/>
                    <a:pt x="965" y="1759"/>
                  </a:cubicBezTo>
                  <a:cubicBezTo>
                    <a:pt x="1203" y="1676"/>
                    <a:pt x="1442" y="1533"/>
                    <a:pt x="1620" y="1354"/>
                  </a:cubicBezTo>
                  <a:cubicBezTo>
                    <a:pt x="1811" y="1176"/>
                    <a:pt x="1894" y="938"/>
                    <a:pt x="1882" y="711"/>
                  </a:cubicBezTo>
                  <a:cubicBezTo>
                    <a:pt x="1870" y="521"/>
                    <a:pt x="1799" y="330"/>
                    <a:pt x="1644" y="199"/>
                  </a:cubicBezTo>
                  <a:cubicBezTo>
                    <a:pt x="1505" y="67"/>
                    <a:pt x="1322"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7" name="Google Shape;13147;p63"/>
            <p:cNvSpPr/>
            <p:nvPr/>
          </p:nvSpPr>
          <p:spPr>
            <a:xfrm>
              <a:off x="5811437" y="3593426"/>
              <a:ext cx="56032" cy="47328"/>
            </a:xfrm>
            <a:custGeom>
              <a:avLst/>
              <a:gdLst/>
              <a:ahLst/>
              <a:cxnLst/>
              <a:rect l="l" t="t" r="r" b="b"/>
              <a:pathLst>
                <a:path w="1751" h="1479" extrusionOk="0">
                  <a:moveTo>
                    <a:pt x="1079" y="312"/>
                  </a:moveTo>
                  <a:cubicBezTo>
                    <a:pt x="1202" y="312"/>
                    <a:pt x="1308" y="364"/>
                    <a:pt x="1370" y="467"/>
                  </a:cubicBezTo>
                  <a:cubicBezTo>
                    <a:pt x="1394" y="574"/>
                    <a:pt x="1405" y="657"/>
                    <a:pt x="1382" y="752"/>
                  </a:cubicBezTo>
                  <a:cubicBezTo>
                    <a:pt x="1346" y="860"/>
                    <a:pt x="1263" y="955"/>
                    <a:pt x="1143" y="1014"/>
                  </a:cubicBezTo>
                  <a:cubicBezTo>
                    <a:pt x="1013" y="1098"/>
                    <a:pt x="834" y="1157"/>
                    <a:pt x="667" y="1157"/>
                  </a:cubicBezTo>
                  <a:cubicBezTo>
                    <a:pt x="524" y="1157"/>
                    <a:pt x="417" y="1122"/>
                    <a:pt x="381" y="1050"/>
                  </a:cubicBezTo>
                  <a:cubicBezTo>
                    <a:pt x="346" y="991"/>
                    <a:pt x="370" y="871"/>
                    <a:pt x="441" y="752"/>
                  </a:cubicBezTo>
                  <a:cubicBezTo>
                    <a:pt x="512" y="610"/>
                    <a:pt x="655" y="467"/>
                    <a:pt x="786" y="395"/>
                  </a:cubicBezTo>
                  <a:cubicBezTo>
                    <a:pt x="887" y="340"/>
                    <a:pt x="988" y="312"/>
                    <a:pt x="1079" y="312"/>
                  </a:cubicBezTo>
                  <a:close/>
                  <a:moveTo>
                    <a:pt x="1052" y="0"/>
                  </a:moveTo>
                  <a:cubicBezTo>
                    <a:pt x="906" y="0"/>
                    <a:pt x="752" y="40"/>
                    <a:pt x="608" y="121"/>
                  </a:cubicBezTo>
                  <a:cubicBezTo>
                    <a:pt x="429" y="229"/>
                    <a:pt x="251" y="407"/>
                    <a:pt x="143" y="598"/>
                  </a:cubicBezTo>
                  <a:cubicBezTo>
                    <a:pt x="12" y="836"/>
                    <a:pt x="0" y="1062"/>
                    <a:pt x="96" y="1229"/>
                  </a:cubicBezTo>
                  <a:cubicBezTo>
                    <a:pt x="203" y="1395"/>
                    <a:pt x="393" y="1479"/>
                    <a:pt x="667" y="1479"/>
                  </a:cubicBezTo>
                  <a:cubicBezTo>
                    <a:pt x="893" y="1479"/>
                    <a:pt x="1120" y="1419"/>
                    <a:pt x="1310" y="1300"/>
                  </a:cubicBezTo>
                  <a:cubicBezTo>
                    <a:pt x="1501" y="1193"/>
                    <a:pt x="1632" y="1038"/>
                    <a:pt x="1691" y="860"/>
                  </a:cubicBezTo>
                  <a:cubicBezTo>
                    <a:pt x="1751" y="681"/>
                    <a:pt x="1739" y="479"/>
                    <a:pt x="1632" y="324"/>
                  </a:cubicBezTo>
                  <a:cubicBezTo>
                    <a:pt x="1513" y="109"/>
                    <a:pt x="1293" y="0"/>
                    <a:pt x="10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8" name="Google Shape;13148;p63"/>
            <p:cNvSpPr/>
            <p:nvPr/>
          </p:nvSpPr>
          <p:spPr>
            <a:xfrm>
              <a:off x="5679981" y="3591218"/>
              <a:ext cx="130720" cy="99840"/>
            </a:xfrm>
            <a:custGeom>
              <a:avLst/>
              <a:gdLst/>
              <a:ahLst/>
              <a:cxnLst/>
              <a:rect l="l" t="t" r="r" b="b"/>
              <a:pathLst>
                <a:path w="4085" h="3120" extrusionOk="0">
                  <a:moveTo>
                    <a:pt x="1842" y="0"/>
                  </a:moveTo>
                  <a:cubicBezTo>
                    <a:pt x="1616" y="0"/>
                    <a:pt x="1390" y="35"/>
                    <a:pt x="1168" y="107"/>
                  </a:cubicBezTo>
                  <a:cubicBezTo>
                    <a:pt x="691" y="274"/>
                    <a:pt x="322" y="583"/>
                    <a:pt x="156" y="976"/>
                  </a:cubicBezTo>
                  <a:cubicBezTo>
                    <a:pt x="1" y="1381"/>
                    <a:pt x="84" y="1738"/>
                    <a:pt x="418" y="2072"/>
                  </a:cubicBezTo>
                  <a:cubicBezTo>
                    <a:pt x="668" y="2310"/>
                    <a:pt x="1037" y="2524"/>
                    <a:pt x="1632" y="2762"/>
                  </a:cubicBezTo>
                  <a:cubicBezTo>
                    <a:pt x="2215" y="3012"/>
                    <a:pt x="2644" y="3107"/>
                    <a:pt x="2989" y="3119"/>
                  </a:cubicBezTo>
                  <a:cubicBezTo>
                    <a:pt x="3442" y="3119"/>
                    <a:pt x="3763" y="2917"/>
                    <a:pt x="3930" y="2524"/>
                  </a:cubicBezTo>
                  <a:cubicBezTo>
                    <a:pt x="4085" y="2214"/>
                    <a:pt x="4085" y="1833"/>
                    <a:pt x="3942" y="1429"/>
                  </a:cubicBezTo>
                  <a:cubicBezTo>
                    <a:pt x="3912" y="1360"/>
                    <a:pt x="3850" y="1315"/>
                    <a:pt x="3776" y="1315"/>
                  </a:cubicBezTo>
                  <a:cubicBezTo>
                    <a:pt x="3760" y="1315"/>
                    <a:pt x="3744" y="1317"/>
                    <a:pt x="3727" y="1321"/>
                  </a:cubicBezTo>
                  <a:cubicBezTo>
                    <a:pt x="3644" y="1357"/>
                    <a:pt x="3597" y="1441"/>
                    <a:pt x="3632" y="1536"/>
                  </a:cubicBezTo>
                  <a:cubicBezTo>
                    <a:pt x="3739" y="1845"/>
                    <a:pt x="3739" y="2155"/>
                    <a:pt x="3644" y="2417"/>
                  </a:cubicBezTo>
                  <a:cubicBezTo>
                    <a:pt x="3553" y="2621"/>
                    <a:pt x="3403" y="2804"/>
                    <a:pt x="3005" y="2804"/>
                  </a:cubicBezTo>
                  <a:cubicBezTo>
                    <a:pt x="2730" y="2804"/>
                    <a:pt x="2337" y="2717"/>
                    <a:pt x="1763" y="2488"/>
                  </a:cubicBezTo>
                  <a:cubicBezTo>
                    <a:pt x="1227" y="2262"/>
                    <a:pt x="870" y="2072"/>
                    <a:pt x="668" y="1845"/>
                  </a:cubicBezTo>
                  <a:cubicBezTo>
                    <a:pt x="429" y="1619"/>
                    <a:pt x="370" y="1381"/>
                    <a:pt x="489" y="1119"/>
                  </a:cubicBezTo>
                  <a:cubicBezTo>
                    <a:pt x="608" y="810"/>
                    <a:pt x="906" y="548"/>
                    <a:pt x="1299" y="417"/>
                  </a:cubicBezTo>
                  <a:cubicBezTo>
                    <a:pt x="1483" y="353"/>
                    <a:pt x="1677" y="323"/>
                    <a:pt x="1872" y="323"/>
                  </a:cubicBezTo>
                  <a:cubicBezTo>
                    <a:pt x="2117" y="323"/>
                    <a:pt x="2364" y="371"/>
                    <a:pt x="2596" y="464"/>
                  </a:cubicBezTo>
                  <a:cubicBezTo>
                    <a:pt x="2882" y="583"/>
                    <a:pt x="3132" y="762"/>
                    <a:pt x="3335" y="1000"/>
                  </a:cubicBezTo>
                  <a:cubicBezTo>
                    <a:pt x="3366" y="1037"/>
                    <a:pt x="3407" y="1055"/>
                    <a:pt x="3447" y="1055"/>
                  </a:cubicBezTo>
                  <a:cubicBezTo>
                    <a:pt x="3484" y="1055"/>
                    <a:pt x="3520" y="1040"/>
                    <a:pt x="3549" y="1012"/>
                  </a:cubicBezTo>
                  <a:cubicBezTo>
                    <a:pt x="3632" y="952"/>
                    <a:pt x="3632" y="845"/>
                    <a:pt x="3561" y="786"/>
                  </a:cubicBezTo>
                  <a:cubicBezTo>
                    <a:pt x="3346" y="512"/>
                    <a:pt x="3049" y="298"/>
                    <a:pt x="2704" y="167"/>
                  </a:cubicBezTo>
                  <a:cubicBezTo>
                    <a:pt x="2427" y="59"/>
                    <a:pt x="2136" y="0"/>
                    <a:pt x="1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bg>
      <p:bgPr>
        <a:solidFill>
          <a:srgbClr val="0E2A47"/>
        </a:solidFill>
        <a:effectLst/>
      </p:bgPr>
    </p:bg>
    <p:spTree>
      <p:nvGrpSpPr>
        <p:cNvPr id="1" name="Shape 13152"/>
        <p:cNvGrpSpPr/>
        <p:nvPr/>
      </p:nvGrpSpPr>
      <p:grpSpPr>
        <a:xfrm>
          <a:off x="0" y="0"/>
          <a:ext cx="0" cy="0"/>
          <a:chOff x="0" y="0"/>
          <a:chExt cx="0" cy="0"/>
        </a:xfrm>
      </p:grpSpPr>
      <p:sp>
        <p:nvSpPr>
          <p:cNvPr id="13153" name="Google Shape;13153;p64"/>
          <p:cNvSpPr txBox="1">
            <a:spLocks noGrp="1"/>
          </p:cNvSpPr>
          <p:nvPr>
            <p:ph type="title" idx="4294967295"/>
          </p:nvPr>
        </p:nvSpPr>
        <p:spPr>
          <a:xfrm>
            <a:off x="1068100" y="933450"/>
            <a:ext cx="7047300" cy="4824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rgbClr val="000000"/>
              </a:buClr>
              <a:buSzPts val="1100"/>
              <a:buFont typeface="Arial"/>
              <a:buNone/>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3154" name="Google Shape;13154;p64"/>
          <p:cNvSpPr/>
          <p:nvPr/>
        </p:nvSpPr>
        <p:spPr>
          <a:xfrm>
            <a:off x="2601855" y="3816961"/>
            <a:ext cx="345674" cy="346056"/>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55" name="Google Shape;13155;p64"/>
          <p:cNvGrpSpPr/>
          <p:nvPr/>
        </p:nvGrpSpPr>
        <p:grpSpPr>
          <a:xfrm>
            <a:off x="3051327" y="3817152"/>
            <a:ext cx="346056" cy="345674"/>
            <a:chOff x="3303268" y="3817349"/>
            <a:chExt cx="346056" cy="345674"/>
          </a:xfrm>
        </p:grpSpPr>
        <p:sp>
          <p:nvSpPr>
            <p:cNvPr id="13156" name="Google Shape;13156;p64"/>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7" name="Google Shape;13157;p64"/>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8" name="Google Shape;13158;p64"/>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9" name="Google Shape;13159;p64"/>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0" name="Google Shape;13160;p64"/>
          <p:cNvGrpSpPr/>
          <p:nvPr/>
        </p:nvGrpSpPr>
        <p:grpSpPr>
          <a:xfrm>
            <a:off x="3500416" y="3817152"/>
            <a:ext cx="346056" cy="345674"/>
            <a:chOff x="3752358" y="3817349"/>
            <a:chExt cx="346056" cy="345674"/>
          </a:xfrm>
        </p:grpSpPr>
        <p:sp>
          <p:nvSpPr>
            <p:cNvPr id="13161" name="Google Shape;13161;p64"/>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2" name="Google Shape;13162;p64"/>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3" name="Google Shape;13163;p64"/>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4" name="Google Shape;13164;p64"/>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5" name="Google Shape;13165;p64"/>
          <p:cNvGrpSpPr/>
          <p:nvPr/>
        </p:nvGrpSpPr>
        <p:grpSpPr>
          <a:xfrm>
            <a:off x="4848066" y="3817152"/>
            <a:ext cx="346024" cy="345674"/>
            <a:chOff x="5100008" y="3817349"/>
            <a:chExt cx="346024" cy="345674"/>
          </a:xfrm>
        </p:grpSpPr>
        <p:sp>
          <p:nvSpPr>
            <p:cNvPr id="13166" name="Google Shape;13166;p64"/>
            <p:cNvSpPr/>
            <p:nvPr/>
          </p:nvSpPr>
          <p:spPr>
            <a:xfrm>
              <a:off x="5100008" y="3817349"/>
              <a:ext cx="346024" cy="345674"/>
            </a:xfrm>
            <a:custGeom>
              <a:avLst/>
              <a:gdLst/>
              <a:ahLst/>
              <a:cxnLst/>
              <a:rect l="l" t="t" r="r" b="b"/>
              <a:pathLst>
                <a:path w="10871" h="10860" extrusionOk="0">
                  <a:moveTo>
                    <a:pt x="5441" y="334"/>
                  </a:moveTo>
                  <a:cubicBezTo>
                    <a:pt x="8251" y="334"/>
                    <a:pt x="10525" y="2608"/>
                    <a:pt x="10525" y="5430"/>
                  </a:cubicBezTo>
                  <a:cubicBezTo>
                    <a:pt x="10525" y="8240"/>
                    <a:pt x="8251" y="10514"/>
                    <a:pt x="5441" y="10514"/>
                  </a:cubicBezTo>
                  <a:cubicBezTo>
                    <a:pt x="2620" y="10514"/>
                    <a:pt x="346" y="8240"/>
                    <a:pt x="346" y="5430"/>
                  </a:cubicBezTo>
                  <a:cubicBezTo>
                    <a:pt x="346" y="2608"/>
                    <a:pt x="2620" y="334"/>
                    <a:pt x="5441" y="334"/>
                  </a:cubicBezTo>
                  <a:close/>
                  <a:moveTo>
                    <a:pt x="5441" y="1"/>
                  </a:moveTo>
                  <a:cubicBezTo>
                    <a:pt x="3989" y="1"/>
                    <a:pt x="2620" y="560"/>
                    <a:pt x="1596" y="1584"/>
                  </a:cubicBezTo>
                  <a:cubicBezTo>
                    <a:pt x="572" y="2620"/>
                    <a:pt x="0" y="3989"/>
                    <a:pt x="0" y="5430"/>
                  </a:cubicBezTo>
                  <a:cubicBezTo>
                    <a:pt x="0" y="6871"/>
                    <a:pt x="572" y="8240"/>
                    <a:pt x="1596" y="9264"/>
                  </a:cubicBezTo>
                  <a:cubicBezTo>
                    <a:pt x="2620" y="10300"/>
                    <a:pt x="3989" y="10859"/>
                    <a:pt x="5441"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7" name="Google Shape;13167;p64"/>
            <p:cNvSpPr/>
            <p:nvPr/>
          </p:nvSpPr>
          <p:spPr>
            <a:xfrm>
              <a:off x="5150777" y="3867767"/>
              <a:ext cx="244486" cy="243690"/>
            </a:xfrm>
            <a:custGeom>
              <a:avLst/>
              <a:gdLst/>
              <a:ahLst/>
              <a:cxnLst/>
              <a:rect l="l" t="t" r="r" b="b"/>
              <a:pathLst>
                <a:path w="7681" h="7656" extrusionOk="0">
                  <a:moveTo>
                    <a:pt x="3823" y="0"/>
                  </a:moveTo>
                  <a:cubicBezTo>
                    <a:pt x="1715" y="0"/>
                    <a:pt x="1" y="1715"/>
                    <a:pt x="1" y="3834"/>
                  </a:cubicBezTo>
                  <a:cubicBezTo>
                    <a:pt x="1" y="4429"/>
                    <a:pt x="132" y="5001"/>
                    <a:pt x="406" y="5537"/>
                  </a:cubicBezTo>
                  <a:lnTo>
                    <a:pt x="13" y="6513"/>
                  </a:lnTo>
                  <a:cubicBezTo>
                    <a:pt x="1" y="6537"/>
                    <a:pt x="1" y="6584"/>
                    <a:pt x="1" y="6632"/>
                  </a:cubicBezTo>
                  <a:cubicBezTo>
                    <a:pt x="13" y="6703"/>
                    <a:pt x="96" y="6751"/>
                    <a:pt x="167" y="6751"/>
                  </a:cubicBezTo>
                  <a:lnTo>
                    <a:pt x="1346" y="6751"/>
                  </a:lnTo>
                  <a:cubicBezTo>
                    <a:pt x="2037" y="7346"/>
                    <a:pt x="2918" y="7656"/>
                    <a:pt x="3823" y="7656"/>
                  </a:cubicBezTo>
                  <a:cubicBezTo>
                    <a:pt x="5942" y="7656"/>
                    <a:pt x="7656" y="5941"/>
                    <a:pt x="7656" y="3834"/>
                  </a:cubicBezTo>
                  <a:cubicBezTo>
                    <a:pt x="7680" y="2382"/>
                    <a:pt x="6847" y="1108"/>
                    <a:pt x="5644" y="465"/>
                  </a:cubicBezTo>
                  <a:cubicBezTo>
                    <a:pt x="5616" y="450"/>
                    <a:pt x="5586" y="444"/>
                    <a:pt x="5558" y="444"/>
                  </a:cubicBezTo>
                  <a:cubicBezTo>
                    <a:pt x="5470" y="444"/>
                    <a:pt x="5394" y="511"/>
                    <a:pt x="5394" y="619"/>
                  </a:cubicBezTo>
                  <a:cubicBezTo>
                    <a:pt x="5394" y="679"/>
                    <a:pt x="5418" y="727"/>
                    <a:pt x="5478" y="762"/>
                  </a:cubicBezTo>
                  <a:cubicBezTo>
                    <a:pt x="6585" y="1358"/>
                    <a:pt x="7323" y="2501"/>
                    <a:pt x="7323" y="3846"/>
                  </a:cubicBezTo>
                  <a:cubicBezTo>
                    <a:pt x="7323" y="5763"/>
                    <a:pt x="5763" y="7323"/>
                    <a:pt x="3846" y="7323"/>
                  </a:cubicBezTo>
                  <a:cubicBezTo>
                    <a:pt x="2989" y="7323"/>
                    <a:pt x="2168" y="7013"/>
                    <a:pt x="1537" y="6453"/>
                  </a:cubicBezTo>
                  <a:cubicBezTo>
                    <a:pt x="1501" y="6418"/>
                    <a:pt x="1465" y="6406"/>
                    <a:pt x="1418" y="6406"/>
                  </a:cubicBezTo>
                  <a:lnTo>
                    <a:pt x="429" y="6406"/>
                  </a:lnTo>
                  <a:lnTo>
                    <a:pt x="763" y="5596"/>
                  </a:lnTo>
                  <a:cubicBezTo>
                    <a:pt x="775" y="5560"/>
                    <a:pt x="775" y="5501"/>
                    <a:pt x="763" y="5453"/>
                  </a:cubicBezTo>
                  <a:cubicBezTo>
                    <a:pt x="489" y="4965"/>
                    <a:pt x="358" y="4394"/>
                    <a:pt x="358" y="3834"/>
                  </a:cubicBezTo>
                  <a:cubicBezTo>
                    <a:pt x="358" y="1905"/>
                    <a:pt x="1918" y="346"/>
                    <a:pt x="3846" y="346"/>
                  </a:cubicBezTo>
                  <a:cubicBezTo>
                    <a:pt x="4144" y="346"/>
                    <a:pt x="4418" y="381"/>
                    <a:pt x="4692" y="453"/>
                  </a:cubicBezTo>
                  <a:cubicBezTo>
                    <a:pt x="4704" y="455"/>
                    <a:pt x="4717" y="457"/>
                    <a:pt x="4729" y="457"/>
                  </a:cubicBezTo>
                  <a:cubicBezTo>
                    <a:pt x="4820" y="457"/>
                    <a:pt x="4894" y="381"/>
                    <a:pt x="4894" y="286"/>
                  </a:cubicBezTo>
                  <a:cubicBezTo>
                    <a:pt x="4894" y="215"/>
                    <a:pt x="4835" y="143"/>
                    <a:pt x="4763" y="119"/>
                  </a:cubicBezTo>
                  <a:cubicBezTo>
                    <a:pt x="4466" y="48"/>
                    <a:pt x="4156" y="0"/>
                    <a:pt x="3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8" name="Google Shape;13168;p64"/>
            <p:cNvSpPr/>
            <p:nvPr/>
          </p:nvSpPr>
          <p:spPr>
            <a:xfrm>
              <a:off x="5201960" y="3941167"/>
              <a:ext cx="135691" cy="91097"/>
            </a:xfrm>
            <a:custGeom>
              <a:avLst/>
              <a:gdLst/>
              <a:ahLst/>
              <a:cxnLst/>
              <a:rect l="l" t="t" r="r" b="b"/>
              <a:pathLst>
                <a:path w="4263" h="2862" extrusionOk="0">
                  <a:moveTo>
                    <a:pt x="4077" y="0"/>
                  </a:moveTo>
                  <a:cubicBezTo>
                    <a:pt x="4039" y="0"/>
                    <a:pt x="4000" y="12"/>
                    <a:pt x="3965" y="40"/>
                  </a:cubicBezTo>
                  <a:lnTo>
                    <a:pt x="2869" y="909"/>
                  </a:lnTo>
                  <a:lnTo>
                    <a:pt x="881" y="909"/>
                  </a:lnTo>
                  <a:cubicBezTo>
                    <a:pt x="810" y="909"/>
                    <a:pt x="750" y="957"/>
                    <a:pt x="714" y="1016"/>
                  </a:cubicBezTo>
                  <a:lnTo>
                    <a:pt x="36" y="2623"/>
                  </a:lnTo>
                  <a:cubicBezTo>
                    <a:pt x="0" y="2695"/>
                    <a:pt x="12" y="2778"/>
                    <a:pt x="72" y="2814"/>
                  </a:cubicBezTo>
                  <a:cubicBezTo>
                    <a:pt x="107" y="2850"/>
                    <a:pt x="155" y="2862"/>
                    <a:pt x="191" y="2862"/>
                  </a:cubicBezTo>
                  <a:cubicBezTo>
                    <a:pt x="226" y="2862"/>
                    <a:pt x="250" y="2850"/>
                    <a:pt x="286" y="2826"/>
                  </a:cubicBezTo>
                  <a:lnTo>
                    <a:pt x="1381" y="2171"/>
                  </a:lnTo>
                  <a:lnTo>
                    <a:pt x="1857" y="2171"/>
                  </a:lnTo>
                  <a:cubicBezTo>
                    <a:pt x="1953" y="2171"/>
                    <a:pt x="2036" y="2100"/>
                    <a:pt x="2036" y="1992"/>
                  </a:cubicBezTo>
                  <a:cubicBezTo>
                    <a:pt x="2036" y="1909"/>
                    <a:pt x="1965" y="1814"/>
                    <a:pt x="1857" y="1814"/>
                  </a:cubicBezTo>
                  <a:lnTo>
                    <a:pt x="1345" y="1814"/>
                  </a:lnTo>
                  <a:cubicBezTo>
                    <a:pt x="1310" y="1814"/>
                    <a:pt x="1286" y="1838"/>
                    <a:pt x="1250" y="1850"/>
                  </a:cubicBezTo>
                  <a:lnTo>
                    <a:pt x="572" y="2266"/>
                  </a:lnTo>
                  <a:lnTo>
                    <a:pt x="1000" y="1254"/>
                  </a:lnTo>
                  <a:lnTo>
                    <a:pt x="2953" y="1254"/>
                  </a:lnTo>
                  <a:cubicBezTo>
                    <a:pt x="2989" y="1254"/>
                    <a:pt x="3024" y="1242"/>
                    <a:pt x="3048" y="1207"/>
                  </a:cubicBezTo>
                  <a:lnTo>
                    <a:pt x="3584" y="778"/>
                  </a:lnTo>
                  <a:lnTo>
                    <a:pt x="3072" y="1814"/>
                  </a:lnTo>
                  <a:lnTo>
                    <a:pt x="2691" y="1814"/>
                  </a:lnTo>
                  <a:cubicBezTo>
                    <a:pt x="2608" y="1814"/>
                    <a:pt x="2512" y="1897"/>
                    <a:pt x="2512" y="1992"/>
                  </a:cubicBezTo>
                  <a:cubicBezTo>
                    <a:pt x="2512" y="2088"/>
                    <a:pt x="2596" y="2183"/>
                    <a:pt x="2691" y="2183"/>
                  </a:cubicBezTo>
                  <a:lnTo>
                    <a:pt x="3167" y="2183"/>
                  </a:lnTo>
                  <a:cubicBezTo>
                    <a:pt x="3227" y="2183"/>
                    <a:pt x="3286" y="2147"/>
                    <a:pt x="3322" y="2088"/>
                  </a:cubicBezTo>
                  <a:lnTo>
                    <a:pt x="4227" y="254"/>
                  </a:lnTo>
                  <a:cubicBezTo>
                    <a:pt x="4263" y="171"/>
                    <a:pt x="4227" y="64"/>
                    <a:pt x="4155" y="16"/>
                  </a:cubicBezTo>
                  <a:cubicBezTo>
                    <a:pt x="4131" y="6"/>
                    <a:pt x="4104" y="0"/>
                    <a:pt x="40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9" name="Google Shape;13169;p64"/>
          <p:cNvGrpSpPr/>
          <p:nvPr/>
        </p:nvGrpSpPr>
        <p:grpSpPr>
          <a:xfrm>
            <a:off x="5746977" y="3817152"/>
            <a:ext cx="345674" cy="345674"/>
            <a:chOff x="5998919" y="3817349"/>
            <a:chExt cx="345674" cy="345674"/>
          </a:xfrm>
        </p:grpSpPr>
        <p:sp>
          <p:nvSpPr>
            <p:cNvPr id="13170" name="Google Shape;13170;p64"/>
            <p:cNvSpPr/>
            <p:nvPr/>
          </p:nvSpPr>
          <p:spPr>
            <a:xfrm>
              <a:off x="5998919" y="3817349"/>
              <a:ext cx="345674" cy="345674"/>
            </a:xfrm>
            <a:custGeom>
              <a:avLst/>
              <a:gdLst/>
              <a:ahLst/>
              <a:cxnLst/>
              <a:rect l="l" t="t" r="r" b="b"/>
              <a:pathLst>
                <a:path w="10860" h="10860" extrusionOk="0">
                  <a:moveTo>
                    <a:pt x="5430" y="334"/>
                  </a:moveTo>
                  <a:cubicBezTo>
                    <a:pt x="8240" y="334"/>
                    <a:pt x="10514" y="2608"/>
                    <a:pt x="10514" y="5430"/>
                  </a:cubicBezTo>
                  <a:cubicBezTo>
                    <a:pt x="10514" y="8240"/>
                    <a:pt x="8240" y="10514"/>
                    <a:pt x="5430" y="10514"/>
                  </a:cubicBezTo>
                  <a:cubicBezTo>
                    <a:pt x="2608" y="10514"/>
                    <a:pt x="334" y="8240"/>
                    <a:pt x="334" y="5430"/>
                  </a:cubicBezTo>
                  <a:cubicBezTo>
                    <a:pt x="334" y="2608"/>
                    <a:pt x="2608" y="334"/>
                    <a:pt x="5430" y="334"/>
                  </a:cubicBezTo>
                  <a:close/>
                  <a:moveTo>
                    <a:pt x="5430" y="1"/>
                  </a:moveTo>
                  <a:cubicBezTo>
                    <a:pt x="3990" y="1"/>
                    <a:pt x="2608" y="560"/>
                    <a:pt x="1584" y="1584"/>
                  </a:cubicBezTo>
                  <a:cubicBezTo>
                    <a:pt x="561" y="2620"/>
                    <a:pt x="1" y="3989"/>
                    <a:pt x="1" y="5430"/>
                  </a:cubicBezTo>
                  <a:cubicBezTo>
                    <a:pt x="1" y="6871"/>
                    <a:pt x="561" y="8240"/>
                    <a:pt x="1584" y="9264"/>
                  </a:cubicBezTo>
                  <a:cubicBezTo>
                    <a:pt x="2620" y="10300"/>
                    <a:pt x="3990" y="10859"/>
                    <a:pt x="5430" y="10859"/>
                  </a:cubicBezTo>
                  <a:cubicBezTo>
                    <a:pt x="6871" y="10859"/>
                    <a:pt x="8240" y="10300"/>
                    <a:pt x="9264" y="9264"/>
                  </a:cubicBezTo>
                  <a:cubicBezTo>
                    <a:pt x="10300" y="8240"/>
                    <a:pt x="10859" y="6871"/>
                    <a:pt x="10859" y="5430"/>
                  </a:cubicBezTo>
                  <a:cubicBezTo>
                    <a:pt x="10859" y="3989"/>
                    <a:pt x="10300" y="2620"/>
                    <a:pt x="9264" y="1584"/>
                  </a:cubicBezTo>
                  <a:cubicBezTo>
                    <a:pt x="8240" y="560"/>
                    <a:pt x="6871"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1" name="Google Shape;13171;p64"/>
            <p:cNvSpPr/>
            <p:nvPr/>
          </p:nvSpPr>
          <p:spPr>
            <a:xfrm>
              <a:off x="6051980" y="3874579"/>
              <a:ext cx="240698" cy="231595"/>
            </a:xfrm>
            <a:custGeom>
              <a:avLst/>
              <a:gdLst/>
              <a:ahLst/>
              <a:cxnLst/>
              <a:rect l="l" t="t" r="r" b="b"/>
              <a:pathLst>
                <a:path w="7562" h="7276" extrusionOk="0">
                  <a:moveTo>
                    <a:pt x="1680" y="1"/>
                  </a:moveTo>
                  <a:cubicBezTo>
                    <a:pt x="1263" y="1"/>
                    <a:pt x="870" y="167"/>
                    <a:pt x="596" y="441"/>
                  </a:cubicBezTo>
                  <a:cubicBezTo>
                    <a:pt x="1" y="1036"/>
                    <a:pt x="1" y="2013"/>
                    <a:pt x="572" y="2608"/>
                  </a:cubicBezTo>
                  <a:cubicBezTo>
                    <a:pt x="477" y="2930"/>
                    <a:pt x="418" y="3275"/>
                    <a:pt x="418" y="3632"/>
                  </a:cubicBezTo>
                  <a:cubicBezTo>
                    <a:pt x="418" y="5489"/>
                    <a:pt x="1930" y="7013"/>
                    <a:pt x="3787" y="7013"/>
                  </a:cubicBezTo>
                  <a:cubicBezTo>
                    <a:pt x="4144" y="7013"/>
                    <a:pt x="4489" y="6954"/>
                    <a:pt x="4823" y="6847"/>
                  </a:cubicBezTo>
                  <a:cubicBezTo>
                    <a:pt x="5097" y="7132"/>
                    <a:pt x="5490" y="7275"/>
                    <a:pt x="5894" y="7275"/>
                  </a:cubicBezTo>
                  <a:cubicBezTo>
                    <a:pt x="6311" y="7275"/>
                    <a:pt x="6692" y="7109"/>
                    <a:pt x="6978" y="6835"/>
                  </a:cubicBezTo>
                  <a:cubicBezTo>
                    <a:pt x="7561" y="6239"/>
                    <a:pt x="7561" y="5263"/>
                    <a:pt x="6978" y="4656"/>
                  </a:cubicBezTo>
                  <a:cubicBezTo>
                    <a:pt x="7037" y="4454"/>
                    <a:pt x="7085" y="4239"/>
                    <a:pt x="7109" y="4013"/>
                  </a:cubicBezTo>
                  <a:cubicBezTo>
                    <a:pt x="7121" y="3918"/>
                    <a:pt x="7037" y="3822"/>
                    <a:pt x="6942" y="3822"/>
                  </a:cubicBezTo>
                  <a:cubicBezTo>
                    <a:pt x="6859" y="3822"/>
                    <a:pt x="6787" y="3882"/>
                    <a:pt x="6787" y="3977"/>
                  </a:cubicBezTo>
                  <a:cubicBezTo>
                    <a:pt x="6752" y="4192"/>
                    <a:pt x="6704" y="4418"/>
                    <a:pt x="6633" y="4632"/>
                  </a:cubicBezTo>
                  <a:cubicBezTo>
                    <a:pt x="6609" y="4692"/>
                    <a:pt x="6633" y="4763"/>
                    <a:pt x="6680" y="4811"/>
                  </a:cubicBezTo>
                  <a:lnTo>
                    <a:pt x="6740" y="4870"/>
                  </a:lnTo>
                  <a:cubicBezTo>
                    <a:pt x="7204" y="5323"/>
                    <a:pt x="7204" y="6097"/>
                    <a:pt x="6740" y="6561"/>
                  </a:cubicBezTo>
                  <a:cubicBezTo>
                    <a:pt x="6514" y="6787"/>
                    <a:pt x="6204" y="6918"/>
                    <a:pt x="5894" y="6918"/>
                  </a:cubicBezTo>
                  <a:cubicBezTo>
                    <a:pt x="5561" y="6918"/>
                    <a:pt x="5251" y="6787"/>
                    <a:pt x="5025" y="6549"/>
                  </a:cubicBezTo>
                  <a:lnTo>
                    <a:pt x="4978" y="6501"/>
                  </a:lnTo>
                  <a:cubicBezTo>
                    <a:pt x="4954" y="6478"/>
                    <a:pt x="4906" y="6454"/>
                    <a:pt x="4859" y="6454"/>
                  </a:cubicBezTo>
                  <a:cubicBezTo>
                    <a:pt x="4847" y="6454"/>
                    <a:pt x="4823" y="6454"/>
                    <a:pt x="4799" y="6478"/>
                  </a:cubicBezTo>
                  <a:cubicBezTo>
                    <a:pt x="4466" y="6597"/>
                    <a:pt x="4108" y="6656"/>
                    <a:pt x="3751" y="6656"/>
                  </a:cubicBezTo>
                  <a:cubicBezTo>
                    <a:pt x="2084" y="6620"/>
                    <a:pt x="739" y="5251"/>
                    <a:pt x="751" y="3584"/>
                  </a:cubicBezTo>
                  <a:cubicBezTo>
                    <a:pt x="751" y="3239"/>
                    <a:pt x="810" y="2918"/>
                    <a:pt x="929" y="2608"/>
                  </a:cubicBezTo>
                  <a:cubicBezTo>
                    <a:pt x="965" y="2549"/>
                    <a:pt x="929" y="2465"/>
                    <a:pt x="894" y="2429"/>
                  </a:cubicBezTo>
                  <a:lnTo>
                    <a:pt x="834" y="2370"/>
                  </a:lnTo>
                  <a:cubicBezTo>
                    <a:pt x="370" y="1906"/>
                    <a:pt x="370" y="1132"/>
                    <a:pt x="834" y="667"/>
                  </a:cubicBezTo>
                  <a:cubicBezTo>
                    <a:pt x="1049" y="441"/>
                    <a:pt x="1370" y="310"/>
                    <a:pt x="1680" y="310"/>
                  </a:cubicBezTo>
                  <a:cubicBezTo>
                    <a:pt x="2001" y="310"/>
                    <a:pt x="2323" y="441"/>
                    <a:pt x="2537" y="679"/>
                  </a:cubicBezTo>
                  <a:lnTo>
                    <a:pt x="2584" y="727"/>
                  </a:lnTo>
                  <a:cubicBezTo>
                    <a:pt x="2621" y="763"/>
                    <a:pt x="2671" y="779"/>
                    <a:pt x="2719" y="779"/>
                  </a:cubicBezTo>
                  <a:cubicBezTo>
                    <a:pt x="2734" y="779"/>
                    <a:pt x="2749" y="777"/>
                    <a:pt x="2763" y="774"/>
                  </a:cubicBezTo>
                  <a:cubicBezTo>
                    <a:pt x="3096" y="655"/>
                    <a:pt x="3430" y="596"/>
                    <a:pt x="3775" y="596"/>
                  </a:cubicBezTo>
                  <a:cubicBezTo>
                    <a:pt x="5299" y="596"/>
                    <a:pt x="6561" y="1727"/>
                    <a:pt x="6787" y="3203"/>
                  </a:cubicBezTo>
                  <a:cubicBezTo>
                    <a:pt x="6799" y="3287"/>
                    <a:pt x="6871" y="3346"/>
                    <a:pt x="6942" y="3346"/>
                  </a:cubicBezTo>
                  <a:cubicBezTo>
                    <a:pt x="7049" y="3346"/>
                    <a:pt x="7121" y="3263"/>
                    <a:pt x="7109" y="3156"/>
                  </a:cubicBezTo>
                  <a:cubicBezTo>
                    <a:pt x="6871" y="1513"/>
                    <a:pt x="5478" y="263"/>
                    <a:pt x="3775" y="263"/>
                  </a:cubicBezTo>
                  <a:cubicBezTo>
                    <a:pt x="3418" y="263"/>
                    <a:pt x="3073" y="322"/>
                    <a:pt x="2751" y="429"/>
                  </a:cubicBezTo>
                  <a:cubicBezTo>
                    <a:pt x="2465" y="143"/>
                    <a:pt x="2084" y="1"/>
                    <a:pt x="1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2" name="Google Shape;13172;p64"/>
            <p:cNvSpPr/>
            <p:nvPr/>
          </p:nvSpPr>
          <p:spPr>
            <a:xfrm>
              <a:off x="6116786" y="3928404"/>
              <a:ext cx="109941" cy="123946"/>
            </a:xfrm>
            <a:custGeom>
              <a:avLst/>
              <a:gdLst/>
              <a:ahLst/>
              <a:cxnLst/>
              <a:rect l="l" t="t" r="r" b="b"/>
              <a:pathLst>
                <a:path w="3454" h="3894" extrusionOk="0">
                  <a:moveTo>
                    <a:pt x="2322" y="1131"/>
                  </a:moveTo>
                  <a:cubicBezTo>
                    <a:pt x="2334" y="1227"/>
                    <a:pt x="2382" y="1310"/>
                    <a:pt x="2442" y="1393"/>
                  </a:cubicBezTo>
                  <a:cubicBezTo>
                    <a:pt x="2346" y="1369"/>
                    <a:pt x="2263" y="1369"/>
                    <a:pt x="2180" y="1369"/>
                  </a:cubicBezTo>
                  <a:lnTo>
                    <a:pt x="1275" y="1369"/>
                  </a:lnTo>
                  <a:cubicBezTo>
                    <a:pt x="1215" y="1369"/>
                    <a:pt x="1156" y="1334"/>
                    <a:pt x="1156" y="1250"/>
                  </a:cubicBezTo>
                  <a:cubicBezTo>
                    <a:pt x="1156" y="1191"/>
                    <a:pt x="1203" y="1131"/>
                    <a:pt x="1275" y="1131"/>
                  </a:cubicBezTo>
                  <a:close/>
                  <a:moveTo>
                    <a:pt x="1013" y="2489"/>
                  </a:moveTo>
                  <a:lnTo>
                    <a:pt x="1013" y="2489"/>
                  </a:lnTo>
                  <a:cubicBezTo>
                    <a:pt x="1096" y="2501"/>
                    <a:pt x="1191" y="2501"/>
                    <a:pt x="1263" y="2501"/>
                  </a:cubicBezTo>
                  <a:lnTo>
                    <a:pt x="2168" y="2501"/>
                  </a:lnTo>
                  <a:cubicBezTo>
                    <a:pt x="2227" y="2501"/>
                    <a:pt x="2287" y="2548"/>
                    <a:pt x="2287" y="2620"/>
                  </a:cubicBezTo>
                  <a:cubicBezTo>
                    <a:pt x="2287" y="2691"/>
                    <a:pt x="2251" y="2739"/>
                    <a:pt x="2168" y="2739"/>
                  </a:cubicBezTo>
                  <a:lnTo>
                    <a:pt x="1132" y="2739"/>
                  </a:lnTo>
                  <a:cubicBezTo>
                    <a:pt x="1120" y="2655"/>
                    <a:pt x="1072" y="2560"/>
                    <a:pt x="1013" y="2489"/>
                  </a:cubicBezTo>
                  <a:close/>
                  <a:moveTo>
                    <a:pt x="1275" y="0"/>
                  </a:moveTo>
                  <a:cubicBezTo>
                    <a:pt x="572" y="0"/>
                    <a:pt x="13" y="560"/>
                    <a:pt x="1" y="1250"/>
                  </a:cubicBezTo>
                  <a:cubicBezTo>
                    <a:pt x="1" y="1691"/>
                    <a:pt x="203" y="2072"/>
                    <a:pt x="537" y="2298"/>
                  </a:cubicBezTo>
                  <a:cubicBezTo>
                    <a:pt x="239" y="2310"/>
                    <a:pt x="1" y="2560"/>
                    <a:pt x="1" y="2858"/>
                  </a:cubicBezTo>
                  <a:cubicBezTo>
                    <a:pt x="1" y="3429"/>
                    <a:pt x="453" y="3894"/>
                    <a:pt x="1025" y="3894"/>
                  </a:cubicBezTo>
                  <a:lnTo>
                    <a:pt x="2144" y="3894"/>
                  </a:lnTo>
                  <a:cubicBezTo>
                    <a:pt x="2846" y="3894"/>
                    <a:pt x="3406" y="3334"/>
                    <a:pt x="3418" y="2643"/>
                  </a:cubicBezTo>
                  <a:cubicBezTo>
                    <a:pt x="3454" y="2203"/>
                    <a:pt x="3227" y="1822"/>
                    <a:pt x="2906" y="1596"/>
                  </a:cubicBezTo>
                  <a:cubicBezTo>
                    <a:pt x="3204" y="1584"/>
                    <a:pt x="3442" y="1334"/>
                    <a:pt x="3442" y="1036"/>
                  </a:cubicBezTo>
                  <a:cubicBezTo>
                    <a:pt x="3442" y="465"/>
                    <a:pt x="2977" y="0"/>
                    <a:pt x="2406" y="0"/>
                  </a:cubicBezTo>
                  <a:lnTo>
                    <a:pt x="2203" y="0"/>
                  </a:lnTo>
                  <a:cubicBezTo>
                    <a:pt x="2108" y="0"/>
                    <a:pt x="2025" y="84"/>
                    <a:pt x="2025" y="179"/>
                  </a:cubicBezTo>
                  <a:cubicBezTo>
                    <a:pt x="2025" y="274"/>
                    <a:pt x="2096" y="357"/>
                    <a:pt x="2203" y="357"/>
                  </a:cubicBezTo>
                  <a:lnTo>
                    <a:pt x="2406" y="357"/>
                  </a:lnTo>
                  <a:cubicBezTo>
                    <a:pt x="2775" y="357"/>
                    <a:pt x="3096" y="655"/>
                    <a:pt x="3096" y="1036"/>
                  </a:cubicBezTo>
                  <a:cubicBezTo>
                    <a:pt x="3096" y="1167"/>
                    <a:pt x="3001" y="1274"/>
                    <a:pt x="2870" y="1274"/>
                  </a:cubicBezTo>
                  <a:cubicBezTo>
                    <a:pt x="2739" y="1274"/>
                    <a:pt x="2632" y="1167"/>
                    <a:pt x="2632" y="1048"/>
                  </a:cubicBezTo>
                  <a:cubicBezTo>
                    <a:pt x="2632" y="917"/>
                    <a:pt x="2525" y="822"/>
                    <a:pt x="2394" y="822"/>
                  </a:cubicBezTo>
                  <a:lnTo>
                    <a:pt x="1263" y="822"/>
                  </a:lnTo>
                  <a:cubicBezTo>
                    <a:pt x="1013" y="822"/>
                    <a:pt x="798" y="1012"/>
                    <a:pt x="798" y="1274"/>
                  </a:cubicBezTo>
                  <a:cubicBezTo>
                    <a:pt x="787" y="1524"/>
                    <a:pt x="1001" y="1750"/>
                    <a:pt x="1263" y="1750"/>
                  </a:cubicBezTo>
                  <a:lnTo>
                    <a:pt x="2156" y="1750"/>
                  </a:lnTo>
                  <a:cubicBezTo>
                    <a:pt x="2668" y="1750"/>
                    <a:pt x="3084" y="2131"/>
                    <a:pt x="3096" y="2643"/>
                  </a:cubicBezTo>
                  <a:cubicBezTo>
                    <a:pt x="3108" y="3155"/>
                    <a:pt x="2692" y="3572"/>
                    <a:pt x="2192" y="3572"/>
                  </a:cubicBezTo>
                  <a:lnTo>
                    <a:pt x="1037" y="3572"/>
                  </a:lnTo>
                  <a:cubicBezTo>
                    <a:pt x="668" y="3572"/>
                    <a:pt x="358" y="3274"/>
                    <a:pt x="358" y="2905"/>
                  </a:cubicBezTo>
                  <a:cubicBezTo>
                    <a:pt x="358" y="2774"/>
                    <a:pt x="441" y="2667"/>
                    <a:pt x="584" y="2667"/>
                  </a:cubicBezTo>
                  <a:cubicBezTo>
                    <a:pt x="715" y="2667"/>
                    <a:pt x="822" y="2774"/>
                    <a:pt x="822" y="2893"/>
                  </a:cubicBezTo>
                  <a:cubicBezTo>
                    <a:pt x="822" y="3024"/>
                    <a:pt x="918" y="3120"/>
                    <a:pt x="1060" y="3120"/>
                  </a:cubicBezTo>
                  <a:lnTo>
                    <a:pt x="2180" y="3120"/>
                  </a:lnTo>
                  <a:cubicBezTo>
                    <a:pt x="2442" y="3120"/>
                    <a:pt x="2644" y="2917"/>
                    <a:pt x="2644" y="2667"/>
                  </a:cubicBezTo>
                  <a:cubicBezTo>
                    <a:pt x="2656" y="2417"/>
                    <a:pt x="2453" y="2191"/>
                    <a:pt x="2180" y="2191"/>
                  </a:cubicBezTo>
                  <a:lnTo>
                    <a:pt x="1287" y="2191"/>
                  </a:lnTo>
                  <a:cubicBezTo>
                    <a:pt x="787" y="2191"/>
                    <a:pt x="370" y="1810"/>
                    <a:pt x="358" y="1298"/>
                  </a:cubicBezTo>
                  <a:cubicBezTo>
                    <a:pt x="346" y="774"/>
                    <a:pt x="763" y="357"/>
                    <a:pt x="1263" y="357"/>
                  </a:cubicBezTo>
                  <a:lnTo>
                    <a:pt x="1346" y="357"/>
                  </a:lnTo>
                  <a:cubicBezTo>
                    <a:pt x="1441" y="357"/>
                    <a:pt x="1525" y="286"/>
                    <a:pt x="1525" y="179"/>
                  </a:cubicBezTo>
                  <a:cubicBezTo>
                    <a:pt x="1525" y="96"/>
                    <a:pt x="1453" y="0"/>
                    <a:pt x="1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3" name="Google Shape;13173;p64"/>
          <p:cNvGrpSpPr/>
          <p:nvPr/>
        </p:nvGrpSpPr>
        <p:grpSpPr>
          <a:xfrm>
            <a:off x="3949506" y="3817152"/>
            <a:ext cx="346024" cy="345674"/>
            <a:chOff x="4201447" y="3817349"/>
            <a:chExt cx="346024" cy="345674"/>
          </a:xfrm>
        </p:grpSpPr>
        <p:sp>
          <p:nvSpPr>
            <p:cNvPr id="13174" name="Google Shape;13174;p64"/>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5" name="Google Shape;13175;p64"/>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76" name="Google Shape;13176;p64"/>
          <p:cNvGrpSpPr/>
          <p:nvPr/>
        </p:nvGrpSpPr>
        <p:grpSpPr>
          <a:xfrm>
            <a:off x="4398977" y="3817152"/>
            <a:ext cx="346024" cy="345674"/>
            <a:chOff x="4650919" y="3817349"/>
            <a:chExt cx="346024" cy="345674"/>
          </a:xfrm>
        </p:grpSpPr>
        <p:sp>
          <p:nvSpPr>
            <p:cNvPr id="13177" name="Google Shape;13177;p64"/>
            <p:cNvSpPr/>
            <p:nvPr/>
          </p:nvSpPr>
          <p:spPr>
            <a:xfrm>
              <a:off x="4650919" y="3817349"/>
              <a:ext cx="346024" cy="345674"/>
            </a:xfrm>
            <a:custGeom>
              <a:avLst/>
              <a:gdLst/>
              <a:ahLst/>
              <a:cxnLst/>
              <a:rect l="l" t="t" r="r" b="b"/>
              <a:pathLst>
                <a:path w="10871" h="10860" extrusionOk="0">
                  <a:moveTo>
                    <a:pt x="5442" y="334"/>
                  </a:moveTo>
                  <a:cubicBezTo>
                    <a:pt x="8251" y="334"/>
                    <a:pt x="10526" y="2608"/>
                    <a:pt x="10526" y="5430"/>
                  </a:cubicBezTo>
                  <a:cubicBezTo>
                    <a:pt x="10526" y="8240"/>
                    <a:pt x="8240" y="10514"/>
                    <a:pt x="5442" y="10514"/>
                  </a:cubicBezTo>
                  <a:cubicBezTo>
                    <a:pt x="2620" y="10514"/>
                    <a:pt x="346" y="8240"/>
                    <a:pt x="346" y="5430"/>
                  </a:cubicBezTo>
                  <a:cubicBezTo>
                    <a:pt x="346" y="2608"/>
                    <a:pt x="2620" y="334"/>
                    <a:pt x="5442" y="334"/>
                  </a:cubicBezTo>
                  <a:close/>
                  <a:moveTo>
                    <a:pt x="5442" y="1"/>
                  </a:moveTo>
                  <a:cubicBezTo>
                    <a:pt x="3989" y="1"/>
                    <a:pt x="2620" y="560"/>
                    <a:pt x="1596" y="1584"/>
                  </a:cubicBezTo>
                  <a:cubicBezTo>
                    <a:pt x="572" y="2620"/>
                    <a:pt x="0" y="3989"/>
                    <a:pt x="0" y="5430"/>
                  </a:cubicBezTo>
                  <a:cubicBezTo>
                    <a:pt x="0" y="6871"/>
                    <a:pt x="572" y="8240"/>
                    <a:pt x="1596" y="9264"/>
                  </a:cubicBezTo>
                  <a:cubicBezTo>
                    <a:pt x="2620" y="10300"/>
                    <a:pt x="3989" y="10859"/>
                    <a:pt x="5442" y="10859"/>
                  </a:cubicBezTo>
                  <a:cubicBezTo>
                    <a:pt x="6882" y="10859"/>
                    <a:pt x="8251" y="10300"/>
                    <a:pt x="9275" y="9264"/>
                  </a:cubicBezTo>
                  <a:cubicBezTo>
                    <a:pt x="10299" y="8240"/>
                    <a:pt x="10871" y="6871"/>
                    <a:pt x="10871" y="5430"/>
                  </a:cubicBezTo>
                  <a:cubicBezTo>
                    <a:pt x="10871" y="3989"/>
                    <a:pt x="10299" y="2620"/>
                    <a:pt x="9275" y="1584"/>
                  </a:cubicBezTo>
                  <a:cubicBezTo>
                    <a:pt x="8251" y="560"/>
                    <a:pt x="6882" y="1"/>
                    <a:pt x="5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8" name="Google Shape;13178;p64"/>
            <p:cNvSpPr/>
            <p:nvPr/>
          </p:nvSpPr>
          <p:spPr>
            <a:xfrm>
              <a:off x="4701305" y="3867386"/>
              <a:ext cx="244486" cy="242958"/>
            </a:xfrm>
            <a:custGeom>
              <a:avLst/>
              <a:gdLst/>
              <a:ahLst/>
              <a:cxnLst/>
              <a:rect l="l" t="t" r="r" b="b"/>
              <a:pathLst>
                <a:path w="7681" h="7633" extrusionOk="0">
                  <a:moveTo>
                    <a:pt x="3835" y="0"/>
                  </a:moveTo>
                  <a:cubicBezTo>
                    <a:pt x="1727" y="0"/>
                    <a:pt x="13" y="1715"/>
                    <a:pt x="13" y="3822"/>
                  </a:cubicBezTo>
                  <a:cubicBezTo>
                    <a:pt x="13" y="4418"/>
                    <a:pt x="144" y="5001"/>
                    <a:pt x="418" y="5537"/>
                  </a:cubicBezTo>
                  <a:lnTo>
                    <a:pt x="25" y="6501"/>
                  </a:lnTo>
                  <a:cubicBezTo>
                    <a:pt x="1" y="6585"/>
                    <a:pt x="13" y="6656"/>
                    <a:pt x="84" y="6704"/>
                  </a:cubicBezTo>
                  <a:cubicBezTo>
                    <a:pt x="120" y="6727"/>
                    <a:pt x="156" y="6727"/>
                    <a:pt x="191" y="6727"/>
                  </a:cubicBezTo>
                  <a:lnTo>
                    <a:pt x="1370" y="6727"/>
                  </a:lnTo>
                  <a:cubicBezTo>
                    <a:pt x="2061" y="7323"/>
                    <a:pt x="2942" y="7632"/>
                    <a:pt x="3847" y="7632"/>
                  </a:cubicBezTo>
                  <a:cubicBezTo>
                    <a:pt x="5966" y="7632"/>
                    <a:pt x="7680" y="5930"/>
                    <a:pt x="7680" y="3810"/>
                  </a:cubicBezTo>
                  <a:cubicBezTo>
                    <a:pt x="7680" y="3096"/>
                    <a:pt x="7454" y="2394"/>
                    <a:pt x="7085" y="1798"/>
                  </a:cubicBezTo>
                  <a:cubicBezTo>
                    <a:pt x="7052" y="1752"/>
                    <a:pt x="6997" y="1727"/>
                    <a:pt x="6940" y="1727"/>
                  </a:cubicBezTo>
                  <a:cubicBezTo>
                    <a:pt x="6894" y="1727"/>
                    <a:pt x="6848" y="1743"/>
                    <a:pt x="6811" y="1774"/>
                  </a:cubicBezTo>
                  <a:cubicBezTo>
                    <a:pt x="6752" y="1834"/>
                    <a:pt x="6752" y="1917"/>
                    <a:pt x="6787" y="1977"/>
                  </a:cubicBezTo>
                  <a:cubicBezTo>
                    <a:pt x="7133" y="2513"/>
                    <a:pt x="7323" y="3156"/>
                    <a:pt x="7323" y="3846"/>
                  </a:cubicBezTo>
                  <a:cubicBezTo>
                    <a:pt x="7323" y="5763"/>
                    <a:pt x="5764" y="7323"/>
                    <a:pt x="3835" y="7323"/>
                  </a:cubicBezTo>
                  <a:cubicBezTo>
                    <a:pt x="2989" y="7323"/>
                    <a:pt x="2168" y="7013"/>
                    <a:pt x="1537" y="6442"/>
                  </a:cubicBezTo>
                  <a:cubicBezTo>
                    <a:pt x="1501" y="6418"/>
                    <a:pt x="1453" y="6406"/>
                    <a:pt x="1418" y="6406"/>
                  </a:cubicBezTo>
                  <a:lnTo>
                    <a:pt x="430" y="6406"/>
                  </a:lnTo>
                  <a:lnTo>
                    <a:pt x="763" y="5596"/>
                  </a:lnTo>
                  <a:cubicBezTo>
                    <a:pt x="775" y="5549"/>
                    <a:pt x="775" y="5489"/>
                    <a:pt x="763" y="5453"/>
                  </a:cubicBezTo>
                  <a:cubicBezTo>
                    <a:pt x="489" y="4953"/>
                    <a:pt x="358" y="4394"/>
                    <a:pt x="358" y="3822"/>
                  </a:cubicBezTo>
                  <a:cubicBezTo>
                    <a:pt x="358" y="1905"/>
                    <a:pt x="1918" y="346"/>
                    <a:pt x="3835" y="346"/>
                  </a:cubicBezTo>
                  <a:cubicBezTo>
                    <a:pt x="4787" y="346"/>
                    <a:pt x="5656" y="727"/>
                    <a:pt x="6276" y="1346"/>
                  </a:cubicBezTo>
                  <a:cubicBezTo>
                    <a:pt x="6305" y="1376"/>
                    <a:pt x="6350" y="1390"/>
                    <a:pt x="6395" y="1390"/>
                  </a:cubicBezTo>
                  <a:cubicBezTo>
                    <a:pt x="6439" y="1390"/>
                    <a:pt x="6484" y="1376"/>
                    <a:pt x="6514" y="1346"/>
                  </a:cubicBezTo>
                  <a:cubicBezTo>
                    <a:pt x="6573" y="1262"/>
                    <a:pt x="6573" y="1167"/>
                    <a:pt x="6514" y="1108"/>
                  </a:cubicBezTo>
                  <a:cubicBezTo>
                    <a:pt x="5835" y="417"/>
                    <a:pt x="4882" y="0"/>
                    <a:pt x="383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9" name="Google Shape;13179;p64"/>
            <p:cNvSpPr/>
            <p:nvPr/>
          </p:nvSpPr>
          <p:spPr>
            <a:xfrm>
              <a:off x="4749464" y="3911534"/>
              <a:ext cx="153134" cy="151065"/>
            </a:xfrm>
            <a:custGeom>
              <a:avLst/>
              <a:gdLst/>
              <a:ahLst/>
              <a:cxnLst/>
              <a:rect l="l" t="t" r="r" b="b"/>
              <a:pathLst>
                <a:path w="4811" h="4746" extrusionOk="0">
                  <a:moveTo>
                    <a:pt x="1384" y="0"/>
                  </a:moveTo>
                  <a:cubicBezTo>
                    <a:pt x="1342" y="0"/>
                    <a:pt x="1304" y="18"/>
                    <a:pt x="1274" y="54"/>
                  </a:cubicBezTo>
                  <a:lnTo>
                    <a:pt x="274" y="1054"/>
                  </a:lnTo>
                  <a:cubicBezTo>
                    <a:pt x="36" y="1292"/>
                    <a:pt x="0" y="1661"/>
                    <a:pt x="202" y="1935"/>
                  </a:cubicBezTo>
                  <a:cubicBezTo>
                    <a:pt x="619" y="2495"/>
                    <a:pt x="1072" y="3031"/>
                    <a:pt x="1572" y="3531"/>
                  </a:cubicBezTo>
                  <a:cubicBezTo>
                    <a:pt x="1601" y="3560"/>
                    <a:pt x="1646" y="3575"/>
                    <a:pt x="1691" y="3575"/>
                  </a:cubicBezTo>
                  <a:cubicBezTo>
                    <a:pt x="1735" y="3575"/>
                    <a:pt x="1780" y="3560"/>
                    <a:pt x="1810" y="3531"/>
                  </a:cubicBezTo>
                  <a:cubicBezTo>
                    <a:pt x="1881" y="3447"/>
                    <a:pt x="1869" y="3352"/>
                    <a:pt x="1810" y="3293"/>
                  </a:cubicBezTo>
                  <a:cubicBezTo>
                    <a:pt x="1310" y="2816"/>
                    <a:pt x="869" y="2304"/>
                    <a:pt x="464" y="1745"/>
                  </a:cubicBezTo>
                  <a:cubicBezTo>
                    <a:pt x="381" y="1602"/>
                    <a:pt x="393" y="1423"/>
                    <a:pt x="500" y="1304"/>
                  </a:cubicBezTo>
                  <a:lnTo>
                    <a:pt x="1369" y="435"/>
                  </a:lnTo>
                  <a:lnTo>
                    <a:pt x="2107" y="1161"/>
                  </a:lnTo>
                  <a:lnTo>
                    <a:pt x="1750" y="1518"/>
                  </a:lnTo>
                  <a:cubicBezTo>
                    <a:pt x="1703" y="1566"/>
                    <a:pt x="1691" y="1638"/>
                    <a:pt x="1703" y="1697"/>
                  </a:cubicBezTo>
                  <a:cubicBezTo>
                    <a:pt x="1941" y="2400"/>
                    <a:pt x="2405" y="2876"/>
                    <a:pt x="3096" y="3090"/>
                  </a:cubicBezTo>
                  <a:cubicBezTo>
                    <a:pt x="3112" y="3097"/>
                    <a:pt x="3131" y="3100"/>
                    <a:pt x="3150" y="3100"/>
                  </a:cubicBezTo>
                  <a:cubicBezTo>
                    <a:pt x="3198" y="3100"/>
                    <a:pt x="3248" y="3080"/>
                    <a:pt x="3274" y="3054"/>
                  </a:cubicBezTo>
                  <a:lnTo>
                    <a:pt x="3631" y="2697"/>
                  </a:lnTo>
                  <a:lnTo>
                    <a:pt x="4370" y="3423"/>
                  </a:lnTo>
                  <a:lnTo>
                    <a:pt x="3489" y="4305"/>
                  </a:lnTo>
                  <a:cubicBezTo>
                    <a:pt x="3424" y="4369"/>
                    <a:pt x="3343" y="4402"/>
                    <a:pt x="3261" y="4402"/>
                  </a:cubicBezTo>
                  <a:cubicBezTo>
                    <a:pt x="3191" y="4402"/>
                    <a:pt x="3120" y="4378"/>
                    <a:pt x="3060" y="4328"/>
                  </a:cubicBezTo>
                  <a:cubicBezTo>
                    <a:pt x="2834" y="4162"/>
                    <a:pt x="2607" y="4007"/>
                    <a:pt x="2405" y="3828"/>
                  </a:cubicBezTo>
                  <a:cubicBezTo>
                    <a:pt x="2368" y="3801"/>
                    <a:pt x="2330" y="3789"/>
                    <a:pt x="2295" y="3789"/>
                  </a:cubicBezTo>
                  <a:cubicBezTo>
                    <a:pt x="2251" y="3789"/>
                    <a:pt x="2212" y="3807"/>
                    <a:pt x="2179" y="3840"/>
                  </a:cubicBezTo>
                  <a:cubicBezTo>
                    <a:pt x="2107" y="3912"/>
                    <a:pt x="2119" y="4031"/>
                    <a:pt x="2191" y="4090"/>
                  </a:cubicBezTo>
                  <a:cubicBezTo>
                    <a:pt x="2417" y="4269"/>
                    <a:pt x="2643" y="4447"/>
                    <a:pt x="2858" y="4614"/>
                  </a:cubicBezTo>
                  <a:cubicBezTo>
                    <a:pt x="2977" y="4697"/>
                    <a:pt x="3119" y="4745"/>
                    <a:pt x="3250" y="4745"/>
                  </a:cubicBezTo>
                  <a:cubicBezTo>
                    <a:pt x="3429" y="4745"/>
                    <a:pt x="3596" y="4674"/>
                    <a:pt x="3727" y="4555"/>
                  </a:cubicBezTo>
                  <a:lnTo>
                    <a:pt x="4727" y="3554"/>
                  </a:lnTo>
                  <a:cubicBezTo>
                    <a:pt x="4798" y="3495"/>
                    <a:pt x="4810" y="3423"/>
                    <a:pt x="4786" y="3352"/>
                  </a:cubicBezTo>
                  <a:cubicBezTo>
                    <a:pt x="4763" y="3328"/>
                    <a:pt x="4751" y="3304"/>
                    <a:pt x="4739" y="3293"/>
                  </a:cubicBezTo>
                  <a:lnTo>
                    <a:pt x="3774" y="2316"/>
                  </a:lnTo>
                  <a:cubicBezTo>
                    <a:pt x="3733" y="2280"/>
                    <a:pt x="3688" y="2263"/>
                    <a:pt x="3646" y="2263"/>
                  </a:cubicBezTo>
                  <a:cubicBezTo>
                    <a:pt x="3605" y="2263"/>
                    <a:pt x="3566" y="2280"/>
                    <a:pt x="3536" y="2316"/>
                  </a:cubicBezTo>
                  <a:lnTo>
                    <a:pt x="3131" y="2721"/>
                  </a:lnTo>
                  <a:cubicBezTo>
                    <a:pt x="2619" y="2531"/>
                    <a:pt x="2286" y="2185"/>
                    <a:pt x="2072" y="1661"/>
                  </a:cubicBezTo>
                  <a:lnTo>
                    <a:pt x="2477" y="1268"/>
                  </a:lnTo>
                  <a:cubicBezTo>
                    <a:pt x="2548" y="1185"/>
                    <a:pt x="2548" y="1090"/>
                    <a:pt x="2477" y="1030"/>
                  </a:cubicBezTo>
                  <a:lnTo>
                    <a:pt x="1512" y="54"/>
                  </a:lnTo>
                  <a:cubicBezTo>
                    <a:pt x="1470" y="18"/>
                    <a:pt x="1426" y="0"/>
                    <a:pt x="13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0" name="Google Shape;13180;p64"/>
          <p:cNvGrpSpPr/>
          <p:nvPr/>
        </p:nvGrpSpPr>
        <p:grpSpPr>
          <a:xfrm>
            <a:off x="5297920" y="3817152"/>
            <a:ext cx="345642" cy="345674"/>
            <a:chOff x="5549861" y="3817349"/>
            <a:chExt cx="345642" cy="345674"/>
          </a:xfrm>
        </p:grpSpPr>
        <p:sp>
          <p:nvSpPr>
            <p:cNvPr id="13181" name="Google Shape;13181;p64"/>
            <p:cNvSpPr/>
            <p:nvPr/>
          </p:nvSpPr>
          <p:spPr>
            <a:xfrm>
              <a:off x="5549861" y="3817349"/>
              <a:ext cx="345642" cy="345674"/>
            </a:xfrm>
            <a:custGeom>
              <a:avLst/>
              <a:gdLst/>
              <a:ahLst/>
              <a:cxnLst/>
              <a:rect l="l" t="t" r="r" b="b"/>
              <a:pathLst>
                <a:path w="10859" h="10860" extrusionOk="0">
                  <a:moveTo>
                    <a:pt x="5429" y="334"/>
                  </a:moveTo>
                  <a:cubicBezTo>
                    <a:pt x="8239" y="334"/>
                    <a:pt x="10513" y="2608"/>
                    <a:pt x="10513" y="5430"/>
                  </a:cubicBezTo>
                  <a:cubicBezTo>
                    <a:pt x="10513" y="8240"/>
                    <a:pt x="8227" y="10514"/>
                    <a:pt x="5429" y="10514"/>
                  </a:cubicBezTo>
                  <a:cubicBezTo>
                    <a:pt x="2619" y="10514"/>
                    <a:pt x="333" y="8240"/>
                    <a:pt x="333" y="5430"/>
                  </a:cubicBezTo>
                  <a:cubicBezTo>
                    <a:pt x="333" y="2608"/>
                    <a:pt x="2619" y="334"/>
                    <a:pt x="5429" y="334"/>
                  </a:cubicBezTo>
                  <a:close/>
                  <a:moveTo>
                    <a:pt x="5429" y="1"/>
                  </a:moveTo>
                  <a:cubicBezTo>
                    <a:pt x="3989" y="1"/>
                    <a:pt x="2619" y="560"/>
                    <a:pt x="1584" y="1584"/>
                  </a:cubicBezTo>
                  <a:cubicBezTo>
                    <a:pt x="560" y="2620"/>
                    <a:pt x="0" y="3989"/>
                    <a:pt x="0" y="5430"/>
                  </a:cubicBezTo>
                  <a:cubicBezTo>
                    <a:pt x="0" y="6871"/>
                    <a:pt x="560" y="8240"/>
                    <a:pt x="1584" y="9264"/>
                  </a:cubicBezTo>
                  <a:cubicBezTo>
                    <a:pt x="2619" y="10300"/>
                    <a:pt x="3989" y="10859"/>
                    <a:pt x="5429" y="10859"/>
                  </a:cubicBezTo>
                  <a:cubicBezTo>
                    <a:pt x="6870" y="10859"/>
                    <a:pt x="8239" y="10300"/>
                    <a:pt x="9263" y="9264"/>
                  </a:cubicBezTo>
                  <a:cubicBezTo>
                    <a:pt x="10299" y="8240"/>
                    <a:pt x="10859" y="6871"/>
                    <a:pt x="10859" y="5430"/>
                  </a:cubicBezTo>
                  <a:cubicBezTo>
                    <a:pt x="10859" y="3989"/>
                    <a:pt x="10299" y="2620"/>
                    <a:pt x="9263" y="1584"/>
                  </a:cubicBezTo>
                  <a:cubicBezTo>
                    <a:pt x="8239" y="560"/>
                    <a:pt x="6870" y="1"/>
                    <a:pt x="5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2" name="Google Shape;13182;p64"/>
            <p:cNvSpPr/>
            <p:nvPr/>
          </p:nvSpPr>
          <p:spPr>
            <a:xfrm>
              <a:off x="5590763" y="3890208"/>
              <a:ext cx="262661" cy="200052"/>
            </a:xfrm>
            <a:custGeom>
              <a:avLst/>
              <a:gdLst/>
              <a:ahLst/>
              <a:cxnLst/>
              <a:rect l="l" t="t" r="r" b="b"/>
              <a:pathLst>
                <a:path w="8252" h="6285" extrusionOk="0">
                  <a:moveTo>
                    <a:pt x="4123" y="1"/>
                  </a:moveTo>
                  <a:cubicBezTo>
                    <a:pt x="3010" y="1"/>
                    <a:pt x="1900" y="63"/>
                    <a:pt x="799" y="188"/>
                  </a:cubicBezTo>
                  <a:cubicBezTo>
                    <a:pt x="513" y="224"/>
                    <a:pt x="287" y="450"/>
                    <a:pt x="239" y="712"/>
                  </a:cubicBezTo>
                  <a:cubicBezTo>
                    <a:pt x="1" y="2319"/>
                    <a:pt x="1" y="3963"/>
                    <a:pt x="239" y="5570"/>
                  </a:cubicBezTo>
                  <a:cubicBezTo>
                    <a:pt x="287" y="5844"/>
                    <a:pt x="513" y="6058"/>
                    <a:pt x="799" y="6082"/>
                  </a:cubicBezTo>
                  <a:cubicBezTo>
                    <a:pt x="1894" y="6201"/>
                    <a:pt x="3013" y="6284"/>
                    <a:pt x="4132" y="6284"/>
                  </a:cubicBezTo>
                  <a:cubicBezTo>
                    <a:pt x="4609" y="6284"/>
                    <a:pt x="5085" y="6260"/>
                    <a:pt x="5561" y="6249"/>
                  </a:cubicBezTo>
                  <a:cubicBezTo>
                    <a:pt x="5644" y="6249"/>
                    <a:pt x="5716" y="6177"/>
                    <a:pt x="5716" y="6070"/>
                  </a:cubicBezTo>
                  <a:cubicBezTo>
                    <a:pt x="5716" y="5963"/>
                    <a:pt x="5633" y="5891"/>
                    <a:pt x="5537" y="5891"/>
                  </a:cubicBezTo>
                  <a:cubicBezTo>
                    <a:pt x="5051" y="5914"/>
                    <a:pt x="4564" y="5925"/>
                    <a:pt x="4076" y="5925"/>
                  </a:cubicBezTo>
                  <a:cubicBezTo>
                    <a:pt x="2998" y="5925"/>
                    <a:pt x="1916" y="5868"/>
                    <a:pt x="834" y="5737"/>
                  </a:cubicBezTo>
                  <a:cubicBezTo>
                    <a:pt x="715" y="5725"/>
                    <a:pt x="620" y="5641"/>
                    <a:pt x="596" y="5498"/>
                  </a:cubicBezTo>
                  <a:cubicBezTo>
                    <a:pt x="382" y="3927"/>
                    <a:pt x="382" y="2319"/>
                    <a:pt x="596" y="736"/>
                  </a:cubicBezTo>
                  <a:cubicBezTo>
                    <a:pt x="620" y="617"/>
                    <a:pt x="715" y="522"/>
                    <a:pt x="834" y="498"/>
                  </a:cubicBezTo>
                  <a:cubicBezTo>
                    <a:pt x="1942" y="379"/>
                    <a:pt x="3037" y="319"/>
                    <a:pt x="4144" y="319"/>
                  </a:cubicBezTo>
                  <a:cubicBezTo>
                    <a:pt x="5240" y="319"/>
                    <a:pt x="6347" y="379"/>
                    <a:pt x="7442" y="498"/>
                  </a:cubicBezTo>
                  <a:cubicBezTo>
                    <a:pt x="7561" y="522"/>
                    <a:pt x="7669" y="605"/>
                    <a:pt x="7680" y="736"/>
                  </a:cubicBezTo>
                  <a:cubicBezTo>
                    <a:pt x="7907" y="2319"/>
                    <a:pt x="7907" y="3927"/>
                    <a:pt x="7680" y="5498"/>
                  </a:cubicBezTo>
                  <a:cubicBezTo>
                    <a:pt x="7669" y="5617"/>
                    <a:pt x="7561" y="5725"/>
                    <a:pt x="7442" y="5737"/>
                  </a:cubicBezTo>
                  <a:cubicBezTo>
                    <a:pt x="7085" y="5784"/>
                    <a:pt x="6752" y="5820"/>
                    <a:pt x="6395" y="5844"/>
                  </a:cubicBezTo>
                  <a:cubicBezTo>
                    <a:pt x="6299" y="5844"/>
                    <a:pt x="6228" y="5927"/>
                    <a:pt x="6228" y="6010"/>
                  </a:cubicBezTo>
                  <a:cubicBezTo>
                    <a:pt x="6228" y="6110"/>
                    <a:pt x="6299" y="6178"/>
                    <a:pt x="6386" y="6178"/>
                  </a:cubicBezTo>
                  <a:cubicBezTo>
                    <a:pt x="6393" y="6178"/>
                    <a:pt x="6399" y="6178"/>
                    <a:pt x="6406" y="6177"/>
                  </a:cubicBezTo>
                  <a:cubicBezTo>
                    <a:pt x="6764" y="6141"/>
                    <a:pt x="7121" y="6118"/>
                    <a:pt x="7478" y="6070"/>
                  </a:cubicBezTo>
                  <a:cubicBezTo>
                    <a:pt x="7764" y="6034"/>
                    <a:pt x="7978" y="5820"/>
                    <a:pt x="8026" y="5546"/>
                  </a:cubicBezTo>
                  <a:cubicBezTo>
                    <a:pt x="8252" y="3963"/>
                    <a:pt x="8252" y="2319"/>
                    <a:pt x="8014" y="712"/>
                  </a:cubicBezTo>
                  <a:cubicBezTo>
                    <a:pt x="7966" y="426"/>
                    <a:pt x="7740" y="224"/>
                    <a:pt x="7466" y="188"/>
                  </a:cubicBezTo>
                  <a:cubicBezTo>
                    <a:pt x="6353" y="63"/>
                    <a:pt x="5237" y="1"/>
                    <a:pt x="41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3" name="Google Shape;13183;p64"/>
            <p:cNvSpPr/>
            <p:nvPr/>
          </p:nvSpPr>
          <p:spPr>
            <a:xfrm>
              <a:off x="5680587" y="3935024"/>
              <a:ext cx="105389" cy="110514"/>
            </a:xfrm>
            <a:custGeom>
              <a:avLst/>
              <a:gdLst/>
              <a:ahLst/>
              <a:cxnLst/>
              <a:rect l="l" t="t" r="r" b="b"/>
              <a:pathLst>
                <a:path w="3311" h="3472" extrusionOk="0">
                  <a:moveTo>
                    <a:pt x="334" y="447"/>
                  </a:moveTo>
                  <a:lnTo>
                    <a:pt x="2763" y="1733"/>
                  </a:lnTo>
                  <a:lnTo>
                    <a:pt x="334" y="3007"/>
                  </a:lnTo>
                  <a:lnTo>
                    <a:pt x="334" y="447"/>
                  </a:lnTo>
                  <a:close/>
                  <a:moveTo>
                    <a:pt x="163" y="1"/>
                  </a:moveTo>
                  <a:cubicBezTo>
                    <a:pt x="135" y="1"/>
                    <a:pt x="108" y="7"/>
                    <a:pt x="84" y="18"/>
                  </a:cubicBezTo>
                  <a:cubicBezTo>
                    <a:pt x="36" y="54"/>
                    <a:pt x="1" y="114"/>
                    <a:pt x="1" y="173"/>
                  </a:cubicBezTo>
                  <a:lnTo>
                    <a:pt x="1" y="3293"/>
                  </a:lnTo>
                  <a:cubicBezTo>
                    <a:pt x="1" y="3352"/>
                    <a:pt x="24" y="3412"/>
                    <a:pt x="84" y="3447"/>
                  </a:cubicBezTo>
                  <a:cubicBezTo>
                    <a:pt x="120" y="3459"/>
                    <a:pt x="144" y="3471"/>
                    <a:pt x="179" y="3471"/>
                  </a:cubicBezTo>
                  <a:cubicBezTo>
                    <a:pt x="203" y="3471"/>
                    <a:pt x="239" y="3471"/>
                    <a:pt x="251" y="3459"/>
                  </a:cubicBezTo>
                  <a:lnTo>
                    <a:pt x="3227" y="1900"/>
                  </a:lnTo>
                  <a:cubicBezTo>
                    <a:pt x="3287" y="1864"/>
                    <a:pt x="3311" y="1804"/>
                    <a:pt x="3311" y="1745"/>
                  </a:cubicBezTo>
                  <a:cubicBezTo>
                    <a:pt x="3311" y="1673"/>
                    <a:pt x="3287" y="1614"/>
                    <a:pt x="3227" y="1578"/>
                  </a:cubicBezTo>
                  <a:lnTo>
                    <a:pt x="251" y="18"/>
                  </a:lnTo>
                  <a:cubicBezTo>
                    <a:pt x="221" y="7"/>
                    <a:pt x="191" y="1"/>
                    <a:pt x="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84" name="Google Shape;13184;p64"/>
          <p:cNvGrpSpPr/>
          <p:nvPr/>
        </p:nvGrpSpPr>
        <p:grpSpPr>
          <a:xfrm>
            <a:off x="1306445" y="3397829"/>
            <a:ext cx="367255" cy="269855"/>
            <a:chOff x="1306445" y="3397829"/>
            <a:chExt cx="367255" cy="269855"/>
          </a:xfrm>
        </p:grpSpPr>
        <p:sp>
          <p:nvSpPr>
            <p:cNvPr id="13185" name="Google Shape;13185;p64"/>
            <p:cNvSpPr/>
            <p:nvPr/>
          </p:nvSpPr>
          <p:spPr>
            <a:xfrm>
              <a:off x="1588395" y="3513054"/>
              <a:ext cx="45517" cy="16297"/>
            </a:xfrm>
            <a:custGeom>
              <a:avLst/>
              <a:gdLst/>
              <a:ahLst/>
              <a:cxnLst/>
              <a:rect l="l" t="t" r="r" b="b"/>
              <a:pathLst>
                <a:path w="1430" h="512" extrusionOk="0">
                  <a:moveTo>
                    <a:pt x="168" y="0"/>
                  </a:moveTo>
                  <a:cubicBezTo>
                    <a:pt x="72" y="0"/>
                    <a:pt x="1" y="71"/>
                    <a:pt x="1" y="167"/>
                  </a:cubicBezTo>
                  <a:cubicBezTo>
                    <a:pt x="1" y="250"/>
                    <a:pt x="72" y="333"/>
                    <a:pt x="168" y="333"/>
                  </a:cubicBezTo>
                  <a:cubicBezTo>
                    <a:pt x="358" y="333"/>
                    <a:pt x="906" y="357"/>
                    <a:pt x="1180" y="488"/>
                  </a:cubicBezTo>
                  <a:cubicBezTo>
                    <a:pt x="1204" y="512"/>
                    <a:pt x="1227" y="512"/>
                    <a:pt x="1251" y="512"/>
                  </a:cubicBezTo>
                  <a:cubicBezTo>
                    <a:pt x="1311" y="512"/>
                    <a:pt x="1370" y="476"/>
                    <a:pt x="1406" y="417"/>
                  </a:cubicBezTo>
                  <a:cubicBezTo>
                    <a:pt x="1430" y="333"/>
                    <a:pt x="1406" y="226"/>
                    <a:pt x="1323" y="191"/>
                  </a:cubicBezTo>
                  <a:cubicBezTo>
                    <a:pt x="942" y="0"/>
                    <a:pt x="19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6" name="Google Shape;13186;p64"/>
            <p:cNvSpPr/>
            <p:nvPr/>
          </p:nvSpPr>
          <p:spPr>
            <a:xfrm>
              <a:off x="1306445" y="3397829"/>
              <a:ext cx="367255" cy="269091"/>
            </a:xfrm>
            <a:custGeom>
              <a:avLst/>
              <a:gdLst/>
              <a:ahLst/>
              <a:cxnLst/>
              <a:rect l="l" t="t" r="r" b="b"/>
              <a:pathLst>
                <a:path w="11538" h="8454" extrusionOk="0">
                  <a:moveTo>
                    <a:pt x="7573" y="334"/>
                  </a:moveTo>
                  <a:lnTo>
                    <a:pt x="7573" y="1965"/>
                  </a:lnTo>
                  <a:cubicBezTo>
                    <a:pt x="7573" y="2227"/>
                    <a:pt x="7525" y="2465"/>
                    <a:pt x="7418" y="2679"/>
                  </a:cubicBezTo>
                  <a:cubicBezTo>
                    <a:pt x="7395" y="2715"/>
                    <a:pt x="7395" y="2727"/>
                    <a:pt x="7395" y="2763"/>
                  </a:cubicBezTo>
                  <a:lnTo>
                    <a:pt x="7395" y="3239"/>
                  </a:lnTo>
                  <a:cubicBezTo>
                    <a:pt x="7395" y="3691"/>
                    <a:pt x="7216" y="4108"/>
                    <a:pt x="6883" y="4442"/>
                  </a:cubicBezTo>
                  <a:cubicBezTo>
                    <a:pt x="6835" y="4489"/>
                    <a:pt x="6787" y="4513"/>
                    <a:pt x="6740" y="4549"/>
                  </a:cubicBezTo>
                  <a:cubicBezTo>
                    <a:pt x="6466" y="4759"/>
                    <a:pt x="6137" y="4876"/>
                    <a:pt x="5785" y="4876"/>
                  </a:cubicBezTo>
                  <a:cubicBezTo>
                    <a:pt x="5739" y="4876"/>
                    <a:pt x="5692" y="4874"/>
                    <a:pt x="5644" y="4870"/>
                  </a:cubicBezTo>
                  <a:cubicBezTo>
                    <a:pt x="4787" y="4823"/>
                    <a:pt x="4108" y="4072"/>
                    <a:pt x="4108" y="3180"/>
                  </a:cubicBezTo>
                  <a:lnTo>
                    <a:pt x="4108" y="2763"/>
                  </a:lnTo>
                  <a:cubicBezTo>
                    <a:pt x="4108" y="2727"/>
                    <a:pt x="4108" y="2715"/>
                    <a:pt x="4096" y="2679"/>
                  </a:cubicBezTo>
                  <a:cubicBezTo>
                    <a:pt x="3989" y="2465"/>
                    <a:pt x="3930" y="2227"/>
                    <a:pt x="3930" y="1965"/>
                  </a:cubicBezTo>
                  <a:lnTo>
                    <a:pt x="3930" y="1608"/>
                  </a:lnTo>
                  <a:cubicBezTo>
                    <a:pt x="3930" y="917"/>
                    <a:pt x="4513" y="334"/>
                    <a:pt x="5216" y="334"/>
                  </a:cubicBezTo>
                  <a:close/>
                  <a:moveTo>
                    <a:pt x="1763" y="3025"/>
                  </a:moveTo>
                  <a:cubicBezTo>
                    <a:pt x="2049" y="3025"/>
                    <a:pt x="2311" y="3144"/>
                    <a:pt x="2525" y="3358"/>
                  </a:cubicBezTo>
                  <a:cubicBezTo>
                    <a:pt x="2715" y="3561"/>
                    <a:pt x="2846" y="3846"/>
                    <a:pt x="2858" y="4144"/>
                  </a:cubicBezTo>
                  <a:cubicBezTo>
                    <a:pt x="2858" y="4227"/>
                    <a:pt x="2882" y="4346"/>
                    <a:pt x="2882" y="4465"/>
                  </a:cubicBezTo>
                  <a:lnTo>
                    <a:pt x="2882" y="4501"/>
                  </a:lnTo>
                  <a:cubicBezTo>
                    <a:pt x="2703" y="4215"/>
                    <a:pt x="2406" y="4013"/>
                    <a:pt x="2049" y="3894"/>
                  </a:cubicBezTo>
                  <a:cubicBezTo>
                    <a:pt x="1703" y="3787"/>
                    <a:pt x="1406" y="3787"/>
                    <a:pt x="1406" y="3787"/>
                  </a:cubicBezTo>
                  <a:cubicBezTo>
                    <a:pt x="1358" y="3787"/>
                    <a:pt x="1310" y="3799"/>
                    <a:pt x="1287" y="3834"/>
                  </a:cubicBezTo>
                  <a:lnTo>
                    <a:pt x="977" y="4144"/>
                  </a:lnTo>
                  <a:cubicBezTo>
                    <a:pt x="918" y="4215"/>
                    <a:pt x="918" y="4323"/>
                    <a:pt x="977" y="4382"/>
                  </a:cubicBezTo>
                  <a:cubicBezTo>
                    <a:pt x="1013" y="4412"/>
                    <a:pt x="1057" y="4427"/>
                    <a:pt x="1101" y="4427"/>
                  </a:cubicBezTo>
                  <a:cubicBezTo>
                    <a:pt x="1144" y="4427"/>
                    <a:pt x="1185" y="4412"/>
                    <a:pt x="1215" y="4382"/>
                  </a:cubicBezTo>
                  <a:lnTo>
                    <a:pt x="1465" y="4108"/>
                  </a:lnTo>
                  <a:cubicBezTo>
                    <a:pt x="1691" y="4132"/>
                    <a:pt x="2382" y="4203"/>
                    <a:pt x="2668" y="4811"/>
                  </a:cubicBezTo>
                  <a:cubicBezTo>
                    <a:pt x="2596" y="5275"/>
                    <a:pt x="2215" y="5596"/>
                    <a:pt x="1763" y="5596"/>
                  </a:cubicBezTo>
                  <a:cubicBezTo>
                    <a:pt x="1251" y="5596"/>
                    <a:pt x="834" y="5180"/>
                    <a:pt x="834" y="4680"/>
                  </a:cubicBezTo>
                  <a:cubicBezTo>
                    <a:pt x="834" y="4584"/>
                    <a:pt x="763" y="4513"/>
                    <a:pt x="679" y="4513"/>
                  </a:cubicBezTo>
                  <a:lnTo>
                    <a:pt x="644" y="4513"/>
                  </a:lnTo>
                  <a:lnTo>
                    <a:pt x="644" y="4465"/>
                  </a:lnTo>
                  <a:cubicBezTo>
                    <a:pt x="644" y="4346"/>
                    <a:pt x="644" y="4251"/>
                    <a:pt x="656" y="4144"/>
                  </a:cubicBezTo>
                  <a:cubicBezTo>
                    <a:pt x="679" y="3846"/>
                    <a:pt x="810" y="3561"/>
                    <a:pt x="1001" y="3358"/>
                  </a:cubicBezTo>
                  <a:cubicBezTo>
                    <a:pt x="1215" y="3144"/>
                    <a:pt x="1477" y="3025"/>
                    <a:pt x="1763" y="3025"/>
                  </a:cubicBezTo>
                  <a:close/>
                  <a:moveTo>
                    <a:pt x="10657" y="3025"/>
                  </a:moveTo>
                  <a:lnTo>
                    <a:pt x="10657" y="3727"/>
                  </a:lnTo>
                  <a:cubicBezTo>
                    <a:pt x="10657" y="3846"/>
                    <a:pt x="10633" y="3953"/>
                    <a:pt x="10585" y="4049"/>
                  </a:cubicBezTo>
                  <a:lnTo>
                    <a:pt x="10502" y="4251"/>
                  </a:lnTo>
                  <a:cubicBezTo>
                    <a:pt x="10478" y="4275"/>
                    <a:pt x="10478" y="4287"/>
                    <a:pt x="10478" y="4323"/>
                  </a:cubicBezTo>
                  <a:lnTo>
                    <a:pt x="10478" y="4680"/>
                  </a:lnTo>
                  <a:cubicBezTo>
                    <a:pt x="10478" y="4930"/>
                    <a:pt x="10383" y="5168"/>
                    <a:pt x="10204" y="5346"/>
                  </a:cubicBezTo>
                  <a:cubicBezTo>
                    <a:pt x="10044" y="5507"/>
                    <a:pt x="9835" y="5600"/>
                    <a:pt x="9605" y="5600"/>
                  </a:cubicBezTo>
                  <a:cubicBezTo>
                    <a:pt x="9579" y="5600"/>
                    <a:pt x="9552" y="5599"/>
                    <a:pt x="9526" y="5596"/>
                  </a:cubicBezTo>
                  <a:cubicBezTo>
                    <a:pt x="9038" y="5585"/>
                    <a:pt x="8633" y="5156"/>
                    <a:pt x="8633" y="4632"/>
                  </a:cubicBezTo>
                  <a:lnTo>
                    <a:pt x="8633" y="4323"/>
                  </a:lnTo>
                  <a:cubicBezTo>
                    <a:pt x="8633" y="4287"/>
                    <a:pt x="8633" y="4263"/>
                    <a:pt x="8621" y="4251"/>
                  </a:cubicBezTo>
                  <a:lnTo>
                    <a:pt x="8514" y="4037"/>
                  </a:lnTo>
                  <a:cubicBezTo>
                    <a:pt x="8466" y="3965"/>
                    <a:pt x="8454" y="3870"/>
                    <a:pt x="8454" y="3787"/>
                  </a:cubicBezTo>
                  <a:lnTo>
                    <a:pt x="8454" y="3775"/>
                  </a:lnTo>
                  <a:cubicBezTo>
                    <a:pt x="8454" y="3370"/>
                    <a:pt x="8788" y="3025"/>
                    <a:pt x="9204" y="3025"/>
                  </a:cubicBezTo>
                  <a:close/>
                  <a:moveTo>
                    <a:pt x="584" y="5180"/>
                  </a:moveTo>
                  <a:cubicBezTo>
                    <a:pt x="679" y="5406"/>
                    <a:pt x="834" y="5596"/>
                    <a:pt x="1037" y="5739"/>
                  </a:cubicBezTo>
                  <a:lnTo>
                    <a:pt x="1037" y="5925"/>
                  </a:lnTo>
                  <a:lnTo>
                    <a:pt x="1037" y="5925"/>
                  </a:lnTo>
                  <a:cubicBezTo>
                    <a:pt x="723" y="5807"/>
                    <a:pt x="571" y="5655"/>
                    <a:pt x="501" y="5585"/>
                  </a:cubicBezTo>
                  <a:cubicBezTo>
                    <a:pt x="537" y="5466"/>
                    <a:pt x="572" y="5335"/>
                    <a:pt x="584" y="5180"/>
                  </a:cubicBezTo>
                  <a:close/>
                  <a:moveTo>
                    <a:pt x="2918" y="5168"/>
                  </a:moveTo>
                  <a:cubicBezTo>
                    <a:pt x="2942" y="5323"/>
                    <a:pt x="2965" y="5454"/>
                    <a:pt x="3013" y="5573"/>
                  </a:cubicBezTo>
                  <a:cubicBezTo>
                    <a:pt x="2953" y="5656"/>
                    <a:pt x="2787" y="5811"/>
                    <a:pt x="2477" y="5930"/>
                  </a:cubicBezTo>
                  <a:lnTo>
                    <a:pt x="2477" y="5716"/>
                  </a:lnTo>
                  <a:cubicBezTo>
                    <a:pt x="2668" y="5585"/>
                    <a:pt x="2834" y="5394"/>
                    <a:pt x="2918" y="5168"/>
                  </a:cubicBezTo>
                  <a:close/>
                  <a:moveTo>
                    <a:pt x="6668" y="4989"/>
                  </a:moveTo>
                  <a:lnTo>
                    <a:pt x="6668" y="5299"/>
                  </a:lnTo>
                  <a:lnTo>
                    <a:pt x="5751" y="5930"/>
                  </a:lnTo>
                  <a:lnTo>
                    <a:pt x="4823" y="5299"/>
                  </a:lnTo>
                  <a:lnTo>
                    <a:pt x="4823" y="4989"/>
                  </a:lnTo>
                  <a:cubicBezTo>
                    <a:pt x="5061" y="5120"/>
                    <a:pt x="5335" y="5204"/>
                    <a:pt x="5620" y="5215"/>
                  </a:cubicBezTo>
                  <a:lnTo>
                    <a:pt x="5751" y="5215"/>
                  </a:lnTo>
                  <a:cubicBezTo>
                    <a:pt x="6073" y="5215"/>
                    <a:pt x="6394" y="5144"/>
                    <a:pt x="6668" y="4989"/>
                  </a:cubicBezTo>
                  <a:close/>
                  <a:moveTo>
                    <a:pt x="9942" y="5882"/>
                  </a:moveTo>
                  <a:lnTo>
                    <a:pt x="9942" y="5954"/>
                  </a:lnTo>
                  <a:cubicBezTo>
                    <a:pt x="9942" y="5989"/>
                    <a:pt x="9942" y="6025"/>
                    <a:pt x="9966" y="6061"/>
                  </a:cubicBezTo>
                  <a:lnTo>
                    <a:pt x="9561" y="6454"/>
                  </a:lnTo>
                  <a:lnTo>
                    <a:pt x="9169" y="6061"/>
                  </a:lnTo>
                  <a:cubicBezTo>
                    <a:pt x="9169" y="6025"/>
                    <a:pt x="9192" y="6001"/>
                    <a:pt x="9192" y="5954"/>
                  </a:cubicBezTo>
                  <a:lnTo>
                    <a:pt x="9192" y="5882"/>
                  </a:lnTo>
                  <a:cubicBezTo>
                    <a:pt x="9288" y="5918"/>
                    <a:pt x="9407" y="5942"/>
                    <a:pt x="9526" y="5942"/>
                  </a:cubicBezTo>
                  <a:lnTo>
                    <a:pt x="9573" y="5942"/>
                  </a:lnTo>
                  <a:cubicBezTo>
                    <a:pt x="9704" y="5942"/>
                    <a:pt x="9823" y="5930"/>
                    <a:pt x="9942" y="5882"/>
                  </a:cubicBezTo>
                  <a:close/>
                  <a:moveTo>
                    <a:pt x="2120" y="5882"/>
                  </a:moveTo>
                  <a:lnTo>
                    <a:pt x="2120" y="6061"/>
                  </a:lnTo>
                  <a:cubicBezTo>
                    <a:pt x="2120" y="6120"/>
                    <a:pt x="2132" y="6180"/>
                    <a:pt x="2168" y="6228"/>
                  </a:cubicBezTo>
                  <a:lnTo>
                    <a:pt x="2013" y="6394"/>
                  </a:lnTo>
                  <a:cubicBezTo>
                    <a:pt x="1941" y="6460"/>
                    <a:pt x="1849" y="6492"/>
                    <a:pt x="1755" y="6492"/>
                  </a:cubicBezTo>
                  <a:cubicBezTo>
                    <a:pt x="1662" y="6492"/>
                    <a:pt x="1566" y="6460"/>
                    <a:pt x="1489" y="6394"/>
                  </a:cubicBezTo>
                  <a:lnTo>
                    <a:pt x="1322" y="6239"/>
                  </a:lnTo>
                  <a:cubicBezTo>
                    <a:pt x="1358" y="6192"/>
                    <a:pt x="1370" y="6132"/>
                    <a:pt x="1370" y="6073"/>
                  </a:cubicBezTo>
                  <a:lnTo>
                    <a:pt x="1370" y="5882"/>
                  </a:lnTo>
                  <a:cubicBezTo>
                    <a:pt x="1489" y="5918"/>
                    <a:pt x="1608" y="5942"/>
                    <a:pt x="1751" y="5942"/>
                  </a:cubicBezTo>
                  <a:cubicBezTo>
                    <a:pt x="1882" y="5942"/>
                    <a:pt x="2001" y="5930"/>
                    <a:pt x="2120" y="5882"/>
                  </a:cubicBezTo>
                  <a:close/>
                  <a:moveTo>
                    <a:pt x="4692" y="5620"/>
                  </a:moveTo>
                  <a:lnTo>
                    <a:pt x="5490" y="6168"/>
                  </a:lnTo>
                  <a:lnTo>
                    <a:pt x="5061" y="6585"/>
                  </a:lnTo>
                  <a:lnTo>
                    <a:pt x="5049" y="6585"/>
                  </a:lnTo>
                  <a:lnTo>
                    <a:pt x="4525" y="5799"/>
                  </a:lnTo>
                  <a:lnTo>
                    <a:pt x="4692" y="5620"/>
                  </a:lnTo>
                  <a:close/>
                  <a:moveTo>
                    <a:pt x="6823" y="5596"/>
                  </a:moveTo>
                  <a:lnTo>
                    <a:pt x="6978" y="5775"/>
                  </a:lnTo>
                  <a:lnTo>
                    <a:pt x="6466" y="6585"/>
                  </a:lnTo>
                  <a:lnTo>
                    <a:pt x="6442" y="6585"/>
                  </a:lnTo>
                  <a:lnTo>
                    <a:pt x="6013" y="6156"/>
                  </a:lnTo>
                  <a:lnTo>
                    <a:pt x="6823" y="5596"/>
                  </a:lnTo>
                  <a:close/>
                  <a:moveTo>
                    <a:pt x="5251" y="1"/>
                  </a:moveTo>
                  <a:cubicBezTo>
                    <a:pt x="4358" y="1"/>
                    <a:pt x="3632" y="739"/>
                    <a:pt x="3632" y="1632"/>
                  </a:cubicBezTo>
                  <a:lnTo>
                    <a:pt x="3632" y="1989"/>
                  </a:lnTo>
                  <a:cubicBezTo>
                    <a:pt x="3632" y="2263"/>
                    <a:pt x="3692" y="2548"/>
                    <a:pt x="3811" y="2799"/>
                  </a:cubicBezTo>
                  <a:lnTo>
                    <a:pt x="3811" y="3191"/>
                  </a:lnTo>
                  <a:cubicBezTo>
                    <a:pt x="3811" y="3834"/>
                    <a:pt x="4096" y="4394"/>
                    <a:pt x="4537" y="4763"/>
                  </a:cubicBezTo>
                  <a:lnTo>
                    <a:pt x="4537" y="5335"/>
                  </a:lnTo>
                  <a:lnTo>
                    <a:pt x="4227" y="5656"/>
                  </a:lnTo>
                  <a:cubicBezTo>
                    <a:pt x="4204" y="5692"/>
                    <a:pt x="4180" y="5751"/>
                    <a:pt x="4180" y="5799"/>
                  </a:cubicBezTo>
                  <a:lnTo>
                    <a:pt x="3144" y="6168"/>
                  </a:lnTo>
                  <a:cubicBezTo>
                    <a:pt x="3073" y="6192"/>
                    <a:pt x="2989" y="6228"/>
                    <a:pt x="2930" y="6275"/>
                  </a:cubicBezTo>
                  <a:lnTo>
                    <a:pt x="2775" y="6180"/>
                  </a:lnTo>
                  <a:cubicBezTo>
                    <a:pt x="3263" y="5977"/>
                    <a:pt x="3406" y="5680"/>
                    <a:pt x="3430" y="5656"/>
                  </a:cubicBezTo>
                  <a:cubicBezTo>
                    <a:pt x="3454" y="5620"/>
                    <a:pt x="3454" y="5561"/>
                    <a:pt x="3430" y="5513"/>
                  </a:cubicBezTo>
                  <a:cubicBezTo>
                    <a:pt x="3311" y="5275"/>
                    <a:pt x="3287" y="4811"/>
                    <a:pt x="3275" y="4453"/>
                  </a:cubicBezTo>
                  <a:cubicBezTo>
                    <a:pt x="3275" y="4334"/>
                    <a:pt x="3263" y="4215"/>
                    <a:pt x="3263" y="4132"/>
                  </a:cubicBezTo>
                  <a:cubicBezTo>
                    <a:pt x="3204" y="3310"/>
                    <a:pt x="2596" y="2691"/>
                    <a:pt x="1822" y="2691"/>
                  </a:cubicBezTo>
                  <a:cubicBezTo>
                    <a:pt x="1060" y="2691"/>
                    <a:pt x="429" y="3310"/>
                    <a:pt x="370" y="4132"/>
                  </a:cubicBezTo>
                  <a:cubicBezTo>
                    <a:pt x="370" y="4227"/>
                    <a:pt x="358" y="4334"/>
                    <a:pt x="358" y="4453"/>
                  </a:cubicBezTo>
                  <a:cubicBezTo>
                    <a:pt x="346" y="4811"/>
                    <a:pt x="334" y="5263"/>
                    <a:pt x="215" y="5513"/>
                  </a:cubicBezTo>
                  <a:cubicBezTo>
                    <a:pt x="179" y="5561"/>
                    <a:pt x="179" y="5620"/>
                    <a:pt x="215" y="5656"/>
                  </a:cubicBezTo>
                  <a:cubicBezTo>
                    <a:pt x="215" y="5680"/>
                    <a:pt x="370" y="5977"/>
                    <a:pt x="870" y="6180"/>
                  </a:cubicBezTo>
                  <a:lnTo>
                    <a:pt x="406" y="6406"/>
                  </a:lnTo>
                  <a:cubicBezTo>
                    <a:pt x="167" y="6525"/>
                    <a:pt x="1" y="6775"/>
                    <a:pt x="1" y="7049"/>
                  </a:cubicBezTo>
                  <a:lnTo>
                    <a:pt x="1" y="8299"/>
                  </a:lnTo>
                  <a:cubicBezTo>
                    <a:pt x="1" y="8383"/>
                    <a:pt x="72" y="8454"/>
                    <a:pt x="167" y="8454"/>
                  </a:cubicBezTo>
                  <a:cubicBezTo>
                    <a:pt x="251" y="8454"/>
                    <a:pt x="334" y="8383"/>
                    <a:pt x="334" y="8299"/>
                  </a:cubicBezTo>
                  <a:lnTo>
                    <a:pt x="334" y="7049"/>
                  </a:lnTo>
                  <a:cubicBezTo>
                    <a:pt x="334" y="6894"/>
                    <a:pt x="406" y="6775"/>
                    <a:pt x="537" y="6704"/>
                  </a:cubicBezTo>
                  <a:lnTo>
                    <a:pt x="1108" y="6418"/>
                  </a:lnTo>
                  <a:lnTo>
                    <a:pt x="1299" y="6609"/>
                  </a:lnTo>
                  <a:cubicBezTo>
                    <a:pt x="1429" y="6751"/>
                    <a:pt x="1608" y="6811"/>
                    <a:pt x="1787" y="6811"/>
                  </a:cubicBezTo>
                  <a:cubicBezTo>
                    <a:pt x="1965" y="6811"/>
                    <a:pt x="2144" y="6751"/>
                    <a:pt x="2275" y="6609"/>
                  </a:cubicBezTo>
                  <a:lnTo>
                    <a:pt x="2477" y="6418"/>
                  </a:lnTo>
                  <a:lnTo>
                    <a:pt x="2656" y="6513"/>
                  </a:lnTo>
                  <a:cubicBezTo>
                    <a:pt x="2561" y="6644"/>
                    <a:pt x="2513" y="6811"/>
                    <a:pt x="2513" y="6990"/>
                  </a:cubicBezTo>
                  <a:lnTo>
                    <a:pt x="2513" y="8299"/>
                  </a:lnTo>
                  <a:cubicBezTo>
                    <a:pt x="2513" y="8383"/>
                    <a:pt x="2596" y="8454"/>
                    <a:pt x="2680" y="8454"/>
                  </a:cubicBezTo>
                  <a:cubicBezTo>
                    <a:pt x="2775" y="8454"/>
                    <a:pt x="2846" y="8383"/>
                    <a:pt x="2846" y="8299"/>
                  </a:cubicBezTo>
                  <a:lnTo>
                    <a:pt x="2846" y="6990"/>
                  </a:lnTo>
                  <a:cubicBezTo>
                    <a:pt x="2846" y="6751"/>
                    <a:pt x="2989" y="6537"/>
                    <a:pt x="3215" y="6466"/>
                  </a:cubicBezTo>
                  <a:lnTo>
                    <a:pt x="4323" y="6061"/>
                  </a:lnTo>
                  <a:lnTo>
                    <a:pt x="4775" y="6751"/>
                  </a:lnTo>
                  <a:cubicBezTo>
                    <a:pt x="4835" y="6835"/>
                    <a:pt x="4930" y="6894"/>
                    <a:pt x="5037" y="6894"/>
                  </a:cubicBezTo>
                  <a:lnTo>
                    <a:pt x="5061" y="6894"/>
                  </a:lnTo>
                  <a:cubicBezTo>
                    <a:pt x="5156" y="6894"/>
                    <a:pt x="5239" y="6870"/>
                    <a:pt x="5311" y="6787"/>
                  </a:cubicBezTo>
                  <a:lnTo>
                    <a:pt x="5597" y="6513"/>
                  </a:lnTo>
                  <a:lnTo>
                    <a:pt x="5597" y="8275"/>
                  </a:lnTo>
                  <a:cubicBezTo>
                    <a:pt x="5597" y="8371"/>
                    <a:pt x="5668" y="8442"/>
                    <a:pt x="5763" y="8442"/>
                  </a:cubicBezTo>
                  <a:cubicBezTo>
                    <a:pt x="5847" y="8442"/>
                    <a:pt x="5930" y="8371"/>
                    <a:pt x="5930" y="8275"/>
                  </a:cubicBezTo>
                  <a:lnTo>
                    <a:pt x="5930" y="6513"/>
                  </a:lnTo>
                  <a:lnTo>
                    <a:pt x="6204" y="6787"/>
                  </a:lnTo>
                  <a:cubicBezTo>
                    <a:pt x="6263" y="6847"/>
                    <a:pt x="6359" y="6894"/>
                    <a:pt x="6466" y="6894"/>
                  </a:cubicBezTo>
                  <a:lnTo>
                    <a:pt x="6490" y="6894"/>
                  </a:lnTo>
                  <a:cubicBezTo>
                    <a:pt x="6597" y="6882"/>
                    <a:pt x="6680" y="6835"/>
                    <a:pt x="6740" y="6751"/>
                  </a:cubicBezTo>
                  <a:lnTo>
                    <a:pt x="7204" y="6061"/>
                  </a:lnTo>
                  <a:lnTo>
                    <a:pt x="8311" y="6466"/>
                  </a:lnTo>
                  <a:cubicBezTo>
                    <a:pt x="8526" y="6537"/>
                    <a:pt x="8680" y="6751"/>
                    <a:pt x="8680" y="6990"/>
                  </a:cubicBezTo>
                  <a:lnTo>
                    <a:pt x="8680" y="8299"/>
                  </a:lnTo>
                  <a:cubicBezTo>
                    <a:pt x="8680" y="8383"/>
                    <a:pt x="8752" y="8454"/>
                    <a:pt x="8847" y="8454"/>
                  </a:cubicBezTo>
                  <a:cubicBezTo>
                    <a:pt x="8930" y="8454"/>
                    <a:pt x="9002" y="8383"/>
                    <a:pt x="9002" y="8299"/>
                  </a:cubicBezTo>
                  <a:lnTo>
                    <a:pt x="9002" y="6990"/>
                  </a:lnTo>
                  <a:cubicBezTo>
                    <a:pt x="9002" y="6751"/>
                    <a:pt x="8919" y="6525"/>
                    <a:pt x="8752" y="6358"/>
                  </a:cubicBezTo>
                  <a:lnTo>
                    <a:pt x="8799" y="6347"/>
                  </a:lnTo>
                  <a:cubicBezTo>
                    <a:pt x="8847" y="6335"/>
                    <a:pt x="8907" y="6311"/>
                    <a:pt x="8966" y="6287"/>
                  </a:cubicBezTo>
                  <a:lnTo>
                    <a:pt x="9395" y="6716"/>
                  </a:lnTo>
                  <a:lnTo>
                    <a:pt x="9395" y="8275"/>
                  </a:lnTo>
                  <a:cubicBezTo>
                    <a:pt x="9395" y="8371"/>
                    <a:pt x="9466" y="8442"/>
                    <a:pt x="9561" y="8442"/>
                  </a:cubicBezTo>
                  <a:cubicBezTo>
                    <a:pt x="9645" y="8442"/>
                    <a:pt x="9728" y="8371"/>
                    <a:pt x="9728" y="8275"/>
                  </a:cubicBezTo>
                  <a:lnTo>
                    <a:pt x="9728" y="6716"/>
                  </a:lnTo>
                  <a:lnTo>
                    <a:pt x="10157" y="6287"/>
                  </a:lnTo>
                  <a:cubicBezTo>
                    <a:pt x="10181" y="6299"/>
                    <a:pt x="10204" y="6299"/>
                    <a:pt x="10228" y="6311"/>
                  </a:cubicBezTo>
                  <a:lnTo>
                    <a:pt x="10931" y="6513"/>
                  </a:lnTo>
                  <a:cubicBezTo>
                    <a:pt x="11097" y="6549"/>
                    <a:pt x="11193" y="6704"/>
                    <a:pt x="11193" y="6870"/>
                  </a:cubicBezTo>
                  <a:lnTo>
                    <a:pt x="11193" y="8263"/>
                  </a:lnTo>
                  <a:cubicBezTo>
                    <a:pt x="11193" y="8359"/>
                    <a:pt x="11276" y="8430"/>
                    <a:pt x="11359" y="8430"/>
                  </a:cubicBezTo>
                  <a:cubicBezTo>
                    <a:pt x="11455" y="8430"/>
                    <a:pt x="11526" y="8359"/>
                    <a:pt x="11526" y="8263"/>
                  </a:cubicBezTo>
                  <a:lnTo>
                    <a:pt x="11526" y="6870"/>
                  </a:lnTo>
                  <a:cubicBezTo>
                    <a:pt x="11538" y="6597"/>
                    <a:pt x="11335" y="6311"/>
                    <a:pt x="11014" y="6228"/>
                  </a:cubicBezTo>
                  <a:lnTo>
                    <a:pt x="10323" y="6037"/>
                  </a:lnTo>
                  <a:cubicBezTo>
                    <a:pt x="10288" y="6013"/>
                    <a:pt x="10276" y="6001"/>
                    <a:pt x="10276" y="5954"/>
                  </a:cubicBezTo>
                  <a:lnTo>
                    <a:pt x="10276" y="5716"/>
                  </a:lnTo>
                  <a:cubicBezTo>
                    <a:pt x="10335" y="5680"/>
                    <a:pt x="10383" y="5632"/>
                    <a:pt x="10443" y="5585"/>
                  </a:cubicBezTo>
                  <a:cubicBezTo>
                    <a:pt x="10693" y="5346"/>
                    <a:pt x="10824" y="5025"/>
                    <a:pt x="10824" y="4680"/>
                  </a:cubicBezTo>
                  <a:lnTo>
                    <a:pt x="10824" y="4346"/>
                  </a:lnTo>
                  <a:lnTo>
                    <a:pt x="10895" y="4215"/>
                  </a:lnTo>
                  <a:cubicBezTo>
                    <a:pt x="10978" y="4072"/>
                    <a:pt x="11014" y="3906"/>
                    <a:pt x="11014" y="3739"/>
                  </a:cubicBezTo>
                  <a:lnTo>
                    <a:pt x="11014" y="2858"/>
                  </a:lnTo>
                  <a:cubicBezTo>
                    <a:pt x="11014" y="2775"/>
                    <a:pt x="10943" y="2691"/>
                    <a:pt x="10859" y="2691"/>
                  </a:cubicBezTo>
                  <a:lnTo>
                    <a:pt x="9216" y="2691"/>
                  </a:lnTo>
                  <a:cubicBezTo>
                    <a:pt x="8621" y="2691"/>
                    <a:pt x="8145" y="3180"/>
                    <a:pt x="8145" y="3775"/>
                  </a:cubicBezTo>
                  <a:lnTo>
                    <a:pt x="8145" y="3787"/>
                  </a:lnTo>
                  <a:cubicBezTo>
                    <a:pt x="8145" y="3918"/>
                    <a:pt x="8180" y="4072"/>
                    <a:pt x="8240" y="4192"/>
                  </a:cubicBezTo>
                  <a:lnTo>
                    <a:pt x="8323" y="4370"/>
                  </a:lnTo>
                  <a:lnTo>
                    <a:pt x="8323" y="4644"/>
                  </a:lnTo>
                  <a:cubicBezTo>
                    <a:pt x="8323" y="5096"/>
                    <a:pt x="8549" y="5477"/>
                    <a:pt x="8871" y="5716"/>
                  </a:cubicBezTo>
                  <a:lnTo>
                    <a:pt x="8871" y="5954"/>
                  </a:lnTo>
                  <a:cubicBezTo>
                    <a:pt x="8871" y="6001"/>
                    <a:pt x="8871" y="6013"/>
                    <a:pt x="8740" y="6049"/>
                  </a:cubicBezTo>
                  <a:lnTo>
                    <a:pt x="8395" y="6156"/>
                  </a:lnTo>
                  <a:lnTo>
                    <a:pt x="7418" y="5799"/>
                  </a:lnTo>
                  <a:cubicBezTo>
                    <a:pt x="7418" y="5751"/>
                    <a:pt x="7406" y="5704"/>
                    <a:pt x="7371" y="5656"/>
                  </a:cubicBezTo>
                  <a:lnTo>
                    <a:pt x="7061" y="5335"/>
                  </a:lnTo>
                  <a:lnTo>
                    <a:pt x="7061" y="4787"/>
                  </a:lnTo>
                  <a:cubicBezTo>
                    <a:pt x="7085" y="4751"/>
                    <a:pt x="7121" y="4727"/>
                    <a:pt x="7168" y="4692"/>
                  </a:cubicBezTo>
                  <a:cubicBezTo>
                    <a:pt x="7561" y="4323"/>
                    <a:pt x="7787" y="3787"/>
                    <a:pt x="7787" y="3251"/>
                  </a:cubicBezTo>
                  <a:lnTo>
                    <a:pt x="7787" y="2799"/>
                  </a:lnTo>
                  <a:cubicBezTo>
                    <a:pt x="7906" y="2537"/>
                    <a:pt x="7966" y="2263"/>
                    <a:pt x="7966" y="1989"/>
                  </a:cubicBezTo>
                  <a:lnTo>
                    <a:pt x="7966" y="167"/>
                  </a:lnTo>
                  <a:cubicBezTo>
                    <a:pt x="7966" y="84"/>
                    <a:pt x="7895" y="1"/>
                    <a:pt x="7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7" name="Google Shape;13187;p64"/>
            <p:cNvSpPr/>
            <p:nvPr/>
          </p:nvSpPr>
          <p:spPr>
            <a:xfrm>
              <a:off x="1639960" y="3622549"/>
              <a:ext cx="10631" cy="45135"/>
            </a:xfrm>
            <a:custGeom>
              <a:avLst/>
              <a:gdLst/>
              <a:ahLst/>
              <a:cxnLst/>
              <a:rect l="l" t="t" r="r" b="b"/>
              <a:pathLst>
                <a:path w="334" h="1418" extrusionOk="0">
                  <a:moveTo>
                    <a:pt x="167" y="1"/>
                  </a:moveTo>
                  <a:cubicBezTo>
                    <a:pt x="84" y="1"/>
                    <a:pt x="0" y="72"/>
                    <a:pt x="0" y="168"/>
                  </a:cubicBezTo>
                  <a:lnTo>
                    <a:pt x="0" y="1251"/>
                  </a:lnTo>
                  <a:cubicBezTo>
                    <a:pt x="0" y="1334"/>
                    <a:pt x="84" y="1418"/>
                    <a:pt x="167" y="1418"/>
                  </a:cubicBezTo>
                  <a:cubicBezTo>
                    <a:pt x="262" y="1418"/>
                    <a:pt x="334" y="1334"/>
                    <a:pt x="334" y="1251"/>
                  </a:cubicBezTo>
                  <a:lnTo>
                    <a:pt x="334" y="168"/>
                  </a:lnTo>
                  <a:cubicBezTo>
                    <a:pt x="334"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8" name="Google Shape;13188;p64"/>
            <p:cNvSpPr/>
            <p:nvPr/>
          </p:nvSpPr>
          <p:spPr>
            <a:xfrm>
              <a:off x="1444014" y="3446466"/>
              <a:ext cx="91734" cy="30589"/>
            </a:xfrm>
            <a:custGeom>
              <a:avLst/>
              <a:gdLst/>
              <a:ahLst/>
              <a:cxnLst/>
              <a:rect l="l" t="t" r="r" b="b"/>
              <a:pathLst>
                <a:path w="2882" h="961" extrusionOk="0">
                  <a:moveTo>
                    <a:pt x="1169" y="1"/>
                  </a:moveTo>
                  <a:cubicBezTo>
                    <a:pt x="820" y="1"/>
                    <a:pt x="503" y="37"/>
                    <a:pt x="298" y="68"/>
                  </a:cubicBezTo>
                  <a:cubicBezTo>
                    <a:pt x="120" y="104"/>
                    <a:pt x="1" y="247"/>
                    <a:pt x="1" y="413"/>
                  </a:cubicBezTo>
                  <a:lnTo>
                    <a:pt x="1" y="794"/>
                  </a:lnTo>
                  <a:cubicBezTo>
                    <a:pt x="1" y="890"/>
                    <a:pt x="72" y="961"/>
                    <a:pt x="167" y="961"/>
                  </a:cubicBezTo>
                  <a:cubicBezTo>
                    <a:pt x="251" y="961"/>
                    <a:pt x="322" y="890"/>
                    <a:pt x="322" y="794"/>
                  </a:cubicBezTo>
                  <a:lnTo>
                    <a:pt x="322" y="413"/>
                  </a:lnTo>
                  <a:cubicBezTo>
                    <a:pt x="322" y="413"/>
                    <a:pt x="322" y="401"/>
                    <a:pt x="346" y="401"/>
                  </a:cubicBezTo>
                  <a:cubicBezTo>
                    <a:pt x="514" y="373"/>
                    <a:pt x="820" y="331"/>
                    <a:pt x="1157" y="331"/>
                  </a:cubicBezTo>
                  <a:cubicBezTo>
                    <a:pt x="1250" y="331"/>
                    <a:pt x="1346" y="334"/>
                    <a:pt x="1441" y="342"/>
                  </a:cubicBezTo>
                  <a:cubicBezTo>
                    <a:pt x="1977" y="366"/>
                    <a:pt x="2346" y="497"/>
                    <a:pt x="2584" y="735"/>
                  </a:cubicBezTo>
                  <a:cubicBezTo>
                    <a:pt x="2614" y="765"/>
                    <a:pt x="2659" y="779"/>
                    <a:pt x="2703" y="779"/>
                  </a:cubicBezTo>
                  <a:cubicBezTo>
                    <a:pt x="2748" y="779"/>
                    <a:pt x="2793" y="765"/>
                    <a:pt x="2822" y="735"/>
                  </a:cubicBezTo>
                  <a:cubicBezTo>
                    <a:pt x="2882" y="675"/>
                    <a:pt x="2882" y="556"/>
                    <a:pt x="2822" y="497"/>
                  </a:cubicBezTo>
                  <a:cubicBezTo>
                    <a:pt x="2428" y="102"/>
                    <a:pt x="1753"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9" name="Google Shape;13189;p64"/>
            <p:cNvSpPr/>
            <p:nvPr/>
          </p:nvSpPr>
          <p:spPr>
            <a:xfrm>
              <a:off x="1420524" y="3633944"/>
              <a:ext cx="11013" cy="33740"/>
            </a:xfrm>
            <a:custGeom>
              <a:avLst/>
              <a:gdLst/>
              <a:ahLst/>
              <a:cxnLst/>
              <a:rect l="l" t="t" r="r" b="b"/>
              <a:pathLst>
                <a:path w="346" h="1060" extrusionOk="0">
                  <a:moveTo>
                    <a:pt x="167" y="0"/>
                  </a:moveTo>
                  <a:cubicBezTo>
                    <a:pt x="84" y="0"/>
                    <a:pt x="1" y="72"/>
                    <a:pt x="1" y="167"/>
                  </a:cubicBezTo>
                  <a:lnTo>
                    <a:pt x="1" y="893"/>
                  </a:lnTo>
                  <a:cubicBezTo>
                    <a:pt x="1" y="976"/>
                    <a:pt x="84" y="1060"/>
                    <a:pt x="167" y="1060"/>
                  </a:cubicBezTo>
                  <a:cubicBezTo>
                    <a:pt x="262" y="1060"/>
                    <a:pt x="334" y="976"/>
                    <a:pt x="334" y="893"/>
                  </a:cubicBezTo>
                  <a:lnTo>
                    <a:pt x="334" y="167"/>
                  </a:lnTo>
                  <a:cubicBezTo>
                    <a:pt x="346"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0" name="Google Shape;13190;p64"/>
            <p:cNvSpPr/>
            <p:nvPr/>
          </p:nvSpPr>
          <p:spPr>
            <a:xfrm>
              <a:off x="1547494" y="3633944"/>
              <a:ext cx="11013" cy="33740"/>
            </a:xfrm>
            <a:custGeom>
              <a:avLst/>
              <a:gdLst/>
              <a:ahLst/>
              <a:cxnLst/>
              <a:rect l="l" t="t" r="r" b="b"/>
              <a:pathLst>
                <a:path w="346" h="1060" extrusionOk="0">
                  <a:moveTo>
                    <a:pt x="167" y="0"/>
                  </a:moveTo>
                  <a:cubicBezTo>
                    <a:pt x="83" y="0"/>
                    <a:pt x="0" y="72"/>
                    <a:pt x="0" y="167"/>
                  </a:cubicBezTo>
                  <a:lnTo>
                    <a:pt x="0" y="893"/>
                  </a:lnTo>
                  <a:cubicBezTo>
                    <a:pt x="0" y="976"/>
                    <a:pt x="83" y="1060"/>
                    <a:pt x="167" y="1060"/>
                  </a:cubicBezTo>
                  <a:cubicBezTo>
                    <a:pt x="262" y="1060"/>
                    <a:pt x="333" y="976"/>
                    <a:pt x="333" y="893"/>
                  </a:cubicBezTo>
                  <a:lnTo>
                    <a:pt x="333" y="167"/>
                  </a:lnTo>
                  <a:cubicBezTo>
                    <a:pt x="345" y="72"/>
                    <a:pt x="274"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1" name="Google Shape;13191;p64"/>
          <p:cNvGrpSpPr/>
          <p:nvPr/>
        </p:nvGrpSpPr>
        <p:grpSpPr>
          <a:xfrm>
            <a:off x="1781317" y="3391400"/>
            <a:ext cx="367255" cy="282364"/>
            <a:chOff x="1781317" y="3391400"/>
            <a:chExt cx="367255" cy="282364"/>
          </a:xfrm>
        </p:grpSpPr>
        <p:sp>
          <p:nvSpPr>
            <p:cNvPr id="13192" name="Google Shape;13192;p64"/>
            <p:cNvSpPr/>
            <p:nvPr/>
          </p:nvSpPr>
          <p:spPr>
            <a:xfrm>
              <a:off x="1901061" y="3639610"/>
              <a:ext cx="11013" cy="33772"/>
            </a:xfrm>
            <a:custGeom>
              <a:avLst/>
              <a:gdLst/>
              <a:ahLst/>
              <a:cxnLst/>
              <a:rect l="l" t="t" r="r" b="b"/>
              <a:pathLst>
                <a:path w="346" h="1061" extrusionOk="0">
                  <a:moveTo>
                    <a:pt x="167" y="1"/>
                  </a:moveTo>
                  <a:cubicBezTo>
                    <a:pt x="72" y="1"/>
                    <a:pt x="1" y="72"/>
                    <a:pt x="1" y="167"/>
                  </a:cubicBezTo>
                  <a:lnTo>
                    <a:pt x="1" y="894"/>
                  </a:lnTo>
                  <a:cubicBezTo>
                    <a:pt x="1" y="977"/>
                    <a:pt x="72" y="1060"/>
                    <a:pt x="167" y="1060"/>
                  </a:cubicBezTo>
                  <a:cubicBezTo>
                    <a:pt x="251" y="1060"/>
                    <a:pt x="334" y="977"/>
                    <a:pt x="334" y="894"/>
                  </a:cubicBezTo>
                  <a:lnTo>
                    <a:pt x="334" y="167"/>
                  </a:lnTo>
                  <a:cubicBezTo>
                    <a:pt x="346" y="72"/>
                    <a:pt x="274"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3" name="Google Shape;13193;p64"/>
            <p:cNvSpPr/>
            <p:nvPr/>
          </p:nvSpPr>
          <p:spPr>
            <a:xfrm>
              <a:off x="2016668" y="3639610"/>
              <a:ext cx="10631" cy="33772"/>
            </a:xfrm>
            <a:custGeom>
              <a:avLst/>
              <a:gdLst/>
              <a:ahLst/>
              <a:cxnLst/>
              <a:rect l="l" t="t" r="r" b="b"/>
              <a:pathLst>
                <a:path w="334" h="1061" extrusionOk="0">
                  <a:moveTo>
                    <a:pt x="167" y="1"/>
                  </a:moveTo>
                  <a:cubicBezTo>
                    <a:pt x="71" y="1"/>
                    <a:pt x="0" y="72"/>
                    <a:pt x="0" y="167"/>
                  </a:cubicBezTo>
                  <a:lnTo>
                    <a:pt x="0" y="894"/>
                  </a:lnTo>
                  <a:cubicBezTo>
                    <a:pt x="0" y="977"/>
                    <a:pt x="71" y="1060"/>
                    <a:pt x="167" y="1060"/>
                  </a:cubicBezTo>
                  <a:cubicBezTo>
                    <a:pt x="250" y="1060"/>
                    <a:pt x="333" y="977"/>
                    <a:pt x="333" y="894"/>
                  </a:cubicBezTo>
                  <a:lnTo>
                    <a:pt x="333" y="167"/>
                  </a:lnTo>
                  <a:cubicBezTo>
                    <a:pt x="333"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4" name="Google Shape;13194;p64"/>
            <p:cNvSpPr/>
            <p:nvPr/>
          </p:nvSpPr>
          <p:spPr>
            <a:xfrm>
              <a:off x="1820340" y="3518720"/>
              <a:ext cx="46281" cy="16329"/>
            </a:xfrm>
            <a:custGeom>
              <a:avLst/>
              <a:gdLst/>
              <a:ahLst/>
              <a:cxnLst/>
              <a:rect l="l" t="t" r="r" b="b"/>
              <a:pathLst>
                <a:path w="1454" h="513" extrusionOk="0">
                  <a:moveTo>
                    <a:pt x="167" y="1"/>
                  </a:moveTo>
                  <a:cubicBezTo>
                    <a:pt x="84" y="1"/>
                    <a:pt x="1" y="72"/>
                    <a:pt x="1" y="167"/>
                  </a:cubicBezTo>
                  <a:cubicBezTo>
                    <a:pt x="1" y="251"/>
                    <a:pt x="84" y="334"/>
                    <a:pt x="167" y="334"/>
                  </a:cubicBezTo>
                  <a:cubicBezTo>
                    <a:pt x="370" y="334"/>
                    <a:pt x="917" y="358"/>
                    <a:pt x="1179" y="489"/>
                  </a:cubicBezTo>
                  <a:cubicBezTo>
                    <a:pt x="1215" y="513"/>
                    <a:pt x="1227" y="513"/>
                    <a:pt x="1263" y="513"/>
                  </a:cubicBezTo>
                  <a:cubicBezTo>
                    <a:pt x="1310" y="513"/>
                    <a:pt x="1382" y="477"/>
                    <a:pt x="1406" y="417"/>
                  </a:cubicBezTo>
                  <a:cubicBezTo>
                    <a:pt x="1453" y="346"/>
                    <a:pt x="1417" y="239"/>
                    <a:pt x="1334" y="191"/>
                  </a:cubicBezTo>
                  <a:cubicBezTo>
                    <a:pt x="941"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5" name="Google Shape;13195;p64"/>
            <p:cNvSpPr/>
            <p:nvPr/>
          </p:nvSpPr>
          <p:spPr>
            <a:xfrm>
              <a:off x="1802898" y="3628247"/>
              <a:ext cx="11045" cy="45135"/>
            </a:xfrm>
            <a:custGeom>
              <a:avLst/>
              <a:gdLst/>
              <a:ahLst/>
              <a:cxnLst/>
              <a:rect l="l" t="t" r="r" b="b"/>
              <a:pathLst>
                <a:path w="347" h="1418" extrusionOk="0">
                  <a:moveTo>
                    <a:pt x="168" y="1"/>
                  </a:moveTo>
                  <a:cubicBezTo>
                    <a:pt x="72" y="1"/>
                    <a:pt x="1" y="72"/>
                    <a:pt x="1" y="167"/>
                  </a:cubicBezTo>
                  <a:lnTo>
                    <a:pt x="1" y="1251"/>
                  </a:lnTo>
                  <a:cubicBezTo>
                    <a:pt x="1" y="1334"/>
                    <a:pt x="72" y="1417"/>
                    <a:pt x="168" y="1417"/>
                  </a:cubicBezTo>
                  <a:cubicBezTo>
                    <a:pt x="263" y="1417"/>
                    <a:pt x="334" y="1334"/>
                    <a:pt x="334" y="1251"/>
                  </a:cubicBezTo>
                  <a:lnTo>
                    <a:pt x="334" y="167"/>
                  </a:lnTo>
                  <a:cubicBezTo>
                    <a:pt x="346" y="72"/>
                    <a:pt x="275"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6" name="Google Shape;13196;p64"/>
            <p:cNvSpPr/>
            <p:nvPr/>
          </p:nvSpPr>
          <p:spPr>
            <a:xfrm>
              <a:off x="1781317" y="3391400"/>
              <a:ext cx="367255" cy="282364"/>
            </a:xfrm>
            <a:custGeom>
              <a:avLst/>
              <a:gdLst/>
              <a:ahLst/>
              <a:cxnLst/>
              <a:rect l="l" t="t" r="r" b="b"/>
              <a:pathLst>
                <a:path w="11538" h="8871" extrusionOk="0">
                  <a:moveTo>
                    <a:pt x="9728" y="2703"/>
                  </a:moveTo>
                  <a:cubicBezTo>
                    <a:pt x="10049" y="2703"/>
                    <a:pt x="10287" y="2917"/>
                    <a:pt x="10287" y="3167"/>
                  </a:cubicBezTo>
                  <a:lnTo>
                    <a:pt x="10287" y="3203"/>
                  </a:lnTo>
                  <a:cubicBezTo>
                    <a:pt x="10121" y="3120"/>
                    <a:pt x="9930" y="3096"/>
                    <a:pt x="9728" y="3096"/>
                  </a:cubicBezTo>
                  <a:cubicBezTo>
                    <a:pt x="9537" y="3096"/>
                    <a:pt x="9347" y="3143"/>
                    <a:pt x="9180" y="3203"/>
                  </a:cubicBezTo>
                  <a:lnTo>
                    <a:pt x="9180" y="3167"/>
                  </a:lnTo>
                  <a:cubicBezTo>
                    <a:pt x="9180" y="2917"/>
                    <a:pt x="9430" y="2703"/>
                    <a:pt x="9728" y="2703"/>
                  </a:cubicBezTo>
                  <a:close/>
                  <a:moveTo>
                    <a:pt x="9728" y="3405"/>
                  </a:moveTo>
                  <a:cubicBezTo>
                    <a:pt x="10347" y="3405"/>
                    <a:pt x="10835" y="3893"/>
                    <a:pt x="10835" y="4513"/>
                  </a:cubicBezTo>
                  <a:cubicBezTo>
                    <a:pt x="10835" y="4632"/>
                    <a:pt x="10811" y="4751"/>
                    <a:pt x="10775" y="4846"/>
                  </a:cubicBezTo>
                  <a:cubicBezTo>
                    <a:pt x="10299" y="4358"/>
                    <a:pt x="9454" y="4167"/>
                    <a:pt x="9406" y="4167"/>
                  </a:cubicBezTo>
                  <a:cubicBezTo>
                    <a:pt x="9392" y="4160"/>
                    <a:pt x="9377" y="4157"/>
                    <a:pt x="9362" y="4157"/>
                  </a:cubicBezTo>
                  <a:cubicBezTo>
                    <a:pt x="9325" y="4157"/>
                    <a:pt x="9285" y="4174"/>
                    <a:pt x="9251" y="4191"/>
                  </a:cubicBezTo>
                  <a:cubicBezTo>
                    <a:pt x="9216" y="4227"/>
                    <a:pt x="9192" y="4274"/>
                    <a:pt x="9192" y="4334"/>
                  </a:cubicBezTo>
                  <a:cubicBezTo>
                    <a:pt x="9192" y="4334"/>
                    <a:pt x="9180" y="4441"/>
                    <a:pt x="9061" y="4572"/>
                  </a:cubicBezTo>
                  <a:cubicBezTo>
                    <a:pt x="9001" y="4632"/>
                    <a:pt x="9001" y="4751"/>
                    <a:pt x="9061" y="4810"/>
                  </a:cubicBezTo>
                  <a:cubicBezTo>
                    <a:pt x="9091" y="4840"/>
                    <a:pt x="9135" y="4855"/>
                    <a:pt x="9180" y="4855"/>
                  </a:cubicBezTo>
                  <a:cubicBezTo>
                    <a:pt x="9225" y="4855"/>
                    <a:pt x="9269" y="4840"/>
                    <a:pt x="9299" y="4810"/>
                  </a:cubicBezTo>
                  <a:cubicBezTo>
                    <a:pt x="9394" y="4715"/>
                    <a:pt x="9454" y="4608"/>
                    <a:pt x="9478" y="4536"/>
                  </a:cubicBezTo>
                  <a:cubicBezTo>
                    <a:pt x="9763" y="4632"/>
                    <a:pt x="10359" y="4834"/>
                    <a:pt x="10621" y="5203"/>
                  </a:cubicBezTo>
                  <a:cubicBezTo>
                    <a:pt x="10561" y="5668"/>
                    <a:pt x="10192" y="5977"/>
                    <a:pt x="9728" y="5977"/>
                  </a:cubicBezTo>
                  <a:cubicBezTo>
                    <a:pt x="9251" y="5977"/>
                    <a:pt x="8870" y="5620"/>
                    <a:pt x="8823" y="5167"/>
                  </a:cubicBezTo>
                  <a:cubicBezTo>
                    <a:pt x="8823" y="5132"/>
                    <a:pt x="8811" y="5120"/>
                    <a:pt x="8799" y="5084"/>
                  </a:cubicBezTo>
                  <a:cubicBezTo>
                    <a:pt x="8692" y="4906"/>
                    <a:pt x="8632" y="4715"/>
                    <a:pt x="8632" y="4513"/>
                  </a:cubicBezTo>
                  <a:cubicBezTo>
                    <a:pt x="8632" y="3893"/>
                    <a:pt x="9120" y="3405"/>
                    <a:pt x="9728" y="3405"/>
                  </a:cubicBezTo>
                  <a:close/>
                  <a:moveTo>
                    <a:pt x="3048" y="3405"/>
                  </a:moveTo>
                  <a:lnTo>
                    <a:pt x="3048" y="4108"/>
                  </a:lnTo>
                  <a:cubicBezTo>
                    <a:pt x="3048" y="4227"/>
                    <a:pt x="3024" y="4334"/>
                    <a:pt x="2977" y="4429"/>
                  </a:cubicBezTo>
                  <a:lnTo>
                    <a:pt x="2882" y="4608"/>
                  </a:lnTo>
                  <a:cubicBezTo>
                    <a:pt x="2870" y="4644"/>
                    <a:pt x="2870" y="4655"/>
                    <a:pt x="2870" y="4691"/>
                  </a:cubicBezTo>
                  <a:lnTo>
                    <a:pt x="2870" y="5048"/>
                  </a:lnTo>
                  <a:cubicBezTo>
                    <a:pt x="2870" y="5298"/>
                    <a:pt x="2763" y="5537"/>
                    <a:pt x="2584" y="5703"/>
                  </a:cubicBezTo>
                  <a:cubicBezTo>
                    <a:pt x="2413" y="5885"/>
                    <a:pt x="2203" y="5981"/>
                    <a:pt x="1989" y="5981"/>
                  </a:cubicBezTo>
                  <a:cubicBezTo>
                    <a:pt x="1965" y="5981"/>
                    <a:pt x="1941" y="5979"/>
                    <a:pt x="1917" y="5977"/>
                  </a:cubicBezTo>
                  <a:cubicBezTo>
                    <a:pt x="1429" y="5965"/>
                    <a:pt x="1024" y="5537"/>
                    <a:pt x="1024" y="5013"/>
                  </a:cubicBezTo>
                  <a:lnTo>
                    <a:pt x="1024" y="4703"/>
                  </a:lnTo>
                  <a:cubicBezTo>
                    <a:pt x="1024" y="4667"/>
                    <a:pt x="1024" y="4644"/>
                    <a:pt x="1012" y="4632"/>
                  </a:cubicBezTo>
                  <a:lnTo>
                    <a:pt x="905" y="4417"/>
                  </a:lnTo>
                  <a:cubicBezTo>
                    <a:pt x="858" y="4346"/>
                    <a:pt x="846" y="4251"/>
                    <a:pt x="846" y="4167"/>
                  </a:cubicBezTo>
                  <a:lnTo>
                    <a:pt x="846" y="4144"/>
                  </a:lnTo>
                  <a:cubicBezTo>
                    <a:pt x="846" y="3751"/>
                    <a:pt x="1179" y="3405"/>
                    <a:pt x="1596" y="3405"/>
                  </a:cubicBezTo>
                  <a:close/>
                  <a:moveTo>
                    <a:pt x="5763" y="322"/>
                  </a:moveTo>
                  <a:cubicBezTo>
                    <a:pt x="6358" y="322"/>
                    <a:pt x="6870" y="536"/>
                    <a:pt x="7263" y="905"/>
                  </a:cubicBezTo>
                  <a:cubicBezTo>
                    <a:pt x="7668" y="1298"/>
                    <a:pt x="7882" y="1858"/>
                    <a:pt x="7942" y="2524"/>
                  </a:cubicBezTo>
                  <a:cubicBezTo>
                    <a:pt x="8085" y="4346"/>
                    <a:pt x="8227" y="5346"/>
                    <a:pt x="8287" y="5703"/>
                  </a:cubicBezTo>
                  <a:lnTo>
                    <a:pt x="8287" y="5715"/>
                  </a:lnTo>
                  <a:cubicBezTo>
                    <a:pt x="8108" y="5834"/>
                    <a:pt x="7763" y="6025"/>
                    <a:pt x="7215" y="6179"/>
                  </a:cubicBezTo>
                  <a:lnTo>
                    <a:pt x="6930" y="6060"/>
                  </a:lnTo>
                  <a:cubicBezTo>
                    <a:pt x="6858" y="6025"/>
                    <a:pt x="6811" y="5953"/>
                    <a:pt x="6811" y="5882"/>
                  </a:cubicBezTo>
                  <a:lnTo>
                    <a:pt x="6811" y="5298"/>
                  </a:lnTo>
                  <a:cubicBezTo>
                    <a:pt x="7370" y="4941"/>
                    <a:pt x="7727" y="4334"/>
                    <a:pt x="7727" y="3632"/>
                  </a:cubicBezTo>
                  <a:lnTo>
                    <a:pt x="7727" y="3322"/>
                  </a:lnTo>
                  <a:cubicBezTo>
                    <a:pt x="7727" y="3108"/>
                    <a:pt x="7632" y="2917"/>
                    <a:pt x="7489" y="2786"/>
                  </a:cubicBezTo>
                  <a:cubicBezTo>
                    <a:pt x="7144" y="2489"/>
                    <a:pt x="6370" y="1965"/>
                    <a:pt x="5025" y="1834"/>
                  </a:cubicBezTo>
                  <a:cubicBezTo>
                    <a:pt x="5015" y="1831"/>
                    <a:pt x="5005" y="1830"/>
                    <a:pt x="4995" y="1830"/>
                  </a:cubicBezTo>
                  <a:cubicBezTo>
                    <a:pt x="4920" y="1830"/>
                    <a:pt x="4846" y="1903"/>
                    <a:pt x="4846" y="1977"/>
                  </a:cubicBezTo>
                  <a:cubicBezTo>
                    <a:pt x="4834" y="2072"/>
                    <a:pt x="4906" y="2155"/>
                    <a:pt x="5001" y="2155"/>
                  </a:cubicBezTo>
                  <a:cubicBezTo>
                    <a:pt x="6251" y="2274"/>
                    <a:pt x="6954" y="2750"/>
                    <a:pt x="7263" y="3024"/>
                  </a:cubicBezTo>
                  <a:cubicBezTo>
                    <a:pt x="7335" y="3096"/>
                    <a:pt x="7382" y="3179"/>
                    <a:pt x="7382" y="3298"/>
                  </a:cubicBezTo>
                  <a:lnTo>
                    <a:pt x="7382" y="3620"/>
                  </a:lnTo>
                  <a:cubicBezTo>
                    <a:pt x="7382" y="4525"/>
                    <a:pt x="6632" y="5251"/>
                    <a:pt x="5739" y="5251"/>
                  </a:cubicBezTo>
                  <a:cubicBezTo>
                    <a:pt x="4846" y="5251"/>
                    <a:pt x="4108" y="4513"/>
                    <a:pt x="4108" y="3620"/>
                  </a:cubicBezTo>
                  <a:lnTo>
                    <a:pt x="4108" y="3465"/>
                  </a:lnTo>
                  <a:cubicBezTo>
                    <a:pt x="4108" y="3405"/>
                    <a:pt x="4132" y="3346"/>
                    <a:pt x="4191" y="3298"/>
                  </a:cubicBezTo>
                  <a:cubicBezTo>
                    <a:pt x="4406" y="3179"/>
                    <a:pt x="4691" y="2965"/>
                    <a:pt x="4822" y="2572"/>
                  </a:cubicBezTo>
                  <a:cubicBezTo>
                    <a:pt x="4846" y="2489"/>
                    <a:pt x="4810" y="2393"/>
                    <a:pt x="4715" y="2369"/>
                  </a:cubicBezTo>
                  <a:cubicBezTo>
                    <a:pt x="4696" y="2361"/>
                    <a:pt x="4676" y="2357"/>
                    <a:pt x="4657" y="2357"/>
                  </a:cubicBezTo>
                  <a:cubicBezTo>
                    <a:pt x="4592" y="2357"/>
                    <a:pt x="4531" y="2401"/>
                    <a:pt x="4513" y="2465"/>
                  </a:cubicBezTo>
                  <a:cubicBezTo>
                    <a:pt x="4417" y="2750"/>
                    <a:pt x="4191" y="2917"/>
                    <a:pt x="4048" y="3024"/>
                  </a:cubicBezTo>
                  <a:cubicBezTo>
                    <a:pt x="3882" y="3108"/>
                    <a:pt x="3775" y="3286"/>
                    <a:pt x="3775" y="3465"/>
                  </a:cubicBezTo>
                  <a:lnTo>
                    <a:pt x="3775" y="3620"/>
                  </a:lnTo>
                  <a:cubicBezTo>
                    <a:pt x="3775" y="4310"/>
                    <a:pt x="4132" y="4929"/>
                    <a:pt x="4691" y="5287"/>
                  </a:cubicBezTo>
                  <a:lnTo>
                    <a:pt x="4691" y="5858"/>
                  </a:lnTo>
                  <a:cubicBezTo>
                    <a:pt x="4691" y="5941"/>
                    <a:pt x="4644" y="6013"/>
                    <a:pt x="4572" y="6037"/>
                  </a:cubicBezTo>
                  <a:lnTo>
                    <a:pt x="4287" y="6156"/>
                  </a:lnTo>
                  <a:cubicBezTo>
                    <a:pt x="3739" y="6013"/>
                    <a:pt x="3394" y="5822"/>
                    <a:pt x="3227" y="5715"/>
                  </a:cubicBezTo>
                  <a:lnTo>
                    <a:pt x="3227" y="5703"/>
                  </a:lnTo>
                  <a:cubicBezTo>
                    <a:pt x="3286" y="5346"/>
                    <a:pt x="3441" y="4346"/>
                    <a:pt x="3572" y="2524"/>
                  </a:cubicBezTo>
                  <a:cubicBezTo>
                    <a:pt x="3620" y="1858"/>
                    <a:pt x="3858" y="1310"/>
                    <a:pt x="4251" y="905"/>
                  </a:cubicBezTo>
                  <a:cubicBezTo>
                    <a:pt x="4644" y="524"/>
                    <a:pt x="5168" y="322"/>
                    <a:pt x="5763" y="322"/>
                  </a:cubicBezTo>
                  <a:close/>
                  <a:moveTo>
                    <a:pt x="2917" y="5870"/>
                  </a:moveTo>
                  <a:cubicBezTo>
                    <a:pt x="2941" y="5929"/>
                    <a:pt x="2989" y="5977"/>
                    <a:pt x="3036" y="6013"/>
                  </a:cubicBezTo>
                  <a:cubicBezTo>
                    <a:pt x="3167" y="6096"/>
                    <a:pt x="3417" y="6251"/>
                    <a:pt x="3810" y="6382"/>
                  </a:cubicBezTo>
                  <a:lnTo>
                    <a:pt x="3334" y="6596"/>
                  </a:lnTo>
                  <a:lnTo>
                    <a:pt x="2798" y="6441"/>
                  </a:lnTo>
                  <a:cubicBezTo>
                    <a:pt x="2667" y="6394"/>
                    <a:pt x="2667" y="6382"/>
                    <a:pt x="2667" y="6358"/>
                  </a:cubicBezTo>
                  <a:lnTo>
                    <a:pt x="2667" y="6120"/>
                  </a:lnTo>
                  <a:cubicBezTo>
                    <a:pt x="2727" y="6072"/>
                    <a:pt x="2763" y="6025"/>
                    <a:pt x="2822" y="5977"/>
                  </a:cubicBezTo>
                  <a:cubicBezTo>
                    <a:pt x="2858" y="5953"/>
                    <a:pt x="2882" y="5906"/>
                    <a:pt x="2917" y="5870"/>
                  </a:cubicBezTo>
                  <a:close/>
                  <a:moveTo>
                    <a:pt x="8620" y="5620"/>
                  </a:moveTo>
                  <a:cubicBezTo>
                    <a:pt x="8704" y="5822"/>
                    <a:pt x="8859" y="5977"/>
                    <a:pt x="9037" y="6096"/>
                  </a:cubicBezTo>
                  <a:lnTo>
                    <a:pt x="9037" y="6453"/>
                  </a:lnTo>
                  <a:lnTo>
                    <a:pt x="9013" y="6453"/>
                  </a:lnTo>
                  <a:lnTo>
                    <a:pt x="8478" y="6739"/>
                  </a:lnTo>
                  <a:cubicBezTo>
                    <a:pt x="8478" y="6739"/>
                    <a:pt x="8466" y="6739"/>
                    <a:pt x="8466" y="6727"/>
                  </a:cubicBezTo>
                  <a:lnTo>
                    <a:pt x="7692" y="6382"/>
                  </a:lnTo>
                  <a:cubicBezTo>
                    <a:pt x="8061" y="6251"/>
                    <a:pt x="8335" y="6096"/>
                    <a:pt x="8466" y="6013"/>
                  </a:cubicBezTo>
                  <a:cubicBezTo>
                    <a:pt x="8585" y="5941"/>
                    <a:pt x="8644" y="5798"/>
                    <a:pt x="8620" y="5656"/>
                  </a:cubicBezTo>
                  <a:lnTo>
                    <a:pt x="8620" y="5620"/>
                  </a:lnTo>
                  <a:close/>
                  <a:moveTo>
                    <a:pt x="2322" y="6263"/>
                  </a:moveTo>
                  <a:lnTo>
                    <a:pt x="2322" y="6334"/>
                  </a:lnTo>
                  <a:cubicBezTo>
                    <a:pt x="2322" y="6370"/>
                    <a:pt x="2322" y="6418"/>
                    <a:pt x="2334" y="6441"/>
                  </a:cubicBezTo>
                  <a:lnTo>
                    <a:pt x="1929" y="6834"/>
                  </a:lnTo>
                  <a:lnTo>
                    <a:pt x="1548" y="6441"/>
                  </a:lnTo>
                  <a:cubicBezTo>
                    <a:pt x="1560" y="6418"/>
                    <a:pt x="1560" y="6382"/>
                    <a:pt x="1560" y="6334"/>
                  </a:cubicBezTo>
                  <a:lnTo>
                    <a:pt x="1560" y="6263"/>
                  </a:lnTo>
                  <a:cubicBezTo>
                    <a:pt x="1667" y="6299"/>
                    <a:pt x="1786" y="6322"/>
                    <a:pt x="1905" y="6322"/>
                  </a:cubicBezTo>
                  <a:lnTo>
                    <a:pt x="1953" y="6322"/>
                  </a:lnTo>
                  <a:cubicBezTo>
                    <a:pt x="2084" y="6322"/>
                    <a:pt x="2203" y="6310"/>
                    <a:pt x="2322" y="6263"/>
                  </a:cubicBezTo>
                  <a:close/>
                  <a:moveTo>
                    <a:pt x="10109" y="6275"/>
                  </a:moveTo>
                  <a:lnTo>
                    <a:pt x="10109" y="6453"/>
                  </a:lnTo>
                  <a:cubicBezTo>
                    <a:pt x="10109" y="6513"/>
                    <a:pt x="10121" y="6572"/>
                    <a:pt x="10144" y="6620"/>
                  </a:cubicBezTo>
                  <a:lnTo>
                    <a:pt x="10002" y="6775"/>
                  </a:lnTo>
                  <a:cubicBezTo>
                    <a:pt x="9924" y="6840"/>
                    <a:pt x="9832" y="6873"/>
                    <a:pt x="9740" y="6873"/>
                  </a:cubicBezTo>
                  <a:cubicBezTo>
                    <a:pt x="9647" y="6873"/>
                    <a:pt x="9555" y="6840"/>
                    <a:pt x="9478" y="6775"/>
                  </a:cubicBezTo>
                  <a:lnTo>
                    <a:pt x="9311" y="6620"/>
                  </a:lnTo>
                  <a:cubicBezTo>
                    <a:pt x="9347" y="6572"/>
                    <a:pt x="9359" y="6513"/>
                    <a:pt x="9359" y="6453"/>
                  </a:cubicBezTo>
                  <a:lnTo>
                    <a:pt x="9359" y="6275"/>
                  </a:lnTo>
                  <a:cubicBezTo>
                    <a:pt x="9478" y="6310"/>
                    <a:pt x="9597" y="6334"/>
                    <a:pt x="9728" y="6334"/>
                  </a:cubicBezTo>
                  <a:cubicBezTo>
                    <a:pt x="9859" y="6334"/>
                    <a:pt x="9978" y="6322"/>
                    <a:pt x="10109" y="6275"/>
                  </a:cubicBezTo>
                  <a:close/>
                  <a:moveTo>
                    <a:pt x="6501" y="5477"/>
                  </a:moveTo>
                  <a:lnTo>
                    <a:pt x="6501" y="5882"/>
                  </a:lnTo>
                  <a:cubicBezTo>
                    <a:pt x="6501" y="6084"/>
                    <a:pt x="6620" y="6275"/>
                    <a:pt x="6811" y="6370"/>
                  </a:cubicBezTo>
                  <a:lnTo>
                    <a:pt x="7073" y="6477"/>
                  </a:lnTo>
                  <a:cubicBezTo>
                    <a:pt x="6799" y="6953"/>
                    <a:pt x="6299" y="7263"/>
                    <a:pt x="5739" y="7263"/>
                  </a:cubicBezTo>
                  <a:cubicBezTo>
                    <a:pt x="5191" y="7263"/>
                    <a:pt x="4691" y="6953"/>
                    <a:pt x="4453" y="6477"/>
                  </a:cubicBezTo>
                  <a:lnTo>
                    <a:pt x="4703" y="6370"/>
                  </a:lnTo>
                  <a:cubicBezTo>
                    <a:pt x="4894" y="6275"/>
                    <a:pt x="5013" y="6084"/>
                    <a:pt x="5013" y="5882"/>
                  </a:cubicBezTo>
                  <a:lnTo>
                    <a:pt x="5013" y="5477"/>
                  </a:lnTo>
                  <a:cubicBezTo>
                    <a:pt x="5239" y="5560"/>
                    <a:pt x="5489" y="5620"/>
                    <a:pt x="5763" y="5620"/>
                  </a:cubicBezTo>
                  <a:cubicBezTo>
                    <a:pt x="6025" y="5620"/>
                    <a:pt x="6263" y="5584"/>
                    <a:pt x="6501" y="5477"/>
                  </a:cubicBezTo>
                  <a:close/>
                  <a:moveTo>
                    <a:pt x="5763" y="0"/>
                  </a:moveTo>
                  <a:cubicBezTo>
                    <a:pt x="5072" y="0"/>
                    <a:pt x="4465" y="238"/>
                    <a:pt x="4013" y="679"/>
                  </a:cubicBezTo>
                  <a:cubicBezTo>
                    <a:pt x="3560" y="1131"/>
                    <a:pt x="3286" y="1774"/>
                    <a:pt x="3239" y="2512"/>
                  </a:cubicBezTo>
                  <a:cubicBezTo>
                    <a:pt x="3227" y="2703"/>
                    <a:pt x="3215" y="2905"/>
                    <a:pt x="3203" y="3084"/>
                  </a:cubicBezTo>
                  <a:lnTo>
                    <a:pt x="1608" y="3084"/>
                  </a:lnTo>
                  <a:cubicBezTo>
                    <a:pt x="1012" y="3084"/>
                    <a:pt x="536" y="3560"/>
                    <a:pt x="536" y="4155"/>
                  </a:cubicBezTo>
                  <a:lnTo>
                    <a:pt x="536" y="4167"/>
                  </a:lnTo>
                  <a:cubicBezTo>
                    <a:pt x="536" y="4298"/>
                    <a:pt x="560" y="4453"/>
                    <a:pt x="619" y="4572"/>
                  </a:cubicBezTo>
                  <a:lnTo>
                    <a:pt x="715" y="4751"/>
                  </a:lnTo>
                  <a:lnTo>
                    <a:pt x="715" y="5025"/>
                  </a:lnTo>
                  <a:cubicBezTo>
                    <a:pt x="715" y="5465"/>
                    <a:pt x="941" y="5858"/>
                    <a:pt x="1262" y="6096"/>
                  </a:cubicBezTo>
                  <a:lnTo>
                    <a:pt x="1262" y="6334"/>
                  </a:lnTo>
                  <a:cubicBezTo>
                    <a:pt x="1262" y="6370"/>
                    <a:pt x="1250" y="6394"/>
                    <a:pt x="1215" y="6418"/>
                  </a:cubicBezTo>
                  <a:lnTo>
                    <a:pt x="524" y="6608"/>
                  </a:lnTo>
                  <a:cubicBezTo>
                    <a:pt x="226" y="6691"/>
                    <a:pt x="0" y="6977"/>
                    <a:pt x="0" y="7287"/>
                  </a:cubicBezTo>
                  <a:lnTo>
                    <a:pt x="0" y="8692"/>
                  </a:lnTo>
                  <a:cubicBezTo>
                    <a:pt x="0" y="8775"/>
                    <a:pt x="72" y="8858"/>
                    <a:pt x="167" y="8858"/>
                  </a:cubicBezTo>
                  <a:cubicBezTo>
                    <a:pt x="250" y="8858"/>
                    <a:pt x="322" y="8775"/>
                    <a:pt x="322" y="8692"/>
                  </a:cubicBezTo>
                  <a:lnTo>
                    <a:pt x="322" y="7287"/>
                  </a:lnTo>
                  <a:cubicBezTo>
                    <a:pt x="322" y="7132"/>
                    <a:pt x="441" y="6977"/>
                    <a:pt x="596" y="6930"/>
                  </a:cubicBezTo>
                  <a:lnTo>
                    <a:pt x="1298" y="6739"/>
                  </a:lnTo>
                  <a:cubicBezTo>
                    <a:pt x="1322" y="6739"/>
                    <a:pt x="1334" y="6727"/>
                    <a:pt x="1369" y="6715"/>
                  </a:cubicBezTo>
                  <a:lnTo>
                    <a:pt x="1798" y="7144"/>
                  </a:lnTo>
                  <a:lnTo>
                    <a:pt x="1798" y="8704"/>
                  </a:lnTo>
                  <a:cubicBezTo>
                    <a:pt x="1798" y="8799"/>
                    <a:pt x="1870" y="8870"/>
                    <a:pt x="1965" y="8870"/>
                  </a:cubicBezTo>
                  <a:cubicBezTo>
                    <a:pt x="2048" y="8870"/>
                    <a:pt x="2131" y="8799"/>
                    <a:pt x="2131" y="8704"/>
                  </a:cubicBezTo>
                  <a:lnTo>
                    <a:pt x="2131" y="7144"/>
                  </a:lnTo>
                  <a:lnTo>
                    <a:pt x="2560" y="6715"/>
                  </a:lnTo>
                  <a:cubicBezTo>
                    <a:pt x="2620" y="6739"/>
                    <a:pt x="2679" y="6751"/>
                    <a:pt x="2727" y="6775"/>
                  </a:cubicBezTo>
                  <a:lnTo>
                    <a:pt x="2905" y="6811"/>
                  </a:lnTo>
                  <a:cubicBezTo>
                    <a:pt x="2667" y="6977"/>
                    <a:pt x="2524" y="7251"/>
                    <a:pt x="2524" y="7549"/>
                  </a:cubicBezTo>
                  <a:lnTo>
                    <a:pt x="2524" y="8704"/>
                  </a:lnTo>
                  <a:cubicBezTo>
                    <a:pt x="2524" y="8799"/>
                    <a:pt x="2608" y="8870"/>
                    <a:pt x="2691" y="8870"/>
                  </a:cubicBezTo>
                  <a:cubicBezTo>
                    <a:pt x="2786" y="8870"/>
                    <a:pt x="2858" y="8799"/>
                    <a:pt x="2858" y="8704"/>
                  </a:cubicBezTo>
                  <a:lnTo>
                    <a:pt x="2858" y="7549"/>
                  </a:lnTo>
                  <a:cubicBezTo>
                    <a:pt x="2858" y="7322"/>
                    <a:pt x="2989" y="7132"/>
                    <a:pt x="3179" y="7037"/>
                  </a:cubicBezTo>
                  <a:lnTo>
                    <a:pt x="4156" y="6608"/>
                  </a:lnTo>
                  <a:cubicBezTo>
                    <a:pt x="4453" y="7215"/>
                    <a:pt x="5072" y="7608"/>
                    <a:pt x="5763" y="7608"/>
                  </a:cubicBezTo>
                  <a:cubicBezTo>
                    <a:pt x="6442" y="7608"/>
                    <a:pt x="7073" y="7215"/>
                    <a:pt x="7370" y="6608"/>
                  </a:cubicBezTo>
                  <a:lnTo>
                    <a:pt x="8335" y="7037"/>
                  </a:lnTo>
                  <a:cubicBezTo>
                    <a:pt x="8537" y="7132"/>
                    <a:pt x="8656" y="7322"/>
                    <a:pt x="8656" y="7549"/>
                  </a:cubicBezTo>
                  <a:lnTo>
                    <a:pt x="8656" y="8704"/>
                  </a:lnTo>
                  <a:cubicBezTo>
                    <a:pt x="8656" y="8799"/>
                    <a:pt x="8739" y="8870"/>
                    <a:pt x="8823" y="8870"/>
                  </a:cubicBezTo>
                  <a:cubicBezTo>
                    <a:pt x="8918" y="8870"/>
                    <a:pt x="8989" y="8799"/>
                    <a:pt x="8989" y="8704"/>
                  </a:cubicBezTo>
                  <a:lnTo>
                    <a:pt x="8989" y="7549"/>
                  </a:lnTo>
                  <a:cubicBezTo>
                    <a:pt x="8989" y="7322"/>
                    <a:pt x="8918" y="7132"/>
                    <a:pt x="8775" y="6965"/>
                  </a:cubicBezTo>
                  <a:lnTo>
                    <a:pt x="9049" y="6834"/>
                  </a:lnTo>
                  <a:lnTo>
                    <a:pt x="9240" y="7025"/>
                  </a:lnTo>
                  <a:cubicBezTo>
                    <a:pt x="9370" y="7156"/>
                    <a:pt x="9549" y="7215"/>
                    <a:pt x="9728" y="7215"/>
                  </a:cubicBezTo>
                  <a:cubicBezTo>
                    <a:pt x="9906" y="7215"/>
                    <a:pt x="10085" y="7156"/>
                    <a:pt x="10228" y="7025"/>
                  </a:cubicBezTo>
                  <a:lnTo>
                    <a:pt x="10418" y="6834"/>
                  </a:lnTo>
                  <a:lnTo>
                    <a:pt x="10978" y="7108"/>
                  </a:lnTo>
                  <a:cubicBezTo>
                    <a:pt x="11121" y="7168"/>
                    <a:pt x="11192" y="7311"/>
                    <a:pt x="11192" y="7442"/>
                  </a:cubicBezTo>
                  <a:lnTo>
                    <a:pt x="11192" y="8692"/>
                  </a:lnTo>
                  <a:cubicBezTo>
                    <a:pt x="11192" y="8775"/>
                    <a:pt x="11264" y="8858"/>
                    <a:pt x="11359" y="8858"/>
                  </a:cubicBezTo>
                  <a:cubicBezTo>
                    <a:pt x="11442" y="8858"/>
                    <a:pt x="11514" y="8775"/>
                    <a:pt x="11514" y="8692"/>
                  </a:cubicBezTo>
                  <a:lnTo>
                    <a:pt x="11514" y="7442"/>
                  </a:lnTo>
                  <a:cubicBezTo>
                    <a:pt x="11537" y="7168"/>
                    <a:pt x="11383" y="6930"/>
                    <a:pt x="11145" y="6799"/>
                  </a:cubicBezTo>
                  <a:lnTo>
                    <a:pt x="10466" y="6453"/>
                  </a:lnTo>
                  <a:lnTo>
                    <a:pt x="10466" y="6441"/>
                  </a:lnTo>
                  <a:lnTo>
                    <a:pt x="10466" y="6096"/>
                  </a:lnTo>
                  <a:cubicBezTo>
                    <a:pt x="10740" y="5906"/>
                    <a:pt x="10942" y="5596"/>
                    <a:pt x="11002" y="5239"/>
                  </a:cubicBezTo>
                  <a:cubicBezTo>
                    <a:pt x="11133" y="5013"/>
                    <a:pt x="11192" y="4775"/>
                    <a:pt x="11192" y="4525"/>
                  </a:cubicBezTo>
                  <a:cubicBezTo>
                    <a:pt x="11192" y="4048"/>
                    <a:pt x="10966" y="3632"/>
                    <a:pt x="10609" y="3382"/>
                  </a:cubicBezTo>
                  <a:cubicBezTo>
                    <a:pt x="10621" y="3298"/>
                    <a:pt x="10644" y="3239"/>
                    <a:pt x="10644" y="3167"/>
                  </a:cubicBezTo>
                  <a:cubicBezTo>
                    <a:pt x="10644" y="2727"/>
                    <a:pt x="10240" y="2369"/>
                    <a:pt x="9751" y="2369"/>
                  </a:cubicBezTo>
                  <a:cubicBezTo>
                    <a:pt x="9251" y="2369"/>
                    <a:pt x="8859" y="2727"/>
                    <a:pt x="8859" y="3167"/>
                  </a:cubicBezTo>
                  <a:cubicBezTo>
                    <a:pt x="8859" y="3239"/>
                    <a:pt x="8870" y="3322"/>
                    <a:pt x="8882" y="3382"/>
                  </a:cubicBezTo>
                  <a:cubicBezTo>
                    <a:pt x="8680" y="3536"/>
                    <a:pt x="8513" y="3751"/>
                    <a:pt x="8406" y="3989"/>
                  </a:cubicBezTo>
                  <a:cubicBezTo>
                    <a:pt x="8358" y="3572"/>
                    <a:pt x="8323" y="3084"/>
                    <a:pt x="8275" y="2512"/>
                  </a:cubicBezTo>
                  <a:cubicBezTo>
                    <a:pt x="8216" y="1774"/>
                    <a:pt x="7942" y="1131"/>
                    <a:pt x="7501" y="679"/>
                  </a:cubicBezTo>
                  <a:cubicBezTo>
                    <a:pt x="7049" y="238"/>
                    <a:pt x="6442" y="0"/>
                    <a:pt x="57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7" name="Google Shape;13197;p64"/>
            <p:cNvSpPr/>
            <p:nvPr/>
          </p:nvSpPr>
          <p:spPr>
            <a:xfrm>
              <a:off x="2114800" y="3635440"/>
              <a:ext cx="11045" cy="37941"/>
            </a:xfrm>
            <a:custGeom>
              <a:avLst/>
              <a:gdLst/>
              <a:ahLst/>
              <a:cxnLst/>
              <a:rect l="l" t="t" r="r" b="b"/>
              <a:pathLst>
                <a:path w="347" h="1192" extrusionOk="0">
                  <a:moveTo>
                    <a:pt x="167" y="1"/>
                  </a:moveTo>
                  <a:cubicBezTo>
                    <a:pt x="72" y="1"/>
                    <a:pt x="1" y="72"/>
                    <a:pt x="1" y="156"/>
                  </a:cubicBezTo>
                  <a:lnTo>
                    <a:pt x="1" y="1025"/>
                  </a:lnTo>
                  <a:cubicBezTo>
                    <a:pt x="1" y="1108"/>
                    <a:pt x="72" y="1191"/>
                    <a:pt x="167" y="1191"/>
                  </a:cubicBezTo>
                  <a:cubicBezTo>
                    <a:pt x="251" y="1191"/>
                    <a:pt x="322" y="1108"/>
                    <a:pt x="322" y="1025"/>
                  </a:cubicBezTo>
                  <a:lnTo>
                    <a:pt x="322" y="156"/>
                  </a:lnTo>
                  <a:cubicBezTo>
                    <a:pt x="346"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98" name="Google Shape;13198;p64"/>
          <p:cNvGrpSpPr/>
          <p:nvPr/>
        </p:nvGrpSpPr>
        <p:grpSpPr>
          <a:xfrm>
            <a:off x="3678830" y="3370933"/>
            <a:ext cx="369164" cy="323297"/>
            <a:chOff x="3678830" y="3370933"/>
            <a:chExt cx="369164" cy="323297"/>
          </a:xfrm>
        </p:grpSpPr>
        <p:sp>
          <p:nvSpPr>
            <p:cNvPr id="13199" name="Google Shape;13199;p64"/>
            <p:cNvSpPr/>
            <p:nvPr/>
          </p:nvSpPr>
          <p:spPr>
            <a:xfrm>
              <a:off x="3678830" y="3370933"/>
              <a:ext cx="369164" cy="323297"/>
            </a:xfrm>
            <a:custGeom>
              <a:avLst/>
              <a:gdLst/>
              <a:ahLst/>
              <a:cxnLst/>
              <a:rect l="l" t="t" r="r" b="b"/>
              <a:pathLst>
                <a:path w="11598" h="10157" extrusionOk="0">
                  <a:moveTo>
                    <a:pt x="6514" y="357"/>
                  </a:moveTo>
                  <a:lnTo>
                    <a:pt x="6180" y="3274"/>
                  </a:lnTo>
                  <a:cubicBezTo>
                    <a:pt x="6180" y="3274"/>
                    <a:pt x="6180" y="3286"/>
                    <a:pt x="6168" y="3286"/>
                  </a:cubicBezTo>
                  <a:lnTo>
                    <a:pt x="5406" y="3286"/>
                  </a:lnTo>
                  <a:cubicBezTo>
                    <a:pt x="5406" y="3286"/>
                    <a:pt x="5394" y="3286"/>
                    <a:pt x="5394" y="3274"/>
                  </a:cubicBezTo>
                  <a:lnTo>
                    <a:pt x="5061" y="357"/>
                  </a:lnTo>
                  <a:close/>
                  <a:moveTo>
                    <a:pt x="11026" y="2893"/>
                  </a:moveTo>
                  <a:cubicBezTo>
                    <a:pt x="11133" y="2893"/>
                    <a:pt x="11228" y="2977"/>
                    <a:pt x="11228" y="3084"/>
                  </a:cubicBezTo>
                  <a:lnTo>
                    <a:pt x="11228" y="9620"/>
                  </a:lnTo>
                  <a:lnTo>
                    <a:pt x="11240" y="9620"/>
                  </a:lnTo>
                  <a:cubicBezTo>
                    <a:pt x="11240" y="9716"/>
                    <a:pt x="11157" y="9811"/>
                    <a:pt x="11050" y="9811"/>
                  </a:cubicBezTo>
                  <a:lnTo>
                    <a:pt x="525" y="9811"/>
                  </a:lnTo>
                  <a:cubicBezTo>
                    <a:pt x="418" y="9811"/>
                    <a:pt x="334" y="9716"/>
                    <a:pt x="334" y="9620"/>
                  </a:cubicBezTo>
                  <a:lnTo>
                    <a:pt x="334" y="3084"/>
                  </a:lnTo>
                  <a:cubicBezTo>
                    <a:pt x="334" y="2977"/>
                    <a:pt x="418" y="2893"/>
                    <a:pt x="525" y="2893"/>
                  </a:cubicBezTo>
                  <a:lnTo>
                    <a:pt x="5025" y="2893"/>
                  </a:lnTo>
                  <a:lnTo>
                    <a:pt x="5061" y="3310"/>
                  </a:lnTo>
                  <a:cubicBezTo>
                    <a:pt x="5085" y="3489"/>
                    <a:pt x="5228" y="3620"/>
                    <a:pt x="5406" y="3620"/>
                  </a:cubicBezTo>
                  <a:lnTo>
                    <a:pt x="6168" y="3620"/>
                  </a:lnTo>
                  <a:cubicBezTo>
                    <a:pt x="6347" y="3620"/>
                    <a:pt x="6490" y="3489"/>
                    <a:pt x="6502" y="3310"/>
                  </a:cubicBezTo>
                  <a:lnTo>
                    <a:pt x="6549" y="2893"/>
                  </a:lnTo>
                  <a:close/>
                  <a:moveTo>
                    <a:pt x="4882" y="0"/>
                  </a:moveTo>
                  <a:cubicBezTo>
                    <a:pt x="4847" y="0"/>
                    <a:pt x="4799" y="12"/>
                    <a:pt x="4763" y="60"/>
                  </a:cubicBezTo>
                  <a:cubicBezTo>
                    <a:pt x="4740" y="95"/>
                    <a:pt x="4728" y="155"/>
                    <a:pt x="4728" y="191"/>
                  </a:cubicBezTo>
                  <a:lnTo>
                    <a:pt x="4990" y="2548"/>
                  </a:lnTo>
                  <a:lnTo>
                    <a:pt x="537" y="2548"/>
                  </a:lnTo>
                  <a:cubicBezTo>
                    <a:pt x="239" y="2548"/>
                    <a:pt x="1" y="2786"/>
                    <a:pt x="1" y="3084"/>
                  </a:cubicBezTo>
                  <a:lnTo>
                    <a:pt x="1" y="9620"/>
                  </a:lnTo>
                  <a:cubicBezTo>
                    <a:pt x="1" y="9918"/>
                    <a:pt x="239" y="10156"/>
                    <a:pt x="537" y="10156"/>
                  </a:cubicBezTo>
                  <a:lnTo>
                    <a:pt x="11062" y="10156"/>
                  </a:lnTo>
                  <a:cubicBezTo>
                    <a:pt x="11359" y="10156"/>
                    <a:pt x="11598" y="9918"/>
                    <a:pt x="11598" y="9620"/>
                  </a:cubicBezTo>
                  <a:lnTo>
                    <a:pt x="11598" y="3084"/>
                  </a:lnTo>
                  <a:cubicBezTo>
                    <a:pt x="11586" y="2786"/>
                    <a:pt x="11348" y="2548"/>
                    <a:pt x="11050" y="2548"/>
                  </a:cubicBezTo>
                  <a:lnTo>
                    <a:pt x="6597" y="2548"/>
                  </a:lnTo>
                  <a:lnTo>
                    <a:pt x="6871" y="191"/>
                  </a:lnTo>
                  <a:cubicBezTo>
                    <a:pt x="6871" y="155"/>
                    <a:pt x="6847" y="107"/>
                    <a:pt x="6823" y="60"/>
                  </a:cubicBezTo>
                  <a:cubicBezTo>
                    <a:pt x="6787" y="36"/>
                    <a:pt x="6752" y="0"/>
                    <a:pt x="67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0" name="Google Shape;13200;p64"/>
            <p:cNvSpPr/>
            <p:nvPr/>
          </p:nvSpPr>
          <p:spPr>
            <a:xfrm>
              <a:off x="3713716" y="3498253"/>
              <a:ext cx="126206" cy="161092"/>
            </a:xfrm>
            <a:custGeom>
              <a:avLst/>
              <a:gdLst/>
              <a:ahLst/>
              <a:cxnLst/>
              <a:rect l="l" t="t" r="r" b="b"/>
              <a:pathLst>
                <a:path w="3965" h="5061" extrusionOk="0">
                  <a:moveTo>
                    <a:pt x="2155" y="1251"/>
                  </a:moveTo>
                  <a:cubicBezTo>
                    <a:pt x="2358" y="1251"/>
                    <a:pt x="2524" y="1418"/>
                    <a:pt x="2524" y="1632"/>
                  </a:cubicBezTo>
                  <a:lnTo>
                    <a:pt x="2524" y="1989"/>
                  </a:lnTo>
                  <a:cubicBezTo>
                    <a:pt x="2536" y="2299"/>
                    <a:pt x="2286" y="2537"/>
                    <a:pt x="1977" y="2537"/>
                  </a:cubicBezTo>
                  <a:cubicBezTo>
                    <a:pt x="1667" y="2537"/>
                    <a:pt x="1429" y="2287"/>
                    <a:pt x="1429" y="1989"/>
                  </a:cubicBezTo>
                  <a:lnTo>
                    <a:pt x="1429" y="1632"/>
                  </a:lnTo>
                  <a:cubicBezTo>
                    <a:pt x="1429" y="1418"/>
                    <a:pt x="1584" y="1251"/>
                    <a:pt x="1798" y="1251"/>
                  </a:cubicBezTo>
                  <a:close/>
                  <a:moveTo>
                    <a:pt x="2167" y="2846"/>
                  </a:moveTo>
                  <a:lnTo>
                    <a:pt x="2167" y="2953"/>
                  </a:lnTo>
                  <a:cubicBezTo>
                    <a:pt x="2167" y="3025"/>
                    <a:pt x="2179" y="3084"/>
                    <a:pt x="2227" y="3132"/>
                  </a:cubicBezTo>
                  <a:lnTo>
                    <a:pt x="1989" y="3370"/>
                  </a:lnTo>
                  <a:lnTo>
                    <a:pt x="1977" y="3370"/>
                  </a:lnTo>
                  <a:lnTo>
                    <a:pt x="1739" y="3132"/>
                  </a:lnTo>
                  <a:cubicBezTo>
                    <a:pt x="1762" y="3073"/>
                    <a:pt x="1774" y="3013"/>
                    <a:pt x="1774" y="2953"/>
                  </a:cubicBezTo>
                  <a:lnTo>
                    <a:pt x="1774" y="2846"/>
                  </a:lnTo>
                  <a:cubicBezTo>
                    <a:pt x="1834" y="2858"/>
                    <a:pt x="1917" y="2858"/>
                    <a:pt x="1977" y="2858"/>
                  </a:cubicBezTo>
                  <a:cubicBezTo>
                    <a:pt x="2036" y="2858"/>
                    <a:pt x="2108" y="2846"/>
                    <a:pt x="2167" y="2846"/>
                  </a:cubicBezTo>
                  <a:close/>
                  <a:moveTo>
                    <a:pt x="2512" y="3334"/>
                  </a:moveTo>
                  <a:lnTo>
                    <a:pt x="2810" y="3489"/>
                  </a:lnTo>
                  <a:cubicBezTo>
                    <a:pt x="2870" y="3513"/>
                    <a:pt x="2917" y="3596"/>
                    <a:pt x="2917" y="3668"/>
                  </a:cubicBezTo>
                  <a:lnTo>
                    <a:pt x="2917" y="4727"/>
                  </a:lnTo>
                  <a:lnTo>
                    <a:pt x="1072" y="4727"/>
                  </a:lnTo>
                  <a:lnTo>
                    <a:pt x="1072" y="3668"/>
                  </a:lnTo>
                  <a:cubicBezTo>
                    <a:pt x="1072" y="3596"/>
                    <a:pt x="1108" y="3537"/>
                    <a:pt x="1167" y="3489"/>
                  </a:cubicBezTo>
                  <a:lnTo>
                    <a:pt x="1465" y="3334"/>
                  </a:lnTo>
                  <a:lnTo>
                    <a:pt x="1739" y="3608"/>
                  </a:lnTo>
                  <a:cubicBezTo>
                    <a:pt x="1810" y="3680"/>
                    <a:pt x="1905" y="3704"/>
                    <a:pt x="1989" y="3704"/>
                  </a:cubicBezTo>
                  <a:cubicBezTo>
                    <a:pt x="2084" y="3704"/>
                    <a:pt x="2167" y="3680"/>
                    <a:pt x="2239" y="3608"/>
                  </a:cubicBezTo>
                  <a:lnTo>
                    <a:pt x="2512" y="3334"/>
                  </a:lnTo>
                  <a:close/>
                  <a:moveTo>
                    <a:pt x="3608" y="334"/>
                  </a:moveTo>
                  <a:cubicBezTo>
                    <a:pt x="3608" y="334"/>
                    <a:pt x="3632" y="334"/>
                    <a:pt x="3632" y="346"/>
                  </a:cubicBezTo>
                  <a:lnTo>
                    <a:pt x="3632" y="4704"/>
                  </a:lnTo>
                  <a:lnTo>
                    <a:pt x="3239" y="4727"/>
                  </a:lnTo>
                  <a:lnTo>
                    <a:pt x="3239" y="3668"/>
                  </a:lnTo>
                  <a:cubicBezTo>
                    <a:pt x="3239" y="3454"/>
                    <a:pt x="3120" y="3275"/>
                    <a:pt x="2941" y="3192"/>
                  </a:cubicBezTo>
                  <a:lnTo>
                    <a:pt x="2512" y="2977"/>
                  </a:lnTo>
                  <a:lnTo>
                    <a:pt x="2512" y="2965"/>
                  </a:lnTo>
                  <a:lnTo>
                    <a:pt x="2512" y="2715"/>
                  </a:lnTo>
                  <a:cubicBezTo>
                    <a:pt x="2739" y="2549"/>
                    <a:pt x="2870" y="2275"/>
                    <a:pt x="2870" y="2001"/>
                  </a:cubicBezTo>
                  <a:lnTo>
                    <a:pt x="2870" y="1644"/>
                  </a:lnTo>
                  <a:cubicBezTo>
                    <a:pt x="2870" y="1251"/>
                    <a:pt x="2536" y="929"/>
                    <a:pt x="2155" y="929"/>
                  </a:cubicBezTo>
                  <a:lnTo>
                    <a:pt x="1798" y="929"/>
                  </a:lnTo>
                  <a:cubicBezTo>
                    <a:pt x="1405" y="929"/>
                    <a:pt x="1084" y="1251"/>
                    <a:pt x="1084" y="1644"/>
                  </a:cubicBezTo>
                  <a:lnTo>
                    <a:pt x="1084" y="2001"/>
                  </a:lnTo>
                  <a:cubicBezTo>
                    <a:pt x="1084" y="2299"/>
                    <a:pt x="1227" y="2549"/>
                    <a:pt x="1441" y="2715"/>
                  </a:cubicBezTo>
                  <a:lnTo>
                    <a:pt x="1441" y="2965"/>
                  </a:lnTo>
                  <a:lnTo>
                    <a:pt x="1441" y="2977"/>
                  </a:lnTo>
                  <a:lnTo>
                    <a:pt x="1012" y="3192"/>
                  </a:lnTo>
                  <a:cubicBezTo>
                    <a:pt x="834" y="3275"/>
                    <a:pt x="715" y="3454"/>
                    <a:pt x="715" y="3668"/>
                  </a:cubicBezTo>
                  <a:lnTo>
                    <a:pt x="715" y="4727"/>
                  </a:lnTo>
                  <a:lnTo>
                    <a:pt x="357" y="4727"/>
                  </a:lnTo>
                  <a:cubicBezTo>
                    <a:pt x="357" y="4727"/>
                    <a:pt x="334" y="4727"/>
                    <a:pt x="334" y="4704"/>
                  </a:cubicBezTo>
                  <a:lnTo>
                    <a:pt x="334" y="346"/>
                  </a:lnTo>
                  <a:cubicBezTo>
                    <a:pt x="334" y="346"/>
                    <a:pt x="334" y="334"/>
                    <a:pt x="357" y="334"/>
                  </a:cubicBezTo>
                  <a:close/>
                  <a:moveTo>
                    <a:pt x="357" y="1"/>
                  </a:moveTo>
                  <a:cubicBezTo>
                    <a:pt x="155" y="1"/>
                    <a:pt x="0" y="167"/>
                    <a:pt x="0" y="358"/>
                  </a:cubicBezTo>
                  <a:lnTo>
                    <a:pt x="0" y="4704"/>
                  </a:lnTo>
                  <a:cubicBezTo>
                    <a:pt x="0" y="4906"/>
                    <a:pt x="155" y="5061"/>
                    <a:pt x="357" y="5061"/>
                  </a:cubicBezTo>
                  <a:lnTo>
                    <a:pt x="3608" y="5061"/>
                  </a:lnTo>
                  <a:cubicBezTo>
                    <a:pt x="3810" y="5061"/>
                    <a:pt x="3965" y="4906"/>
                    <a:pt x="3965" y="4704"/>
                  </a:cubicBezTo>
                  <a:lnTo>
                    <a:pt x="3965" y="346"/>
                  </a:lnTo>
                  <a:cubicBezTo>
                    <a:pt x="3965" y="155"/>
                    <a:pt x="3810" y="1"/>
                    <a:pt x="3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1" name="Google Shape;13201;p64"/>
            <p:cNvSpPr/>
            <p:nvPr/>
          </p:nvSpPr>
          <p:spPr>
            <a:xfrm>
              <a:off x="3863795" y="3498253"/>
              <a:ext cx="149728" cy="34154"/>
            </a:xfrm>
            <a:custGeom>
              <a:avLst/>
              <a:gdLst/>
              <a:ahLst/>
              <a:cxnLst/>
              <a:rect l="l" t="t" r="r" b="b"/>
              <a:pathLst>
                <a:path w="4704" h="1073" extrusionOk="0">
                  <a:moveTo>
                    <a:pt x="4334" y="334"/>
                  </a:moveTo>
                  <a:cubicBezTo>
                    <a:pt x="4334" y="334"/>
                    <a:pt x="4346" y="334"/>
                    <a:pt x="4346" y="346"/>
                  </a:cubicBezTo>
                  <a:lnTo>
                    <a:pt x="4346" y="715"/>
                  </a:lnTo>
                  <a:lnTo>
                    <a:pt x="345" y="739"/>
                  </a:lnTo>
                  <a:cubicBezTo>
                    <a:pt x="345" y="739"/>
                    <a:pt x="322" y="739"/>
                    <a:pt x="322" y="715"/>
                  </a:cubicBezTo>
                  <a:lnTo>
                    <a:pt x="322" y="346"/>
                  </a:lnTo>
                  <a:cubicBezTo>
                    <a:pt x="322" y="346"/>
                    <a:pt x="322" y="334"/>
                    <a:pt x="345" y="334"/>
                  </a:cubicBezTo>
                  <a:close/>
                  <a:moveTo>
                    <a:pt x="357" y="1"/>
                  </a:moveTo>
                  <a:cubicBezTo>
                    <a:pt x="167" y="1"/>
                    <a:pt x="0" y="167"/>
                    <a:pt x="0" y="358"/>
                  </a:cubicBezTo>
                  <a:lnTo>
                    <a:pt x="0" y="715"/>
                  </a:lnTo>
                  <a:cubicBezTo>
                    <a:pt x="0" y="917"/>
                    <a:pt x="167" y="1072"/>
                    <a:pt x="357" y="1072"/>
                  </a:cubicBezTo>
                  <a:lnTo>
                    <a:pt x="4346" y="1072"/>
                  </a:lnTo>
                  <a:cubicBezTo>
                    <a:pt x="4536" y="1072"/>
                    <a:pt x="4703" y="917"/>
                    <a:pt x="4703" y="715"/>
                  </a:cubicBezTo>
                  <a:lnTo>
                    <a:pt x="4703" y="346"/>
                  </a:lnTo>
                  <a:cubicBezTo>
                    <a:pt x="4691" y="155"/>
                    <a:pt x="4536" y="1"/>
                    <a:pt x="4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2" name="Google Shape;13202;p64"/>
            <p:cNvSpPr/>
            <p:nvPr/>
          </p:nvSpPr>
          <p:spPr>
            <a:xfrm>
              <a:off x="3863413" y="3544502"/>
              <a:ext cx="114843" cy="33740"/>
            </a:xfrm>
            <a:custGeom>
              <a:avLst/>
              <a:gdLst/>
              <a:ahLst/>
              <a:cxnLst/>
              <a:rect l="l" t="t" r="r" b="b"/>
              <a:pathLst>
                <a:path w="3608" h="1060" extrusionOk="0">
                  <a:moveTo>
                    <a:pt x="3251" y="334"/>
                  </a:moveTo>
                  <a:cubicBezTo>
                    <a:pt x="3251" y="334"/>
                    <a:pt x="3274" y="334"/>
                    <a:pt x="3274" y="357"/>
                  </a:cubicBezTo>
                  <a:lnTo>
                    <a:pt x="3274" y="715"/>
                  </a:lnTo>
                  <a:lnTo>
                    <a:pt x="357" y="727"/>
                  </a:lnTo>
                  <a:cubicBezTo>
                    <a:pt x="357" y="727"/>
                    <a:pt x="334" y="727"/>
                    <a:pt x="334" y="715"/>
                  </a:cubicBezTo>
                  <a:lnTo>
                    <a:pt x="334" y="357"/>
                  </a:lnTo>
                  <a:cubicBezTo>
                    <a:pt x="334" y="357"/>
                    <a:pt x="334" y="334"/>
                    <a:pt x="357" y="334"/>
                  </a:cubicBezTo>
                  <a:close/>
                  <a:moveTo>
                    <a:pt x="357" y="0"/>
                  </a:moveTo>
                  <a:cubicBezTo>
                    <a:pt x="155" y="0"/>
                    <a:pt x="0" y="155"/>
                    <a:pt x="0" y="357"/>
                  </a:cubicBezTo>
                  <a:lnTo>
                    <a:pt x="0" y="715"/>
                  </a:lnTo>
                  <a:cubicBezTo>
                    <a:pt x="0" y="905"/>
                    <a:pt x="155" y="1060"/>
                    <a:pt x="357" y="1060"/>
                  </a:cubicBezTo>
                  <a:lnTo>
                    <a:pt x="3251" y="1060"/>
                  </a:lnTo>
                  <a:cubicBezTo>
                    <a:pt x="3453" y="1060"/>
                    <a:pt x="3608" y="905"/>
                    <a:pt x="3608" y="715"/>
                  </a:cubicBezTo>
                  <a:lnTo>
                    <a:pt x="3608" y="357"/>
                  </a:lnTo>
                  <a:cubicBezTo>
                    <a:pt x="3608" y="155"/>
                    <a:pt x="3453"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3" name="Google Shape;13203;p64"/>
            <p:cNvSpPr/>
            <p:nvPr/>
          </p:nvSpPr>
          <p:spPr>
            <a:xfrm>
              <a:off x="3863795" y="3590719"/>
              <a:ext cx="68625" cy="10663"/>
            </a:xfrm>
            <a:custGeom>
              <a:avLst/>
              <a:gdLst/>
              <a:ahLst/>
              <a:cxnLst/>
              <a:rect l="l" t="t" r="r" b="b"/>
              <a:pathLst>
                <a:path w="2156" h="335" extrusionOk="0">
                  <a:moveTo>
                    <a:pt x="167" y="1"/>
                  </a:moveTo>
                  <a:cubicBezTo>
                    <a:pt x="72" y="1"/>
                    <a:pt x="0" y="72"/>
                    <a:pt x="0" y="168"/>
                  </a:cubicBezTo>
                  <a:cubicBezTo>
                    <a:pt x="0" y="251"/>
                    <a:pt x="72" y="334"/>
                    <a:pt x="167" y="334"/>
                  </a:cubicBezTo>
                  <a:lnTo>
                    <a:pt x="1977" y="334"/>
                  </a:lnTo>
                  <a:cubicBezTo>
                    <a:pt x="2072" y="334"/>
                    <a:pt x="2143" y="251"/>
                    <a:pt x="2143" y="168"/>
                  </a:cubicBezTo>
                  <a:cubicBezTo>
                    <a:pt x="2155" y="72"/>
                    <a:pt x="2072" y="1"/>
                    <a:pt x="1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4" name="Google Shape;13204;p64"/>
            <p:cNvSpPr/>
            <p:nvPr/>
          </p:nvSpPr>
          <p:spPr>
            <a:xfrm>
              <a:off x="3944897" y="3590719"/>
              <a:ext cx="33358" cy="10663"/>
            </a:xfrm>
            <a:custGeom>
              <a:avLst/>
              <a:gdLst/>
              <a:ahLst/>
              <a:cxnLst/>
              <a:rect l="l" t="t" r="r" b="b"/>
              <a:pathLst>
                <a:path w="1048" h="335" extrusionOk="0">
                  <a:moveTo>
                    <a:pt x="155" y="1"/>
                  </a:moveTo>
                  <a:cubicBezTo>
                    <a:pt x="71" y="1"/>
                    <a:pt x="0" y="72"/>
                    <a:pt x="0" y="168"/>
                  </a:cubicBezTo>
                  <a:cubicBezTo>
                    <a:pt x="0" y="251"/>
                    <a:pt x="71" y="334"/>
                    <a:pt x="155" y="334"/>
                  </a:cubicBezTo>
                  <a:lnTo>
                    <a:pt x="893" y="334"/>
                  </a:lnTo>
                  <a:cubicBezTo>
                    <a:pt x="976" y="334"/>
                    <a:pt x="1048" y="251"/>
                    <a:pt x="1048" y="168"/>
                  </a:cubicBezTo>
                  <a:cubicBezTo>
                    <a:pt x="1048" y="72"/>
                    <a:pt x="976" y="1"/>
                    <a:pt x="8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5" name="Google Shape;13205;p64"/>
            <p:cNvSpPr/>
            <p:nvPr/>
          </p:nvSpPr>
          <p:spPr>
            <a:xfrm>
              <a:off x="3864176" y="3625223"/>
              <a:ext cx="21995" cy="10631"/>
            </a:xfrm>
            <a:custGeom>
              <a:avLst/>
              <a:gdLst/>
              <a:ahLst/>
              <a:cxnLst/>
              <a:rect l="l" t="t" r="r" b="b"/>
              <a:pathLst>
                <a:path w="691" h="334" extrusionOk="0">
                  <a:moveTo>
                    <a:pt x="167" y="0"/>
                  </a:moveTo>
                  <a:cubicBezTo>
                    <a:pt x="71" y="0"/>
                    <a:pt x="0" y="84"/>
                    <a:pt x="0" y="167"/>
                  </a:cubicBezTo>
                  <a:cubicBezTo>
                    <a:pt x="0" y="262"/>
                    <a:pt x="71" y="334"/>
                    <a:pt x="167" y="334"/>
                  </a:cubicBezTo>
                  <a:lnTo>
                    <a:pt x="524" y="334"/>
                  </a:lnTo>
                  <a:cubicBezTo>
                    <a:pt x="607" y="334"/>
                    <a:pt x="691" y="262"/>
                    <a:pt x="691" y="167"/>
                  </a:cubicBezTo>
                  <a:cubicBezTo>
                    <a:pt x="691" y="84"/>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6" name="Google Shape;13206;p64"/>
            <p:cNvSpPr/>
            <p:nvPr/>
          </p:nvSpPr>
          <p:spPr>
            <a:xfrm>
              <a:off x="3898648" y="3625223"/>
              <a:ext cx="56498" cy="10631"/>
            </a:xfrm>
            <a:custGeom>
              <a:avLst/>
              <a:gdLst/>
              <a:ahLst/>
              <a:cxnLst/>
              <a:rect l="l" t="t" r="r" b="b"/>
              <a:pathLst>
                <a:path w="1775" h="334" extrusionOk="0">
                  <a:moveTo>
                    <a:pt x="167" y="0"/>
                  </a:moveTo>
                  <a:cubicBezTo>
                    <a:pt x="84" y="0"/>
                    <a:pt x="0" y="84"/>
                    <a:pt x="0" y="167"/>
                  </a:cubicBezTo>
                  <a:cubicBezTo>
                    <a:pt x="0" y="262"/>
                    <a:pt x="84" y="334"/>
                    <a:pt x="167" y="334"/>
                  </a:cubicBezTo>
                  <a:lnTo>
                    <a:pt x="1608" y="334"/>
                  </a:lnTo>
                  <a:cubicBezTo>
                    <a:pt x="1703" y="334"/>
                    <a:pt x="1775" y="262"/>
                    <a:pt x="1775" y="167"/>
                  </a:cubicBezTo>
                  <a:cubicBezTo>
                    <a:pt x="1775" y="84"/>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7" name="Google Shape;13207;p64"/>
            <p:cNvSpPr/>
            <p:nvPr/>
          </p:nvSpPr>
          <p:spPr>
            <a:xfrm>
              <a:off x="3864176" y="3648713"/>
              <a:ext cx="21995" cy="10249"/>
            </a:xfrm>
            <a:custGeom>
              <a:avLst/>
              <a:gdLst/>
              <a:ahLst/>
              <a:cxnLst/>
              <a:rect l="l" t="t" r="r" b="b"/>
              <a:pathLst>
                <a:path w="691" h="322" extrusionOk="0">
                  <a:moveTo>
                    <a:pt x="167" y="0"/>
                  </a:moveTo>
                  <a:cubicBezTo>
                    <a:pt x="71" y="0"/>
                    <a:pt x="0" y="72"/>
                    <a:pt x="0" y="155"/>
                  </a:cubicBezTo>
                  <a:cubicBezTo>
                    <a:pt x="0" y="251"/>
                    <a:pt x="71" y="322"/>
                    <a:pt x="167" y="322"/>
                  </a:cubicBezTo>
                  <a:lnTo>
                    <a:pt x="524" y="322"/>
                  </a:lnTo>
                  <a:cubicBezTo>
                    <a:pt x="607" y="322"/>
                    <a:pt x="691" y="251"/>
                    <a:pt x="691" y="155"/>
                  </a:cubicBezTo>
                  <a:cubicBezTo>
                    <a:pt x="691" y="72"/>
                    <a:pt x="607"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8" name="Google Shape;13208;p64"/>
            <p:cNvSpPr/>
            <p:nvPr/>
          </p:nvSpPr>
          <p:spPr>
            <a:xfrm>
              <a:off x="3898648" y="3648713"/>
              <a:ext cx="56498" cy="10249"/>
            </a:xfrm>
            <a:custGeom>
              <a:avLst/>
              <a:gdLst/>
              <a:ahLst/>
              <a:cxnLst/>
              <a:rect l="l" t="t" r="r" b="b"/>
              <a:pathLst>
                <a:path w="1775" h="322" extrusionOk="0">
                  <a:moveTo>
                    <a:pt x="167" y="0"/>
                  </a:moveTo>
                  <a:cubicBezTo>
                    <a:pt x="84" y="0"/>
                    <a:pt x="0" y="72"/>
                    <a:pt x="0" y="155"/>
                  </a:cubicBezTo>
                  <a:cubicBezTo>
                    <a:pt x="0" y="251"/>
                    <a:pt x="84" y="322"/>
                    <a:pt x="167" y="322"/>
                  </a:cubicBezTo>
                  <a:lnTo>
                    <a:pt x="1608" y="322"/>
                  </a:lnTo>
                  <a:cubicBezTo>
                    <a:pt x="1703" y="322"/>
                    <a:pt x="1775" y="251"/>
                    <a:pt x="1775" y="155"/>
                  </a:cubicBezTo>
                  <a:cubicBezTo>
                    <a:pt x="1775"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9" name="Google Shape;13209;p64"/>
            <p:cNvSpPr/>
            <p:nvPr/>
          </p:nvSpPr>
          <p:spPr>
            <a:xfrm>
              <a:off x="3858097" y="3452036"/>
              <a:ext cx="11013" cy="10249"/>
            </a:xfrm>
            <a:custGeom>
              <a:avLst/>
              <a:gdLst/>
              <a:ahLst/>
              <a:cxnLst/>
              <a:rect l="l" t="t" r="r" b="b"/>
              <a:pathLst>
                <a:path w="346" h="322" extrusionOk="0">
                  <a:moveTo>
                    <a:pt x="167" y="0"/>
                  </a:moveTo>
                  <a:cubicBezTo>
                    <a:pt x="72" y="0"/>
                    <a:pt x="1" y="72"/>
                    <a:pt x="1" y="167"/>
                  </a:cubicBezTo>
                  <a:cubicBezTo>
                    <a:pt x="1" y="250"/>
                    <a:pt x="72" y="322"/>
                    <a:pt x="167" y="322"/>
                  </a:cubicBezTo>
                  <a:cubicBezTo>
                    <a:pt x="251" y="322"/>
                    <a:pt x="322" y="250"/>
                    <a:pt x="322" y="167"/>
                  </a:cubicBezTo>
                  <a:cubicBezTo>
                    <a:pt x="346"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10" name="Google Shape;13210;p64"/>
          <p:cNvGrpSpPr/>
          <p:nvPr/>
        </p:nvGrpSpPr>
        <p:grpSpPr>
          <a:xfrm>
            <a:off x="859265" y="3348175"/>
            <a:ext cx="312316" cy="368400"/>
            <a:chOff x="859265" y="3348175"/>
            <a:chExt cx="312316" cy="368400"/>
          </a:xfrm>
        </p:grpSpPr>
        <p:sp>
          <p:nvSpPr>
            <p:cNvPr id="13211" name="Google Shape;13211;p64"/>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2" name="Google Shape;13212;p64"/>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3" name="Google Shape;13213;p64"/>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4" name="Google Shape;13214;p64"/>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5" name="Google Shape;13215;p64"/>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16" name="Google Shape;13216;p64"/>
          <p:cNvSpPr/>
          <p:nvPr/>
        </p:nvSpPr>
        <p:spPr>
          <a:xfrm>
            <a:off x="2256921" y="3378127"/>
            <a:ext cx="372188" cy="309260"/>
          </a:xfrm>
          <a:custGeom>
            <a:avLst/>
            <a:gdLst/>
            <a:ahLst/>
            <a:cxnLst/>
            <a:rect l="l" t="t" r="r" b="b"/>
            <a:pathLst>
              <a:path w="11693" h="9716" extrusionOk="0">
                <a:moveTo>
                  <a:pt x="2906" y="346"/>
                </a:moveTo>
                <a:cubicBezTo>
                  <a:pt x="3120" y="346"/>
                  <a:pt x="3287" y="524"/>
                  <a:pt x="3287" y="727"/>
                </a:cubicBezTo>
                <a:lnTo>
                  <a:pt x="3287" y="1096"/>
                </a:lnTo>
                <a:cubicBezTo>
                  <a:pt x="3299" y="1429"/>
                  <a:pt x="3049" y="1679"/>
                  <a:pt x="2727" y="1679"/>
                </a:cubicBezTo>
                <a:cubicBezTo>
                  <a:pt x="2406" y="1679"/>
                  <a:pt x="2144" y="1429"/>
                  <a:pt x="2144" y="1096"/>
                </a:cubicBezTo>
                <a:lnTo>
                  <a:pt x="2144" y="727"/>
                </a:lnTo>
                <a:cubicBezTo>
                  <a:pt x="2144" y="500"/>
                  <a:pt x="2322" y="346"/>
                  <a:pt x="2525" y="346"/>
                </a:cubicBezTo>
                <a:close/>
                <a:moveTo>
                  <a:pt x="5894" y="346"/>
                </a:moveTo>
                <a:cubicBezTo>
                  <a:pt x="6120" y="346"/>
                  <a:pt x="6275" y="524"/>
                  <a:pt x="6275" y="727"/>
                </a:cubicBezTo>
                <a:lnTo>
                  <a:pt x="6275" y="1096"/>
                </a:lnTo>
                <a:cubicBezTo>
                  <a:pt x="6299" y="1429"/>
                  <a:pt x="6037" y="1679"/>
                  <a:pt x="5716" y="1679"/>
                </a:cubicBezTo>
                <a:cubicBezTo>
                  <a:pt x="5406" y="1679"/>
                  <a:pt x="5132" y="1429"/>
                  <a:pt x="5132" y="1096"/>
                </a:cubicBezTo>
                <a:lnTo>
                  <a:pt x="5132" y="727"/>
                </a:lnTo>
                <a:cubicBezTo>
                  <a:pt x="5132" y="500"/>
                  <a:pt x="5311" y="346"/>
                  <a:pt x="5525" y="346"/>
                </a:cubicBezTo>
                <a:close/>
                <a:moveTo>
                  <a:pt x="8895" y="346"/>
                </a:moveTo>
                <a:cubicBezTo>
                  <a:pt x="9121" y="346"/>
                  <a:pt x="9287" y="524"/>
                  <a:pt x="9287" y="727"/>
                </a:cubicBezTo>
                <a:lnTo>
                  <a:pt x="9287" y="1096"/>
                </a:lnTo>
                <a:cubicBezTo>
                  <a:pt x="9299" y="1429"/>
                  <a:pt x="9026" y="1679"/>
                  <a:pt x="8716" y="1679"/>
                </a:cubicBezTo>
                <a:cubicBezTo>
                  <a:pt x="8406" y="1679"/>
                  <a:pt x="8144" y="1429"/>
                  <a:pt x="8144" y="1096"/>
                </a:cubicBezTo>
                <a:lnTo>
                  <a:pt x="8144" y="727"/>
                </a:lnTo>
                <a:cubicBezTo>
                  <a:pt x="8144" y="500"/>
                  <a:pt x="8323" y="346"/>
                  <a:pt x="8525" y="346"/>
                </a:cubicBezTo>
                <a:close/>
                <a:moveTo>
                  <a:pt x="2930" y="2036"/>
                </a:moveTo>
                <a:lnTo>
                  <a:pt x="2930" y="2120"/>
                </a:lnTo>
                <a:cubicBezTo>
                  <a:pt x="2930" y="2179"/>
                  <a:pt x="2941" y="2263"/>
                  <a:pt x="2977" y="2310"/>
                </a:cubicBezTo>
                <a:lnTo>
                  <a:pt x="2739" y="2548"/>
                </a:lnTo>
                <a:lnTo>
                  <a:pt x="2703" y="2548"/>
                </a:lnTo>
                <a:lnTo>
                  <a:pt x="2465" y="2310"/>
                </a:lnTo>
                <a:cubicBezTo>
                  <a:pt x="2501" y="2251"/>
                  <a:pt x="2513" y="2191"/>
                  <a:pt x="2513" y="2120"/>
                </a:cubicBezTo>
                <a:lnTo>
                  <a:pt x="2513" y="2036"/>
                </a:lnTo>
                <a:close/>
                <a:moveTo>
                  <a:pt x="5918" y="2036"/>
                </a:moveTo>
                <a:lnTo>
                  <a:pt x="5918" y="2120"/>
                </a:lnTo>
                <a:cubicBezTo>
                  <a:pt x="5918" y="2179"/>
                  <a:pt x="5942" y="2263"/>
                  <a:pt x="5966" y="2310"/>
                </a:cubicBezTo>
                <a:lnTo>
                  <a:pt x="5728" y="2548"/>
                </a:lnTo>
                <a:lnTo>
                  <a:pt x="5704" y="2548"/>
                </a:lnTo>
                <a:lnTo>
                  <a:pt x="5466" y="2310"/>
                </a:lnTo>
                <a:cubicBezTo>
                  <a:pt x="5489" y="2251"/>
                  <a:pt x="5501" y="2191"/>
                  <a:pt x="5501" y="2120"/>
                </a:cubicBezTo>
                <a:lnTo>
                  <a:pt x="5501" y="2036"/>
                </a:lnTo>
                <a:close/>
                <a:moveTo>
                  <a:pt x="8930" y="2036"/>
                </a:moveTo>
                <a:lnTo>
                  <a:pt x="8930" y="2120"/>
                </a:lnTo>
                <a:cubicBezTo>
                  <a:pt x="8930" y="2179"/>
                  <a:pt x="8942" y="2263"/>
                  <a:pt x="8966" y="2310"/>
                </a:cubicBezTo>
                <a:lnTo>
                  <a:pt x="8728" y="2548"/>
                </a:lnTo>
                <a:lnTo>
                  <a:pt x="8704" y="2548"/>
                </a:lnTo>
                <a:lnTo>
                  <a:pt x="8466" y="2310"/>
                </a:lnTo>
                <a:cubicBezTo>
                  <a:pt x="8490" y="2251"/>
                  <a:pt x="8514" y="2191"/>
                  <a:pt x="8514" y="2120"/>
                </a:cubicBezTo>
                <a:lnTo>
                  <a:pt x="8514" y="2036"/>
                </a:lnTo>
                <a:close/>
                <a:moveTo>
                  <a:pt x="1394" y="3525"/>
                </a:moveTo>
                <a:cubicBezTo>
                  <a:pt x="1620" y="3525"/>
                  <a:pt x="1798" y="3703"/>
                  <a:pt x="1798" y="3918"/>
                </a:cubicBezTo>
                <a:lnTo>
                  <a:pt x="1798" y="4287"/>
                </a:lnTo>
                <a:cubicBezTo>
                  <a:pt x="1798" y="4596"/>
                  <a:pt x="1548" y="4870"/>
                  <a:pt x="1215" y="4870"/>
                </a:cubicBezTo>
                <a:cubicBezTo>
                  <a:pt x="905" y="4870"/>
                  <a:pt x="644" y="4608"/>
                  <a:pt x="644" y="4287"/>
                </a:cubicBezTo>
                <a:lnTo>
                  <a:pt x="644" y="3918"/>
                </a:lnTo>
                <a:cubicBezTo>
                  <a:pt x="644" y="3691"/>
                  <a:pt x="822" y="3525"/>
                  <a:pt x="1025" y="3525"/>
                </a:cubicBezTo>
                <a:close/>
                <a:moveTo>
                  <a:pt x="4406" y="3525"/>
                </a:moveTo>
                <a:cubicBezTo>
                  <a:pt x="4632" y="3525"/>
                  <a:pt x="4811" y="3703"/>
                  <a:pt x="4811" y="3918"/>
                </a:cubicBezTo>
                <a:lnTo>
                  <a:pt x="4811" y="4287"/>
                </a:lnTo>
                <a:cubicBezTo>
                  <a:pt x="4811" y="4596"/>
                  <a:pt x="4549" y="4870"/>
                  <a:pt x="4227" y="4870"/>
                </a:cubicBezTo>
                <a:cubicBezTo>
                  <a:pt x="3918" y="4870"/>
                  <a:pt x="3644" y="4608"/>
                  <a:pt x="3644" y="4287"/>
                </a:cubicBezTo>
                <a:lnTo>
                  <a:pt x="3644" y="3918"/>
                </a:lnTo>
                <a:cubicBezTo>
                  <a:pt x="3644" y="3691"/>
                  <a:pt x="3823" y="3525"/>
                  <a:pt x="4037" y="3525"/>
                </a:cubicBezTo>
                <a:close/>
                <a:moveTo>
                  <a:pt x="7394" y="3525"/>
                </a:moveTo>
                <a:cubicBezTo>
                  <a:pt x="7621" y="3525"/>
                  <a:pt x="7799" y="3703"/>
                  <a:pt x="7799" y="3918"/>
                </a:cubicBezTo>
                <a:lnTo>
                  <a:pt x="7799" y="4287"/>
                </a:lnTo>
                <a:cubicBezTo>
                  <a:pt x="7799" y="4596"/>
                  <a:pt x="7537" y="4870"/>
                  <a:pt x="7216" y="4870"/>
                </a:cubicBezTo>
                <a:cubicBezTo>
                  <a:pt x="6906" y="4870"/>
                  <a:pt x="6632" y="4608"/>
                  <a:pt x="6632" y="4287"/>
                </a:cubicBezTo>
                <a:lnTo>
                  <a:pt x="6632" y="3918"/>
                </a:lnTo>
                <a:cubicBezTo>
                  <a:pt x="6632" y="3691"/>
                  <a:pt x="6811" y="3525"/>
                  <a:pt x="7025" y="3525"/>
                </a:cubicBezTo>
                <a:close/>
                <a:moveTo>
                  <a:pt x="10407" y="3525"/>
                </a:moveTo>
                <a:cubicBezTo>
                  <a:pt x="10621" y="3525"/>
                  <a:pt x="10788" y="3703"/>
                  <a:pt x="10788" y="3918"/>
                </a:cubicBezTo>
                <a:lnTo>
                  <a:pt x="10788" y="4287"/>
                </a:lnTo>
                <a:cubicBezTo>
                  <a:pt x="10800" y="4608"/>
                  <a:pt x="10538" y="4870"/>
                  <a:pt x="10216" y="4870"/>
                </a:cubicBezTo>
                <a:cubicBezTo>
                  <a:pt x="9907" y="4870"/>
                  <a:pt x="9645" y="4608"/>
                  <a:pt x="9645" y="4287"/>
                </a:cubicBezTo>
                <a:lnTo>
                  <a:pt x="9645" y="3918"/>
                </a:lnTo>
                <a:cubicBezTo>
                  <a:pt x="9645" y="3691"/>
                  <a:pt x="9823" y="3525"/>
                  <a:pt x="10026" y="3525"/>
                </a:cubicBezTo>
                <a:close/>
                <a:moveTo>
                  <a:pt x="1429" y="5215"/>
                </a:moveTo>
                <a:lnTo>
                  <a:pt x="1429" y="5311"/>
                </a:lnTo>
                <a:cubicBezTo>
                  <a:pt x="1429" y="5370"/>
                  <a:pt x="1441" y="5442"/>
                  <a:pt x="1477" y="5489"/>
                </a:cubicBezTo>
                <a:lnTo>
                  <a:pt x="1239" y="5727"/>
                </a:lnTo>
                <a:lnTo>
                  <a:pt x="1203" y="5727"/>
                </a:lnTo>
                <a:lnTo>
                  <a:pt x="965" y="5489"/>
                </a:lnTo>
                <a:cubicBezTo>
                  <a:pt x="989" y="5430"/>
                  <a:pt x="1013" y="5370"/>
                  <a:pt x="1013" y="5311"/>
                </a:cubicBezTo>
                <a:lnTo>
                  <a:pt x="1013" y="5215"/>
                </a:lnTo>
                <a:close/>
                <a:moveTo>
                  <a:pt x="4430" y="5215"/>
                </a:moveTo>
                <a:lnTo>
                  <a:pt x="4430" y="5311"/>
                </a:lnTo>
                <a:cubicBezTo>
                  <a:pt x="4430" y="5370"/>
                  <a:pt x="4454" y="5442"/>
                  <a:pt x="4477" y="5489"/>
                </a:cubicBezTo>
                <a:lnTo>
                  <a:pt x="4239" y="5727"/>
                </a:lnTo>
                <a:lnTo>
                  <a:pt x="4215" y="5727"/>
                </a:lnTo>
                <a:lnTo>
                  <a:pt x="3977" y="5489"/>
                </a:lnTo>
                <a:cubicBezTo>
                  <a:pt x="4001" y="5430"/>
                  <a:pt x="4013" y="5370"/>
                  <a:pt x="4013" y="5311"/>
                </a:cubicBezTo>
                <a:lnTo>
                  <a:pt x="4013" y="5215"/>
                </a:lnTo>
                <a:close/>
                <a:moveTo>
                  <a:pt x="7418" y="5215"/>
                </a:moveTo>
                <a:lnTo>
                  <a:pt x="7418" y="5311"/>
                </a:lnTo>
                <a:cubicBezTo>
                  <a:pt x="7418" y="5370"/>
                  <a:pt x="7442" y="5442"/>
                  <a:pt x="7466" y="5489"/>
                </a:cubicBezTo>
                <a:lnTo>
                  <a:pt x="7228" y="5727"/>
                </a:lnTo>
                <a:lnTo>
                  <a:pt x="7204" y="5727"/>
                </a:lnTo>
                <a:lnTo>
                  <a:pt x="6966" y="5489"/>
                </a:lnTo>
                <a:cubicBezTo>
                  <a:pt x="6990" y="5430"/>
                  <a:pt x="7001" y="5370"/>
                  <a:pt x="7001" y="5311"/>
                </a:cubicBezTo>
                <a:lnTo>
                  <a:pt x="7001" y="5215"/>
                </a:lnTo>
                <a:close/>
                <a:moveTo>
                  <a:pt x="10419" y="5215"/>
                </a:moveTo>
                <a:lnTo>
                  <a:pt x="10419" y="5311"/>
                </a:lnTo>
                <a:cubicBezTo>
                  <a:pt x="10419" y="5370"/>
                  <a:pt x="10430" y="5442"/>
                  <a:pt x="10454" y="5489"/>
                </a:cubicBezTo>
                <a:lnTo>
                  <a:pt x="10216" y="5727"/>
                </a:lnTo>
                <a:lnTo>
                  <a:pt x="10192" y="5727"/>
                </a:lnTo>
                <a:lnTo>
                  <a:pt x="9954" y="5489"/>
                </a:lnTo>
                <a:cubicBezTo>
                  <a:pt x="9978" y="5430"/>
                  <a:pt x="10002" y="5370"/>
                  <a:pt x="10002" y="5311"/>
                </a:cubicBezTo>
                <a:lnTo>
                  <a:pt x="10002" y="5215"/>
                </a:lnTo>
                <a:close/>
                <a:moveTo>
                  <a:pt x="2584" y="0"/>
                </a:moveTo>
                <a:cubicBezTo>
                  <a:pt x="2191" y="0"/>
                  <a:pt x="1858" y="322"/>
                  <a:pt x="1858" y="727"/>
                </a:cubicBezTo>
                <a:lnTo>
                  <a:pt x="1858" y="1096"/>
                </a:lnTo>
                <a:cubicBezTo>
                  <a:pt x="1858" y="1393"/>
                  <a:pt x="2013" y="1667"/>
                  <a:pt x="2227" y="1846"/>
                </a:cubicBezTo>
                <a:lnTo>
                  <a:pt x="2227" y="2108"/>
                </a:lnTo>
                <a:cubicBezTo>
                  <a:pt x="2227" y="2108"/>
                  <a:pt x="2227" y="2132"/>
                  <a:pt x="2215" y="2132"/>
                </a:cubicBezTo>
                <a:lnTo>
                  <a:pt x="1787" y="2346"/>
                </a:lnTo>
                <a:cubicBezTo>
                  <a:pt x="1608" y="2441"/>
                  <a:pt x="1489" y="2632"/>
                  <a:pt x="1489" y="2846"/>
                </a:cubicBezTo>
                <a:lnTo>
                  <a:pt x="1489" y="3179"/>
                </a:lnTo>
                <a:lnTo>
                  <a:pt x="1096" y="3179"/>
                </a:lnTo>
                <a:cubicBezTo>
                  <a:pt x="703" y="3179"/>
                  <a:pt x="370" y="3513"/>
                  <a:pt x="370" y="3918"/>
                </a:cubicBezTo>
                <a:lnTo>
                  <a:pt x="370" y="4287"/>
                </a:lnTo>
                <a:cubicBezTo>
                  <a:pt x="370" y="4584"/>
                  <a:pt x="524" y="4846"/>
                  <a:pt x="739" y="5025"/>
                </a:cubicBezTo>
                <a:lnTo>
                  <a:pt x="739" y="5299"/>
                </a:lnTo>
                <a:cubicBezTo>
                  <a:pt x="739" y="5299"/>
                  <a:pt x="739" y="5311"/>
                  <a:pt x="727" y="5311"/>
                </a:cubicBezTo>
                <a:lnTo>
                  <a:pt x="298" y="5537"/>
                </a:lnTo>
                <a:cubicBezTo>
                  <a:pt x="120" y="5620"/>
                  <a:pt x="1" y="5823"/>
                  <a:pt x="1" y="6025"/>
                </a:cubicBezTo>
                <a:lnTo>
                  <a:pt x="1" y="7870"/>
                </a:lnTo>
                <a:cubicBezTo>
                  <a:pt x="1" y="8025"/>
                  <a:pt x="48" y="8156"/>
                  <a:pt x="120" y="8275"/>
                </a:cubicBezTo>
                <a:lnTo>
                  <a:pt x="298" y="8561"/>
                </a:lnTo>
                <a:cubicBezTo>
                  <a:pt x="346" y="8621"/>
                  <a:pt x="358" y="8692"/>
                  <a:pt x="358" y="8775"/>
                </a:cubicBezTo>
                <a:lnTo>
                  <a:pt x="358" y="9549"/>
                </a:lnTo>
                <a:cubicBezTo>
                  <a:pt x="358" y="9644"/>
                  <a:pt x="429" y="9716"/>
                  <a:pt x="524" y="9716"/>
                </a:cubicBezTo>
                <a:cubicBezTo>
                  <a:pt x="608" y="9716"/>
                  <a:pt x="679" y="9644"/>
                  <a:pt x="679" y="9549"/>
                </a:cubicBezTo>
                <a:lnTo>
                  <a:pt x="679" y="8775"/>
                </a:lnTo>
                <a:cubicBezTo>
                  <a:pt x="679" y="8632"/>
                  <a:pt x="644" y="8501"/>
                  <a:pt x="560" y="8371"/>
                </a:cubicBezTo>
                <a:lnTo>
                  <a:pt x="382" y="8097"/>
                </a:lnTo>
                <a:cubicBezTo>
                  <a:pt x="346" y="8037"/>
                  <a:pt x="322" y="7966"/>
                  <a:pt x="322" y="7870"/>
                </a:cubicBezTo>
                <a:lnTo>
                  <a:pt x="322" y="6025"/>
                </a:lnTo>
                <a:cubicBezTo>
                  <a:pt x="322" y="5954"/>
                  <a:pt x="370" y="5882"/>
                  <a:pt x="441" y="5846"/>
                </a:cubicBezTo>
                <a:lnTo>
                  <a:pt x="763" y="5692"/>
                </a:lnTo>
                <a:lnTo>
                  <a:pt x="1036" y="5977"/>
                </a:lnTo>
                <a:cubicBezTo>
                  <a:pt x="1120" y="6049"/>
                  <a:pt x="1203" y="6085"/>
                  <a:pt x="1298" y="6085"/>
                </a:cubicBezTo>
                <a:cubicBezTo>
                  <a:pt x="1382" y="6085"/>
                  <a:pt x="1477" y="6049"/>
                  <a:pt x="1548" y="5977"/>
                </a:cubicBezTo>
                <a:lnTo>
                  <a:pt x="1834" y="5692"/>
                </a:lnTo>
                <a:lnTo>
                  <a:pt x="2144" y="5846"/>
                </a:lnTo>
                <a:cubicBezTo>
                  <a:pt x="2215" y="5882"/>
                  <a:pt x="2263" y="5954"/>
                  <a:pt x="2263" y="6025"/>
                </a:cubicBezTo>
                <a:lnTo>
                  <a:pt x="2263" y="7870"/>
                </a:lnTo>
                <a:cubicBezTo>
                  <a:pt x="2263" y="7942"/>
                  <a:pt x="2227" y="8025"/>
                  <a:pt x="2203" y="8097"/>
                </a:cubicBezTo>
                <a:lnTo>
                  <a:pt x="2025" y="8371"/>
                </a:lnTo>
                <a:cubicBezTo>
                  <a:pt x="1953" y="8490"/>
                  <a:pt x="1906" y="8644"/>
                  <a:pt x="1906" y="8775"/>
                </a:cubicBezTo>
                <a:lnTo>
                  <a:pt x="1906" y="9549"/>
                </a:lnTo>
                <a:cubicBezTo>
                  <a:pt x="1906" y="9644"/>
                  <a:pt x="1977" y="9716"/>
                  <a:pt x="2072" y="9716"/>
                </a:cubicBezTo>
                <a:cubicBezTo>
                  <a:pt x="2156" y="9716"/>
                  <a:pt x="2227" y="9644"/>
                  <a:pt x="2227" y="9549"/>
                </a:cubicBezTo>
                <a:lnTo>
                  <a:pt x="2227" y="8775"/>
                </a:lnTo>
                <a:cubicBezTo>
                  <a:pt x="2227" y="8704"/>
                  <a:pt x="2263" y="8632"/>
                  <a:pt x="2287" y="8561"/>
                </a:cubicBezTo>
                <a:lnTo>
                  <a:pt x="2465" y="8275"/>
                </a:lnTo>
                <a:cubicBezTo>
                  <a:pt x="2549" y="8156"/>
                  <a:pt x="2584" y="8001"/>
                  <a:pt x="2584" y="7870"/>
                </a:cubicBezTo>
                <a:lnTo>
                  <a:pt x="2584" y="6025"/>
                </a:lnTo>
                <a:cubicBezTo>
                  <a:pt x="2584" y="5823"/>
                  <a:pt x="2465" y="5644"/>
                  <a:pt x="2287" y="5537"/>
                </a:cubicBezTo>
                <a:lnTo>
                  <a:pt x="1858" y="5311"/>
                </a:lnTo>
                <a:lnTo>
                  <a:pt x="1846" y="5299"/>
                </a:lnTo>
                <a:lnTo>
                  <a:pt x="1846" y="5025"/>
                </a:lnTo>
                <a:cubicBezTo>
                  <a:pt x="2072" y="4870"/>
                  <a:pt x="2215" y="4596"/>
                  <a:pt x="2215" y="4287"/>
                </a:cubicBezTo>
                <a:lnTo>
                  <a:pt x="2215" y="3918"/>
                </a:lnTo>
                <a:cubicBezTo>
                  <a:pt x="2215" y="3644"/>
                  <a:pt x="2072" y="3406"/>
                  <a:pt x="1846" y="3275"/>
                </a:cubicBezTo>
                <a:lnTo>
                  <a:pt x="1846" y="2822"/>
                </a:lnTo>
                <a:cubicBezTo>
                  <a:pt x="1846" y="2751"/>
                  <a:pt x="1894" y="2679"/>
                  <a:pt x="1965" y="2644"/>
                </a:cubicBezTo>
                <a:lnTo>
                  <a:pt x="2275" y="2501"/>
                </a:lnTo>
                <a:lnTo>
                  <a:pt x="2560" y="2786"/>
                </a:lnTo>
                <a:cubicBezTo>
                  <a:pt x="2632" y="2858"/>
                  <a:pt x="2727" y="2882"/>
                  <a:pt x="2810" y="2882"/>
                </a:cubicBezTo>
                <a:cubicBezTo>
                  <a:pt x="2906" y="2882"/>
                  <a:pt x="2989" y="2858"/>
                  <a:pt x="3061" y="2786"/>
                </a:cubicBezTo>
                <a:lnTo>
                  <a:pt x="3346" y="2501"/>
                </a:lnTo>
                <a:lnTo>
                  <a:pt x="3656" y="2644"/>
                </a:lnTo>
                <a:cubicBezTo>
                  <a:pt x="3739" y="2679"/>
                  <a:pt x="3775" y="2751"/>
                  <a:pt x="3775" y="2822"/>
                </a:cubicBezTo>
                <a:lnTo>
                  <a:pt x="3775" y="3275"/>
                </a:lnTo>
                <a:cubicBezTo>
                  <a:pt x="3561" y="3394"/>
                  <a:pt x="3406" y="3632"/>
                  <a:pt x="3406" y="3918"/>
                </a:cubicBezTo>
                <a:lnTo>
                  <a:pt x="3406" y="4287"/>
                </a:lnTo>
                <a:cubicBezTo>
                  <a:pt x="3406" y="4584"/>
                  <a:pt x="3561" y="4846"/>
                  <a:pt x="3775" y="5025"/>
                </a:cubicBezTo>
                <a:lnTo>
                  <a:pt x="3775" y="5299"/>
                </a:lnTo>
                <a:cubicBezTo>
                  <a:pt x="3775" y="5299"/>
                  <a:pt x="3775" y="5311"/>
                  <a:pt x="3763" y="5311"/>
                </a:cubicBezTo>
                <a:lnTo>
                  <a:pt x="3334" y="5537"/>
                </a:lnTo>
                <a:cubicBezTo>
                  <a:pt x="3156" y="5620"/>
                  <a:pt x="3037" y="5823"/>
                  <a:pt x="3037" y="6025"/>
                </a:cubicBezTo>
                <a:lnTo>
                  <a:pt x="3037" y="7870"/>
                </a:lnTo>
                <a:cubicBezTo>
                  <a:pt x="3037" y="8025"/>
                  <a:pt x="3084" y="8156"/>
                  <a:pt x="3156" y="8275"/>
                </a:cubicBezTo>
                <a:lnTo>
                  <a:pt x="3334" y="8561"/>
                </a:lnTo>
                <a:cubicBezTo>
                  <a:pt x="3382" y="8621"/>
                  <a:pt x="3394" y="8692"/>
                  <a:pt x="3394" y="8775"/>
                </a:cubicBezTo>
                <a:lnTo>
                  <a:pt x="3394" y="9549"/>
                </a:lnTo>
                <a:cubicBezTo>
                  <a:pt x="3394" y="9644"/>
                  <a:pt x="3465" y="9716"/>
                  <a:pt x="3561" y="9716"/>
                </a:cubicBezTo>
                <a:cubicBezTo>
                  <a:pt x="3644" y="9716"/>
                  <a:pt x="3715" y="9644"/>
                  <a:pt x="3715" y="9549"/>
                </a:cubicBezTo>
                <a:lnTo>
                  <a:pt x="3715" y="8775"/>
                </a:lnTo>
                <a:cubicBezTo>
                  <a:pt x="3715" y="8632"/>
                  <a:pt x="3680" y="8501"/>
                  <a:pt x="3596" y="8371"/>
                </a:cubicBezTo>
                <a:lnTo>
                  <a:pt x="3418" y="8097"/>
                </a:lnTo>
                <a:cubicBezTo>
                  <a:pt x="3382" y="8037"/>
                  <a:pt x="3358" y="7966"/>
                  <a:pt x="3358" y="7870"/>
                </a:cubicBezTo>
                <a:lnTo>
                  <a:pt x="3358" y="6025"/>
                </a:lnTo>
                <a:cubicBezTo>
                  <a:pt x="3358" y="5954"/>
                  <a:pt x="3406" y="5882"/>
                  <a:pt x="3477" y="5846"/>
                </a:cubicBezTo>
                <a:lnTo>
                  <a:pt x="3799" y="5692"/>
                </a:lnTo>
                <a:lnTo>
                  <a:pt x="4073" y="5977"/>
                </a:lnTo>
                <a:cubicBezTo>
                  <a:pt x="4156" y="6049"/>
                  <a:pt x="4239" y="6085"/>
                  <a:pt x="4334" y="6085"/>
                </a:cubicBezTo>
                <a:cubicBezTo>
                  <a:pt x="4418" y="6085"/>
                  <a:pt x="4513" y="6049"/>
                  <a:pt x="4585" y="5977"/>
                </a:cubicBezTo>
                <a:lnTo>
                  <a:pt x="4870" y="5692"/>
                </a:lnTo>
                <a:lnTo>
                  <a:pt x="5180" y="5846"/>
                </a:lnTo>
                <a:cubicBezTo>
                  <a:pt x="5251" y="5882"/>
                  <a:pt x="5299" y="5954"/>
                  <a:pt x="5299" y="6025"/>
                </a:cubicBezTo>
                <a:lnTo>
                  <a:pt x="5299" y="7870"/>
                </a:lnTo>
                <a:cubicBezTo>
                  <a:pt x="5299" y="7942"/>
                  <a:pt x="5263" y="8025"/>
                  <a:pt x="5239" y="8097"/>
                </a:cubicBezTo>
                <a:lnTo>
                  <a:pt x="5061" y="8371"/>
                </a:lnTo>
                <a:cubicBezTo>
                  <a:pt x="4989" y="8490"/>
                  <a:pt x="4942" y="8644"/>
                  <a:pt x="4942" y="8775"/>
                </a:cubicBezTo>
                <a:lnTo>
                  <a:pt x="4942" y="9549"/>
                </a:lnTo>
                <a:cubicBezTo>
                  <a:pt x="4942" y="9644"/>
                  <a:pt x="5013" y="9716"/>
                  <a:pt x="5108" y="9716"/>
                </a:cubicBezTo>
                <a:cubicBezTo>
                  <a:pt x="5192" y="9716"/>
                  <a:pt x="5263" y="9644"/>
                  <a:pt x="5263" y="9549"/>
                </a:cubicBezTo>
                <a:lnTo>
                  <a:pt x="5263" y="8775"/>
                </a:lnTo>
                <a:cubicBezTo>
                  <a:pt x="5263" y="8704"/>
                  <a:pt x="5299" y="8632"/>
                  <a:pt x="5323" y="8561"/>
                </a:cubicBezTo>
                <a:lnTo>
                  <a:pt x="5501" y="8275"/>
                </a:lnTo>
                <a:cubicBezTo>
                  <a:pt x="5585" y="8156"/>
                  <a:pt x="5620" y="8001"/>
                  <a:pt x="5620" y="7870"/>
                </a:cubicBezTo>
                <a:lnTo>
                  <a:pt x="5620" y="6025"/>
                </a:lnTo>
                <a:cubicBezTo>
                  <a:pt x="5620" y="5823"/>
                  <a:pt x="5501" y="5644"/>
                  <a:pt x="5323" y="5537"/>
                </a:cubicBezTo>
                <a:lnTo>
                  <a:pt x="4894" y="5311"/>
                </a:lnTo>
                <a:lnTo>
                  <a:pt x="4882" y="5299"/>
                </a:lnTo>
                <a:lnTo>
                  <a:pt x="4882" y="5025"/>
                </a:lnTo>
                <a:cubicBezTo>
                  <a:pt x="5108" y="4870"/>
                  <a:pt x="5251" y="4596"/>
                  <a:pt x="5251" y="4287"/>
                </a:cubicBezTo>
                <a:lnTo>
                  <a:pt x="5251" y="3918"/>
                </a:lnTo>
                <a:cubicBezTo>
                  <a:pt x="5251" y="3644"/>
                  <a:pt x="5108" y="3406"/>
                  <a:pt x="4882" y="3275"/>
                </a:cubicBezTo>
                <a:lnTo>
                  <a:pt x="4882" y="2822"/>
                </a:lnTo>
                <a:cubicBezTo>
                  <a:pt x="4882" y="2751"/>
                  <a:pt x="4930" y="2679"/>
                  <a:pt x="5001" y="2644"/>
                </a:cubicBezTo>
                <a:lnTo>
                  <a:pt x="5311" y="2501"/>
                </a:lnTo>
                <a:lnTo>
                  <a:pt x="5597" y="2786"/>
                </a:lnTo>
                <a:cubicBezTo>
                  <a:pt x="5668" y="2858"/>
                  <a:pt x="5763" y="2882"/>
                  <a:pt x="5847" y="2882"/>
                </a:cubicBezTo>
                <a:cubicBezTo>
                  <a:pt x="5942" y="2882"/>
                  <a:pt x="6025" y="2858"/>
                  <a:pt x="6097" y="2786"/>
                </a:cubicBezTo>
                <a:lnTo>
                  <a:pt x="6382" y="2501"/>
                </a:lnTo>
                <a:lnTo>
                  <a:pt x="6692" y="2644"/>
                </a:lnTo>
                <a:cubicBezTo>
                  <a:pt x="6775" y="2679"/>
                  <a:pt x="6811" y="2751"/>
                  <a:pt x="6811" y="2822"/>
                </a:cubicBezTo>
                <a:lnTo>
                  <a:pt x="6811" y="3275"/>
                </a:lnTo>
                <a:cubicBezTo>
                  <a:pt x="6597" y="3394"/>
                  <a:pt x="6442" y="3632"/>
                  <a:pt x="6442" y="3918"/>
                </a:cubicBezTo>
                <a:lnTo>
                  <a:pt x="6442" y="4287"/>
                </a:lnTo>
                <a:cubicBezTo>
                  <a:pt x="6442" y="4584"/>
                  <a:pt x="6597" y="4846"/>
                  <a:pt x="6811" y="5025"/>
                </a:cubicBezTo>
                <a:lnTo>
                  <a:pt x="6811" y="5299"/>
                </a:lnTo>
                <a:cubicBezTo>
                  <a:pt x="6811" y="5299"/>
                  <a:pt x="6811" y="5311"/>
                  <a:pt x="6799" y="5311"/>
                </a:cubicBezTo>
                <a:lnTo>
                  <a:pt x="6370" y="5537"/>
                </a:lnTo>
                <a:cubicBezTo>
                  <a:pt x="6192" y="5620"/>
                  <a:pt x="6073" y="5823"/>
                  <a:pt x="6073" y="6025"/>
                </a:cubicBezTo>
                <a:lnTo>
                  <a:pt x="6073" y="7870"/>
                </a:lnTo>
                <a:cubicBezTo>
                  <a:pt x="6073" y="8025"/>
                  <a:pt x="6120" y="8156"/>
                  <a:pt x="6192" y="8275"/>
                </a:cubicBezTo>
                <a:lnTo>
                  <a:pt x="6370" y="8561"/>
                </a:lnTo>
                <a:cubicBezTo>
                  <a:pt x="6418" y="8621"/>
                  <a:pt x="6430" y="8692"/>
                  <a:pt x="6430" y="8775"/>
                </a:cubicBezTo>
                <a:lnTo>
                  <a:pt x="6430" y="9549"/>
                </a:lnTo>
                <a:cubicBezTo>
                  <a:pt x="6430" y="9644"/>
                  <a:pt x="6501" y="9716"/>
                  <a:pt x="6597" y="9716"/>
                </a:cubicBezTo>
                <a:cubicBezTo>
                  <a:pt x="6680" y="9716"/>
                  <a:pt x="6751" y="9644"/>
                  <a:pt x="6751" y="9549"/>
                </a:cubicBezTo>
                <a:lnTo>
                  <a:pt x="6751" y="8775"/>
                </a:lnTo>
                <a:cubicBezTo>
                  <a:pt x="6751" y="8632"/>
                  <a:pt x="6716" y="8501"/>
                  <a:pt x="6632" y="8371"/>
                </a:cubicBezTo>
                <a:lnTo>
                  <a:pt x="6454" y="8097"/>
                </a:lnTo>
                <a:cubicBezTo>
                  <a:pt x="6418" y="8037"/>
                  <a:pt x="6394" y="7966"/>
                  <a:pt x="6394" y="7870"/>
                </a:cubicBezTo>
                <a:lnTo>
                  <a:pt x="6394" y="6025"/>
                </a:lnTo>
                <a:cubicBezTo>
                  <a:pt x="6394" y="5954"/>
                  <a:pt x="6442" y="5882"/>
                  <a:pt x="6513" y="5846"/>
                </a:cubicBezTo>
                <a:lnTo>
                  <a:pt x="6835" y="5692"/>
                </a:lnTo>
                <a:lnTo>
                  <a:pt x="7109" y="5977"/>
                </a:lnTo>
                <a:cubicBezTo>
                  <a:pt x="7192" y="6049"/>
                  <a:pt x="7275" y="6085"/>
                  <a:pt x="7371" y="6085"/>
                </a:cubicBezTo>
                <a:cubicBezTo>
                  <a:pt x="7454" y="6085"/>
                  <a:pt x="7549" y="6049"/>
                  <a:pt x="7621" y="5977"/>
                </a:cubicBezTo>
                <a:lnTo>
                  <a:pt x="7906" y="5692"/>
                </a:lnTo>
                <a:lnTo>
                  <a:pt x="8216" y="5846"/>
                </a:lnTo>
                <a:cubicBezTo>
                  <a:pt x="8287" y="5882"/>
                  <a:pt x="8335" y="5954"/>
                  <a:pt x="8335" y="6025"/>
                </a:cubicBezTo>
                <a:lnTo>
                  <a:pt x="8335" y="7870"/>
                </a:lnTo>
                <a:cubicBezTo>
                  <a:pt x="8335" y="7942"/>
                  <a:pt x="8299" y="8025"/>
                  <a:pt x="8275" y="8097"/>
                </a:cubicBezTo>
                <a:lnTo>
                  <a:pt x="8097" y="8371"/>
                </a:lnTo>
                <a:cubicBezTo>
                  <a:pt x="8025" y="8490"/>
                  <a:pt x="7978" y="8644"/>
                  <a:pt x="7978" y="8775"/>
                </a:cubicBezTo>
                <a:lnTo>
                  <a:pt x="7978" y="9549"/>
                </a:lnTo>
                <a:cubicBezTo>
                  <a:pt x="7978" y="9644"/>
                  <a:pt x="8049" y="9716"/>
                  <a:pt x="8144" y="9716"/>
                </a:cubicBezTo>
                <a:cubicBezTo>
                  <a:pt x="8228" y="9716"/>
                  <a:pt x="8299" y="9644"/>
                  <a:pt x="8299" y="9549"/>
                </a:cubicBezTo>
                <a:lnTo>
                  <a:pt x="8299" y="8775"/>
                </a:lnTo>
                <a:cubicBezTo>
                  <a:pt x="8299" y="8704"/>
                  <a:pt x="8335" y="8632"/>
                  <a:pt x="8359" y="8561"/>
                </a:cubicBezTo>
                <a:lnTo>
                  <a:pt x="8537" y="8275"/>
                </a:lnTo>
                <a:cubicBezTo>
                  <a:pt x="8621" y="8156"/>
                  <a:pt x="8656" y="8001"/>
                  <a:pt x="8656" y="7870"/>
                </a:cubicBezTo>
                <a:lnTo>
                  <a:pt x="8656" y="6025"/>
                </a:lnTo>
                <a:cubicBezTo>
                  <a:pt x="8656" y="5823"/>
                  <a:pt x="8537" y="5644"/>
                  <a:pt x="8359" y="5537"/>
                </a:cubicBezTo>
                <a:lnTo>
                  <a:pt x="7930" y="5311"/>
                </a:lnTo>
                <a:lnTo>
                  <a:pt x="7918" y="5299"/>
                </a:lnTo>
                <a:lnTo>
                  <a:pt x="7918" y="5025"/>
                </a:lnTo>
                <a:cubicBezTo>
                  <a:pt x="8144" y="4870"/>
                  <a:pt x="8287" y="4596"/>
                  <a:pt x="8287" y="4287"/>
                </a:cubicBezTo>
                <a:lnTo>
                  <a:pt x="8287" y="3918"/>
                </a:lnTo>
                <a:cubicBezTo>
                  <a:pt x="8287" y="3644"/>
                  <a:pt x="8144" y="3406"/>
                  <a:pt x="7918" y="3275"/>
                </a:cubicBezTo>
                <a:lnTo>
                  <a:pt x="7918" y="2822"/>
                </a:lnTo>
                <a:cubicBezTo>
                  <a:pt x="7918" y="2751"/>
                  <a:pt x="7966" y="2679"/>
                  <a:pt x="8037" y="2644"/>
                </a:cubicBezTo>
                <a:lnTo>
                  <a:pt x="8347" y="2501"/>
                </a:lnTo>
                <a:lnTo>
                  <a:pt x="8633" y="2786"/>
                </a:lnTo>
                <a:cubicBezTo>
                  <a:pt x="8704" y="2858"/>
                  <a:pt x="8799" y="2882"/>
                  <a:pt x="8883" y="2882"/>
                </a:cubicBezTo>
                <a:cubicBezTo>
                  <a:pt x="8978" y="2882"/>
                  <a:pt x="9061" y="2858"/>
                  <a:pt x="9133" y="2786"/>
                </a:cubicBezTo>
                <a:lnTo>
                  <a:pt x="9418" y="2501"/>
                </a:lnTo>
                <a:lnTo>
                  <a:pt x="9728" y="2644"/>
                </a:lnTo>
                <a:cubicBezTo>
                  <a:pt x="9811" y="2679"/>
                  <a:pt x="9847" y="2751"/>
                  <a:pt x="9847" y="2822"/>
                </a:cubicBezTo>
                <a:lnTo>
                  <a:pt x="9847" y="3275"/>
                </a:lnTo>
                <a:cubicBezTo>
                  <a:pt x="9633" y="3394"/>
                  <a:pt x="9478" y="3632"/>
                  <a:pt x="9478" y="3918"/>
                </a:cubicBezTo>
                <a:lnTo>
                  <a:pt x="9478" y="4287"/>
                </a:lnTo>
                <a:cubicBezTo>
                  <a:pt x="9478" y="4584"/>
                  <a:pt x="9633" y="4846"/>
                  <a:pt x="9847" y="5025"/>
                </a:cubicBezTo>
                <a:lnTo>
                  <a:pt x="9847" y="5299"/>
                </a:lnTo>
                <a:cubicBezTo>
                  <a:pt x="9847" y="5299"/>
                  <a:pt x="9847" y="5311"/>
                  <a:pt x="9835" y="5311"/>
                </a:cubicBezTo>
                <a:lnTo>
                  <a:pt x="9407" y="5537"/>
                </a:lnTo>
                <a:cubicBezTo>
                  <a:pt x="9228" y="5620"/>
                  <a:pt x="9109" y="5823"/>
                  <a:pt x="9109" y="6025"/>
                </a:cubicBezTo>
                <a:lnTo>
                  <a:pt x="9109" y="7870"/>
                </a:lnTo>
                <a:cubicBezTo>
                  <a:pt x="9109" y="8025"/>
                  <a:pt x="9157" y="8156"/>
                  <a:pt x="9228" y="8275"/>
                </a:cubicBezTo>
                <a:lnTo>
                  <a:pt x="9407" y="8561"/>
                </a:lnTo>
                <a:cubicBezTo>
                  <a:pt x="9454" y="8621"/>
                  <a:pt x="9466" y="8692"/>
                  <a:pt x="9466" y="8775"/>
                </a:cubicBezTo>
                <a:lnTo>
                  <a:pt x="9466" y="9549"/>
                </a:lnTo>
                <a:cubicBezTo>
                  <a:pt x="9466" y="9644"/>
                  <a:pt x="9538" y="9716"/>
                  <a:pt x="9633" y="9716"/>
                </a:cubicBezTo>
                <a:cubicBezTo>
                  <a:pt x="9716" y="9716"/>
                  <a:pt x="9788" y="9644"/>
                  <a:pt x="9788" y="9549"/>
                </a:cubicBezTo>
                <a:lnTo>
                  <a:pt x="9788" y="8775"/>
                </a:lnTo>
                <a:cubicBezTo>
                  <a:pt x="9788" y="8632"/>
                  <a:pt x="9752" y="8501"/>
                  <a:pt x="9668" y="8371"/>
                </a:cubicBezTo>
                <a:lnTo>
                  <a:pt x="9490" y="8097"/>
                </a:lnTo>
                <a:cubicBezTo>
                  <a:pt x="9454" y="8037"/>
                  <a:pt x="9430" y="7966"/>
                  <a:pt x="9430" y="7870"/>
                </a:cubicBezTo>
                <a:lnTo>
                  <a:pt x="9430" y="6025"/>
                </a:lnTo>
                <a:cubicBezTo>
                  <a:pt x="9430" y="5954"/>
                  <a:pt x="9478" y="5882"/>
                  <a:pt x="9549" y="5846"/>
                </a:cubicBezTo>
                <a:lnTo>
                  <a:pt x="9871" y="5692"/>
                </a:lnTo>
                <a:lnTo>
                  <a:pt x="10145" y="5977"/>
                </a:lnTo>
                <a:cubicBezTo>
                  <a:pt x="10228" y="6049"/>
                  <a:pt x="10311" y="6085"/>
                  <a:pt x="10407" y="6085"/>
                </a:cubicBezTo>
                <a:cubicBezTo>
                  <a:pt x="10490" y="6085"/>
                  <a:pt x="10585" y="6049"/>
                  <a:pt x="10657" y="5977"/>
                </a:cubicBezTo>
                <a:lnTo>
                  <a:pt x="10942" y="5692"/>
                </a:lnTo>
                <a:lnTo>
                  <a:pt x="11252" y="5846"/>
                </a:lnTo>
                <a:cubicBezTo>
                  <a:pt x="11323" y="5882"/>
                  <a:pt x="11371" y="5954"/>
                  <a:pt x="11371" y="6025"/>
                </a:cubicBezTo>
                <a:lnTo>
                  <a:pt x="11371" y="7870"/>
                </a:lnTo>
                <a:cubicBezTo>
                  <a:pt x="11371" y="7942"/>
                  <a:pt x="11335" y="8025"/>
                  <a:pt x="11312" y="8097"/>
                </a:cubicBezTo>
                <a:lnTo>
                  <a:pt x="11133" y="8371"/>
                </a:lnTo>
                <a:cubicBezTo>
                  <a:pt x="11062" y="8490"/>
                  <a:pt x="11014" y="8644"/>
                  <a:pt x="11014" y="8775"/>
                </a:cubicBezTo>
                <a:lnTo>
                  <a:pt x="11014" y="9549"/>
                </a:lnTo>
                <a:cubicBezTo>
                  <a:pt x="11014" y="9644"/>
                  <a:pt x="11085" y="9716"/>
                  <a:pt x="11181" y="9716"/>
                </a:cubicBezTo>
                <a:cubicBezTo>
                  <a:pt x="11264" y="9716"/>
                  <a:pt x="11335" y="9644"/>
                  <a:pt x="11335" y="9549"/>
                </a:cubicBezTo>
                <a:lnTo>
                  <a:pt x="11335" y="8775"/>
                </a:lnTo>
                <a:cubicBezTo>
                  <a:pt x="11335" y="8704"/>
                  <a:pt x="11371" y="8632"/>
                  <a:pt x="11395" y="8561"/>
                </a:cubicBezTo>
                <a:lnTo>
                  <a:pt x="11573" y="8275"/>
                </a:lnTo>
                <a:cubicBezTo>
                  <a:pt x="11657" y="8156"/>
                  <a:pt x="11693" y="8001"/>
                  <a:pt x="11693" y="7870"/>
                </a:cubicBezTo>
                <a:lnTo>
                  <a:pt x="11693" y="6025"/>
                </a:lnTo>
                <a:cubicBezTo>
                  <a:pt x="11514" y="5823"/>
                  <a:pt x="11395" y="5620"/>
                  <a:pt x="11204" y="5537"/>
                </a:cubicBezTo>
                <a:lnTo>
                  <a:pt x="10776" y="5311"/>
                </a:lnTo>
                <a:lnTo>
                  <a:pt x="10764" y="5299"/>
                </a:lnTo>
                <a:lnTo>
                  <a:pt x="10764" y="5025"/>
                </a:lnTo>
                <a:cubicBezTo>
                  <a:pt x="10978" y="4870"/>
                  <a:pt x="11133" y="4596"/>
                  <a:pt x="11133" y="4287"/>
                </a:cubicBezTo>
                <a:lnTo>
                  <a:pt x="11133" y="3918"/>
                </a:lnTo>
                <a:cubicBezTo>
                  <a:pt x="11133" y="3513"/>
                  <a:pt x="10800" y="3179"/>
                  <a:pt x="10407" y="3179"/>
                </a:cubicBezTo>
                <a:lnTo>
                  <a:pt x="10014" y="3179"/>
                </a:lnTo>
                <a:lnTo>
                  <a:pt x="10014" y="2846"/>
                </a:lnTo>
                <a:cubicBezTo>
                  <a:pt x="10014" y="2632"/>
                  <a:pt x="9895" y="2453"/>
                  <a:pt x="9716" y="2346"/>
                </a:cubicBezTo>
                <a:lnTo>
                  <a:pt x="9287" y="2132"/>
                </a:lnTo>
                <a:lnTo>
                  <a:pt x="9276" y="2108"/>
                </a:lnTo>
                <a:lnTo>
                  <a:pt x="9276" y="1846"/>
                </a:lnTo>
                <a:cubicBezTo>
                  <a:pt x="9490" y="1679"/>
                  <a:pt x="9645" y="1417"/>
                  <a:pt x="9645" y="1096"/>
                </a:cubicBezTo>
                <a:lnTo>
                  <a:pt x="9645" y="727"/>
                </a:lnTo>
                <a:cubicBezTo>
                  <a:pt x="9645" y="322"/>
                  <a:pt x="9311" y="0"/>
                  <a:pt x="8918" y="0"/>
                </a:cubicBezTo>
                <a:lnTo>
                  <a:pt x="8537" y="0"/>
                </a:lnTo>
                <a:cubicBezTo>
                  <a:pt x="8133" y="0"/>
                  <a:pt x="7811" y="322"/>
                  <a:pt x="7811" y="727"/>
                </a:cubicBezTo>
                <a:lnTo>
                  <a:pt x="7811" y="1096"/>
                </a:lnTo>
                <a:cubicBezTo>
                  <a:pt x="7811" y="1393"/>
                  <a:pt x="7966" y="1667"/>
                  <a:pt x="8180" y="1846"/>
                </a:cubicBezTo>
                <a:lnTo>
                  <a:pt x="8180" y="2108"/>
                </a:lnTo>
                <a:cubicBezTo>
                  <a:pt x="8180" y="2108"/>
                  <a:pt x="8180" y="2132"/>
                  <a:pt x="8168" y="2132"/>
                </a:cubicBezTo>
                <a:lnTo>
                  <a:pt x="7740" y="2346"/>
                </a:lnTo>
                <a:cubicBezTo>
                  <a:pt x="7561" y="2441"/>
                  <a:pt x="7442" y="2632"/>
                  <a:pt x="7442" y="2846"/>
                </a:cubicBezTo>
                <a:lnTo>
                  <a:pt x="7442" y="3179"/>
                </a:lnTo>
                <a:lnTo>
                  <a:pt x="7037" y="3179"/>
                </a:lnTo>
                <a:lnTo>
                  <a:pt x="7037" y="2846"/>
                </a:lnTo>
                <a:cubicBezTo>
                  <a:pt x="7037" y="2632"/>
                  <a:pt x="6918" y="2453"/>
                  <a:pt x="6740" y="2346"/>
                </a:cubicBezTo>
                <a:lnTo>
                  <a:pt x="6311" y="2132"/>
                </a:lnTo>
                <a:lnTo>
                  <a:pt x="6299" y="2108"/>
                </a:lnTo>
                <a:lnTo>
                  <a:pt x="6299" y="1846"/>
                </a:lnTo>
                <a:cubicBezTo>
                  <a:pt x="6513" y="1679"/>
                  <a:pt x="6668" y="1417"/>
                  <a:pt x="6668" y="1096"/>
                </a:cubicBezTo>
                <a:lnTo>
                  <a:pt x="6668" y="727"/>
                </a:lnTo>
                <a:cubicBezTo>
                  <a:pt x="6668" y="322"/>
                  <a:pt x="6335" y="0"/>
                  <a:pt x="5942" y="0"/>
                </a:cubicBezTo>
                <a:lnTo>
                  <a:pt x="5561" y="0"/>
                </a:lnTo>
                <a:cubicBezTo>
                  <a:pt x="5168" y="0"/>
                  <a:pt x="4835" y="322"/>
                  <a:pt x="4835" y="727"/>
                </a:cubicBezTo>
                <a:lnTo>
                  <a:pt x="4835" y="1096"/>
                </a:lnTo>
                <a:cubicBezTo>
                  <a:pt x="4835" y="1393"/>
                  <a:pt x="4989" y="1667"/>
                  <a:pt x="5204" y="1846"/>
                </a:cubicBezTo>
                <a:lnTo>
                  <a:pt x="5204" y="2108"/>
                </a:lnTo>
                <a:cubicBezTo>
                  <a:pt x="5204" y="2108"/>
                  <a:pt x="5204" y="2132"/>
                  <a:pt x="5192" y="2132"/>
                </a:cubicBezTo>
                <a:lnTo>
                  <a:pt x="4763" y="2346"/>
                </a:lnTo>
                <a:cubicBezTo>
                  <a:pt x="4585" y="2441"/>
                  <a:pt x="4465" y="2632"/>
                  <a:pt x="4465" y="2846"/>
                </a:cubicBezTo>
                <a:lnTo>
                  <a:pt x="4465" y="3179"/>
                </a:lnTo>
                <a:lnTo>
                  <a:pt x="4061" y="3179"/>
                </a:lnTo>
                <a:lnTo>
                  <a:pt x="4061" y="2846"/>
                </a:lnTo>
                <a:cubicBezTo>
                  <a:pt x="4061" y="2632"/>
                  <a:pt x="3942" y="2453"/>
                  <a:pt x="3763" y="2346"/>
                </a:cubicBezTo>
                <a:lnTo>
                  <a:pt x="3334" y="2132"/>
                </a:lnTo>
                <a:lnTo>
                  <a:pt x="3322" y="2108"/>
                </a:lnTo>
                <a:lnTo>
                  <a:pt x="3322" y="1846"/>
                </a:lnTo>
                <a:cubicBezTo>
                  <a:pt x="3537" y="1679"/>
                  <a:pt x="3692" y="1417"/>
                  <a:pt x="3692" y="1096"/>
                </a:cubicBezTo>
                <a:lnTo>
                  <a:pt x="3692" y="727"/>
                </a:lnTo>
                <a:cubicBezTo>
                  <a:pt x="3692" y="322"/>
                  <a:pt x="3358" y="0"/>
                  <a:pt x="2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17" name="Google Shape;13217;p64"/>
          <p:cNvGrpSpPr/>
          <p:nvPr/>
        </p:nvGrpSpPr>
        <p:grpSpPr>
          <a:xfrm>
            <a:off x="2766374" y="3361013"/>
            <a:ext cx="330110" cy="308908"/>
            <a:chOff x="2766264" y="3394042"/>
            <a:chExt cx="294873" cy="275934"/>
          </a:xfrm>
        </p:grpSpPr>
        <p:sp>
          <p:nvSpPr>
            <p:cNvPr id="13218" name="Google Shape;13218;p64"/>
            <p:cNvSpPr/>
            <p:nvPr/>
          </p:nvSpPr>
          <p:spPr>
            <a:xfrm>
              <a:off x="2766264" y="3394042"/>
              <a:ext cx="253176" cy="275934"/>
            </a:xfrm>
            <a:custGeom>
              <a:avLst/>
              <a:gdLst/>
              <a:ahLst/>
              <a:cxnLst/>
              <a:rect l="l" t="t" r="r" b="b"/>
              <a:pathLst>
                <a:path w="7954" h="8669" extrusionOk="0">
                  <a:moveTo>
                    <a:pt x="6942" y="3489"/>
                  </a:moveTo>
                  <a:cubicBezTo>
                    <a:pt x="7371" y="3549"/>
                    <a:pt x="7692" y="3918"/>
                    <a:pt x="7692" y="4346"/>
                  </a:cubicBezTo>
                  <a:cubicBezTo>
                    <a:pt x="7692" y="4799"/>
                    <a:pt x="7382" y="5156"/>
                    <a:pt x="6942" y="5227"/>
                  </a:cubicBezTo>
                  <a:lnTo>
                    <a:pt x="6942" y="3489"/>
                  </a:lnTo>
                  <a:close/>
                  <a:moveTo>
                    <a:pt x="1013" y="3322"/>
                  </a:moveTo>
                  <a:lnTo>
                    <a:pt x="1013" y="5382"/>
                  </a:lnTo>
                  <a:lnTo>
                    <a:pt x="715" y="5382"/>
                  </a:lnTo>
                  <a:cubicBezTo>
                    <a:pt x="465" y="5382"/>
                    <a:pt x="263" y="5180"/>
                    <a:pt x="263" y="4930"/>
                  </a:cubicBezTo>
                  <a:lnTo>
                    <a:pt x="263" y="3775"/>
                  </a:lnTo>
                  <a:cubicBezTo>
                    <a:pt x="263" y="3537"/>
                    <a:pt x="453" y="3322"/>
                    <a:pt x="715" y="3322"/>
                  </a:cubicBezTo>
                  <a:close/>
                  <a:moveTo>
                    <a:pt x="2179" y="3322"/>
                  </a:moveTo>
                  <a:lnTo>
                    <a:pt x="2179" y="5382"/>
                  </a:lnTo>
                  <a:lnTo>
                    <a:pt x="1286" y="5382"/>
                  </a:lnTo>
                  <a:lnTo>
                    <a:pt x="1286" y="3322"/>
                  </a:lnTo>
                  <a:close/>
                  <a:moveTo>
                    <a:pt x="2322" y="6370"/>
                  </a:moveTo>
                  <a:lnTo>
                    <a:pt x="2322" y="6966"/>
                  </a:lnTo>
                  <a:lnTo>
                    <a:pt x="2060" y="6966"/>
                  </a:lnTo>
                  <a:lnTo>
                    <a:pt x="2227" y="6370"/>
                  </a:lnTo>
                  <a:close/>
                  <a:moveTo>
                    <a:pt x="2144" y="5644"/>
                  </a:moveTo>
                  <a:lnTo>
                    <a:pt x="1632" y="7549"/>
                  </a:lnTo>
                  <a:lnTo>
                    <a:pt x="1286" y="7549"/>
                  </a:lnTo>
                  <a:lnTo>
                    <a:pt x="1286" y="5644"/>
                  </a:lnTo>
                  <a:close/>
                  <a:moveTo>
                    <a:pt x="6680" y="274"/>
                  </a:moveTo>
                  <a:lnTo>
                    <a:pt x="6680" y="8430"/>
                  </a:lnTo>
                  <a:lnTo>
                    <a:pt x="6085" y="8430"/>
                  </a:lnTo>
                  <a:lnTo>
                    <a:pt x="6085" y="2703"/>
                  </a:lnTo>
                  <a:cubicBezTo>
                    <a:pt x="6085" y="2620"/>
                    <a:pt x="6025" y="2560"/>
                    <a:pt x="5954" y="2560"/>
                  </a:cubicBezTo>
                  <a:cubicBezTo>
                    <a:pt x="5870" y="2560"/>
                    <a:pt x="5811" y="2620"/>
                    <a:pt x="5811" y="2703"/>
                  </a:cubicBezTo>
                  <a:lnTo>
                    <a:pt x="5811" y="7549"/>
                  </a:lnTo>
                  <a:cubicBezTo>
                    <a:pt x="5632" y="7311"/>
                    <a:pt x="5382" y="6989"/>
                    <a:pt x="5037" y="6668"/>
                  </a:cubicBezTo>
                  <a:cubicBezTo>
                    <a:pt x="4668" y="6299"/>
                    <a:pt x="4263" y="6013"/>
                    <a:pt x="3870" y="5799"/>
                  </a:cubicBezTo>
                  <a:cubicBezTo>
                    <a:pt x="3406" y="5561"/>
                    <a:pt x="2930" y="5418"/>
                    <a:pt x="2453" y="5394"/>
                  </a:cubicBezTo>
                  <a:lnTo>
                    <a:pt x="2453" y="3322"/>
                  </a:lnTo>
                  <a:cubicBezTo>
                    <a:pt x="2930" y="3310"/>
                    <a:pt x="3406" y="3179"/>
                    <a:pt x="3870" y="2918"/>
                  </a:cubicBezTo>
                  <a:cubicBezTo>
                    <a:pt x="4263" y="2715"/>
                    <a:pt x="4668" y="2417"/>
                    <a:pt x="5037" y="2048"/>
                  </a:cubicBezTo>
                  <a:cubicBezTo>
                    <a:pt x="5370" y="1715"/>
                    <a:pt x="5632" y="1394"/>
                    <a:pt x="5811" y="1167"/>
                  </a:cubicBezTo>
                  <a:lnTo>
                    <a:pt x="5811" y="2025"/>
                  </a:lnTo>
                  <a:cubicBezTo>
                    <a:pt x="5811" y="2108"/>
                    <a:pt x="5870" y="2167"/>
                    <a:pt x="5954" y="2167"/>
                  </a:cubicBezTo>
                  <a:cubicBezTo>
                    <a:pt x="6025" y="2167"/>
                    <a:pt x="6085" y="2108"/>
                    <a:pt x="6085" y="2025"/>
                  </a:cubicBezTo>
                  <a:lnTo>
                    <a:pt x="6085" y="274"/>
                  </a:lnTo>
                  <a:close/>
                  <a:moveTo>
                    <a:pt x="5930" y="0"/>
                  </a:moveTo>
                  <a:cubicBezTo>
                    <a:pt x="5858" y="0"/>
                    <a:pt x="5799" y="60"/>
                    <a:pt x="5799" y="143"/>
                  </a:cubicBezTo>
                  <a:lnTo>
                    <a:pt x="5799" y="679"/>
                  </a:lnTo>
                  <a:cubicBezTo>
                    <a:pt x="5728" y="810"/>
                    <a:pt x="5370" y="1334"/>
                    <a:pt x="4835" y="1846"/>
                  </a:cubicBezTo>
                  <a:cubicBezTo>
                    <a:pt x="4263" y="2382"/>
                    <a:pt x="3370" y="3037"/>
                    <a:pt x="2299" y="3037"/>
                  </a:cubicBezTo>
                  <a:lnTo>
                    <a:pt x="715" y="3037"/>
                  </a:lnTo>
                  <a:cubicBezTo>
                    <a:pt x="310" y="3037"/>
                    <a:pt x="1" y="3370"/>
                    <a:pt x="1" y="3751"/>
                  </a:cubicBezTo>
                  <a:lnTo>
                    <a:pt x="1" y="4918"/>
                  </a:lnTo>
                  <a:cubicBezTo>
                    <a:pt x="1" y="5323"/>
                    <a:pt x="322" y="5632"/>
                    <a:pt x="715" y="5632"/>
                  </a:cubicBezTo>
                  <a:lnTo>
                    <a:pt x="1013" y="5632"/>
                  </a:lnTo>
                  <a:lnTo>
                    <a:pt x="1013" y="7668"/>
                  </a:lnTo>
                  <a:cubicBezTo>
                    <a:pt x="1013" y="7740"/>
                    <a:pt x="1072" y="7799"/>
                    <a:pt x="1144" y="7799"/>
                  </a:cubicBezTo>
                  <a:lnTo>
                    <a:pt x="1727" y="7799"/>
                  </a:lnTo>
                  <a:cubicBezTo>
                    <a:pt x="1787" y="7799"/>
                    <a:pt x="1846" y="7763"/>
                    <a:pt x="1858" y="7692"/>
                  </a:cubicBezTo>
                  <a:lnTo>
                    <a:pt x="1989" y="7216"/>
                  </a:lnTo>
                  <a:lnTo>
                    <a:pt x="2453" y="7216"/>
                  </a:lnTo>
                  <a:cubicBezTo>
                    <a:pt x="2525" y="7216"/>
                    <a:pt x="2584" y="7156"/>
                    <a:pt x="2584" y="7085"/>
                  </a:cubicBezTo>
                  <a:lnTo>
                    <a:pt x="2584" y="6204"/>
                  </a:lnTo>
                  <a:cubicBezTo>
                    <a:pt x="2584" y="6132"/>
                    <a:pt x="2525" y="6073"/>
                    <a:pt x="2453" y="6073"/>
                  </a:cubicBezTo>
                  <a:lnTo>
                    <a:pt x="2287" y="6073"/>
                  </a:lnTo>
                  <a:lnTo>
                    <a:pt x="2406" y="5632"/>
                  </a:lnTo>
                  <a:cubicBezTo>
                    <a:pt x="3430" y="5668"/>
                    <a:pt x="4299" y="6299"/>
                    <a:pt x="4835" y="6823"/>
                  </a:cubicBezTo>
                  <a:cubicBezTo>
                    <a:pt x="5370" y="7335"/>
                    <a:pt x="5704" y="7859"/>
                    <a:pt x="5799" y="7990"/>
                  </a:cubicBezTo>
                  <a:lnTo>
                    <a:pt x="5799" y="8525"/>
                  </a:lnTo>
                  <a:cubicBezTo>
                    <a:pt x="5799" y="8609"/>
                    <a:pt x="5858" y="8668"/>
                    <a:pt x="5930" y="8668"/>
                  </a:cubicBezTo>
                  <a:lnTo>
                    <a:pt x="6811" y="8668"/>
                  </a:lnTo>
                  <a:cubicBezTo>
                    <a:pt x="6882" y="8668"/>
                    <a:pt x="6942" y="8609"/>
                    <a:pt x="6942" y="8525"/>
                  </a:cubicBezTo>
                  <a:lnTo>
                    <a:pt x="6942" y="5465"/>
                  </a:lnTo>
                  <a:cubicBezTo>
                    <a:pt x="7525" y="5394"/>
                    <a:pt x="7954" y="4918"/>
                    <a:pt x="7954" y="4322"/>
                  </a:cubicBezTo>
                  <a:cubicBezTo>
                    <a:pt x="7954" y="3775"/>
                    <a:pt x="7525" y="3275"/>
                    <a:pt x="6942" y="3203"/>
                  </a:cubicBezTo>
                  <a:lnTo>
                    <a:pt x="6942" y="143"/>
                  </a:lnTo>
                  <a:cubicBezTo>
                    <a:pt x="6942" y="60"/>
                    <a:pt x="6882" y="0"/>
                    <a:pt x="6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9" name="Google Shape;13219;p64"/>
            <p:cNvSpPr/>
            <p:nvPr/>
          </p:nvSpPr>
          <p:spPr>
            <a:xfrm>
              <a:off x="3039143" y="3528205"/>
              <a:ext cx="21995" cy="8753"/>
            </a:xfrm>
            <a:custGeom>
              <a:avLst/>
              <a:gdLst/>
              <a:ahLst/>
              <a:cxnLst/>
              <a:rect l="l" t="t" r="r" b="b"/>
              <a:pathLst>
                <a:path w="691" h="275" extrusionOk="0">
                  <a:moveTo>
                    <a:pt x="131" y="0"/>
                  </a:moveTo>
                  <a:cubicBezTo>
                    <a:pt x="60" y="0"/>
                    <a:pt x="0" y="60"/>
                    <a:pt x="0" y="131"/>
                  </a:cubicBezTo>
                  <a:cubicBezTo>
                    <a:pt x="0" y="215"/>
                    <a:pt x="60" y="274"/>
                    <a:pt x="131" y="274"/>
                  </a:cubicBezTo>
                  <a:lnTo>
                    <a:pt x="560" y="274"/>
                  </a:lnTo>
                  <a:cubicBezTo>
                    <a:pt x="631" y="274"/>
                    <a:pt x="691" y="215"/>
                    <a:pt x="691" y="131"/>
                  </a:cubicBezTo>
                  <a:cubicBezTo>
                    <a:pt x="691" y="60"/>
                    <a:pt x="631" y="0"/>
                    <a:pt x="56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0" name="Google Shape;13220;p64"/>
            <p:cNvSpPr/>
            <p:nvPr/>
          </p:nvSpPr>
          <p:spPr>
            <a:xfrm>
              <a:off x="3019408" y="3475622"/>
              <a:ext cx="20499" cy="18875"/>
            </a:xfrm>
            <a:custGeom>
              <a:avLst/>
              <a:gdLst/>
              <a:ahLst/>
              <a:cxnLst/>
              <a:rect l="l" t="t" r="r" b="b"/>
              <a:pathLst>
                <a:path w="644" h="593" extrusionOk="0">
                  <a:moveTo>
                    <a:pt x="501" y="0"/>
                  </a:moveTo>
                  <a:cubicBezTo>
                    <a:pt x="468" y="0"/>
                    <a:pt x="436" y="15"/>
                    <a:pt x="406" y="45"/>
                  </a:cubicBezTo>
                  <a:lnTo>
                    <a:pt x="96" y="355"/>
                  </a:lnTo>
                  <a:cubicBezTo>
                    <a:pt x="1" y="450"/>
                    <a:pt x="61" y="593"/>
                    <a:pt x="180" y="593"/>
                  </a:cubicBezTo>
                  <a:cubicBezTo>
                    <a:pt x="215" y="593"/>
                    <a:pt x="263" y="581"/>
                    <a:pt x="275" y="557"/>
                  </a:cubicBezTo>
                  <a:lnTo>
                    <a:pt x="584" y="235"/>
                  </a:lnTo>
                  <a:cubicBezTo>
                    <a:pt x="644" y="200"/>
                    <a:pt x="644" y="104"/>
                    <a:pt x="596" y="45"/>
                  </a:cubicBezTo>
                  <a:cubicBezTo>
                    <a:pt x="567" y="15"/>
                    <a:pt x="534"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1" name="Google Shape;13221;p64"/>
            <p:cNvSpPr/>
            <p:nvPr/>
          </p:nvSpPr>
          <p:spPr>
            <a:xfrm>
              <a:off x="3020554" y="3570348"/>
              <a:ext cx="19353" cy="18621"/>
            </a:xfrm>
            <a:custGeom>
              <a:avLst/>
              <a:gdLst/>
              <a:ahLst/>
              <a:cxnLst/>
              <a:rect l="l" t="t" r="r" b="b"/>
              <a:pathLst>
                <a:path w="608" h="585" extrusionOk="0">
                  <a:moveTo>
                    <a:pt x="155" y="1"/>
                  </a:moveTo>
                  <a:cubicBezTo>
                    <a:pt x="123" y="1"/>
                    <a:pt x="90" y="16"/>
                    <a:pt x="60" y="46"/>
                  </a:cubicBezTo>
                  <a:cubicBezTo>
                    <a:pt x="1" y="105"/>
                    <a:pt x="1" y="176"/>
                    <a:pt x="60" y="236"/>
                  </a:cubicBezTo>
                  <a:lnTo>
                    <a:pt x="370" y="546"/>
                  </a:lnTo>
                  <a:cubicBezTo>
                    <a:pt x="397" y="572"/>
                    <a:pt x="431" y="585"/>
                    <a:pt x="463" y="585"/>
                  </a:cubicBezTo>
                  <a:cubicBezTo>
                    <a:pt x="503" y="585"/>
                    <a:pt x="541" y="566"/>
                    <a:pt x="560" y="534"/>
                  </a:cubicBezTo>
                  <a:cubicBezTo>
                    <a:pt x="608" y="498"/>
                    <a:pt x="608" y="403"/>
                    <a:pt x="560" y="355"/>
                  </a:cubicBezTo>
                  <a:lnTo>
                    <a:pt x="251" y="46"/>
                  </a:lnTo>
                  <a:cubicBezTo>
                    <a:pt x="221" y="16"/>
                    <a:pt x="188"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22" name="Google Shape;13222;p64"/>
          <p:cNvGrpSpPr/>
          <p:nvPr/>
        </p:nvGrpSpPr>
        <p:grpSpPr>
          <a:xfrm>
            <a:off x="3214972" y="3359188"/>
            <a:ext cx="346406" cy="347552"/>
            <a:chOff x="3214972" y="3359188"/>
            <a:chExt cx="346406" cy="347552"/>
          </a:xfrm>
        </p:grpSpPr>
        <p:sp>
          <p:nvSpPr>
            <p:cNvPr id="13223" name="Google Shape;13223;p64"/>
            <p:cNvSpPr/>
            <p:nvPr/>
          </p:nvSpPr>
          <p:spPr>
            <a:xfrm>
              <a:off x="3301772" y="3386084"/>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4" name="Google Shape;13224;p64"/>
            <p:cNvSpPr/>
            <p:nvPr/>
          </p:nvSpPr>
          <p:spPr>
            <a:xfrm>
              <a:off x="3301772" y="3410339"/>
              <a:ext cx="131904" cy="11395"/>
            </a:xfrm>
            <a:custGeom>
              <a:avLst/>
              <a:gdLst/>
              <a:ahLst/>
              <a:cxnLst/>
              <a:rect l="l" t="t" r="r" b="b"/>
              <a:pathLst>
                <a:path w="4144" h="358" extrusionOk="0">
                  <a:moveTo>
                    <a:pt x="179" y="0"/>
                  </a:moveTo>
                  <a:cubicBezTo>
                    <a:pt x="95" y="0"/>
                    <a:pt x="0" y="72"/>
                    <a:pt x="0" y="179"/>
                  </a:cubicBezTo>
                  <a:cubicBezTo>
                    <a:pt x="0" y="286"/>
                    <a:pt x="95" y="358"/>
                    <a:pt x="179" y="358"/>
                  </a:cubicBezTo>
                  <a:lnTo>
                    <a:pt x="3965" y="358"/>
                  </a:lnTo>
                  <a:cubicBezTo>
                    <a:pt x="4048" y="358"/>
                    <a:pt x="4144" y="286"/>
                    <a:pt x="4144" y="179"/>
                  </a:cubicBezTo>
                  <a:cubicBezTo>
                    <a:pt x="4144" y="72"/>
                    <a:pt x="4072" y="0"/>
                    <a:pt x="39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5" name="Google Shape;13225;p64"/>
            <p:cNvSpPr/>
            <p:nvPr/>
          </p:nvSpPr>
          <p:spPr>
            <a:xfrm>
              <a:off x="3301772" y="3484980"/>
              <a:ext cx="71649" cy="11427"/>
            </a:xfrm>
            <a:custGeom>
              <a:avLst/>
              <a:gdLst/>
              <a:ahLst/>
              <a:cxnLst/>
              <a:rect l="l" t="t" r="r" b="b"/>
              <a:pathLst>
                <a:path w="2251" h="359" extrusionOk="0">
                  <a:moveTo>
                    <a:pt x="179" y="1"/>
                  </a:moveTo>
                  <a:cubicBezTo>
                    <a:pt x="95" y="1"/>
                    <a:pt x="0" y="72"/>
                    <a:pt x="0" y="180"/>
                  </a:cubicBezTo>
                  <a:cubicBezTo>
                    <a:pt x="24" y="287"/>
                    <a:pt x="95" y="358"/>
                    <a:pt x="179" y="358"/>
                  </a:cubicBezTo>
                  <a:lnTo>
                    <a:pt x="2072" y="358"/>
                  </a:lnTo>
                  <a:cubicBezTo>
                    <a:pt x="2167" y="358"/>
                    <a:pt x="2250" y="287"/>
                    <a:pt x="2250" y="180"/>
                  </a:cubicBezTo>
                  <a:cubicBezTo>
                    <a:pt x="2250" y="96"/>
                    <a:pt x="2179" y="1"/>
                    <a:pt x="2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6" name="Google Shape;13226;p64"/>
            <p:cNvSpPr/>
            <p:nvPr/>
          </p:nvSpPr>
          <p:spPr>
            <a:xfrm>
              <a:off x="3301772" y="3509234"/>
              <a:ext cx="130758" cy="11427"/>
            </a:xfrm>
            <a:custGeom>
              <a:avLst/>
              <a:gdLst/>
              <a:ahLst/>
              <a:cxnLst/>
              <a:rect l="l" t="t" r="r" b="b"/>
              <a:pathLst>
                <a:path w="4108" h="359" extrusionOk="0">
                  <a:moveTo>
                    <a:pt x="179" y="1"/>
                  </a:moveTo>
                  <a:cubicBezTo>
                    <a:pt x="95" y="1"/>
                    <a:pt x="0" y="72"/>
                    <a:pt x="0" y="180"/>
                  </a:cubicBezTo>
                  <a:cubicBezTo>
                    <a:pt x="24" y="287"/>
                    <a:pt x="95" y="358"/>
                    <a:pt x="179" y="358"/>
                  </a:cubicBezTo>
                  <a:lnTo>
                    <a:pt x="3929" y="358"/>
                  </a:lnTo>
                  <a:cubicBezTo>
                    <a:pt x="4024" y="358"/>
                    <a:pt x="4108" y="287"/>
                    <a:pt x="4108" y="180"/>
                  </a:cubicBezTo>
                  <a:cubicBezTo>
                    <a:pt x="4108" y="84"/>
                    <a:pt x="4036" y="1"/>
                    <a:pt x="3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7" name="Google Shape;13227;p64"/>
            <p:cNvSpPr/>
            <p:nvPr/>
          </p:nvSpPr>
          <p:spPr>
            <a:xfrm>
              <a:off x="3301772" y="3584671"/>
              <a:ext cx="71649" cy="11395"/>
            </a:xfrm>
            <a:custGeom>
              <a:avLst/>
              <a:gdLst/>
              <a:ahLst/>
              <a:cxnLst/>
              <a:rect l="l" t="t" r="r" b="b"/>
              <a:pathLst>
                <a:path w="2251" h="358" extrusionOk="0">
                  <a:moveTo>
                    <a:pt x="179" y="0"/>
                  </a:moveTo>
                  <a:cubicBezTo>
                    <a:pt x="95" y="0"/>
                    <a:pt x="0" y="72"/>
                    <a:pt x="0" y="179"/>
                  </a:cubicBezTo>
                  <a:cubicBezTo>
                    <a:pt x="24" y="286"/>
                    <a:pt x="95" y="358"/>
                    <a:pt x="179" y="358"/>
                  </a:cubicBezTo>
                  <a:lnTo>
                    <a:pt x="2072" y="358"/>
                  </a:lnTo>
                  <a:cubicBezTo>
                    <a:pt x="2167" y="358"/>
                    <a:pt x="2250" y="286"/>
                    <a:pt x="2250" y="179"/>
                  </a:cubicBezTo>
                  <a:cubicBezTo>
                    <a:pt x="2250" y="84"/>
                    <a:pt x="217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8" name="Google Shape;13228;p64"/>
            <p:cNvSpPr/>
            <p:nvPr/>
          </p:nvSpPr>
          <p:spPr>
            <a:xfrm>
              <a:off x="3301772" y="3609308"/>
              <a:ext cx="129994" cy="11395"/>
            </a:xfrm>
            <a:custGeom>
              <a:avLst/>
              <a:gdLst/>
              <a:ahLst/>
              <a:cxnLst/>
              <a:rect l="l" t="t" r="r" b="b"/>
              <a:pathLst>
                <a:path w="4084" h="358" extrusionOk="0">
                  <a:moveTo>
                    <a:pt x="179" y="0"/>
                  </a:moveTo>
                  <a:cubicBezTo>
                    <a:pt x="95" y="0"/>
                    <a:pt x="0" y="72"/>
                    <a:pt x="0" y="179"/>
                  </a:cubicBezTo>
                  <a:cubicBezTo>
                    <a:pt x="0" y="262"/>
                    <a:pt x="83" y="357"/>
                    <a:pt x="179" y="357"/>
                  </a:cubicBezTo>
                  <a:lnTo>
                    <a:pt x="3905" y="357"/>
                  </a:lnTo>
                  <a:cubicBezTo>
                    <a:pt x="3989" y="357"/>
                    <a:pt x="4084" y="286"/>
                    <a:pt x="4084" y="179"/>
                  </a:cubicBezTo>
                  <a:cubicBezTo>
                    <a:pt x="4084" y="72"/>
                    <a:pt x="3989" y="0"/>
                    <a:pt x="390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9" name="Google Shape;13229;p64"/>
            <p:cNvSpPr/>
            <p:nvPr/>
          </p:nvSpPr>
          <p:spPr>
            <a:xfrm>
              <a:off x="3214972" y="3458466"/>
              <a:ext cx="346406" cy="248274"/>
            </a:xfrm>
            <a:custGeom>
              <a:avLst/>
              <a:gdLst/>
              <a:ahLst/>
              <a:cxnLst/>
              <a:rect l="l" t="t" r="r" b="b"/>
              <a:pathLst>
                <a:path w="10883" h="7800" extrusionOk="0">
                  <a:moveTo>
                    <a:pt x="8466" y="1417"/>
                  </a:moveTo>
                  <a:cubicBezTo>
                    <a:pt x="9109" y="1417"/>
                    <a:pt x="9657" y="1953"/>
                    <a:pt x="9657" y="2608"/>
                  </a:cubicBezTo>
                  <a:lnTo>
                    <a:pt x="9657" y="2894"/>
                  </a:lnTo>
                  <a:lnTo>
                    <a:pt x="9585" y="2894"/>
                  </a:lnTo>
                  <a:cubicBezTo>
                    <a:pt x="9216" y="2799"/>
                    <a:pt x="9097" y="2322"/>
                    <a:pt x="9097" y="2322"/>
                  </a:cubicBezTo>
                  <a:cubicBezTo>
                    <a:pt x="9085" y="2263"/>
                    <a:pt x="9037" y="2203"/>
                    <a:pt x="8966" y="2191"/>
                  </a:cubicBezTo>
                  <a:cubicBezTo>
                    <a:pt x="8956" y="2189"/>
                    <a:pt x="8946" y="2188"/>
                    <a:pt x="8935" y="2188"/>
                  </a:cubicBezTo>
                  <a:cubicBezTo>
                    <a:pt x="8883" y="2188"/>
                    <a:pt x="8827" y="2213"/>
                    <a:pt x="8787" y="2263"/>
                  </a:cubicBezTo>
                  <a:cubicBezTo>
                    <a:pt x="8335" y="2894"/>
                    <a:pt x="7347" y="2894"/>
                    <a:pt x="7323" y="2894"/>
                  </a:cubicBezTo>
                  <a:lnTo>
                    <a:pt x="7204" y="2894"/>
                  </a:lnTo>
                  <a:lnTo>
                    <a:pt x="7156" y="2608"/>
                  </a:lnTo>
                  <a:cubicBezTo>
                    <a:pt x="7156" y="1953"/>
                    <a:pt x="7692" y="1417"/>
                    <a:pt x="8347" y="1417"/>
                  </a:cubicBezTo>
                  <a:close/>
                  <a:moveTo>
                    <a:pt x="9692" y="3299"/>
                  </a:moveTo>
                  <a:cubicBezTo>
                    <a:pt x="9811" y="3322"/>
                    <a:pt x="9919" y="3430"/>
                    <a:pt x="9919" y="3549"/>
                  </a:cubicBezTo>
                  <a:cubicBezTo>
                    <a:pt x="9919" y="3680"/>
                    <a:pt x="9835" y="3787"/>
                    <a:pt x="9692" y="3799"/>
                  </a:cubicBezTo>
                  <a:lnTo>
                    <a:pt x="9692" y="3299"/>
                  </a:lnTo>
                  <a:close/>
                  <a:moveTo>
                    <a:pt x="7132" y="3299"/>
                  </a:moveTo>
                  <a:lnTo>
                    <a:pt x="7132" y="3811"/>
                  </a:lnTo>
                  <a:cubicBezTo>
                    <a:pt x="7001" y="3799"/>
                    <a:pt x="6918" y="3680"/>
                    <a:pt x="6918" y="3561"/>
                  </a:cubicBezTo>
                  <a:cubicBezTo>
                    <a:pt x="6894" y="3418"/>
                    <a:pt x="7001" y="3310"/>
                    <a:pt x="7132" y="3299"/>
                  </a:cubicBezTo>
                  <a:close/>
                  <a:moveTo>
                    <a:pt x="8835" y="2608"/>
                  </a:moveTo>
                  <a:cubicBezTo>
                    <a:pt x="8918" y="2787"/>
                    <a:pt x="9085" y="3013"/>
                    <a:pt x="9335" y="3120"/>
                  </a:cubicBezTo>
                  <a:lnTo>
                    <a:pt x="9335" y="3846"/>
                  </a:lnTo>
                  <a:cubicBezTo>
                    <a:pt x="9359" y="4287"/>
                    <a:pt x="8978" y="4668"/>
                    <a:pt x="8525" y="4668"/>
                  </a:cubicBezTo>
                  <a:lnTo>
                    <a:pt x="8299" y="4668"/>
                  </a:lnTo>
                  <a:cubicBezTo>
                    <a:pt x="7835" y="4668"/>
                    <a:pt x="7466" y="4287"/>
                    <a:pt x="7466" y="3834"/>
                  </a:cubicBezTo>
                  <a:lnTo>
                    <a:pt x="7466" y="3144"/>
                  </a:lnTo>
                  <a:cubicBezTo>
                    <a:pt x="7763" y="3120"/>
                    <a:pt x="8383" y="3013"/>
                    <a:pt x="8835" y="2608"/>
                  </a:cubicBezTo>
                  <a:close/>
                  <a:moveTo>
                    <a:pt x="8728" y="4989"/>
                  </a:moveTo>
                  <a:lnTo>
                    <a:pt x="8728" y="5215"/>
                  </a:lnTo>
                  <a:lnTo>
                    <a:pt x="8728" y="5227"/>
                  </a:lnTo>
                  <a:lnTo>
                    <a:pt x="8406" y="5573"/>
                  </a:lnTo>
                  <a:lnTo>
                    <a:pt x="8085" y="5251"/>
                  </a:lnTo>
                  <a:lnTo>
                    <a:pt x="8085" y="4989"/>
                  </a:lnTo>
                  <a:cubicBezTo>
                    <a:pt x="8168" y="5001"/>
                    <a:pt x="8240" y="5001"/>
                    <a:pt x="8299" y="5001"/>
                  </a:cubicBezTo>
                  <a:lnTo>
                    <a:pt x="8514" y="5001"/>
                  </a:lnTo>
                  <a:cubicBezTo>
                    <a:pt x="8597" y="5001"/>
                    <a:pt x="8668" y="5001"/>
                    <a:pt x="8728" y="4989"/>
                  </a:cubicBezTo>
                  <a:close/>
                  <a:moveTo>
                    <a:pt x="6573" y="3477"/>
                  </a:moveTo>
                  <a:lnTo>
                    <a:pt x="6573" y="3549"/>
                  </a:lnTo>
                  <a:cubicBezTo>
                    <a:pt x="6573" y="3870"/>
                    <a:pt x="6835" y="4156"/>
                    <a:pt x="7180" y="4156"/>
                  </a:cubicBezTo>
                  <a:cubicBezTo>
                    <a:pt x="7275" y="4465"/>
                    <a:pt x="7478" y="4727"/>
                    <a:pt x="7752" y="4870"/>
                  </a:cubicBezTo>
                  <a:lnTo>
                    <a:pt x="7752" y="5096"/>
                  </a:lnTo>
                  <a:lnTo>
                    <a:pt x="6716" y="5501"/>
                  </a:lnTo>
                  <a:cubicBezTo>
                    <a:pt x="6656" y="5513"/>
                    <a:pt x="6597" y="5537"/>
                    <a:pt x="6525" y="5585"/>
                  </a:cubicBezTo>
                  <a:lnTo>
                    <a:pt x="370" y="5585"/>
                  </a:lnTo>
                  <a:lnTo>
                    <a:pt x="370" y="3477"/>
                  </a:lnTo>
                  <a:close/>
                  <a:moveTo>
                    <a:pt x="179" y="1"/>
                  </a:moveTo>
                  <a:cubicBezTo>
                    <a:pt x="96" y="1"/>
                    <a:pt x="1" y="84"/>
                    <a:pt x="1" y="179"/>
                  </a:cubicBezTo>
                  <a:lnTo>
                    <a:pt x="1" y="2644"/>
                  </a:lnTo>
                  <a:cubicBezTo>
                    <a:pt x="1" y="2727"/>
                    <a:pt x="84" y="2822"/>
                    <a:pt x="179" y="2822"/>
                  </a:cubicBezTo>
                  <a:lnTo>
                    <a:pt x="6811" y="2822"/>
                  </a:lnTo>
                  <a:lnTo>
                    <a:pt x="6811" y="3072"/>
                  </a:lnTo>
                  <a:cubicBezTo>
                    <a:pt x="6775" y="3084"/>
                    <a:pt x="6751" y="3120"/>
                    <a:pt x="6728" y="3144"/>
                  </a:cubicBezTo>
                  <a:lnTo>
                    <a:pt x="179" y="3144"/>
                  </a:lnTo>
                  <a:cubicBezTo>
                    <a:pt x="96" y="3144"/>
                    <a:pt x="1" y="3215"/>
                    <a:pt x="1" y="3322"/>
                  </a:cubicBezTo>
                  <a:lnTo>
                    <a:pt x="1" y="5775"/>
                  </a:lnTo>
                  <a:cubicBezTo>
                    <a:pt x="1" y="5870"/>
                    <a:pt x="84" y="5954"/>
                    <a:pt x="179" y="5954"/>
                  </a:cubicBezTo>
                  <a:lnTo>
                    <a:pt x="6156" y="5954"/>
                  </a:lnTo>
                  <a:cubicBezTo>
                    <a:pt x="6001" y="6156"/>
                    <a:pt x="5894" y="6418"/>
                    <a:pt x="5894" y="6775"/>
                  </a:cubicBezTo>
                  <a:lnTo>
                    <a:pt x="5894" y="7621"/>
                  </a:lnTo>
                  <a:cubicBezTo>
                    <a:pt x="5894" y="7716"/>
                    <a:pt x="5978" y="7799"/>
                    <a:pt x="6085" y="7799"/>
                  </a:cubicBezTo>
                  <a:lnTo>
                    <a:pt x="6728" y="7799"/>
                  </a:lnTo>
                  <a:cubicBezTo>
                    <a:pt x="6823" y="7799"/>
                    <a:pt x="6918" y="7728"/>
                    <a:pt x="6918" y="7621"/>
                  </a:cubicBezTo>
                  <a:cubicBezTo>
                    <a:pt x="6918" y="7537"/>
                    <a:pt x="6835" y="7442"/>
                    <a:pt x="6728" y="7442"/>
                  </a:cubicBezTo>
                  <a:lnTo>
                    <a:pt x="6251" y="7442"/>
                  </a:lnTo>
                  <a:lnTo>
                    <a:pt x="6251" y="6763"/>
                  </a:lnTo>
                  <a:cubicBezTo>
                    <a:pt x="6251" y="6049"/>
                    <a:pt x="6823" y="5835"/>
                    <a:pt x="6835" y="5835"/>
                  </a:cubicBezTo>
                  <a:lnTo>
                    <a:pt x="6847" y="5835"/>
                  </a:lnTo>
                  <a:lnTo>
                    <a:pt x="7787" y="5466"/>
                  </a:lnTo>
                  <a:lnTo>
                    <a:pt x="7799" y="5477"/>
                  </a:lnTo>
                  <a:lnTo>
                    <a:pt x="8299" y="5954"/>
                  </a:lnTo>
                  <a:cubicBezTo>
                    <a:pt x="8323" y="5989"/>
                    <a:pt x="8371" y="6001"/>
                    <a:pt x="8418" y="6001"/>
                  </a:cubicBezTo>
                  <a:cubicBezTo>
                    <a:pt x="8454" y="6001"/>
                    <a:pt x="8502" y="5989"/>
                    <a:pt x="8537" y="5942"/>
                  </a:cubicBezTo>
                  <a:lnTo>
                    <a:pt x="9014" y="5442"/>
                  </a:lnTo>
                  <a:lnTo>
                    <a:pt x="9942" y="5811"/>
                  </a:lnTo>
                  <a:lnTo>
                    <a:pt x="9966" y="5811"/>
                  </a:lnTo>
                  <a:cubicBezTo>
                    <a:pt x="9990" y="5823"/>
                    <a:pt x="10538" y="6013"/>
                    <a:pt x="10538" y="6728"/>
                  </a:cubicBezTo>
                  <a:lnTo>
                    <a:pt x="10538" y="7418"/>
                  </a:lnTo>
                  <a:lnTo>
                    <a:pt x="7263" y="7418"/>
                  </a:lnTo>
                  <a:cubicBezTo>
                    <a:pt x="7180" y="7418"/>
                    <a:pt x="7085" y="7490"/>
                    <a:pt x="7085" y="7597"/>
                  </a:cubicBezTo>
                  <a:cubicBezTo>
                    <a:pt x="7085" y="7680"/>
                    <a:pt x="7168" y="7775"/>
                    <a:pt x="7263" y="7775"/>
                  </a:cubicBezTo>
                  <a:lnTo>
                    <a:pt x="10704" y="7775"/>
                  </a:lnTo>
                  <a:cubicBezTo>
                    <a:pt x="10800" y="7775"/>
                    <a:pt x="10883" y="7704"/>
                    <a:pt x="10883" y="7597"/>
                  </a:cubicBezTo>
                  <a:lnTo>
                    <a:pt x="10883" y="6751"/>
                  </a:lnTo>
                  <a:cubicBezTo>
                    <a:pt x="10883" y="5977"/>
                    <a:pt x="10371" y="5585"/>
                    <a:pt x="10073" y="5477"/>
                  </a:cubicBezTo>
                  <a:lnTo>
                    <a:pt x="9073" y="5085"/>
                  </a:lnTo>
                  <a:lnTo>
                    <a:pt x="9073" y="4870"/>
                  </a:lnTo>
                  <a:cubicBezTo>
                    <a:pt x="9335" y="4727"/>
                    <a:pt x="9549" y="4465"/>
                    <a:pt x="9633" y="4156"/>
                  </a:cubicBezTo>
                  <a:cubicBezTo>
                    <a:pt x="9966" y="4156"/>
                    <a:pt x="10252" y="3894"/>
                    <a:pt x="10252" y="3549"/>
                  </a:cubicBezTo>
                  <a:cubicBezTo>
                    <a:pt x="10252" y="3358"/>
                    <a:pt x="10145" y="3180"/>
                    <a:pt x="9990" y="3060"/>
                  </a:cubicBezTo>
                  <a:lnTo>
                    <a:pt x="9990" y="2596"/>
                  </a:lnTo>
                  <a:cubicBezTo>
                    <a:pt x="9990" y="1751"/>
                    <a:pt x="9311" y="1060"/>
                    <a:pt x="8466" y="1060"/>
                  </a:cubicBezTo>
                  <a:lnTo>
                    <a:pt x="8347" y="1060"/>
                  </a:lnTo>
                  <a:cubicBezTo>
                    <a:pt x="8204" y="1060"/>
                    <a:pt x="8085" y="1072"/>
                    <a:pt x="7966" y="1108"/>
                  </a:cubicBezTo>
                  <a:lnTo>
                    <a:pt x="7966" y="179"/>
                  </a:lnTo>
                  <a:cubicBezTo>
                    <a:pt x="7966" y="96"/>
                    <a:pt x="7894" y="1"/>
                    <a:pt x="7787" y="1"/>
                  </a:cubicBezTo>
                  <a:lnTo>
                    <a:pt x="7287" y="1"/>
                  </a:lnTo>
                  <a:cubicBezTo>
                    <a:pt x="7192" y="1"/>
                    <a:pt x="7109" y="84"/>
                    <a:pt x="7109" y="179"/>
                  </a:cubicBezTo>
                  <a:cubicBezTo>
                    <a:pt x="7109" y="286"/>
                    <a:pt x="7180" y="358"/>
                    <a:pt x="7287" y="358"/>
                  </a:cubicBezTo>
                  <a:lnTo>
                    <a:pt x="7621" y="358"/>
                  </a:lnTo>
                  <a:lnTo>
                    <a:pt x="7621" y="1251"/>
                  </a:lnTo>
                  <a:cubicBezTo>
                    <a:pt x="7180" y="1489"/>
                    <a:pt x="6847" y="1941"/>
                    <a:pt x="6811" y="2477"/>
                  </a:cubicBezTo>
                  <a:lnTo>
                    <a:pt x="346" y="2477"/>
                  </a:lnTo>
                  <a:lnTo>
                    <a:pt x="346" y="358"/>
                  </a:lnTo>
                  <a:lnTo>
                    <a:pt x="6716" y="358"/>
                  </a:lnTo>
                  <a:cubicBezTo>
                    <a:pt x="6811" y="358"/>
                    <a:pt x="6894" y="286"/>
                    <a:pt x="6894" y="179"/>
                  </a:cubicBezTo>
                  <a:cubicBezTo>
                    <a:pt x="6894" y="96"/>
                    <a:pt x="6823" y="1"/>
                    <a:pt x="6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0" name="Google Shape;13230;p64"/>
            <p:cNvSpPr/>
            <p:nvPr/>
          </p:nvSpPr>
          <p:spPr>
            <a:xfrm>
              <a:off x="3238462" y="3380005"/>
              <a:ext cx="49305" cy="47427"/>
            </a:xfrm>
            <a:custGeom>
              <a:avLst/>
              <a:gdLst/>
              <a:ahLst/>
              <a:cxnLst/>
              <a:rect l="l" t="t" r="r" b="b"/>
              <a:pathLst>
                <a:path w="1549" h="1490" extrusionOk="0">
                  <a:moveTo>
                    <a:pt x="179" y="1"/>
                  </a:moveTo>
                  <a:cubicBezTo>
                    <a:pt x="84" y="1"/>
                    <a:pt x="1" y="72"/>
                    <a:pt x="1" y="180"/>
                  </a:cubicBezTo>
                  <a:lnTo>
                    <a:pt x="1" y="1311"/>
                  </a:lnTo>
                  <a:cubicBezTo>
                    <a:pt x="1" y="1394"/>
                    <a:pt x="72" y="1489"/>
                    <a:pt x="179" y="1489"/>
                  </a:cubicBezTo>
                  <a:lnTo>
                    <a:pt x="1370" y="1489"/>
                  </a:lnTo>
                  <a:cubicBezTo>
                    <a:pt x="1453" y="1489"/>
                    <a:pt x="1549" y="1418"/>
                    <a:pt x="1549" y="1311"/>
                  </a:cubicBezTo>
                  <a:lnTo>
                    <a:pt x="1549" y="1001"/>
                  </a:lnTo>
                  <a:cubicBezTo>
                    <a:pt x="1549" y="906"/>
                    <a:pt x="1477" y="811"/>
                    <a:pt x="1370" y="811"/>
                  </a:cubicBezTo>
                  <a:cubicBezTo>
                    <a:pt x="1275" y="811"/>
                    <a:pt x="1191" y="894"/>
                    <a:pt x="1191" y="1001"/>
                  </a:cubicBezTo>
                  <a:lnTo>
                    <a:pt x="1191" y="1132"/>
                  </a:lnTo>
                  <a:lnTo>
                    <a:pt x="334" y="1132"/>
                  </a:lnTo>
                  <a:lnTo>
                    <a:pt x="334" y="346"/>
                  </a:lnTo>
                  <a:lnTo>
                    <a:pt x="1037" y="346"/>
                  </a:lnTo>
                  <a:lnTo>
                    <a:pt x="1037" y="358"/>
                  </a:lnTo>
                  <a:cubicBezTo>
                    <a:pt x="1132" y="358"/>
                    <a:pt x="1215" y="287"/>
                    <a:pt x="1215" y="180"/>
                  </a:cubicBezTo>
                  <a:cubicBezTo>
                    <a:pt x="1215" y="84"/>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1" name="Google Shape;13231;p64"/>
            <p:cNvSpPr/>
            <p:nvPr/>
          </p:nvSpPr>
          <p:spPr>
            <a:xfrm>
              <a:off x="3251353" y="3380482"/>
              <a:ext cx="43607" cy="34058"/>
            </a:xfrm>
            <a:custGeom>
              <a:avLst/>
              <a:gdLst/>
              <a:ahLst/>
              <a:cxnLst/>
              <a:rect l="l" t="t" r="r" b="b"/>
              <a:pathLst>
                <a:path w="1370" h="1070" extrusionOk="0">
                  <a:moveTo>
                    <a:pt x="1163" y="1"/>
                  </a:moveTo>
                  <a:cubicBezTo>
                    <a:pt x="1120" y="1"/>
                    <a:pt x="1078" y="16"/>
                    <a:pt x="1048" y="45"/>
                  </a:cubicBezTo>
                  <a:lnTo>
                    <a:pt x="489" y="653"/>
                  </a:lnTo>
                  <a:lnTo>
                    <a:pt x="310" y="462"/>
                  </a:lnTo>
                  <a:cubicBezTo>
                    <a:pt x="279" y="425"/>
                    <a:pt x="232" y="407"/>
                    <a:pt x="185" y="407"/>
                  </a:cubicBezTo>
                  <a:cubicBezTo>
                    <a:pt x="142" y="407"/>
                    <a:pt x="100" y="422"/>
                    <a:pt x="72" y="450"/>
                  </a:cubicBezTo>
                  <a:cubicBezTo>
                    <a:pt x="1" y="510"/>
                    <a:pt x="1" y="629"/>
                    <a:pt x="60" y="688"/>
                  </a:cubicBezTo>
                  <a:lnTo>
                    <a:pt x="358" y="1010"/>
                  </a:lnTo>
                  <a:cubicBezTo>
                    <a:pt x="382" y="1046"/>
                    <a:pt x="429" y="1069"/>
                    <a:pt x="477" y="1069"/>
                  </a:cubicBezTo>
                  <a:cubicBezTo>
                    <a:pt x="513" y="1069"/>
                    <a:pt x="560" y="1058"/>
                    <a:pt x="584" y="1010"/>
                  </a:cubicBezTo>
                  <a:lnTo>
                    <a:pt x="1286" y="272"/>
                  </a:lnTo>
                  <a:cubicBezTo>
                    <a:pt x="1370" y="224"/>
                    <a:pt x="1370" y="117"/>
                    <a:pt x="1286" y="45"/>
                  </a:cubicBezTo>
                  <a:cubicBezTo>
                    <a:pt x="1251" y="16"/>
                    <a:pt x="1206" y="1"/>
                    <a:pt x="11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2" name="Google Shape;13232;p64"/>
            <p:cNvSpPr/>
            <p:nvPr/>
          </p:nvSpPr>
          <p:spPr>
            <a:xfrm>
              <a:off x="3238462" y="3479314"/>
              <a:ext cx="49305" cy="47395"/>
            </a:xfrm>
            <a:custGeom>
              <a:avLst/>
              <a:gdLst/>
              <a:ahLst/>
              <a:cxnLst/>
              <a:rect l="l" t="t" r="r" b="b"/>
              <a:pathLst>
                <a:path w="1549" h="1489" extrusionOk="0">
                  <a:moveTo>
                    <a:pt x="179" y="0"/>
                  </a:moveTo>
                  <a:cubicBezTo>
                    <a:pt x="84" y="0"/>
                    <a:pt x="1" y="84"/>
                    <a:pt x="1" y="179"/>
                  </a:cubicBezTo>
                  <a:lnTo>
                    <a:pt x="1" y="1310"/>
                  </a:lnTo>
                  <a:cubicBezTo>
                    <a:pt x="1" y="1405"/>
                    <a:pt x="72" y="1489"/>
                    <a:pt x="179" y="1489"/>
                  </a:cubicBezTo>
                  <a:lnTo>
                    <a:pt x="1370" y="1489"/>
                  </a:lnTo>
                  <a:cubicBezTo>
                    <a:pt x="1453" y="1489"/>
                    <a:pt x="1549" y="1417"/>
                    <a:pt x="1549" y="1310"/>
                  </a:cubicBezTo>
                  <a:lnTo>
                    <a:pt x="1549" y="1001"/>
                  </a:lnTo>
                  <a:cubicBezTo>
                    <a:pt x="1549" y="917"/>
                    <a:pt x="1477" y="822"/>
                    <a:pt x="1370" y="822"/>
                  </a:cubicBezTo>
                  <a:cubicBezTo>
                    <a:pt x="1275" y="822"/>
                    <a:pt x="1191" y="893"/>
                    <a:pt x="1191" y="1001"/>
                  </a:cubicBezTo>
                  <a:lnTo>
                    <a:pt x="1191" y="1131"/>
                  </a:lnTo>
                  <a:lnTo>
                    <a:pt x="334" y="1131"/>
                  </a:lnTo>
                  <a:lnTo>
                    <a:pt x="334" y="346"/>
                  </a:lnTo>
                  <a:lnTo>
                    <a:pt x="1037" y="358"/>
                  </a:lnTo>
                  <a:cubicBezTo>
                    <a:pt x="1132" y="358"/>
                    <a:pt x="1215" y="286"/>
                    <a:pt x="1215" y="179"/>
                  </a:cubicBezTo>
                  <a:cubicBezTo>
                    <a:pt x="1215" y="96"/>
                    <a:pt x="1144" y="0"/>
                    <a:pt x="10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3" name="Google Shape;13233;p64"/>
            <p:cNvSpPr/>
            <p:nvPr/>
          </p:nvSpPr>
          <p:spPr>
            <a:xfrm>
              <a:off x="3251353" y="3479792"/>
              <a:ext cx="43607" cy="34408"/>
            </a:xfrm>
            <a:custGeom>
              <a:avLst/>
              <a:gdLst/>
              <a:ahLst/>
              <a:cxnLst/>
              <a:rect l="l" t="t" r="r" b="b"/>
              <a:pathLst>
                <a:path w="1370" h="1081" extrusionOk="0">
                  <a:moveTo>
                    <a:pt x="1163" y="0"/>
                  </a:moveTo>
                  <a:cubicBezTo>
                    <a:pt x="1120" y="0"/>
                    <a:pt x="1078" y="15"/>
                    <a:pt x="1048" y="45"/>
                  </a:cubicBezTo>
                  <a:lnTo>
                    <a:pt x="489" y="664"/>
                  </a:lnTo>
                  <a:lnTo>
                    <a:pt x="310" y="462"/>
                  </a:lnTo>
                  <a:cubicBezTo>
                    <a:pt x="279" y="424"/>
                    <a:pt x="232" y="406"/>
                    <a:pt x="185" y="406"/>
                  </a:cubicBezTo>
                  <a:cubicBezTo>
                    <a:pt x="142" y="406"/>
                    <a:pt x="100" y="421"/>
                    <a:pt x="72" y="450"/>
                  </a:cubicBezTo>
                  <a:cubicBezTo>
                    <a:pt x="1" y="509"/>
                    <a:pt x="1" y="628"/>
                    <a:pt x="60" y="688"/>
                  </a:cubicBezTo>
                  <a:lnTo>
                    <a:pt x="358" y="1021"/>
                  </a:lnTo>
                  <a:cubicBezTo>
                    <a:pt x="382" y="1045"/>
                    <a:pt x="429" y="1081"/>
                    <a:pt x="477" y="1081"/>
                  </a:cubicBezTo>
                  <a:cubicBezTo>
                    <a:pt x="513" y="1081"/>
                    <a:pt x="560" y="1057"/>
                    <a:pt x="584" y="1021"/>
                  </a:cubicBezTo>
                  <a:lnTo>
                    <a:pt x="1286" y="271"/>
                  </a:lnTo>
                  <a:cubicBezTo>
                    <a:pt x="1370" y="212"/>
                    <a:pt x="1370" y="104"/>
                    <a:pt x="1286" y="45"/>
                  </a:cubicBezTo>
                  <a:cubicBezTo>
                    <a:pt x="1251" y="15"/>
                    <a:pt x="1206"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4" name="Google Shape;13234;p64"/>
            <p:cNvSpPr/>
            <p:nvPr/>
          </p:nvSpPr>
          <p:spPr>
            <a:xfrm>
              <a:off x="3238462" y="3578210"/>
              <a:ext cx="49305" cy="47809"/>
            </a:xfrm>
            <a:custGeom>
              <a:avLst/>
              <a:gdLst/>
              <a:ahLst/>
              <a:cxnLst/>
              <a:rect l="l" t="t" r="r" b="b"/>
              <a:pathLst>
                <a:path w="1549" h="1502" extrusionOk="0">
                  <a:moveTo>
                    <a:pt x="179" y="1"/>
                  </a:moveTo>
                  <a:cubicBezTo>
                    <a:pt x="84" y="1"/>
                    <a:pt x="1" y="84"/>
                    <a:pt x="1" y="191"/>
                  </a:cubicBezTo>
                  <a:lnTo>
                    <a:pt x="1" y="1323"/>
                  </a:lnTo>
                  <a:cubicBezTo>
                    <a:pt x="1" y="1406"/>
                    <a:pt x="72" y="1501"/>
                    <a:pt x="179" y="1501"/>
                  </a:cubicBezTo>
                  <a:lnTo>
                    <a:pt x="1370" y="1501"/>
                  </a:lnTo>
                  <a:cubicBezTo>
                    <a:pt x="1453" y="1501"/>
                    <a:pt x="1549" y="1418"/>
                    <a:pt x="1549" y="1323"/>
                  </a:cubicBezTo>
                  <a:lnTo>
                    <a:pt x="1549" y="1001"/>
                  </a:lnTo>
                  <a:cubicBezTo>
                    <a:pt x="1537" y="930"/>
                    <a:pt x="1453" y="858"/>
                    <a:pt x="1370" y="858"/>
                  </a:cubicBezTo>
                  <a:cubicBezTo>
                    <a:pt x="1275" y="858"/>
                    <a:pt x="1191" y="930"/>
                    <a:pt x="1191" y="1037"/>
                  </a:cubicBezTo>
                  <a:lnTo>
                    <a:pt x="1191" y="1168"/>
                  </a:lnTo>
                  <a:lnTo>
                    <a:pt x="334" y="1168"/>
                  </a:lnTo>
                  <a:lnTo>
                    <a:pt x="334" y="370"/>
                  </a:lnTo>
                  <a:lnTo>
                    <a:pt x="1037" y="370"/>
                  </a:lnTo>
                  <a:cubicBezTo>
                    <a:pt x="1132" y="370"/>
                    <a:pt x="1215" y="287"/>
                    <a:pt x="1215" y="191"/>
                  </a:cubicBezTo>
                  <a:cubicBezTo>
                    <a:pt x="1215" y="96"/>
                    <a:pt x="1144" y="1"/>
                    <a:pt x="1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5" name="Google Shape;13235;p64"/>
            <p:cNvSpPr/>
            <p:nvPr/>
          </p:nvSpPr>
          <p:spPr>
            <a:xfrm>
              <a:off x="3251353" y="3579133"/>
              <a:ext cx="42843" cy="34376"/>
            </a:xfrm>
            <a:custGeom>
              <a:avLst/>
              <a:gdLst/>
              <a:ahLst/>
              <a:cxnLst/>
              <a:rect l="l" t="t" r="r" b="b"/>
              <a:pathLst>
                <a:path w="1346" h="1080" extrusionOk="0">
                  <a:moveTo>
                    <a:pt x="1169" y="0"/>
                  </a:moveTo>
                  <a:cubicBezTo>
                    <a:pt x="1124" y="0"/>
                    <a:pt x="1079" y="18"/>
                    <a:pt x="1048" y="55"/>
                  </a:cubicBezTo>
                  <a:lnTo>
                    <a:pt x="489" y="662"/>
                  </a:lnTo>
                  <a:lnTo>
                    <a:pt x="310" y="472"/>
                  </a:lnTo>
                  <a:cubicBezTo>
                    <a:pt x="279" y="435"/>
                    <a:pt x="232" y="417"/>
                    <a:pt x="185" y="417"/>
                  </a:cubicBezTo>
                  <a:cubicBezTo>
                    <a:pt x="142" y="417"/>
                    <a:pt x="100" y="432"/>
                    <a:pt x="72" y="460"/>
                  </a:cubicBezTo>
                  <a:cubicBezTo>
                    <a:pt x="1" y="520"/>
                    <a:pt x="1" y="639"/>
                    <a:pt x="60" y="698"/>
                  </a:cubicBezTo>
                  <a:lnTo>
                    <a:pt x="358" y="1020"/>
                  </a:lnTo>
                  <a:cubicBezTo>
                    <a:pt x="382" y="1055"/>
                    <a:pt x="429" y="1079"/>
                    <a:pt x="477" y="1079"/>
                  </a:cubicBezTo>
                  <a:cubicBezTo>
                    <a:pt x="513" y="1079"/>
                    <a:pt x="560" y="1067"/>
                    <a:pt x="584" y="1020"/>
                  </a:cubicBezTo>
                  <a:lnTo>
                    <a:pt x="1286" y="281"/>
                  </a:lnTo>
                  <a:cubicBezTo>
                    <a:pt x="1346" y="198"/>
                    <a:pt x="1346" y="103"/>
                    <a:pt x="1286" y="43"/>
                  </a:cubicBezTo>
                  <a:cubicBezTo>
                    <a:pt x="1252" y="15"/>
                    <a:pt x="1210" y="0"/>
                    <a:pt x="11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6" name="Google Shape;13236;p64"/>
            <p:cNvSpPr/>
            <p:nvPr/>
          </p:nvSpPr>
          <p:spPr>
            <a:xfrm>
              <a:off x="3215736" y="3359188"/>
              <a:ext cx="253558" cy="89442"/>
            </a:xfrm>
            <a:custGeom>
              <a:avLst/>
              <a:gdLst/>
              <a:ahLst/>
              <a:cxnLst/>
              <a:rect l="l" t="t" r="r" b="b"/>
              <a:pathLst>
                <a:path w="7966" h="2810" extrusionOk="0">
                  <a:moveTo>
                    <a:pt x="179" y="0"/>
                  </a:moveTo>
                  <a:cubicBezTo>
                    <a:pt x="84" y="0"/>
                    <a:pt x="0" y="72"/>
                    <a:pt x="0" y="179"/>
                  </a:cubicBezTo>
                  <a:lnTo>
                    <a:pt x="0" y="2631"/>
                  </a:lnTo>
                  <a:cubicBezTo>
                    <a:pt x="0" y="2739"/>
                    <a:pt x="72" y="2810"/>
                    <a:pt x="167" y="2810"/>
                  </a:cubicBezTo>
                  <a:lnTo>
                    <a:pt x="7787" y="2810"/>
                  </a:lnTo>
                  <a:cubicBezTo>
                    <a:pt x="7870" y="2810"/>
                    <a:pt x="7966" y="2739"/>
                    <a:pt x="7966" y="2631"/>
                  </a:cubicBezTo>
                  <a:lnTo>
                    <a:pt x="7966" y="179"/>
                  </a:lnTo>
                  <a:cubicBezTo>
                    <a:pt x="7966" y="83"/>
                    <a:pt x="7882" y="0"/>
                    <a:pt x="7787" y="0"/>
                  </a:cubicBezTo>
                  <a:lnTo>
                    <a:pt x="7275" y="0"/>
                  </a:lnTo>
                  <a:cubicBezTo>
                    <a:pt x="7192" y="0"/>
                    <a:pt x="7097" y="72"/>
                    <a:pt x="7097" y="179"/>
                  </a:cubicBezTo>
                  <a:cubicBezTo>
                    <a:pt x="7097" y="262"/>
                    <a:pt x="7168" y="357"/>
                    <a:pt x="7275" y="357"/>
                  </a:cubicBezTo>
                  <a:lnTo>
                    <a:pt x="7620" y="357"/>
                  </a:lnTo>
                  <a:lnTo>
                    <a:pt x="7620" y="2465"/>
                  </a:lnTo>
                  <a:lnTo>
                    <a:pt x="346" y="2465"/>
                  </a:lnTo>
                  <a:lnTo>
                    <a:pt x="346" y="357"/>
                  </a:lnTo>
                  <a:lnTo>
                    <a:pt x="6716" y="357"/>
                  </a:lnTo>
                  <a:cubicBezTo>
                    <a:pt x="6799" y="357"/>
                    <a:pt x="6894" y="286"/>
                    <a:pt x="6894" y="179"/>
                  </a:cubicBezTo>
                  <a:cubicBezTo>
                    <a:pt x="6894" y="83"/>
                    <a:pt x="6811" y="0"/>
                    <a:pt x="67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7" name="Google Shape;13237;p64"/>
          <p:cNvGrpSpPr/>
          <p:nvPr/>
        </p:nvGrpSpPr>
        <p:grpSpPr>
          <a:xfrm>
            <a:off x="4629306" y="3409193"/>
            <a:ext cx="367255" cy="244486"/>
            <a:chOff x="4629306" y="3409193"/>
            <a:chExt cx="367255" cy="244486"/>
          </a:xfrm>
        </p:grpSpPr>
        <p:sp>
          <p:nvSpPr>
            <p:cNvPr id="13238" name="Google Shape;13238;p64"/>
            <p:cNvSpPr/>
            <p:nvPr/>
          </p:nvSpPr>
          <p:spPr>
            <a:xfrm>
              <a:off x="4629306" y="3409193"/>
              <a:ext cx="367255" cy="244486"/>
            </a:xfrm>
            <a:custGeom>
              <a:avLst/>
              <a:gdLst/>
              <a:ahLst/>
              <a:cxnLst/>
              <a:rect l="l" t="t" r="r" b="b"/>
              <a:pathLst>
                <a:path w="11538" h="7681" extrusionOk="0">
                  <a:moveTo>
                    <a:pt x="10966" y="358"/>
                  </a:moveTo>
                  <a:cubicBezTo>
                    <a:pt x="11085" y="358"/>
                    <a:pt x="11181" y="453"/>
                    <a:pt x="11181" y="572"/>
                  </a:cubicBezTo>
                  <a:lnTo>
                    <a:pt x="11181" y="7121"/>
                  </a:lnTo>
                  <a:cubicBezTo>
                    <a:pt x="11181" y="7240"/>
                    <a:pt x="11085" y="7323"/>
                    <a:pt x="10966" y="7323"/>
                  </a:cubicBezTo>
                  <a:lnTo>
                    <a:pt x="560" y="7323"/>
                  </a:lnTo>
                  <a:cubicBezTo>
                    <a:pt x="441" y="7323"/>
                    <a:pt x="358" y="7240"/>
                    <a:pt x="358" y="7121"/>
                  </a:cubicBezTo>
                  <a:lnTo>
                    <a:pt x="358" y="572"/>
                  </a:lnTo>
                  <a:cubicBezTo>
                    <a:pt x="358" y="453"/>
                    <a:pt x="441" y="358"/>
                    <a:pt x="560" y="358"/>
                  </a:cubicBezTo>
                  <a:close/>
                  <a:moveTo>
                    <a:pt x="560" y="1"/>
                  </a:moveTo>
                  <a:cubicBezTo>
                    <a:pt x="251" y="1"/>
                    <a:pt x="1" y="263"/>
                    <a:pt x="1" y="572"/>
                  </a:cubicBezTo>
                  <a:lnTo>
                    <a:pt x="1" y="7121"/>
                  </a:lnTo>
                  <a:cubicBezTo>
                    <a:pt x="1" y="7430"/>
                    <a:pt x="251" y="7680"/>
                    <a:pt x="560" y="7680"/>
                  </a:cubicBezTo>
                  <a:lnTo>
                    <a:pt x="10966" y="7680"/>
                  </a:lnTo>
                  <a:cubicBezTo>
                    <a:pt x="11276" y="7680"/>
                    <a:pt x="11526" y="7430"/>
                    <a:pt x="11526" y="7121"/>
                  </a:cubicBezTo>
                  <a:lnTo>
                    <a:pt x="11526" y="572"/>
                  </a:lnTo>
                  <a:cubicBezTo>
                    <a:pt x="11538" y="263"/>
                    <a:pt x="11276" y="1"/>
                    <a:pt x="109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9" name="Google Shape;13239;p64"/>
            <p:cNvSpPr/>
            <p:nvPr/>
          </p:nvSpPr>
          <p:spPr>
            <a:xfrm>
              <a:off x="4665688" y="3433447"/>
              <a:ext cx="294109" cy="195595"/>
            </a:xfrm>
            <a:custGeom>
              <a:avLst/>
              <a:gdLst/>
              <a:ahLst/>
              <a:cxnLst/>
              <a:rect l="l" t="t" r="r" b="b"/>
              <a:pathLst>
                <a:path w="9240" h="6145" extrusionOk="0">
                  <a:moveTo>
                    <a:pt x="8871" y="370"/>
                  </a:moveTo>
                  <a:lnTo>
                    <a:pt x="8871" y="5787"/>
                  </a:lnTo>
                  <a:lnTo>
                    <a:pt x="370" y="5787"/>
                  </a:lnTo>
                  <a:lnTo>
                    <a:pt x="370" y="370"/>
                  </a:lnTo>
                  <a:close/>
                  <a:moveTo>
                    <a:pt x="179" y="1"/>
                  </a:moveTo>
                  <a:cubicBezTo>
                    <a:pt x="72" y="1"/>
                    <a:pt x="1" y="72"/>
                    <a:pt x="1" y="179"/>
                  </a:cubicBezTo>
                  <a:lnTo>
                    <a:pt x="1" y="5966"/>
                  </a:lnTo>
                  <a:cubicBezTo>
                    <a:pt x="1" y="6073"/>
                    <a:pt x="72" y="6144"/>
                    <a:pt x="179" y="6144"/>
                  </a:cubicBezTo>
                  <a:lnTo>
                    <a:pt x="9049" y="6144"/>
                  </a:lnTo>
                  <a:cubicBezTo>
                    <a:pt x="9157" y="6144"/>
                    <a:pt x="9228" y="6073"/>
                    <a:pt x="9228" y="5966"/>
                  </a:cubicBezTo>
                  <a:lnTo>
                    <a:pt x="9228" y="179"/>
                  </a:lnTo>
                  <a:cubicBezTo>
                    <a:pt x="9240" y="96"/>
                    <a:pt x="9157" y="1"/>
                    <a:pt x="90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0" name="Google Shape;13240;p64"/>
            <p:cNvSpPr/>
            <p:nvPr/>
          </p:nvSpPr>
          <p:spPr>
            <a:xfrm>
              <a:off x="4647895" y="3519866"/>
              <a:ext cx="11395" cy="23522"/>
            </a:xfrm>
            <a:custGeom>
              <a:avLst/>
              <a:gdLst/>
              <a:ahLst/>
              <a:cxnLst/>
              <a:rect l="l" t="t" r="r" b="b"/>
              <a:pathLst>
                <a:path w="358" h="739" extrusionOk="0">
                  <a:moveTo>
                    <a:pt x="179" y="0"/>
                  </a:moveTo>
                  <a:cubicBezTo>
                    <a:pt x="72" y="0"/>
                    <a:pt x="0" y="72"/>
                    <a:pt x="0" y="179"/>
                  </a:cubicBezTo>
                  <a:lnTo>
                    <a:pt x="0" y="560"/>
                  </a:lnTo>
                  <a:cubicBezTo>
                    <a:pt x="0" y="667"/>
                    <a:pt x="72" y="739"/>
                    <a:pt x="179" y="739"/>
                  </a:cubicBezTo>
                  <a:cubicBezTo>
                    <a:pt x="274" y="739"/>
                    <a:pt x="357" y="667"/>
                    <a:pt x="357" y="560"/>
                  </a:cubicBezTo>
                  <a:lnTo>
                    <a:pt x="357" y="179"/>
                  </a:lnTo>
                  <a:cubicBezTo>
                    <a:pt x="357" y="72"/>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1" name="Google Shape;13241;p64"/>
            <p:cNvSpPr/>
            <p:nvPr/>
          </p:nvSpPr>
          <p:spPr>
            <a:xfrm>
              <a:off x="4966609" y="3513404"/>
              <a:ext cx="11395" cy="36063"/>
            </a:xfrm>
            <a:custGeom>
              <a:avLst/>
              <a:gdLst/>
              <a:ahLst/>
              <a:cxnLst/>
              <a:rect l="l" t="t" r="r" b="b"/>
              <a:pathLst>
                <a:path w="358" h="1133" extrusionOk="0">
                  <a:moveTo>
                    <a:pt x="179" y="1"/>
                  </a:moveTo>
                  <a:cubicBezTo>
                    <a:pt x="72" y="1"/>
                    <a:pt x="0" y="84"/>
                    <a:pt x="0" y="180"/>
                  </a:cubicBezTo>
                  <a:lnTo>
                    <a:pt x="0" y="953"/>
                  </a:lnTo>
                  <a:cubicBezTo>
                    <a:pt x="0" y="1061"/>
                    <a:pt x="72" y="1132"/>
                    <a:pt x="179" y="1132"/>
                  </a:cubicBezTo>
                  <a:cubicBezTo>
                    <a:pt x="286" y="1132"/>
                    <a:pt x="357" y="1061"/>
                    <a:pt x="357" y="953"/>
                  </a:cubicBezTo>
                  <a:lnTo>
                    <a:pt x="357" y="180"/>
                  </a:lnTo>
                  <a:cubicBezTo>
                    <a:pt x="357" y="84"/>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2" name="Google Shape;13242;p64"/>
            <p:cNvSpPr/>
            <p:nvPr/>
          </p:nvSpPr>
          <p:spPr>
            <a:xfrm>
              <a:off x="4966609" y="3433447"/>
              <a:ext cx="11777" cy="11395"/>
            </a:xfrm>
            <a:custGeom>
              <a:avLst/>
              <a:gdLst/>
              <a:ahLst/>
              <a:cxnLst/>
              <a:rect l="l" t="t" r="r" b="b"/>
              <a:pathLst>
                <a:path w="370" h="358" extrusionOk="0">
                  <a:moveTo>
                    <a:pt x="179" y="1"/>
                  </a:moveTo>
                  <a:cubicBezTo>
                    <a:pt x="72" y="1"/>
                    <a:pt x="0" y="72"/>
                    <a:pt x="0" y="179"/>
                  </a:cubicBezTo>
                  <a:cubicBezTo>
                    <a:pt x="0" y="286"/>
                    <a:pt x="84" y="358"/>
                    <a:pt x="179" y="358"/>
                  </a:cubicBezTo>
                  <a:cubicBezTo>
                    <a:pt x="286" y="358"/>
                    <a:pt x="357" y="286"/>
                    <a:pt x="357" y="179"/>
                  </a:cubicBezTo>
                  <a:cubicBezTo>
                    <a:pt x="369"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3" name="Google Shape;13243;p64"/>
            <p:cNvSpPr/>
            <p:nvPr/>
          </p:nvSpPr>
          <p:spPr>
            <a:xfrm>
              <a:off x="4647895" y="3488799"/>
              <a:ext cx="11395" cy="17825"/>
            </a:xfrm>
            <a:custGeom>
              <a:avLst/>
              <a:gdLst/>
              <a:ahLst/>
              <a:cxnLst/>
              <a:rect l="l" t="t" r="r" b="b"/>
              <a:pathLst>
                <a:path w="358" h="560" extrusionOk="0">
                  <a:moveTo>
                    <a:pt x="179" y="0"/>
                  </a:moveTo>
                  <a:cubicBezTo>
                    <a:pt x="72" y="0"/>
                    <a:pt x="0" y="83"/>
                    <a:pt x="0" y="179"/>
                  </a:cubicBezTo>
                  <a:lnTo>
                    <a:pt x="0" y="381"/>
                  </a:lnTo>
                  <a:cubicBezTo>
                    <a:pt x="0" y="476"/>
                    <a:pt x="72" y="560"/>
                    <a:pt x="179" y="560"/>
                  </a:cubicBezTo>
                  <a:cubicBezTo>
                    <a:pt x="274" y="560"/>
                    <a:pt x="357" y="476"/>
                    <a:pt x="357" y="381"/>
                  </a:cubicBezTo>
                  <a:lnTo>
                    <a:pt x="357" y="179"/>
                  </a:lnTo>
                  <a:cubicBezTo>
                    <a:pt x="357" y="83"/>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4" name="Google Shape;13244;p64"/>
            <p:cNvSpPr/>
            <p:nvPr/>
          </p:nvSpPr>
          <p:spPr>
            <a:xfrm>
              <a:off x="4647895" y="3556247"/>
              <a:ext cx="11395" cy="17475"/>
            </a:xfrm>
            <a:custGeom>
              <a:avLst/>
              <a:gdLst/>
              <a:ahLst/>
              <a:cxnLst/>
              <a:rect l="l" t="t" r="r" b="b"/>
              <a:pathLst>
                <a:path w="358" h="549" extrusionOk="0">
                  <a:moveTo>
                    <a:pt x="179" y="0"/>
                  </a:moveTo>
                  <a:cubicBezTo>
                    <a:pt x="72" y="0"/>
                    <a:pt x="0" y="72"/>
                    <a:pt x="0" y="179"/>
                  </a:cubicBezTo>
                  <a:lnTo>
                    <a:pt x="0" y="369"/>
                  </a:lnTo>
                  <a:cubicBezTo>
                    <a:pt x="0" y="477"/>
                    <a:pt x="72" y="548"/>
                    <a:pt x="179" y="548"/>
                  </a:cubicBezTo>
                  <a:cubicBezTo>
                    <a:pt x="274" y="548"/>
                    <a:pt x="357" y="477"/>
                    <a:pt x="357" y="369"/>
                  </a:cubicBezTo>
                  <a:lnTo>
                    <a:pt x="357" y="179"/>
                  </a:ln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5" name="Google Shape;13245;p64"/>
            <p:cNvSpPr/>
            <p:nvPr/>
          </p:nvSpPr>
          <p:spPr>
            <a:xfrm>
              <a:off x="4690324" y="3574804"/>
              <a:ext cx="244486" cy="36032"/>
            </a:xfrm>
            <a:custGeom>
              <a:avLst/>
              <a:gdLst/>
              <a:ahLst/>
              <a:cxnLst/>
              <a:rect l="l" t="t" r="r" b="b"/>
              <a:pathLst>
                <a:path w="7681" h="1132" extrusionOk="0">
                  <a:moveTo>
                    <a:pt x="1727" y="358"/>
                  </a:moveTo>
                  <a:cubicBezTo>
                    <a:pt x="1846" y="358"/>
                    <a:pt x="1941" y="441"/>
                    <a:pt x="1941" y="560"/>
                  </a:cubicBezTo>
                  <a:cubicBezTo>
                    <a:pt x="1941" y="679"/>
                    <a:pt x="1846" y="775"/>
                    <a:pt x="1727" y="775"/>
                  </a:cubicBezTo>
                  <a:cubicBezTo>
                    <a:pt x="1608" y="775"/>
                    <a:pt x="1525" y="679"/>
                    <a:pt x="1525" y="560"/>
                  </a:cubicBezTo>
                  <a:cubicBezTo>
                    <a:pt x="1525" y="441"/>
                    <a:pt x="1608" y="358"/>
                    <a:pt x="1727" y="358"/>
                  </a:cubicBezTo>
                  <a:close/>
                  <a:moveTo>
                    <a:pt x="1727" y="1"/>
                  </a:moveTo>
                  <a:cubicBezTo>
                    <a:pt x="1477" y="1"/>
                    <a:pt x="1263" y="156"/>
                    <a:pt x="1191" y="382"/>
                  </a:cubicBezTo>
                  <a:lnTo>
                    <a:pt x="179" y="382"/>
                  </a:lnTo>
                  <a:cubicBezTo>
                    <a:pt x="72" y="382"/>
                    <a:pt x="1" y="453"/>
                    <a:pt x="1" y="560"/>
                  </a:cubicBezTo>
                  <a:cubicBezTo>
                    <a:pt x="1" y="668"/>
                    <a:pt x="72" y="739"/>
                    <a:pt x="179" y="739"/>
                  </a:cubicBezTo>
                  <a:lnTo>
                    <a:pt x="1191" y="739"/>
                  </a:lnTo>
                  <a:cubicBezTo>
                    <a:pt x="1263" y="965"/>
                    <a:pt x="1477" y="1132"/>
                    <a:pt x="1727" y="1132"/>
                  </a:cubicBezTo>
                  <a:cubicBezTo>
                    <a:pt x="1977" y="1132"/>
                    <a:pt x="2191" y="965"/>
                    <a:pt x="2263" y="739"/>
                  </a:cubicBezTo>
                  <a:lnTo>
                    <a:pt x="7502" y="739"/>
                  </a:lnTo>
                  <a:cubicBezTo>
                    <a:pt x="7609" y="739"/>
                    <a:pt x="7680" y="668"/>
                    <a:pt x="7680" y="560"/>
                  </a:cubicBezTo>
                  <a:cubicBezTo>
                    <a:pt x="7680" y="453"/>
                    <a:pt x="7609" y="382"/>
                    <a:pt x="7513" y="382"/>
                  </a:cubicBezTo>
                  <a:lnTo>
                    <a:pt x="2263" y="382"/>
                  </a:lnTo>
                  <a:cubicBezTo>
                    <a:pt x="2191" y="156"/>
                    <a:pt x="1977" y="1"/>
                    <a:pt x="1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6" name="Google Shape;13246;p64"/>
            <p:cNvSpPr/>
            <p:nvPr/>
          </p:nvSpPr>
          <p:spPr>
            <a:xfrm>
              <a:off x="4788870" y="3486635"/>
              <a:ext cx="53092" cy="52965"/>
            </a:xfrm>
            <a:custGeom>
              <a:avLst/>
              <a:gdLst/>
              <a:ahLst/>
              <a:cxnLst/>
              <a:rect l="l" t="t" r="r" b="b"/>
              <a:pathLst>
                <a:path w="1668" h="1664" extrusionOk="0">
                  <a:moveTo>
                    <a:pt x="357" y="354"/>
                  </a:moveTo>
                  <a:lnTo>
                    <a:pt x="1286" y="818"/>
                  </a:lnTo>
                  <a:cubicBezTo>
                    <a:pt x="1298" y="818"/>
                    <a:pt x="1298" y="830"/>
                    <a:pt x="1298" y="842"/>
                  </a:cubicBezTo>
                  <a:lnTo>
                    <a:pt x="369" y="1306"/>
                  </a:lnTo>
                  <a:lnTo>
                    <a:pt x="357" y="1306"/>
                  </a:lnTo>
                  <a:lnTo>
                    <a:pt x="357" y="1294"/>
                  </a:lnTo>
                  <a:lnTo>
                    <a:pt x="357" y="366"/>
                  </a:lnTo>
                  <a:lnTo>
                    <a:pt x="357" y="354"/>
                  </a:lnTo>
                  <a:close/>
                  <a:moveTo>
                    <a:pt x="361" y="1"/>
                  </a:moveTo>
                  <a:cubicBezTo>
                    <a:pt x="297" y="1"/>
                    <a:pt x="235" y="19"/>
                    <a:pt x="179" y="56"/>
                  </a:cubicBezTo>
                  <a:cubicBezTo>
                    <a:pt x="72" y="128"/>
                    <a:pt x="0" y="247"/>
                    <a:pt x="0" y="366"/>
                  </a:cubicBezTo>
                  <a:lnTo>
                    <a:pt x="0" y="1294"/>
                  </a:lnTo>
                  <a:cubicBezTo>
                    <a:pt x="0" y="1425"/>
                    <a:pt x="60" y="1544"/>
                    <a:pt x="179" y="1604"/>
                  </a:cubicBezTo>
                  <a:cubicBezTo>
                    <a:pt x="238" y="1652"/>
                    <a:pt x="310" y="1663"/>
                    <a:pt x="369" y="1663"/>
                  </a:cubicBezTo>
                  <a:cubicBezTo>
                    <a:pt x="429" y="1663"/>
                    <a:pt x="488" y="1652"/>
                    <a:pt x="536" y="1616"/>
                  </a:cubicBezTo>
                  <a:lnTo>
                    <a:pt x="1465" y="1163"/>
                  </a:lnTo>
                  <a:cubicBezTo>
                    <a:pt x="1596" y="1104"/>
                    <a:pt x="1667" y="961"/>
                    <a:pt x="1667" y="830"/>
                  </a:cubicBezTo>
                  <a:cubicBezTo>
                    <a:pt x="1655" y="687"/>
                    <a:pt x="1584" y="568"/>
                    <a:pt x="1465" y="509"/>
                  </a:cubicBezTo>
                  <a:lnTo>
                    <a:pt x="536" y="44"/>
                  </a:lnTo>
                  <a:cubicBezTo>
                    <a:pt x="479" y="16"/>
                    <a:pt x="420" y="1"/>
                    <a:pt x="3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7" name="Google Shape;13247;p64"/>
            <p:cNvSpPr/>
            <p:nvPr/>
          </p:nvSpPr>
          <p:spPr>
            <a:xfrm>
              <a:off x="4745645" y="3458084"/>
              <a:ext cx="134195" cy="109941"/>
            </a:xfrm>
            <a:custGeom>
              <a:avLst/>
              <a:gdLst/>
              <a:ahLst/>
              <a:cxnLst/>
              <a:rect l="l" t="t" r="r" b="b"/>
              <a:pathLst>
                <a:path w="4216" h="3454" extrusionOk="0">
                  <a:moveTo>
                    <a:pt x="3263" y="358"/>
                  </a:moveTo>
                  <a:cubicBezTo>
                    <a:pt x="3597" y="358"/>
                    <a:pt x="3859" y="632"/>
                    <a:pt x="3859" y="953"/>
                  </a:cubicBezTo>
                  <a:lnTo>
                    <a:pt x="3859" y="2501"/>
                  </a:lnTo>
                  <a:cubicBezTo>
                    <a:pt x="3859" y="2834"/>
                    <a:pt x="3597" y="3096"/>
                    <a:pt x="3263" y="3096"/>
                  </a:cubicBezTo>
                  <a:lnTo>
                    <a:pt x="953" y="3096"/>
                  </a:lnTo>
                  <a:cubicBezTo>
                    <a:pt x="632" y="3096"/>
                    <a:pt x="358" y="2834"/>
                    <a:pt x="358" y="2501"/>
                  </a:cubicBezTo>
                  <a:lnTo>
                    <a:pt x="358" y="953"/>
                  </a:lnTo>
                  <a:cubicBezTo>
                    <a:pt x="358" y="632"/>
                    <a:pt x="632" y="358"/>
                    <a:pt x="953" y="358"/>
                  </a:cubicBezTo>
                  <a:close/>
                  <a:moveTo>
                    <a:pt x="953" y="1"/>
                  </a:moveTo>
                  <a:cubicBezTo>
                    <a:pt x="441" y="1"/>
                    <a:pt x="1" y="429"/>
                    <a:pt x="1" y="953"/>
                  </a:cubicBezTo>
                  <a:lnTo>
                    <a:pt x="1" y="2501"/>
                  </a:lnTo>
                  <a:cubicBezTo>
                    <a:pt x="1" y="3025"/>
                    <a:pt x="441" y="3453"/>
                    <a:pt x="953" y="3453"/>
                  </a:cubicBezTo>
                  <a:lnTo>
                    <a:pt x="3263" y="3453"/>
                  </a:lnTo>
                  <a:cubicBezTo>
                    <a:pt x="3787" y="3453"/>
                    <a:pt x="4216" y="3025"/>
                    <a:pt x="4216" y="2501"/>
                  </a:cubicBezTo>
                  <a:lnTo>
                    <a:pt x="4216" y="953"/>
                  </a:lnTo>
                  <a:cubicBezTo>
                    <a:pt x="4216" y="429"/>
                    <a:pt x="3799" y="1"/>
                    <a:pt x="326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48" name="Google Shape;13248;p64"/>
          <p:cNvGrpSpPr/>
          <p:nvPr/>
        </p:nvGrpSpPr>
        <p:grpSpPr>
          <a:xfrm>
            <a:off x="4193490" y="3350084"/>
            <a:ext cx="289939" cy="334661"/>
            <a:chOff x="4193490" y="3350084"/>
            <a:chExt cx="289939" cy="334661"/>
          </a:xfrm>
        </p:grpSpPr>
        <p:sp>
          <p:nvSpPr>
            <p:cNvPr id="13249" name="Google Shape;13249;p64"/>
            <p:cNvSpPr/>
            <p:nvPr/>
          </p:nvSpPr>
          <p:spPr>
            <a:xfrm>
              <a:off x="4193490" y="3350084"/>
              <a:ext cx="246364" cy="150110"/>
            </a:xfrm>
            <a:custGeom>
              <a:avLst/>
              <a:gdLst/>
              <a:ahLst/>
              <a:cxnLst/>
              <a:rect l="l" t="t" r="r" b="b"/>
              <a:pathLst>
                <a:path w="7740" h="4716" extrusionOk="0">
                  <a:moveTo>
                    <a:pt x="4382" y="298"/>
                  </a:moveTo>
                  <a:lnTo>
                    <a:pt x="4299" y="1048"/>
                  </a:lnTo>
                  <a:lnTo>
                    <a:pt x="3668" y="1048"/>
                  </a:lnTo>
                  <a:lnTo>
                    <a:pt x="3620" y="524"/>
                  </a:lnTo>
                  <a:lnTo>
                    <a:pt x="3584" y="298"/>
                  </a:lnTo>
                  <a:close/>
                  <a:moveTo>
                    <a:pt x="6013" y="929"/>
                  </a:moveTo>
                  <a:lnTo>
                    <a:pt x="7204" y="2120"/>
                  </a:lnTo>
                  <a:lnTo>
                    <a:pt x="6025" y="2096"/>
                  </a:lnTo>
                  <a:lnTo>
                    <a:pt x="6013" y="929"/>
                  </a:lnTo>
                  <a:close/>
                  <a:moveTo>
                    <a:pt x="3406" y="0"/>
                  </a:moveTo>
                  <a:cubicBezTo>
                    <a:pt x="3358" y="0"/>
                    <a:pt x="3322" y="12"/>
                    <a:pt x="3287" y="48"/>
                  </a:cubicBezTo>
                  <a:cubicBezTo>
                    <a:pt x="3263" y="72"/>
                    <a:pt x="3239" y="119"/>
                    <a:pt x="3239" y="167"/>
                  </a:cubicBezTo>
                  <a:lnTo>
                    <a:pt x="3275" y="393"/>
                  </a:lnTo>
                  <a:lnTo>
                    <a:pt x="143" y="393"/>
                  </a:lnTo>
                  <a:cubicBezTo>
                    <a:pt x="60" y="393"/>
                    <a:pt x="1" y="465"/>
                    <a:pt x="1" y="536"/>
                  </a:cubicBezTo>
                  <a:lnTo>
                    <a:pt x="1" y="1191"/>
                  </a:lnTo>
                  <a:cubicBezTo>
                    <a:pt x="1" y="1286"/>
                    <a:pt x="72" y="1346"/>
                    <a:pt x="143" y="1346"/>
                  </a:cubicBezTo>
                  <a:cubicBezTo>
                    <a:pt x="239" y="1346"/>
                    <a:pt x="298" y="1262"/>
                    <a:pt x="298" y="1191"/>
                  </a:cubicBezTo>
                  <a:lnTo>
                    <a:pt x="298" y="691"/>
                  </a:lnTo>
                  <a:lnTo>
                    <a:pt x="3299" y="691"/>
                  </a:lnTo>
                  <a:lnTo>
                    <a:pt x="3358" y="1203"/>
                  </a:lnTo>
                  <a:cubicBezTo>
                    <a:pt x="3382" y="1286"/>
                    <a:pt x="3441" y="1346"/>
                    <a:pt x="3513" y="1346"/>
                  </a:cubicBezTo>
                  <a:lnTo>
                    <a:pt x="4418" y="1346"/>
                  </a:lnTo>
                  <a:cubicBezTo>
                    <a:pt x="4489" y="1346"/>
                    <a:pt x="4573" y="1286"/>
                    <a:pt x="4573" y="1203"/>
                  </a:cubicBezTo>
                  <a:lnTo>
                    <a:pt x="4632" y="691"/>
                  </a:lnTo>
                  <a:lnTo>
                    <a:pt x="5680" y="691"/>
                  </a:lnTo>
                  <a:lnTo>
                    <a:pt x="5704" y="2239"/>
                  </a:lnTo>
                  <a:cubicBezTo>
                    <a:pt x="5704" y="2322"/>
                    <a:pt x="5775" y="2382"/>
                    <a:pt x="5847" y="2382"/>
                  </a:cubicBezTo>
                  <a:lnTo>
                    <a:pt x="7394" y="2394"/>
                  </a:lnTo>
                  <a:lnTo>
                    <a:pt x="7394" y="4572"/>
                  </a:lnTo>
                  <a:cubicBezTo>
                    <a:pt x="7394" y="4656"/>
                    <a:pt x="7466" y="4715"/>
                    <a:pt x="7549" y="4715"/>
                  </a:cubicBezTo>
                  <a:cubicBezTo>
                    <a:pt x="7632" y="4715"/>
                    <a:pt x="7692" y="4644"/>
                    <a:pt x="7692" y="4572"/>
                  </a:cubicBezTo>
                  <a:lnTo>
                    <a:pt x="7692" y="2251"/>
                  </a:lnTo>
                  <a:cubicBezTo>
                    <a:pt x="7740" y="2215"/>
                    <a:pt x="7728" y="2191"/>
                    <a:pt x="7692" y="2155"/>
                  </a:cubicBezTo>
                  <a:lnTo>
                    <a:pt x="5966" y="429"/>
                  </a:lnTo>
                  <a:cubicBezTo>
                    <a:pt x="5942" y="405"/>
                    <a:pt x="5894" y="393"/>
                    <a:pt x="5858" y="393"/>
                  </a:cubicBezTo>
                  <a:lnTo>
                    <a:pt x="4692" y="393"/>
                  </a:lnTo>
                  <a:lnTo>
                    <a:pt x="4715" y="167"/>
                  </a:lnTo>
                  <a:cubicBezTo>
                    <a:pt x="4715" y="119"/>
                    <a:pt x="4704" y="72"/>
                    <a:pt x="4668" y="48"/>
                  </a:cubicBezTo>
                  <a:cubicBezTo>
                    <a:pt x="4644" y="12"/>
                    <a:pt x="4596" y="0"/>
                    <a:pt x="45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0" name="Google Shape;13250;p64"/>
            <p:cNvSpPr/>
            <p:nvPr/>
          </p:nvSpPr>
          <p:spPr>
            <a:xfrm>
              <a:off x="4193872" y="3405023"/>
              <a:ext cx="9517" cy="44753"/>
            </a:xfrm>
            <a:custGeom>
              <a:avLst/>
              <a:gdLst/>
              <a:ahLst/>
              <a:cxnLst/>
              <a:rect l="l" t="t" r="r" b="b"/>
              <a:pathLst>
                <a:path w="299" h="1406" extrusionOk="0">
                  <a:moveTo>
                    <a:pt x="155" y="1"/>
                  </a:moveTo>
                  <a:cubicBezTo>
                    <a:pt x="60" y="1"/>
                    <a:pt x="0" y="72"/>
                    <a:pt x="0" y="156"/>
                  </a:cubicBezTo>
                  <a:lnTo>
                    <a:pt x="0" y="1251"/>
                  </a:lnTo>
                  <a:cubicBezTo>
                    <a:pt x="0" y="1346"/>
                    <a:pt x="72" y="1406"/>
                    <a:pt x="155" y="1406"/>
                  </a:cubicBezTo>
                  <a:cubicBezTo>
                    <a:pt x="239" y="1406"/>
                    <a:pt x="298" y="1322"/>
                    <a:pt x="298" y="1251"/>
                  </a:cubicBezTo>
                  <a:lnTo>
                    <a:pt x="298" y="156"/>
                  </a:lnTo>
                  <a:cubicBezTo>
                    <a:pt x="298" y="72"/>
                    <a:pt x="227"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1" name="Google Shape;13251;p64"/>
            <p:cNvSpPr/>
            <p:nvPr/>
          </p:nvSpPr>
          <p:spPr>
            <a:xfrm>
              <a:off x="4275356" y="3444460"/>
              <a:ext cx="128116" cy="9485"/>
            </a:xfrm>
            <a:custGeom>
              <a:avLst/>
              <a:gdLst/>
              <a:ahLst/>
              <a:cxnLst/>
              <a:rect l="l" t="t" r="r" b="b"/>
              <a:pathLst>
                <a:path w="4025" h="298" extrusionOk="0">
                  <a:moveTo>
                    <a:pt x="155" y="0"/>
                  </a:moveTo>
                  <a:cubicBezTo>
                    <a:pt x="60" y="0"/>
                    <a:pt x="0" y="71"/>
                    <a:pt x="0" y="143"/>
                  </a:cubicBezTo>
                  <a:cubicBezTo>
                    <a:pt x="0" y="226"/>
                    <a:pt x="72" y="298"/>
                    <a:pt x="155" y="298"/>
                  </a:cubicBezTo>
                  <a:lnTo>
                    <a:pt x="3870" y="298"/>
                  </a:lnTo>
                  <a:cubicBezTo>
                    <a:pt x="3965" y="298"/>
                    <a:pt x="4025" y="226"/>
                    <a:pt x="4025" y="143"/>
                  </a:cubicBezTo>
                  <a:cubicBezTo>
                    <a:pt x="4025" y="71"/>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2" name="Google Shape;13252;p64"/>
            <p:cNvSpPr/>
            <p:nvPr/>
          </p:nvSpPr>
          <p:spPr>
            <a:xfrm>
              <a:off x="4275356" y="3463781"/>
              <a:ext cx="128116" cy="9485"/>
            </a:xfrm>
            <a:custGeom>
              <a:avLst/>
              <a:gdLst/>
              <a:ahLst/>
              <a:cxnLst/>
              <a:rect l="l" t="t" r="r" b="b"/>
              <a:pathLst>
                <a:path w="4025" h="298" extrusionOk="0">
                  <a:moveTo>
                    <a:pt x="155" y="0"/>
                  </a:moveTo>
                  <a:cubicBezTo>
                    <a:pt x="60" y="0"/>
                    <a:pt x="0" y="72"/>
                    <a:pt x="0" y="155"/>
                  </a:cubicBezTo>
                  <a:cubicBezTo>
                    <a:pt x="0" y="226"/>
                    <a:pt x="72" y="298"/>
                    <a:pt x="155" y="298"/>
                  </a:cubicBezTo>
                  <a:lnTo>
                    <a:pt x="3870" y="298"/>
                  </a:lnTo>
                  <a:cubicBezTo>
                    <a:pt x="3965" y="298"/>
                    <a:pt x="4025" y="226"/>
                    <a:pt x="4025" y="155"/>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3" name="Google Shape;13253;p64"/>
            <p:cNvSpPr/>
            <p:nvPr/>
          </p:nvSpPr>
          <p:spPr>
            <a:xfrm>
              <a:off x="4223442" y="3439527"/>
              <a:ext cx="38673" cy="38673"/>
            </a:xfrm>
            <a:custGeom>
              <a:avLst/>
              <a:gdLst/>
              <a:ahLst/>
              <a:cxnLst/>
              <a:rect l="l" t="t" r="r" b="b"/>
              <a:pathLst>
                <a:path w="1215" h="1215" extrusionOk="0">
                  <a:moveTo>
                    <a:pt x="905" y="322"/>
                  </a:moveTo>
                  <a:lnTo>
                    <a:pt x="905" y="917"/>
                  </a:lnTo>
                  <a:lnTo>
                    <a:pt x="310" y="917"/>
                  </a:lnTo>
                  <a:lnTo>
                    <a:pt x="310" y="322"/>
                  </a:lnTo>
                  <a:close/>
                  <a:moveTo>
                    <a:pt x="143" y="0"/>
                  </a:moveTo>
                  <a:cubicBezTo>
                    <a:pt x="48" y="0"/>
                    <a:pt x="0" y="72"/>
                    <a:pt x="0" y="155"/>
                  </a:cubicBezTo>
                  <a:lnTo>
                    <a:pt x="0" y="1060"/>
                  </a:lnTo>
                  <a:cubicBezTo>
                    <a:pt x="0" y="1155"/>
                    <a:pt x="72" y="1215"/>
                    <a:pt x="143" y="1215"/>
                  </a:cubicBezTo>
                  <a:lnTo>
                    <a:pt x="1048" y="1215"/>
                  </a:lnTo>
                  <a:cubicBezTo>
                    <a:pt x="1143" y="1215"/>
                    <a:pt x="1203" y="1131"/>
                    <a:pt x="1203" y="1060"/>
                  </a:cubicBezTo>
                  <a:lnTo>
                    <a:pt x="1203" y="155"/>
                  </a:lnTo>
                  <a:cubicBezTo>
                    <a:pt x="1215" y="72"/>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4" name="Google Shape;13254;p64"/>
            <p:cNvSpPr/>
            <p:nvPr/>
          </p:nvSpPr>
          <p:spPr>
            <a:xfrm>
              <a:off x="4275356" y="3525913"/>
              <a:ext cx="128116" cy="9517"/>
            </a:xfrm>
            <a:custGeom>
              <a:avLst/>
              <a:gdLst/>
              <a:ahLst/>
              <a:cxnLst/>
              <a:rect l="l" t="t" r="r" b="b"/>
              <a:pathLst>
                <a:path w="4025" h="299" extrusionOk="0">
                  <a:moveTo>
                    <a:pt x="155" y="1"/>
                  </a:moveTo>
                  <a:cubicBezTo>
                    <a:pt x="60" y="1"/>
                    <a:pt x="0" y="72"/>
                    <a:pt x="0" y="144"/>
                  </a:cubicBezTo>
                  <a:cubicBezTo>
                    <a:pt x="0" y="227"/>
                    <a:pt x="72" y="299"/>
                    <a:pt x="155" y="299"/>
                  </a:cubicBezTo>
                  <a:lnTo>
                    <a:pt x="3870" y="299"/>
                  </a:lnTo>
                  <a:cubicBezTo>
                    <a:pt x="3965" y="299"/>
                    <a:pt x="4025" y="227"/>
                    <a:pt x="4025" y="144"/>
                  </a:cubicBezTo>
                  <a:cubicBezTo>
                    <a:pt x="4025" y="72"/>
                    <a:pt x="3965" y="1"/>
                    <a:pt x="3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5" name="Google Shape;13255;p64"/>
            <p:cNvSpPr/>
            <p:nvPr/>
          </p:nvSpPr>
          <p:spPr>
            <a:xfrm>
              <a:off x="4275356" y="3544884"/>
              <a:ext cx="128116" cy="9485"/>
            </a:xfrm>
            <a:custGeom>
              <a:avLst/>
              <a:gdLst/>
              <a:ahLst/>
              <a:cxnLst/>
              <a:rect l="l" t="t" r="r" b="b"/>
              <a:pathLst>
                <a:path w="4025" h="298" extrusionOk="0">
                  <a:moveTo>
                    <a:pt x="155" y="0"/>
                  </a:moveTo>
                  <a:cubicBezTo>
                    <a:pt x="60" y="0"/>
                    <a:pt x="0" y="72"/>
                    <a:pt x="0" y="143"/>
                  </a:cubicBezTo>
                  <a:cubicBezTo>
                    <a:pt x="0" y="226"/>
                    <a:pt x="72" y="298"/>
                    <a:pt x="155" y="298"/>
                  </a:cubicBezTo>
                  <a:lnTo>
                    <a:pt x="3870" y="298"/>
                  </a:lnTo>
                  <a:cubicBezTo>
                    <a:pt x="3965" y="298"/>
                    <a:pt x="4025" y="226"/>
                    <a:pt x="4025" y="143"/>
                  </a:cubicBezTo>
                  <a:cubicBezTo>
                    <a:pt x="4025" y="72"/>
                    <a:pt x="3965" y="0"/>
                    <a:pt x="3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6" name="Google Shape;13256;p64"/>
            <p:cNvSpPr/>
            <p:nvPr/>
          </p:nvSpPr>
          <p:spPr>
            <a:xfrm>
              <a:off x="4223442" y="3521011"/>
              <a:ext cx="38673" cy="38673"/>
            </a:xfrm>
            <a:custGeom>
              <a:avLst/>
              <a:gdLst/>
              <a:ahLst/>
              <a:cxnLst/>
              <a:rect l="l" t="t" r="r" b="b"/>
              <a:pathLst>
                <a:path w="1215" h="1215" extrusionOk="0">
                  <a:moveTo>
                    <a:pt x="905" y="298"/>
                  </a:moveTo>
                  <a:lnTo>
                    <a:pt x="905" y="893"/>
                  </a:lnTo>
                  <a:lnTo>
                    <a:pt x="310" y="893"/>
                  </a:lnTo>
                  <a:lnTo>
                    <a:pt x="310" y="298"/>
                  </a:lnTo>
                  <a:close/>
                  <a:moveTo>
                    <a:pt x="143" y="0"/>
                  </a:moveTo>
                  <a:cubicBezTo>
                    <a:pt x="48" y="0"/>
                    <a:pt x="0" y="83"/>
                    <a:pt x="0" y="155"/>
                  </a:cubicBezTo>
                  <a:lnTo>
                    <a:pt x="0" y="1060"/>
                  </a:lnTo>
                  <a:cubicBezTo>
                    <a:pt x="0" y="1155"/>
                    <a:pt x="72" y="1215"/>
                    <a:pt x="143" y="1215"/>
                  </a:cubicBezTo>
                  <a:lnTo>
                    <a:pt x="1048" y="1215"/>
                  </a:lnTo>
                  <a:cubicBezTo>
                    <a:pt x="1143" y="1215"/>
                    <a:pt x="1203" y="1131"/>
                    <a:pt x="1203" y="1060"/>
                  </a:cubicBezTo>
                  <a:lnTo>
                    <a:pt x="1203" y="155"/>
                  </a:lnTo>
                  <a:cubicBezTo>
                    <a:pt x="1215" y="83"/>
                    <a:pt x="1143" y="0"/>
                    <a:pt x="104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7" name="Google Shape;13257;p64"/>
            <p:cNvSpPr/>
            <p:nvPr/>
          </p:nvSpPr>
          <p:spPr>
            <a:xfrm>
              <a:off x="4223442" y="3602464"/>
              <a:ext cx="38673" cy="38705"/>
            </a:xfrm>
            <a:custGeom>
              <a:avLst/>
              <a:gdLst/>
              <a:ahLst/>
              <a:cxnLst/>
              <a:rect l="l" t="t" r="r" b="b"/>
              <a:pathLst>
                <a:path w="1215" h="1216" extrusionOk="0">
                  <a:moveTo>
                    <a:pt x="905" y="299"/>
                  </a:moveTo>
                  <a:lnTo>
                    <a:pt x="905" y="894"/>
                  </a:lnTo>
                  <a:lnTo>
                    <a:pt x="310" y="894"/>
                  </a:lnTo>
                  <a:lnTo>
                    <a:pt x="310" y="299"/>
                  </a:lnTo>
                  <a:close/>
                  <a:moveTo>
                    <a:pt x="143" y="1"/>
                  </a:moveTo>
                  <a:cubicBezTo>
                    <a:pt x="48" y="1"/>
                    <a:pt x="0" y="84"/>
                    <a:pt x="0" y="156"/>
                  </a:cubicBezTo>
                  <a:lnTo>
                    <a:pt x="0" y="1061"/>
                  </a:lnTo>
                  <a:cubicBezTo>
                    <a:pt x="0" y="1156"/>
                    <a:pt x="72" y="1215"/>
                    <a:pt x="143" y="1215"/>
                  </a:cubicBezTo>
                  <a:lnTo>
                    <a:pt x="1048" y="1215"/>
                  </a:lnTo>
                  <a:cubicBezTo>
                    <a:pt x="1143" y="1215"/>
                    <a:pt x="1203" y="1132"/>
                    <a:pt x="1203" y="1061"/>
                  </a:cubicBezTo>
                  <a:lnTo>
                    <a:pt x="1203" y="156"/>
                  </a:lnTo>
                  <a:cubicBezTo>
                    <a:pt x="1215" y="60"/>
                    <a:pt x="1143" y="1"/>
                    <a:pt x="10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8" name="Google Shape;13258;p64"/>
            <p:cNvSpPr/>
            <p:nvPr/>
          </p:nvSpPr>
          <p:spPr>
            <a:xfrm>
              <a:off x="4193872" y="3460375"/>
              <a:ext cx="289558" cy="224370"/>
            </a:xfrm>
            <a:custGeom>
              <a:avLst/>
              <a:gdLst/>
              <a:ahLst/>
              <a:cxnLst/>
              <a:rect l="l" t="t" r="r" b="b"/>
              <a:pathLst>
                <a:path w="9097" h="7049" extrusionOk="0">
                  <a:moveTo>
                    <a:pt x="6108" y="3751"/>
                  </a:moveTo>
                  <a:lnTo>
                    <a:pt x="8502" y="4620"/>
                  </a:lnTo>
                  <a:lnTo>
                    <a:pt x="7894" y="4894"/>
                  </a:lnTo>
                  <a:cubicBezTo>
                    <a:pt x="7847" y="4917"/>
                    <a:pt x="7811" y="4953"/>
                    <a:pt x="7799" y="5013"/>
                  </a:cubicBezTo>
                  <a:cubicBezTo>
                    <a:pt x="7787" y="5060"/>
                    <a:pt x="7799" y="5120"/>
                    <a:pt x="7847" y="5155"/>
                  </a:cubicBezTo>
                  <a:lnTo>
                    <a:pt x="8752" y="6060"/>
                  </a:lnTo>
                  <a:lnTo>
                    <a:pt x="8406" y="6406"/>
                  </a:lnTo>
                  <a:lnTo>
                    <a:pt x="7501" y="5489"/>
                  </a:lnTo>
                  <a:cubicBezTo>
                    <a:pt x="7478" y="5465"/>
                    <a:pt x="7430" y="5453"/>
                    <a:pt x="7394" y="5453"/>
                  </a:cubicBezTo>
                  <a:lnTo>
                    <a:pt x="7370" y="5453"/>
                  </a:lnTo>
                  <a:cubicBezTo>
                    <a:pt x="7323" y="5465"/>
                    <a:pt x="7275" y="5489"/>
                    <a:pt x="7251" y="5536"/>
                  </a:cubicBezTo>
                  <a:lnTo>
                    <a:pt x="6966" y="6156"/>
                  </a:lnTo>
                  <a:lnTo>
                    <a:pt x="6108" y="3751"/>
                  </a:lnTo>
                  <a:close/>
                  <a:moveTo>
                    <a:pt x="155" y="0"/>
                  </a:moveTo>
                  <a:cubicBezTo>
                    <a:pt x="60" y="0"/>
                    <a:pt x="0" y="83"/>
                    <a:pt x="0" y="155"/>
                  </a:cubicBezTo>
                  <a:lnTo>
                    <a:pt x="0" y="6894"/>
                  </a:lnTo>
                  <a:cubicBezTo>
                    <a:pt x="0" y="6989"/>
                    <a:pt x="72" y="7049"/>
                    <a:pt x="155" y="7049"/>
                  </a:cubicBezTo>
                  <a:lnTo>
                    <a:pt x="7573" y="7049"/>
                  </a:lnTo>
                  <a:cubicBezTo>
                    <a:pt x="7668" y="7049"/>
                    <a:pt x="7728" y="6965"/>
                    <a:pt x="7728" y="6894"/>
                  </a:cubicBezTo>
                  <a:lnTo>
                    <a:pt x="7728" y="6156"/>
                  </a:lnTo>
                  <a:lnTo>
                    <a:pt x="8204" y="6632"/>
                  </a:lnTo>
                  <a:cubicBezTo>
                    <a:pt x="8263" y="6691"/>
                    <a:pt x="8335" y="6715"/>
                    <a:pt x="8430" y="6715"/>
                  </a:cubicBezTo>
                  <a:cubicBezTo>
                    <a:pt x="8513" y="6715"/>
                    <a:pt x="8585" y="6691"/>
                    <a:pt x="8644" y="6632"/>
                  </a:cubicBezTo>
                  <a:lnTo>
                    <a:pt x="8990" y="6287"/>
                  </a:lnTo>
                  <a:cubicBezTo>
                    <a:pt x="9097" y="6156"/>
                    <a:pt x="9097" y="5953"/>
                    <a:pt x="8978" y="5822"/>
                  </a:cubicBezTo>
                  <a:lnTo>
                    <a:pt x="8228" y="5084"/>
                  </a:lnTo>
                  <a:lnTo>
                    <a:pt x="8644" y="4882"/>
                  </a:lnTo>
                  <a:cubicBezTo>
                    <a:pt x="8763" y="4822"/>
                    <a:pt x="8835" y="4703"/>
                    <a:pt x="8823" y="4584"/>
                  </a:cubicBezTo>
                  <a:cubicBezTo>
                    <a:pt x="8811" y="4465"/>
                    <a:pt x="8740" y="4346"/>
                    <a:pt x="8621" y="4310"/>
                  </a:cubicBezTo>
                  <a:lnTo>
                    <a:pt x="7728" y="3989"/>
                  </a:lnTo>
                  <a:lnTo>
                    <a:pt x="7728" y="1762"/>
                  </a:lnTo>
                  <a:cubicBezTo>
                    <a:pt x="7728" y="1667"/>
                    <a:pt x="7656" y="1607"/>
                    <a:pt x="7573" y="1607"/>
                  </a:cubicBezTo>
                  <a:cubicBezTo>
                    <a:pt x="7489" y="1607"/>
                    <a:pt x="7430" y="1691"/>
                    <a:pt x="7430" y="1762"/>
                  </a:cubicBezTo>
                  <a:lnTo>
                    <a:pt x="7430" y="3893"/>
                  </a:lnTo>
                  <a:lnTo>
                    <a:pt x="6227" y="3453"/>
                  </a:lnTo>
                  <a:cubicBezTo>
                    <a:pt x="6193" y="3442"/>
                    <a:pt x="6158" y="3437"/>
                    <a:pt x="6124" y="3437"/>
                  </a:cubicBezTo>
                  <a:cubicBezTo>
                    <a:pt x="6041" y="3437"/>
                    <a:pt x="5962" y="3469"/>
                    <a:pt x="5894" y="3536"/>
                  </a:cubicBezTo>
                  <a:cubicBezTo>
                    <a:pt x="5799" y="3620"/>
                    <a:pt x="5775" y="3739"/>
                    <a:pt x="5823" y="3858"/>
                  </a:cubicBezTo>
                  <a:lnTo>
                    <a:pt x="6085" y="4620"/>
                  </a:lnTo>
                  <a:lnTo>
                    <a:pt x="2727" y="4620"/>
                  </a:lnTo>
                  <a:cubicBezTo>
                    <a:pt x="2632" y="4620"/>
                    <a:pt x="2572" y="4691"/>
                    <a:pt x="2572" y="4763"/>
                  </a:cubicBezTo>
                  <a:cubicBezTo>
                    <a:pt x="2572" y="4858"/>
                    <a:pt x="2644" y="4917"/>
                    <a:pt x="2727" y="4917"/>
                  </a:cubicBezTo>
                  <a:lnTo>
                    <a:pt x="6204" y="4917"/>
                  </a:lnTo>
                  <a:lnTo>
                    <a:pt x="6311" y="5215"/>
                  </a:lnTo>
                  <a:lnTo>
                    <a:pt x="2727" y="5215"/>
                  </a:lnTo>
                  <a:cubicBezTo>
                    <a:pt x="2632" y="5215"/>
                    <a:pt x="2572" y="5286"/>
                    <a:pt x="2572" y="5358"/>
                  </a:cubicBezTo>
                  <a:cubicBezTo>
                    <a:pt x="2572" y="5453"/>
                    <a:pt x="2644" y="5513"/>
                    <a:pt x="2727" y="5513"/>
                  </a:cubicBezTo>
                  <a:lnTo>
                    <a:pt x="6418" y="5513"/>
                  </a:lnTo>
                  <a:lnTo>
                    <a:pt x="6668" y="6239"/>
                  </a:lnTo>
                  <a:cubicBezTo>
                    <a:pt x="6716" y="6358"/>
                    <a:pt x="6811" y="6453"/>
                    <a:pt x="6954" y="6453"/>
                  </a:cubicBezTo>
                  <a:cubicBezTo>
                    <a:pt x="7085" y="6453"/>
                    <a:pt x="7204" y="6394"/>
                    <a:pt x="7251" y="6275"/>
                  </a:cubicBezTo>
                  <a:lnTo>
                    <a:pt x="7406" y="5929"/>
                  </a:lnTo>
                  <a:lnTo>
                    <a:pt x="7406" y="6727"/>
                  </a:lnTo>
                  <a:lnTo>
                    <a:pt x="298" y="6727"/>
                  </a:lnTo>
                  <a:lnTo>
                    <a:pt x="298" y="155"/>
                  </a:lnTo>
                  <a:cubicBezTo>
                    <a:pt x="298" y="60"/>
                    <a:pt x="227"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59" name="Google Shape;13259;p64"/>
          <p:cNvGrpSpPr/>
          <p:nvPr/>
        </p:nvGrpSpPr>
        <p:grpSpPr>
          <a:xfrm>
            <a:off x="6533281" y="3351230"/>
            <a:ext cx="357037" cy="357005"/>
            <a:chOff x="6533281" y="3351230"/>
            <a:chExt cx="357037" cy="357005"/>
          </a:xfrm>
        </p:grpSpPr>
        <p:sp>
          <p:nvSpPr>
            <p:cNvPr id="13260" name="Google Shape;13260;p64"/>
            <p:cNvSpPr/>
            <p:nvPr/>
          </p:nvSpPr>
          <p:spPr>
            <a:xfrm>
              <a:off x="6533281" y="3351230"/>
              <a:ext cx="357037" cy="357005"/>
            </a:xfrm>
            <a:custGeom>
              <a:avLst/>
              <a:gdLst/>
              <a:ahLst/>
              <a:cxnLst/>
              <a:rect l="l" t="t" r="r" b="b"/>
              <a:pathLst>
                <a:path w="11217" h="11216" extrusionOk="0">
                  <a:moveTo>
                    <a:pt x="5609" y="357"/>
                  </a:moveTo>
                  <a:cubicBezTo>
                    <a:pt x="8514" y="357"/>
                    <a:pt x="10859" y="2703"/>
                    <a:pt x="10859" y="5608"/>
                  </a:cubicBezTo>
                  <a:cubicBezTo>
                    <a:pt x="10871" y="8513"/>
                    <a:pt x="8514" y="10859"/>
                    <a:pt x="5609" y="10859"/>
                  </a:cubicBezTo>
                  <a:cubicBezTo>
                    <a:pt x="2703" y="10859"/>
                    <a:pt x="358" y="8513"/>
                    <a:pt x="358" y="5608"/>
                  </a:cubicBezTo>
                  <a:cubicBezTo>
                    <a:pt x="358" y="2703"/>
                    <a:pt x="2703" y="357"/>
                    <a:pt x="5609" y="357"/>
                  </a:cubicBezTo>
                  <a:close/>
                  <a:moveTo>
                    <a:pt x="5609" y="0"/>
                  </a:moveTo>
                  <a:cubicBezTo>
                    <a:pt x="4108" y="0"/>
                    <a:pt x="2703" y="572"/>
                    <a:pt x="1632" y="1631"/>
                  </a:cubicBezTo>
                  <a:cubicBezTo>
                    <a:pt x="572" y="2691"/>
                    <a:pt x="1" y="4108"/>
                    <a:pt x="1" y="5608"/>
                  </a:cubicBezTo>
                  <a:cubicBezTo>
                    <a:pt x="1" y="7108"/>
                    <a:pt x="572" y="8513"/>
                    <a:pt x="1632" y="9585"/>
                  </a:cubicBezTo>
                  <a:cubicBezTo>
                    <a:pt x="2692" y="10632"/>
                    <a:pt x="4108" y="11216"/>
                    <a:pt x="5609" y="11216"/>
                  </a:cubicBezTo>
                  <a:cubicBezTo>
                    <a:pt x="7109" y="11216"/>
                    <a:pt x="8514" y="10632"/>
                    <a:pt x="9585" y="9585"/>
                  </a:cubicBezTo>
                  <a:cubicBezTo>
                    <a:pt x="10633" y="8525"/>
                    <a:pt x="11216" y="7108"/>
                    <a:pt x="11216" y="5608"/>
                  </a:cubicBezTo>
                  <a:cubicBezTo>
                    <a:pt x="11216" y="4108"/>
                    <a:pt x="10633" y="2703"/>
                    <a:pt x="9585" y="1631"/>
                  </a:cubicBezTo>
                  <a:cubicBezTo>
                    <a:pt x="8526" y="572"/>
                    <a:pt x="7109" y="0"/>
                    <a:pt x="56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1" name="Google Shape;13261;p64"/>
            <p:cNvSpPr/>
            <p:nvPr/>
          </p:nvSpPr>
          <p:spPr>
            <a:xfrm>
              <a:off x="6570427" y="3388344"/>
              <a:ext cx="282364" cy="282396"/>
            </a:xfrm>
            <a:custGeom>
              <a:avLst/>
              <a:gdLst/>
              <a:ahLst/>
              <a:cxnLst/>
              <a:rect l="l" t="t" r="r" b="b"/>
              <a:pathLst>
                <a:path w="8871" h="8872" extrusionOk="0">
                  <a:moveTo>
                    <a:pt x="4442" y="2966"/>
                  </a:moveTo>
                  <a:cubicBezTo>
                    <a:pt x="5263" y="2966"/>
                    <a:pt x="5918" y="3632"/>
                    <a:pt x="5918" y="4442"/>
                  </a:cubicBezTo>
                  <a:cubicBezTo>
                    <a:pt x="5918" y="5263"/>
                    <a:pt x="5239" y="5918"/>
                    <a:pt x="4442" y="5918"/>
                  </a:cubicBezTo>
                  <a:cubicBezTo>
                    <a:pt x="3632" y="5918"/>
                    <a:pt x="2965" y="5263"/>
                    <a:pt x="2965" y="4442"/>
                  </a:cubicBezTo>
                  <a:cubicBezTo>
                    <a:pt x="2965" y="3620"/>
                    <a:pt x="3632" y="2966"/>
                    <a:pt x="4442" y="2966"/>
                  </a:cubicBezTo>
                  <a:close/>
                  <a:moveTo>
                    <a:pt x="1108" y="2120"/>
                  </a:moveTo>
                  <a:lnTo>
                    <a:pt x="2656" y="4775"/>
                  </a:lnTo>
                  <a:cubicBezTo>
                    <a:pt x="2822" y="5633"/>
                    <a:pt x="3561" y="6264"/>
                    <a:pt x="4453" y="6264"/>
                  </a:cubicBezTo>
                  <a:cubicBezTo>
                    <a:pt x="4704" y="6264"/>
                    <a:pt x="4942" y="6228"/>
                    <a:pt x="5156" y="6121"/>
                  </a:cubicBezTo>
                  <a:lnTo>
                    <a:pt x="5156" y="6121"/>
                  </a:lnTo>
                  <a:lnTo>
                    <a:pt x="3894" y="8466"/>
                  </a:lnTo>
                  <a:cubicBezTo>
                    <a:pt x="1906" y="8204"/>
                    <a:pt x="382" y="6490"/>
                    <a:pt x="382" y="4442"/>
                  </a:cubicBezTo>
                  <a:cubicBezTo>
                    <a:pt x="382" y="3573"/>
                    <a:pt x="643" y="2775"/>
                    <a:pt x="1108" y="2120"/>
                  </a:cubicBezTo>
                  <a:close/>
                  <a:moveTo>
                    <a:pt x="4442" y="370"/>
                  </a:moveTo>
                  <a:cubicBezTo>
                    <a:pt x="6037" y="370"/>
                    <a:pt x="7406" y="1287"/>
                    <a:pt x="8085" y="2620"/>
                  </a:cubicBezTo>
                  <a:lnTo>
                    <a:pt x="7120" y="2620"/>
                  </a:lnTo>
                  <a:cubicBezTo>
                    <a:pt x="7013" y="2620"/>
                    <a:pt x="6942" y="2692"/>
                    <a:pt x="6942" y="2799"/>
                  </a:cubicBezTo>
                  <a:cubicBezTo>
                    <a:pt x="6942" y="2906"/>
                    <a:pt x="7013" y="2977"/>
                    <a:pt x="7120" y="2977"/>
                  </a:cubicBezTo>
                  <a:lnTo>
                    <a:pt x="8252" y="2977"/>
                  </a:lnTo>
                  <a:cubicBezTo>
                    <a:pt x="8430" y="3442"/>
                    <a:pt x="8537" y="3930"/>
                    <a:pt x="8537" y="4454"/>
                  </a:cubicBezTo>
                  <a:cubicBezTo>
                    <a:pt x="8514" y="6692"/>
                    <a:pt x="6692" y="8514"/>
                    <a:pt x="4442" y="8514"/>
                  </a:cubicBezTo>
                  <a:lnTo>
                    <a:pt x="4263" y="8514"/>
                  </a:lnTo>
                  <a:lnTo>
                    <a:pt x="5799" y="5680"/>
                  </a:lnTo>
                  <a:cubicBezTo>
                    <a:pt x="6097" y="5347"/>
                    <a:pt x="6275" y="4918"/>
                    <a:pt x="6275" y="4454"/>
                  </a:cubicBezTo>
                  <a:cubicBezTo>
                    <a:pt x="6275" y="3847"/>
                    <a:pt x="5977" y="3311"/>
                    <a:pt x="5525" y="2977"/>
                  </a:cubicBezTo>
                  <a:lnTo>
                    <a:pt x="6251" y="2977"/>
                  </a:lnTo>
                  <a:cubicBezTo>
                    <a:pt x="6358" y="2977"/>
                    <a:pt x="6430" y="2906"/>
                    <a:pt x="6430" y="2799"/>
                  </a:cubicBezTo>
                  <a:cubicBezTo>
                    <a:pt x="6430" y="2692"/>
                    <a:pt x="6358" y="2620"/>
                    <a:pt x="6251" y="2620"/>
                  </a:cubicBezTo>
                  <a:lnTo>
                    <a:pt x="4453" y="2620"/>
                  </a:lnTo>
                  <a:cubicBezTo>
                    <a:pt x="3561" y="2620"/>
                    <a:pt x="2834" y="3263"/>
                    <a:pt x="2656" y="4097"/>
                  </a:cubicBezTo>
                  <a:lnTo>
                    <a:pt x="1334" y="1834"/>
                  </a:lnTo>
                  <a:cubicBezTo>
                    <a:pt x="2072" y="941"/>
                    <a:pt x="3191" y="370"/>
                    <a:pt x="4442" y="370"/>
                  </a:cubicBezTo>
                  <a:close/>
                  <a:moveTo>
                    <a:pt x="4442" y="1"/>
                  </a:moveTo>
                  <a:cubicBezTo>
                    <a:pt x="2001" y="1"/>
                    <a:pt x="1" y="2001"/>
                    <a:pt x="1" y="4442"/>
                  </a:cubicBezTo>
                  <a:cubicBezTo>
                    <a:pt x="1" y="6883"/>
                    <a:pt x="2001" y="8871"/>
                    <a:pt x="4442" y="8871"/>
                  </a:cubicBezTo>
                  <a:cubicBezTo>
                    <a:pt x="6882" y="8871"/>
                    <a:pt x="8871" y="6883"/>
                    <a:pt x="8871" y="4442"/>
                  </a:cubicBezTo>
                  <a:cubicBezTo>
                    <a:pt x="8871" y="2001"/>
                    <a:pt x="6894" y="1"/>
                    <a:pt x="4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2" name="Google Shape;13262;p64"/>
            <p:cNvSpPr/>
            <p:nvPr/>
          </p:nvSpPr>
          <p:spPr>
            <a:xfrm>
              <a:off x="6676166" y="3494083"/>
              <a:ext cx="71267" cy="71299"/>
            </a:xfrm>
            <a:custGeom>
              <a:avLst/>
              <a:gdLst/>
              <a:ahLst/>
              <a:cxnLst/>
              <a:rect l="l" t="t" r="r" b="b"/>
              <a:pathLst>
                <a:path w="2239" h="2240" extrusionOk="0">
                  <a:moveTo>
                    <a:pt x="1120" y="346"/>
                  </a:moveTo>
                  <a:cubicBezTo>
                    <a:pt x="1536" y="346"/>
                    <a:pt x="1893" y="679"/>
                    <a:pt x="1893" y="1120"/>
                  </a:cubicBezTo>
                  <a:cubicBezTo>
                    <a:pt x="1893" y="1549"/>
                    <a:pt x="1548" y="1894"/>
                    <a:pt x="1120" y="1894"/>
                  </a:cubicBezTo>
                  <a:cubicBezTo>
                    <a:pt x="703" y="1894"/>
                    <a:pt x="346" y="1549"/>
                    <a:pt x="346" y="1120"/>
                  </a:cubicBezTo>
                  <a:cubicBezTo>
                    <a:pt x="346" y="679"/>
                    <a:pt x="691" y="346"/>
                    <a:pt x="1120" y="346"/>
                  </a:cubicBezTo>
                  <a:close/>
                  <a:moveTo>
                    <a:pt x="1120" y="1"/>
                  </a:moveTo>
                  <a:cubicBezTo>
                    <a:pt x="489" y="1"/>
                    <a:pt x="0" y="513"/>
                    <a:pt x="0" y="1120"/>
                  </a:cubicBezTo>
                  <a:cubicBezTo>
                    <a:pt x="0" y="1727"/>
                    <a:pt x="512" y="2239"/>
                    <a:pt x="1120" y="2239"/>
                  </a:cubicBezTo>
                  <a:cubicBezTo>
                    <a:pt x="1739" y="2239"/>
                    <a:pt x="2239" y="1727"/>
                    <a:pt x="2239" y="1120"/>
                  </a:cubicBezTo>
                  <a:cubicBezTo>
                    <a:pt x="2239" y="513"/>
                    <a:pt x="1739" y="1"/>
                    <a:pt x="1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3" name="Google Shape;13263;p64"/>
          <p:cNvGrpSpPr/>
          <p:nvPr/>
        </p:nvGrpSpPr>
        <p:grpSpPr>
          <a:xfrm>
            <a:off x="6058441" y="3351230"/>
            <a:ext cx="357387" cy="357005"/>
            <a:chOff x="6058441" y="3351230"/>
            <a:chExt cx="357387" cy="357005"/>
          </a:xfrm>
        </p:grpSpPr>
        <p:sp>
          <p:nvSpPr>
            <p:cNvPr id="13264" name="Google Shape;13264;p64"/>
            <p:cNvSpPr/>
            <p:nvPr/>
          </p:nvSpPr>
          <p:spPr>
            <a:xfrm>
              <a:off x="6058441" y="3351230"/>
              <a:ext cx="357387" cy="357005"/>
            </a:xfrm>
            <a:custGeom>
              <a:avLst/>
              <a:gdLst/>
              <a:ahLst/>
              <a:cxnLst/>
              <a:rect l="l" t="t" r="r" b="b"/>
              <a:pathLst>
                <a:path w="11228" h="11216" extrusionOk="0">
                  <a:moveTo>
                    <a:pt x="5608" y="357"/>
                  </a:moveTo>
                  <a:cubicBezTo>
                    <a:pt x="8513" y="357"/>
                    <a:pt x="10871" y="2703"/>
                    <a:pt x="10871" y="5608"/>
                  </a:cubicBezTo>
                  <a:cubicBezTo>
                    <a:pt x="10871" y="8513"/>
                    <a:pt x="8513" y="10859"/>
                    <a:pt x="5608" y="10859"/>
                  </a:cubicBezTo>
                  <a:cubicBezTo>
                    <a:pt x="2715" y="10859"/>
                    <a:pt x="357" y="8513"/>
                    <a:pt x="357" y="5608"/>
                  </a:cubicBezTo>
                  <a:cubicBezTo>
                    <a:pt x="357" y="2703"/>
                    <a:pt x="2715" y="357"/>
                    <a:pt x="5608" y="357"/>
                  </a:cubicBezTo>
                  <a:close/>
                  <a:moveTo>
                    <a:pt x="5608" y="0"/>
                  </a:moveTo>
                  <a:cubicBezTo>
                    <a:pt x="4108" y="0"/>
                    <a:pt x="2715" y="572"/>
                    <a:pt x="1631" y="1631"/>
                  </a:cubicBezTo>
                  <a:cubicBezTo>
                    <a:pt x="584" y="2691"/>
                    <a:pt x="0" y="4108"/>
                    <a:pt x="0" y="5608"/>
                  </a:cubicBezTo>
                  <a:cubicBezTo>
                    <a:pt x="0" y="7108"/>
                    <a:pt x="584" y="8513"/>
                    <a:pt x="1631" y="9585"/>
                  </a:cubicBezTo>
                  <a:cubicBezTo>
                    <a:pt x="2691" y="10632"/>
                    <a:pt x="4108" y="11216"/>
                    <a:pt x="5608" y="11216"/>
                  </a:cubicBezTo>
                  <a:cubicBezTo>
                    <a:pt x="7120" y="11216"/>
                    <a:pt x="8513" y="10632"/>
                    <a:pt x="9585" y="9585"/>
                  </a:cubicBezTo>
                  <a:cubicBezTo>
                    <a:pt x="10656" y="8525"/>
                    <a:pt x="11228" y="7108"/>
                    <a:pt x="11228" y="5608"/>
                  </a:cubicBezTo>
                  <a:cubicBezTo>
                    <a:pt x="11228" y="4108"/>
                    <a:pt x="10644"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5" name="Google Shape;13265;p64"/>
            <p:cNvSpPr/>
            <p:nvPr/>
          </p:nvSpPr>
          <p:spPr>
            <a:xfrm>
              <a:off x="6111120" y="3403527"/>
              <a:ext cx="252030" cy="252030"/>
            </a:xfrm>
            <a:custGeom>
              <a:avLst/>
              <a:gdLst/>
              <a:ahLst/>
              <a:cxnLst/>
              <a:rect l="l" t="t" r="r" b="b"/>
              <a:pathLst>
                <a:path w="7918" h="7918" extrusionOk="0">
                  <a:moveTo>
                    <a:pt x="3953" y="357"/>
                  </a:moveTo>
                  <a:cubicBezTo>
                    <a:pt x="4048" y="357"/>
                    <a:pt x="4132" y="357"/>
                    <a:pt x="4215" y="381"/>
                  </a:cubicBezTo>
                  <a:cubicBezTo>
                    <a:pt x="4239" y="560"/>
                    <a:pt x="4251" y="715"/>
                    <a:pt x="4251" y="893"/>
                  </a:cubicBezTo>
                  <a:cubicBezTo>
                    <a:pt x="4251" y="1584"/>
                    <a:pt x="4060" y="2203"/>
                    <a:pt x="3739" y="2762"/>
                  </a:cubicBezTo>
                  <a:cubicBezTo>
                    <a:pt x="2941" y="2239"/>
                    <a:pt x="2048" y="1905"/>
                    <a:pt x="1096" y="1774"/>
                  </a:cubicBezTo>
                  <a:cubicBezTo>
                    <a:pt x="1762" y="905"/>
                    <a:pt x="2798" y="357"/>
                    <a:pt x="3953" y="357"/>
                  </a:cubicBezTo>
                  <a:close/>
                  <a:moveTo>
                    <a:pt x="4584" y="405"/>
                  </a:moveTo>
                  <a:lnTo>
                    <a:pt x="4584" y="405"/>
                  </a:lnTo>
                  <a:cubicBezTo>
                    <a:pt x="6144" y="691"/>
                    <a:pt x="7346" y="1965"/>
                    <a:pt x="7549" y="3548"/>
                  </a:cubicBezTo>
                  <a:lnTo>
                    <a:pt x="7513" y="3548"/>
                  </a:lnTo>
                  <a:cubicBezTo>
                    <a:pt x="6715" y="3548"/>
                    <a:pt x="5953" y="3786"/>
                    <a:pt x="5322" y="4203"/>
                  </a:cubicBezTo>
                  <a:cubicBezTo>
                    <a:pt x="5084" y="3905"/>
                    <a:pt x="4822" y="3608"/>
                    <a:pt x="4525" y="3358"/>
                  </a:cubicBezTo>
                  <a:cubicBezTo>
                    <a:pt x="4358" y="3203"/>
                    <a:pt x="4191" y="3072"/>
                    <a:pt x="4036" y="2953"/>
                  </a:cubicBezTo>
                  <a:cubicBezTo>
                    <a:pt x="4405" y="2358"/>
                    <a:pt x="4608" y="1643"/>
                    <a:pt x="4608" y="881"/>
                  </a:cubicBezTo>
                  <a:cubicBezTo>
                    <a:pt x="4608" y="715"/>
                    <a:pt x="4596" y="572"/>
                    <a:pt x="4584" y="405"/>
                  </a:cubicBezTo>
                  <a:close/>
                  <a:moveTo>
                    <a:pt x="869" y="2084"/>
                  </a:moveTo>
                  <a:cubicBezTo>
                    <a:pt x="1846" y="2191"/>
                    <a:pt x="2751" y="2536"/>
                    <a:pt x="3536" y="3036"/>
                  </a:cubicBezTo>
                  <a:cubicBezTo>
                    <a:pt x="2881" y="3917"/>
                    <a:pt x="1834" y="4501"/>
                    <a:pt x="655" y="4501"/>
                  </a:cubicBezTo>
                  <a:cubicBezTo>
                    <a:pt x="560" y="4501"/>
                    <a:pt x="476" y="4501"/>
                    <a:pt x="393" y="4477"/>
                  </a:cubicBezTo>
                  <a:cubicBezTo>
                    <a:pt x="369" y="4322"/>
                    <a:pt x="357" y="4144"/>
                    <a:pt x="357" y="3965"/>
                  </a:cubicBezTo>
                  <a:cubicBezTo>
                    <a:pt x="357" y="3274"/>
                    <a:pt x="548" y="2643"/>
                    <a:pt x="869" y="2084"/>
                  </a:cubicBezTo>
                  <a:close/>
                  <a:moveTo>
                    <a:pt x="7561" y="3905"/>
                  </a:moveTo>
                  <a:lnTo>
                    <a:pt x="7561" y="3965"/>
                  </a:lnTo>
                  <a:cubicBezTo>
                    <a:pt x="7561" y="4977"/>
                    <a:pt x="7144" y="5882"/>
                    <a:pt x="6489" y="6537"/>
                  </a:cubicBezTo>
                  <a:cubicBezTo>
                    <a:pt x="6299" y="5798"/>
                    <a:pt x="5965" y="5108"/>
                    <a:pt x="5537" y="4501"/>
                  </a:cubicBezTo>
                  <a:cubicBezTo>
                    <a:pt x="6096" y="4132"/>
                    <a:pt x="6787" y="3905"/>
                    <a:pt x="7501" y="3905"/>
                  </a:cubicBezTo>
                  <a:close/>
                  <a:moveTo>
                    <a:pt x="3834" y="3251"/>
                  </a:moveTo>
                  <a:cubicBezTo>
                    <a:pt x="4286" y="3572"/>
                    <a:pt x="4703" y="3977"/>
                    <a:pt x="5037" y="4429"/>
                  </a:cubicBezTo>
                  <a:cubicBezTo>
                    <a:pt x="4727" y="4679"/>
                    <a:pt x="4465" y="4965"/>
                    <a:pt x="4239" y="5287"/>
                  </a:cubicBezTo>
                  <a:cubicBezTo>
                    <a:pt x="4191" y="5358"/>
                    <a:pt x="4191" y="5453"/>
                    <a:pt x="4251" y="5513"/>
                  </a:cubicBezTo>
                  <a:cubicBezTo>
                    <a:pt x="4281" y="5543"/>
                    <a:pt x="4325" y="5559"/>
                    <a:pt x="4370" y="5559"/>
                  </a:cubicBezTo>
                  <a:cubicBezTo>
                    <a:pt x="4429" y="5559"/>
                    <a:pt x="4491" y="5531"/>
                    <a:pt x="4525" y="5477"/>
                  </a:cubicBezTo>
                  <a:cubicBezTo>
                    <a:pt x="4727" y="5179"/>
                    <a:pt x="4965" y="4929"/>
                    <a:pt x="5239" y="4703"/>
                  </a:cubicBezTo>
                  <a:cubicBezTo>
                    <a:pt x="5668" y="5334"/>
                    <a:pt x="5977" y="6025"/>
                    <a:pt x="6168" y="6799"/>
                  </a:cubicBezTo>
                  <a:cubicBezTo>
                    <a:pt x="5560" y="7287"/>
                    <a:pt x="4786" y="7561"/>
                    <a:pt x="3953" y="7561"/>
                  </a:cubicBezTo>
                  <a:lnTo>
                    <a:pt x="3894" y="7561"/>
                  </a:lnTo>
                  <a:lnTo>
                    <a:pt x="3894" y="7501"/>
                  </a:lnTo>
                  <a:cubicBezTo>
                    <a:pt x="3894" y="7061"/>
                    <a:pt x="3965" y="6632"/>
                    <a:pt x="4120" y="6239"/>
                  </a:cubicBezTo>
                  <a:cubicBezTo>
                    <a:pt x="4144" y="6179"/>
                    <a:pt x="4132" y="6108"/>
                    <a:pt x="4072" y="6060"/>
                  </a:cubicBezTo>
                  <a:cubicBezTo>
                    <a:pt x="4039" y="6027"/>
                    <a:pt x="3995" y="6011"/>
                    <a:pt x="3950" y="6011"/>
                  </a:cubicBezTo>
                  <a:cubicBezTo>
                    <a:pt x="3883" y="6011"/>
                    <a:pt x="3815" y="6048"/>
                    <a:pt x="3786" y="6120"/>
                  </a:cubicBezTo>
                  <a:cubicBezTo>
                    <a:pt x="3632" y="6549"/>
                    <a:pt x="3536" y="7025"/>
                    <a:pt x="3536" y="7525"/>
                  </a:cubicBezTo>
                  <a:lnTo>
                    <a:pt x="3536" y="7549"/>
                  </a:lnTo>
                  <a:cubicBezTo>
                    <a:pt x="2036" y="7370"/>
                    <a:pt x="810" y="6287"/>
                    <a:pt x="453" y="4858"/>
                  </a:cubicBezTo>
                  <a:lnTo>
                    <a:pt x="655" y="4858"/>
                  </a:lnTo>
                  <a:cubicBezTo>
                    <a:pt x="1965" y="4858"/>
                    <a:pt x="3108" y="4215"/>
                    <a:pt x="3834" y="3251"/>
                  </a:cubicBezTo>
                  <a:close/>
                  <a:moveTo>
                    <a:pt x="3953" y="0"/>
                  </a:moveTo>
                  <a:cubicBezTo>
                    <a:pt x="1762" y="0"/>
                    <a:pt x="0" y="1774"/>
                    <a:pt x="0" y="3965"/>
                  </a:cubicBezTo>
                  <a:cubicBezTo>
                    <a:pt x="0" y="6156"/>
                    <a:pt x="1774" y="7918"/>
                    <a:pt x="3953" y="7918"/>
                  </a:cubicBezTo>
                  <a:cubicBezTo>
                    <a:pt x="6144" y="7918"/>
                    <a:pt x="7918" y="6156"/>
                    <a:pt x="7918" y="3965"/>
                  </a:cubicBezTo>
                  <a:cubicBezTo>
                    <a:pt x="7918" y="1774"/>
                    <a:pt x="6144" y="0"/>
                    <a:pt x="3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66" name="Google Shape;13266;p64"/>
          <p:cNvGrpSpPr/>
          <p:nvPr/>
        </p:nvGrpSpPr>
        <p:grpSpPr>
          <a:xfrm>
            <a:off x="7957483" y="3350848"/>
            <a:ext cx="357387" cy="357387"/>
            <a:chOff x="7957483" y="3350848"/>
            <a:chExt cx="357387" cy="357387"/>
          </a:xfrm>
        </p:grpSpPr>
        <p:sp>
          <p:nvSpPr>
            <p:cNvPr id="13267" name="Google Shape;13267;p64"/>
            <p:cNvSpPr/>
            <p:nvPr/>
          </p:nvSpPr>
          <p:spPr>
            <a:xfrm>
              <a:off x="8025312" y="3410721"/>
              <a:ext cx="71649" cy="71267"/>
            </a:xfrm>
            <a:custGeom>
              <a:avLst/>
              <a:gdLst/>
              <a:ahLst/>
              <a:cxnLst/>
              <a:rect l="l" t="t" r="r" b="b"/>
              <a:pathLst>
                <a:path w="2251" h="2239" extrusionOk="0">
                  <a:moveTo>
                    <a:pt x="1120" y="0"/>
                  </a:moveTo>
                  <a:cubicBezTo>
                    <a:pt x="489" y="0"/>
                    <a:pt x="1" y="500"/>
                    <a:pt x="1" y="1120"/>
                  </a:cubicBezTo>
                  <a:cubicBezTo>
                    <a:pt x="1" y="1727"/>
                    <a:pt x="513" y="2239"/>
                    <a:pt x="1120" y="2239"/>
                  </a:cubicBezTo>
                  <a:cubicBezTo>
                    <a:pt x="1739" y="2239"/>
                    <a:pt x="2239" y="1727"/>
                    <a:pt x="2239" y="1120"/>
                  </a:cubicBezTo>
                  <a:cubicBezTo>
                    <a:pt x="2251" y="1048"/>
                    <a:pt x="2156" y="953"/>
                    <a:pt x="2072" y="953"/>
                  </a:cubicBezTo>
                  <a:lnTo>
                    <a:pt x="1358" y="953"/>
                  </a:lnTo>
                  <a:cubicBezTo>
                    <a:pt x="1251" y="953"/>
                    <a:pt x="1179" y="1024"/>
                    <a:pt x="1179" y="1131"/>
                  </a:cubicBezTo>
                  <a:cubicBezTo>
                    <a:pt x="1179" y="1239"/>
                    <a:pt x="1251" y="1310"/>
                    <a:pt x="1358" y="1310"/>
                  </a:cubicBezTo>
                  <a:lnTo>
                    <a:pt x="1858" y="1310"/>
                  </a:lnTo>
                  <a:cubicBezTo>
                    <a:pt x="1787" y="1655"/>
                    <a:pt x="1477" y="1905"/>
                    <a:pt x="1120" y="1905"/>
                  </a:cubicBezTo>
                  <a:cubicBezTo>
                    <a:pt x="703" y="1905"/>
                    <a:pt x="346" y="1560"/>
                    <a:pt x="346" y="1131"/>
                  </a:cubicBezTo>
                  <a:cubicBezTo>
                    <a:pt x="346" y="715"/>
                    <a:pt x="691" y="358"/>
                    <a:pt x="1120" y="358"/>
                  </a:cubicBezTo>
                  <a:cubicBezTo>
                    <a:pt x="1310" y="358"/>
                    <a:pt x="1489" y="429"/>
                    <a:pt x="1620" y="548"/>
                  </a:cubicBezTo>
                  <a:cubicBezTo>
                    <a:pt x="1660" y="576"/>
                    <a:pt x="1702" y="591"/>
                    <a:pt x="1745" y="591"/>
                  </a:cubicBezTo>
                  <a:cubicBezTo>
                    <a:pt x="1791" y="591"/>
                    <a:pt x="1838" y="573"/>
                    <a:pt x="1882" y="536"/>
                  </a:cubicBezTo>
                  <a:cubicBezTo>
                    <a:pt x="1953" y="465"/>
                    <a:pt x="1941" y="358"/>
                    <a:pt x="1858" y="286"/>
                  </a:cubicBezTo>
                  <a:cubicBezTo>
                    <a:pt x="1656" y="108"/>
                    <a:pt x="1406" y="0"/>
                    <a:pt x="1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8" name="Google Shape;13268;p64"/>
            <p:cNvSpPr/>
            <p:nvPr/>
          </p:nvSpPr>
          <p:spPr>
            <a:xfrm>
              <a:off x="8191306" y="3380768"/>
              <a:ext cx="70917" cy="71299"/>
            </a:xfrm>
            <a:custGeom>
              <a:avLst/>
              <a:gdLst/>
              <a:ahLst/>
              <a:cxnLst/>
              <a:rect l="l" t="t" r="r" b="b"/>
              <a:pathLst>
                <a:path w="2228" h="2240" extrusionOk="0">
                  <a:moveTo>
                    <a:pt x="1108" y="346"/>
                  </a:moveTo>
                  <a:cubicBezTo>
                    <a:pt x="1548" y="346"/>
                    <a:pt x="1882" y="691"/>
                    <a:pt x="1882" y="1120"/>
                  </a:cubicBezTo>
                  <a:cubicBezTo>
                    <a:pt x="1870" y="1549"/>
                    <a:pt x="1525" y="1894"/>
                    <a:pt x="1108" y="1894"/>
                  </a:cubicBezTo>
                  <a:cubicBezTo>
                    <a:pt x="691" y="1894"/>
                    <a:pt x="334" y="1549"/>
                    <a:pt x="334" y="1120"/>
                  </a:cubicBezTo>
                  <a:cubicBezTo>
                    <a:pt x="334" y="703"/>
                    <a:pt x="679" y="346"/>
                    <a:pt x="1108" y="346"/>
                  </a:cubicBezTo>
                  <a:close/>
                  <a:moveTo>
                    <a:pt x="1108" y="1"/>
                  </a:moveTo>
                  <a:cubicBezTo>
                    <a:pt x="489" y="1"/>
                    <a:pt x="1" y="513"/>
                    <a:pt x="1" y="1120"/>
                  </a:cubicBezTo>
                  <a:cubicBezTo>
                    <a:pt x="1" y="1751"/>
                    <a:pt x="501" y="2239"/>
                    <a:pt x="1108" y="2239"/>
                  </a:cubicBezTo>
                  <a:cubicBezTo>
                    <a:pt x="1739" y="2239"/>
                    <a:pt x="2227" y="1727"/>
                    <a:pt x="2227" y="1120"/>
                  </a:cubicBezTo>
                  <a:cubicBezTo>
                    <a:pt x="2227" y="513"/>
                    <a:pt x="1727"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9" name="Google Shape;13269;p64"/>
            <p:cNvSpPr/>
            <p:nvPr/>
          </p:nvSpPr>
          <p:spPr>
            <a:xfrm>
              <a:off x="7957483" y="3350848"/>
              <a:ext cx="357387" cy="357387"/>
            </a:xfrm>
            <a:custGeom>
              <a:avLst/>
              <a:gdLst/>
              <a:ahLst/>
              <a:cxnLst/>
              <a:rect l="l" t="t" r="r" b="b"/>
              <a:pathLst>
                <a:path w="11228" h="11228" extrusionOk="0">
                  <a:moveTo>
                    <a:pt x="8454" y="369"/>
                  </a:moveTo>
                  <a:cubicBezTo>
                    <a:pt x="9525" y="369"/>
                    <a:pt x="10406" y="1238"/>
                    <a:pt x="10406" y="2310"/>
                  </a:cubicBezTo>
                  <a:cubicBezTo>
                    <a:pt x="10406" y="3167"/>
                    <a:pt x="9097" y="4691"/>
                    <a:pt x="8454" y="5370"/>
                  </a:cubicBezTo>
                  <a:cubicBezTo>
                    <a:pt x="7823" y="4691"/>
                    <a:pt x="6513" y="3143"/>
                    <a:pt x="6513" y="2310"/>
                  </a:cubicBezTo>
                  <a:cubicBezTo>
                    <a:pt x="6513" y="1227"/>
                    <a:pt x="7370" y="369"/>
                    <a:pt x="8454" y="369"/>
                  </a:cubicBezTo>
                  <a:close/>
                  <a:moveTo>
                    <a:pt x="5620" y="369"/>
                  </a:moveTo>
                  <a:cubicBezTo>
                    <a:pt x="6073" y="369"/>
                    <a:pt x="6537" y="429"/>
                    <a:pt x="6989" y="548"/>
                  </a:cubicBezTo>
                  <a:cubicBezTo>
                    <a:pt x="6477" y="965"/>
                    <a:pt x="6156" y="1596"/>
                    <a:pt x="6156" y="2310"/>
                  </a:cubicBezTo>
                  <a:cubicBezTo>
                    <a:pt x="6156" y="2524"/>
                    <a:pt x="6215" y="2751"/>
                    <a:pt x="6299" y="2989"/>
                  </a:cubicBezTo>
                  <a:lnTo>
                    <a:pt x="536" y="6977"/>
                  </a:lnTo>
                  <a:cubicBezTo>
                    <a:pt x="417" y="6537"/>
                    <a:pt x="358" y="6084"/>
                    <a:pt x="358" y="5620"/>
                  </a:cubicBezTo>
                  <a:cubicBezTo>
                    <a:pt x="358" y="2715"/>
                    <a:pt x="2715" y="369"/>
                    <a:pt x="5620" y="369"/>
                  </a:cubicBezTo>
                  <a:close/>
                  <a:moveTo>
                    <a:pt x="10359" y="3417"/>
                  </a:moveTo>
                  <a:cubicBezTo>
                    <a:pt x="10668" y="4096"/>
                    <a:pt x="10835" y="4858"/>
                    <a:pt x="10835" y="5620"/>
                  </a:cubicBezTo>
                  <a:cubicBezTo>
                    <a:pt x="10871" y="7418"/>
                    <a:pt x="9966" y="9013"/>
                    <a:pt x="8561" y="9966"/>
                  </a:cubicBezTo>
                  <a:lnTo>
                    <a:pt x="5358" y="5394"/>
                  </a:lnTo>
                  <a:lnTo>
                    <a:pt x="7001" y="4191"/>
                  </a:lnTo>
                  <a:cubicBezTo>
                    <a:pt x="7585" y="4989"/>
                    <a:pt x="8263" y="5679"/>
                    <a:pt x="8311" y="5739"/>
                  </a:cubicBezTo>
                  <a:cubicBezTo>
                    <a:pt x="8335" y="5763"/>
                    <a:pt x="8382" y="5799"/>
                    <a:pt x="8430" y="5799"/>
                  </a:cubicBezTo>
                  <a:cubicBezTo>
                    <a:pt x="8478" y="5799"/>
                    <a:pt x="8513" y="5775"/>
                    <a:pt x="8549" y="5739"/>
                  </a:cubicBezTo>
                  <a:cubicBezTo>
                    <a:pt x="8609" y="5679"/>
                    <a:pt x="9764" y="4513"/>
                    <a:pt x="10359" y="3417"/>
                  </a:cubicBezTo>
                  <a:close/>
                  <a:moveTo>
                    <a:pt x="5096" y="5608"/>
                  </a:moveTo>
                  <a:lnTo>
                    <a:pt x="8275" y="10156"/>
                  </a:lnTo>
                  <a:cubicBezTo>
                    <a:pt x="8025" y="10287"/>
                    <a:pt x="7775" y="10406"/>
                    <a:pt x="7525" y="10513"/>
                  </a:cubicBezTo>
                  <a:lnTo>
                    <a:pt x="4430" y="6096"/>
                  </a:lnTo>
                  <a:lnTo>
                    <a:pt x="5096" y="5608"/>
                  </a:lnTo>
                  <a:close/>
                  <a:moveTo>
                    <a:pt x="6466" y="3310"/>
                  </a:moveTo>
                  <a:cubicBezTo>
                    <a:pt x="6573" y="3501"/>
                    <a:pt x="6692" y="3715"/>
                    <a:pt x="6823" y="3905"/>
                  </a:cubicBezTo>
                  <a:lnTo>
                    <a:pt x="3215" y="6537"/>
                  </a:lnTo>
                  <a:cubicBezTo>
                    <a:pt x="3132" y="6596"/>
                    <a:pt x="3132" y="6739"/>
                    <a:pt x="3203" y="6811"/>
                  </a:cubicBezTo>
                  <a:cubicBezTo>
                    <a:pt x="3236" y="6843"/>
                    <a:pt x="3283" y="6862"/>
                    <a:pt x="3329" y="6862"/>
                  </a:cubicBezTo>
                  <a:cubicBezTo>
                    <a:pt x="3366" y="6862"/>
                    <a:pt x="3403" y="6849"/>
                    <a:pt x="3429" y="6822"/>
                  </a:cubicBezTo>
                  <a:lnTo>
                    <a:pt x="4144" y="6299"/>
                  </a:lnTo>
                  <a:lnTo>
                    <a:pt x="7180" y="10632"/>
                  </a:lnTo>
                  <a:cubicBezTo>
                    <a:pt x="6668" y="10799"/>
                    <a:pt x="6156" y="10871"/>
                    <a:pt x="5620" y="10871"/>
                  </a:cubicBezTo>
                  <a:cubicBezTo>
                    <a:pt x="3751" y="10871"/>
                    <a:pt x="2132" y="9906"/>
                    <a:pt x="1191" y="8442"/>
                  </a:cubicBezTo>
                  <a:lnTo>
                    <a:pt x="2727" y="7334"/>
                  </a:lnTo>
                  <a:cubicBezTo>
                    <a:pt x="2822" y="7275"/>
                    <a:pt x="2822" y="7132"/>
                    <a:pt x="2739" y="7061"/>
                  </a:cubicBezTo>
                  <a:cubicBezTo>
                    <a:pt x="2706" y="7028"/>
                    <a:pt x="2663" y="7010"/>
                    <a:pt x="2620" y="7010"/>
                  </a:cubicBezTo>
                  <a:cubicBezTo>
                    <a:pt x="2585" y="7010"/>
                    <a:pt x="2551" y="7022"/>
                    <a:pt x="2525" y="7049"/>
                  </a:cubicBezTo>
                  <a:lnTo>
                    <a:pt x="1012" y="8144"/>
                  </a:lnTo>
                  <a:cubicBezTo>
                    <a:pt x="870" y="7894"/>
                    <a:pt x="751" y="7608"/>
                    <a:pt x="655" y="7334"/>
                  </a:cubicBezTo>
                  <a:lnTo>
                    <a:pt x="6466" y="3310"/>
                  </a:lnTo>
                  <a:close/>
                  <a:moveTo>
                    <a:pt x="5608" y="0"/>
                  </a:moveTo>
                  <a:cubicBezTo>
                    <a:pt x="4108" y="0"/>
                    <a:pt x="2715" y="584"/>
                    <a:pt x="1643" y="1643"/>
                  </a:cubicBezTo>
                  <a:cubicBezTo>
                    <a:pt x="584" y="2703"/>
                    <a:pt x="0" y="4120"/>
                    <a:pt x="0" y="5620"/>
                  </a:cubicBezTo>
                  <a:cubicBezTo>
                    <a:pt x="0" y="7120"/>
                    <a:pt x="584" y="8525"/>
                    <a:pt x="1643" y="9597"/>
                  </a:cubicBezTo>
                  <a:cubicBezTo>
                    <a:pt x="2691" y="10644"/>
                    <a:pt x="4108" y="11228"/>
                    <a:pt x="5608" y="11228"/>
                  </a:cubicBezTo>
                  <a:cubicBezTo>
                    <a:pt x="7120" y="11228"/>
                    <a:pt x="8513" y="10644"/>
                    <a:pt x="9585" y="9597"/>
                  </a:cubicBezTo>
                  <a:cubicBezTo>
                    <a:pt x="10645" y="8537"/>
                    <a:pt x="11228" y="7120"/>
                    <a:pt x="11228" y="5620"/>
                  </a:cubicBezTo>
                  <a:cubicBezTo>
                    <a:pt x="11228" y="4715"/>
                    <a:pt x="11002" y="3822"/>
                    <a:pt x="10585" y="3012"/>
                  </a:cubicBezTo>
                  <a:cubicBezTo>
                    <a:pt x="10692" y="2762"/>
                    <a:pt x="10752" y="2524"/>
                    <a:pt x="10752" y="2310"/>
                  </a:cubicBezTo>
                  <a:cubicBezTo>
                    <a:pt x="10752" y="1048"/>
                    <a:pt x="9716" y="0"/>
                    <a:pt x="8442" y="0"/>
                  </a:cubicBezTo>
                  <a:cubicBezTo>
                    <a:pt x="8037" y="0"/>
                    <a:pt x="7668" y="107"/>
                    <a:pt x="7358" y="286"/>
                  </a:cubicBezTo>
                  <a:cubicBezTo>
                    <a:pt x="6787" y="107"/>
                    <a:pt x="6204"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0" name="Google Shape;13270;p64"/>
          <p:cNvGrpSpPr/>
          <p:nvPr/>
        </p:nvGrpSpPr>
        <p:grpSpPr>
          <a:xfrm>
            <a:off x="7007771" y="3351230"/>
            <a:ext cx="357387" cy="357005"/>
            <a:chOff x="7007771" y="3351230"/>
            <a:chExt cx="357387" cy="357005"/>
          </a:xfrm>
        </p:grpSpPr>
        <p:sp>
          <p:nvSpPr>
            <p:cNvPr id="13271" name="Google Shape;13271;p64"/>
            <p:cNvSpPr/>
            <p:nvPr/>
          </p:nvSpPr>
          <p:spPr>
            <a:xfrm>
              <a:off x="7007771" y="3351230"/>
              <a:ext cx="357387" cy="357005"/>
            </a:xfrm>
            <a:custGeom>
              <a:avLst/>
              <a:gdLst/>
              <a:ahLst/>
              <a:cxnLst/>
              <a:rect l="l" t="t" r="r" b="b"/>
              <a:pathLst>
                <a:path w="11228" h="11216" extrusionOk="0">
                  <a:moveTo>
                    <a:pt x="5632" y="357"/>
                  </a:moveTo>
                  <a:cubicBezTo>
                    <a:pt x="8525" y="357"/>
                    <a:pt x="10883" y="2703"/>
                    <a:pt x="10883" y="5608"/>
                  </a:cubicBezTo>
                  <a:cubicBezTo>
                    <a:pt x="10883" y="8513"/>
                    <a:pt x="8513" y="10859"/>
                    <a:pt x="5632" y="10859"/>
                  </a:cubicBezTo>
                  <a:cubicBezTo>
                    <a:pt x="2727" y="10859"/>
                    <a:pt x="369" y="8513"/>
                    <a:pt x="369" y="5608"/>
                  </a:cubicBezTo>
                  <a:cubicBezTo>
                    <a:pt x="369" y="2703"/>
                    <a:pt x="2727" y="357"/>
                    <a:pt x="5632" y="357"/>
                  </a:cubicBezTo>
                  <a:close/>
                  <a:moveTo>
                    <a:pt x="5608" y="0"/>
                  </a:moveTo>
                  <a:cubicBezTo>
                    <a:pt x="4108" y="0"/>
                    <a:pt x="2715" y="572"/>
                    <a:pt x="1643" y="1631"/>
                  </a:cubicBezTo>
                  <a:cubicBezTo>
                    <a:pt x="584" y="2691"/>
                    <a:pt x="0" y="4108"/>
                    <a:pt x="0" y="5608"/>
                  </a:cubicBezTo>
                  <a:cubicBezTo>
                    <a:pt x="0" y="7108"/>
                    <a:pt x="584" y="8513"/>
                    <a:pt x="1643" y="9585"/>
                  </a:cubicBezTo>
                  <a:cubicBezTo>
                    <a:pt x="2691" y="10632"/>
                    <a:pt x="4108" y="11216"/>
                    <a:pt x="5608" y="11216"/>
                  </a:cubicBezTo>
                  <a:cubicBezTo>
                    <a:pt x="7120" y="11216"/>
                    <a:pt x="8513" y="10632"/>
                    <a:pt x="9585" y="9585"/>
                  </a:cubicBezTo>
                  <a:cubicBezTo>
                    <a:pt x="10645" y="8525"/>
                    <a:pt x="11228" y="7108"/>
                    <a:pt x="11228" y="5608"/>
                  </a:cubicBezTo>
                  <a:cubicBezTo>
                    <a:pt x="11228" y="4108"/>
                    <a:pt x="10645" y="2703"/>
                    <a:pt x="9585" y="1631"/>
                  </a:cubicBezTo>
                  <a:cubicBezTo>
                    <a:pt x="8525" y="572"/>
                    <a:pt x="7120"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2" name="Google Shape;13272;p64"/>
            <p:cNvSpPr/>
            <p:nvPr/>
          </p:nvSpPr>
          <p:spPr>
            <a:xfrm>
              <a:off x="7060450" y="3456206"/>
              <a:ext cx="80371" cy="124710"/>
            </a:xfrm>
            <a:custGeom>
              <a:avLst/>
              <a:gdLst/>
              <a:ahLst/>
              <a:cxnLst/>
              <a:rect l="l" t="t" r="r" b="b"/>
              <a:pathLst>
                <a:path w="2525" h="3918" extrusionOk="0">
                  <a:moveTo>
                    <a:pt x="536" y="345"/>
                  </a:moveTo>
                  <a:cubicBezTo>
                    <a:pt x="619" y="345"/>
                    <a:pt x="691" y="417"/>
                    <a:pt x="691" y="512"/>
                  </a:cubicBezTo>
                  <a:lnTo>
                    <a:pt x="691" y="1953"/>
                  </a:lnTo>
                  <a:cubicBezTo>
                    <a:pt x="691" y="2024"/>
                    <a:pt x="739" y="2084"/>
                    <a:pt x="798" y="2119"/>
                  </a:cubicBezTo>
                  <a:cubicBezTo>
                    <a:pt x="817" y="2127"/>
                    <a:pt x="839" y="2131"/>
                    <a:pt x="862" y="2131"/>
                  </a:cubicBezTo>
                  <a:cubicBezTo>
                    <a:pt x="912" y="2131"/>
                    <a:pt x="964" y="2112"/>
                    <a:pt x="989" y="2072"/>
                  </a:cubicBezTo>
                  <a:lnTo>
                    <a:pt x="1727" y="1346"/>
                  </a:lnTo>
                  <a:cubicBezTo>
                    <a:pt x="1756" y="1316"/>
                    <a:pt x="1795" y="1301"/>
                    <a:pt x="1834" y="1301"/>
                  </a:cubicBezTo>
                  <a:cubicBezTo>
                    <a:pt x="1873" y="1301"/>
                    <a:pt x="1911" y="1316"/>
                    <a:pt x="1941" y="1346"/>
                  </a:cubicBezTo>
                  <a:cubicBezTo>
                    <a:pt x="2012" y="1405"/>
                    <a:pt x="2012" y="1500"/>
                    <a:pt x="1941" y="1560"/>
                  </a:cubicBezTo>
                  <a:lnTo>
                    <a:pt x="1489" y="2024"/>
                  </a:lnTo>
                  <a:cubicBezTo>
                    <a:pt x="1429" y="2084"/>
                    <a:pt x="1417" y="2191"/>
                    <a:pt x="1477" y="2262"/>
                  </a:cubicBezTo>
                  <a:lnTo>
                    <a:pt x="2084" y="3096"/>
                  </a:lnTo>
                  <a:cubicBezTo>
                    <a:pt x="2108" y="3143"/>
                    <a:pt x="2108" y="3191"/>
                    <a:pt x="2108" y="3227"/>
                  </a:cubicBezTo>
                  <a:cubicBezTo>
                    <a:pt x="2108" y="3274"/>
                    <a:pt x="2084" y="3310"/>
                    <a:pt x="2048" y="3334"/>
                  </a:cubicBezTo>
                  <a:cubicBezTo>
                    <a:pt x="2024" y="3370"/>
                    <a:pt x="1977" y="3370"/>
                    <a:pt x="1929" y="3370"/>
                  </a:cubicBezTo>
                  <a:cubicBezTo>
                    <a:pt x="1893" y="3370"/>
                    <a:pt x="1858" y="3334"/>
                    <a:pt x="1834" y="3310"/>
                  </a:cubicBezTo>
                  <a:lnTo>
                    <a:pt x="1274" y="2548"/>
                  </a:lnTo>
                  <a:cubicBezTo>
                    <a:pt x="1250" y="2500"/>
                    <a:pt x="1203" y="2477"/>
                    <a:pt x="1143" y="2477"/>
                  </a:cubicBezTo>
                  <a:cubicBezTo>
                    <a:pt x="1096" y="2477"/>
                    <a:pt x="1036" y="2489"/>
                    <a:pt x="1012" y="2512"/>
                  </a:cubicBezTo>
                  <a:lnTo>
                    <a:pt x="739" y="2786"/>
                  </a:lnTo>
                  <a:cubicBezTo>
                    <a:pt x="715" y="2810"/>
                    <a:pt x="691" y="2858"/>
                    <a:pt x="691" y="2905"/>
                  </a:cubicBezTo>
                  <a:lnTo>
                    <a:pt x="691" y="3381"/>
                  </a:lnTo>
                  <a:cubicBezTo>
                    <a:pt x="691" y="3465"/>
                    <a:pt x="619" y="3548"/>
                    <a:pt x="536" y="3548"/>
                  </a:cubicBezTo>
                  <a:cubicBezTo>
                    <a:pt x="441" y="3548"/>
                    <a:pt x="369" y="3465"/>
                    <a:pt x="369" y="3381"/>
                  </a:cubicBezTo>
                  <a:lnTo>
                    <a:pt x="369" y="512"/>
                  </a:lnTo>
                  <a:cubicBezTo>
                    <a:pt x="369" y="417"/>
                    <a:pt x="441" y="345"/>
                    <a:pt x="536" y="345"/>
                  </a:cubicBezTo>
                  <a:close/>
                  <a:moveTo>
                    <a:pt x="524" y="0"/>
                  </a:moveTo>
                  <a:cubicBezTo>
                    <a:pt x="238" y="0"/>
                    <a:pt x="0" y="238"/>
                    <a:pt x="0" y="524"/>
                  </a:cubicBezTo>
                  <a:lnTo>
                    <a:pt x="0" y="3393"/>
                  </a:lnTo>
                  <a:cubicBezTo>
                    <a:pt x="0" y="3679"/>
                    <a:pt x="238" y="3917"/>
                    <a:pt x="524" y="3917"/>
                  </a:cubicBezTo>
                  <a:cubicBezTo>
                    <a:pt x="798" y="3917"/>
                    <a:pt x="1036" y="3679"/>
                    <a:pt x="1036" y="3393"/>
                  </a:cubicBezTo>
                  <a:lnTo>
                    <a:pt x="1036" y="2989"/>
                  </a:lnTo>
                  <a:lnTo>
                    <a:pt x="1096" y="2929"/>
                  </a:lnTo>
                  <a:lnTo>
                    <a:pt x="1536" y="3512"/>
                  </a:lnTo>
                  <a:cubicBezTo>
                    <a:pt x="1608" y="3620"/>
                    <a:pt x="1739" y="3691"/>
                    <a:pt x="1870" y="3727"/>
                  </a:cubicBezTo>
                  <a:cubicBezTo>
                    <a:pt x="1888" y="3728"/>
                    <a:pt x="1906" y="3729"/>
                    <a:pt x="1923" y="3729"/>
                  </a:cubicBezTo>
                  <a:cubicBezTo>
                    <a:pt x="2046" y="3729"/>
                    <a:pt x="2159" y="3694"/>
                    <a:pt x="2263" y="3632"/>
                  </a:cubicBezTo>
                  <a:cubicBezTo>
                    <a:pt x="2489" y="3453"/>
                    <a:pt x="2524" y="3131"/>
                    <a:pt x="2370" y="2905"/>
                  </a:cubicBezTo>
                  <a:lnTo>
                    <a:pt x="1846" y="2191"/>
                  </a:lnTo>
                  <a:lnTo>
                    <a:pt x="2203" y="1834"/>
                  </a:lnTo>
                  <a:cubicBezTo>
                    <a:pt x="2393" y="1643"/>
                    <a:pt x="2393" y="1310"/>
                    <a:pt x="2203" y="1107"/>
                  </a:cubicBezTo>
                  <a:cubicBezTo>
                    <a:pt x="2108" y="1006"/>
                    <a:pt x="1977" y="956"/>
                    <a:pt x="1844" y="956"/>
                  </a:cubicBezTo>
                  <a:cubicBezTo>
                    <a:pt x="1712" y="956"/>
                    <a:pt x="1578" y="1006"/>
                    <a:pt x="1477" y="1107"/>
                  </a:cubicBezTo>
                  <a:lnTo>
                    <a:pt x="1036" y="1536"/>
                  </a:lnTo>
                  <a:lnTo>
                    <a:pt x="1036" y="524"/>
                  </a:ln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3" name="Google Shape;13273;p64"/>
            <p:cNvSpPr/>
            <p:nvPr/>
          </p:nvSpPr>
          <p:spPr>
            <a:xfrm>
              <a:off x="7203303" y="3456206"/>
              <a:ext cx="80753" cy="124710"/>
            </a:xfrm>
            <a:custGeom>
              <a:avLst/>
              <a:gdLst/>
              <a:ahLst/>
              <a:cxnLst/>
              <a:rect l="l" t="t" r="r" b="b"/>
              <a:pathLst>
                <a:path w="2537" h="3918" extrusionOk="0">
                  <a:moveTo>
                    <a:pt x="525" y="345"/>
                  </a:moveTo>
                  <a:cubicBezTo>
                    <a:pt x="620" y="345"/>
                    <a:pt x="692" y="417"/>
                    <a:pt x="692" y="512"/>
                  </a:cubicBezTo>
                  <a:lnTo>
                    <a:pt x="692" y="1953"/>
                  </a:lnTo>
                  <a:cubicBezTo>
                    <a:pt x="692" y="2024"/>
                    <a:pt x="727" y="2084"/>
                    <a:pt x="799" y="2119"/>
                  </a:cubicBezTo>
                  <a:cubicBezTo>
                    <a:pt x="818" y="2127"/>
                    <a:pt x="839" y="2131"/>
                    <a:pt x="861" y="2131"/>
                  </a:cubicBezTo>
                  <a:cubicBezTo>
                    <a:pt x="907" y="2131"/>
                    <a:pt x="957" y="2112"/>
                    <a:pt x="989" y="2072"/>
                  </a:cubicBezTo>
                  <a:lnTo>
                    <a:pt x="1715" y="1346"/>
                  </a:lnTo>
                  <a:cubicBezTo>
                    <a:pt x="1745" y="1316"/>
                    <a:pt x="1787" y="1301"/>
                    <a:pt x="1829" y="1301"/>
                  </a:cubicBezTo>
                  <a:cubicBezTo>
                    <a:pt x="1870" y="1301"/>
                    <a:pt x="1912" y="1316"/>
                    <a:pt x="1942" y="1346"/>
                  </a:cubicBezTo>
                  <a:cubicBezTo>
                    <a:pt x="2001" y="1405"/>
                    <a:pt x="2001" y="1500"/>
                    <a:pt x="1942" y="1560"/>
                  </a:cubicBezTo>
                  <a:lnTo>
                    <a:pt x="1477" y="2024"/>
                  </a:lnTo>
                  <a:cubicBezTo>
                    <a:pt x="1418" y="2084"/>
                    <a:pt x="1406" y="2191"/>
                    <a:pt x="1465" y="2262"/>
                  </a:cubicBezTo>
                  <a:lnTo>
                    <a:pt x="2073" y="3096"/>
                  </a:lnTo>
                  <a:cubicBezTo>
                    <a:pt x="2108" y="3143"/>
                    <a:pt x="2120" y="3191"/>
                    <a:pt x="2108" y="3227"/>
                  </a:cubicBezTo>
                  <a:cubicBezTo>
                    <a:pt x="2108" y="3274"/>
                    <a:pt x="2073" y="3310"/>
                    <a:pt x="2049" y="3334"/>
                  </a:cubicBezTo>
                  <a:cubicBezTo>
                    <a:pt x="2013" y="3370"/>
                    <a:pt x="1966" y="3370"/>
                    <a:pt x="1930" y="3370"/>
                  </a:cubicBezTo>
                  <a:cubicBezTo>
                    <a:pt x="1882" y="3370"/>
                    <a:pt x="1846" y="3334"/>
                    <a:pt x="1823" y="3310"/>
                  </a:cubicBezTo>
                  <a:lnTo>
                    <a:pt x="1275" y="2548"/>
                  </a:lnTo>
                  <a:cubicBezTo>
                    <a:pt x="1239" y="2500"/>
                    <a:pt x="1192" y="2477"/>
                    <a:pt x="1132" y="2477"/>
                  </a:cubicBezTo>
                  <a:cubicBezTo>
                    <a:pt x="1096" y="2477"/>
                    <a:pt x="1025" y="2489"/>
                    <a:pt x="1001" y="2512"/>
                  </a:cubicBezTo>
                  <a:lnTo>
                    <a:pt x="727" y="2786"/>
                  </a:lnTo>
                  <a:cubicBezTo>
                    <a:pt x="703" y="2810"/>
                    <a:pt x="692" y="2858"/>
                    <a:pt x="692" y="2905"/>
                  </a:cubicBezTo>
                  <a:lnTo>
                    <a:pt x="692" y="3381"/>
                  </a:lnTo>
                  <a:cubicBezTo>
                    <a:pt x="692" y="3465"/>
                    <a:pt x="620" y="3548"/>
                    <a:pt x="525" y="3548"/>
                  </a:cubicBezTo>
                  <a:cubicBezTo>
                    <a:pt x="442" y="3548"/>
                    <a:pt x="358" y="3465"/>
                    <a:pt x="358" y="3381"/>
                  </a:cubicBezTo>
                  <a:lnTo>
                    <a:pt x="358" y="512"/>
                  </a:lnTo>
                  <a:cubicBezTo>
                    <a:pt x="358" y="417"/>
                    <a:pt x="442" y="345"/>
                    <a:pt x="525" y="345"/>
                  </a:cubicBezTo>
                  <a:close/>
                  <a:moveTo>
                    <a:pt x="525" y="0"/>
                  </a:moveTo>
                  <a:cubicBezTo>
                    <a:pt x="239" y="0"/>
                    <a:pt x="1" y="238"/>
                    <a:pt x="1" y="524"/>
                  </a:cubicBezTo>
                  <a:lnTo>
                    <a:pt x="1" y="3393"/>
                  </a:lnTo>
                  <a:cubicBezTo>
                    <a:pt x="1" y="3679"/>
                    <a:pt x="239" y="3917"/>
                    <a:pt x="525" y="3917"/>
                  </a:cubicBezTo>
                  <a:cubicBezTo>
                    <a:pt x="811" y="3917"/>
                    <a:pt x="1049" y="3679"/>
                    <a:pt x="1049" y="3393"/>
                  </a:cubicBezTo>
                  <a:lnTo>
                    <a:pt x="1049" y="2989"/>
                  </a:lnTo>
                  <a:lnTo>
                    <a:pt x="1108" y="2929"/>
                  </a:lnTo>
                  <a:lnTo>
                    <a:pt x="1537" y="3512"/>
                  </a:lnTo>
                  <a:cubicBezTo>
                    <a:pt x="1608" y="3620"/>
                    <a:pt x="1751" y="3691"/>
                    <a:pt x="1882" y="3727"/>
                  </a:cubicBezTo>
                  <a:cubicBezTo>
                    <a:pt x="1899" y="3728"/>
                    <a:pt x="1915" y="3729"/>
                    <a:pt x="1932" y="3729"/>
                  </a:cubicBezTo>
                  <a:cubicBezTo>
                    <a:pt x="2046" y="3729"/>
                    <a:pt x="2159" y="3694"/>
                    <a:pt x="2263" y="3632"/>
                  </a:cubicBezTo>
                  <a:cubicBezTo>
                    <a:pt x="2489" y="3453"/>
                    <a:pt x="2537" y="3131"/>
                    <a:pt x="2370" y="2905"/>
                  </a:cubicBezTo>
                  <a:lnTo>
                    <a:pt x="1846" y="2191"/>
                  </a:lnTo>
                  <a:lnTo>
                    <a:pt x="2204" y="1834"/>
                  </a:lnTo>
                  <a:cubicBezTo>
                    <a:pt x="2406" y="1643"/>
                    <a:pt x="2406" y="1310"/>
                    <a:pt x="2204" y="1107"/>
                  </a:cubicBezTo>
                  <a:cubicBezTo>
                    <a:pt x="2108" y="1006"/>
                    <a:pt x="1980" y="956"/>
                    <a:pt x="1849" y="956"/>
                  </a:cubicBezTo>
                  <a:cubicBezTo>
                    <a:pt x="1718" y="956"/>
                    <a:pt x="1585" y="1006"/>
                    <a:pt x="1477" y="1107"/>
                  </a:cubicBezTo>
                  <a:lnTo>
                    <a:pt x="1049" y="1536"/>
                  </a:lnTo>
                  <a:lnTo>
                    <a:pt x="1049" y="524"/>
                  </a:lnTo>
                  <a:cubicBezTo>
                    <a:pt x="1049" y="238"/>
                    <a:pt x="811" y="0"/>
                    <a:pt x="5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4" name="Google Shape;13274;p64"/>
            <p:cNvSpPr/>
            <p:nvPr/>
          </p:nvSpPr>
          <p:spPr>
            <a:xfrm>
              <a:off x="7151388" y="3478518"/>
              <a:ext cx="33772" cy="102015"/>
            </a:xfrm>
            <a:custGeom>
              <a:avLst/>
              <a:gdLst/>
              <a:ahLst/>
              <a:cxnLst/>
              <a:rect l="l" t="t" r="r" b="b"/>
              <a:pathLst>
                <a:path w="1061" h="3205" extrusionOk="0">
                  <a:moveTo>
                    <a:pt x="511" y="0"/>
                  </a:moveTo>
                  <a:cubicBezTo>
                    <a:pt x="230" y="0"/>
                    <a:pt x="1" y="252"/>
                    <a:pt x="1" y="537"/>
                  </a:cubicBezTo>
                  <a:lnTo>
                    <a:pt x="1" y="2645"/>
                  </a:lnTo>
                  <a:cubicBezTo>
                    <a:pt x="1" y="2931"/>
                    <a:pt x="227" y="3181"/>
                    <a:pt x="501" y="3204"/>
                  </a:cubicBezTo>
                  <a:cubicBezTo>
                    <a:pt x="508" y="3205"/>
                    <a:pt x="515" y="3205"/>
                    <a:pt x="521" y="3205"/>
                  </a:cubicBezTo>
                  <a:cubicBezTo>
                    <a:pt x="810" y="3205"/>
                    <a:pt x="1060" y="2959"/>
                    <a:pt x="1060" y="2669"/>
                  </a:cubicBezTo>
                  <a:lnTo>
                    <a:pt x="1060" y="1621"/>
                  </a:lnTo>
                  <a:cubicBezTo>
                    <a:pt x="1060" y="1514"/>
                    <a:pt x="977" y="1442"/>
                    <a:pt x="882" y="1442"/>
                  </a:cubicBezTo>
                  <a:cubicBezTo>
                    <a:pt x="775" y="1442"/>
                    <a:pt x="703" y="1514"/>
                    <a:pt x="703" y="1621"/>
                  </a:cubicBezTo>
                  <a:lnTo>
                    <a:pt x="703" y="2669"/>
                  </a:lnTo>
                  <a:cubicBezTo>
                    <a:pt x="703" y="2752"/>
                    <a:pt x="644" y="2823"/>
                    <a:pt x="549" y="2847"/>
                  </a:cubicBezTo>
                  <a:cubicBezTo>
                    <a:pt x="542" y="2848"/>
                    <a:pt x="536" y="2848"/>
                    <a:pt x="530" y="2848"/>
                  </a:cubicBezTo>
                  <a:cubicBezTo>
                    <a:pt x="432" y="2848"/>
                    <a:pt x="358" y="2758"/>
                    <a:pt x="358" y="2669"/>
                  </a:cubicBezTo>
                  <a:lnTo>
                    <a:pt x="358" y="549"/>
                  </a:lnTo>
                  <a:cubicBezTo>
                    <a:pt x="358" y="454"/>
                    <a:pt x="418" y="383"/>
                    <a:pt x="501" y="371"/>
                  </a:cubicBezTo>
                  <a:cubicBezTo>
                    <a:pt x="508" y="370"/>
                    <a:pt x="515" y="370"/>
                    <a:pt x="521" y="370"/>
                  </a:cubicBezTo>
                  <a:cubicBezTo>
                    <a:pt x="620" y="370"/>
                    <a:pt x="703" y="449"/>
                    <a:pt x="703" y="549"/>
                  </a:cubicBezTo>
                  <a:lnTo>
                    <a:pt x="703" y="775"/>
                  </a:lnTo>
                  <a:cubicBezTo>
                    <a:pt x="703" y="859"/>
                    <a:pt x="775" y="942"/>
                    <a:pt x="882" y="942"/>
                  </a:cubicBezTo>
                  <a:cubicBezTo>
                    <a:pt x="977" y="942"/>
                    <a:pt x="1060" y="859"/>
                    <a:pt x="1060" y="752"/>
                  </a:cubicBezTo>
                  <a:lnTo>
                    <a:pt x="1060" y="549"/>
                  </a:lnTo>
                  <a:cubicBezTo>
                    <a:pt x="1060" y="264"/>
                    <a:pt x="834" y="13"/>
                    <a:pt x="549" y="2"/>
                  </a:cubicBezTo>
                  <a:cubicBezTo>
                    <a:pt x="536" y="1"/>
                    <a:pt x="523" y="0"/>
                    <a:pt x="5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5" name="Google Shape;13275;p64"/>
            <p:cNvSpPr/>
            <p:nvPr/>
          </p:nvSpPr>
          <p:spPr>
            <a:xfrm>
              <a:off x="7293891" y="3508884"/>
              <a:ext cx="41729" cy="41697"/>
            </a:xfrm>
            <a:custGeom>
              <a:avLst/>
              <a:gdLst/>
              <a:ahLst/>
              <a:cxnLst/>
              <a:rect l="l" t="t" r="r" b="b"/>
              <a:pathLst>
                <a:path w="1311" h="1310" extrusionOk="0">
                  <a:moveTo>
                    <a:pt x="655" y="357"/>
                  </a:moveTo>
                  <a:cubicBezTo>
                    <a:pt x="822" y="357"/>
                    <a:pt x="953" y="488"/>
                    <a:pt x="953" y="655"/>
                  </a:cubicBezTo>
                  <a:cubicBezTo>
                    <a:pt x="953" y="822"/>
                    <a:pt x="810" y="953"/>
                    <a:pt x="655" y="953"/>
                  </a:cubicBezTo>
                  <a:cubicBezTo>
                    <a:pt x="489" y="953"/>
                    <a:pt x="358" y="822"/>
                    <a:pt x="358" y="655"/>
                  </a:cubicBezTo>
                  <a:cubicBezTo>
                    <a:pt x="358" y="488"/>
                    <a:pt x="489" y="357"/>
                    <a:pt x="655" y="357"/>
                  </a:cubicBezTo>
                  <a:close/>
                  <a:moveTo>
                    <a:pt x="655" y="0"/>
                  </a:moveTo>
                  <a:cubicBezTo>
                    <a:pt x="298" y="0"/>
                    <a:pt x="1" y="298"/>
                    <a:pt x="1" y="655"/>
                  </a:cubicBezTo>
                  <a:cubicBezTo>
                    <a:pt x="1" y="1012"/>
                    <a:pt x="298" y="1310"/>
                    <a:pt x="655" y="1310"/>
                  </a:cubicBezTo>
                  <a:cubicBezTo>
                    <a:pt x="1013" y="1310"/>
                    <a:pt x="1310" y="1012"/>
                    <a:pt x="1310" y="655"/>
                  </a:cubicBezTo>
                  <a:cubicBezTo>
                    <a:pt x="1310" y="298"/>
                    <a:pt x="1013"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6" name="Google Shape;13276;p64"/>
          <p:cNvGrpSpPr/>
          <p:nvPr/>
        </p:nvGrpSpPr>
        <p:grpSpPr>
          <a:xfrm>
            <a:off x="5108729" y="3351230"/>
            <a:ext cx="357005" cy="357005"/>
            <a:chOff x="5108729" y="3351230"/>
            <a:chExt cx="357005" cy="357005"/>
          </a:xfrm>
        </p:grpSpPr>
        <p:sp>
          <p:nvSpPr>
            <p:cNvPr id="13277" name="Google Shape;13277;p64"/>
            <p:cNvSpPr/>
            <p:nvPr/>
          </p:nvSpPr>
          <p:spPr>
            <a:xfrm>
              <a:off x="5108729" y="3351230"/>
              <a:ext cx="357005" cy="357005"/>
            </a:xfrm>
            <a:custGeom>
              <a:avLst/>
              <a:gdLst/>
              <a:ahLst/>
              <a:cxnLst/>
              <a:rect l="l" t="t" r="r" b="b"/>
              <a:pathLst>
                <a:path w="11216" h="11216" extrusionOk="0">
                  <a:moveTo>
                    <a:pt x="5620" y="357"/>
                  </a:moveTo>
                  <a:cubicBezTo>
                    <a:pt x="8525" y="357"/>
                    <a:pt x="10882" y="2703"/>
                    <a:pt x="10882" y="5608"/>
                  </a:cubicBezTo>
                  <a:cubicBezTo>
                    <a:pt x="10882" y="8513"/>
                    <a:pt x="8525" y="10859"/>
                    <a:pt x="5620" y="10859"/>
                  </a:cubicBezTo>
                  <a:cubicBezTo>
                    <a:pt x="2727" y="10859"/>
                    <a:pt x="369" y="8513"/>
                    <a:pt x="369" y="5608"/>
                  </a:cubicBezTo>
                  <a:cubicBezTo>
                    <a:pt x="369" y="2703"/>
                    <a:pt x="2727" y="357"/>
                    <a:pt x="5620" y="357"/>
                  </a:cubicBezTo>
                  <a:close/>
                  <a:moveTo>
                    <a:pt x="5608" y="0"/>
                  </a:moveTo>
                  <a:cubicBezTo>
                    <a:pt x="4108" y="0"/>
                    <a:pt x="2703" y="572"/>
                    <a:pt x="1631" y="1631"/>
                  </a:cubicBezTo>
                  <a:cubicBezTo>
                    <a:pt x="584" y="2691"/>
                    <a:pt x="0" y="4108"/>
                    <a:pt x="0" y="5608"/>
                  </a:cubicBezTo>
                  <a:cubicBezTo>
                    <a:pt x="0" y="7108"/>
                    <a:pt x="584" y="8513"/>
                    <a:pt x="1631" y="9585"/>
                  </a:cubicBezTo>
                  <a:cubicBezTo>
                    <a:pt x="2691" y="10632"/>
                    <a:pt x="4108" y="11216"/>
                    <a:pt x="5608" y="11216"/>
                  </a:cubicBezTo>
                  <a:cubicBezTo>
                    <a:pt x="7108" y="11216"/>
                    <a:pt x="8513" y="10632"/>
                    <a:pt x="9585" y="9585"/>
                  </a:cubicBezTo>
                  <a:cubicBezTo>
                    <a:pt x="10656" y="8525"/>
                    <a:pt x="11216" y="7108"/>
                    <a:pt x="11216" y="5608"/>
                  </a:cubicBezTo>
                  <a:cubicBezTo>
                    <a:pt x="11216" y="4108"/>
                    <a:pt x="10656" y="2703"/>
                    <a:pt x="9585" y="1631"/>
                  </a:cubicBezTo>
                  <a:cubicBezTo>
                    <a:pt x="8525" y="572"/>
                    <a:pt x="7108" y="0"/>
                    <a:pt x="5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8" name="Google Shape;13278;p64"/>
            <p:cNvSpPr/>
            <p:nvPr/>
          </p:nvSpPr>
          <p:spPr>
            <a:xfrm>
              <a:off x="5163668" y="3402381"/>
              <a:ext cx="244104" cy="233473"/>
            </a:xfrm>
            <a:custGeom>
              <a:avLst/>
              <a:gdLst/>
              <a:ahLst/>
              <a:cxnLst/>
              <a:rect l="l" t="t" r="r" b="b"/>
              <a:pathLst>
                <a:path w="7669" h="7335" extrusionOk="0">
                  <a:moveTo>
                    <a:pt x="3775" y="0"/>
                  </a:moveTo>
                  <a:cubicBezTo>
                    <a:pt x="3334" y="24"/>
                    <a:pt x="1846" y="239"/>
                    <a:pt x="1751" y="1882"/>
                  </a:cubicBezTo>
                  <a:lnTo>
                    <a:pt x="1751" y="1905"/>
                  </a:lnTo>
                  <a:lnTo>
                    <a:pt x="1751" y="2834"/>
                  </a:lnTo>
                  <a:lnTo>
                    <a:pt x="1394" y="2739"/>
                  </a:lnTo>
                  <a:cubicBezTo>
                    <a:pt x="1347" y="2725"/>
                    <a:pt x="1299" y="2718"/>
                    <a:pt x="1252" y="2718"/>
                  </a:cubicBezTo>
                  <a:cubicBezTo>
                    <a:pt x="1097" y="2718"/>
                    <a:pt x="949" y="2792"/>
                    <a:pt x="858" y="2929"/>
                  </a:cubicBezTo>
                  <a:cubicBezTo>
                    <a:pt x="763" y="3072"/>
                    <a:pt x="739" y="3263"/>
                    <a:pt x="834" y="3429"/>
                  </a:cubicBezTo>
                  <a:cubicBezTo>
                    <a:pt x="882" y="3525"/>
                    <a:pt x="965" y="3596"/>
                    <a:pt x="1060" y="3656"/>
                  </a:cubicBezTo>
                  <a:lnTo>
                    <a:pt x="1536" y="3894"/>
                  </a:lnTo>
                  <a:cubicBezTo>
                    <a:pt x="1620" y="3941"/>
                    <a:pt x="1667" y="4037"/>
                    <a:pt x="1620" y="4144"/>
                  </a:cubicBezTo>
                  <a:cubicBezTo>
                    <a:pt x="1477" y="4501"/>
                    <a:pt x="1084" y="5144"/>
                    <a:pt x="143" y="5370"/>
                  </a:cubicBezTo>
                  <a:cubicBezTo>
                    <a:pt x="60" y="5382"/>
                    <a:pt x="1" y="5477"/>
                    <a:pt x="12" y="5561"/>
                  </a:cubicBezTo>
                  <a:cubicBezTo>
                    <a:pt x="12" y="5596"/>
                    <a:pt x="120" y="6168"/>
                    <a:pt x="1024" y="6215"/>
                  </a:cubicBezTo>
                  <a:cubicBezTo>
                    <a:pt x="1072" y="6382"/>
                    <a:pt x="1132" y="6585"/>
                    <a:pt x="1203" y="6668"/>
                  </a:cubicBezTo>
                  <a:cubicBezTo>
                    <a:pt x="1238" y="6703"/>
                    <a:pt x="1292" y="6725"/>
                    <a:pt x="1342" y="6725"/>
                  </a:cubicBezTo>
                  <a:cubicBezTo>
                    <a:pt x="1360" y="6725"/>
                    <a:pt x="1378" y="6722"/>
                    <a:pt x="1394" y="6716"/>
                  </a:cubicBezTo>
                  <a:cubicBezTo>
                    <a:pt x="1394" y="6716"/>
                    <a:pt x="1676" y="6624"/>
                    <a:pt x="1983" y="6624"/>
                  </a:cubicBezTo>
                  <a:cubicBezTo>
                    <a:pt x="2060" y="6624"/>
                    <a:pt x="2139" y="6630"/>
                    <a:pt x="2215" y="6644"/>
                  </a:cubicBezTo>
                  <a:cubicBezTo>
                    <a:pt x="2215" y="6644"/>
                    <a:pt x="2679" y="6739"/>
                    <a:pt x="2953" y="7013"/>
                  </a:cubicBezTo>
                  <a:cubicBezTo>
                    <a:pt x="3096" y="7156"/>
                    <a:pt x="3251" y="7239"/>
                    <a:pt x="3441" y="7287"/>
                  </a:cubicBezTo>
                  <a:cubicBezTo>
                    <a:pt x="3537" y="7311"/>
                    <a:pt x="3656" y="7335"/>
                    <a:pt x="3763" y="7335"/>
                  </a:cubicBezTo>
                  <a:cubicBezTo>
                    <a:pt x="3870" y="7335"/>
                    <a:pt x="3989" y="7311"/>
                    <a:pt x="4096" y="7287"/>
                  </a:cubicBezTo>
                  <a:cubicBezTo>
                    <a:pt x="4275" y="7239"/>
                    <a:pt x="4430" y="7156"/>
                    <a:pt x="4573" y="7013"/>
                  </a:cubicBezTo>
                  <a:cubicBezTo>
                    <a:pt x="4846" y="6739"/>
                    <a:pt x="5311" y="6644"/>
                    <a:pt x="5311" y="6644"/>
                  </a:cubicBezTo>
                  <a:cubicBezTo>
                    <a:pt x="5389" y="6630"/>
                    <a:pt x="5469" y="6624"/>
                    <a:pt x="5547" y="6624"/>
                  </a:cubicBezTo>
                  <a:cubicBezTo>
                    <a:pt x="5858" y="6624"/>
                    <a:pt x="6132" y="6716"/>
                    <a:pt x="6132" y="6716"/>
                  </a:cubicBezTo>
                  <a:cubicBezTo>
                    <a:pt x="6153" y="6726"/>
                    <a:pt x="6173" y="6730"/>
                    <a:pt x="6192" y="6730"/>
                  </a:cubicBezTo>
                  <a:cubicBezTo>
                    <a:pt x="6242" y="6730"/>
                    <a:pt x="6289" y="6702"/>
                    <a:pt x="6323" y="6668"/>
                  </a:cubicBezTo>
                  <a:cubicBezTo>
                    <a:pt x="6394" y="6573"/>
                    <a:pt x="6454" y="6370"/>
                    <a:pt x="6501" y="6215"/>
                  </a:cubicBezTo>
                  <a:cubicBezTo>
                    <a:pt x="7394" y="6168"/>
                    <a:pt x="7501" y="5584"/>
                    <a:pt x="7513" y="5561"/>
                  </a:cubicBezTo>
                  <a:cubicBezTo>
                    <a:pt x="7668" y="5501"/>
                    <a:pt x="7609" y="5430"/>
                    <a:pt x="7513" y="5394"/>
                  </a:cubicBezTo>
                  <a:cubicBezTo>
                    <a:pt x="6573" y="5180"/>
                    <a:pt x="6192" y="4537"/>
                    <a:pt x="6037" y="4180"/>
                  </a:cubicBezTo>
                  <a:cubicBezTo>
                    <a:pt x="6001" y="4084"/>
                    <a:pt x="6037" y="3965"/>
                    <a:pt x="6132" y="3929"/>
                  </a:cubicBezTo>
                  <a:lnTo>
                    <a:pt x="6609" y="3691"/>
                  </a:lnTo>
                  <a:cubicBezTo>
                    <a:pt x="6692" y="3644"/>
                    <a:pt x="6787" y="3572"/>
                    <a:pt x="6823" y="3465"/>
                  </a:cubicBezTo>
                  <a:cubicBezTo>
                    <a:pt x="6918" y="3298"/>
                    <a:pt x="6906" y="3108"/>
                    <a:pt x="6799" y="2953"/>
                  </a:cubicBezTo>
                  <a:cubicBezTo>
                    <a:pt x="6708" y="2816"/>
                    <a:pt x="6553" y="2742"/>
                    <a:pt x="6400" y="2742"/>
                  </a:cubicBezTo>
                  <a:cubicBezTo>
                    <a:pt x="6354" y="2742"/>
                    <a:pt x="6307" y="2749"/>
                    <a:pt x="6263" y="2763"/>
                  </a:cubicBezTo>
                  <a:lnTo>
                    <a:pt x="5906" y="2870"/>
                  </a:lnTo>
                  <a:lnTo>
                    <a:pt x="5906" y="2322"/>
                  </a:lnTo>
                  <a:cubicBezTo>
                    <a:pt x="5906" y="2215"/>
                    <a:pt x="5835" y="2144"/>
                    <a:pt x="5727" y="2144"/>
                  </a:cubicBezTo>
                  <a:cubicBezTo>
                    <a:pt x="5620" y="2144"/>
                    <a:pt x="5549" y="2215"/>
                    <a:pt x="5549" y="2322"/>
                  </a:cubicBezTo>
                  <a:lnTo>
                    <a:pt x="5549" y="3108"/>
                  </a:lnTo>
                  <a:cubicBezTo>
                    <a:pt x="5549" y="3144"/>
                    <a:pt x="5561" y="3179"/>
                    <a:pt x="5573" y="3215"/>
                  </a:cubicBezTo>
                  <a:cubicBezTo>
                    <a:pt x="5612" y="3265"/>
                    <a:pt x="5669" y="3290"/>
                    <a:pt x="5734" y="3290"/>
                  </a:cubicBezTo>
                  <a:cubicBezTo>
                    <a:pt x="5748" y="3290"/>
                    <a:pt x="5761" y="3289"/>
                    <a:pt x="5775" y="3287"/>
                  </a:cubicBezTo>
                  <a:lnTo>
                    <a:pt x="6347" y="3120"/>
                  </a:lnTo>
                  <a:cubicBezTo>
                    <a:pt x="6363" y="3117"/>
                    <a:pt x="6379" y="3116"/>
                    <a:pt x="6393" y="3116"/>
                  </a:cubicBezTo>
                  <a:cubicBezTo>
                    <a:pt x="6440" y="3116"/>
                    <a:pt x="6474" y="3131"/>
                    <a:pt x="6501" y="3167"/>
                  </a:cubicBezTo>
                  <a:cubicBezTo>
                    <a:pt x="6525" y="3203"/>
                    <a:pt x="6525" y="3251"/>
                    <a:pt x="6513" y="3275"/>
                  </a:cubicBezTo>
                  <a:cubicBezTo>
                    <a:pt x="6513" y="3298"/>
                    <a:pt x="6489" y="3334"/>
                    <a:pt x="6442" y="3358"/>
                  </a:cubicBezTo>
                  <a:lnTo>
                    <a:pt x="5954" y="3596"/>
                  </a:lnTo>
                  <a:cubicBezTo>
                    <a:pt x="5692" y="3727"/>
                    <a:pt x="5573" y="4025"/>
                    <a:pt x="5680" y="4299"/>
                  </a:cubicBezTo>
                  <a:cubicBezTo>
                    <a:pt x="5847" y="4680"/>
                    <a:pt x="6251" y="5358"/>
                    <a:pt x="7168" y="5668"/>
                  </a:cubicBezTo>
                  <a:cubicBezTo>
                    <a:pt x="7092" y="5766"/>
                    <a:pt x="6907" y="5873"/>
                    <a:pt x="6558" y="5873"/>
                  </a:cubicBezTo>
                  <a:cubicBezTo>
                    <a:pt x="6525" y="5873"/>
                    <a:pt x="6490" y="5872"/>
                    <a:pt x="6454" y="5870"/>
                  </a:cubicBezTo>
                  <a:cubicBezTo>
                    <a:pt x="6370" y="5870"/>
                    <a:pt x="6311" y="5930"/>
                    <a:pt x="6275" y="6013"/>
                  </a:cubicBezTo>
                  <a:cubicBezTo>
                    <a:pt x="6251" y="6132"/>
                    <a:pt x="6204" y="6263"/>
                    <a:pt x="6168" y="6346"/>
                  </a:cubicBezTo>
                  <a:cubicBezTo>
                    <a:pt x="6036" y="6322"/>
                    <a:pt x="5841" y="6285"/>
                    <a:pt x="5618" y="6285"/>
                  </a:cubicBezTo>
                  <a:cubicBezTo>
                    <a:pt x="5520" y="6285"/>
                    <a:pt x="5416" y="6292"/>
                    <a:pt x="5311" y="6311"/>
                  </a:cubicBezTo>
                  <a:cubicBezTo>
                    <a:pt x="5275" y="6311"/>
                    <a:pt x="4739" y="6430"/>
                    <a:pt x="4370" y="6787"/>
                  </a:cubicBezTo>
                  <a:cubicBezTo>
                    <a:pt x="4287" y="6870"/>
                    <a:pt x="4180" y="6930"/>
                    <a:pt x="4061" y="6966"/>
                  </a:cubicBezTo>
                  <a:cubicBezTo>
                    <a:pt x="3989" y="6977"/>
                    <a:pt x="3894" y="6989"/>
                    <a:pt x="3822" y="6989"/>
                  </a:cubicBezTo>
                  <a:cubicBezTo>
                    <a:pt x="3751" y="6989"/>
                    <a:pt x="3656" y="6977"/>
                    <a:pt x="3584" y="6966"/>
                  </a:cubicBezTo>
                  <a:cubicBezTo>
                    <a:pt x="3477" y="6930"/>
                    <a:pt x="3358" y="6870"/>
                    <a:pt x="3275" y="6787"/>
                  </a:cubicBezTo>
                  <a:cubicBezTo>
                    <a:pt x="2918" y="6430"/>
                    <a:pt x="2370" y="6323"/>
                    <a:pt x="2334" y="6311"/>
                  </a:cubicBezTo>
                  <a:cubicBezTo>
                    <a:pt x="2236" y="6292"/>
                    <a:pt x="2135" y="6285"/>
                    <a:pt x="2038" y="6285"/>
                  </a:cubicBezTo>
                  <a:cubicBezTo>
                    <a:pt x="1817" y="6285"/>
                    <a:pt x="1613" y="6322"/>
                    <a:pt x="1489" y="6346"/>
                  </a:cubicBezTo>
                  <a:cubicBezTo>
                    <a:pt x="1453" y="6263"/>
                    <a:pt x="1417" y="6132"/>
                    <a:pt x="1382" y="6013"/>
                  </a:cubicBezTo>
                  <a:cubicBezTo>
                    <a:pt x="1370" y="5930"/>
                    <a:pt x="1298" y="5870"/>
                    <a:pt x="1203" y="5870"/>
                  </a:cubicBezTo>
                  <a:cubicBezTo>
                    <a:pt x="786" y="5870"/>
                    <a:pt x="596" y="5751"/>
                    <a:pt x="489" y="5656"/>
                  </a:cubicBezTo>
                  <a:cubicBezTo>
                    <a:pt x="1429" y="5358"/>
                    <a:pt x="1834" y="4680"/>
                    <a:pt x="1977" y="4287"/>
                  </a:cubicBezTo>
                  <a:cubicBezTo>
                    <a:pt x="2084" y="4013"/>
                    <a:pt x="1977" y="3703"/>
                    <a:pt x="1715" y="3584"/>
                  </a:cubicBezTo>
                  <a:lnTo>
                    <a:pt x="1215" y="3346"/>
                  </a:lnTo>
                  <a:cubicBezTo>
                    <a:pt x="1179" y="3310"/>
                    <a:pt x="1155" y="3287"/>
                    <a:pt x="1144" y="3251"/>
                  </a:cubicBezTo>
                  <a:cubicBezTo>
                    <a:pt x="1144" y="3227"/>
                    <a:pt x="1132" y="3191"/>
                    <a:pt x="1155" y="3144"/>
                  </a:cubicBezTo>
                  <a:cubicBezTo>
                    <a:pt x="1181" y="3118"/>
                    <a:pt x="1218" y="3093"/>
                    <a:pt x="1259" y="3093"/>
                  </a:cubicBezTo>
                  <a:cubicBezTo>
                    <a:pt x="1275" y="3093"/>
                    <a:pt x="1293" y="3097"/>
                    <a:pt x="1310" y="3108"/>
                  </a:cubicBezTo>
                  <a:lnTo>
                    <a:pt x="1894" y="3275"/>
                  </a:lnTo>
                  <a:cubicBezTo>
                    <a:pt x="1908" y="3277"/>
                    <a:pt x="1923" y="3279"/>
                    <a:pt x="1938" y="3279"/>
                  </a:cubicBezTo>
                  <a:cubicBezTo>
                    <a:pt x="1994" y="3279"/>
                    <a:pt x="2046" y="3257"/>
                    <a:pt x="2084" y="3191"/>
                  </a:cubicBezTo>
                  <a:cubicBezTo>
                    <a:pt x="2096" y="3167"/>
                    <a:pt x="2108" y="3120"/>
                    <a:pt x="2108" y="3096"/>
                  </a:cubicBezTo>
                  <a:lnTo>
                    <a:pt x="2108" y="1917"/>
                  </a:lnTo>
                  <a:cubicBezTo>
                    <a:pt x="2191" y="596"/>
                    <a:pt x="3299" y="381"/>
                    <a:pt x="3799" y="346"/>
                  </a:cubicBezTo>
                  <a:cubicBezTo>
                    <a:pt x="4227" y="381"/>
                    <a:pt x="5132" y="548"/>
                    <a:pt x="5406" y="1465"/>
                  </a:cubicBezTo>
                  <a:cubicBezTo>
                    <a:pt x="5418" y="1548"/>
                    <a:pt x="5489" y="1608"/>
                    <a:pt x="5561" y="1608"/>
                  </a:cubicBezTo>
                  <a:cubicBezTo>
                    <a:pt x="5680" y="1608"/>
                    <a:pt x="5775" y="1489"/>
                    <a:pt x="5727" y="1382"/>
                  </a:cubicBezTo>
                  <a:cubicBezTo>
                    <a:pt x="5406" y="191"/>
                    <a:pt x="4192" y="24"/>
                    <a:pt x="3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9" name="Google Shape;13279;p64"/>
          <p:cNvGrpSpPr/>
          <p:nvPr/>
        </p:nvGrpSpPr>
        <p:grpSpPr>
          <a:xfrm>
            <a:off x="5583569" y="3351230"/>
            <a:ext cx="357419" cy="357005"/>
            <a:chOff x="5583569" y="3351230"/>
            <a:chExt cx="357419" cy="357005"/>
          </a:xfrm>
        </p:grpSpPr>
        <p:sp>
          <p:nvSpPr>
            <p:cNvPr id="13280" name="Google Shape;13280;p64"/>
            <p:cNvSpPr/>
            <p:nvPr/>
          </p:nvSpPr>
          <p:spPr>
            <a:xfrm>
              <a:off x="5583569" y="3351230"/>
              <a:ext cx="357419" cy="357005"/>
            </a:xfrm>
            <a:custGeom>
              <a:avLst/>
              <a:gdLst/>
              <a:ahLst/>
              <a:cxnLst/>
              <a:rect l="l" t="t" r="r" b="b"/>
              <a:pathLst>
                <a:path w="11229" h="11216" extrusionOk="0">
                  <a:moveTo>
                    <a:pt x="5620" y="357"/>
                  </a:moveTo>
                  <a:cubicBezTo>
                    <a:pt x="8514" y="357"/>
                    <a:pt x="10871" y="2703"/>
                    <a:pt x="10871" y="5608"/>
                  </a:cubicBezTo>
                  <a:cubicBezTo>
                    <a:pt x="10871" y="8513"/>
                    <a:pt x="8514" y="10859"/>
                    <a:pt x="5620" y="10859"/>
                  </a:cubicBezTo>
                  <a:cubicBezTo>
                    <a:pt x="2715" y="10859"/>
                    <a:pt x="370" y="8513"/>
                    <a:pt x="370" y="5608"/>
                  </a:cubicBezTo>
                  <a:cubicBezTo>
                    <a:pt x="370" y="2703"/>
                    <a:pt x="2715" y="357"/>
                    <a:pt x="5620" y="357"/>
                  </a:cubicBezTo>
                  <a:close/>
                  <a:moveTo>
                    <a:pt x="5620" y="0"/>
                  </a:moveTo>
                  <a:cubicBezTo>
                    <a:pt x="4108" y="0"/>
                    <a:pt x="2715" y="572"/>
                    <a:pt x="1644" y="1631"/>
                  </a:cubicBezTo>
                  <a:cubicBezTo>
                    <a:pt x="584" y="2691"/>
                    <a:pt x="1" y="4108"/>
                    <a:pt x="1" y="5608"/>
                  </a:cubicBezTo>
                  <a:cubicBezTo>
                    <a:pt x="1" y="7108"/>
                    <a:pt x="584" y="8513"/>
                    <a:pt x="1644" y="9585"/>
                  </a:cubicBezTo>
                  <a:cubicBezTo>
                    <a:pt x="2703" y="10632"/>
                    <a:pt x="4108" y="11216"/>
                    <a:pt x="5620" y="11216"/>
                  </a:cubicBezTo>
                  <a:cubicBezTo>
                    <a:pt x="7121" y="11216"/>
                    <a:pt x="8514" y="10632"/>
                    <a:pt x="9597" y="9585"/>
                  </a:cubicBezTo>
                  <a:cubicBezTo>
                    <a:pt x="10669" y="8525"/>
                    <a:pt x="11228" y="7108"/>
                    <a:pt x="11228" y="5608"/>
                  </a:cubicBezTo>
                  <a:cubicBezTo>
                    <a:pt x="11228" y="4108"/>
                    <a:pt x="10645" y="2703"/>
                    <a:pt x="9597" y="1631"/>
                  </a:cubicBezTo>
                  <a:cubicBezTo>
                    <a:pt x="8537" y="572"/>
                    <a:pt x="7121" y="0"/>
                    <a:pt x="56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1" name="Google Shape;13281;p64"/>
            <p:cNvSpPr/>
            <p:nvPr/>
          </p:nvSpPr>
          <p:spPr>
            <a:xfrm>
              <a:off x="5658625" y="3403527"/>
              <a:ext cx="172073" cy="243690"/>
            </a:xfrm>
            <a:custGeom>
              <a:avLst/>
              <a:gdLst/>
              <a:ahLst/>
              <a:cxnLst/>
              <a:rect l="l" t="t" r="r" b="b"/>
              <a:pathLst>
                <a:path w="5406" h="7656" extrusionOk="0">
                  <a:moveTo>
                    <a:pt x="1834" y="0"/>
                  </a:moveTo>
                  <a:cubicBezTo>
                    <a:pt x="1727" y="0"/>
                    <a:pt x="1655" y="72"/>
                    <a:pt x="1655" y="179"/>
                  </a:cubicBezTo>
                  <a:cubicBezTo>
                    <a:pt x="1655" y="1000"/>
                    <a:pt x="988" y="1655"/>
                    <a:pt x="179" y="1655"/>
                  </a:cubicBezTo>
                  <a:cubicBezTo>
                    <a:pt x="72" y="1655"/>
                    <a:pt x="0" y="1727"/>
                    <a:pt x="0" y="1834"/>
                  </a:cubicBezTo>
                  <a:lnTo>
                    <a:pt x="0" y="3489"/>
                  </a:lnTo>
                  <a:cubicBezTo>
                    <a:pt x="0" y="3596"/>
                    <a:pt x="72" y="3667"/>
                    <a:pt x="179" y="3667"/>
                  </a:cubicBezTo>
                  <a:lnTo>
                    <a:pt x="1655" y="3667"/>
                  </a:lnTo>
                  <a:lnTo>
                    <a:pt x="1655" y="4453"/>
                  </a:lnTo>
                  <a:cubicBezTo>
                    <a:pt x="1655" y="4560"/>
                    <a:pt x="1727" y="4632"/>
                    <a:pt x="1834" y="4632"/>
                  </a:cubicBezTo>
                  <a:cubicBezTo>
                    <a:pt x="1941" y="4632"/>
                    <a:pt x="2012" y="4560"/>
                    <a:pt x="2012" y="4453"/>
                  </a:cubicBezTo>
                  <a:lnTo>
                    <a:pt x="2012" y="3489"/>
                  </a:lnTo>
                  <a:cubicBezTo>
                    <a:pt x="2012" y="3382"/>
                    <a:pt x="1941" y="3310"/>
                    <a:pt x="1834" y="3310"/>
                  </a:cubicBezTo>
                  <a:lnTo>
                    <a:pt x="357" y="3310"/>
                  </a:lnTo>
                  <a:lnTo>
                    <a:pt x="357" y="2000"/>
                  </a:lnTo>
                  <a:cubicBezTo>
                    <a:pt x="1215" y="1905"/>
                    <a:pt x="1917" y="1226"/>
                    <a:pt x="2012" y="345"/>
                  </a:cubicBezTo>
                  <a:lnTo>
                    <a:pt x="3084" y="345"/>
                  </a:lnTo>
                  <a:lnTo>
                    <a:pt x="3084" y="1822"/>
                  </a:lnTo>
                  <a:cubicBezTo>
                    <a:pt x="3084" y="1929"/>
                    <a:pt x="3155" y="2000"/>
                    <a:pt x="3262" y="2000"/>
                  </a:cubicBezTo>
                  <a:lnTo>
                    <a:pt x="4739" y="2000"/>
                  </a:lnTo>
                  <a:lnTo>
                    <a:pt x="4739" y="3298"/>
                  </a:lnTo>
                  <a:lnTo>
                    <a:pt x="3262" y="3298"/>
                  </a:lnTo>
                  <a:cubicBezTo>
                    <a:pt x="3155" y="3298"/>
                    <a:pt x="3084" y="3370"/>
                    <a:pt x="3084" y="3477"/>
                  </a:cubicBezTo>
                  <a:lnTo>
                    <a:pt x="3084" y="5584"/>
                  </a:lnTo>
                  <a:cubicBezTo>
                    <a:pt x="3084" y="5941"/>
                    <a:pt x="3381" y="6251"/>
                    <a:pt x="3739" y="6251"/>
                  </a:cubicBezTo>
                  <a:cubicBezTo>
                    <a:pt x="3965" y="6251"/>
                    <a:pt x="4155" y="6132"/>
                    <a:pt x="4274" y="5953"/>
                  </a:cubicBezTo>
                  <a:lnTo>
                    <a:pt x="4965" y="6775"/>
                  </a:lnTo>
                  <a:cubicBezTo>
                    <a:pt x="4644" y="7120"/>
                    <a:pt x="4191" y="7311"/>
                    <a:pt x="3703" y="7311"/>
                  </a:cubicBezTo>
                  <a:cubicBezTo>
                    <a:pt x="2774" y="7299"/>
                    <a:pt x="2012" y="6525"/>
                    <a:pt x="2012" y="5572"/>
                  </a:cubicBezTo>
                  <a:lnTo>
                    <a:pt x="2012" y="5287"/>
                  </a:lnTo>
                  <a:cubicBezTo>
                    <a:pt x="2012" y="5179"/>
                    <a:pt x="1929" y="5108"/>
                    <a:pt x="1834" y="5108"/>
                  </a:cubicBezTo>
                  <a:cubicBezTo>
                    <a:pt x="1727" y="5108"/>
                    <a:pt x="1655" y="5179"/>
                    <a:pt x="1655" y="5287"/>
                  </a:cubicBezTo>
                  <a:lnTo>
                    <a:pt x="1655" y="5560"/>
                  </a:lnTo>
                  <a:cubicBezTo>
                    <a:pt x="1655" y="6703"/>
                    <a:pt x="2584" y="7656"/>
                    <a:pt x="3739" y="7656"/>
                  </a:cubicBezTo>
                  <a:cubicBezTo>
                    <a:pt x="4358" y="7656"/>
                    <a:pt x="4941" y="7370"/>
                    <a:pt x="5322" y="6882"/>
                  </a:cubicBezTo>
                  <a:cubicBezTo>
                    <a:pt x="5406" y="6834"/>
                    <a:pt x="5406" y="6751"/>
                    <a:pt x="5346" y="6691"/>
                  </a:cubicBezTo>
                  <a:lnTo>
                    <a:pt x="4489" y="5691"/>
                  </a:lnTo>
                  <a:cubicBezTo>
                    <a:pt x="4435" y="5627"/>
                    <a:pt x="4353" y="5582"/>
                    <a:pt x="4260" y="5582"/>
                  </a:cubicBezTo>
                  <a:cubicBezTo>
                    <a:pt x="4249" y="5582"/>
                    <a:pt x="4238" y="5583"/>
                    <a:pt x="4227" y="5584"/>
                  </a:cubicBezTo>
                  <a:cubicBezTo>
                    <a:pt x="4120" y="5596"/>
                    <a:pt x="4036" y="5656"/>
                    <a:pt x="3989" y="5751"/>
                  </a:cubicBezTo>
                  <a:cubicBezTo>
                    <a:pt x="3941" y="5834"/>
                    <a:pt x="3858" y="5894"/>
                    <a:pt x="3751" y="5918"/>
                  </a:cubicBezTo>
                  <a:cubicBezTo>
                    <a:pt x="3743" y="5918"/>
                    <a:pt x="3736" y="5918"/>
                    <a:pt x="3728" y="5918"/>
                  </a:cubicBezTo>
                  <a:cubicBezTo>
                    <a:pt x="3560" y="5918"/>
                    <a:pt x="3429" y="5791"/>
                    <a:pt x="3429" y="5620"/>
                  </a:cubicBezTo>
                  <a:lnTo>
                    <a:pt x="3429" y="3667"/>
                  </a:lnTo>
                  <a:lnTo>
                    <a:pt x="4894" y="3667"/>
                  </a:lnTo>
                  <a:cubicBezTo>
                    <a:pt x="5001" y="3667"/>
                    <a:pt x="5072" y="3596"/>
                    <a:pt x="5072" y="3489"/>
                  </a:cubicBezTo>
                  <a:lnTo>
                    <a:pt x="5072" y="1834"/>
                  </a:lnTo>
                  <a:cubicBezTo>
                    <a:pt x="5072" y="1727"/>
                    <a:pt x="5001" y="1655"/>
                    <a:pt x="4894" y="1655"/>
                  </a:cubicBezTo>
                  <a:lnTo>
                    <a:pt x="3429" y="1655"/>
                  </a:lnTo>
                  <a:lnTo>
                    <a:pt x="3429" y="179"/>
                  </a:lnTo>
                  <a:cubicBezTo>
                    <a:pt x="3429" y="72"/>
                    <a:pt x="3346" y="0"/>
                    <a:pt x="3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2" name="Google Shape;13282;p64"/>
          <p:cNvGrpSpPr/>
          <p:nvPr/>
        </p:nvGrpSpPr>
        <p:grpSpPr>
          <a:xfrm>
            <a:off x="7482229" y="3351230"/>
            <a:ext cx="357419" cy="357005"/>
            <a:chOff x="7482229" y="3351230"/>
            <a:chExt cx="357419" cy="357005"/>
          </a:xfrm>
        </p:grpSpPr>
        <p:sp>
          <p:nvSpPr>
            <p:cNvPr id="13283" name="Google Shape;13283;p64"/>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4" name="Google Shape;13284;p64"/>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5" name="Google Shape;13285;p64"/>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6" name="Google Shape;13286;p64"/>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7" name="Google Shape;13287;p64"/>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88" name="Google Shape;13288;p64"/>
          <p:cNvGrpSpPr/>
          <p:nvPr/>
        </p:nvGrpSpPr>
        <p:grpSpPr>
          <a:xfrm>
            <a:off x="3764485" y="2890682"/>
            <a:ext cx="222874" cy="345737"/>
            <a:chOff x="3764485" y="2890682"/>
            <a:chExt cx="222874" cy="345737"/>
          </a:xfrm>
        </p:grpSpPr>
        <p:sp>
          <p:nvSpPr>
            <p:cNvPr id="13289" name="Google Shape;13289;p64"/>
            <p:cNvSpPr/>
            <p:nvPr/>
          </p:nvSpPr>
          <p:spPr>
            <a:xfrm>
              <a:off x="3764485" y="2890682"/>
              <a:ext cx="222874" cy="345737"/>
            </a:xfrm>
            <a:custGeom>
              <a:avLst/>
              <a:gdLst/>
              <a:ahLst/>
              <a:cxnLst/>
              <a:rect l="l" t="t" r="r" b="b"/>
              <a:pathLst>
                <a:path w="7002" h="10862" extrusionOk="0">
                  <a:moveTo>
                    <a:pt x="3596" y="348"/>
                  </a:moveTo>
                  <a:lnTo>
                    <a:pt x="3727" y="396"/>
                  </a:lnTo>
                  <a:cubicBezTo>
                    <a:pt x="3882" y="467"/>
                    <a:pt x="4001" y="610"/>
                    <a:pt x="4073" y="801"/>
                  </a:cubicBezTo>
                  <a:cubicBezTo>
                    <a:pt x="3894" y="777"/>
                    <a:pt x="3739" y="753"/>
                    <a:pt x="3596" y="729"/>
                  </a:cubicBezTo>
                  <a:lnTo>
                    <a:pt x="3596" y="348"/>
                  </a:lnTo>
                  <a:close/>
                  <a:moveTo>
                    <a:pt x="6168" y="8504"/>
                  </a:moveTo>
                  <a:cubicBezTo>
                    <a:pt x="6275" y="8504"/>
                    <a:pt x="6347" y="8587"/>
                    <a:pt x="6347" y="8683"/>
                  </a:cubicBezTo>
                  <a:lnTo>
                    <a:pt x="6347" y="8861"/>
                  </a:lnTo>
                  <a:lnTo>
                    <a:pt x="6168" y="8861"/>
                  </a:lnTo>
                  <a:cubicBezTo>
                    <a:pt x="6085" y="8861"/>
                    <a:pt x="6001" y="8945"/>
                    <a:pt x="6001" y="9028"/>
                  </a:cubicBezTo>
                  <a:cubicBezTo>
                    <a:pt x="6001" y="9123"/>
                    <a:pt x="6085" y="9195"/>
                    <a:pt x="6168" y="9195"/>
                  </a:cubicBezTo>
                  <a:lnTo>
                    <a:pt x="6513" y="9195"/>
                  </a:lnTo>
                  <a:cubicBezTo>
                    <a:pt x="6621" y="9195"/>
                    <a:pt x="6692" y="9266"/>
                    <a:pt x="6692" y="9373"/>
                  </a:cubicBezTo>
                  <a:lnTo>
                    <a:pt x="6692" y="10397"/>
                  </a:lnTo>
                  <a:cubicBezTo>
                    <a:pt x="6680" y="10504"/>
                    <a:pt x="6597" y="10576"/>
                    <a:pt x="6501" y="10576"/>
                  </a:cubicBezTo>
                  <a:lnTo>
                    <a:pt x="1394" y="10576"/>
                  </a:lnTo>
                  <a:cubicBezTo>
                    <a:pt x="1287" y="10576"/>
                    <a:pt x="1215" y="10504"/>
                    <a:pt x="1215" y="10397"/>
                  </a:cubicBezTo>
                  <a:lnTo>
                    <a:pt x="1215" y="9373"/>
                  </a:lnTo>
                  <a:cubicBezTo>
                    <a:pt x="1215" y="9266"/>
                    <a:pt x="1287" y="9195"/>
                    <a:pt x="1394" y="9195"/>
                  </a:cubicBezTo>
                  <a:lnTo>
                    <a:pt x="5489" y="9195"/>
                  </a:lnTo>
                  <a:cubicBezTo>
                    <a:pt x="5573" y="9195"/>
                    <a:pt x="5644" y="9123"/>
                    <a:pt x="5644" y="9028"/>
                  </a:cubicBezTo>
                  <a:cubicBezTo>
                    <a:pt x="5644" y="8945"/>
                    <a:pt x="5573" y="8861"/>
                    <a:pt x="5489" y="8861"/>
                  </a:cubicBezTo>
                  <a:lnTo>
                    <a:pt x="1560" y="8861"/>
                  </a:lnTo>
                  <a:lnTo>
                    <a:pt x="1560" y="8683"/>
                  </a:lnTo>
                  <a:cubicBezTo>
                    <a:pt x="1560" y="8587"/>
                    <a:pt x="1632" y="8504"/>
                    <a:pt x="1739" y="8504"/>
                  </a:cubicBezTo>
                  <a:close/>
                  <a:moveTo>
                    <a:pt x="3471" y="1"/>
                  </a:moveTo>
                  <a:cubicBezTo>
                    <a:pt x="3436" y="1"/>
                    <a:pt x="3413" y="3"/>
                    <a:pt x="3406" y="3"/>
                  </a:cubicBezTo>
                  <a:cubicBezTo>
                    <a:pt x="3311" y="3"/>
                    <a:pt x="3251" y="74"/>
                    <a:pt x="3251" y="158"/>
                  </a:cubicBezTo>
                  <a:lnTo>
                    <a:pt x="3251" y="682"/>
                  </a:lnTo>
                  <a:cubicBezTo>
                    <a:pt x="3184" y="678"/>
                    <a:pt x="3123" y="676"/>
                    <a:pt x="3071" y="676"/>
                  </a:cubicBezTo>
                  <a:cubicBezTo>
                    <a:pt x="2968" y="676"/>
                    <a:pt x="2902" y="682"/>
                    <a:pt x="2894" y="682"/>
                  </a:cubicBezTo>
                  <a:cubicBezTo>
                    <a:pt x="2811" y="682"/>
                    <a:pt x="2751" y="753"/>
                    <a:pt x="2751" y="848"/>
                  </a:cubicBezTo>
                  <a:cubicBezTo>
                    <a:pt x="2751" y="932"/>
                    <a:pt x="2822" y="991"/>
                    <a:pt x="2906" y="991"/>
                  </a:cubicBezTo>
                  <a:cubicBezTo>
                    <a:pt x="2909" y="991"/>
                    <a:pt x="2939" y="990"/>
                    <a:pt x="2991" y="990"/>
                  </a:cubicBezTo>
                  <a:cubicBezTo>
                    <a:pt x="3356" y="990"/>
                    <a:pt x="4811" y="1045"/>
                    <a:pt x="5728" y="1920"/>
                  </a:cubicBezTo>
                  <a:cubicBezTo>
                    <a:pt x="6228" y="2408"/>
                    <a:pt x="6501" y="3063"/>
                    <a:pt x="6501" y="3896"/>
                  </a:cubicBezTo>
                  <a:cubicBezTo>
                    <a:pt x="6501" y="4789"/>
                    <a:pt x="6299" y="5361"/>
                    <a:pt x="6097" y="5968"/>
                  </a:cubicBezTo>
                  <a:cubicBezTo>
                    <a:pt x="5882" y="6575"/>
                    <a:pt x="5668" y="7194"/>
                    <a:pt x="5644" y="8171"/>
                  </a:cubicBezTo>
                  <a:lnTo>
                    <a:pt x="1989" y="8171"/>
                  </a:lnTo>
                  <a:cubicBezTo>
                    <a:pt x="1941" y="8075"/>
                    <a:pt x="1882" y="7909"/>
                    <a:pt x="1882" y="7647"/>
                  </a:cubicBezTo>
                  <a:cubicBezTo>
                    <a:pt x="1882" y="7230"/>
                    <a:pt x="2132" y="6266"/>
                    <a:pt x="3882" y="4515"/>
                  </a:cubicBezTo>
                  <a:cubicBezTo>
                    <a:pt x="3918" y="4480"/>
                    <a:pt x="3942" y="4385"/>
                    <a:pt x="3906" y="4325"/>
                  </a:cubicBezTo>
                  <a:cubicBezTo>
                    <a:pt x="3886" y="4275"/>
                    <a:pt x="3825" y="4251"/>
                    <a:pt x="3764" y="4251"/>
                  </a:cubicBezTo>
                  <a:cubicBezTo>
                    <a:pt x="3751" y="4251"/>
                    <a:pt x="3739" y="4252"/>
                    <a:pt x="3727" y="4254"/>
                  </a:cubicBezTo>
                  <a:cubicBezTo>
                    <a:pt x="3727" y="4254"/>
                    <a:pt x="3635" y="4276"/>
                    <a:pt x="3486" y="4276"/>
                  </a:cubicBezTo>
                  <a:cubicBezTo>
                    <a:pt x="3292" y="4276"/>
                    <a:pt x="3001" y="4238"/>
                    <a:pt x="2691" y="4063"/>
                  </a:cubicBezTo>
                  <a:cubicBezTo>
                    <a:pt x="2620" y="4020"/>
                    <a:pt x="2540" y="4000"/>
                    <a:pt x="2460" y="4000"/>
                  </a:cubicBezTo>
                  <a:cubicBezTo>
                    <a:pt x="2341" y="4000"/>
                    <a:pt x="2220" y="4044"/>
                    <a:pt x="2120" y="4123"/>
                  </a:cubicBezTo>
                  <a:cubicBezTo>
                    <a:pt x="1924" y="4281"/>
                    <a:pt x="1552" y="4499"/>
                    <a:pt x="998" y="4499"/>
                  </a:cubicBezTo>
                  <a:cubicBezTo>
                    <a:pt x="846" y="4499"/>
                    <a:pt x="680" y="4482"/>
                    <a:pt x="501" y="4444"/>
                  </a:cubicBezTo>
                  <a:lnTo>
                    <a:pt x="370" y="3777"/>
                  </a:lnTo>
                  <a:lnTo>
                    <a:pt x="2001" y="2146"/>
                  </a:lnTo>
                  <a:cubicBezTo>
                    <a:pt x="2037" y="2110"/>
                    <a:pt x="2049" y="2063"/>
                    <a:pt x="2049" y="2027"/>
                  </a:cubicBezTo>
                  <a:lnTo>
                    <a:pt x="2049" y="1813"/>
                  </a:lnTo>
                  <a:cubicBezTo>
                    <a:pt x="2049" y="1729"/>
                    <a:pt x="2120" y="1634"/>
                    <a:pt x="2215" y="1634"/>
                  </a:cubicBezTo>
                  <a:cubicBezTo>
                    <a:pt x="2327" y="1626"/>
                    <a:pt x="2501" y="1615"/>
                    <a:pt x="2715" y="1615"/>
                  </a:cubicBezTo>
                  <a:cubicBezTo>
                    <a:pt x="3115" y="1615"/>
                    <a:pt x="3656" y="1654"/>
                    <a:pt x="4192" y="1825"/>
                  </a:cubicBezTo>
                  <a:cubicBezTo>
                    <a:pt x="4211" y="1833"/>
                    <a:pt x="4231" y="1837"/>
                    <a:pt x="4250" y="1837"/>
                  </a:cubicBezTo>
                  <a:cubicBezTo>
                    <a:pt x="4314" y="1837"/>
                    <a:pt x="4373" y="1794"/>
                    <a:pt x="4382" y="1729"/>
                  </a:cubicBezTo>
                  <a:cubicBezTo>
                    <a:pt x="4418" y="1634"/>
                    <a:pt x="4370" y="1539"/>
                    <a:pt x="4275" y="1527"/>
                  </a:cubicBezTo>
                  <a:cubicBezTo>
                    <a:pt x="3701" y="1346"/>
                    <a:pt x="3117" y="1300"/>
                    <a:pt x="2687" y="1300"/>
                  </a:cubicBezTo>
                  <a:cubicBezTo>
                    <a:pt x="2465" y="1300"/>
                    <a:pt x="2285" y="1312"/>
                    <a:pt x="2168" y="1325"/>
                  </a:cubicBezTo>
                  <a:cubicBezTo>
                    <a:pt x="1906" y="1348"/>
                    <a:pt x="1715" y="1563"/>
                    <a:pt x="1715" y="1813"/>
                  </a:cubicBezTo>
                  <a:lnTo>
                    <a:pt x="1715" y="1968"/>
                  </a:lnTo>
                  <a:lnTo>
                    <a:pt x="60" y="3611"/>
                  </a:lnTo>
                  <a:cubicBezTo>
                    <a:pt x="24" y="3658"/>
                    <a:pt x="1" y="3706"/>
                    <a:pt x="24" y="3765"/>
                  </a:cubicBezTo>
                  <a:lnTo>
                    <a:pt x="179" y="4611"/>
                  </a:lnTo>
                  <a:cubicBezTo>
                    <a:pt x="203" y="4670"/>
                    <a:pt x="239" y="4718"/>
                    <a:pt x="298" y="4730"/>
                  </a:cubicBezTo>
                  <a:cubicBezTo>
                    <a:pt x="542" y="4788"/>
                    <a:pt x="764" y="4813"/>
                    <a:pt x="967" y="4813"/>
                  </a:cubicBezTo>
                  <a:cubicBezTo>
                    <a:pt x="1627" y="4813"/>
                    <a:pt x="2071" y="4552"/>
                    <a:pt x="2299" y="4361"/>
                  </a:cubicBezTo>
                  <a:cubicBezTo>
                    <a:pt x="2338" y="4329"/>
                    <a:pt x="2389" y="4313"/>
                    <a:pt x="2435" y="4313"/>
                  </a:cubicBezTo>
                  <a:cubicBezTo>
                    <a:pt x="2459" y="4313"/>
                    <a:pt x="2481" y="4317"/>
                    <a:pt x="2501" y="4325"/>
                  </a:cubicBezTo>
                  <a:cubicBezTo>
                    <a:pt x="2822" y="4504"/>
                    <a:pt x="3120" y="4563"/>
                    <a:pt x="3334" y="4587"/>
                  </a:cubicBezTo>
                  <a:cubicBezTo>
                    <a:pt x="1846" y="6135"/>
                    <a:pt x="1537" y="7099"/>
                    <a:pt x="1537" y="7635"/>
                  </a:cubicBezTo>
                  <a:cubicBezTo>
                    <a:pt x="1537" y="7861"/>
                    <a:pt x="1584" y="8040"/>
                    <a:pt x="1608" y="8159"/>
                  </a:cubicBezTo>
                  <a:cubicBezTo>
                    <a:pt x="1370" y="8195"/>
                    <a:pt x="1191" y="8397"/>
                    <a:pt x="1191" y="8647"/>
                  </a:cubicBezTo>
                  <a:lnTo>
                    <a:pt x="1191" y="8849"/>
                  </a:lnTo>
                  <a:cubicBezTo>
                    <a:pt x="1001" y="8909"/>
                    <a:pt x="858" y="9111"/>
                    <a:pt x="858" y="9326"/>
                  </a:cubicBezTo>
                  <a:lnTo>
                    <a:pt x="858" y="10361"/>
                  </a:lnTo>
                  <a:cubicBezTo>
                    <a:pt x="858" y="10635"/>
                    <a:pt x="1072" y="10861"/>
                    <a:pt x="1358" y="10861"/>
                  </a:cubicBezTo>
                  <a:lnTo>
                    <a:pt x="6501" y="10861"/>
                  </a:lnTo>
                  <a:cubicBezTo>
                    <a:pt x="6775" y="10861"/>
                    <a:pt x="7002" y="10635"/>
                    <a:pt x="7002" y="10361"/>
                  </a:cubicBezTo>
                  <a:lnTo>
                    <a:pt x="7002" y="9326"/>
                  </a:lnTo>
                  <a:cubicBezTo>
                    <a:pt x="7002" y="9171"/>
                    <a:pt x="6859" y="8968"/>
                    <a:pt x="6656" y="8897"/>
                  </a:cubicBezTo>
                  <a:lnTo>
                    <a:pt x="6656" y="8695"/>
                  </a:lnTo>
                  <a:cubicBezTo>
                    <a:pt x="6656" y="8409"/>
                    <a:pt x="6442" y="8183"/>
                    <a:pt x="6156" y="8183"/>
                  </a:cubicBezTo>
                  <a:lnTo>
                    <a:pt x="5978" y="8183"/>
                  </a:lnTo>
                  <a:cubicBezTo>
                    <a:pt x="5990" y="7266"/>
                    <a:pt x="6204" y="6671"/>
                    <a:pt x="6406" y="6087"/>
                  </a:cubicBezTo>
                  <a:cubicBezTo>
                    <a:pt x="6621" y="5492"/>
                    <a:pt x="6823" y="4861"/>
                    <a:pt x="6823" y="3908"/>
                  </a:cubicBezTo>
                  <a:cubicBezTo>
                    <a:pt x="6823" y="2991"/>
                    <a:pt x="6525" y="2241"/>
                    <a:pt x="5966" y="1694"/>
                  </a:cubicBezTo>
                  <a:cubicBezTo>
                    <a:pt x="5501" y="1265"/>
                    <a:pt x="4930" y="1015"/>
                    <a:pt x="4418" y="860"/>
                  </a:cubicBezTo>
                  <a:cubicBezTo>
                    <a:pt x="4311" y="396"/>
                    <a:pt x="4061" y="182"/>
                    <a:pt x="3846" y="86"/>
                  </a:cubicBezTo>
                  <a:cubicBezTo>
                    <a:pt x="3690" y="12"/>
                    <a:pt x="3550" y="1"/>
                    <a:pt x="34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0" name="Google Shape;13290;p64"/>
            <p:cNvSpPr/>
            <p:nvPr/>
          </p:nvSpPr>
          <p:spPr>
            <a:xfrm>
              <a:off x="3913799" y="2948231"/>
              <a:ext cx="20499" cy="14960"/>
            </a:xfrm>
            <a:custGeom>
              <a:avLst/>
              <a:gdLst/>
              <a:ahLst/>
              <a:cxnLst/>
              <a:rect l="l" t="t" r="r" b="b"/>
              <a:pathLst>
                <a:path w="644" h="470" extrusionOk="0">
                  <a:moveTo>
                    <a:pt x="184" y="0"/>
                  </a:moveTo>
                  <a:cubicBezTo>
                    <a:pt x="126" y="0"/>
                    <a:pt x="73" y="27"/>
                    <a:pt x="48" y="76"/>
                  </a:cubicBezTo>
                  <a:cubicBezTo>
                    <a:pt x="1" y="148"/>
                    <a:pt x="36" y="255"/>
                    <a:pt x="108" y="291"/>
                  </a:cubicBezTo>
                  <a:cubicBezTo>
                    <a:pt x="203" y="326"/>
                    <a:pt x="286" y="386"/>
                    <a:pt x="358" y="433"/>
                  </a:cubicBezTo>
                  <a:cubicBezTo>
                    <a:pt x="394" y="445"/>
                    <a:pt x="417" y="469"/>
                    <a:pt x="453" y="469"/>
                  </a:cubicBezTo>
                  <a:cubicBezTo>
                    <a:pt x="501" y="469"/>
                    <a:pt x="560" y="433"/>
                    <a:pt x="584" y="386"/>
                  </a:cubicBezTo>
                  <a:cubicBezTo>
                    <a:pt x="644" y="326"/>
                    <a:pt x="620" y="231"/>
                    <a:pt x="537" y="183"/>
                  </a:cubicBezTo>
                  <a:cubicBezTo>
                    <a:pt x="453" y="124"/>
                    <a:pt x="358" y="64"/>
                    <a:pt x="263" y="17"/>
                  </a:cubicBezTo>
                  <a:cubicBezTo>
                    <a:pt x="237" y="6"/>
                    <a:pt x="210"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1" name="Google Shape;13291;p64"/>
            <p:cNvSpPr/>
            <p:nvPr/>
          </p:nvSpPr>
          <p:spPr>
            <a:xfrm>
              <a:off x="3841418" y="2956315"/>
              <a:ext cx="10631" cy="15947"/>
            </a:xfrm>
            <a:custGeom>
              <a:avLst/>
              <a:gdLst/>
              <a:ahLst/>
              <a:cxnLst/>
              <a:rect l="l" t="t" r="r" b="b"/>
              <a:pathLst>
                <a:path w="334" h="501" extrusionOk="0">
                  <a:moveTo>
                    <a:pt x="167" y="1"/>
                  </a:moveTo>
                  <a:cubicBezTo>
                    <a:pt x="72" y="1"/>
                    <a:pt x="1" y="72"/>
                    <a:pt x="1" y="167"/>
                  </a:cubicBezTo>
                  <a:lnTo>
                    <a:pt x="1" y="334"/>
                  </a:lnTo>
                  <a:cubicBezTo>
                    <a:pt x="1" y="418"/>
                    <a:pt x="72" y="501"/>
                    <a:pt x="167" y="501"/>
                  </a:cubicBezTo>
                  <a:cubicBezTo>
                    <a:pt x="251" y="501"/>
                    <a:pt x="334" y="418"/>
                    <a:pt x="334" y="334"/>
                  </a:cubicBezTo>
                  <a:lnTo>
                    <a:pt x="334" y="167"/>
                  </a:lnTo>
                  <a:cubicBezTo>
                    <a:pt x="334" y="72"/>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92" name="Google Shape;13292;p64"/>
          <p:cNvGrpSpPr/>
          <p:nvPr/>
        </p:nvGrpSpPr>
        <p:grpSpPr>
          <a:xfrm>
            <a:off x="2238616" y="2908131"/>
            <a:ext cx="422596" cy="310382"/>
            <a:chOff x="2278533" y="2937377"/>
            <a:chExt cx="346788" cy="254704"/>
          </a:xfrm>
        </p:grpSpPr>
        <p:sp>
          <p:nvSpPr>
            <p:cNvPr id="13293" name="Google Shape;13293;p64"/>
            <p:cNvSpPr/>
            <p:nvPr/>
          </p:nvSpPr>
          <p:spPr>
            <a:xfrm>
              <a:off x="2317557" y="2958607"/>
              <a:ext cx="270619" cy="184200"/>
            </a:xfrm>
            <a:custGeom>
              <a:avLst/>
              <a:gdLst/>
              <a:ahLst/>
              <a:cxnLst/>
              <a:rect l="l" t="t" r="r" b="b"/>
              <a:pathLst>
                <a:path w="8502" h="5787" extrusionOk="0">
                  <a:moveTo>
                    <a:pt x="2691" y="1179"/>
                  </a:moveTo>
                  <a:cubicBezTo>
                    <a:pt x="2882" y="1179"/>
                    <a:pt x="3049" y="1346"/>
                    <a:pt x="3049" y="1536"/>
                  </a:cubicBezTo>
                  <a:lnTo>
                    <a:pt x="3049" y="1881"/>
                  </a:lnTo>
                  <a:cubicBezTo>
                    <a:pt x="3049" y="2167"/>
                    <a:pt x="2810" y="2405"/>
                    <a:pt x="2525" y="2405"/>
                  </a:cubicBezTo>
                  <a:cubicBezTo>
                    <a:pt x="2227" y="2405"/>
                    <a:pt x="1989" y="2167"/>
                    <a:pt x="1989" y="1881"/>
                  </a:cubicBezTo>
                  <a:lnTo>
                    <a:pt x="1989" y="1536"/>
                  </a:lnTo>
                  <a:cubicBezTo>
                    <a:pt x="1989" y="1346"/>
                    <a:pt x="2156" y="1179"/>
                    <a:pt x="2346" y="1179"/>
                  </a:cubicBezTo>
                  <a:close/>
                  <a:moveTo>
                    <a:pt x="6787" y="1036"/>
                  </a:moveTo>
                  <a:cubicBezTo>
                    <a:pt x="6894" y="1036"/>
                    <a:pt x="6966" y="1108"/>
                    <a:pt x="6966" y="1215"/>
                  </a:cubicBezTo>
                  <a:lnTo>
                    <a:pt x="6966" y="1715"/>
                  </a:lnTo>
                  <a:cubicBezTo>
                    <a:pt x="6966" y="1774"/>
                    <a:pt x="6930" y="1834"/>
                    <a:pt x="6871" y="1870"/>
                  </a:cubicBezTo>
                  <a:cubicBezTo>
                    <a:pt x="6835" y="1893"/>
                    <a:pt x="6799" y="1941"/>
                    <a:pt x="6799" y="2000"/>
                  </a:cubicBezTo>
                  <a:lnTo>
                    <a:pt x="6799" y="2251"/>
                  </a:lnTo>
                  <a:cubicBezTo>
                    <a:pt x="6799" y="2334"/>
                    <a:pt x="6847" y="2381"/>
                    <a:pt x="6918" y="2405"/>
                  </a:cubicBezTo>
                  <a:lnTo>
                    <a:pt x="7335" y="2512"/>
                  </a:lnTo>
                  <a:cubicBezTo>
                    <a:pt x="7406" y="2524"/>
                    <a:pt x="7466" y="2596"/>
                    <a:pt x="7466" y="2691"/>
                  </a:cubicBezTo>
                  <a:lnTo>
                    <a:pt x="7466" y="2727"/>
                  </a:lnTo>
                  <a:lnTo>
                    <a:pt x="5739" y="2727"/>
                  </a:lnTo>
                  <a:lnTo>
                    <a:pt x="5739" y="2691"/>
                  </a:lnTo>
                  <a:cubicBezTo>
                    <a:pt x="5739" y="2596"/>
                    <a:pt x="5799" y="2536"/>
                    <a:pt x="5870" y="2512"/>
                  </a:cubicBezTo>
                  <a:lnTo>
                    <a:pt x="6287" y="2405"/>
                  </a:lnTo>
                  <a:cubicBezTo>
                    <a:pt x="6370" y="2381"/>
                    <a:pt x="6406" y="2334"/>
                    <a:pt x="6406" y="2251"/>
                  </a:cubicBezTo>
                  <a:lnTo>
                    <a:pt x="6406" y="2000"/>
                  </a:lnTo>
                  <a:cubicBezTo>
                    <a:pt x="6430" y="1941"/>
                    <a:pt x="6394" y="1893"/>
                    <a:pt x="6359" y="1870"/>
                  </a:cubicBezTo>
                  <a:cubicBezTo>
                    <a:pt x="6299" y="1834"/>
                    <a:pt x="6263" y="1774"/>
                    <a:pt x="6263" y="1715"/>
                  </a:cubicBezTo>
                  <a:lnTo>
                    <a:pt x="6263" y="1215"/>
                  </a:lnTo>
                  <a:cubicBezTo>
                    <a:pt x="6263" y="1108"/>
                    <a:pt x="6335" y="1036"/>
                    <a:pt x="6442" y="1036"/>
                  </a:cubicBezTo>
                  <a:close/>
                  <a:moveTo>
                    <a:pt x="8144" y="334"/>
                  </a:moveTo>
                  <a:lnTo>
                    <a:pt x="8144" y="2751"/>
                  </a:lnTo>
                  <a:lnTo>
                    <a:pt x="7787" y="2751"/>
                  </a:lnTo>
                  <a:lnTo>
                    <a:pt x="7787" y="2703"/>
                  </a:lnTo>
                  <a:cubicBezTo>
                    <a:pt x="7787" y="2477"/>
                    <a:pt x="7633" y="2274"/>
                    <a:pt x="7406" y="2215"/>
                  </a:cubicBezTo>
                  <a:lnTo>
                    <a:pt x="7109" y="2131"/>
                  </a:lnTo>
                  <a:lnTo>
                    <a:pt x="7109" y="2096"/>
                  </a:lnTo>
                  <a:cubicBezTo>
                    <a:pt x="7216" y="2000"/>
                    <a:pt x="7275" y="1870"/>
                    <a:pt x="7275" y="1715"/>
                  </a:cubicBezTo>
                  <a:lnTo>
                    <a:pt x="7275" y="1215"/>
                  </a:lnTo>
                  <a:cubicBezTo>
                    <a:pt x="7275" y="929"/>
                    <a:pt x="7049" y="703"/>
                    <a:pt x="6775" y="703"/>
                  </a:cubicBezTo>
                  <a:lnTo>
                    <a:pt x="6430" y="703"/>
                  </a:lnTo>
                  <a:cubicBezTo>
                    <a:pt x="6144" y="703"/>
                    <a:pt x="5918" y="929"/>
                    <a:pt x="5918" y="1215"/>
                  </a:cubicBezTo>
                  <a:lnTo>
                    <a:pt x="5918" y="1715"/>
                  </a:lnTo>
                  <a:cubicBezTo>
                    <a:pt x="5918" y="1870"/>
                    <a:pt x="5978" y="2000"/>
                    <a:pt x="6085" y="2096"/>
                  </a:cubicBezTo>
                  <a:lnTo>
                    <a:pt x="6085" y="2131"/>
                  </a:lnTo>
                  <a:lnTo>
                    <a:pt x="5787" y="2215"/>
                  </a:lnTo>
                  <a:cubicBezTo>
                    <a:pt x="5561" y="2274"/>
                    <a:pt x="5418" y="2465"/>
                    <a:pt x="5418" y="2703"/>
                  </a:cubicBezTo>
                  <a:lnTo>
                    <a:pt x="5418" y="2751"/>
                  </a:lnTo>
                  <a:lnTo>
                    <a:pt x="5061" y="2751"/>
                  </a:lnTo>
                  <a:lnTo>
                    <a:pt x="5061" y="334"/>
                  </a:lnTo>
                  <a:close/>
                  <a:moveTo>
                    <a:pt x="2691" y="2715"/>
                  </a:moveTo>
                  <a:lnTo>
                    <a:pt x="2691" y="2786"/>
                  </a:lnTo>
                  <a:cubicBezTo>
                    <a:pt x="2703" y="2846"/>
                    <a:pt x="2727" y="2905"/>
                    <a:pt x="2751" y="2965"/>
                  </a:cubicBezTo>
                  <a:lnTo>
                    <a:pt x="2525" y="3191"/>
                  </a:lnTo>
                  <a:lnTo>
                    <a:pt x="2513" y="3191"/>
                  </a:lnTo>
                  <a:lnTo>
                    <a:pt x="2287" y="2965"/>
                  </a:lnTo>
                  <a:cubicBezTo>
                    <a:pt x="2322" y="2929"/>
                    <a:pt x="2334" y="2870"/>
                    <a:pt x="2334" y="2810"/>
                  </a:cubicBezTo>
                  <a:lnTo>
                    <a:pt x="2334" y="2715"/>
                  </a:lnTo>
                  <a:close/>
                  <a:moveTo>
                    <a:pt x="3037" y="3143"/>
                  </a:moveTo>
                  <a:lnTo>
                    <a:pt x="3346" y="3263"/>
                  </a:lnTo>
                  <a:cubicBezTo>
                    <a:pt x="3477" y="3310"/>
                    <a:pt x="3572" y="3441"/>
                    <a:pt x="3572" y="3596"/>
                  </a:cubicBezTo>
                  <a:lnTo>
                    <a:pt x="3572" y="4608"/>
                  </a:lnTo>
                  <a:cubicBezTo>
                    <a:pt x="3572" y="4715"/>
                    <a:pt x="3501" y="4787"/>
                    <a:pt x="3394" y="4787"/>
                  </a:cubicBezTo>
                  <a:lnTo>
                    <a:pt x="2691" y="4787"/>
                  </a:lnTo>
                  <a:lnTo>
                    <a:pt x="2691" y="4596"/>
                  </a:lnTo>
                  <a:lnTo>
                    <a:pt x="3049" y="4596"/>
                  </a:lnTo>
                  <a:cubicBezTo>
                    <a:pt x="3144" y="4596"/>
                    <a:pt x="3215" y="4513"/>
                    <a:pt x="3215" y="4429"/>
                  </a:cubicBezTo>
                  <a:lnTo>
                    <a:pt x="3215" y="3917"/>
                  </a:lnTo>
                  <a:cubicBezTo>
                    <a:pt x="3215" y="3834"/>
                    <a:pt x="3144" y="3763"/>
                    <a:pt x="3049" y="3763"/>
                  </a:cubicBezTo>
                  <a:cubicBezTo>
                    <a:pt x="2965" y="3763"/>
                    <a:pt x="2882" y="3834"/>
                    <a:pt x="2882" y="3917"/>
                  </a:cubicBezTo>
                  <a:lnTo>
                    <a:pt x="2882" y="4275"/>
                  </a:lnTo>
                  <a:lnTo>
                    <a:pt x="2191" y="4275"/>
                  </a:lnTo>
                  <a:lnTo>
                    <a:pt x="2191" y="3917"/>
                  </a:lnTo>
                  <a:cubicBezTo>
                    <a:pt x="2191" y="3834"/>
                    <a:pt x="2108" y="3763"/>
                    <a:pt x="2025" y="3763"/>
                  </a:cubicBezTo>
                  <a:cubicBezTo>
                    <a:pt x="1929" y="3763"/>
                    <a:pt x="1858" y="3834"/>
                    <a:pt x="1858" y="3917"/>
                  </a:cubicBezTo>
                  <a:lnTo>
                    <a:pt x="1858" y="4429"/>
                  </a:lnTo>
                  <a:cubicBezTo>
                    <a:pt x="1858" y="4513"/>
                    <a:pt x="1929" y="4596"/>
                    <a:pt x="2025" y="4596"/>
                  </a:cubicBezTo>
                  <a:lnTo>
                    <a:pt x="2382" y="4596"/>
                  </a:lnTo>
                  <a:lnTo>
                    <a:pt x="2382" y="4787"/>
                  </a:lnTo>
                  <a:lnTo>
                    <a:pt x="1679" y="4787"/>
                  </a:lnTo>
                  <a:cubicBezTo>
                    <a:pt x="1572" y="4787"/>
                    <a:pt x="1501" y="4715"/>
                    <a:pt x="1501" y="4608"/>
                  </a:cubicBezTo>
                  <a:lnTo>
                    <a:pt x="1501" y="3596"/>
                  </a:lnTo>
                  <a:lnTo>
                    <a:pt x="1489" y="3596"/>
                  </a:lnTo>
                  <a:cubicBezTo>
                    <a:pt x="1489" y="3441"/>
                    <a:pt x="1572" y="3310"/>
                    <a:pt x="1715" y="3263"/>
                  </a:cubicBezTo>
                  <a:lnTo>
                    <a:pt x="2025" y="3143"/>
                  </a:lnTo>
                  <a:lnTo>
                    <a:pt x="2287" y="3417"/>
                  </a:lnTo>
                  <a:cubicBezTo>
                    <a:pt x="2346" y="3477"/>
                    <a:pt x="2441" y="3501"/>
                    <a:pt x="2525" y="3501"/>
                  </a:cubicBezTo>
                  <a:cubicBezTo>
                    <a:pt x="2620" y="3501"/>
                    <a:pt x="2691" y="3477"/>
                    <a:pt x="2763" y="3417"/>
                  </a:cubicBezTo>
                  <a:lnTo>
                    <a:pt x="3037" y="3143"/>
                  </a:lnTo>
                  <a:close/>
                  <a:moveTo>
                    <a:pt x="4727" y="4763"/>
                  </a:moveTo>
                  <a:lnTo>
                    <a:pt x="4727" y="5465"/>
                  </a:lnTo>
                  <a:lnTo>
                    <a:pt x="298" y="5465"/>
                  </a:lnTo>
                  <a:lnTo>
                    <a:pt x="298" y="4763"/>
                  </a:lnTo>
                  <a:lnTo>
                    <a:pt x="1191" y="4763"/>
                  </a:lnTo>
                  <a:cubicBezTo>
                    <a:pt x="1251" y="4965"/>
                    <a:pt x="1441" y="5108"/>
                    <a:pt x="1667" y="5108"/>
                  </a:cubicBezTo>
                  <a:lnTo>
                    <a:pt x="3358" y="5108"/>
                  </a:lnTo>
                  <a:cubicBezTo>
                    <a:pt x="3584" y="5108"/>
                    <a:pt x="3763" y="4965"/>
                    <a:pt x="3834" y="4763"/>
                  </a:cubicBezTo>
                  <a:close/>
                  <a:moveTo>
                    <a:pt x="6763" y="3775"/>
                  </a:moveTo>
                  <a:cubicBezTo>
                    <a:pt x="6871" y="3775"/>
                    <a:pt x="6942" y="3846"/>
                    <a:pt x="6942" y="3953"/>
                  </a:cubicBezTo>
                  <a:lnTo>
                    <a:pt x="6942" y="4453"/>
                  </a:lnTo>
                  <a:cubicBezTo>
                    <a:pt x="6942" y="4513"/>
                    <a:pt x="6918" y="4572"/>
                    <a:pt x="6859" y="4608"/>
                  </a:cubicBezTo>
                  <a:cubicBezTo>
                    <a:pt x="6811" y="4632"/>
                    <a:pt x="6787" y="4679"/>
                    <a:pt x="6787" y="4739"/>
                  </a:cubicBezTo>
                  <a:lnTo>
                    <a:pt x="6787" y="4989"/>
                  </a:lnTo>
                  <a:cubicBezTo>
                    <a:pt x="6787" y="5060"/>
                    <a:pt x="6823" y="5120"/>
                    <a:pt x="6906" y="5144"/>
                  </a:cubicBezTo>
                  <a:lnTo>
                    <a:pt x="7323" y="5251"/>
                  </a:lnTo>
                  <a:cubicBezTo>
                    <a:pt x="7394" y="5263"/>
                    <a:pt x="7454" y="5334"/>
                    <a:pt x="7454" y="5429"/>
                  </a:cubicBezTo>
                  <a:lnTo>
                    <a:pt x="7454" y="5465"/>
                  </a:lnTo>
                  <a:lnTo>
                    <a:pt x="5739" y="5465"/>
                  </a:lnTo>
                  <a:lnTo>
                    <a:pt x="5739" y="5429"/>
                  </a:lnTo>
                  <a:cubicBezTo>
                    <a:pt x="5739" y="5334"/>
                    <a:pt x="5799" y="5275"/>
                    <a:pt x="5882" y="5251"/>
                  </a:cubicBezTo>
                  <a:lnTo>
                    <a:pt x="6287" y="5144"/>
                  </a:lnTo>
                  <a:cubicBezTo>
                    <a:pt x="6370" y="5120"/>
                    <a:pt x="6406" y="5060"/>
                    <a:pt x="6406" y="4989"/>
                  </a:cubicBezTo>
                  <a:lnTo>
                    <a:pt x="6406" y="4739"/>
                  </a:lnTo>
                  <a:cubicBezTo>
                    <a:pt x="6406" y="4679"/>
                    <a:pt x="6382" y="4632"/>
                    <a:pt x="6335" y="4608"/>
                  </a:cubicBezTo>
                  <a:cubicBezTo>
                    <a:pt x="6275" y="4572"/>
                    <a:pt x="6251" y="4513"/>
                    <a:pt x="6251" y="4453"/>
                  </a:cubicBezTo>
                  <a:lnTo>
                    <a:pt x="6251" y="3953"/>
                  </a:lnTo>
                  <a:cubicBezTo>
                    <a:pt x="6251" y="3846"/>
                    <a:pt x="6323" y="3775"/>
                    <a:pt x="6430" y="3775"/>
                  </a:cubicBezTo>
                  <a:close/>
                  <a:moveTo>
                    <a:pt x="8156" y="3060"/>
                  </a:moveTo>
                  <a:lnTo>
                    <a:pt x="8156" y="5465"/>
                  </a:lnTo>
                  <a:lnTo>
                    <a:pt x="7799" y="5465"/>
                  </a:lnTo>
                  <a:lnTo>
                    <a:pt x="7799" y="5429"/>
                  </a:lnTo>
                  <a:cubicBezTo>
                    <a:pt x="7799" y="5203"/>
                    <a:pt x="7644" y="4989"/>
                    <a:pt x="7430" y="4929"/>
                  </a:cubicBezTo>
                  <a:lnTo>
                    <a:pt x="7132" y="4858"/>
                  </a:lnTo>
                  <a:lnTo>
                    <a:pt x="7132" y="4810"/>
                  </a:lnTo>
                  <a:cubicBezTo>
                    <a:pt x="7228" y="4727"/>
                    <a:pt x="7287" y="4596"/>
                    <a:pt x="7287" y="4441"/>
                  </a:cubicBezTo>
                  <a:lnTo>
                    <a:pt x="7287" y="3941"/>
                  </a:lnTo>
                  <a:cubicBezTo>
                    <a:pt x="7287" y="3655"/>
                    <a:pt x="7073" y="3429"/>
                    <a:pt x="6787" y="3429"/>
                  </a:cubicBezTo>
                  <a:lnTo>
                    <a:pt x="6442" y="3429"/>
                  </a:lnTo>
                  <a:cubicBezTo>
                    <a:pt x="6156" y="3429"/>
                    <a:pt x="5942" y="3655"/>
                    <a:pt x="5942" y="3941"/>
                  </a:cubicBezTo>
                  <a:lnTo>
                    <a:pt x="5942" y="4441"/>
                  </a:lnTo>
                  <a:cubicBezTo>
                    <a:pt x="5942" y="4596"/>
                    <a:pt x="6001" y="4727"/>
                    <a:pt x="6097" y="4810"/>
                  </a:cubicBezTo>
                  <a:lnTo>
                    <a:pt x="6097" y="4858"/>
                  </a:lnTo>
                  <a:lnTo>
                    <a:pt x="5799" y="4929"/>
                  </a:lnTo>
                  <a:cubicBezTo>
                    <a:pt x="5585" y="4989"/>
                    <a:pt x="5430" y="5191"/>
                    <a:pt x="5430" y="5429"/>
                  </a:cubicBezTo>
                  <a:lnTo>
                    <a:pt x="5430" y="5465"/>
                  </a:lnTo>
                  <a:lnTo>
                    <a:pt x="5073" y="5465"/>
                  </a:lnTo>
                  <a:lnTo>
                    <a:pt x="5073" y="3060"/>
                  </a:lnTo>
                  <a:close/>
                  <a:moveTo>
                    <a:pt x="167" y="0"/>
                  </a:moveTo>
                  <a:cubicBezTo>
                    <a:pt x="72" y="0"/>
                    <a:pt x="1" y="84"/>
                    <a:pt x="1" y="167"/>
                  </a:cubicBezTo>
                  <a:lnTo>
                    <a:pt x="1" y="5620"/>
                  </a:lnTo>
                  <a:cubicBezTo>
                    <a:pt x="1" y="5703"/>
                    <a:pt x="72" y="5787"/>
                    <a:pt x="167" y="5787"/>
                  </a:cubicBezTo>
                  <a:lnTo>
                    <a:pt x="8335" y="5787"/>
                  </a:lnTo>
                  <a:cubicBezTo>
                    <a:pt x="8418" y="5787"/>
                    <a:pt x="8502" y="5703"/>
                    <a:pt x="8502" y="5620"/>
                  </a:cubicBezTo>
                  <a:lnTo>
                    <a:pt x="8502" y="167"/>
                  </a:lnTo>
                  <a:cubicBezTo>
                    <a:pt x="8466" y="84"/>
                    <a:pt x="8395" y="24"/>
                    <a:pt x="8311" y="24"/>
                  </a:cubicBezTo>
                  <a:lnTo>
                    <a:pt x="1334" y="24"/>
                  </a:lnTo>
                  <a:cubicBezTo>
                    <a:pt x="1251" y="24"/>
                    <a:pt x="1167" y="95"/>
                    <a:pt x="1167" y="191"/>
                  </a:cubicBezTo>
                  <a:cubicBezTo>
                    <a:pt x="1167" y="274"/>
                    <a:pt x="1251" y="346"/>
                    <a:pt x="1334" y="346"/>
                  </a:cubicBezTo>
                  <a:lnTo>
                    <a:pt x="4763" y="346"/>
                  </a:lnTo>
                  <a:lnTo>
                    <a:pt x="4763" y="4453"/>
                  </a:lnTo>
                  <a:lnTo>
                    <a:pt x="3882" y="4453"/>
                  </a:lnTo>
                  <a:lnTo>
                    <a:pt x="3882" y="3608"/>
                  </a:lnTo>
                  <a:cubicBezTo>
                    <a:pt x="3882" y="3346"/>
                    <a:pt x="3703" y="3084"/>
                    <a:pt x="3453" y="2977"/>
                  </a:cubicBezTo>
                  <a:lnTo>
                    <a:pt x="3037" y="2822"/>
                  </a:lnTo>
                  <a:lnTo>
                    <a:pt x="3037" y="2798"/>
                  </a:lnTo>
                  <a:lnTo>
                    <a:pt x="3037" y="2572"/>
                  </a:lnTo>
                  <a:cubicBezTo>
                    <a:pt x="3239" y="2417"/>
                    <a:pt x="3382" y="2167"/>
                    <a:pt x="3382" y="1893"/>
                  </a:cubicBezTo>
                  <a:lnTo>
                    <a:pt x="3382" y="1560"/>
                  </a:lnTo>
                  <a:cubicBezTo>
                    <a:pt x="3382" y="1179"/>
                    <a:pt x="3084" y="881"/>
                    <a:pt x="2703" y="881"/>
                  </a:cubicBezTo>
                  <a:lnTo>
                    <a:pt x="2370" y="881"/>
                  </a:lnTo>
                  <a:cubicBezTo>
                    <a:pt x="1989" y="881"/>
                    <a:pt x="1691" y="1179"/>
                    <a:pt x="1691" y="1560"/>
                  </a:cubicBezTo>
                  <a:lnTo>
                    <a:pt x="1691" y="1893"/>
                  </a:lnTo>
                  <a:cubicBezTo>
                    <a:pt x="1691" y="2179"/>
                    <a:pt x="1834" y="2417"/>
                    <a:pt x="2037" y="2572"/>
                  </a:cubicBezTo>
                  <a:lnTo>
                    <a:pt x="2037" y="2810"/>
                  </a:lnTo>
                  <a:lnTo>
                    <a:pt x="2037" y="2822"/>
                  </a:lnTo>
                  <a:lnTo>
                    <a:pt x="1620" y="2989"/>
                  </a:lnTo>
                  <a:cubicBezTo>
                    <a:pt x="1370" y="3084"/>
                    <a:pt x="1191" y="3346"/>
                    <a:pt x="1191" y="3608"/>
                  </a:cubicBezTo>
                  <a:lnTo>
                    <a:pt x="1191" y="4453"/>
                  </a:lnTo>
                  <a:lnTo>
                    <a:pt x="310" y="4453"/>
                  </a:lnTo>
                  <a:lnTo>
                    <a:pt x="310" y="334"/>
                  </a:lnTo>
                  <a:lnTo>
                    <a:pt x="667" y="334"/>
                  </a:lnTo>
                  <a:cubicBezTo>
                    <a:pt x="763" y="334"/>
                    <a:pt x="834" y="262"/>
                    <a:pt x="834" y="167"/>
                  </a:cubicBezTo>
                  <a:cubicBezTo>
                    <a:pt x="834" y="84"/>
                    <a:pt x="763" y="0"/>
                    <a:pt x="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4" name="Google Shape;13294;p64"/>
            <p:cNvSpPr/>
            <p:nvPr/>
          </p:nvSpPr>
          <p:spPr>
            <a:xfrm>
              <a:off x="2278533" y="2937377"/>
              <a:ext cx="346788" cy="254704"/>
            </a:xfrm>
            <a:custGeom>
              <a:avLst/>
              <a:gdLst/>
              <a:ahLst/>
              <a:cxnLst/>
              <a:rect l="l" t="t" r="r" b="b"/>
              <a:pathLst>
                <a:path w="10895" h="8002" extrusionOk="0">
                  <a:moveTo>
                    <a:pt x="9871" y="310"/>
                  </a:moveTo>
                  <a:cubicBezTo>
                    <a:pt x="9978" y="310"/>
                    <a:pt x="10049" y="393"/>
                    <a:pt x="10049" y="489"/>
                  </a:cubicBezTo>
                  <a:lnTo>
                    <a:pt x="10049" y="6799"/>
                  </a:lnTo>
                  <a:lnTo>
                    <a:pt x="9692" y="6799"/>
                  </a:lnTo>
                  <a:cubicBezTo>
                    <a:pt x="9609" y="6799"/>
                    <a:pt x="9525" y="6882"/>
                    <a:pt x="9525" y="6966"/>
                  </a:cubicBezTo>
                  <a:cubicBezTo>
                    <a:pt x="9525" y="7061"/>
                    <a:pt x="9609" y="7132"/>
                    <a:pt x="9692" y="7132"/>
                  </a:cubicBezTo>
                  <a:lnTo>
                    <a:pt x="10537" y="7132"/>
                  </a:lnTo>
                  <a:cubicBezTo>
                    <a:pt x="10537" y="7132"/>
                    <a:pt x="10561" y="7132"/>
                    <a:pt x="10561" y="7144"/>
                  </a:cubicBezTo>
                  <a:lnTo>
                    <a:pt x="10561" y="7490"/>
                  </a:lnTo>
                  <a:cubicBezTo>
                    <a:pt x="10573" y="7585"/>
                    <a:pt x="10478" y="7668"/>
                    <a:pt x="10394" y="7668"/>
                  </a:cubicBezTo>
                  <a:lnTo>
                    <a:pt x="512" y="7668"/>
                  </a:lnTo>
                  <a:cubicBezTo>
                    <a:pt x="405" y="7668"/>
                    <a:pt x="334" y="7597"/>
                    <a:pt x="334" y="7490"/>
                  </a:cubicBezTo>
                  <a:lnTo>
                    <a:pt x="334" y="7144"/>
                  </a:lnTo>
                  <a:cubicBezTo>
                    <a:pt x="334" y="7144"/>
                    <a:pt x="334" y="7132"/>
                    <a:pt x="346" y="7132"/>
                  </a:cubicBezTo>
                  <a:lnTo>
                    <a:pt x="9037" y="7132"/>
                  </a:lnTo>
                  <a:cubicBezTo>
                    <a:pt x="9132" y="7132"/>
                    <a:pt x="9204" y="7061"/>
                    <a:pt x="9204" y="6966"/>
                  </a:cubicBezTo>
                  <a:cubicBezTo>
                    <a:pt x="9204" y="6882"/>
                    <a:pt x="9132" y="6799"/>
                    <a:pt x="9037" y="6799"/>
                  </a:cubicBezTo>
                  <a:lnTo>
                    <a:pt x="858" y="6799"/>
                  </a:lnTo>
                  <a:lnTo>
                    <a:pt x="858" y="489"/>
                  </a:lnTo>
                  <a:cubicBezTo>
                    <a:pt x="858" y="393"/>
                    <a:pt x="929" y="310"/>
                    <a:pt x="1036" y="310"/>
                  </a:cubicBezTo>
                  <a:close/>
                  <a:moveTo>
                    <a:pt x="1012" y="0"/>
                  </a:moveTo>
                  <a:cubicBezTo>
                    <a:pt x="738" y="0"/>
                    <a:pt x="512" y="227"/>
                    <a:pt x="512" y="512"/>
                  </a:cubicBezTo>
                  <a:lnTo>
                    <a:pt x="512" y="6823"/>
                  </a:lnTo>
                  <a:lnTo>
                    <a:pt x="334" y="6823"/>
                  </a:lnTo>
                  <a:cubicBezTo>
                    <a:pt x="155" y="6823"/>
                    <a:pt x="0" y="6966"/>
                    <a:pt x="0" y="7144"/>
                  </a:cubicBezTo>
                  <a:lnTo>
                    <a:pt x="0" y="7490"/>
                  </a:lnTo>
                  <a:cubicBezTo>
                    <a:pt x="0" y="7775"/>
                    <a:pt x="226" y="8001"/>
                    <a:pt x="512" y="8001"/>
                  </a:cubicBezTo>
                  <a:lnTo>
                    <a:pt x="10394" y="8001"/>
                  </a:lnTo>
                  <a:cubicBezTo>
                    <a:pt x="10680" y="8001"/>
                    <a:pt x="10894" y="7775"/>
                    <a:pt x="10894" y="7490"/>
                  </a:cubicBezTo>
                  <a:lnTo>
                    <a:pt x="10894" y="7144"/>
                  </a:lnTo>
                  <a:cubicBezTo>
                    <a:pt x="10883" y="6966"/>
                    <a:pt x="10728" y="6823"/>
                    <a:pt x="10561" y="6823"/>
                  </a:cubicBezTo>
                  <a:lnTo>
                    <a:pt x="10383" y="6823"/>
                  </a:lnTo>
                  <a:lnTo>
                    <a:pt x="10383" y="512"/>
                  </a:lnTo>
                  <a:cubicBezTo>
                    <a:pt x="10383" y="227"/>
                    <a:pt x="10156" y="0"/>
                    <a:pt x="9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95" name="Google Shape;13295;p64"/>
          <p:cNvSpPr/>
          <p:nvPr/>
        </p:nvSpPr>
        <p:spPr>
          <a:xfrm>
            <a:off x="3227863" y="2891128"/>
            <a:ext cx="347552" cy="346438"/>
          </a:xfrm>
          <a:custGeom>
            <a:avLst/>
            <a:gdLst/>
            <a:ahLst/>
            <a:cxnLst/>
            <a:rect l="l" t="t" r="r" b="b"/>
            <a:pathLst>
              <a:path w="10919" h="10884" extrusionOk="0">
                <a:moveTo>
                  <a:pt x="9561" y="561"/>
                </a:moveTo>
                <a:lnTo>
                  <a:pt x="9561" y="1203"/>
                </a:lnTo>
                <a:cubicBezTo>
                  <a:pt x="9561" y="1299"/>
                  <a:pt x="9633" y="1370"/>
                  <a:pt x="9728" y="1370"/>
                </a:cubicBezTo>
                <a:lnTo>
                  <a:pt x="10359" y="1370"/>
                </a:lnTo>
                <a:lnTo>
                  <a:pt x="8966" y="2739"/>
                </a:lnTo>
                <a:lnTo>
                  <a:pt x="8394" y="2739"/>
                </a:lnTo>
                <a:lnTo>
                  <a:pt x="9323" y="1811"/>
                </a:lnTo>
                <a:cubicBezTo>
                  <a:pt x="9383" y="1751"/>
                  <a:pt x="9383" y="1644"/>
                  <a:pt x="9323" y="1584"/>
                </a:cubicBezTo>
                <a:cubicBezTo>
                  <a:pt x="9293" y="1555"/>
                  <a:pt x="9252" y="1540"/>
                  <a:pt x="9210" y="1540"/>
                </a:cubicBezTo>
                <a:cubicBezTo>
                  <a:pt x="9168" y="1540"/>
                  <a:pt x="9127" y="1555"/>
                  <a:pt x="9097" y="1584"/>
                </a:cubicBezTo>
                <a:lnTo>
                  <a:pt x="8180" y="2513"/>
                </a:lnTo>
                <a:lnTo>
                  <a:pt x="8180" y="1954"/>
                </a:lnTo>
                <a:lnTo>
                  <a:pt x="9561" y="561"/>
                </a:lnTo>
                <a:close/>
                <a:moveTo>
                  <a:pt x="4441" y="2382"/>
                </a:moveTo>
                <a:cubicBezTo>
                  <a:pt x="5513" y="2382"/>
                  <a:pt x="6489" y="2799"/>
                  <a:pt x="7228" y="3466"/>
                </a:cubicBezTo>
                <a:lnTo>
                  <a:pt x="4334" y="6347"/>
                </a:lnTo>
                <a:cubicBezTo>
                  <a:pt x="4275" y="6406"/>
                  <a:pt x="4275" y="6514"/>
                  <a:pt x="4334" y="6573"/>
                </a:cubicBezTo>
                <a:cubicBezTo>
                  <a:pt x="4370" y="6609"/>
                  <a:pt x="4406" y="6621"/>
                  <a:pt x="4453" y="6621"/>
                </a:cubicBezTo>
                <a:cubicBezTo>
                  <a:pt x="4501" y="6621"/>
                  <a:pt x="4525" y="6609"/>
                  <a:pt x="4572" y="6573"/>
                </a:cubicBezTo>
                <a:lnTo>
                  <a:pt x="5287" y="5859"/>
                </a:lnTo>
                <a:cubicBezTo>
                  <a:pt x="5418" y="6037"/>
                  <a:pt x="5477" y="6252"/>
                  <a:pt x="5477" y="6478"/>
                </a:cubicBezTo>
                <a:cubicBezTo>
                  <a:pt x="5477" y="7038"/>
                  <a:pt x="5013" y="7502"/>
                  <a:pt x="4453" y="7502"/>
                </a:cubicBezTo>
                <a:cubicBezTo>
                  <a:pt x="3894" y="7502"/>
                  <a:pt x="3429" y="7038"/>
                  <a:pt x="3429" y="6478"/>
                </a:cubicBezTo>
                <a:cubicBezTo>
                  <a:pt x="3429" y="5906"/>
                  <a:pt x="3894" y="5442"/>
                  <a:pt x="4453" y="5442"/>
                </a:cubicBezTo>
                <a:cubicBezTo>
                  <a:pt x="4513" y="5442"/>
                  <a:pt x="4584" y="5442"/>
                  <a:pt x="4644" y="5466"/>
                </a:cubicBezTo>
                <a:cubicBezTo>
                  <a:pt x="4652" y="5467"/>
                  <a:pt x="4660" y="5467"/>
                  <a:pt x="4668" y="5467"/>
                </a:cubicBezTo>
                <a:cubicBezTo>
                  <a:pt x="4751" y="5467"/>
                  <a:pt x="4813" y="5410"/>
                  <a:pt x="4834" y="5323"/>
                </a:cubicBezTo>
                <a:cubicBezTo>
                  <a:pt x="4858" y="5240"/>
                  <a:pt x="4799" y="5168"/>
                  <a:pt x="4703" y="5133"/>
                </a:cubicBezTo>
                <a:cubicBezTo>
                  <a:pt x="4620" y="5121"/>
                  <a:pt x="4537" y="5109"/>
                  <a:pt x="4453" y="5109"/>
                </a:cubicBezTo>
                <a:cubicBezTo>
                  <a:pt x="3703" y="5109"/>
                  <a:pt x="3096" y="5716"/>
                  <a:pt x="3096" y="6454"/>
                </a:cubicBezTo>
                <a:cubicBezTo>
                  <a:pt x="3096" y="7204"/>
                  <a:pt x="3703" y="7811"/>
                  <a:pt x="4453" y="7811"/>
                </a:cubicBezTo>
                <a:cubicBezTo>
                  <a:pt x="5192" y="7811"/>
                  <a:pt x="5811" y="7204"/>
                  <a:pt x="5811" y="6454"/>
                </a:cubicBezTo>
                <a:cubicBezTo>
                  <a:pt x="5811" y="6145"/>
                  <a:pt x="5704" y="5859"/>
                  <a:pt x="5525" y="5621"/>
                </a:cubicBezTo>
                <a:lnTo>
                  <a:pt x="6025" y="5121"/>
                </a:lnTo>
                <a:cubicBezTo>
                  <a:pt x="6346" y="5490"/>
                  <a:pt x="6525" y="5966"/>
                  <a:pt x="6525" y="6454"/>
                </a:cubicBezTo>
                <a:cubicBezTo>
                  <a:pt x="6525" y="7585"/>
                  <a:pt x="5596" y="8514"/>
                  <a:pt x="4465" y="8514"/>
                </a:cubicBezTo>
                <a:cubicBezTo>
                  <a:pt x="3334" y="8514"/>
                  <a:pt x="2417" y="7585"/>
                  <a:pt x="2417" y="6454"/>
                </a:cubicBezTo>
                <a:cubicBezTo>
                  <a:pt x="2417" y="5323"/>
                  <a:pt x="3334" y="4406"/>
                  <a:pt x="4465" y="4406"/>
                </a:cubicBezTo>
                <a:cubicBezTo>
                  <a:pt x="4811" y="4406"/>
                  <a:pt x="5156" y="4490"/>
                  <a:pt x="5453" y="4656"/>
                </a:cubicBezTo>
                <a:cubicBezTo>
                  <a:pt x="5476" y="4671"/>
                  <a:pt x="5502" y="4678"/>
                  <a:pt x="5528" y="4678"/>
                </a:cubicBezTo>
                <a:cubicBezTo>
                  <a:pt x="5585" y="4678"/>
                  <a:pt x="5643" y="4646"/>
                  <a:pt x="5668" y="4597"/>
                </a:cubicBezTo>
                <a:cubicBezTo>
                  <a:pt x="5715" y="4525"/>
                  <a:pt x="5692" y="4418"/>
                  <a:pt x="5608" y="4371"/>
                </a:cubicBezTo>
                <a:cubicBezTo>
                  <a:pt x="5275" y="4180"/>
                  <a:pt x="4882" y="4097"/>
                  <a:pt x="4477" y="4097"/>
                </a:cubicBezTo>
                <a:cubicBezTo>
                  <a:pt x="3167" y="4097"/>
                  <a:pt x="2120" y="5168"/>
                  <a:pt x="2120" y="6454"/>
                </a:cubicBezTo>
                <a:cubicBezTo>
                  <a:pt x="2120" y="7764"/>
                  <a:pt x="3191" y="8823"/>
                  <a:pt x="4477" y="8823"/>
                </a:cubicBezTo>
                <a:cubicBezTo>
                  <a:pt x="5787" y="8823"/>
                  <a:pt x="6847" y="7752"/>
                  <a:pt x="6847" y="6454"/>
                </a:cubicBezTo>
                <a:cubicBezTo>
                  <a:pt x="6847" y="5883"/>
                  <a:pt x="6644" y="5323"/>
                  <a:pt x="6263" y="4894"/>
                </a:cubicBezTo>
                <a:lnTo>
                  <a:pt x="6763" y="4406"/>
                </a:lnTo>
                <a:cubicBezTo>
                  <a:pt x="7263" y="4966"/>
                  <a:pt x="7549" y="5704"/>
                  <a:pt x="7549" y="6454"/>
                </a:cubicBezTo>
                <a:cubicBezTo>
                  <a:pt x="7549" y="8157"/>
                  <a:pt x="6168" y="9538"/>
                  <a:pt x="4465" y="9538"/>
                </a:cubicBezTo>
                <a:cubicBezTo>
                  <a:pt x="2775" y="9538"/>
                  <a:pt x="1382" y="8157"/>
                  <a:pt x="1382" y="6454"/>
                </a:cubicBezTo>
                <a:cubicBezTo>
                  <a:pt x="1382" y="4763"/>
                  <a:pt x="2775" y="3382"/>
                  <a:pt x="4465" y="3382"/>
                </a:cubicBezTo>
                <a:cubicBezTo>
                  <a:pt x="5061" y="3382"/>
                  <a:pt x="5632" y="3537"/>
                  <a:pt x="6132" y="3870"/>
                </a:cubicBezTo>
                <a:cubicBezTo>
                  <a:pt x="6157" y="3887"/>
                  <a:pt x="6187" y="3895"/>
                  <a:pt x="6217" y="3895"/>
                </a:cubicBezTo>
                <a:cubicBezTo>
                  <a:pt x="6272" y="3895"/>
                  <a:pt x="6328" y="3869"/>
                  <a:pt x="6358" y="3823"/>
                </a:cubicBezTo>
                <a:cubicBezTo>
                  <a:pt x="6406" y="3751"/>
                  <a:pt x="6382" y="3644"/>
                  <a:pt x="6311" y="3597"/>
                </a:cubicBezTo>
                <a:cubicBezTo>
                  <a:pt x="5763" y="3239"/>
                  <a:pt x="5132" y="3061"/>
                  <a:pt x="4477" y="3061"/>
                </a:cubicBezTo>
                <a:cubicBezTo>
                  <a:pt x="2608" y="3061"/>
                  <a:pt x="1084" y="4585"/>
                  <a:pt x="1084" y="6454"/>
                </a:cubicBezTo>
                <a:cubicBezTo>
                  <a:pt x="1084" y="8335"/>
                  <a:pt x="2608" y="9847"/>
                  <a:pt x="4477" y="9847"/>
                </a:cubicBezTo>
                <a:cubicBezTo>
                  <a:pt x="6358" y="9847"/>
                  <a:pt x="7870" y="8335"/>
                  <a:pt x="7870" y="6454"/>
                </a:cubicBezTo>
                <a:cubicBezTo>
                  <a:pt x="7870" y="5609"/>
                  <a:pt x="7561" y="4811"/>
                  <a:pt x="7001" y="4168"/>
                </a:cubicBezTo>
                <a:lnTo>
                  <a:pt x="7489" y="3680"/>
                </a:lnTo>
                <a:cubicBezTo>
                  <a:pt x="8120" y="4418"/>
                  <a:pt x="8537" y="5394"/>
                  <a:pt x="8537" y="6478"/>
                </a:cubicBezTo>
                <a:cubicBezTo>
                  <a:pt x="8537" y="8740"/>
                  <a:pt x="6692" y="10562"/>
                  <a:pt x="4441" y="10562"/>
                </a:cubicBezTo>
                <a:cubicBezTo>
                  <a:pt x="2191" y="10562"/>
                  <a:pt x="346" y="8716"/>
                  <a:pt x="346" y="6478"/>
                </a:cubicBezTo>
                <a:cubicBezTo>
                  <a:pt x="346" y="4228"/>
                  <a:pt x="2191" y="2382"/>
                  <a:pt x="4441" y="2382"/>
                </a:cubicBezTo>
                <a:close/>
                <a:moveTo>
                  <a:pt x="9701" y="1"/>
                </a:moveTo>
                <a:cubicBezTo>
                  <a:pt x="9659" y="1"/>
                  <a:pt x="9617" y="17"/>
                  <a:pt x="9585" y="49"/>
                </a:cubicBezTo>
                <a:lnTo>
                  <a:pt x="7894" y="1739"/>
                </a:lnTo>
                <a:cubicBezTo>
                  <a:pt x="7859" y="1775"/>
                  <a:pt x="7847" y="1811"/>
                  <a:pt x="7847" y="1858"/>
                </a:cubicBezTo>
                <a:lnTo>
                  <a:pt x="7847" y="2811"/>
                </a:lnTo>
                <a:lnTo>
                  <a:pt x="7430" y="3228"/>
                </a:lnTo>
                <a:cubicBezTo>
                  <a:pt x="6644" y="2501"/>
                  <a:pt x="5584" y="2037"/>
                  <a:pt x="4430" y="2037"/>
                </a:cubicBezTo>
                <a:cubicBezTo>
                  <a:pt x="1989" y="2037"/>
                  <a:pt x="0" y="4013"/>
                  <a:pt x="0" y="6454"/>
                </a:cubicBezTo>
                <a:cubicBezTo>
                  <a:pt x="0" y="8895"/>
                  <a:pt x="1989" y="10883"/>
                  <a:pt x="4430" y="10883"/>
                </a:cubicBezTo>
                <a:cubicBezTo>
                  <a:pt x="6870" y="10883"/>
                  <a:pt x="8847" y="8895"/>
                  <a:pt x="8847" y="6454"/>
                </a:cubicBezTo>
                <a:cubicBezTo>
                  <a:pt x="8847" y="5299"/>
                  <a:pt x="8394" y="4240"/>
                  <a:pt x="7656" y="3454"/>
                </a:cubicBezTo>
                <a:lnTo>
                  <a:pt x="8073" y="3037"/>
                </a:lnTo>
                <a:lnTo>
                  <a:pt x="9025" y="3037"/>
                </a:lnTo>
                <a:cubicBezTo>
                  <a:pt x="9073" y="3037"/>
                  <a:pt x="9109" y="3013"/>
                  <a:pt x="9144" y="2989"/>
                </a:cubicBezTo>
                <a:lnTo>
                  <a:pt x="10835" y="1299"/>
                </a:lnTo>
                <a:cubicBezTo>
                  <a:pt x="10895" y="1251"/>
                  <a:pt x="10918" y="1192"/>
                  <a:pt x="10883" y="1132"/>
                </a:cubicBezTo>
                <a:cubicBezTo>
                  <a:pt x="10859" y="1072"/>
                  <a:pt x="10799" y="1025"/>
                  <a:pt x="10740" y="1025"/>
                </a:cubicBezTo>
                <a:lnTo>
                  <a:pt x="9871" y="1025"/>
                </a:lnTo>
                <a:lnTo>
                  <a:pt x="9871" y="168"/>
                </a:lnTo>
                <a:cubicBezTo>
                  <a:pt x="9871" y="108"/>
                  <a:pt x="9823" y="49"/>
                  <a:pt x="9764" y="13"/>
                </a:cubicBezTo>
                <a:cubicBezTo>
                  <a:pt x="9744" y="5"/>
                  <a:pt x="9723" y="1"/>
                  <a:pt x="97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296" name="Google Shape;13296;p64"/>
          <p:cNvGrpSpPr/>
          <p:nvPr/>
        </p:nvGrpSpPr>
        <p:grpSpPr>
          <a:xfrm>
            <a:off x="1836637" y="2891510"/>
            <a:ext cx="286152" cy="346438"/>
            <a:chOff x="1836637" y="2891510"/>
            <a:chExt cx="286152" cy="346438"/>
          </a:xfrm>
        </p:grpSpPr>
        <p:sp>
          <p:nvSpPr>
            <p:cNvPr id="13297" name="Google Shape;13297;p64"/>
            <p:cNvSpPr/>
            <p:nvPr/>
          </p:nvSpPr>
          <p:spPr>
            <a:xfrm>
              <a:off x="1836637" y="3059413"/>
              <a:ext cx="286152" cy="178534"/>
            </a:xfrm>
            <a:custGeom>
              <a:avLst/>
              <a:gdLst/>
              <a:ahLst/>
              <a:cxnLst/>
              <a:rect l="l" t="t" r="r" b="b"/>
              <a:pathLst>
                <a:path w="8990" h="5609" extrusionOk="0">
                  <a:moveTo>
                    <a:pt x="3072" y="322"/>
                  </a:moveTo>
                  <a:cubicBezTo>
                    <a:pt x="3156" y="322"/>
                    <a:pt x="3251" y="357"/>
                    <a:pt x="3322" y="429"/>
                  </a:cubicBezTo>
                  <a:cubicBezTo>
                    <a:pt x="3382" y="488"/>
                    <a:pt x="3430" y="572"/>
                    <a:pt x="3430" y="679"/>
                  </a:cubicBezTo>
                  <a:lnTo>
                    <a:pt x="3430" y="1108"/>
                  </a:lnTo>
                  <a:cubicBezTo>
                    <a:pt x="3406" y="1286"/>
                    <a:pt x="3311" y="1453"/>
                    <a:pt x="3144" y="1560"/>
                  </a:cubicBezTo>
                  <a:cubicBezTo>
                    <a:pt x="3096" y="1584"/>
                    <a:pt x="3072" y="1631"/>
                    <a:pt x="3072" y="1691"/>
                  </a:cubicBezTo>
                  <a:lnTo>
                    <a:pt x="3072" y="1870"/>
                  </a:lnTo>
                  <a:lnTo>
                    <a:pt x="2715" y="1870"/>
                  </a:lnTo>
                  <a:lnTo>
                    <a:pt x="2715" y="1691"/>
                  </a:lnTo>
                  <a:cubicBezTo>
                    <a:pt x="2715" y="1631"/>
                    <a:pt x="2679" y="1584"/>
                    <a:pt x="2632" y="1560"/>
                  </a:cubicBezTo>
                  <a:cubicBezTo>
                    <a:pt x="2477" y="1465"/>
                    <a:pt x="2370" y="1286"/>
                    <a:pt x="2370" y="1108"/>
                  </a:cubicBezTo>
                  <a:lnTo>
                    <a:pt x="2370" y="679"/>
                  </a:lnTo>
                  <a:cubicBezTo>
                    <a:pt x="2370" y="488"/>
                    <a:pt x="2537" y="322"/>
                    <a:pt x="2727" y="322"/>
                  </a:cubicBezTo>
                  <a:close/>
                  <a:moveTo>
                    <a:pt x="6132" y="322"/>
                  </a:moveTo>
                  <a:cubicBezTo>
                    <a:pt x="6228" y="322"/>
                    <a:pt x="6311" y="357"/>
                    <a:pt x="6382" y="429"/>
                  </a:cubicBezTo>
                  <a:cubicBezTo>
                    <a:pt x="6442" y="488"/>
                    <a:pt x="6489" y="572"/>
                    <a:pt x="6489" y="679"/>
                  </a:cubicBezTo>
                  <a:lnTo>
                    <a:pt x="6489" y="1108"/>
                  </a:lnTo>
                  <a:cubicBezTo>
                    <a:pt x="6478" y="1286"/>
                    <a:pt x="6370" y="1453"/>
                    <a:pt x="6204" y="1560"/>
                  </a:cubicBezTo>
                  <a:cubicBezTo>
                    <a:pt x="6168" y="1584"/>
                    <a:pt x="6132" y="1631"/>
                    <a:pt x="6132" y="1691"/>
                  </a:cubicBezTo>
                  <a:lnTo>
                    <a:pt x="6132" y="1870"/>
                  </a:lnTo>
                  <a:lnTo>
                    <a:pt x="5775" y="1870"/>
                  </a:lnTo>
                  <a:lnTo>
                    <a:pt x="5775" y="1691"/>
                  </a:lnTo>
                  <a:cubicBezTo>
                    <a:pt x="5775" y="1631"/>
                    <a:pt x="5751" y="1584"/>
                    <a:pt x="5704" y="1560"/>
                  </a:cubicBezTo>
                  <a:cubicBezTo>
                    <a:pt x="5537" y="1465"/>
                    <a:pt x="5430" y="1286"/>
                    <a:pt x="5430" y="1108"/>
                  </a:cubicBezTo>
                  <a:lnTo>
                    <a:pt x="5430" y="679"/>
                  </a:lnTo>
                  <a:cubicBezTo>
                    <a:pt x="5430" y="488"/>
                    <a:pt x="5597" y="322"/>
                    <a:pt x="5787" y="322"/>
                  </a:cubicBezTo>
                  <a:close/>
                  <a:moveTo>
                    <a:pt x="1536" y="2024"/>
                  </a:moveTo>
                  <a:cubicBezTo>
                    <a:pt x="1620" y="2024"/>
                    <a:pt x="1715" y="2048"/>
                    <a:pt x="1787" y="2120"/>
                  </a:cubicBezTo>
                  <a:cubicBezTo>
                    <a:pt x="1846" y="2179"/>
                    <a:pt x="1894" y="2274"/>
                    <a:pt x="1894" y="2382"/>
                  </a:cubicBezTo>
                  <a:lnTo>
                    <a:pt x="1894" y="2810"/>
                  </a:lnTo>
                  <a:lnTo>
                    <a:pt x="1882" y="2810"/>
                  </a:lnTo>
                  <a:cubicBezTo>
                    <a:pt x="1882" y="2989"/>
                    <a:pt x="1775" y="3167"/>
                    <a:pt x="1608" y="3251"/>
                  </a:cubicBezTo>
                  <a:cubicBezTo>
                    <a:pt x="1560" y="3286"/>
                    <a:pt x="1536" y="3334"/>
                    <a:pt x="1536" y="3382"/>
                  </a:cubicBezTo>
                  <a:lnTo>
                    <a:pt x="1536" y="3572"/>
                  </a:lnTo>
                  <a:lnTo>
                    <a:pt x="1179" y="3572"/>
                  </a:lnTo>
                  <a:lnTo>
                    <a:pt x="1179" y="3382"/>
                  </a:lnTo>
                  <a:cubicBezTo>
                    <a:pt x="1179" y="3334"/>
                    <a:pt x="1144" y="3286"/>
                    <a:pt x="1108" y="3251"/>
                  </a:cubicBezTo>
                  <a:cubicBezTo>
                    <a:pt x="941" y="3167"/>
                    <a:pt x="834" y="2989"/>
                    <a:pt x="834" y="2810"/>
                  </a:cubicBezTo>
                  <a:lnTo>
                    <a:pt x="834" y="2382"/>
                  </a:lnTo>
                  <a:cubicBezTo>
                    <a:pt x="834" y="2179"/>
                    <a:pt x="1001" y="2024"/>
                    <a:pt x="1191" y="2024"/>
                  </a:cubicBezTo>
                  <a:close/>
                  <a:moveTo>
                    <a:pt x="4596" y="2024"/>
                  </a:moveTo>
                  <a:cubicBezTo>
                    <a:pt x="4692" y="2024"/>
                    <a:pt x="4775" y="2048"/>
                    <a:pt x="4858" y="2120"/>
                  </a:cubicBezTo>
                  <a:cubicBezTo>
                    <a:pt x="4918" y="2179"/>
                    <a:pt x="4954" y="2274"/>
                    <a:pt x="4954" y="2382"/>
                  </a:cubicBezTo>
                  <a:lnTo>
                    <a:pt x="4954" y="2810"/>
                  </a:lnTo>
                  <a:cubicBezTo>
                    <a:pt x="4942" y="3001"/>
                    <a:pt x="4835" y="3167"/>
                    <a:pt x="4680" y="3251"/>
                  </a:cubicBezTo>
                  <a:cubicBezTo>
                    <a:pt x="4632" y="3286"/>
                    <a:pt x="4596" y="3334"/>
                    <a:pt x="4596" y="3382"/>
                  </a:cubicBezTo>
                  <a:lnTo>
                    <a:pt x="4596" y="3572"/>
                  </a:lnTo>
                  <a:lnTo>
                    <a:pt x="4239" y="3572"/>
                  </a:lnTo>
                  <a:lnTo>
                    <a:pt x="4239" y="3382"/>
                  </a:lnTo>
                  <a:cubicBezTo>
                    <a:pt x="4239" y="3334"/>
                    <a:pt x="4215" y="3286"/>
                    <a:pt x="4168" y="3251"/>
                  </a:cubicBezTo>
                  <a:cubicBezTo>
                    <a:pt x="4001" y="3167"/>
                    <a:pt x="3906" y="2989"/>
                    <a:pt x="3906" y="2810"/>
                  </a:cubicBezTo>
                  <a:lnTo>
                    <a:pt x="3906" y="2382"/>
                  </a:lnTo>
                  <a:cubicBezTo>
                    <a:pt x="3906" y="2179"/>
                    <a:pt x="4061" y="2024"/>
                    <a:pt x="4263" y="2024"/>
                  </a:cubicBezTo>
                  <a:close/>
                  <a:moveTo>
                    <a:pt x="7668" y="2024"/>
                  </a:moveTo>
                  <a:cubicBezTo>
                    <a:pt x="7752" y="2024"/>
                    <a:pt x="7847" y="2048"/>
                    <a:pt x="7918" y="2120"/>
                  </a:cubicBezTo>
                  <a:cubicBezTo>
                    <a:pt x="7978" y="2179"/>
                    <a:pt x="8025" y="2274"/>
                    <a:pt x="8025" y="2382"/>
                  </a:cubicBezTo>
                  <a:lnTo>
                    <a:pt x="8025" y="2810"/>
                  </a:lnTo>
                  <a:cubicBezTo>
                    <a:pt x="8013" y="3001"/>
                    <a:pt x="7906" y="3167"/>
                    <a:pt x="7740" y="3251"/>
                  </a:cubicBezTo>
                  <a:cubicBezTo>
                    <a:pt x="7692" y="3286"/>
                    <a:pt x="7668" y="3334"/>
                    <a:pt x="7668" y="3382"/>
                  </a:cubicBezTo>
                  <a:lnTo>
                    <a:pt x="7668" y="3572"/>
                  </a:lnTo>
                  <a:lnTo>
                    <a:pt x="7311" y="3572"/>
                  </a:lnTo>
                  <a:lnTo>
                    <a:pt x="7311" y="3382"/>
                  </a:lnTo>
                  <a:cubicBezTo>
                    <a:pt x="7311" y="3334"/>
                    <a:pt x="7275" y="3286"/>
                    <a:pt x="7240" y="3251"/>
                  </a:cubicBezTo>
                  <a:cubicBezTo>
                    <a:pt x="7073" y="3167"/>
                    <a:pt x="6966" y="2989"/>
                    <a:pt x="6966" y="2810"/>
                  </a:cubicBezTo>
                  <a:lnTo>
                    <a:pt x="6966" y="2382"/>
                  </a:lnTo>
                  <a:cubicBezTo>
                    <a:pt x="6966" y="2179"/>
                    <a:pt x="7132" y="2024"/>
                    <a:pt x="7323" y="2024"/>
                  </a:cubicBezTo>
                  <a:close/>
                  <a:moveTo>
                    <a:pt x="2715" y="0"/>
                  </a:moveTo>
                  <a:cubicBezTo>
                    <a:pt x="2334" y="0"/>
                    <a:pt x="2037" y="298"/>
                    <a:pt x="2037" y="667"/>
                  </a:cubicBezTo>
                  <a:lnTo>
                    <a:pt x="2037" y="1096"/>
                  </a:lnTo>
                  <a:cubicBezTo>
                    <a:pt x="2037" y="1370"/>
                    <a:pt x="2179" y="1620"/>
                    <a:pt x="2382" y="1762"/>
                  </a:cubicBezTo>
                  <a:lnTo>
                    <a:pt x="2382" y="1917"/>
                  </a:lnTo>
                  <a:lnTo>
                    <a:pt x="2096" y="2036"/>
                  </a:lnTo>
                  <a:cubicBezTo>
                    <a:pt x="2072" y="1989"/>
                    <a:pt x="2037" y="1941"/>
                    <a:pt x="2001" y="1905"/>
                  </a:cubicBezTo>
                  <a:cubicBezTo>
                    <a:pt x="1858" y="1786"/>
                    <a:pt x="1703" y="1703"/>
                    <a:pt x="1525" y="1703"/>
                  </a:cubicBezTo>
                  <a:lnTo>
                    <a:pt x="1179" y="1703"/>
                  </a:lnTo>
                  <a:cubicBezTo>
                    <a:pt x="810" y="1703"/>
                    <a:pt x="513" y="2001"/>
                    <a:pt x="513" y="2382"/>
                  </a:cubicBezTo>
                  <a:lnTo>
                    <a:pt x="513" y="2810"/>
                  </a:lnTo>
                  <a:cubicBezTo>
                    <a:pt x="513" y="3072"/>
                    <a:pt x="644" y="3334"/>
                    <a:pt x="846" y="3477"/>
                  </a:cubicBezTo>
                  <a:lnTo>
                    <a:pt x="846" y="3632"/>
                  </a:lnTo>
                  <a:lnTo>
                    <a:pt x="417" y="3810"/>
                  </a:lnTo>
                  <a:cubicBezTo>
                    <a:pt x="167" y="3906"/>
                    <a:pt x="1" y="4144"/>
                    <a:pt x="1" y="4429"/>
                  </a:cubicBezTo>
                  <a:lnTo>
                    <a:pt x="1" y="5441"/>
                  </a:lnTo>
                  <a:cubicBezTo>
                    <a:pt x="1" y="5537"/>
                    <a:pt x="72" y="5608"/>
                    <a:pt x="167" y="5608"/>
                  </a:cubicBezTo>
                  <a:cubicBezTo>
                    <a:pt x="251" y="5608"/>
                    <a:pt x="334" y="5537"/>
                    <a:pt x="334" y="5441"/>
                  </a:cubicBezTo>
                  <a:lnTo>
                    <a:pt x="334" y="4429"/>
                  </a:lnTo>
                  <a:cubicBezTo>
                    <a:pt x="334" y="4287"/>
                    <a:pt x="417" y="4167"/>
                    <a:pt x="548" y="4108"/>
                  </a:cubicBezTo>
                  <a:lnTo>
                    <a:pt x="1060" y="3906"/>
                  </a:lnTo>
                  <a:lnTo>
                    <a:pt x="1679" y="3906"/>
                  </a:lnTo>
                  <a:lnTo>
                    <a:pt x="2191" y="4108"/>
                  </a:lnTo>
                  <a:cubicBezTo>
                    <a:pt x="2322" y="4167"/>
                    <a:pt x="2418" y="4287"/>
                    <a:pt x="2418" y="4429"/>
                  </a:cubicBezTo>
                  <a:lnTo>
                    <a:pt x="2418" y="5441"/>
                  </a:lnTo>
                  <a:cubicBezTo>
                    <a:pt x="2418" y="5537"/>
                    <a:pt x="2489" y="5608"/>
                    <a:pt x="2572" y="5608"/>
                  </a:cubicBezTo>
                  <a:cubicBezTo>
                    <a:pt x="2668" y="5608"/>
                    <a:pt x="2739" y="5537"/>
                    <a:pt x="2739" y="5441"/>
                  </a:cubicBezTo>
                  <a:lnTo>
                    <a:pt x="2739" y="4429"/>
                  </a:lnTo>
                  <a:cubicBezTo>
                    <a:pt x="2739" y="4144"/>
                    <a:pt x="2572" y="3906"/>
                    <a:pt x="2322" y="3810"/>
                  </a:cubicBezTo>
                  <a:lnTo>
                    <a:pt x="1894" y="3632"/>
                  </a:lnTo>
                  <a:lnTo>
                    <a:pt x="1894" y="3477"/>
                  </a:lnTo>
                  <a:cubicBezTo>
                    <a:pt x="2096" y="3310"/>
                    <a:pt x="2239" y="3072"/>
                    <a:pt x="2239" y="2810"/>
                  </a:cubicBezTo>
                  <a:lnTo>
                    <a:pt x="2239" y="2382"/>
                  </a:lnTo>
                  <a:lnTo>
                    <a:pt x="2239" y="2346"/>
                  </a:lnTo>
                  <a:lnTo>
                    <a:pt x="2620" y="2191"/>
                  </a:lnTo>
                  <a:lnTo>
                    <a:pt x="3251" y="2191"/>
                  </a:lnTo>
                  <a:lnTo>
                    <a:pt x="3632" y="2346"/>
                  </a:lnTo>
                  <a:lnTo>
                    <a:pt x="3632" y="2382"/>
                  </a:lnTo>
                  <a:lnTo>
                    <a:pt x="3632" y="2810"/>
                  </a:lnTo>
                  <a:cubicBezTo>
                    <a:pt x="3632" y="3072"/>
                    <a:pt x="3763" y="3334"/>
                    <a:pt x="3977" y="3477"/>
                  </a:cubicBezTo>
                  <a:lnTo>
                    <a:pt x="3977" y="3632"/>
                  </a:lnTo>
                  <a:lnTo>
                    <a:pt x="3549" y="3810"/>
                  </a:lnTo>
                  <a:cubicBezTo>
                    <a:pt x="3287" y="3906"/>
                    <a:pt x="3132" y="4144"/>
                    <a:pt x="3132" y="4429"/>
                  </a:cubicBezTo>
                  <a:lnTo>
                    <a:pt x="3132" y="5441"/>
                  </a:lnTo>
                  <a:cubicBezTo>
                    <a:pt x="3132" y="5537"/>
                    <a:pt x="3203" y="5608"/>
                    <a:pt x="3287" y="5608"/>
                  </a:cubicBezTo>
                  <a:cubicBezTo>
                    <a:pt x="3382" y="5608"/>
                    <a:pt x="3453" y="5537"/>
                    <a:pt x="3453" y="5441"/>
                  </a:cubicBezTo>
                  <a:lnTo>
                    <a:pt x="3453" y="4429"/>
                  </a:lnTo>
                  <a:cubicBezTo>
                    <a:pt x="3453" y="4287"/>
                    <a:pt x="3549" y="4167"/>
                    <a:pt x="3680" y="4108"/>
                  </a:cubicBezTo>
                  <a:lnTo>
                    <a:pt x="4180" y="3906"/>
                  </a:lnTo>
                  <a:lnTo>
                    <a:pt x="4811" y="3906"/>
                  </a:lnTo>
                  <a:lnTo>
                    <a:pt x="5311" y="4108"/>
                  </a:lnTo>
                  <a:cubicBezTo>
                    <a:pt x="5454" y="4167"/>
                    <a:pt x="5537" y="4287"/>
                    <a:pt x="5537" y="4429"/>
                  </a:cubicBezTo>
                  <a:lnTo>
                    <a:pt x="5537" y="5441"/>
                  </a:lnTo>
                  <a:cubicBezTo>
                    <a:pt x="5537" y="5537"/>
                    <a:pt x="5608" y="5608"/>
                    <a:pt x="5704" y="5608"/>
                  </a:cubicBezTo>
                  <a:cubicBezTo>
                    <a:pt x="5787" y="5608"/>
                    <a:pt x="5870" y="5537"/>
                    <a:pt x="5870" y="5441"/>
                  </a:cubicBezTo>
                  <a:lnTo>
                    <a:pt x="5870" y="4429"/>
                  </a:lnTo>
                  <a:cubicBezTo>
                    <a:pt x="5870" y="4144"/>
                    <a:pt x="5704" y="3906"/>
                    <a:pt x="5454" y="3810"/>
                  </a:cubicBezTo>
                  <a:lnTo>
                    <a:pt x="5013" y="3632"/>
                  </a:lnTo>
                  <a:lnTo>
                    <a:pt x="5013" y="3477"/>
                  </a:lnTo>
                  <a:cubicBezTo>
                    <a:pt x="5227" y="3310"/>
                    <a:pt x="5358" y="3072"/>
                    <a:pt x="5358" y="2810"/>
                  </a:cubicBezTo>
                  <a:lnTo>
                    <a:pt x="5358" y="2382"/>
                  </a:lnTo>
                  <a:lnTo>
                    <a:pt x="5358" y="2346"/>
                  </a:lnTo>
                  <a:lnTo>
                    <a:pt x="5751" y="2191"/>
                  </a:lnTo>
                  <a:lnTo>
                    <a:pt x="6370" y="2191"/>
                  </a:lnTo>
                  <a:lnTo>
                    <a:pt x="6763" y="2346"/>
                  </a:lnTo>
                  <a:lnTo>
                    <a:pt x="6763" y="2382"/>
                  </a:lnTo>
                  <a:lnTo>
                    <a:pt x="6763" y="2810"/>
                  </a:lnTo>
                  <a:cubicBezTo>
                    <a:pt x="6763" y="3072"/>
                    <a:pt x="6894" y="3334"/>
                    <a:pt x="7097" y="3477"/>
                  </a:cubicBezTo>
                  <a:lnTo>
                    <a:pt x="7097" y="3632"/>
                  </a:lnTo>
                  <a:lnTo>
                    <a:pt x="6668" y="3810"/>
                  </a:lnTo>
                  <a:cubicBezTo>
                    <a:pt x="6418" y="3906"/>
                    <a:pt x="6251" y="4144"/>
                    <a:pt x="6251" y="4429"/>
                  </a:cubicBezTo>
                  <a:lnTo>
                    <a:pt x="6251" y="5441"/>
                  </a:lnTo>
                  <a:cubicBezTo>
                    <a:pt x="6251" y="5537"/>
                    <a:pt x="6323" y="5608"/>
                    <a:pt x="6418" y="5608"/>
                  </a:cubicBezTo>
                  <a:cubicBezTo>
                    <a:pt x="6501" y="5608"/>
                    <a:pt x="6585" y="5537"/>
                    <a:pt x="6585" y="5441"/>
                  </a:cubicBezTo>
                  <a:lnTo>
                    <a:pt x="6585" y="4429"/>
                  </a:lnTo>
                  <a:cubicBezTo>
                    <a:pt x="6585" y="4287"/>
                    <a:pt x="6668" y="4167"/>
                    <a:pt x="6799" y="4108"/>
                  </a:cubicBezTo>
                  <a:lnTo>
                    <a:pt x="7311" y="3906"/>
                  </a:lnTo>
                  <a:lnTo>
                    <a:pt x="7930" y="3906"/>
                  </a:lnTo>
                  <a:lnTo>
                    <a:pt x="8442" y="4108"/>
                  </a:lnTo>
                  <a:cubicBezTo>
                    <a:pt x="8573" y="4167"/>
                    <a:pt x="8668" y="4287"/>
                    <a:pt x="8668" y="4429"/>
                  </a:cubicBezTo>
                  <a:lnTo>
                    <a:pt x="8668" y="5441"/>
                  </a:lnTo>
                  <a:cubicBezTo>
                    <a:pt x="8668" y="5537"/>
                    <a:pt x="8740" y="5608"/>
                    <a:pt x="8823" y="5608"/>
                  </a:cubicBezTo>
                  <a:cubicBezTo>
                    <a:pt x="8918" y="5608"/>
                    <a:pt x="8990" y="5537"/>
                    <a:pt x="8990" y="5441"/>
                  </a:cubicBezTo>
                  <a:lnTo>
                    <a:pt x="8990" y="4429"/>
                  </a:lnTo>
                  <a:cubicBezTo>
                    <a:pt x="8823" y="4144"/>
                    <a:pt x="8668" y="3906"/>
                    <a:pt x="8406" y="3810"/>
                  </a:cubicBezTo>
                  <a:lnTo>
                    <a:pt x="7978" y="3632"/>
                  </a:lnTo>
                  <a:lnTo>
                    <a:pt x="7978" y="3477"/>
                  </a:lnTo>
                  <a:cubicBezTo>
                    <a:pt x="8192" y="3310"/>
                    <a:pt x="8323" y="3072"/>
                    <a:pt x="8323" y="2810"/>
                  </a:cubicBezTo>
                  <a:lnTo>
                    <a:pt x="8323" y="2382"/>
                  </a:lnTo>
                  <a:cubicBezTo>
                    <a:pt x="8323" y="2191"/>
                    <a:pt x="8252" y="2036"/>
                    <a:pt x="8133" y="1893"/>
                  </a:cubicBezTo>
                  <a:cubicBezTo>
                    <a:pt x="7990" y="1786"/>
                    <a:pt x="7835" y="1703"/>
                    <a:pt x="7656" y="1703"/>
                  </a:cubicBezTo>
                  <a:lnTo>
                    <a:pt x="7311" y="1703"/>
                  </a:lnTo>
                  <a:cubicBezTo>
                    <a:pt x="7073" y="1703"/>
                    <a:pt x="6847" y="1846"/>
                    <a:pt x="6728" y="2036"/>
                  </a:cubicBezTo>
                  <a:lnTo>
                    <a:pt x="6442" y="1917"/>
                  </a:lnTo>
                  <a:lnTo>
                    <a:pt x="6442" y="1762"/>
                  </a:lnTo>
                  <a:cubicBezTo>
                    <a:pt x="6656" y="1608"/>
                    <a:pt x="6787" y="1370"/>
                    <a:pt x="6787" y="1096"/>
                  </a:cubicBezTo>
                  <a:lnTo>
                    <a:pt x="6787" y="667"/>
                  </a:lnTo>
                  <a:cubicBezTo>
                    <a:pt x="6787" y="488"/>
                    <a:pt x="6716" y="322"/>
                    <a:pt x="6597" y="191"/>
                  </a:cubicBezTo>
                  <a:cubicBezTo>
                    <a:pt x="6466" y="72"/>
                    <a:pt x="6299" y="0"/>
                    <a:pt x="6120" y="0"/>
                  </a:cubicBezTo>
                  <a:lnTo>
                    <a:pt x="5775" y="0"/>
                  </a:lnTo>
                  <a:cubicBezTo>
                    <a:pt x="5406" y="0"/>
                    <a:pt x="5108" y="298"/>
                    <a:pt x="5108" y="667"/>
                  </a:cubicBezTo>
                  <a:lnTo>
                    <a:pt x="5108" y="1096"/>
                  </a:lnTo>
                  <a:cubicBezTo>
                    <a:pt x="5108" y="1370"/>
                    <a:pt x="5239" y="1620"/>
                    <a:pt x="5454" y="1762"/>
                  </a:cubicBezTo>
                  <a:lnTo>
                    <a:pt x="5454" y="1917"/>
                  </a:lnTo>
                  <a:lnTo>
                    <a:pt x="5168" y="2036"/>
                  </a:lnTo>
                  <a:cubicBezTo>
                    <a:pt x="5132" y="1989"/>
                    <a:pt x="5108" y="1941"/>
                    <a:pt x="5061" y="1905"/>
                  </a:cubicBezTo>
                  <a:cubicBezTo>
                    <a:pt x="4930" y="1786"/>
                    <a:pt x="4763" y="1703"/>
                    <a:pt x="4584" y="1703"/>
                  </a:cubicBezTo>
                  <a:lnTo>
                    <a:pt x="4239" y="1703"/>
                  </a:lnTo>
                  <a:cubicBezTo>
                    <a:pt x="4001" y="1703"/>
                    <a:pt x="3787" y="1846"/>
                    <a:pt x="3668" y="2036"/>
                  </a:cubicBezTo>
                  <a:lnTo>
                    <a:pt x="3382" y="1917"/>
                  </a:lnTo>
                  <a:lnTo>
                    <a:pt x="3382" y="1762"/>
                  </a:lnTo>
                  <a:cubicBezTo>
                    <a:pt x="3584" y="1608"/>
                    <a:pt x="3727" y="1370"/>
                    <a:pt x="3727" y="1096"/>
                  </a:cubicBezTo>
                  <a:lnTo>
                    <a:pt x="3727" y="667"/>
                  </a:lnTo>
                  <a:cubicBezTo>
                    <a:pt x="3727" y="488"/>
                    <a:pt x="3644" y="322"/>
                    <a:pt x="3525" y="191"/>
                  </a:cubicBezTo>
                  <a:cubicBezTo>
                    <a:pt x="3394" y="72"/>
                    <a:pt x="3227" y="0"/>
                    <a:pt x="3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8" name="Google Shape;13298;p64"/>
            <p:cNvSpPr/>
            <p:nvPr/>
          </p:nvSpPr>
          <p:spPr>
            <a:xfrm>
              <a:off x="1917740" y="2891510"/>
              <a:ext cx="119394" cy="161474"/>
            </a:xfrm>
            <a:custGeom>
              <a:avLst/>
              <a:gdLst/>
              <a:ahLst/>
              <a:cxnLst/>
              <a:rect l="l" t="t" r="r" b="b"/>
              <a:pathLst>
                <a:path w="3751" h="5073" extrusionOk="0">
                  <a:moveTo>
                    <a:pt x="2036" y="310"/>
                  </a:moveTo>
                  <a:cubicBezTo>
                    <a:pt x="2227" y="310"/>
                    <a:pt x="2394" y="477"/>
                    <a:pt x="2394" y="668"/>
                  </a:cubicBezTo>
                  <a:lnTo>
                    <a:pt x="2394" y="1013"/>
                  </a:lnTo>
                  <a:cubicBezTo>
                    <a:pt x="2394" y="1299"/>
                    <a:pt x="2156" y="1537"/>
                    <a:pt x="1870" y="1537"/>
                  </a:cubicBezTo>
                  <a:cubicBezTo>
                    <a:pt x="1596" y="1537"/>
                    <a:pt x="1334" y="1299"/>
                    <a:pt x="1334" y="1013"/>
                  </a:cubicBezTo>
                  <a:lnTo>
                    <a:pt x="1334" y="668"/>
                  </a:lnTo>
                  <a:cubicBezTo>
                    <a:pt x="1334" y="477"/>
                    <a:pt x="1501" y="310"/>
                    <a:pt x="1691" y="310"/>
                  </a:cubicBezTo>
                  <a:close/>
                  <a:moveTo>
                    <a:pt x="2036" y="1834"/>
                  </a:moveTo>
                  <a:lnTo>
                    <a:pt x="2036" y="1918"/>
                  </a:lnTo>
                  <a:cubicBezTo>
                    <a:pt x="2048" y="1977"/>
                    <a:pt x="2072" y="2037"/>
                    <a:pt x="2096" y="2084"/>
                  </a:cubicBezTo>
                  <a:lnTo>
                    <a:pt x="1870" y="2311"/>
                  </a:lnTo>
                  <a:lnTo>
                    <a:pt x="1858" y="2311"/>
                  </a:lnTo>
                  <a:lnTo>
                    <a:pt x="1632" y="2084"/>
                  </a:lnTo>
                  <a:cubicBezTo>
                    <a:pt x="1667" y="2037"/>
                    <a:pt x="1679" y="1977"/>
                    <a:pt x="1679" y="1918"/>
                  </a:cubicBezTo>
                  <a:lnTo>
                    <a:pt x="1679" y="1834"/>
                  </a:lnTo>
                  <a:cubicBezTo>
                    <a:pt x="1739" y="1846"/>
                    <a:pt x="1798" y="1846"/>
                    <a:pt x="1858" y="1846"/>
                  </a:cubicBezTo>
                  <a:cubicBezTo>
                    <a:pt x="1917" y="1846"/>
                    <a:pt x="1977" y="1846"/>
                    <a:pt x="2036" y="1834"/>
                  </a:cubicBezTo>
                  <a:close/>
                  <a:moveTo>
                    <a:pt x="2382" y="2275"/>
                  </a:moveTo>
                  <a:lnTo>
                    <a:pt x="2668" y="2406"/>
                  </a:lnTo>
                  <a:cubicBezTo>
                    <a:pt x="2715" y="2442"/>
                    <a:pt x="2763" y="2501"/>
                    <a:pt x="2763" y="2573"/>
                  </a:cubicBezTo>
                  <a:lnTo>
                    <a:pt x="2763" y="2894"/>
                  </a:lnTo>
                  <a:lnTo>
                    <a:pt x="1036" y="2894"/>
                  </a:lnTo>
                  <a:lnTo>
                    <a:pt x="1036" y="2573"/>
                  </a:lnTo>
                  <a:lnTo>
                    <a:pt x="1013" y="2573"/>
                  </a:lnTo>
                  <a:cubicBezTo>
                    <a:pt x="1013" y="2501"/>
                    <a:pt x="1060" y="2442"/>
                    <a:pt x="1120" y="2406"/>
                  </a:cubicBezTo>
                  <a:lnTo>
                    <a:pt x="1394" y="2275"/>
                  </a:lnTo>
                  <a:lnTo>
                    <a:pt x="1655" y="2537"/>
                  </a:lnTo>
                  <a:cubicBezTo>
                    <a:pt x="1703" y="2596"/>
                    <a:pt x="1798" y="2620"/>
                    <a:pt x="1894" y="2620"/>
                  </a:cubicBezTo>
                  <a:cubicBezTo>
                    <a:pt x="1977" y="2620"/>
                    <a:pt x="2048" y="2596"/>
                    <a:pt x="2132" y="2537"/>
                  </a:cubicBezTo>
                  <a:lnTo>
                    <a:pt x="2382" y="2275"/>
                  </a:lnTo>
                  <a:close/>
                  <a:moveTo>
                    <a:pt x="3299" y="3216"/>
                  </a:moveTo>
                  <a:lnTo>
                    <a:pt x="3120" y="3573"/>
                  </a:lnTo>
                  <a:lnTo>
                    <a:pt x="596" y="3573"/>
                  </a:lnTo>
                  <a:lnTo>
                    <a:pt x="417" y="3216"/>
                  </a:lnTo>
                  <a:close/>
                  <a:moveTo>
                    <a:pt x="1691" y="1"/>
                  </a:moveTo>
                  <a:cubicBezTo>
                    <a:pt x="1322" y="1"/>
                    <a:pt x="1024" y="298"/>
                    <a:pt x="1024" y="668"/>
                  </a:cubicBezTo>
                  <a:lnTo>
                    <a:pt x="1024" y="1013"/>
                  </a:lnTo>
                  <a:cubicBezTo>
                    <a:pt x="1024" y="1299"/>
                    <a:pt x="1155" y="1537"/>
                    <a:pt x="1370" y="1680"/>
                  </a:cubicBezTo>
                  <a:lnTo>
                    <a:pt x="1370" y="1918"/>
                  </a:lnTo>
                  <a:lnTo>
                    <a:pt x="1370" y="1942"/>
                  </a:lnTo>
                  <a:lnTo>
                    <a:pt x="965" y="2132"/>
                  </a:lnTo>
                  <a:cubicBezTo>
                    <a:pt x="798" y="2215"/>
                    <a:pt x="679" y="2382"/>
                    <a:pt x="679" y="2573"/>
                  </a:cubicBezTo>
                  <a:lnTo>
                    <a:pt x="679" y="2894"/>
                  </a:lnTo>
                  <a:lnTo>
                    <a:pt x="167" y="2894"/>
                  </a:lnTo>
                  <a:cubicBezTo>
                    <a:pt x="108" y="2894"/>
                    <a:pt x="60" y="2918"/>
                    <a:pt x="24" y="2965"/>
                  </a:cubicBezTo>
                  <a:cubicBezTo>
                    <a:pt x="1" y="3001"/>
                    <a:pt x="1" y="3073"/>
                    <a:pt x="24" y="3108"/>
                  </a:cubicBezTo>
                  <a:lnTo>
                    <a:pt x="370" y="3799"/>
                  </a:lnTo>
                  <a:cubicBezTo>
                    <a:pt x="405" y="3858"/>
                    <a:pt x="465" y="3882"/>
                    <a:pt x="524" y="3882"/>
                  </a:cubicBezTo>
                  <a:lnTo>
                    <a:pt x="703" y="3882"/>
                  </a:lnTo>
                  <a:lnTo>
                    <a:pt x="703" y="4918"/>
                  </a:lnTo>
                  <a:cubicBezTo>
                    <a:pt x="703" y="5001"/>
                    <a:pt x="774" y="5073"/>
                    <a:pt x="858" y="5073"/>
                  </a:cubicBezTo>
                  <a:cubicBezTo>
                    <a:pt x="953" y="5073"/>
                    <a:pt x="1024" y="5001"/>
                    <a:pt x="1024" y="4918"/>
                  </a:cubicBezTo>
                  <a:lnTo>
                    <a:pt x="1024" y="3882"/>
                  </a:lnTo>
                  <a:lnTo>
                    <a:pt x="2751" y="3882"/>
                  </a:lnTo>
                  <a:lnTo>
                    <a:pt x="2751" y="4918"/>
                  </a:lnTo>
                  <a:cubicBezTo>
                    <a:pt x="2751" y="5001"/>
                    <a:pt x="2822" y="5073"/>
                    <a:pt x="2918" y="5073"/>
                  </a:cubicBezTo>
                  <a:cubicBezTo>
                    <a:pt x="3001" y="5073"/>
                    <a:pt x="3084" y="5001"/>
                    <a:pt x="3084" y="4918"/>
                  </a:cubicBezTo>
                  <a:lnTo>
                    <a:pt x="3084" y="3882"/>
                  </a:lnTo>
                  <a:lnTo>
                    <a:pt x="3263" y="3882"/>
                  </a:lnTo>
                  <a:cubicBezTo>
                    <a:pt x="3322" y="3882"/>
                    <a:pt x="3382" y="3858"/>
                    <a:pt x="3406" y="3799"/>
                  </a:cubicBezTo>
                  <a:lnTo>
                    <a:pt x="3751" y="3108"/>
                  </a:lnTo>
                  <a:cubicBezTo>
                    <a:pt x="3739" y="3073"/>
                    <a:pt x="3739" y="3001"/>
                    <a:pt x="3703" y="2965"/>
                  </a:cubicBezTo>
                  <a:cubicBezTo>
                    <a:pt x="3680" y="2918"/>
                    <a:pt x="3632" y="2894"/>
                    <a:pt x="3572" y="2894"/>
                  </a:cubicBezTo>
                  <a:lnTo>
                    <a:pt x="3049" y="2894"/>
                  </a:lnTo>
                  <a:lnTo>
                    <a:pt x="3049" y="2573"/>
                  </a:lnTo>
                  <a:cubicBezTo>
                    <a:pt x="3049" y="2382"/>
                    <a:pt x="2941" y="2215"/>
                    <a:pt x="2763" y="2132"/>
                  </a:cubicBezTo>
                  <a:lnTo>
                    <a:pt x="2370" y="1942"/>
                  </a:lnTo>
                  <a:lnTo>
                    <a:pt x="2370" y="1918"/>
                  </a:lnTo>
                  <a:lnTo>
                    <a:pt x="2370" y="1680"/>
                  </a:lnTo>
                  <a:cubicBezTo>
                    <a:pt x="2572" y="1537"/>
                    <a:pt x="2703" y="1275"/>
                    <a:pt x="2703" y="1013"/>
                  </a:cubicBezTo>
                  <a:lnTo>
                    <a:pt x="2703" y="668"/>
                  </a:lnTo>
                  <a:cubicBezTo>
                    <a:pt x="2703" y="298"/>
                    <a:pt x="2406" y="1"/>
                    <a:pt x="20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9" name="Google Shape;13299;p64"/>
            <p:cNvSpPr/>
            <p:nvPr/>
          </p:nvSpPr>
          <p:spPr>
            <a:xfrm>
              <a:off x="1960933" y="3027201"/>
              <a:ext cx="32244" cy="10249"/>
            </a:xfrm>
            <a:custGeom>
              <a:avLst/>
              <a:gdLst/>
              <a:ahLst/>
              <a:cxnLst/>
              <a:rect l="l" t="t" r="r" b="b"/>
              <a:pathLst>
                <a:path w="1013" h="322" extrusionOk="0">
                  <a:moveTo>
                    <a:pt x="156" y="0"/>
                  </a:moveTo>
                  <a:cubicBezTo>
                    <a:pt x="72" y="0"/>
                    <a:pt x="1" y="72"/>
                    <a:pt x="1" y="155"/>
                  </a:cubicBezTo>
                  <a:cubicBezTo>
                    <a:pt x="1" y="250"/>
                    <a:pt x="72" y="322"/>
                    <a:pt x="156" y="322"/>
                  </a:cubicBezTo>
                  <a:lnTo>
                    <a:pt x="846" y="322"/>
                  </a:lnTo>
                  <a:cubicBezTo>
                    <a:pt x="930" y="322"/>
                    <a:pt x="1013" y="250"/>
                    <a:pt x="1013" y="155"/>
                  </a:cubicBezTo>
                  <a:cubicBezTo>
                    <a:pt x="1013" y="72"/>
                    <a:pt x="930"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0" name="Google Shape;13300;p64"/>
          <p:cNvGrpSpPr/>
          <p:nvPr/>
        </p:nvGrpSpPr>
        <p:grpSpPr>
          <a:xfrm>
            <a:off x="5585861" y="2905929"/>
            <a:ext cx="379764" cy="337684"/>
            <a:chOff x="5585861" y="2905929"/>
            <a:chExt cx="379764" cy="337684"/>
          </a:xfrm>
        </p:grpSpPr>
        <p:sp>
          <p:nvSpPr>
            <p:cNvPr id="13301" name="Google Shape;13301;p64"/>
            <p:cNvSpPr/>
            <p:nvPr/>
          </p:nvSpPr>
          <p:spPr>
            <a:xfrm>
              <a:off x="5609734" y="3198096"/>
              <a:ext cx="11395" cy="45517"/>
            </a:xfrm>
            <a:custGeom>
              <a:avLst/>
              <a:gdLst/>
              <a:ahLst/>
              <a:cxnLst/>
              <a:rect l="l" t="t" r="r" b="b"/>
              <a:pathLst>
                <a:path w="358" h="1430" extrusionOk="0">
                  <a:moveTo>
                    <a:pt x="179" y="1"/>
                  </a:moveTo>
                  <a:cubicBezTo>
                    <a:pt x="95" y="1"/>
                    <a:pt x="0" y="72"/>
                    <a:pt x="0" y="180"/>
                  </a:cubicBezTo>
                  <a:lnTo>
                    <a:pt x="0" y="1251"/>
                  </a:lnTo>
                  <a:cubicBezTo>
                    <a:pt x="0" y="1334"/>
                    <a:pt x="72" y="1430"/>
                    <a:pt x="179" y="1430"/>
                  </a:cubicBezTo>
                  <a:cubicBezTo>
                    <a:pt x="286" y="1430"/>
                    <a:pt x="357" y="1358"/>
                    <a:pt x="357" y="1251"/>
                  </a:cubicBezTo>
                  <a:lnTo>
                    <a:pt x="357" y="180"/>
                  </a:lnTo>
                  <a:cubicBezTo>
                    <a:pt x="345" y="84"/>
                    <a:pt x="27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2" name="Google Shape;13302;p64"/>
            <p:cNvSpPr/>
            <p:nvPr/>
          </p:nvSpPr>
          <p:spPr>
            <a:xfrm>
              <a:off x="5585861" y="3048431"/>
              <a:ext cx="205431" cy="195182"/>
            </a:xfrm>
            <a:custGeom>
              <a:avLst/>
              <a:gdLst/>
              <a:ahLst/>
              <a:cxnLst/>
              <a:rect l="l" t="t" r="r" b="b"/>
              <a:pathLst>
                <a:path w="6454" h="6132" extrusionOk="0">
                  <a:moveTo>
                    <a:pt x="5965" y="964"/>
                  </a:moveTo>
                  <a:lnTo>
                    <a:pt x="6025" y="1238"/>
                  </a:lnTo>
                  <a:cubicBezTo>
                    <a:pt x="6048" y="1298"/>
                    <a:pt x="6025" y="1369"/>
                    <a:pt x="5977" y="1417"/>
                  </a:cubicBezTo>
                  <a:lnTo>
                    <a:pt x="5870" y="1512"/>
                  </a:lnTo>
                  <a:lnTo>
                    <a:pt x="5632" y="1274"/>
                  </a:lnTo>
                  <a:lnTo>
                    <a:pt x="5965" y="964"/>
                  </a:lnTo>
                  <a:close/>
                  <a:moveTo>
                    <a:pt x="1834" y="333"/>
                  </a:moveTo>
                  <a:cubicBezTo>
                    <a:pt x="2119" y="333"/>
                    <a:pt x="2405" y="452"/>
                    <a:pt x="2608" y="667"/>
                  </a:cubicBezTo>
                  <a:cubicBezTo>
                    <a:pt x="2822" y="869"/>
                    <a:pt x="2941" y="1167"/>
                    <a:pt x="2977" y="1488"/>
                  </a:cubicBezTo>
                  <a:cubicBezTo>
                    <a:pt x="2989" y="1595"/>
                    <a:pt x="3000" y="1738"/>
                    <a:pt x="3012" y="1905"/>
                  </a:cubicBezTo>
                  <a:cubicBezTo>
                    <a:pt x="2822" y="1584"/>
                    <a:pt x="2524" y="1345"/>
                    <a:pt x="2119" y="1214"/>
                  </a:cubicBezTo>
                  <a:cubicBezTo>
                    <a:pt x="1822" y="1115"/>
                    <a:pt x="1565" y="1107"/>
                    <a:pt x="1481" y="1107"/>
                  </a:cubicBezTo>
                  <a:cubicBezTo>
                    <a:pt x="1465" y="1107"/>
                    <a:pt x="1455" y="1107"/>
                    <a:pt x="1453" y="1107"/>
                  </a:cubicBezTo>
                  <a:cubicBezTo>
                    <a:pt x="1405" y="1107"/>
                    <a:pt x="1369" y="1131"/>
                    <a:pt x="1334" y="1167"/>
                  </a:cubicBezTo>
                  <a:lnTo>
                    <a:pt x="1024" y="1500"/>
                  </a:lnTo>
                  <a:cubicBezTo>
                    <a:pt x="953" y="1572"/>
                    <a:pt x="965" y="1679"/>
                    <a:pt x="1024" y="1750"/>
                  </a:cubicBezTo>
                  <a:cubicBezTo>
                    <a:pt x="1058" y="1784"/>
                    <a:pt x="1100" y="1799"/>
                    <a:pt x="1143" y="1799"/>
                  </a:cubicBezTo>
                  <a:cubicBezTo>
                    <a:pt x="1190" y="1799"/>
                    <a:pt x="1237" y="1781"/>
                    <a:pt x="1274" y="1750"/>
                  </a:cubicBezTo>
                  <a:lnTo>
                    <a:pt x="1548" y="1488"/>
                  </a:lnTo>
                  <a:cubicBezTo>
                    <a:pt x="1762" y="1500"/>
                    <a:pt x="2500" y="1572"/>
                    <a:pt x="2774" y="2203"/>
                  </a:cubicBezTo>
                  <a:cubicBezTo>
                    <a:pt x="2715" y="2643"/>
                    <a:pt x="2334" y="2988"/>
                    <a:pt x="1857" y="2988"/>
                  </a:cubicBezTo>
                  <a:cubicBezTo>
                    <a:pt x="1334" y="2988"/>
                    <a:pt x="905" y="2560"/>
                    <a:pt x="905" y="2036"/>
                  </a:cubicBezTo>
                  <a:cubicBezTo>
                    <a:pt x="905" y="1941"/>
                    <a:pt x="822" y="1857"/>
                    <a:pt x="726" y="1857"/>
                  </a:cubicBezTo>
                  <a:cubicBezTo>
                    <a:pt x="703" y="1857"/>
                    <a:pt x="679" y="1857"/>
                    <a:pt x="667" y="1869"/>
                  </a:cubicBezTo>
                  <a:cubicBezTo>
                    <a:pt x="679" y="1726"/>
                    <a:pt x="691" y="1595"/>
                    <a:pt x="703" y="1488"/>
                  </a:cubicBezTo>
                  <a:cubicBezTo>
                    <a:pt x="726" y="1167"/>
                    <a:pt x="857" y="869"/>
                    <a:pt x="1060" y="667"/>
                  </a:cubicBezTo>
                  <a:cubicBezTo>
                    <a:pt x="1274" y="452"/>
                    <a:pt x="1560" y="333"/>
                    <a:pt x="1834" y="333"/>
                  </a:cubicBezTo>
                  <a:close/>
                  <a:moveTo>
                    <a:pt x="607" y="2346"/>
                  </a:moveTo>
                  <a:cubicBezTo>
                    <a:pt x="679" y="2667"/>
                    <a:pt x="869" y="2929"/>
                    <a:pt x="1131" y="3108"/>
                  </a:cubicBezTo>
                  <a:lnTo>
                    <a:pt x="1131" y="3298"/>
                  </a:lnTo>
                  <a:cubicBezTo>
                    <a:pt x="798" y="3239"/>
                    <a:pt x="560" y="3155"/>
                    <a:pt x="417" y="3096"/>
                  </a:cubicBezTo>
                  <a:cubicBezTo>
                    <a:pt x="393" y="3096"/>
                    <a:pt x="417" y="3084"/>
                    <a:pt x="417" y="3084"/>
                  </a:cubicBezTo>
                  <a:cubicBezTo>
                    <a:pt x="488" y="2881"/>
                    <a:pt x="548" y="2619"/>
                    <a:pt x="607" y="2346"/>
                  </a:cubicBezTo>
                  <a:close/>
                  <a:moveTo>
                    <a:pt x="3120" y="2346"/>
                  </a:moveTo>
                  <a:cubicBezTo>
                    <a:pt x="3167" y="2584"/>
                    <a:pt x="3227" y="2810"/>
                    <a:pt x="3286" y="3000"/>
                  </a:cubicBezTo>
                  <a:lnTo>
                    <a:pt x="2977" y="3298"/>
                  </a:lnTo>
                  <a:cubicBezTo>
                    <a:pt x="2941" y="3334"/>
                    <a:pt x="2881" y="3358"/>
                    <a:pt x="2834" y="3358"/>
                  </a:cubicBezTo>
                  <a:lnTo>
                    <a:pt x="2786" y="3358"/>
                  </a:lnTo>
                  <a:cubicBezTo>
                    <a:pt x="2691" y="3358"/>
                    <a:pt x="2596" y="3274"/>
                    <a:pt x="2596" y="3167"/>
                  </a:cubicBezTo>
                  <a:lnTo>
                    <a:pt x="2596" y="3108"/>
                  </a:lnTo>
                  <a:cubicBezTo>
                    <a:pt x="2858" y="2929"/>
                    <a:pt x="3048" y="2667"/>
                    <a:pt x="3120" y="2346"/>
                  </a:cubicBezTo>
                  <a:close/>
                  <a:moveTo>
                    <a:pt x="2262" y="3274"/>
                  </a:moveTo>
                  <a:cubicBezTo>
                    <a:pt x="2274" y="3381"/>
                    <a:pt x="2334" y="3465"/>
                    <a:pt x="2393" y="3524"/>
                  </a:cubicBezTo>
                  <a:lnTo>
                    <a:pt x="2119" y="3774"/>
                  </a:lnTo>
                  <a:cubicBezTo>
                    <a:pt x="2048" y="3852"/>
                    <a:pt x="1953" y="3890"/>
                    <a:pt x="1856" y="3890"/>
                  </a:cubicBezTo>
                  <a:cubicBezTo>
                    <a:pt x="1759" y="3890"/>
                    <a:pt x="1661" y="3852"/>
                    <a:pt x="1584" y="3774"/>
                  </a:cubicBezTo>
                  <a:lnTo>
                    <a:pt x="1429" y="3631"/>
                  </a:lnTo>
                  <a:cubicBezTo>
                    <a:pt x="1453" y="3584"/>
                    <a:pt x="1465" y="3524"/>
                    <a:pt x="1465" y="3465"/>
                  </a:cubicBezTo>
                  <a:lnTo>
                    <a:pt x="1465" y="3274"/>
                  </a:lnTo>
                  <a:cubicBezTo>
                    <a:pt x="1584" y="3322"/>
                    <a:pt x="1727" y="3334"/>
                    <a:pt x="1857" y="3334"/>
                  </a:cubicBezTo>
                  <a:cubicBezTo>
                    <a:pt x="1988" y="3334"/>
                    <a:pt x="2119" y="3322"/>
                    <a:pt x="2262" y="3274"/>
                  </a:cubicBezTo>
                  <a:close/>
                  <a:moveTo>
                    <a:pt x="1857" y="0"/>
                  </a:moveTo>
                  <a:cubicBezTo>
                    <a:pt x="1072" y="0"/>
                    <a:pt x="429" y="619"/>
                    <a:pt x="369" y="1464"/>
                  </a:cubicBezTo>
                  <a:cubicBezTo>
                    <a:pt x="333" y="1810"/>
                    <a:pt x="214" y="2536"/>
                    <a:pt x="72" y="2941"/>
                  </a:cubicBezTo>
                  <a:cubicBezTo>
                    <a:pt x="0" y="3119"/>
                    <a:pt x="83" y="3310"/>
                    <a:pt x="262" y="3405"/>
                  </a:cubicBezTo>
                  <a:cubicBezTo>
                    <a:pt x="393" y="3465"/>
                    <a:pt x="595" y="3536"/>
                    <a:pt x="857" y="3596"/>
                  </a:cubicBezTo>
                  <a:lnTo>
                    <a:pt x="405" y="3822"/>
                  </a:lnTo>
                  <a:cubicBezTo>
                    <a:pt x="155" y="3941"/>
                    <a:pt x="12" y="4191"/>
                    <a:pt x="12" y="4477"/>
                  </a:cubicBezTo>
                  <a:lnTo>
                    <a:pt x="12" y="5953"/>
                  </a:lnTo>
                  <a:cubicBezTo>
                    <a:pt x="12" y="6036"/>
                    <a:pt x="83" y="6132"/>
                    <a:pt x="191" y="6132"/>
                  </a:cubicBezTo>
                  <a:cubicBezTo>
                    <a:pt x="274" y="6132"/>
                    <a:pt x="369" y="6048"/>
                    <a:pt x="369" y="5953"/>
                  </a:cubicBezTo>
                  <a:lnTo>
                    <a:pt x="369" y="4477"/>
                  </a:lnTo>
                  <a:cubicBezTo>
                    <a:pt x="369" y="4322"/>
                    <a:pt x="441" y="4191"/>
                    <a:pt x="572" y="4131"/>
                  </a:cubicBezTo>
                  <a:lnTo>
                    <a:pt x="1155" y="3834"/>
                  </a:lnTo>
                  <a:lnTo>
                    <a:pt x="1369" y="4024"/>
                  </a:lnTo>
                  <a:cubicBezTo>
                    <a:pt x="1512" y="4167"/>
                    <a:pt x="1691" y="4239"/>
                    <a:pt x="1869" y="4239"/>
                  </a:cubicBezTo>
                  <a:cubicBezTo>
                    <a:pt x="2048" y="4239"/>
                    <a:pt x="2238" y="4167"/>
                    <a:pt x="2381" y="4024"/>
                  </a:cubicBezTo>
                  <a:lnTo>
                    <a:pt x="2715" y="3691"/>
                  </a:lnTo>
                  <a:lnTo>
                    <a:pt x="2834" y="3691"/>
                  </a:lnTo>
                  <a:cubicBezTo>
                    <a:pt x="2977" y="3691"/>
                    <a:pt x="3108" y="3631"/>
                    <a:pt x="3215" y="3536"/>
                  </a:cubicBezTo>
                  <a:lnTo>
                    <a:pt x="5382" y="1488"/>
                  </a:lnTo>
                  <a:lnTo>
                    <a:pt x="5632" y="1738"/>
                  </a:lnTo>
                  <a:lnTo>
                    <a:pt x="2893" y="4477"/>
                  </a:lnTo>
                  <a:cubicBezTo>
                    <a:pt x="2715" y="4655"/>
                    <a:pt x="2631" y="4882"/>
                    <a:pt x="2631" y="5132"/>
                  </a:cubicBezTo>
                  <a:lnTo>
                    <a:pt x="2631" y="5929"/>
                  </a:lnTo>
                  <a:cubicBezTo>
                    <a:pt x="2631" y="6025"/>
                    <a:pt x="2703" y="6108"/>
                    <a:pt x="2810" y="6108"/>
                  </a:cubicBezTo>
                  <a:cubicBezTo>
                    <a:pt x="2893" y="6108"/>
                    <a:pt x="2989" y="6036"/>
                    <a:pt x="2989" y="5929"/>
                  </a:cubicBezTo>
                  <a:lnTo>
                    <a:pt x="2989" y="5132"/>
                  </a:lnTo>
                  <a:cubicBezTo>
                    <a:pt x="2989" y="4977"/>
                    <a:pt x="3048" y="4834"/>
                    <a:pt x="3155" y="4727"/>
                  </a:cubicBezTo>
                  <a:lnTo>
                    <a:pt x="6227" y="1643"/>
                  </a:lnTo>
                  <a:cubicBezTo>
                    <a:pt x="6370" y="1512"/>
                    <a:pt x="6429" y="1310"/>
                    <a:pt x="6382" y="1131"/>
                  </a:cubicBezTo>
                  <a:lnTo>
                    <a:pt x="6263" y="679"/>
                  </a:lnTo>
                  <a:lnTo>
                    <a:pt x="6382" y="572"/>
                  </a:lnTo>
                  <a:cubicBezTo>
                    <a:pt x="6453" y="512"/>
                    <a:pt x="6453" y="393"/>
                    <a:pt x="6382" y="321"/>
                  </a:cubicBezTo>
                  <a:cubicBezTo>
                    <a:pt x="6352" y="286"/>
                    <a:pt x="6307" y="268"/>
                    <a:pt x="6261" y="268"/>
                  </a:cubicBezTo>
                  <a:cubicBezTo>
                    <a:pt x="6215" y="268"/>
                    <a:pt x="6168" y="286"/>
                    <a:pt x="6132" y="321"/>
                  </a:cubicBezTo>
                  <a:lnTo>
                    <a:pt x="3572" y="2738"/>
                  </a:lnTo>
                  <a:cubicBezTo>
                    <a:pt x="3453" y="2322"/>
                    <a:pt x="3358" y="1750"/>
                    <a:pt x="3346" y="1464"/>
                  </a:cubicBezTo>
                  <a:cubicBezTo>
                    <a:pt x="3286" y="631"/>
                    <a:pt x="2643" y="0"/>
                    <a:pt x="1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3" name="Google Shape;13303;p64"/>
            <p:cNvSpPr/>
            <p:nvPr/>
          </p:nvSpPr>
          <p:spPr>
            <a:xfrm>
              <a:off x="5740078" y="2905929"/>
              <a:ext cx="225547" cy="189516"/>
            </a:xfrm>
            <a:custGeom>
              <a:avLst/>
              <a:gdLst/>
              <a:ahLst/>
              <a:cxnLst/>
              <a:rect l="l" t="t" r="r" b="b"/>
              <a:pathLst>
                <a:path w="7086" h="5954" extrusionOk="0">
                  <a:moveTo>
                    <a:pt x="549" y="0"/>
                  </a:moveTo>
                  <a:cubicBezTo>
                    <a:pt x="251" y="0"/>
                    <a:pt x="1" y="250"/>
                    <a:pt x="1" y="548"/>
                  </a:cubicBezTo>
                  <a:lnTo>
                    <a:pt x="1" y="5072"/>
                  </a:lnTo>
                  <a:cubicBezTo>
                    <a:pt x="1" y="5156"/>
                    <a:pt x="72" y="5251"/>
                    <a:pt x="180" y="5251"/>
                  </a:cubicBezTo>
                  <a:cubicBezTo>
                    <a:pt x="263" y="5251"/>
                    <a:pt x="358" y="5179"/>
                    <a:pt x="358" y="5072"/>
                  </a:cubicBezTo>
                  <a:lnTo>
                    <a:pt x="358" y="548"/>
                  </a:lnTo>
                  <a:cubicBezTo>
                    <a:pt x="358" y="441"/>
                    <a:pt x="441" y="357"/>
                    <a:pt x="549" y="357"/>
                  </a:cubicBezTo>
                  <a:lnTo>
                    <a:pt x="6537" y="357"/>
                  </a:lnTo>
                  <a:cubicBezTo>
                    <a:pt x="6645" y="357"/>
                    <a:pt x="6728" y="441"/>
                    <a:pt x="6728" y="548"/>
                  </a:cubicBezTo>
                  <a:lnTo>
                    <a:pt x="6728" y="5394"/>
                  </a:lnTo>
                  <a:cubicBezTo>
                    <a:pt x="6728" y="5501"/>
                    <a:pt x="6645" y="5596"/>
                    <a:pt x="6537" y="5596"/>
                  </a:cubicBezTo>
                  <a:lnTo>
                    <a:pt x="2108" y="5596"/>
                  </a:lnTo>
                  <a:cubicBezTo>
                    <a:pt x="2025" y="5596"/>
                    <a:pt x="1930" y="5668"/>
                    <a:pt x="1930" y="5775"/>
                  </a:cubicBezTo>
                  <a:cubicBezTo>
                    <a:pt x="1930" y="5870"/>
                    <a:pt x="2013" y="5953"/>
                    <a:pt x="2108" y="5953"/>
                  </a:cubicBezTo>
                  <a:lnTo>
                    <a:pt x="6537" y="5953"/>
                  </a:lnTo>
                  <a:cubicBezTo>
                    <a:pt x="6835" y="5953"/>
                    <a:pt x="7085" y="5691"/>
                    <a:pt x="7085" y="5394"/>
                  </a:cubicBezTo>
                  <a:lnTo>
                    <a:pt x="7085" y="548"/>
                  </a:lnTo>
                  <a:cubicBezTo>
                    <a:pt x="7085" y="238"/>
                    <a:pt x="6847" y="0"/>
                    <a:pt x="65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4" name="Google Shape;13304;p64"/>
            <p:cNvSpPr/>
            <p:nvPr/>
          </p:nvSpPr>
          <p:spPr>
            <a:xfrm>
              <a:off x="5793902" y="2928464"/>
              <a:ext cx="131553" cy="130598"/>
            </a:xfrm>
            <a:custGeom>
              <a:avLst/>
              <a:gdLst/>
              <a:ahLst/>
              <a:cxnLst/>
              <a:rect l="l" t="t" r="r" b="b"/>
              <a:pathLst>
                <a:path w="4133" h="4103" extrusionOk="0">
                  <a:moveTo>
                    <a:pt x="1870" y="757"/>
                  </a:moveTo>
                  <a:cubicBezTo>
                    <a:pt x="2227" y="757"/>
                    <a:pt x="2537" y="876"/>
                    <a:pt x="2811" y="1090"/>
                  </a:cubicBezTo>
                  <a:lnTo>
                    <a:pt x="1751" y="2150"/>
                  </a:lnTo>
                  <a:cubicBezTo>
                    <a:pt x="1679" y="2221"/>
                    <a:pt x="1679" y="2328"/>
                    <a:pt x="1751" y="2400"/>
                  </a:cubicBezTo>
                  <a:cubicBezTo>
                    <a:pt x="1775" y="2424"/>
                    <a:pt x="1822" y="2447"/>
                    <a:pt x="1870" y="2447"/>
                  </a:cubicBezTo>
                  <a:cubicBezTo>
                    <a:pt x="1918" y="2447"/>
                    <a:pt x="1953" y="2424"/>
                    <a:pt x="1989" y="2400"/>
                  </a:cubicBezTo>
                  <a:lnTo>
                    <a:pt x="2513" y="1876"/>
                  </a:lnTo>
                  <a:cubicBezTo>
                    <a:pt x="2584" y="1995"/>
                    <a:pt x="2632" y="2126"/>
                    <a:pt x="2632" y="2281"/>
                  </a:cubicBezTo>
                  <a:cubicBezTo>
                    <a:pt x="2632" y="2697"/>
                    <a:pt x="2287" y="3043"/>
                    <a:pt x="1870" y="3043"/>
                  </a:cubicBezTo>
                  <a:cubicBezTo>
                    <a:pt x="1453" y="3043"/>
                    <a:pt x="1108" y="2697"/>
                    <a:pt x="1108" y="2281"/>
                  </a:cubicBezTo>
                  <a:cubicBezTo>
                    <a:pt x="1108" y="1864"/>
                    <a:pt x="1453" y="1519"/>
                    <a:pt x="1870" y="1519"/>
                  </a:cubicBezTo>
                  <a:cubicBezTo>
                    <a:pt x="1953" y="1519"/>
                    <a:pt x="2049" y="1447"/>
                    <a:pt x="2049" y="1340"/>
                  </a:cubicBezTo>
                  <a:cubicBezTo>
                    <a:pt x="2049" y="1233"/>
                    <a:pt x="1977" y="1162"/>
                    <a:pt x="1870" y="1162"/>
                  </a:cubicBezTo>
                  <a:cubicBezTo>
                    <a:pt x="1263" y="1162"/>
                    <a:pt x="763" y="1650"/>
                    <a:pt x="763" y="2269"/>
                  </a:cubicBezTo>
                  <a:cubicBezTo>
                    <a:pt x="763" y="2876"/>
                    <a:pt x="1263" y="3364"/>
                    <a:pt x="1870" y="3364"/>
                  </a:cubicBezTo>
                  <a:cubicBezTo>
                    <a:pt x="2477" y="3364"/>
                    <a:pt x="2965" y="2876"/>
                    <a:pt x="2965" y="2269"/>
                  </a:cubicBezTo>
                  <a:cubicBezTo>
                    <a:pt x="2965" y="2031"/>
                    <a:pt x="2894" y="1804"/>
                    <a:pt x="2763" y="1614"/>
                  </a:cubicBezTo>
                  <a:lnTo>
                    <a:pt x="3049" y="1328"/>
                  </a:lnTo>
                  <a:cubicBezTo>
                    <a:pt x="3251" y="1578"/>
                    <a:pt x="3370" y="1912"/>
                    <a:pt x="3370" y="2269"/>
                  </a:cubicBezTo>
                  <a:cubicBezTo>
                    <a:pt x="3370" y="3102"/>
                    <a:pt x="2703" y="3769"/>
                    <a:pt x="1870" y="3769"/>
                  </a:cubicBezTo>
                  <a:cubicBezTo>
                    <a:pt x="1036" y="3769"/>
                    <a:pt x="370" y="3102"/>
                    <a:pt x="370" y="2269"/>
                  </a:cubicBezTo>
                  <a:cubicBezTo>
                    <a:pt x="370" y="1435"/>
                    <a:pt x="1036" y="757"/>
                    <a:pt x="1870" y="757"/>
                  </a:cubicBezTo>
                  <a:close/>
                  <a:moveTo>
                    <a:pt x="3924" y="1"/>
                  </a:moveTo>
                  <a:cubicBezTo>
                    <a:pt x="3879" y="1"/>
                    <a:pt x="3834" y="19"/>
                    <a:pt x="3799" y="54"/>
                  </a:cubicBezTo>
                  <a:lnTo>
                    <a:pt x="3537" y="328"/>
                  </a:lnTo>
                  <a:lnTo>
                    <a:pt x="3537" y="197"/>
                  </a:lnTo>
                  <a:cubicBezTo>
                    <a:pt x="3537" y="102"/>
                    <a:pt x="3453" y="19"/>
                    <a:pt x="3358" y="19"/>
                  </a:cubicBezTo>
                  <a:cubicBezTo>
                    <a:pt x="3263" y="19"/>
                    <a:pt x="3180" y="90"/>
                    <a:pt x="3180" y="197"/>
                  </a:cubicBezTo>
                  <a:lnTo>
                    <a:pt x="3180" y="685"/>
                  </a:lnTo>
                  <a:lnTo>
                    <a:pt x="3037" y="816"/>
                  </a:lnTo>
                  <a:cubicBezTo>
                    <a:pt x="2715" y="554"/>
                    <a:pt x="2310" y="388"/>
                    <a:pt x="1870" y="388"/>
                  </a:cubicBezTo>
                  <a:cubicBezTo>
                    <a:pt x="834" y="388"/>
                    <a:pt x="1" y="1221"/>
                    <a:pt x="1" y="2245"/>
                  </a:cubicBezTo>
                  <a:cubicBezTo>
                    <a:pt x="1" y="3269"/>
                    <a:pt x="834" y="4102"/>
                    <a:pt x="1870" y="4102"/>
                  </a:cubicBezTo>
                  <a:cubicBezTo>
                    <a:pt x="2894" y="4102"/>
                    <a:pt x="3727" y="3269"/>
                    <a:pt x="3727" y="2245"/>
                  </a:cubicBezTo>
                  <a:cubicBezTo>
                    <a:pt x="3727" y="1804"/>
                    <a:pt x="3561" y="1388"/>
                    <a:pt x="3299" y="1066"/>
                  </a:cubicBezTo>
                  <a:lnTo>
                    <a:pt x="3430" y="935"/>
                  </a:lnTo>
                  <a:lnTo>
                    <a:pt x="3918" y="935"/>
                  </a:lnTo>
                  <a:cubicBezTo>
                    <a:pt x="4013" y="935"/>
                    <a:pt x="4096" y="864"/>
                    <a:pt x="4096" y="757"/>
                  </a:cubicBezTo>
                  <a:cubicBezTo>
                    <a:pt x="4084" y="673"/>
                    <a:pt x="4013" y="578"/>
                    <a:pt x="3918" y="578"/>
                  </a:cubicBezTo>
                  <a:lnTo>
                    <a:pt x="3787" y="578"/>
                  </a:lnTo>
                  <a:lnTo>
                    <a:pt x="4049" y="316"/>
                  </a:lnTo>
                  <a:cubicBezTo>
                    <a:pt x="4132" y="245"/>
                    <a:pt x="4132" y="138"/>
                    <a:pt x="4049" y="54"/>
                  </a:cubicBezTo>
                  <a:cubicBezTo>
                    <a:pt x="4013" y="19"/>
                    <a:pt x="3968" y="1"/>
                    <a:pt x="392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05" name="Google Shape;13305;p64"/>
          <p:cNvGrpSpPr/>
          <p:nvPr/>
        </p:nvGrpSpPr>
        <p:grpSpPr>
          <a:xfrm>
            <a:off x="1327676" y="2910480"/>
            <a:ext cx="347934" cy="310024"/>
            <a:chOff x="1327676" y="2910480"/>
            <a:chExt cx="347934" cy="310024"/>
          </a:xfrm>
        </p:grpSpPr>
        <p:sp>
          <p:nvSpPr>
            <p:cNvPr id="13306" name="Google Shape;13306;p64"/>
            <p:cNvSpPr/>
            <p:nvPr/>
          </p:nvSpPr>
          <p:spPr>
            <a:xfrm>
              <a:off x="1367081" y="3067370"/>
              <a:ext cx="43257" cy="15565"/>
            </a:xfrm>
            <a:custGeom>
              <a:avLst/>
              <a:gdLst/>
              <a:ahLst/>
              <a:cxnLst/>
              <a:rect l="l" t="t" r="r" b="b"/>
              <a:pathLst>
                <a:path w="1359" h="489" extrusionOk="0">
                  <a:moveTo>
                    <a:pt x="167" y="0"/>
                  </a:moveTo>
                  <a:cubicBezTo>
                    <a:pt x="72" y="0"/>
                    <a:pt x="1" y="72"/>
                    <a:pt x="1" y="167"/>
                  </a:cubicBezTo>
                  <a:cubicBezTo>
                    <a:pt x="1" y="250"/>
                    <a:pt x="72" y="322"/>
                    <a:pt x="167" y="322"/>
                  </a:cubicBezTo>
                  <a:cubicBezTo>
                    <a:pt x="346" y="322"/>
                    <a:pt x="870" y="358"/>
                    <a:pt x="1120" y="477"/>
                  </a:cubicBezTo>
                  <a:cubicBezTo>
                    <a:pt x="1144" y="488"/>
                    <a:pt x="1168" y="488"/>
                    <a:pt x="1191" y="488"/>
                  </a:cubicBezTo>
                  <a:cubicBezTo>
                    <a:pt x="1251" y="488"/>
                    <a:pt x="1310" y="465"/>
                    <a:pt x="1346" y="405"/>
                  </a:cubicBezTo>
                  <a:cubicBezTo>
                    <a:pt x="1358" y="322"/>
                    <a:pt x="1334" y="238"/>
                    <a:pt x="1251" y="191"/>
                  </a:cubicBezTo>
                  <a:cubicBezTo>
                    <a:pt x="882" y="12"/>
                    <a:pt x="19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7" name="Google Shape;13307;p64"/>
            <p:cNvSpPr/>
            <p:nvPr/>
          </p:nvSpPr>
          <p:spPr>
            <a:xfrm>
              <a:off x="1350402" y="3170436"/>
              <a:ext cx="10663" cy="48541"/>
            </a:xfrm>
            <a:custGeom>
              <a:avLst/>
              <a:gdLst/>
              <a:ahLst/>
              <a:cxnLst/>
              <a:rect l="l" t="t" r="r" b="b"/>
              <a:pathLst>
                <a:path w="335" h="1525" extrusionOk="0">
                  <a:moveTo>
                    <a:pt x="168" y="1"/>
                  </a:moveTo>
                  <a:cubicBezTo>
                    <a:pt x="84" y="1"/>
                    <a:pt x="1" y="84"/>
                    <a:pt x="1" y="168"/>
                  </a:cubicBezTo>
                  <a:lnTo>
                    <a:pt x="1" y="1358"/>
                  </a:lnTo>
                  <a:cubicBezTo>
                    <a:pt x="1" y="1453"/>
                    <a:pt x="84" y="1525"/>
                    <a:pt x="168" y="1525"/>
                  </a:cubicBezTo>
                  <a:cubicBezTo>
                    <a:pt x="263" y="1525"/>
                    <a:pt x="334" y="1453"/>
                    <a:pt x="334" y="1358"/>
                  </a:cubicBezTo>
                  <a:lnTo>
                    <a:pt x="334" y="168"/>
                  </a:lnTo>
                  <a:cubicBezTo>
                    <a:pt x="334" y="84"/>
                    <a:pt x="263" y="1"/>
                    <a:pt x="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8" name="Google Shape;13308;p64"/>
            <p:cNvSpPr/>
            <p:nvPr/>
          </p:nvSpPr>
          <p:spPr>
            <a:xfrm>
              <a:off x="1327676" y="3040187"/>
              <a:ext cx="201643" cy="180317"/>
            </a:xfrm>
            <a:custGeom>
              <a:avLst/>
              <a:gdLst/>
              <a:ahLst/>
              <a:cxnLst/>
              <a:rect l="l" t="t" r="r" b="b"/>
              <a:pathLst>
                <a:path w="6335" h="5665" extrusionOk="0">
                  <a:moveTo>
                    <a:pt x="5894" y="628"/>
                  </a:moveTo>
                  <a:lnTo>
                    <a:pt x="5954" y="866"/>
                  </a:lnTo>
                  <a:cubicBezTo>
                    <a:pt x="5977" y="926"/>
                    <a:pt x="5966" y="997"/>
                    <a:pt x="5918" y="1045"/>
                  </a:cubicBezTo>
                  <a:lnTo>
                    <a:pt x="5823" y="1140"/>
                  </a:lnTo>
                  <a:lnTo>
                    <a:pt x="5596" y="914"/>
                  </a:lnTo>
                  <a:lnTo>
                    <a:pt x="5894" y="628"/>
                  </a:lnTo>
                  <a:close/>
                  <a:moveTo>
                    <a:pt x="2941" y="307"/>
                  </a:moveTo>
                  <a:lnTo>
                    <a:pt x="2941" y="961"/>
                  </a:lnTo>
                  <a:cubicBezTo>
                    <a:pt x="2941" y="1057"/>
                    <a:pt x="2906" y="1164"/>
                    <a:pt x="2870" y="1271"/>
                  </a:cubicBezTo>
                  <a:lnTo>
                    <a:pt x="2787" y="1438"/>
                  </a:lnTo>
                  <a:cubicBezTo>
                    <a:pt x="2775" y="1450"/>
                    <a:pt x="2775" y="1473"/>
                    <a:pt x="2775" y="1509"/>
                  </a:cubicBezTo>
                  <a:lnTo>
                    <a:pt x="2775" y="1854"/>
                  </a:lnTo>
                  <a:cubicBezTo>
                    <a:pt x="2775" y="2104"/>
                    <a:pt x="2667" y="2331"/>
                    <a:pt x="2513" y="2485"/>
                  </a:cubicBezTo>
                  <a:cubicBezTo>
                    <a:pt x="2363" y="2635"/>
                    <a:pt x="2165" y="2727"/>
                    <a:pt x="1954" y="2727"/>
                  </a:cubicBezTo>
                  <a:cubicBezTo>
                    <a:pt x="1930" y="2727"/>
                    <a:pt x="1906" y="2726"/>
                    <a:pt x="1882" y="2724"/>
                  </a:cubicBezTo>
                  <a:cubicBezTo>
                    <a:pt x="1417" y="2712"/>
                    <a:pt x="1048" y="2307"/>
                    <a:pt x="1048" y="1819"/>
                  </a:cubicBezTo>
                  <a:lnTo>
                    <a:pt x="1048" y="1521"/>
                  </a:lnTo>
                  <a:cubicBezTo>
                    <a:pt x="1048" y="1497"/>
                    <a:pt x="1048" y="1473"/>
                    <a:pt x="1036" y="1450"/>
                  </a:cubicBezTo>
                  <a:lnTo>
                    <a:pt x="929" y="1259"/>
                  </a:lnTo>
                  <a:cubicBezTo>
                    <a:pt x="905" y="1176"/>
                    <a:pt x="870" y="1104"/>
                    <a:pt x="870" y="1021"/>
                  </a:cubicBezTo>
                  <a:lnTo>
                    <a:pt x="870" y="997"/>
                  </a:lnTo>
                  <a:cubicBezTo>
                    <a:pt x="870" y="616"/>
                    <a:pt x="1179" y="307"/>
                    <a:pt x="1572" y="307"/>
                  </a:cubicBezTo>
                  <a:close/>
                  <a:moveTo>
                    <a:pt x="2275" y="2986"/>
                  </a:moveTo>
                  <a:cubicBezTo>
                    <a:pt x="2286" y="3045"/>
                    <a:pt x="2298" y="3081"/>
                    <a:pt x="2310" y="3117"/>
                  </a:cubicBezTo>
                  <a:lnTo>
                    <a:pt x="2167" y="3259"/>
                  </a:lnTo>
                  <a:cubicBezTo>
                    <a:pt x="2102" y="3325"/>
                    <a:pt x="2013" y="3358"/>
                    <a:pt x="1923" y="3358"/>
                  </a:cubicBezTo>
                  <a:cubicBezTo>
                    <a:pt x="1834" y="3358"/>
                    <a:pt x="1745" y="3325"/>
                    <a:pt x="1679" y="3259"/>
                  </a:cubicBezTo>
                  <a:lnTo>
                    <a:pt x="1536" y="3128"/>
                  </a:lnTo>
                  <a:cubicBezTo>
                    <a:pt x="1560" y="3081"/>
                    <a:pt x="1572" y="3045"/>
                    <a:pt x="1572" y="2986"/>
                  </a:cubicBezTo>
                  <a:cubicBezTo>
                    <a:pt x="1679" y="3009"/>
                    <a:pt x="1775" y="3045"/>
                    <a:pt x="1882" y="3045"/>
                  </a:cubicBezTo>
                  <a:lnTo>
                    <a:pt x="1917" y="3045"/>
                  </a:lnTo>
                  <a:cubicBezTo>
                    <a:pt x="2036" y="3045"/>
                    <a:pt x="2167" y="3021"/>
                    <a:pt x="2275" y="2986"/>
                  </a:cubicBezTo>
                  <a:close/>
                  <a:moveTo>
                    <a:pt x="6162" y="0"/>
                  </a:moveTo>
                  <a:cubicBezTo>
                    <a:pt x="6120" y="0"/>
                    <a:pt x="6079" y="15"/>
                    <a:pt x="6049" y="45"/>
                  </a:cubicBezTo>
                  <a:lnTo>
                    <a:pt x="2906" y="3021"/>
                  </a:lnTo>
                  <a:cubicBezTo>
                    <a:pt x="2882" y="3057"/>
                    <a:pt x="2834" y="3069"/>
                    <a:pt x="2787" y="3069"/>
                  </a:cubicBezTo>
                  <a:lnTo>
                    <a:pt x="2763" y="3069"/>
                  </a:lnTo>
                  <a:cubicBezTo>
                    <a:pt x="2656" y="3069"/>
                    <a:pt x="2584" y="2997"/>
                    <a:pt x="2584" y="2890"/>
                  </a:cubicBezTo>
                  <a:lnTo>
                    <a:pt x="2584" y="2843"/>
                  </a:lnTo>
                  <a:cubicBezTo>
                    <a:pt x="2644" y="2819"/>
                    <a:pt x="2679" y="2771"/>
                    <a:pt x="2727" y="2724"/>
                  </a:cubicBezTo>
                  <a:cubicBezTo>
                    <a:pt x="2965" y="2497"/>
                    <a:pt x="3084" y="2200"/>
                    <a:pt x="3084" y="1878"/>
                  </a:cubicBezTo>
                  <a:lnTo>
                    <a:pt x="3084" y="1581"/>
                  </a:lnTo>
                  <a:lnTo>
                    <a:pt x="3144" y="1450"/>
                  </a:lnTo>
                  <a:cubicBezTo>
                    <a:pt x="3215" y="1307"/>
                    <a:pt x="3251" y="1152"/>
                    <a:pt x="3251" y="997"/>
                  </a:cubicBezTo>
                  <a:lnTo>
                    <a:pt x="3251" y="176"/>
                  </a:lnTo>
                  <a:cubicBezTo>
                    <a:pt x="3251" y="92"/>
                    <a:pt x="3179" y="21"/>
                    <a:pt x="3084" y="21"/>
                  </a:cubicBezTo>
                  <a:lnTo>
                    <a:pt x="1548" y="21"/>
                  </a:lnTo>
                  <a:cubicBezTo>
                    <a:pt x="1001" y="21"/>
                    <a:pt x="536" y="461"/>
                    <a:pt x="536" y="1033"/>
                  </a:cubicBezTo>
                  <a:lnTo>
                    <a:pt x="536" y="1045"/>
                  </a:lnTo>
                  <a:cubicBezTo>
                    <a:pt x="536" y="1176"/>
                    <a:pt x="572" y="1295"/>
                    <a:pt x="632" y="1414"/>
                  </a:cubicBezTo>
                  <a:lnTo>
                    <a:pt x="703" y="1581"/>
                  </a:lnTo>
                  <a:lnTo>
                    <a:pt x="703" y="1831"/>
                  </a:lnTo>
                  <a:cubicBezTo>
                    <a:pt x="703" y="2247"/>
                    <a:pt x="917" y="2616"/>
                    <a:pt x="1215" y="2843"/>
                  </a:cubicBezTo>
                  <a:lnTo>
                    <a:pt x="1215" y="2997"/>
                  </a:lnTo>
                  <a:cubicBezTo>
                    <a:pt x="1215" y="3069"/>
                    <a:pt x="1155" y="3140"/>
                    <a:pt x="1072" y="3176"/>
                  </a:cubicBezTo>
                  <a:lnTo>
                    <a:pt x="501" y="3343"/>
                  </a:lnTo>
                  <a:cubicBezTo>
                    <a:pt x="215" y="3414"/>
                    <a:pt x="0" y="3676"/>
                    <a:pt x="0" y="3974"/>
                  </a:cubicBezTo>
                  <a:lnTo>
                    <a:pt x="0" y="5462"/>
                  </a:lnTo>
                  <a:cubicBezTo>
                    <a:pt x="0" y="5557"/>
                    <a:pt x="84" y="5629"/>
                    <a:pt x="167" y="5629"/>
                  </a:cubicBezTo>
                  <a:cubicBezTo>
                    <a:pt x="262" y="5629"/>
                    <a:pt x="334" y="5557"/>
                    <a:pt x="334" y="5462"/>
                  </a:cubicBezTo>
                  <a:lnTo>
                    <a:pt x="334" y="3974"/>
                  </a:lnTo>
                  <a:cubicBezTo>
                    <a:pt x="334" y="3831"/>
                    <a:pt x="441" y="3676"/>
                    <a:pt x="584" y="3640"/>
                  </a:cubicBezTo>
                  <a:lnTo>
                    <a:pt x="1167" y="3474"/>
                  </a:lnTo>
                  <a:cubicBezTo>
                    <a:pt x="1215" y="3450"/>
                    <a:pt x="1251" y="3438"/>
                    <a:pt x="1298" y="3414"/>
                  </a:cubicBezTo>
                  <a:lnTo>
                    <a:pt x="1405" y="3521"/>
                  </a:lnTo>
                  <a:cubicBezTo>
                    <a:pt x="1536" y="3652"/>
                    <a:pt x="1703" y="3712"/>
                    <a:pt x="1882" y="3712"/>
                  </a:cubicBezTo>
                  <a:cubicBezTo>
                    <a:pt x="2060" y="3712"/>
                    <a:pt x="2227" y="3652"/>
                    <a:pt x="2358" y="3521"/>
                  </a:cubicBezTo>
                  <a:lnTo>
                    <a:pt x="2501" y="3367"/>
                  </a:lnTo>
                  <a:cubicBezTo>
                    <a:pt x="2584" y="3402"/>
                    <a:pt x="2656" y="3426"/>
                    <a:pt x="2727" y="3426"/>
                  </a:cubicBezTo>
                  <a:lnTo>
                    <a:pt x="2763" y="3426"/>
                  </a:lnTo>
                  <a:cubicBezTo>
                    <a:pt x="2894" y="3426"/>
                    <a:pt x="3013" y="3378"/>
                    <a:pt x="3096" y="3295"/>
                  </a:cubicBezTo>
                  <a:lnTo>
                    <a:pt x="5334" y="1176"/>
                  </a:lnTo>
                  <a:lnTo>
                    <a:pt x="5561" y="1402"/>
                  </a:lnTo>
                  <a:lnTo>
                    <a:pt x="2965" y="3986"/>
                  </a:lnTo>
                  <a:cubicBezTo>
                    <a:pt x="2798" y="4152"/>
                    <a:pt x="2715" y="4367"/>
                    <a:pt x="2715" y="4581"/>
                  </a:cubicBezTo>
                  <a:lnTo>
                    <a:pt x="2715" y="5498"/>
                  </a:lnTo>
                  <a:cubicBezTo>
                    <a:pt x="2715" y="5581"/>
                    <a:pt x="2787" y="5664"/>
                    <a:pt x="2882" y="5664"/>
                  </a:cubicBezTo>
                  <a:cubicBezTo>
                    <a:pt x="2965" y="5664"/>
                    <a:pt x="3037" y="5581"/>
                    <a:pt x="3037" y="5498"/>
                  </a:cubicBezTo>
                  <a:lnTo>
                    <a:pt x="3037" y="4581"/>
                  </a:lnTo>
                  <a:cubicBezTo>
                    <a:pt x="3037" y="4450"/>
                    <a:pt x="3096" y="4319"/>
                    <a:pt x="3191" y="4212"/>
                  </a:cubicBezTo>
                  <a:lnTo>
                    <a:pt x="6096" y="1307"/>
                  </a:lnTo>
                  <a:cubicBezTo>
                    <a:pt x="6216" y="1200"/>
                    <a:pt x="6275" y="997"/>
                    <a:pt x="6227" y="831"/>
                  </a:cubicBezTo>
                  <a:lnTo>
                    <a:pt x="6168" y="378"/>
                  </a:lnTo>
                  <a:lnTo>
                    <a:pt x="6275" y="271"/>
                  </a:lnTo>
                  <a:cubicBezTo>
                    <a:pt x="6335" y="211"/>
                    <a:pt x="6335" y="104"/>
                    <a:pt x="6275" y="45"/>
                  </a:cubicBezTo>
                  <a:cubicBezTo>
                    <a:pt x="6245" y="15"/>
                    <a:pt x="6204" y="0"/>
                    <a:pt x="616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9" name="Google Shape;13309;p64"/>
            <p:cNvSpPr/>
            <p:nvPr/>
          </p:nvSpPr>
          <p:spPr>
            <a:xfrm>
              <a:off x="1470179" y="2910480"/>
              <a:ext cx="205431" cy="173601"/>
            </a:xfrm>
            <a:custGeom>
              <a:avLst/>
              <a:gdLst/>
              <a:ahLst/>
              <a:cxnLst/>
              <a:rect l="l" t="t" r="r" b="b"/>
              <a:pathLst>
                <a:path w="6454" h="5454" extrusionOk="0">
                  <a:moveTo>
                    <a:pt x="500" y="0"/>
                  </a:moveTo>
                  <a:cubicBezTo>
                    <a:pt x="215" y="0"/>
                    <a:pt x="0" y="226"/>
                    <a:pt x="0" y="512"/>
                  </a:cubicBezTo>
                  <a:lnTo>
                    <a:pt x="0" y="4822"/>
                  </a:lnTo>
                  <a:cubicBezTo>
                    <a:pt x="0" y="4917"/>
                    <a:pt x="72" y="4989"/>
                    <a:pt x="155" y="4989"/>
                  </a:cubicBezTo>
                  <a:cubicBezTo>
                    <a:pt x="250" y="4989"/>
                    <a:pt x="322" y="4917"/>
                    <a:pt x="322" y="4822"/>
                  </a:cubicBezTo>
                  <a:lnTo>
                    <a:pt x="322" y="512"/>
                  </a:lnTo>
                  <a:cubicBezTo>
                    <a:pt x="322" y="405"/>
                    <a:pt x="393" y="322"/>
                    <a:pt x="500" y="322"/>
                  </a:cubicBezTo>
                  <a:lnTo>
                    <a:pt x="5953" y="322"/>
                  </a:lnTo>
                  <a:cubicBezTo>
                    <a:pt x="6049" y="322"/>
                    <a:pt x="6132" y="405"/>
                    <a:pt x="6132" y="512"/>
                  </a:cubicBezTo>
                  <a:lnTo>
                    <a:pt x="6132" y="4941"/>
                  </a:lnTo>
                  <a:cubicBezTo>
                    <a:pt x="6132" y="5048"/>
                    <a:pt x="6049" y="5120"/>
                    <a:pt x="5953" y="5120"/>
                  </a:cubicBezTo>
                  <a:lnTo>
                    <a:pt x="2298" y="5120"/>
                  </a:lnTo>
                  <a:cubicBezTo>
                    <a:pt x="2215" y="5120"/>
                    <a:pt x="2131" y="5191"/>
                    <a:pt x="2131" y="5287"/>
                  </a:cubicBezTo>
                  <a:cubicBezTo>
                    <a:pt x="2131" y="5370"/>
                    <a:pt x="2215" y="5453"/>
                    <a:pt x="2298" y="5453"/>
                  </a:cubicBezTo>
                  <a:lnTo>
                    <a:pt x="5953" y="5453"/>
                  </a:lnTo>
                  <a:cubicBezTo>
                    <a:pt x="6227" y="5453"/>
                    <a:pt x="6453" y="5227"/>
                    <a:pt x="6453" y="4941"/>
                  </a:cubicBezTo>
                  <a:lnTo>
                    <a:pt x="6453" y="512"/>
                  </a:lnTo>
                  <a:cubicBezTo>
                    <a:pt x="6453" y="226"/>
                    <a:pt x="6215" y="0"/>
                    <a:pt x="59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0" name="Google Shape;13310;p64"/>
            <p:cNvSpPr/>
            <p:nvPr/>
          </p:nvSpPr>
          <p:spPr>
            <a:xfrm>
              <a:off x="1497075" y="2942692"/>
              <a:ext cx="152370" cy="96668"/>
            </a:xfrm>
            <a:custGeom>
              <a:avLst/>
              <a:gdLst/>
              <a:ahLst/>
              <a:cxnLst/>
              <a:rect l="l" t="t" r="r" b="b"/>
              <a:pathLst>
                <a:path w="4787" h="3037" extrusionOk="0">
                  <a:moveTo>
                    <a:pt x="3751" y="0"/>
                  </a:moveTo>
                  <a:cubicBezTo>
                    <a:pt x="3656" y="0"/>
                    <a:pt x="3584" y="72"/>
                    <a:pt x="3584" y="167"/>
                  </a:cubicBezTo>
                  <a:cubicBezTo>
                    <a:pt x="3584" y="250"/>
                    <a:pt x="3656" y="334"/>
                    <a:pt x="3751" y="334"/>
                  </a:cubicBezTo>
                  <a:lnTo>
                    <a:pt x="4215" y="334"/>
                  </a:lnTo>
                  <a:lnTo>
                    <a:pt x="2465" y="2072"/>
                  </a:lnTo>
                  <a:lnTo>
                    <a:pt x="1727" y="1322"/>
                  </a:lnTo>
                  <a:cubicBezTo>
                    <a:pt x="1697" y="1292"/>
                    <a:pt x="1656" y="1277"/>
                    <a:pt x="1614" y="1277"/>
                  </a:cubicBezTo>
                  <a:cubicBezTo>
                    <a:pt x="1572" y="1277"/>
                    <a:pt x="1531" y="1292"/>
                    <a:pt x="1501" y="1322"/>
                  </a:cubicBezTo>
                  <a:lnTo>
                    <a:pt x="60" y="2774"/>
                  </a:lnTo>
                  <a:cubicBezTo>
                    <a:pt x="1" y="2834"/>
                    <a:pt x="1" y="2929"/>
                    <a:pt x="60" y="2989"/>
                  </a:cubicBezTo>
                  <a:cubicBezTo>
                    <a:pt x="84" y="3024"/>
                    <a:pt x="132" y="3036"/>
                    <a:pt x="179" y="3036"/>
                  </a:cubicBezTo>
                  <a:cubicBezTo>
                    <a:pt x="227" y="3036"/>
                    <a:pt x="251" y="3024"/>
                    <a:pt x="298" y="2989"/>
                  </a:cubicBezTo>
                  <a:lnTo>
                    <a:pt x="1632" y="1655"/>
                  </a:lnTo>
                  <a:lnTo>
                    <a:pt x="2382" y="2393"/>
                  </a:lnTo>
                  <a:cubicBezTo>
                    <a:pt x="2412" y="2423"/>
                    <a:pt x="2453" y="2438"/>
                    <a:pt x="2495" y="2438"/>
                  </a:cubicBezTo>
                  <a:cubicBezTo>
                    <a:pt x="2537" y="2438"/>
                    <a:pt x="2578" y="2423"/>
                    <a:pt x="2608" y="2393"/>
                  </a:cubicBezTo>
                  <a:lnTo>
                    <a:pt x="4465" y="536"/>
                  </a:lnTo>
                  <a:lnTo>
                    <a:pt x="4465" y="1000"/>
                  </a:lnTo>
                  <a:cubicBezTo>
                    <a:pt x="4465" y="1084"/>
                    <a:pt x="4537" y="1167"/>
                    <a:pt x="4632" y="1167"/>
                  </a:cubicBezTo>
                  <a:cubicBezTo>
                    <a:pt x="4715" y="1167"/>
                    <a:pt x="4787" y="1084"/>
                    <a:pt x="4787" y="1000"/>
                  </a:cubicBezTo>
                  <a:lnTo>
                    <a:pt x="4787" y="155"/>
                  </a:lnTo>
                  <a:cubicBezTo>
                    <a:pt x="4751" y="72"/>
                    <a:pt x="4692" y="0"/>
                    <a:pt x="459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311" name="Google Shape;13311;p64"/>
          <p:cNvSpPr/>
          <p:nvPr/>
        </p:nvSpPr>
        <p:spPr>
          <a:xfrm>
            <a:off x="2785967" y="3195072"/>
            <a:ext cx="10663" cy="32244"/>
          </a:xfrm>
          <a:custGeom>
            <a:avLst/>
            <a:gdLst/>
            <a:ahLst/>
            <a:cxnLst/>
            <a:rect l="l" t="t" r="r" b="b"/>
            <a:pathLst>
              <a:path w="335" h="1013" extrusionOk="0">
                <a:moveTo>
                  <a:pt x="167" y="1"/>
                </a:moveTo>
                <a:cubicBezTo>
                  <a:pt x="72" y="1"/>
                  <a:pt x="1" y="84"/>
                  <a:pt x="1" y="167"/>
                </a:cubicBezTo>
                <a:lnTo>
                  <a:pt x="1" y="858"/>
                </a:lnTo>
                <a:cubicBezTo>
                  <a:pt x="1" y="941"/>
                  <a:pt x="72" y="1013"/>
                  <a:pt x="167" y="1013"/>
                </a:cubicBezTo>
                <a:cubicBezTo>
                  <a:pt x="251" y="1013"/>
                  <a:pt x="334" y="941"/>
                  <a:pt x="334" y="858"/>
                </a:cubicBezTo>
                <a:lnTo>
                  <a:pt x="334" y="167"/>
                </a:lnTo>
                <a:cubicBezTo>
                  <a:pt x="334" y="60"/>
                  <a:pt x="251"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312" name="Google Shape;13312;p64"/>
          <p:cNvGrpSpPr/>
          <p:nvPr/>
        </p:nvGrpSpPr>
        <p:grpSpPr>
          <a:xfrm>
            <a:off x="2753401" y="2869564"/>
            <a:ext cx="382828" cy="358601"/>
            <a:chOff x="2753373" y="2902523"/>
            <a:chExt cx="347552" cy="325557"/>
          </a:xfrm>
        </p:grpSpPr>
        <p:sp>
          <p:nvSpPr>
            <p:cNvPr id="13313" name="Google Shape;13313;p64"/>
            <p:cNvSpPr/>
            <p:nvPr/>
          </p:nvSpPr>
          <p:spPr>
            <a:xfrm>
              <a:off x="2807962" y="3018575"/>
              <a:ext cx="86418" cy="29506"/>
            </a:xfrm>
            <a:custGeom>
              <a:avLst/>
              <a:gdLst/>
              <a:ahLst/>
              <a:cxnLst/>
              <a:rect l="l" t="t" r="r" b="b"/>
              <a:pathLst>
                <a:path w="2715" h="927" extrusionOk="0">
                  <a:moveTo>
                    <a:pt x="1070" y="0"/>
                  </a:moveTo>
                  <a:cubicBezTo>
                    <a:pt x="752" y="0"/>
                    <a:pt x="464" y="31"/>
                    <a:pt x="274" y="57"/>
                  </a:cubicBezTo>
                  <a:cubicBezTo>
                    <a:pt x="107" y="93"/>
                    <a:pt x="0" y="224"/>
                    <a:pt x="0" y="390"/>
                  </a:cubicBezTo>
                  <a:lnTo>
                    <a:pt x="0" y="759"/>
                  </a:lnTo>
                  <a:cubicBezTo>
                    <a:pt x="0" y="843"/>
                    <a:pt x="72" y="926"/>
                    <a:pt x="155" y="926"/>
                  </a:cubicBezTo>
                  <a:cubicBezTo>
                    <a:pt x="250" y="926"/>
                    <a:pt x="322" y="843"/>
                    <a:pt x="322" y="759"/>
                  </a:cubicBezTo>
                  <a:lnTo>
                    <a:pt x="322" y="390"/>
                  </a:lnTo>
                  <a:cubicBezTo>
                    <a:pt x="322" y="390"/>
                    <a:pt x="322" y="367"/>
                    <a:pt x="334" y="367"/>
                  </a:cubicBezTo>
                  <a:cubicBezTo>
                    <a:pt x="493" y="349"/>
                    <a:pt x="758" y="318"/>
                    <a:pt x="1059" y="318"/>
                  </a:cubicBezTo>
                  <a:cubicBezTo>
                    <a:pt x="1163" y="318"/>
                    <a:pt x="1271" y="322"/>
                    <a:pt x="1381" y="331"/>
                  </a:cubicBezTo>
                  <a:cubicBezTo>
                    <a:pt x="1870" y="355"/>
                    <a:pt x="2239" y="486"/>
                    <a:pt x="2453" y="700"/>
                  </a:cubicBezTo>
                  <a:cubicBezTo>
                    <a:pt x="2483" y="730"/>
                    <a:pt x="2524" y="745"/>
                    <a:pt x="2566" y="745"/>
                  </a:cubicBezTo>
                  <a:cubicBezTo>
                    <a:pt x="2608" y="745"/>
                    <a:pt x="2649" y="730"/>
                    <a:pt x="2679" y="700"/>
                  </a:cubicBezTo>
                  <a:cubicBezTo>
                    <a:pt x="2715" y="640"/>
                    <a:pt x="2715" y="533"/>
                    <a:pt x="2655" y="474"/>
                  </a:cubicBezTo>
                  <a:cubicBezTo>
                    <a:pt x="2276" y="95"/>
                    <a:pt x="1627" y="0"/>
                    <a:pt x="10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4" name="Google Shape;13314;p64"/>
            <p:cNvSpPr/>
            <p:nvPr/>
          </p:nvSpPr>
          <p:spPr>
            <a:xfrm>
              <a:off x="2753373" y="2973376"/>
              <a:ext cx="195213" cy="254704"/>
            </a:xfrm>
            <a:custGeom>
              <a:avLst/>
              <a:gdLst/>
              <a:ahLst/>
              <a:cxnLst/>
              <a:rect l="l" t="t" r="r" b="b"/>
              <a:pathLst>
                <a:path w="6133" h="8002" extrusionOk="0">
                  <a:moveTo>
                    <a:pt x="4787" y="298"/>
                  </a:moveTo>
                  <a:lnTo>
                    <a:pt x="4787" y="1846"/>
                  </a:lnTo>
                  <a:cubicBezTo>
                    <a:pt x="4787" y="2084"/>
                    <a:pt x="4751" y="2310"/>
                    <a:pt x="4644" y="2513"/>
                  </a:cubicBezTo>
                  <a:cubicBezTo>
                    <a:pt x="4632" y="2537"/>
                    <a:pt x="4632" y="2560"/>
                    <a:pt x="4632" y="2596"/>
                  </a:cubicBezTo>
                  <a:lnTo>
                    <a:pt x="4632" y="3037"/>
                  </a:lnTo>
                  <a:cubicBezTo>
                    <a:pt x="4632" y="3465"/>
                    <a:pt x="4442" y="3870"/>
                    <a:pt x="4132" y="4168"/>
                  </a:cubicBezTo>
                  <a:cubicBezTo>
                    <a:pt x="3852" y="4437"/>
                    <a:pt x="3484" y="4590"/>
                    <a:pt x="3099" y="4590"/>
                  </a:cubicBezTo>
                  <a:cubicBezTo>
                    <a:pt x="3059" y="4590"/>
                    <a:pt x="3018" y="4588"/>
                    <a:pt x="2977" y="4584"/>
                  </a:cubicBezTo>
                  <a:cubicBezTo>
                    <a:pt x="2156" y="4525"/>
                    <a:pt x="1513" y="3811"/>
                    <a:pt x="1513" y="2977"/>
                  </a:cubicBezTo>
                  <a:lnTo>
                    <a:pt x="1513" y="2572"/>
                  </a:lnTo>
                  <a:cubicBezTo>
                    <a:pt x="1513" y="2549"/>
                    <a:pt x="1513" y="2537"/>
                    <a:pt x="1501" y="2501"/>
                  </a:cubicBezTo>
                  <a:cubicBezTo>
                    <a:pt x="1394" y="2298"/>
                    <a:pt x="1358" y="2072"/>
                    <a:pt x="1358" y="1834"/>
                  </a:cubicBezTo>
                  <a:lnTo>
                    <a:pt x="1358" y="1513"/>
                  </a:lnTo>
                  <a:cubicBezTo>
                    <a:pt x="1358" y="834"/>
                    <a:pt x="1894" y="298"/>
                    <a:pt x="2561" y="298"/>
                  </a:cubicBezTo>
                  <a:close/>
                  <a:moveTo>
                    <a:pt x="3930" y="4680"/>
                  </a:moveTo>
                  <a:lnTo>
                    <a:pt x="3930" y="4977"/>
                  </a:lnTo>
                  <a:lnTo>
                    <a:pt x="3061" y="5573"/>
                  </a:lnTo>
                  <a:lnTo>
                    <a:pt x="2203" y="4977"/>
                  </a:lnTo>
                  <a:lnTo>
                    <a:pt x="2203" y="4680"/>
                  </a:lnTo>
                  <a:cubicBezTo>
                    <a:pt x="2430" y="4799"/>
                    <a:pt x="2680" y="4870"/>
                    <a:pt x="2942" y="4882"/>
                  </a:cubicBezTo>
                  <a:lnTo>
                    <a:pt x="3061" y="4882"/>
                  </a:lnTo>
                  <a:cubicBezTo>
                    <a:pt x="3358" y="4882"/>
                    <a:pt x="3656" y="4811"/>
                    <a:pt x="3930" y="4680"/>
                  </a:cubicBezTo>
                  <a:close/>
                  <a:moveTo>
                    <a:pt x="2084" y="5275"/>
                  </a:moveTo>
                  <a:lnTo>
                    <a:pt x="2846" y="5787"/>
                  </a:lnTo>
                  <a:lnTo>
                    <a:pt x="2430" y="6180"/>
                  </a:lnTo>
                  <a:lnTo>
                    <a:pt x="2406" y="6180"/>
                  </a:lnTo>
                  <a:lnTo>
                    <a:pt x="1918" y="5442"/>
                  </a:lnTo>
                  <a:lnTo>
                    <a:pt x="2084" y="5275"/>
                  </a:lnTo>
                  <a:close/>
                  <a:moveTo>
                    <a:pt x="4073" y="5251"/>
                  </a:moveTo>
                  <a:lnTo>
                    <a:pt x="4239" y="5418"/>
                  </a:lnTo>
                  <a:lnTo>
                    <a:pt x="3739" y="6180"/>
                  </a:lnTo>
                  <a:lnTo>
                    <a:pt x="3716" y="6180"/>
                  </a:lnTo>
                  <a:lnTo>
                    <a:pt x="3311" y="5775"/>
                  </a:lnTo>
                  <a:lnTo>
                    <a:pt x="4073" y="5251"/>
                  </a:lnTo>
                  <a:close/>
                  <a:moveTo>
                    <a:pt x="2549" y="1"/>
                  </a:moveTo>
                  <a:cubicBezTo>
                    <a:pt x="1715" y="1"/>
                    <a:pt x="1025" y="691"/>
                    <a:pt x="1025" y="1525"/>
                  </a:cubicBezTo>
                  <a:lnTo>
                    <a:pt x="1025" y="1870"/>
                  </a:lnTo>
                  <a:cubicBezTo>
                    <a:pt x="1025" y="2132"/>
                    <a:pt x="1084" y="2406"/>
                    <a:pt x="1191" y="2644"/>
                  </a:cubicBezTo>
                  <a:lnTo>
                    <a:pt x="1191" y="3001"/>
                  </a:lnTo>
                  <a:cubicBezTo>
                    <a:pt x="1191" y="3596"/>
                    <a:pt x="1453" y="4132"/>
                    <a:pt x="1870" y="4489"/>
                  </a:cubicBezTo>
                  <a:lnTo>
                    <a:pt x="1870" y="5025"/>
                  </a:lnTo>
                  <a:lnTo>
                    <a:pt x="1572" y="5335"/>
                  </a:lnTo>
                  <a:cubicBezTo>
                    <a:pt x="1549" y="5358"/>
                    <a:pt x="1537" y="5406"/>
                    <a:pt x="1537" y="5454"/>
                  </a:cubicBezTo>
                  <a:lnTo>
                    <a:pt x="548" y="5811"/>
                  </a:lnTo>
                  <a:cubicBezTo>
                    <a:pt x="227" y="5930"/>
                    <a:pt x="1" y="6239"/>
                    <a:pt x="1" y="6597"/>
                  </a:cubicBezTo>
                  <a:lnTo>
                    <a:pt x="1" y="7823"/>
                  </a:lnTo>
                  <a:cubicBezTo>
                    <a:pt x="1" y="7906"/>
                    <a:pt x="72" y="7978"/>
                    <a:pt x="167" y="7978"/>
                  </a:cubicBezTo>
                  <a:cubicBezTo>
                    <a:pt x="251" y="7978"/>
                    <a:pt x="322" y="7906"/>
                    <a:pt x="322" y="7823"/>
                  </a:cubicBezTo>
                  <a:lnTo>
                    <a:pt x="322" y="6597"/>
                  </a:lnTo>
                  <a:cubicBezTo>
                    <a:pt x="322" y="6370"/>
                    <a:pt x="465" y="6180"/>
                    <a:pt x="668" y="6108"/>
                  </a:cubicBezTo>
                  <a:lnTo>
                    <a:pt x="1691" y="5739"/>
                  </a:lnTo>
                  <a:lnTo>
                    <a:pt x="2120" y="6370"/>
                  </a:lnTo>
                  <a:cubicBezTo>
                    <a:pt x="2180" y="6466"/>
                    <a:pt x="2275" y="6501"/>
                    <a:pt x="2358" y="6525"/>
                  </a:cubicBezTo>
                  <a:lnTo>
                    <a:pt x="2394" y="6525"/>
                  </a:lnTo>
                  <a:cubicBezTo>
                    <a:pt x="2489" y="6525"/>
                    <a:pt x="2561" y="6489"/>
                    <a:pt x="2632" y="6430"/>
                  </a:cubicBezTo>
                  <a:lnTo>
                    <a:pt x="2906" y="6168"/>
                  </a:lnTo>
                  <a:lnTo>
                    <a:pt x="2906" y="7835"/>
                  </a:lnTo>
                  <a:cubicBezTo>
                    <a:pt x="2906" y="7918"/>
                    <a:pt x="2977" y="8002"/>
                    <a:pt x="3061" y="8002"/>
                  </a:cubicBezTo>
                  <a:cubicBezTo>
                    <a:pt x="3156" y="8002"/>
                    <a:pt x="3227" y="7918"/>
                    <a:pt x="3227" y="7835"/>
                  </a:cubicBezTo>
                  <a:lnTo>
                    <a:pt x="3227" y="6168"/>
                  </a:lnTo>
                  <a:lnTo>
                    <a:pt x="3501" y="6430"/>
                  </a:lnTo>
                  <a:cubicBezTo>
                    <a:pt x="3549" y="6489"/>
                    <a:pt x="3644" y="6525"/>
                    <a:pt x="3739" y="6525"/>
                  </a:cubicBezTo>
                  <a:lnTo>
                    <a:pt x="3763" y="6525"/>
                  </a:lnTo>
                  <a:cubicBezTo>
                    <a:pt x="3870" y="6501"/>
                    <a:pt x="3954" y="6466"/>
                    <a:pt x="4001" y="6370"/>
                  </a:cubicBezTo>
                  <a:lnTo>
                    <a:pt x="4430" y="5739"/>
                  </a:lnTo>
                  <a:lnTo>
                    <a:pt x="5466" y="6108"/>
                  </a:lnTo>
                  <a:cubicBezTo>
                    <a:pt x="5668" y="6180"/>
                    <a:pt x="5799" y="6370"/>
                    <a:pt x="5799" y="6597"/>
                  </a:cubicBezTo>
                  <a:lnTo>
                    <a:pt x="5799" y="7823"/>
                  </a:lnTo>
                  <a:cubicBezTo>
                    <a:pt x="5799" y="7906"/>
                    <a:pt x="5882" y="7978"/>
                    <a:pt x="5966" y="7978"/>
                  </a:cubicBezTo>
                  <a:cubicBezTo>
                    <a:pt x="6061" y="7978"/>
                    <a:pt x="6133" y="7906"/>
                    <a:pt x="6133" y="7823"/>
                  </a:cubicBezTo>
                  <a:lnTo>
                    <a:pt x="6133" y="6597"/>
                  </a:lnTo>
                  <a:cubicBezTo>
                    <a:pt x="6121" y="6228"/>
                    <a:pt x="5894" y="5918"/>
                    <a:pt x="5561" y="5787"/>
                  </a:cubicBezTo>
                  <a:lnTo>
                    <a:pt x="4585" y="5442"/>
                  </a:lnTo>
                  <a:cubicBezTo>
                    <a:pt x="4585" y="5394"/>
                    <a:pt x="4561" y="5346"/>
                    <a:pt x="4537" y="5323"/>
                  </a:cubicBezTo>
                  <a:lnTo>
                    <a:pt x="4239" y="5001"/>
                  </a:lnTo>
                  <a:lnTo>
                    <a:pt x="4239" y="4489"/>
                  </a:lnTo>
                  <a:cubicBezTo>
                    <a:pt x="4275" y="4454"/>
                    <a:pt x="4299" y="4430"/>
                    <a:pt x="4335" y="4406"/>
                  </a:cubicBezTo>
                  <a:cubicBezTo>
                    <a:pt x="4704" y="4049"/>
                    <a:pt x="4930" y="3561"/>
                    <a:pt x="4930" y="3060"/>
                  </a:cubicBezTo>
                  <a:lnTo>
                    <a:pt x="4930" y="2644"/>
                  </a:lnTo>
                  <a:cubicBezTo>
                    <a:pt x="5037" y="2382"/>
                    <a:pt x="5085" y="2132"/>
                    <a:pt x="5085" y="1870"/>
                  </a:cubicBezTo>
                  <a:lnTo>
                    <a:pt x="5085" y="167"/>
                  </a:lnTo>
                  <a:cubicBezTo>
                    <a:pt x="5085" y="84"/>
                    <a:pt x="5013" y="1"/>
                    <a:pt x="4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5" name="Google Shape;13315;p64"/>
            <p:cNvSpPr/>
            <p:nvPr/>
          </p:nvSpPr>
          <p:spPr>
            <a:xfrm>
              <a:off x="2905361" y="3195072"/>
              <a:ext cx="10631" cy="32244"/>
            </a:xfrm>
            <a:custGeom>
              <a:avLst/>
              <a:gdLst/>
              <a:ahLst/>
              <a:cxnLst/>
              <a:rect l="l" t="t" r="r" b="b"/>
              <a:pathLst>
                <a:path w="334" h="1013" extrusionOk="0">
                  <a:moveTo>
                    <a:pt x="167" y="1"/>
                  </a:moveTo>
                  <a:cubicBezTo>
                    <a:pt x="72" y="1"/>
                    <a:pt x="0" y="84"/>
                    <a:pt x="0" y="167"/>
                  </a:cubicBezTo>
                  <a:lnTo>
                    <a:pt x="0" y="858"/>
                  </a:lnTo>
                  <a:cubicBezTo>
                    <a:pt x="0" y="941"/>
                    <a:pt x="72" y="1013"/>
                    <a:pt x="167" y="1013"/>
                  </a:cubicBezTo>
                  <a:cubicBezTo>
                    <a:pt x="250" y="1013"/>
                    <a:pt x="334" y="941"/>
                    <a:pt x="334" y="858"/>
                  </a:cubicBezTo>
                  <a:lnTo>
                    <a:pt x="334" y="167"/>
                  </a:lnTo>
                  <a:cubicBezTo>
                    <a:pt x="334" y="60"/>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6" name="Google Shape;13316;p64"/>
            <p:cNvSpPr/>
            <p:nvPr/>
          </p:nvSpPr>
          <p:spPr>
            <a:xfrm>
              <a:off x="2939069" y="2934735"/>
              <a:ext cx="161856" cy="169049"/>
            </a:xfrm>
            <a:custGeom>
              <a:avLst/>
              <a:gdLst/>
              <a:ahLst/>
              <a:cxnLst/>
              <a:rect l="l" t="t" r="r" b="b"/>
              <a:pathLst>
                <a:path w="5085" h="5311" extrusionOk="0">
                  <a:moveTo>
                    <a:pt x="668" y="0"/>
                  </a:moveTo>
                  <a:cubicBezTo>
                    <a:pt x="299" y="0"/>
                    <a:pt x="1" y="298"/>
                    <a:pt x="1" y="667"/>
                  </a:cubicBezTo>
                  <a:lnTo>
                    <a:pt x="1" y="3393"/>
                  </a:lnTo>
                  <a:cubicBezTo>
                    <a:pt x="1" y="3763"/>
                    <a:pt x="299" y="4060"/>
                    <a:pt x="668" y="4060"/>
                  </a:cubicBezTo>
                  <a:lnTo>
                    <a:pt x="977" y="4060"/>
                  </a:lnTo>
                  <a:lnTo>
                    <a:pt x="739" y="5001"/>
                  </a:lnTo>
                  <a:cubicBezTo>
                    <a:pt x="715" y="5108"/>
                    <a:pt x="763" y="5203"/>
                    <a:pt x="846" y="5263"/>
                  </a:cubicBezTo>
                  <a:cubicBezTo>
                    <a:pt x="894" y="5298"/>
                    <a:pt x="941" y="5310"/>
                    <a:pt x="977" y="5310"/>
                  </a:cubicBezTo>
                  <a:cubicBezTo>
                    <a:pt x="1025" y="5310"/>
                    <a:pt x="1084" y="5298"/>
                    <a:pt x="1132" y="5263"/>
                  </a:cubicBezTo>
                  <a:lnTo>
                    <a:pt x="2763" y="4072"/>
                  </a:lnTo>
                  <a:lnTo>
                    <a:pt x="4418" y="4072"/>
                  </a:lnTo>
                  <a:cubicBezTo>
                    <a:pt x="4787" y="4072"/>
                    <a:pt x="5085" y="3774"/>
                    <a:pt x="5085" y="3405"/>
                  </a:cubicBezTo>
                  <a:lnTo>
                    <a:pt x="5085" y="679"/>
                  </a:lnTo>
                  <a:cubicBezTo>
                    <a:pt x="5061" y="298"/>
                    <a:pt x="4751" y="0"/>
                    <a:pt x="4394" y="0"/>
                  </a:cubicBezTo>
                  <a:lnTo>
                    <a:pt x="3537" y="0"/>
                  </a:lnTo>
                  <a:cubicBezTo>
                    <a:pt x="3454" y="0"/>
                    <a:pt x="3370" y="72"/>
                    <a:pt x="3370" y="167"/>
                  </a:cubicBezTo>
                  <a:cubicBezTo>
                    <a:pt x="3370" y="250"/>
                    <a:pt x="3454" y="322"/>
                    <a:pt x="3537" y="322"/>
                  </a:cubicBezTo>
                  <a:lnTo>
                    <a:pt x="4394" y="322"/>
                  </a:lnTo>
                  <a:cubicBezTo>
                    <a:pt x="4585" y="322"/>
                    <a:pt x="4751" y="488"/>
                    <a:pt x="4751" y="679"/>
                  </a:cubicBezTo>
                  <a:lnTo>
                    <a:pt x="4751" y="3405"/>
                  </a:lnTo>
                  <a:cubicBezTo>
                    <a:pt x="4751" y="3596"/>
                    <a:pt x="4585" y="3763"/>
                    <a:pt x="4394" y="3763"/>
                  </a:cubicBezTo>
                  <a:lnTo>
                    <a:pt x="2692" y="3763"/>
                  </a:lnTo>
                  <a:cubicBezTo>
                    <a:pt x="2668" y="3763"/>
                    <a:pt x="2632" y="3774"/>
                    <a:pt x="2608" y="3798"/>
                  </a:cubicBezTo>
                  <a:lnTo>
                    <a:pt x="1084" y="4894"/>
                  </a:lnTo>
                  <a:lnTo>
                    <a:pt x="1322" y="3953"/>
                  </a:lnTo>
                  <a:cubicBezTo>
                    <a:pt x="1334" y="3917"/>
                    <a:pt x="1322" y="3858"/>
                    <a:pt x="1287" y="3822"/>
                  </a:cubicBezTo>
                  <a:cubicBezTo>
                    <a:pt x="1263" y="3774"/>
                    <a:pt x="1215" y="3763"/>
                    <a:pt x="1180" y="3763"/>
                  </a:cubicBezTo>
                  <a:lnTo>
                    <a:pt x="668" y="3763"/>
                  </a:lnTo>
                  <a:cubicBezTo>
                    <a:pt x="477" y="3763"/>
                    <a:pt x="310" y="3596"/>
                    <a:pt x="310" y="3405"/>
                  </a:cubicBezTo>
                  <a:lnTo>
                    <a:pt x="310" y="679"/>
                  </a:lnTo>
                  <a:cubicBezTo>
                    <a:pt x="310" y="488"/>
                    <a:pt x="477" y="322"/>
                    <a:pt x="668" y="322"/>
                  </a:cubicBezTo>
                  <a:lnTo>
                    <a:pt x="1513" y="322"/>
                  </a:lnTo>
                  <a:cubicBezTo>
                    <a:pt x="1608" y="322"/>
                    <a:pt x="1680" y="250"/>
                    <a:pt x="1680" y="167"/>
                  </a:cubicBezTo>
                  <a:cubicBezTo>
                    <a:pt x="1680" y="72"/>
                    <a:pt x="1608" y="0"/>
                    <a:pt x="1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7" name="Google Shape;13317;p64"/>
            <p:cNvSpPr/>
            <p:nvPr/>
          </p:nvSpPr>
          <p:spPr>
            <a:xfrm>
              <a:off x="3002379" y="2902523"/>
              <a:ext cx="32244" cy="96668"/>
            </a:xfrm>
            <a:custGeom>
              <a:avLst/>
              <a:gdLst/>
              <a:ahLst/>
              <a:cxnLst/>
              <a:rect l="l" t="t" r="r" b="b"/>
              <a:pathLst>
                <a:path w="1013" h="3037" extrusionOk="0">
                  <a:moveTo>
                    <a:pt x="691" y="310"/>
                  </a:moveTo>
                  <a:lnTo>
                    <a:pt x="536" y="2727"/>
                  </a:lnTo>
                  <a:lnTo>
                    <a:pt x="500" y="2727"/>
                  </a:lnTo>
                  <a:lnTo>
                    <a:pt x="345" y="310"/>
                  </a:lnTo>
                  <a:close/>
                  <a:moveTo>
                    <a:pt x="167" y="0"/>
                  </a:moveTo>
                  <a:cubicBezTo>
                    <a:pt x="119" y="0"/>
                    <a:pt x="84" y="12"/>
                    <a:pt x="48" y="48"/>
                  </a:cubicBezTo>
                  <a:cubicBezTo>
                    <a:pt x="24" y="72"/>
                    <a:pt x="0" y="119"/>
                    <a:pt x="0" y="167"/>
                  </a:cubicBezTo>
                  <a:lnTo>
                    <a:pt x="167" y="2881"/>
                  </a:lnTo>
                  <a:cubicBezTo>
                    <a:pt x="167" y="2977"/>
                    <a:pt x="238" y="3036"/>
                    <a:pt x="334" y="3036"/>
                  </a:cubicBezTo>
                  <a:lnTo>
                    <a:pt x="679" y="3036"/>
                  </a:lnTo>
                  <a:cubicBezTo>
                    <a:pt x="762" y="3036"/>
                    <a:pt x="822" y="2977"/>
                    <a:pt x="834" y="2881"/>
                  </a:cubicBezTo>
                  <a:lnTo>
                    <a:pt x="1000" y="167"/>
                  </a:lnTo>
                  <a:cubicBezTo>
                    <a:pt x="1012" y="119"/>
                    <a:pt x="1000" y="72"/>
                    <a:pt x="977" y="48"/>
                  </a:cubicBezTo>
                  <a:cubicBezTo>
                    <a:pt x="941" y="12"/>
                    <a:pt x="893" y="0"/>
                    <a:pt x="85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8" name="Google Shape;13318;p64"/>
            <p:cNvSpPr/>
            <p:nvPr/>
          </p:nvSpPr>
          <p:spPr>
            <a:xfrm>
              <a:off x="3003143" y="3005206"/>
              <a:ext cx="32244" cy="32244"/>
            </a:xfrm>
            <a:custGeom>
              <a:avLst/>
              <a:gdLst/>
              <a:ahLst/>
              <a:cxnLst/>
              <a:rect l="l" t="t" r="r" b="b"/>
              <a:pathLst>
                <a:path w="1013" h="1013" extrusionOk="0">
                  <a:moveTo>
                    <a:pt x="500" y="322"/>
                  </a:moveTo>
                  <a:cubicBezTo>
                    <a:pt x="607" y="322"/>
                    <a:pt x="679" y="406"/>
                    <a:pt x="679" y="513"/>
                  </a:cubicBezTo>
                  <a:cubicBezTo>
                    <a:pt x="679" y="608"/>
                    <a:pt x="595" y="691"/>
                    <a:pt x="500" y="691"/>
                  </a:cubicBezTo>
                  <a:cubicBezTo>
                    <a:pt x="393" y="691"/>
                    <a:pt x="321" y="608"/>
                    <a:pt x="321" y="513"/>
                  </a:cubicBezTo>
                  <a:cubicBezTo>
                    <a:pt x="321" y="406"/>
                    <a:pt x="393" y="322"/>
                    <a:pt x="500" y="322"/>
                  </a:cubicBezTo>
                  <a:close/>
                  <a:moveTo>
                    <a:pt x="500" y="1"/>
                  </a:moveTo>
                  <a:cubicBezTo>
                    <a:pt x="214" y="1"/>
                    <a:pt x="0" y="227"/>
                    <a:pt x="0" y="513"/>
                  </a:cubicBezTo>
                  <a:cubicBezTo>
                    <a:pt x="0" y="787"/>
                    <a:pt x="214" y="1013"/>
                    <a:pt x="500" y="1013"/>
                  </a:cubicBezTo>
                  <a:cubicBezTo>
                    <a:pt x="786" y="1013"/>
                    <a:pt x="1012" y="787"/>
                    <a:pt x="1012" y="513"/>
                  </a:cubicBezTo>
                  <a:cubicBezTo>
                    <a:pt x="988" y="227"/>
                    <a:pt x="762"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19" name="Google Shape;13319;p64"/>
          <p:cNvGrpSpPr/>
          <p:nvPr/>
        </p:nvGrpSpPr>
        <p:grpSpPr>
          <a:xfrm>
            <a:off x="849016" y="2903255"/>
            <a:ext cx="356655" cy="335425"/>
            <a:chOff x="849016" y="2903255"/>
            <a:chExt cx="356655" cy="335425"/>
          </a:xfrm>
        </p:grpSpPr>
        <p:sp>
          <p:nvSpPr>
            <p:cNvPr id="13320" name="Google Shape;13320;p64"/>
            <p:cNvSpPr/>
            <p:nvPr/>
          </p:nvSpPr>
          <p:spPr>
            <a:xfrm>
              <a:off x="849016" y="2903255"/>
              <a:ext cx="356655" cy="335425"/>
            </a:xfrm>
            <a:custGeom>
              <a:avLst/>
              <a:gdLst/>
              <a:ahLst/>
              <a:cxnLst/>
              <a:rect l="l" t="t" r="r" b="b"/>
              <a:pathLst>
                <a:path w="11205" h="10538" extrusionOk="0">
                  <a:moveTo>
                    <a:pt x="9835" y="3192"/>
                  </a:moveTo>
                  <a:lnTo>
                    <a:pt x="9835" y="3680"/>
                  </a:lnTo>
                  <a:lnTo>
                    <a:pt x="2692" y="3680"/>
                  </a:lnTo>
                  <a:cubicBezTo>
                    <a:pt x="2608" y="3680"/>
                    <a:pt x="2525" y="3751"/>
                    <a:pt x="2525" y="3847"/>
                  </a:cubicBezTo>
                  <a:cubicBezTo>
                    <a:pt x="2525" y="3930"/>
                    <a:pt x="2608" y="4013"/>
                    <a:pt x="2692" y="4013"/>
                  </a:cubicBezTo>
                  <a:lnTo>
                    <a:pt x="10824" y="4013"/>
                  </a:lnTo>
                  <a:cubicBezTo>
                    <a:pt x="10847" y="4013"/>
                    <a:pt x="10883" y="4037"/>
                    <a:pt x="10883" y="4073"/>
                  </a:cubicBezTo>
                  <a:lnTo>
                    <a:pt x="10883" y="6478"/>
                  </a:lnTo>
                  <a:cubicBezTo>
                    <a:pt x="10883" y="6514"/>
                    <a:pt x="10847" y="6537"/>
                    <a:pt x="10824" y="6537"/>
                  </a:cubicBezTo>
                  <a:lnTo>
                    <a:pt x="382" y="6537"/>
                  </a:lnTo>
                  <a:cubicBezTo>
                    <a:pt x="358" y="6537"/>
                    <a:pt x="322" y="6502"/>
                    <a:pt x="322" y="6478"/>
                  </a:cubicBezTo>
                  <a:lnTo>
                    <a:pt x="322" y="4073"/>
                  </a:lnTo>
                  <a:cubicBezTo>
                    <a:pt x="322" y="4037"/>
                    <a:pt x="358" y="4013"/>
                    <a:pt x="382" y="4013"/>
                  </a:cubicBezTo>
                  <a:lnTo>
                    <a:pt x="2025" y="4013"/>
                  </a:lnTo>
                  <a:cubicBezTo>
                    <a:pt x="2108" y="4013"/>
                    <a:pt x="2192" y="3930"/>
                    <a:pt x="2192" y="3847"/>
                  </a:cubicBezTo>
                  <a:cubicBezTo>
                    <a:pt x="2192" y="3751"/>
                    <a:pt x="2108" y="3680"/>
                    <a:pt x="2025" y="3680"/>
                  </a:cubicBezTo>
                  <a:lnTo>
                    <a:pt x="1394" y="3680"/>
                  </a:lnTo>
                  <a:lnTo>
                    <a:pt x="1394" y="3192"/>
                  </a:lnTo>
                  <a:close/>
                  <a:moveTo>
                    <a:pt x="9824" y="6871"/>
                  </a:moveTo>
                  <a:lnTo>
                    <a:pt x="9824" y="7359"/>
                  </a:lnTo>
                  <a:lnTo>
                    <a:pt x="1382" y="7359"/>
                  </a:lnTo>
                  <a:lnTo>
                    <a:pt x="1382" y="6871"/>
                  </a:lnTo>
                  <a:close/>
                  <a:moveTo>
                    <a:pt x="382" y="1"/>
                  </a:moveTo>
                  <a:cubicBezTo>
                    <a:pt x="179" y="1"/>
                    <a:pt x="1" y="180"/>
                    <a:pt x="1" y="394"/>
                  </a:cubicBezTo>
                  <a:lnTo>
                    <a:pt x="1" y="2799"/>
                  </a:lnTo>
                  <a:cubicBezTo>
                    <a:pt x="1" y="3013"/>
                    <a:pt x="179" y="3192"/>
                    <a:pt x="382" y="3192"/>
                  </a:cubicBezTo>
                  <a:lnTo>
                    <a:pt x="1061" y="3192"/>
                  </a:lnTo>
                  <a:lnTo>
                    <a:pt x="1061" y="3680"/>
                  </a:lnTo>
                  <a:lnTo>
                    <a:pt x="382" y="3680"/>
                  </a:lnTo>
                  <a:cubicBezTo>
                    <a:pt x="179" y="3680"/>
                    <a:pt x="1" y="3859"/>
                    <a:pt x="1" y="4073"/>
                  </a:cubicBezTo>
                  <a:lnTo>
                    <a:pt x="1" y="6478"/>
                  </a:lnTo>
                  <a:cubicBezTo>
                    <a:pt x="1" y="6692"/>
                    <a:pt x="179" y="6871"/>
                    <a:pt x="382" y="6871"/>
                  </a:cubicBezTo>
                  <a:lnTo>
                    <a:pt x="1061" y="6871"/>
                  </a:lnTo>
                  <a:lnTo>
                    <a:pt x="1061" y="7359"/>
                  </a:lnTo>
                  <a:lnTo>
                    <a:pt x="382" y="7359"/>
                  </a:lnTo>
                  <a:cubicBezTo>
                    <a:pt x="179" y="7359"/>
                    <a:pt x="1" y="7538"/>
                    <a:pt x="1" y="7740"/>
                  </a:cubicBezTo>
                  <a:lnTo>
                    <a:pt x="1" y="10157"/>
                  </a:lnTo>
                  <a:cubicBezTo>
                    <a:pt x="1" y="10359"/>
                    <a:pt x="179" y="10538"/>
                    <a:pt x="382" y="10538"/>
                  </a:cubicBezTo>
                  <a:lnTo>
                    <a:pt x="5002" y="10538"/>
                  </a:lnTo>
                  <a:cubicBezTo>
                    <a:pt x="5085" y="10538"/>
                    <a:pt x="5168" y="10466"/>
                    <a:pt x="5168" y="10383"/>
                  </a:cubicBezTo>
                  <a:cubicBezTo>
                    <a:pt x="5168" y="10288"/>
                    <a:pt x="5085" y="10216"/>
                    <a:pt x="5002" y="10216"/>
                  </a:cubicBezTo>
                  <a:lnTo>
                    <a:pt x="382" y="10216"/>
                  </a:lnTo>
                  <a:cubicBezTo>
                    <a:pt x="358" y="10216"/>
                    <a:pt x="322" y="10181"/>
                    <a:pt x="322" y="10157"/>
                  </a:cubicBezTo>
                  <a:lnTo>
                    <a:pt x="322" y="7740"/>
                  </a:lnTo>
                  <a:cubicBezTo>
                    <a:pt x="322" y="7716"/>
                    <a:pt x="358" y="7680"/>
                    <a:pt x="382" y="7680"/>
                  </a:cubicBezTo>
                  <a:lnTo>
                    <a:pt x="10824" y="7680"/>
                  </a:lnTo>
                  <a:cubicBezTo>
                    <a:pt x="10847" y="7680"/>
                    <a:pt x="10883" y="7716"/>
                    <a:pt x="10883" y="7740"/>
                  </a:cubicBezTo>
                  <a:lnTo>
                    <a:pt x="10883" y="10157"/>
                  </a:lnTo>
                  <a:cubicBezTo>
                    <a:pt x="10883" y="10181"/>
                    <a:pt x="10847" y="10216"/>
                    <a:pt x="10824" y="10216"/>
                  </a:cubicBezTo>
                  <a:lnTo>
                    <a:pt x="5716" y="10216"/>
                  </a:lnTo>
                  <a:cubicBezTo>
                    <a:pt x="5621" y="10216"/>
                    <a:pt x="5549" y="10288"/>
                    <a:pt x="5549" y="10383"/>
                  </a:cubicBezTo>
                  <a:cubicBezTo>
                    <a:pt x="5549" y="10466"/>
                    <a:pt x="5621" y="10538"/>
                    <a:pt x="5716" y="10538"/>
                  </a:cubicBezTo>
                  <a:lnTo>
                    <a:pt x="10824" y="10538"/>
                  </a:lnTo>
                  <a:cubicBezTo>
                    <a:pt x="11026" y="10538"/>
                    <a:pt x="11205" y="10359"/>
                    <a:pt x="11205" y="10157"/>
                  </a:cubicBezTo>
                  <a:lnTo>
                    <a:pt x="11205" y="7740"/>
                  </a:lnTo>
                  <a:cubicBezTo>
                    <a:pt x="11205" y="7538"/>
                    <a:pt x="11026" y="7359"/>
                    <a:pt x="10824" y="7359"/>
                  </a:cubicBezTo>
                  <a:lnTo>
                    <a:pt x="10145" y="7359"/>
                  </a:lnTo>
                  <a:lnTo>
                    <a:pt x="10145" y="6871"/>
                  </a:lnTo>
                  <a:lnTo>
                    <a:pt x="10824" y="6871"/>
                  </a:lnTo>
                  <a:cubicBezTo>
                    <a:pt x="11026" y="6871"/>
                    <a:pt x="11205" y="6692"/>
                    <a:pt x="11205" y="6478"/>
                  </a:cubicBezTo>
                  <a:lnTo>
                    <a:pt x="11205" y="4073"/>
                  </a:lnTo>
                  <a:cubicBezTo>
                    <a:pt x="11205" y="3859"/>
                    <a:pt x="11026" y="3680"/>
                    <a:pt x="10824" y="3680"/>
                  </a:cubicBezTo>
                  <a:lnTo>
                    <a:pt x="10145" y="3680"/>
                  </a:lnTo>
                  <a:lnTo>
                    <a:pt x="10145" y="3192"/>
                  </a:lnTo>
                  <a:lnTo>
                    <a:pt x="10824" y="3192"/>
                  </a:lnTo>
                  <a:cubicBezTo>
                    <a:pt x="11026" y="3192"/>
                    <a:pt x="11205" y="3013"/>
                    <a:pt x="11205" y="2799"/>
                  </a:cubicBezTo>
                  <a:lnTo>
                    <a:pt x="11205" y="394"/>
                  </a:lnTo>
                  <a:cubicBezTo>
                    <a:pt x="11205" y="180"/>
                    <a:pt x="11026" y="1"/>
                    <a:pt x="10824" y="1"/>
                  </a:cubicBezTo>
                  <a:lnTo>
                    <a:pt x="9716" y="1"/>
                  </a:lnTo>
                  <a:cubicBezTo>
                    <a:pt x="9633" y="1"/>
                    <a:pt x="9550" y="72"/>
                    <a:pt x="9550" y="168"/>
                  </a:cubicBezTo>
                  <a:cubicBezTo>
                    <a:pt x="9550" y="251"/>
                    <a:pt x="9633" y="334"/>
                    <a:pt x="9716" y="334"/>
                  </a:cubicBezTo>
                  <a:lnTo>
                    <a:pt x="10824" y="334"/>
                  </a:lnTo>
                  <a:cubicBezTo>
                    <a:pt x="10847" y="334"/>
                    <a:pt x="10883" y="358"/>
                    <a:pt x="10883" y="394"/>
                  </a:cubicBezTo>
                  <a:lnTo>
                    <a:pt x="10883" y="2799"/>
                  </a:lnTo>
                  <a:cubicBezTo>
                    <a:pt x="10883" y="2835"/>
                    <a:pt x="10847" y="2858"/>
                    <a:pt x="10824" y="2858"/>
                  </a:cubicBezTo>
                  <a:lnTo>
                    <a:pt x="382" y="2858"/>
                  </a:lnTo>
                  <a:cubicBezTo>
                    <a:pt x="358" y="2858"/>
                    <a:pt x="322" y="2835"/>
                    <a:pt x="322" y="2799"/>
                  </a:cubicBezTo>
                  <a:lnTo>
                    <a:pt x="322" y="394"/>
                  </a:lnTo>
                  <a:cubicBezTo>
                    <a:pt x="322" y="358"/>
                    <a:pt x="358" y="334"/>
                    <a:pt x="382" y="334"/>
                  </a:cubicBezTo>
                  <a:lnTo>
                    <a:pt x="9062" y="334"/>
                  </a:lnTo>
                  <a:cubicBezTo>
                    <a:pt x="9157" y="334"/>
                    <a:pt x="9228" y="251"/>
                    <a:pt x="9228" y="168"/>
                  </a:cubicBezTo>
                  <a:cubicBezTo>
                    <a:pt x="9228" y="72"/>
                    <a:pt x="9157" y="1"/>
                    <a:pt x="90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1" name="Google Shape;13321;p64"/>
            <p:cNvSpPr/>
            <p:nvPr/>
          </p:nvSpPr>
          <p:spPr>
            <a:xfrm>
              <a:off x="1137046" y="2932825"/>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70"/>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2" name="Google Shape;13322;p64"/>
            <p:cNvSpPr/>
            <p:nvPr/>
          </p:nvSpPr>
          <p:spPr>
            <a:xfrm>
              <a:off x="1080579" y="2932825"/>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70"/>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3" name="Google Shape;13323;p64"/>
            <p:cNvSpPr/>
            <p:nvPr/>
          </p:nvSpPr>
          <p:spPr>
            <a:xfrm>
              <a:off x="879350" y="2949122"/>
              <a:ext cx="187988" cy="10631"/>
            </a:xfrm>
            <a:custGeom>
              <a:avLst/>
              <a:gdLst/>
              <a:ahLst/>
              <a:cxnLst/>
              <a:rect l="l" t="t" r="r" b="b"/>
              <a:pathLst>
                <a:path w="5906" h="334" extrusionOk="0">
                  <a:moveTo>
                    <a:pt x="167" y="1"/>
                  </a:moveTo>
                  <a:cubicBezTo>
                    <a:pt x="72" y="1"/>
                    <a:pt x="0" y="84"/>
                    <a:pt x="0" y="167"/>
                  </a:cubicBezTo>
                  <a:cubicBezTo>
                    <a:pt x="0" y="263"/>
                    <a:pt x="72" y="334"/>
                    <a:pt x="167" y="334"/>
                  </a:cubicBezTo>
                  <a:lnTo>
                    <a:pt x="5739" y="334"/>
                  </a:lnTo>
                  <a:cubicBezTo>
                    <a:pt x="5834" y="334"/>
                    <a:pt x="5906" y="263"/>
                    <a:pt x="5906" y="167"/>
                  </a:cubicBezTo>
                  <a:cubicBezTo>
                    <a:pt x="5906" y="84"/>
                    <a:pt x="5834" y="1"/>
                    <a:pt x="5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4" name="Google Shape;13324;p64"/>
            <p:cNvSpPr/>
            <p:nvPr/>
          </p:nvSpPr>
          <p:spPr>
            <a:xfrm>
              <a:off x="1137046" y="3050309"/>
              <a:ext cx="43607" cy="43607"/>
            </a:xfrm>
            <a:custGeom>
              <a:avLst/>
              <a:gdLst/>
              <a:ahLst/>
              <a:cxnLst/>
              <a:rect l="l" t="t" r="r" b="b"/>
              <a:pathLst>
                <a:path w="1370" h="1370" extrusionOk="0">
                  <a:moveTo>
                    <a:pt x="679" y="322"/>
                  </a:moveTo>
                  <a:cubicBezTo>
                    <a:pt x="882" y="322"/>
                    <a:pt x="1036" y="489"/>
                    <a:pt x="1036" y="679"/>
                  </a:cubicBezTo>
                  <a:cubicBezTo>
                    <a:pt x="1036" y="882"/>
                    <a:pt x="882" y="1036"/>
                    <a:pt x="679" y="1036"/>
                  </a:cubicBezTo>
                  <a:cubicBezTo>
                    <a:pt x="489" y="1036"/>
                    <a:pt x="322" y="882"/>
                    <a:pt x="322" y="679"/>
                  </a:cubicBezTo>
                  <a:cubicBezTo>
                    <a:pt x="322" y="489"/>
                    <a:pt x="489" y="322"/>
                    <a:pt x="679" y="322"/>
                  </a:cubicBezTo>
                  <a:close/>
                  <a:moveTo>
                    <a:pt x="679" y="1"/>
                  </a:moveTo>
                  <a:cubicBezTo>
                    <a:pt x="310" y="1"/>
                    <a:pt x="1" y="310"/>
                    <a:pt x="1" y="679"/>
                  </a:cubicBezTo>
                  <a:cubicBezTo>
                    <a:pt x="1" y="1060"/>
                    <a:pt x="310" y="1370"/>
                    <a:pt x="679" y="1370"/>
                  </a:cubicBezTo>
                  <a:cubicBezTo>
                    <a:pt x="1060" y="1370"/>
                    <a:pt x="1370" y="1060"/>
                    <a:pt x="1370" y="679"/>
                  </a:cubicBezTo>
                  <a:cubicBezTo>
                    <a:pt x="1370" y="310"/>
                    <a:pt x="1060"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5" name="Google Shape;13325;p64"/>
            <p:cNvSpPr/>
            <p:nvPr/>
          </p:nvSpPr>
          <p:spPr>
            <a:xfrm>
              <a:off x="1080579" y="3050309"/>
              <a:ext cx="43607" cy="43607"/>
            </a:xfrm>
            <a:custGeom>
              <a:avLst/>
              <a:gdLst/>
              <a:ahLst/>
              <a:cxnLst/>
              <a:rect l="l" t="t" r="r" b="b"/>
              <a:pathLst>
                <a:path w="1370" h="1370" extrusionOk="0">
                  <a:moveTo>
                    <a:pt x="691" y="322"/>
                  </a:moveTo>
                  <a:cubicBezTo>
                    <a:pt x="882" y="322"/>
                    <a:pt x="1048" y="489"/>
                    <a:pt x="1048" y="679"/>
                  </a:cubicBezTo>
                  <a:cubicBezTo>
                    <a:pt x="1048" y="882"/>
                    <a:pt x="882" y="1036"/>
                    <a:pt x="691" y="1036"/>
                  </a:cubicBezTo>
                  <a:cubicBezTo>
                    <a:pt x="489" y="1036"/>
                    <a:pt x="334" y="882"/>
                    <a:pt x="334" y="679"/>
                  </a:cubicBezTo>
                  <a:cubicBezTo>
                    <a:pt x="334" y="489"/>
                    <a:pt x="489" y="322"/>
                    <a:pt x="691" y="322"/>
                  </a:cubicBezTo>
                  <a:close/>
                  <a:moveTo>
                    <a:pt x="691" y="1"/>
                  </a:moveTo>
                  <a:cubicBezTo>
                    <a:pt x="310" y="1"/>
                    <a:pt x="1" y="310"/>
                    <a:pt x="1" y="679"/>
                  </a:cubicBezTo>
                  <a:cubicBezTo>
                    <a:pt x="1" y="1060"/>
                    <a:pt x="310" y="1370"/>
                    <a:pt x="691" y="1370"/>
                  </a:cubicBezTo>
                  <a:cubicBezTo>
                    <a:pt x="1060" y="1370"/>
                    <a:pt x="1370" y="1060"/>
                    <a:pt x="1370" y="679"/>
                  </a:cubicBezTo>
                  <a:cubicBezTo>
                    <a:pt x="1370"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6" name="Google Shape;13326;p64"/>
            <p:cNvSpPr/>
            <p:nvPr/>
          </p:nvSpPr>
          <p:spPr>
            <a:xfrm>
              <a:off x="879350" y="3066988"/>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72"/>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7" name="Google Shape;13327;p64"/>
            <p:cNvSpPr/>
            <p:nvPr/>
          </p:nvSpPr>
          <p:spPr>
            <a:xfrm>
              <a:off x="1137046" y="3167794"/>
              <a:ext cx="43607" cy="43607"/>
            </a:xfrm>
            <a:custGeom>
              <a:avLst/>
              <a:gdLst/>
              <a:ahLst/>
              <a:cxnLst/>
              <a:rect l="l" t="t" r="r" b="b"/>
              <a:pathLst>
                <a:path w="1370" h="1370" extrusionOk="0">
                  <a:moveTo>
                    <a:pt x="679" y="310"/>
                  </a:moveTo>
                  <a:cubicBezTo>
                    <a:pt x="882" y="310"/>
                    <a:pt x="1036" y="477"/>
                    <a:pt x="1036" y="667"/>
                  </a:cubicBezTo>
                  <a:cubicBezTo>
                    <a:pt x="1036" y="870"/>
                    <a:pt x="882" y="1024"/>
                    <a:pt x="679" y="1024"/>
                  </a:cubicBezTo>
                  <a:cubicBezTo>
                    <a:pt x="489" y="1024"/>
                    <a:pt x="322" y="858"/>
                    <a:pt x="322" y="667"/>
                  </a:cubicBezTo>
                  <a:cubicBezTo>
                    <a:pt x="322" y="477"/>
                    <a:pt x="489" y="310"/>
                    <a:pt x="679" y="310"/>
                  </a:cubicBezTo>
                  <a:close/>
                  <a:moveTo>
                    <a:pt x="679" y="0"/>
                  </a:moveTo>
                  <a:cubicBezTo>
                    <a:pt x="310" y="0"/>
                    <a:pt x="1" y="310"/>
                    <a:pt x="1" y="679"/>
                  </a:cubicBezTo>
                  <a:cubicBezTo>
                    <a:pt x="1" y="1060"/>
                    <a:pt x="310" y="1370"/>
                    <a:pt x="679" y="1370"/>
                  </a:cubicBezTo>
                  <a:cubicBezTo>
                    <a:pt x="1060" y="1370"/>
                    <a:pt x="1370" y="1060"/>
                    <a:pt x="1370" y="679"/>
                  </a:cubicBezTo>
                  <a:cubicBezTo>
                    <a:pt x="1370" y="298"/>
                    <a:pt x="1060"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8" name="Google Shape;13328;p64"/>
            <p:cNvSpPr/>
            <p:nvPr/>
          </p:nvSpPr>
          <p:spPr>
            <a:xfrm>
              <a:off x="1080579" y="3167794"/>
              <a:ext cx="43607" cy="43607"/>
            </a:xfrm>
            <a:custGeom>
              <a:avLst/>
              <a:gdLst/>
              <a:ahLst/>
              <a:cxnLst/>
              <a:rect l="l" t="t" r="r" b="b"/>
              <a:pathLst>
                <a:path w="1370" h="1370" extrusionOk="0">
                  <a:moveTo>
                    <a:pt x="691" y="310"/>
                  </a:moveTo>
                  <a:cubicBezTo>
                    <a:pt x="882" y="310"/>
                    <a:pt x="1048" y="477"/>
                    <a:pt x="1048" y="667"/>
                  </a:cubicBezTo>
                  <a:cubicBezTo>
                    <a:pt x="1048" y="870"/>
                    <a:pt x="882" y="1024"/>
                    <a:pt x="691" y="1024"/>
                  </a:cubicBezTo>
                  <a:cubicBezTo>
                    <a:pt x="489" y="1024"/>
                    <a:pt x="334" y="858"/>
                    <a:pt x="334" y="667"/>
                  </a:cubicBezTo>
                  <a:cubicBezTo>
                    <a:pt x="334" y="477"/>
                    <a:pt x="489" y="310"/>
                    <a:pt x="691" y="310"/>
                  </a:cubicBezTo>
                  <a:close/>
                  <a:moveTo>
                    <a:pt x="691" y="0"/>
                  </a:moveTo>
                  <a:cubicBezTo>
                    <a:pt x="310" y="0"/>
                    <a:pt x="1" y="310"/>
                    <a:pt x="1" y="679"/>
                  </a:cubicBezTo>
                  <a:cubicBezTo>
                    <a:pt x="1" y="1060"/>
                    <a:pt x="310" y="1370"/>
                    <a:pt x="691" y="1370"/>
                  </a:cubicBezTo>
                  <a:cubicBezTo>
                    <a:pt x="1060" y="1370"/>
                    <a:pt x="1370" y="1060"/>
                    <a:pt x="1370" y="679"/>
                  </a:cubicBezTo>
                  <a:cubicBezTo>
                    <a:pt x="1370" y="298"/>
                    <a:pt x="1072"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9" name="Google Shape;13329;p64"/>
            <p:cNvSpPr/>
            <p:nvPr/>
          </p:nvSpPr>
          <p:spPr>
            <a:xfrm>
              <a:off x="879350" y="3184473"/>
              <a:ext cx="187988" cy="10249"/>
            </a:xfrm>
            <a:custGeom>
              <a:avLst/>
              <a:gdLst/>
              <a:ahLst/>
              <a:cxnLst/>
              <a:rect l="l" t="t" r="r" b="b"/>
              <a:pathLst>
                <a:path w="5906" h="322" extrusionOk="0">
                  <a:moveTo>
                    <a:pt x="167" y="0"/>
                  </a:moveTo>
                  <a:cubicBezTo>
                    <a:pt x="72" y="0"/>
                    <a:pt x="0" y="72"/>
                    <a:pt x="0" y="155"/>
                  </a:cubicBezTo>
                  <a:cubicBezTo>
                    <a:pt x="0" y="250"/>
                    <a:pt x="72" y="322"/>
                    <a:pt x="167" y="322"/>
                  </a:cubicBezTo>
                  <a:lnTo>
                    <a:pt x="5739" y="322"/>
                  </a:lnTo>
                  <a:cubicBezTo>
                    <a:pt x="5834" y="322"/>
                    <a:pt x="5906" y="250"/>
                    <a:pt x="5906" y="155"/>
                  </a:cubicBezTo>
                  <a:cubicBezTo>
                    <a:pt x="5906" y="48"/>
                    <a:pt x="5834" y="0"/>
                    <a:pt x="5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0" name="Google Shape;13330;p64"/>
            <p:cNvSpPr/>
            <p:nvPr/>
          </p:nvSpPr>
          <p:spPr>
            <a:xfrm>
              <a:off x="879350" y="3083285"/>
              <a:ext cx="25432" cy="10631"/>
            </a:xfrm>
            <a:custGeom>
              <a:avLst/>
              <a:gdLst/>
              <a:ahLst/>
              <a:cxnLst/>
              <a:rect l="l" t="t" r="r" b="b"/>
              <a:pathLst>
                <a:path w="799" h="334" extrusionOk="0">
                  <a:moveTo>
                    <a:pt x="167" y="0"/>
                  </a:moveTo>
                  <a:cubicBezTo>
                    <a:pt x="72" y="0"/>
                    <a:pt x="0" y="84"/>
                    <a:pt x="0" y="167"/>
                  </a:cubicBezTo>
                  <a:cubicBezTo>
                    <a:pt x="0" y="262"/>
                    <a:pt x="72" y="334"/>
                    <a:pt x="167" y="334"/>
                  </a:cubicBezTo>
                  <a:lnTo>
                    <a:pt x="643" y="334"/>
                  </a:lnTo>
                  <a:cubicBezTo>
                    <a:pt x="727" y="334"/>
                    <a:pt x="798" y="262"/>
                    <a:pt x="798" y="167"/>
                  </a:cubicBezTo>
                  <a:cubicBezTo>
                    <a:pt x="798" y="84"/>
                    <a:pt x="727"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31" name="Google Shape;13331;p64"/>
          <p:cNvGrpSpPr/>
          <p:nvPr/>
        </p:nvGrpSpPr>
        <p:grpSpPr>
          <a:xfrm>
            <a:off x="4210933" y="2926777"/>
            <a:ext cx="280072" cy="275520"/>
            <a:chOff x="4210933" y="2926777"/>
            <a:chExt cx="280072" cy="275520"/>
          </a:xfrm>
        </p:grpSpPr>
        <p:sp>
          <p:nvSpPr>
            <p:cNvPr id="13332" name="Google Shape;13332;p64"/>
            <p:cNvSpPr/>
            <p:nvPr/>
          </p:nvSpPr>
          <p:spPr>
            <a:xfrm>
              <a:off x="4490623" y="2970352"/>
              <a:ext cx="32" cy="414"/>
            </a:xfrm>
            <a:custGeom>
              <a:avLst/>
              <a:gdLst/>
              <a:ahLst/>
              <a:cxnLst/>
              <a:rect l="l" t="t" r="r" b="b"/>
              <a:pathLst>
                <a:path w="1" h="13" extrusionOk="0">
                  <a:moveTo>
                    <a:pt x="0" y="0"/>
                  </a:moveTo>
                  <a:cubicBezTo>
                    <a:pt x="0" y="12"/>
                    <a:pt x="0" y="0"/>
                    <a:pt x="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3" name="Google Shape;13333;p64"/>
            <p:cNvSpPr/>
            <p:nvPr/>
          </p:nvSpPr>
          <p:spPr>
            <a:xfrm>
              <a:off x="4489859" y="2969589"/>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4" name="Google Shape;13334;p64"/>
            <p:cNvSpPr/>
            <p:nvPr/>
          </p:nvSpPr>
          <p:spPr>
            <a:xfrm>
              <a:off x="4210933" y="2944952"/>
              <a:ext cx="280072" cy="257346"/>
            </a:xfrm>
            <a:custGeom>
              <a:avLst/>
              <a:gdLst/>
              <a:ahLst/>
              <a:cxnLst/>
              <a:rect l="l" t="t" r="r" b="b"/>
              <a:pathLst>
                <a:path w="8799" h="8085" extrusionOk="0">
                  <a:moveTo>
                    <a:pt x="7549" y="620"/>
                  </a:moveTo>
                  <a:lnTo>
                    <a:pt x="6596" y="6382"/>
                  </a:lnTo>
                  <a:lnTo>
                    <a:pt x="6596" y="620"/>
                  </a:lnTo>
                  <a:close/>
                  <a:moveTo>
                    <a:pt x="4965" y="1"/>
                  </a:moveTo>
                  <a:cubicBezTo>
                    <a:pt x="4894" y="1"/>
                    <a:pt x="4834" y="60"/>
                    <a:pt x="4834" y="143"/>
                  </a:cubicBezTo>
                  <a:cubicBezTo>
                    <a:pt x="4834" y="215"/>
                    <a:pt x="4894" y="274"/>
                    <a:pt x="4965" y="274"/>
                  </a:cubicBezTo>
                  <a:lnTo>
                    <a:pt x="6322" y="274"/>
                  </a:lnTo>
                  <a:lnTo>
                    <a:pt x="6322" y="7835"/>
                  </a:lnTo>
                  <a:lnTo>
                    <a:pt x="262" y="7835"/>
                  </a:lnTo>
                  <a:lnTo>
                    <a:pt x="262" y="7192"/>
                  </a:lnTo>
                  <a:cubicBezTo>
                    <a:pt x="262" y="7121"/>
                    <a:pt x="203" y="7061"/>
                    <a:pt x="131" y="7061"/>
                  </a:cubicBezTo>
                  <a:cubicBezTo>
                    <a:pt x="60" y="7061"/>
                    <a:pt x="0" y="7121"/>
                    <a:pt x="0" y="7192"/>
                  </a:cubicBezTo>
                  <a:lnTo>
                    <a:pt x="0" y="7954"/>
                  </a:lnTo>
                  <a:cubicBezTo>
                    <a:pt x="0" y="8025"/>
                    <a:pt x="60" y="8085"/>
                    <a:pt x="131" y="8085"/>
                  </a:cubicBezTo>
                  <a:lnTo>
                    <a:pt x="6465" y="8085"/>
                  </a:lnTo>
                  <a:cubicBezTo>
                    <a:pt x="6525" y="8085"/>
                    <a:pt x="6561" y="8037"/>
                    <a:pt x="6584" y="8002"/>
                  </a:cubicBezTo>
                  <a:lnTo>
                    <a:pt x="7906" y="3715"/>
                  </a:lnTo>
                  <a:cubicBezTo>
                    <a:pt x="7918" y="3632"/>
                    <a:pt x="7882" y="3572"/>
                    <a:pt x="7811" y="3549"/>
                  </a:cubicBezTo>
                  <a:cubicBezTo>
                    <a:pt x="7799" y="3547"/>
                    <a:pt x="7788" y="3546"/>
                    <a:pt x="7777" y="3546"/>
                  </a:cubicBezTo>
                  <a:cubicBezTo>
                    <a:pt x="7721" y="3546"/>
                    <a:pt x="7674" y="3572"/>
                    <a:pt x="7644" y="3632"/>
                  </a:cubicBezTo>
                  <a:lnTo>
                    <a:pt x="6870" y="6132"/>
                  </a:lnTo>
                  <a:lnTo>
                    <a:pt x="7727" y="989"/>
                  </a:lnTo>
                  <a:lnTo>
                    <a:pt x="8466" y="989"/>
                  </a:lnTo>
                  <a:lnTo>
                    <a:pt x="7799" y="3144"/>
                  </a:lnTo>
                  <a:cubicBezTo>
                    <a:pt x="7787" y="3215"/>
                    <a:pt x="7811" y="3275"/>
                    <a:pt x="7882" y="3311"/>
                  </a:cubicBezTo>
                  <a:lnTo>
                    <a:pt x="7930" y="3311"/>
                  </a:lnTo>
                  <a:cubicBezTo>
                    <a:pt x="7989" y="3311"/>
                    <a:pt x="8037" y="3275"/>
                    <a:pt x="8049" y="3215"/>
                  </a:cubicBezTo>
                  <a:lnTo>
                    <a:pt x="8763" y="894"/>
                  </a:lnTo>
                  <a:cubicBezTo>
                    <a:pt x="8799" y="870"/>
                    <a:pt x="8799" y="822"/>
                    <a:pt x="8763" y="798"/>
                  </a:cubicBezTo>
                  <a:cubicBezTo>
                    <a:pt x="8739" y="763"/>
                    <a:pt x="8704" y="739"/>
                    <a:pt x="8668" y="739"/>
                  </a:cubicBezTo>
                  <a:lnTo>
                    <a:pt x="7787" y="739"/>
                  </a:lnTo>
                  <a:lnTo>
                    <a:pt x="7835" y="501"/>
                  </a:lnTo>
                  <a:cubicBezTo>
                    <a:pt x="7835" y="453"/>
                    <a:pt x="7835" y="417"/>
                    <a:pt x="7799" y="394"/>
                  </a:cubicBezTo>
                  <a:cubicBezTo>
                    <a:pt x="7763" y="358"/>
                    <a:pt x="7739" y="346"/>
                    <a:pt x="7692" y="346"/>
                  </a:cubicBezTo>
                  <a:lnTo>
                    <a:pt x="6596" y="346"/>
                  </a:lnTo>
                  <a:lnTo>
                    <a:pt x="6596" y="143"/>
                  </a:lnTo>
                  <a:cubicBezTo>
                    <a:pt x="6596" y="60"/>
                    <a:pt x="6537" y="1"/>
                    <a:pt x="6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5" name="Google Shape;13335;p64"/>
            <p:cNvSpPr/>
            <p:nvPr/>
          </p:nvSpPr>
          <p:spPr>
            <a:xfrm>
              <a:off x="4212047" y="2926777"/>
              <a:ext cx="144826" cy="234619"/>
            </a:xfrm>
            <a:custGeom>
              <a:avLst/>
              <a:gdLst/>
              <a:ahLst/>
              <a:cxnLst/>
              <a:rect l="l" t="t" r="r" b="b"/>
              <a:pathLst>
                <a:path w="4550" h="7371" extrusionOk="0">
                  <a:moveTo>
                    <a:pt x="132" y="0"/>
                  </a:moveTo>
                  <a:cubicBezTo>
                    <a:pt x="60" y="0"/>
                    <a:pt x="1" y="60"/>
                    <a:pt x="1" y="131"/>
                  </a:cubicBezTo>
                  <a:lnTo>
                    <a:pt x="1" y="7239"/>
                  </a:lnTo>
                  <a:cubicBezTo>
                    <a:pt x="1" y="7311"/>
                    <a:pt x="60" y="7370"/>
                    <a:pt x="132" y="7370"/>
                  </a:cubicBezTo>
                  <a:cubicBezTo>
                    <a:pt x="203" y="7370"/>
                    <a:pt x="263" y="7311"/>
                    <a:pt x="263" y="7239"/>
                  </a:cubicBezTo>
                  <a:lnTo>
                    <a:pt x="263" y="262"/>
                  </a:lnTo>
                  <a:lnTo>
                    <a:pt x="1763" y="262"/>
                  </a:lnTo>
                  <a:lnTo>
                    <a:pt x="2299" y="810"/>
                  </a:lnTo>
                  <a:cubicBezTo>
                    <a:pt x="2335" y="845"/>
                    <a:pt x="2358" y="857"/>
                    <a:pt x="2394" y="857"/>
                  </a:cubicBezTo>
                  <a:lnTo>
                    <a:pt x="4418" y="857"/>
                  </a:lnTo>
                  <a:cubicBezTo>
                    <a:pt x="4490" y="857"/>
                    <a:pt x="4549" y="798"/>
                    <a:pt x="4549" y="726"/>
                  </a:cubicBezTo>
                  <a:cubicBezTo>
                    <a:pt x="4537" y="655"/>
                    <a:pt x="4478" y="595"/>
                    <a:pt x="4418" y="595"/>
                  </a:cubicBezTo>
                  <a:lnTo>
                    <a:pt x="2454" y="595"/>
                  </a:lnTo>
                  <a:lnTo>
                    <a:pt x="1918" y="36"/>
                  </a:lnTo>
                  <a:cubicBezTo>
                    <a:pt x="1882" y="12"/>
                    <a:pt x="1858" y="0"/>
                    <a:pt x="182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6" name="Google Shape;13336;p64"/>
            <p:cNvSpPr/>
            <p:nvPr/>
          </p:nvSpPr>
          <p:spPr>
            <a:xfrm>
              <a:off x="4246550" y="2996103"/>
              <a:ext cx="28074" cy="28106"/>
            </a:xfrm>
            <a:custGeom>
              <a:avLst/>
              <a:gdLst/>
              <a:ahLst/>
              <a:cxnLst/>
              <a:rect l="l" t="t" r="r" b="b"/>
              <a:pathLst>
                <a:path w="882" h="883" extrusionOk="0">
                  <a:moveTo>
                    <a:pt x="620" y="263"/>
                  </a:moveTo>
                  <a:lnTo>
                    <a:pt x="620" y="608"/>
                  </a:lnTo>
                  <a:lnTo>
                    <a:pt x="262" y="608"/>
                  </a:lnTo>
                  <a:lnTo>
                    <a:pt x="262" y="263"/>
                  </a:lnTo>
                  <a:close/>
                  <a:moveTo>
                    <a:pt x="131" y="1"/>
                  </a:moveTo>
                  <a:cubicBezTo>
                    <a:pt x="60" y="1"/>
                    <a:pt x="0" y="60"/>
                    <a:pt x="0" y="144"/>
                  </a:cubicBezTo>
                  <a:lnTo>
                    <a:pt x="0" y="751"/>
                  </a:lnTo>
                  <a:cubicBezTo>
                    <a:pt x="0" y="822"/>
                    <a:pt x="60" y="882"/>
                    <a:pt x="131" y="882"/>
                  </a:cubicBezTo>
                  <a:lnTo>
                    <a:pt x="739" y="882"/>
                  </a:lnTo>
                  <a:cubicBezTo>
                    <a:pt x="822" y="882"/>
                    <a:pt x="881" y="822"/>
                    <a:pt x="881" y="751"/>
                  </a:cubicBezTo>
                  <a:lnTo>
                    <a:pt x="881" y="144"/>
                  </a:lnTo>
                  <a:cubicBezTo>
                    <a:pt x="881" y="60"/>
                    <a:pt x="822"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7" name="Google Shape;13337;p64"/>
            <p:cNvSpPr/>
            <p:nvPr/>
          </p:nvSpPr>
          <p:spPr>
            <a:xfrm>
              <a:off x="4285956" y="3015456"/>
              <a:ext cx="97814" cy="8753"/>
            </a:xfrm>
            <a:custGeom>
              <a:avLst/>
              <a:gdLst/>
              <a:ahLst/>
              <a:cxnLst/>
              <a:rect l="l" t="t" r="r" b="b"/>
              <a:pathLst>
                <a:path w="3073" h="275" extrusionOk="0">
                  <a:moveTo>
                    <a:pt x="132" y="0"/>
                  </a:moveTo>
                  <a:cubicBezTo>
                    <a:pt x="60" y="0"/>
                    <a:pt x="1" y="60"/>
                    <a:pt x="1" y="143"/>
                  </a:cubicBezTo>
                  <a:cubicBezTo>
                    <a:pt x="1" y="214"/>
                    <a:pt x="60" y="274"/>
                    <a:pt x="132" y="274"/>
                  </a:cubicBezTo>
                  <a:lnTo>
                    <a:pt x="2942" y="274"/>
                  </a:lnTo>
                  <a:cubicBezTo>
                    <a:pt x="3013" y="274"/>
                    <a:pt x="3072" y="214"/>
                    <a:pt x="3072" y="143"/>
                  </a:cubicBezTo>
                  <a:cubicBezTo>
                    <a:pt x="3072" y="72"/>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8" name="Google Shape;13338;p64"/>
            <p:cNvSpPr/>
            <p:nvPr/>
          </p:nvSpPr>
          <p:spPr>
            <a:xfrm>
              <a:off x="4285956" y="3001800"/>
              <a:ext cx="30366" cy="8753"/>
            </a:xfrm>
            <a:custGeom>
              <a:avLst/>
              <a:gdLst/>
              <a:ahLst/>
              <a:cxnLst/>
              <a:rect l="l" t="t" r="r" b="b"/>
              <a:pathLst>
                <a:path w="954" h="275" extrusionOk="0">
                  <a:moveTo>
                    <a:pt x="132" y="1"/>
                  </a:moveTo>
                  <a:cubicBezTo>
                    <a:pt x="60" y="1"/>
                    <a:pt x="1" y="60"/>
                    <a:pt x="1" y="132"/>
                  </a:cubicBezTo>
                  <a:cubicBezTo>
                    <a:pt x="1" y="215"/>
                    <a:pt x="60" y="274"/>
                    <a:pt x="132" y="274"/>
                  </a:cubicBezTo>
                  <a:lnTo>
                    <a:pt x="810" y="274"/>
                  </a:lnTo>
                  <a:cubicBezTo>
                    <a:pt x="894" y="274"/>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9" name="Google Shape;13339;p64"/>
            <p:cNvSpPr/>
            <p:nvPr/>
          </p:nvSpPr>
          <p:spPr>
            <a:xfrm>
              <a:off x="4246550" y="3060177"/>
              <a:ext cx="28074" cy="28074"/>
            </a:xfrm>
            <a:custGeom>
              <a:avLst/>
              <a:gdLst/>
              <a:ahLst/>
              <a:cxnLst/>
              <a:rect l="l" t="t" r="r" b="b"/>
              <a:pathLst>
                <a:path w="882" h="882" extrusionOk="0">
                  <a:moveTo>
                    <a:pt x="620" y="274"/>
                  </a:moveTo>
                  <a:lnTo>
                    <a:pt x="620" y="631"/>
                  </a:lnTo>
                  <a:lnTo>
                    <a:pt x="262" y="631"/>
                  </a:lnTo>
                  <a:lnTo>
                    <a:pt x="262" y="274"/>
                  </a:lnTo>
                  <a:close/>
                  <a:moveTo>
                    <a:pt x="131" y="0"/>
                  </a:moveTo>
                  <a:cubicBezTo>
                    <a:pt x="60" y="0"/>
                    <a:pt x="0" y="60"/>
                    <a:pt x="0" y="131"/>
                  </a:cubicBezTo>
                  <a:lnTo>
                    <a:pt x="0" y="750"/>
                  </a:lnTo>
                  <a:cubicBezTo>
                    <a:pt x="0" y="822"/>
                    <a:pt x="60" y="881"/>
                    <a:pt x="131" y="881"/>
                  </a:cubicBezTo>
                  <a:lnTo>
                    <a:pt x="739" y="881"/>
                  </a:lnTo>
                  <a:cubicBezTo>
                    <a:pt x="822" y="881"/>
                    <a:pt x="881" y="822"/>
                    <a:pt x="881" y="750"/>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0" name="Google Shape;13340;p64"/>
            <p:cNvSpPr/>
            <p:nvPr/>
          </p:nvSpPr>
          <p:spPr>
            <a:xfrm>
              <a:off x="4285956" y="3080261"/>
              <a:ext cx="97814" cy="8371"/>
            </a:xfrm>
            <a:custGeom>
              <a:avLst/>
              <a:gdLst/>
              <a:ahLst/>
              <a:cxnLst/>
              <a:rect l="l" t="t" r="r" b="b"/>
              <a:pathLst>
                <a:path w="3073" h="263" extrusionOk="0">
                  <a:moveTo>
                    <a:pt x="132" y="0"/>
                  </a:moveTo>
                  <a:cubicBezTo>
                    <a:pt x="60" y="0"/>
                    <a:pt x="1" y="48"/>
                    <a:pt x="1" y="131"/>
                  </a:cubicBezTo>
                  <a:cubicBezTo>
                    <a:pt x="1" y="203"/>
                    <a:pt x="60" y="262"/>
                    <a:pt x="132" y="262"/>
                  </a:cubicBezTo>
                  <a:lnTo>
                    <a:pt x="2942" y="262"/>
                  </a:lnTo>
                  <a:cubicBezTo>
                    <a:pt x="3013" y="262"/>
                    <a:pt x="3072" y="203"/>
                    <a:pt x="3072" y="131"/>
                  </a:cubicBezTo>
                  <a:cubicBezTo>
                    <a:pt x="3072" y="48"/>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1" name="Google Shape;13341;p64"/>
            <p:cNvSpPr/>
            <p:nvPr/>
          </p:nvSpPr>
          <p:spPr>
            <a:xfrm>
              <a:off x="4285956" y="3066224"/>
              <a:ext cx="30366" cy="8753"/>
            </a:xfrm>
            <a:custGeom>
              <a:avLst/>
              <a:gdLst/>
              <a:ahLst/>
              <a:cxnLst/>
              <a:rect l="l" t="t" r="r" b="b"/>
              <a:pathLst>
                <a:path w="954" h="275" extrusionOk="0">
                  <a:moveTo>
                    <a:pt x="132" y="1"/>
                  </a:moveTo>
                  <a:cubicBezTo>
                    <a:pt x="60" y="1"/>
                    <a:pt x="1" y="60"/>
                    <a:pt x="1" y="143"/>
                  </a:cubicBezTo>
                  <a:cubicBezTo>
                    <a:pt x="1" y="215"/>
                    <a:pt x="60" y="274"/>
                    <a:pt x="132" y="274"/>
                  </a:cubicBezTo>
                  <a:lnTo>
                    <a:pt x="810" y="274"/>
                  </a:lnTo>
                  <a:cubicBezTo>
                    <a:pt x="894" y="274"/>
                    <a:pt x="953" y="215"/>
                    <a:pt x="953" y="143"/>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2" name="Google Shape;13342;p64"/>
            <p:cNvSpPr/>
            <p:nvPr/>
          </p:nvSpPr>
          <p:spPr>
            <a:xfrm>
              <a:off x="4246550" y="3124601"/>
              <a:ext cx="28074" cy="28074"/>
            </a:xfrm>
            <a:custGeom>
              <a:avLst/>
              <a:gdLst/>
              <a:ahLst/>
              <a:cxnLst/>
              <a:rect l="l" t="t" r="r" b="b"/>
              <a:pathLst>
                <a:path w="882" h="882" extrusionOk="0">
                  <a:moveTo>
                    <a:pt x="620" y="250"/>
                  </a:moveTo>
                  <a:lnTo>
                    <a:pt x="620" y="607"/>
                  </a:lnTo>
                  <a:lnTo>
                    <a:pt x="262" y="607"/>
                  </a:lnTo>
                  <a:lnTo>
                    <a:pt x="262" y="250"/>
                  </a:lnTo>
                  <a:close/>
                  <a:moveTo>
                    <a:pt x="131" y="0"/>
                  </a:moveTo>
                  <a:cubicBezTo>
                    <a:pt x="60" y="0"/>
                    <a:pt x="0" y="60"/>
                    <a:pt x="0" y="131"/>
                  </a:cubicBezTo>
                  <a:lnTo>
                    <a:pt x="0" y="738"/>
                  </a:lnTo>
                  <a:cubicBezTo>
                    <a:pt x="0" y="822"/>
                    <a:pt x="60" y="881"/>
                    <a:pt x="131" y="881"/>
                  </a:cubicBezTo>
                  <a:lnTo>
                    <a:pt x="739" y="881"/>
                  </a:lnTo>
                  <a:cubicBezTo>
                    <a:pt x="822" y="881"/>
                    <a:pt x="881" y="822"/>
                    <a:pt x="881" y="738"/>
                  </a:cubicBezTo>
                  <a:lnTo>
                    <a:pt x="881" y="131"/>
                  </a:lnTo>
                  <a:cubicBezTo>
                    <a:pt x="881" y="60"/>
                    <a:pt x="822"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3" name="Google Shape;13343;p64"/>
            <p:cNvSpPr/>
            <p:nvPr/>
          </p:nvSpPr>
          <p:spPr>
            <a:xfrm>
              <a:off x="4285956" y="3143921"/>
              <a:ext cx="97814" cy="8753"/>
            </a:xfrm>
            <a:custGeom>
              <a:avLst/>
              <a:gdLst/>
              <a:ahLst/>
              <a:cxnLst/>
              <a:rect l="l" t="t" r="r" b="b"/>
              <a:pathLst>
                <a:path w="3073" h="275" extrusionOk="0">
                  <a:moveTo>
                    <a:pt x="132" y="0"/>
                  </a:moveTo>
                  <a:cubicBezTo>
                    <a:pt x="60" y="0"/>
                    <a:pt x="1" y="60"/>
                    <a:pt x="1" y="131"/>
                  </a:cubicBezTo>
                  <a:cubicBezTo>
                    <a:pt x="1" y="215"/>
                    <a:pt x="60" y="274"/>
                    <a:pt x="132" y="274"/>
                  </a:cubicBezTo>
                  <a:lnTo>
                    <a:pt x="2942" y="274"/>
                  </a:lnTo>
                  <a:cubicBezTo>
                    <a:pt x="3013" y="274"/>
                    <a:pt x="3072" y="215"/>
                    <a:pt x="3072" y="131"/>
                  </a:cubicBezTo>
                  <a:cubicBezTo>
                    <a:pt x="3072" y="60"/>
                    <a:pt x="3013" y="0"/>
                    <a:pt x="29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4" name="Google Shape;13344;p64"/>
            <p:cNvSpPr/>
            <p:nvPr/>
          </p:nvSpPr>
          <p:spPr>
            <a:xfrm>
              <a:off x="4285956" y="3130266"/>
              <a:ext cx="30366" cy="8371"/>
            </a:xfrm>
            <a:custGeom>
              <a:avLst/>
              <a:gdLst/>
              <a:ahLst/>
              <a:cxnLst/>
              <a:rect l="l" t="t" r="r" b="b"/>
              <a:pathLst>
                <a:path w="954" h="263" extrusionOk="0">
                  <a:moveTo>
                    <a:pt x="132" y="1"/>
                  </a:moveTo>
                  <a:cubicBezTo>
                    <a:pt x="60" y="1"/>
                    <a:pt x="1" y="60"/>
                    <a:pt x="1" y="132"/>
                  </a:cubicBezTo>
                  <a:cubicBezTo>
                    <a:pt x="1" y="215"/>
                    <a:pt x="60" y="263"/>
                    <a:pt x="132" y="263"/>
                  </a:cubicBezTo>
                  <a:lnTo>
                    <a:pt x="810" y="263"/>
                  </a:lnTo>
                  <a:cubicBezTo>
                    <a:pt x="894" y="263"/>
                    <a:pt x="953" y="215"/>
                    <a:pt x="953" y="132"/>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45" name="Google Shape;13345;p64"/>
          <p:cNvGrpSpPr/>
          <p:nvPr/>
        </p:nvGrpSpPr>
        <p:grpSpPr>
          <a:xfrm>
            <a:off x="4667216" y="2915382"/>
            <a:ext cx="320273" cy="318395"/>
            <a:chOff x="4667216" y="2915382"/>
            <a:chExt cx="320273" cy="318395"/>
          </a:xfrm>
        </p:grpSpPr>
        <p:sp>
          <p:nvSpPr>
            <p:cNvPr id="13346" name="Google Shape;13346;p64"/>
            <p:cNvSpPr/>
            <p:nvPr/>
          </p:nvSpPr>
          <p:spPr>
            <a:xfrm>
              <a:off x="4686154" y="2938140"/>
              <a:ext cx="166789" cy="163734"/>
            </a:xfrm>
            <a:custGeom>
              <a:avLst/>
              <a:gdLst/>
              <a:ahLst/>
              <a:cxnLst/>
              <a:rect l="l" t="t" r="r" b="b"/>
              <a:pathLst>
                <a:path w="5240" h="5144" extrusionOk="0">
                  <a:moveTo>
                    <a:pt x="2668" y="0"/>
                  </a:moveTo>
                  <a:cubicBezTo>
                    <a:pt x="2013" y="0"/>
                    <a:pt x="1358" y="250"/>
                    <a:pt x="858" y="750"/>
                  </a:cubicBezTo>
                  <a:cubicBezTo>
                    <a:pt x="620" y="989"/>
                    <a:pt x="429" y="1286"/>
                    <a:pt x="298" y="1608"/>
                  </a:cubicBezTo>
                  <a:cubicBezTo>
                    <a:pt x="263" y="1679"/>
                    <a:pt x="298" y="1762"/>
                    <a:pt x="370" y="1798"/>
                  </a:cubicBezTo>
                  <a:cubicBezTo>
                    <a:pt x="388" y="1804"/>
                    <a:pt x="407" y="1807"/>
                    <a:pt x="426" y="1807"/>
                  </a:cubicBezTo>
                  <a:cubicBezTo>
                    <a:pt x="484" y="1807"/>
                    <a:pt x="542" y="1780"/>
                    <a:pt x="560" y="1727"/>
                  </a:cubicBezTo>
                  <a:cubicBezTo>
                    <a:pt x="679" y="1441"/>
                    <a:pt x="846" y="1191"/>
                    <a:pt x="1060" y="977"/>
                  </a:cubicBezTo>
                  <a:cubicBezTo>
                    <a:pt x="1495" y="536"/>
                    <a:pt x="2075" y="316"/>
                    <a:pt x="2656" y="316"/>
                  </a:cubicBezTo>
                  <a:cubicBezTo>
                    <a:pt x="3236" y="316"/>
                    <a:pt x="3817" y="536"/>
                    <a:pt x="4251" y="977"/>
                  </a:cubicBezTo>
                  <a:cubicBezTo>
                    <a:pt x="4692" y="1405"/>
                    <a:pt x="4930" y="1977"/>
                    <a:pt x="4930" y="2584"/>
                  </a:cubicBezTo>
                  <a:cubicBezTo>
                    <a:pt x="4930" y="3191"/>
                    <a:pt x="4692" y="3763"/>
                    <a:pt x="4251" y="4191"/>
                  </a:cubicBezTo>
                  <a:cubicBezTo>
                    <a:pt x="3823" y="4620"/>
                    <a:pt x="3263" y="4858"/>
                    <a:pt x="2644" y="4858"/>
                  </a:cubicBezTo>
                  <a:cubicBezTo>
                    <a:pt x="2037" y="4858"/>
                    <a:pt x="1477" y="4620"/>
                    <a:pt x="1037" y="4191"/>
                  </a:cubicBezTo>
                  <a:cubicBezTo>
                    <a:pt x="536" y="3679"/>
                    <a:pt x="298" y="2989"/>
                    <a:pt x="405" y="2274"/>
                  </a:cubicBezTo>
                  <a:cubicBezTo>
                    <a:pt x="417" y="2191"/>
                    <a:pt x="358" y="2120"/>
                    <a:pt x="286" y="2108"/>
                  </a:cubicBezTo>
                  <a:cubicBezTo>
                    <a:pt x="279" y="2107"/>
                    <a:pt x="272" y="2106"/>
                    <a:pt x="265" y="2106"/>
                  </a:cubicBezTo>
                  <a:cubicBezTo>
                    <a:pt x="191" y="2106"/>
                    <a:pt x="131" y="2162"/>
                    <a:pt x="120" y="2227"/>
                  </a:cubicBezTo>
                  <a:cubicBezTo>
                    <a:pt x="1" y="3024"/>
                    <a:pt x="263" y="3822"/>
                    <a:pt x="846" y="4394"/>
                  </a:cubicBezTo>
                  <a:cubicBezTo>
                    <a:pt x="1334" y="4894"/>
                    <a:pt x="1977" y="5144"/>
                    <a:pt x="2668" y="5144"/>
                  </a:cubicBezTo>
                  <a:cubicBezTo>
                    <a:pt x="3346" y="5144"/>
                    <a:pt x="3989" y="4870"/>
                    <a:pt x="4477" y="4394"/>
                  </a:cubicBezTo>
                  <a:cubicBezTo>
                    <a:pt x="4966" y="3906"/>
                    <a:pt x="5228" y="3263"/>
                    <a:pt x="5228" y="2584"/>
                  </a:cubicBezTo>
                  <a:cubicBezTo>
                    <a:pt x="5239" y="1870"/>
                    <a:pt x="4966" y="1227"/>
                    <a:pt x="4477" y="750"/>
                  </a:cubicBezTo>
                  <a:cubicBezTo>
                    <a:pt x="3977" y="250"/>
                    <a:pt x="3323" y="0"/>
                    <a:pt x="26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7" name="Google Shape;13347;p64"/>
            <p:cNvSpPr/>
            <p:nvPr/>
          </p:nvSpPr>
          <p:spPr>
            <a:xfrm>
              <a:off x="4667216" y="2915382"/>
              <a:ext cx="320273" cy="318395"/>
            </a:xfrm>
            <a:custGeom>
              <a:avLst/>
              <a:gdLst/>
              <a:ahLst/>
              <a:cxnLst/>
              <a:rect l="l" t="t" r="r" b="b"/>
              <a:pathLst>
                <a:path w="10062" h="10003" extrusionOk="0">
                  <a:moveTo>
                    <a:pt x="5668" y="5502"/>
                  </a:moveTo>
                  <a:lnTo>
                    <a:pt x="5977" y="5811"/>
                  </a:lnTo>
                  <a:lnTo>
                    <a:pt x="5799" y="5990"/>
                  </a:lnTo>
                  <a:lnTo>
                    <a:pt x="5489" y="5680"/>
                  </a:lnTo>
                  <a:lnTo>
                    <a:pt x="5584" y="5585"/>
                  </a:lnTo>
                  <a:lnTo>
                    <a:pt x="5668" y="5502"/>
                  </a:lnTo>
                  <a:close/>
                  <a:moveTo>
                    <a:pt x="8347" y="7597"/>
                  </a:moveTo>
                  <a:lnTo>
                    <a:pt x="8501" y="7752"/>
                  </a:lnTo>
                  <a:lnTo>
                    <a:pt x="7739" y="8502"/>
                  </a:lnTo>
                  <a:lnTo>
                    <a:pt x="7585" y="8359"/>
                  </a:lnTo>
                  <a:lnTo>
                    <a:pt x="8347" y="7597"/>
                  </a:lnTo>
                  <a:close/>
                  <a:moveTo>
                    <a:pt x="8704" y="7954"/>
                  </a:moveTo>
                  <a:lnTo>
                    <a:pt x="8894" y="8157"/>
                  </a:lnTo>
                  <a:lnTo>
                    <a:pt x="8132" y="8907"/>
                  </a:lnTo>
                  <a:lnTo>
                    <a:pt x="7989" y="8764"/>
                  </a:lnTo>
                  <a:lnTo>
                    <a:pt x="7942" y="8716"/>
                  </a:lnTo>
                  <a:lnTo>
                    <a:pt x="8704" y="7954"/>
                  </a:lnTo>
                  <a:close/>
                  <a:moveTo>
                    <a:pt x="9097" y="8359"/>
                  </a:moveTo>
                  <a:lnTo>
                    <a:pt x="9621" y="8895"/>
                  </a:lnTo>
                  <a:cubicBezTo>
                    <a:pt x="9728" y="8966"/>
                    <a:pt x="9728" y="9121"/>
                    <a:pt x="9644" y="9228"/>
                  </a:cubicBezTo>
                  <a:lnTo>
                    <a:pt x="9216" y="9657"/>
                  </a:lnTo>
                  <a:cubicBezTo>
                    <a:pt x="9168" y="9699"/>
                    <a:pt x="9109" y="9719"/>
                    <a:pt x="9048" y="9719"/>
                  </a:cubicBezTo>
                  <a:cubicBezTo>
                    <a:pt x="8987" y="9719"/>
                    <a:pt x="8924" y="9699"/>
                    <a:pt x="8871" y="9657"/>
                  </a:cubicBezTo>
                  <a:lnTo>
                    <a:pt x="8335" y="9121"/>
                  </a:lnTo>
                  <a:lnTo>
                    <a:pt x="9097" y="8359"/>
                  </a:lnTo>
                  <a:close/>
                  <a:moveTo>
                    <a:pt x="3282" y="1"/>
                  </a:moveTo>
                  <a:cubicBezTo>
                    <a:pt x="2441" y="1"/>
                    <a:pt x="1602" y="322"/>
                    <a:pt x="965" y="965"/>
                  </a:cubicBezTo>
                  <a:cubicBezTo>
                    <a:pt x="334" y="1584"/>
                    <a:pt x="0" y="2406"/>
                    <a:pt x="0" y="3287"/>
                  </a:cubicBezTo>
                  <a:cubicBezTo>
                    <a:pt x="0" y="4156"/>
                    <a:pt x="334" y="4978"/>
                    <a:pt x="965" y="5609"/>
                  </a:cubicBezTo>
                  <a:cubicBezTo>
                    <a:pt x="1608" y="6240"/>
                    <a:pt x="2441" y="6573"/>
                    <a:pt x="3286" y="6573"/>
                  </a:cubicBezTo>
                  <a:cubicBezTo>
                    <a:pt x="3989" y="6573"/>
                    <a:pt x="4703" y="6347"/>
                    <a:pt x="5275" y="5883"/>
                  </a:cubicBezTo>
                  <a:lnTo>
                    <a:pt x="5608" y="6216"/>
                  </a:lnTo>
                  <a:cubicBezTo>
                    <a:pt x="5477" y="6418"/>
                    <a:pt x="5501" y="6692"/>
                    <a:pt x="5680" y="6871"/>
                  </a:cubicBezTo>
                  <a:lnTo>
                    <a:pt x="6370" y="7561"/>
                  </a:lnTo>
                  <a:cubicBezTo>
                    <a:pt x="6400" y="7585"/>
                    <a:pt x="6436" y="7597"/>
                    <a:pt x="6471" y="7597"/>
                  </a:cubicBezTo>
                  <a:cubicBezTo>
                    <a:pt x="6507" y="7597"/>
                    <a:pt x="6543" y="7585"/>
                    <a:pt x="6573" y="7561"/>
                  </a:cubicBezTo>
                  <a:cubicBezTo>
                    <a:pt x="6632" y="7502"/>
                    <a:pt x="6632" y="7407"/>
                    <a:pt x="6573" y="7347"/>
                  </a:cubicBezTo>
                  <a:lnTo>
                    <a:pt x="5894" y="6668"/>
                  </a:lnTo>
                  <a:cubicBezTo>
                    <a:pt x="5799" y="6573"/>
                    <a:pt x="5799" y="6418"/>
                    <a:pt x="5894" y="6323"/>
                  </a:cubicBezTo>
                  <a:lnTo>
                    <a:pt x="6323" y="5895"/>
                  </a:lnTo>
                  <a:cubicBezTo>
                    <a:pt x="6370" y="5847"/>
                    <a:pt x="6430" y="5811"/>
                    <a:pt x="6489" y="5811"/>
                  </a:cubicBezTo>
                  <a:cubicBezTo>
                    <a:pt x="6549" y="5811"/>
                    <a:pt x="6608" y="5847"/>
                    <a:pt x="6644" y="5895"/>
                  </a:cubicBezTo>
                  <a:lnTo>
                    <a:pt x="8156" y="7395"/>
                  </a:lnTo>
                  <a:lnTo>
                    <a:pt x="7394" y="8157"/>
                  </a:lnTo>
                  <a:lnTo>
                    <a:pt x="6966" y="7716"/>
                  </a:lnTo>
                  <a:cubicBezTo>
                    <a:pt x="6936" y="7686"/>
                    <a:pt x="6897" y="7672"/>
                    <a:pt x="6858" y="7672"/>
                  </a:cubicBezTo>
                  <a:cubicBezTo>
                    <a:pt x="6820" y="7672"/>
                    <a:pt x="6781" y="7686"/>
                    <a:pt x="6751" y="7716"/>
                  </a:cubicBezTo>
                  <a:cubicBezTo>
                    <a:pt x="6692" y="7776"/>
                    <a:pt x="6692" y="7871"/>
                    <a:pt x="6751" y="7930"/>
                  </a:cubicBezTo>
                  <a:lnTo>
                    <a:pt x="8668" y="9847"/>
                  </a:lnTo>
                  <a:cubicBezTo>
                    <a:pt x="8775" y="9955"/>
                    <a:pt x="8906" y="10002"/>
                    <a:pt x="9049" y="10002"/>
                  </a:cubicBezTo>
                  <a:cubicBezTo>
                    <a:pt x="9180" y="10002"/>
                    <a:pt x="9311" y="9955"/>
                    <a:pt x="9418" y="9847"/>
                  </a:cubicBezTo>
                  <a:lnTo>
                    <a:pt x="9847" y="9419"/>
                  </a:lnTo>
                  <a:cubicBezTo>
                    <a:pt x="10061" y="9228"/>
                    <a:pt x="10061" y="8883"/>
                    <a:pt x="9847" y="8669"/>
                  </a:cubicBezTo>
                  <a:lnTo>
                    <a:pt x="6858" y="5680"/>
                  </a:lnTo>
                  <a:cubicBezTo>
                    <a:pt x="6751" y="5573"/>
                    <a:pt x="6620" y="5525"/>
                    <a:pt x="6489" y="5525"/>
                  </a:cubicBezTo>
                  <a:cubicBezTo>
                    <a:pt x="6382" y="5525"/>
                    <a:pt x="6299" y="5561"/>
                    <a:pt x="6204" y="5609"/>
                  </a:cubicBezTo>
                  <a:lnTo>
                    <a:pt x="5870" y="5275"/>
                  </a:lnTo>
                  <a:cubicBezTo>
                    <a:pt x="6144" y="4930"/>
                    <a:pt x="6334" y="4537"/>
                    <a:pt x="6454" y="4097"/>
                  </a:cubicBezTo>
                  <a:cubicBezTo>
                    <a:pt x="6465" y="4025"/>
                    <a:pt x="6430" y="3942"/>
                    <a:pt x="6346" y="3918"/>
                  </a:cubicBezTo>
                  <a:cubicBezTo>
                    <a:pt x="6339" y="3917"/>
                    <a:pt x="6332" y="3916"/>
                    <a:pt x="6324" y="3916"/>
                  </a:cubicBezTo>
                  <a:cubicBezTo>
                    <a:pt x="6258" y="3916"/>
                    <a:pt x="6189" y="3961"/>
                    <a:pt x="6168" y="4025"/>
                  </a:cubicBezTo>
                  <a:cubicBezTo>
                    <a:pt x="6037" y="4537"/>
                    <a:pt x="5775" y="5013"/>
                    <a:pt x="5394" y="5383"/>
                  </a:cubicBezTo>
                  <a:cubicBezTo>
                    <a:pt x="4816" y="5960"/>
                    <a:pt x="4051" y="6249"/>
                    <a:pt x="3285" y="6249"/>
                  </a:cubicBezTo>
                  <a:cubicBezTo>
                    <a:pt x="2519" y="6249"/>
                    <a:pt x="1751" y="5960"/>
                    <a:pt x="1167" y="5383"/>
                  </a:cubicBezTo>
                  <a:cubicBezTo>
                    <a:pt x="608" y="4823"/>
                    <a:pt x="298" y="4073"/>
                    <a:pt x="298" y="3263"/>
                  </a:cubicBezTo>
                  <a:cubicBezTo>
                    <a:pt x="298" y="2466"/>
                    <a:pt x="608" y="1715"/>
                    <a:pt x="1167" y="1156"/>
                  </a:cubicBezTo>
                  <a:cubicBezTo>
                    <a:pt x="1751" y="572"/>
                    <a:pt x="2519" y="281"/>
                    <a:pt x="3285" y="281"/>
                  </a:cubicBezTo>
                  <a:cubicBezTo>
                    <a:pt x="4051" y="281"/>
                    <a:pt x="4816" y="572"/>
                    <a:pt x="5394" y="1156"/>
                  </a:cubicBezTo>
                  <a:cubicBezTo>
                    <a:pt x="6013" y="1763"/>
                    <a:pt x="6323" y="2608"/>
                    <a:pt x="6263" y="3478"/>
                  </a:cubicBezTo>
                  <a:cubicBezTo>
                    <a:pt x="6263" y="3549"/>
                    <a:pt x="6323" y="3620"/>
                    <a:pt x="6394" y="3644"/>
                  </a:cubicBezTo>
                  <a:cubicBezTo>
                    <a:pt x="6465" y="3644"/>
                    <a:pt x="6549" y="3585"/>
                    <a:pt x="6561" y="3501"/>
                  </a:cubicBezTo>
                  <a:cubicBezTo>
                    <a:pt x="6620" y="2549"/>
                    <a:pt x="6275" y="1632"/>
                    <a:pt x="5608" y="965"/>
                  </a:cubicBezTo>
                  <a:cubicBezTo>
                    <a:pt x="4965" y="322"/>
                    <a:pt x="4123" y="1"/>
                    <a:pt x="32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8" name="Google Shape;13348;p64"/>
            <p:cNvSpPr/>
            <p:nvPr/>
          </p:nvSpPr>
          <p:spPr>
            <a:xfrm>
              <a:off x="4733899" y="2960772"/>
              <a:ext cx="75469" cy="86546"/>
            </a:xfrm>
            <a:custGeom>
              <a:avLst/>
              <a:gdLst/>
              <a:ahLst/>
              <a:cxnLst/>
              <a:rect l="l" t="t" r="r" b="b"/>
              <a:pathLst>
                <a:path w="2371" h="2719" extrusionOk="0">
                  <a:moveTo>
                    <a:pt x="1218" y="276"/>
                  </a:moveTo>
                  <a:cubicBezTo>
                    <a:pt x="1233" y="276"/>
                    <a:pt x="1248" y="277"/>
                    <a:pt x="1263" y="278"/>
                  </a:cubicBezTo>
                  <a:cubicBezTo>
                    <a:pt x="1703" y="313"/>
                    <a:pt x="2061" y="647"/>
                    <a:pt x="2084" y="1099"/>
                  </a:cubicBezTo>
                  <a:cubicBezTo>
                    <a:pt x="2073" y="1456"/>
                    <a:pt x="1858" y="1802"/>
                    <a:pt x="1537" y="1944"/>
                  </a:cubicBezTo>
                  <a:cubicBezTo>
                    <a:pt x="1430" y="1992"/>
                    <a:pt x="1370" y="2099"/>
                    <a:pt x="1370" y="2218"/>
                  </a:cubicBezTo>
                  <a:cubicBezTo>
                    <a:pt x="1370" y="2313"/>
                    <a:pt x="1275" y="2409"/>
                    <a:pt x="1180" y="2409"/>
                  </a:cubicBezTo>
                  <a:cubicBezTo>
                    <a:pt x="1072" y="2409"/>
                    <a:pt x="989" y="2313"/>
                    <a:pt x="989" y="2218"/>
                  </a:cubicBezTo>
                  <a:cubicBezTo>
                    <a:pt x="989" y="1944"/>
                    <a:pt x="1132" y="1694"/>
                    <a:pt x="1382" y="1587"/>
                  </a:cubicBezTo>
                  <a:cubicBezTo>
                    <a:pt x="1561" y="1504"/>
                    <a:pt x="1680" y="1325"/>
                    <a:pt x="1668" y="1111"/>
                  </a:cubicBezTo>
                  <a:cubicBezTo>
                    <a:pt x="1656" y="873"/>
                    <a:pt x="1465" y="682"/>
                    <a:pt x="1227" y="670"/>
                  </a:cubicBezTo>
                  <a:lnTo>
                    <a:pt x="1191" y="670"/>
                  </a:lnTo>
                  <a:cubicBezTo>
                    <a:pt x="1072" y="670"/>
                    <a:pt x="953" y="706"/>
                    <a:pt x="870" y="801"/>
                  </a:cubicBezTo>
                  <a:cubicBezTo>
                    <a:pt x="763" y="885"/>
                    <a:pt x="715" y="1028"/>
                    <a:pt x="715" y="1159"/>
                  </a:cubicBezTo>
                  <a:cubicBezTo>
                    <a:pt x="715" y="1266"/>
                    <a:pt x="632" y="1349"/>
                    <a:pt x="525" y="1349"/>
                  </a:cubicBezTo>
                  <a:cubicBezTo>
                    <a:pt x="418" y="1349"/>
                    <a:pt x="334" y="1266"/>
                    <a:pt x="334" y="1159"/>
                  </a:cubicBezTo>
                  <a:cubicBezTo>
                    <a:pt x="334" y="920"/>
                    <a:pt x="429" y="682"/>
                    <a:pt x="608" y="516"/>
                  </a:cubicBezTo>
                  <a:cubicBezTo>
                    <a:pt x="775" y="359"/>
                    <a:pt x="995" y="276"/>
                    <a:pt x="1218" y="276"/>
                  </a:cubicBezTo>
                  <a:close/>
                  <a:moveTo>
                    <a:pt x="1163" y="0"/>
                  </a:moveTo>
                  <a:cubicBezTo>
                    <a:pt x="872" y="0"/>
                    <a:pt x="586" y="108"/>
                    <a:pt x="370" y="313"/>
                  </a:cubicBezTo>
                  <a:cubicBezTo>
                    <a:pt x="132" y="539"/>
                    <a:pt x="1" y="849"/>
                    <a:pt x="1" y="1159"/>
                  </a:cubicBezTo>
                  <a:cubicBezTo>
                    <a:pt x="1" y="1432"/>
                    <a:pt x="227" y="1647"/>
                    <a:pt x="489" y="1647"/>
                  </a:cubicBezTo>
                  <a:cubicBezTo>
                    <a:pt x="763" y="1647"/>
                    <a:pt x="989" y="1432"/>
                    <a:pt x="989" y="1159"/>
                  </a:cubicBezTo>
                  <a:cubicBezTo>
                    <a:pt x="989" y="1099"/>
                    <a:pt x="1001" y="1051"/>
                    <a:pt x="1049" y="1028"/>
                  </a:cubicBezTo>
                  <a:cubicBezTo>
                    <a:pt x="1078" y="998"/>
                    <a:pt x="1115" y="977"/>
                    <a:pt x="1161" y="977"/>
                  </a:cubicBezTo>
                  <a:cubicBezTo>
                    <a:pt x="1171" y="977"/>
                    <a:pt x="1181" y="978"/>
                    <a:pt x="1191" y="980"/>
                  </a:cubicBezTo>
                  <a:cubicBezTo>
                    <a:pt x="1287" y="980"/>
                    <a:pt x="1358" y="1075"/>
                    <a:pt x="1370" y="1159"/>
                  </a:cubicBezTo>
                  <a:cubicBezTo>
                    <a:pt x="1370" y="1230"/>
                    <a:pt x="1322" y="1313"/>
                    <a:pt x="1263" y="1337"/>
                  </a:cubicBezTo>
                  <a:cubicBezTo>
                    <a:pt x="930" y="1504"/>
                    <a:pt x="703" y="1849"/>
                    <a:pt x="703" y="2230"/>
                  </a:cubicBezTo>
                  <a:cubicBezTo>
                    <a:pt x="703" y="2504"/>
                    <a:pt x="930" y="2718"/>
                    <a:pt x="1191" y="2718"/>
                  </a:cubicBezTo>
                  <a:cubicBezTo>
                    <a:pt x="1465" y="2718"/>
                    <a:pt x="1680" y="2504"/>
                    <a:pt x="1680" y="2230"/>
                  </a:cubicBezTo>
                  <a:lnTo>
                    <a:pt x="1680" y="2218"/>
                  </a:lnTo>
                  <a:cubicBezTo>
                    <a:pt x="2096" y="2004"/>
                    <a:pt x="2370" y="1563"/>
                    <a:pt x="2334" y="1087"/>
                  </a:cubicBezTo>
                  <a:cubicBezTo>
                    <a:pt x="2311" y="504"/>
                    <a:pt x="1834" y="27"/>
                    <a:pt x="1251" y="4"/>
                  </a:cubicBezTo>
                  <a:cubicBezTo>
                    <a:pt x="1222" y="1"/>
                    <a:pt x="1192" y="0"/>
                    <a:pt x="116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9" name="Google Shape;13349;p64"/>
            <p:cNvSpPr/>
            <p:nvPr/>
          </p:nvSpPr>
          <p:spPr>
            <a:xfrm>
              <a:off x="4755894" y="3048431"/>
              <a:ext cx="31098" cy="32244"/>
            </a:xfrm>
            <a:custGeom>
              <a:avLst/>
              <a:gdLst/>
              <a:ahLst/>
              <a:cxnLst/>
              <a:rect l="l" t="t" r="r" b="b"/>
              <a:pathLst>
                <a:path w="977" h="1013" extrusionOk="0">
                  <a:moveTo>
                    <a:pt x="489" y="298"/>
                  </a:moveTo>
                  <a:cubicBezTo>
                    <a:pt x="596" y="298"/>
                    <a:pt x="679" y="381"/>
                    <a:pt x="679" y="488"/>
                  </a:cubicBezTo>
                  <a:lnTo>
                    <a:pt x="679" y="500"/>
                  </a:lnTo>
                  <a:cubicBezTo>
                    <a:pt x="679" y="607"/>
                    <a:pt x="596" y="702"/>
                    <a:pt x="489" y="702"/>
                  </a:cubicBezTo>
                  <a:cubicBezTo>
                    <a:pt x="381" y="702"/>
                    <a:pt x="298" y="607"/>
                    <a:pt x="298" y="500"/>
                  </a:cubicBezTo>
                  <a:lnTo>
                    <a:pt x="298" y="488"/>
                  </a:lnTo>
                  <a:cubicBezTo>
                    <a:pt x="298" y="381"/>
                    <a:pt x="381" y="298"/>
                    <a:pt x="489" y="298"/>
                  </a:cubicBezTo>
                  <a:close/>
                  <a:moveTo>
                    <a:pt x="489" y="0"/>
                  </a:moveTo>
                  <a:cubicBezTo>
                    <a:pt x="215" y="0"/>
                    <a:pt x="0" y="226"/>
                    <a:pt x="0" y="488"/>
                  </a:cubicBezTo>
                  <a:lnTo>
                    <a:pt x="0" y="524"/>
                  </a:lnTo>
                  <a:cubicBezTo>
                    <a:pt x="0" y="786"/>
                    <a:pt x="215" y="1012"/>
                    <a:pt x="489" y="1012"/>
                  </a:cubicBezTo>
                  <a:cubicBezTo>
                    <a:pt x="751" y="1012"/>
                    <a:pt x="977" y="786"/>
                    <a:pt x="977" y="524"/>
                  </a:cubicBezTo>
                  <a:lnTo>
                    <a:pt x="977" y="488"/>
                  </a:lnTo>
                  <a:cubicBezTo>
                    <a:pt x="977" y="226"/>
                    <a:pt x="751"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0" name="Google Shape;13350;p64"/>
          <p:cNvGrpSpPr/>
          <p:nvPr/>
        </p:nvGrpSpPr>
        <p:grpSpPr>
          <a:xfrm>
            <a:off x="5170480" y="2934639"/>
            <a:ext cx="261929" cy="280550"/>
            <a:chOff x="5170480" y="2934639"/>
            <a:chExt cx="261929" cy="280550"/>
          </a:xfrm>
        </p:grpSpPr>
        <p:sp>
          <p:nvSpPr>
            <p:cNvPr id="13351" name="Google Shape;13351;p64"/>
            <p:cNvSpPr/>
            <p:nvPr/>
          </p:nvSpPr>
          <p:spPr>
            <a:xfrm>
              <a:off x="5170480" y="2934639"/>
              <a:ext cx="243340" cy="280550"/>
            </a:xfrm>
            <a:custGeom>
              <a:avLst/>
              <a:gdLst/>
              <a:ahLst/>
              <a:cxnLst/>
              <a:rect l="l" t="t" r="r" b="b"/>
              <a:pathLst>
                <a:path w="7645" h="8814" extrusionOk="0">
                  <a:moveTo>
                    <a:pt x="4192" y="301"/>
                  </a:moveTo>
                  <a:lnTo>
                    <a:pt x="5228" y="1337"/>
                  </a:lnTo>
                  <a:lnTo>
                    <a:pt x="3144" y="1337"/>
                  </a:lnTo>
                  <a:lnTo>
                    <a:pt x="4192" y="301"/>
                  </a:lnTo>
                  <a:close/>
                  <a:moveTo>
                    <a:pt x="4190" y="0"/>
                  </a:moveTo>
                  <a:cubicBezTo>
                    <a:pt x="4156" y="0"/>
                    <a:pt x="4120" y="9"/>
                    <a:pt x="4097" y="27"/>
                  </a:cubicBezTo>
                  <a:lnTo>
                    <a:pt x="2787" y="1337"/>
                  </a:lnTo>
                  <a:lnTo>
                    <a:pt x="703" y="1337"/>
                  </a:lnTo>
                  <a:cubicBezTo>
                    <a:pt x="632" y="1337"/>
                    <a:pt x="572" y="1396"/>
                    <a:pt x="572" y="1480"/>
                  </a:cubicBezTo>
                  <a:lnTo>
                    <a:pt x="572" y="3623"/>
                  </a:lnTo>
                  <a:lnTo>
                    <a:pt x="144" y="3623"/>
                  </a:lnTo>
                  <a:cubicBezTo>
                    <a:pt x="60" y="3623"/>
                    <a:pt x="1" y="3682"/>
                    <a:pt x="1" y="3754"/>
                  </a:cubicBezTo>
                  <a:lnTo>
                    <a:pt x="1" y="8683"/>
                  </a:lnTo>
                  <a:cubicBezTo>
                    <a:pt x="1" y="8754"/>
                    <a:pt x="60" y="8814"/>
                    <a:pt x="144" y="8814"/>
                  </a:cubicBezTo>
                  <a:lnTo>
                    <a:pt x="1489" y="8814"/>
                  </a:lnTo>
                  <a:cubicBezTo>
                    <a:pt x="1572" y="8814"/>
                    <a:pt x="1632" y="8754"/>
                    <a:pt x="1632" y="8683"/>
                  </a:cubicBezTo>
                  <a:cubicBezTo>
                    <a:pt x="1632" y="8599"/>
                    <a:pt x="1572" y="8540"/>
                    <a:pt x="1489" y="8540"/>
                  </a:cubicBezTo>
                  <a:lnTo>
                    <a:pt x="275" y="8540"/>
                  </a:lnTo>
                  <a:lnTo>
                    <a:pt x="275" y="4004"/>
                  </a:lnTo>
                  <a:lnTo>
                    <a:pt x="882" y="4456"/>
                  </a:lnTo>
                  <a:cubicBezTo>
                    <a:pt x="904" y="4469"/>
                    <a:pt x="928" y="4476"/>
                    <a:pt x="952" y="4476"/>
                  </a:cubicBezTo>
                  <a:cubicBezTo>
                    <a:pt x="992" y="4476"/>
                    <a:pt x="1031" y="4458"/>
                    <a:pt x="1061" y="4420"/>
                  </a:cubicBezTo>
                  <a:cubicBezTo>
                    <a:pt x="1108" y="4361"/>
                    <a:pt x="1096" y="4289"/>
                    <a:pt x="1037" y="4242"/>
                  </a:cubicBezTo>
                  <a:lnTo>
                    <a:pt x="834" y="4087"/>
                  </a:lnTo>
                  <a:lnTo>
                    <a:pt x="834" y="3766"/>
                  </a:lnTo>
                  <a:lnTo>
                    <a:pt x="834" y="3754"/>
                  </a:lnTo>
                  <a:lnTo>
                    <a:pt x="834" y="3730"/>
                  </a:lnTo>
                  <a:lnTo>
                    <a:pt x="834" y="1610"/>
                  </a:lnTo>
                  <a:lnTo>
                    <a:pt x="7371" y="1610"/>
                  </a:lnTo>
                  <a:lnTo>
                    <a:pt x="7371" y="2099"/>
                  </a:lnTo>
                  <a:cubicBezTo>
                    <a:pt x="7371" y="2170"/>
                    <a:pt x="7430" y="2230"/>
                    <a:pt x="7502" y="2230"/>
                  </a:cubicBezTo>
                  <a:cubicBezTo>
                    <a:pt x="7585" y="2230"/>
                    <a:pt x="7645" y="2170"/>
                    <a:pt x="7645" y="2099"/>
                  </a:cubicBezTo>
                  <a:lnTo>
                    <a:pt x="7645" y="1468"/>
                  </a:lnTo>
                  <a:cubicBezTo>
                    <a:pt x="7633" y="1396"/>
                    <a:pt x="7573" y="1337"/>
                    <a:pt x="7490" y="1337"/>
                  </a:cubicBezTo>
                  <a:lnTo>
                    <a:pt x="5585" y="1337"/>
                  </a:lnTo>
                  <a:lnTo>
                    <a:pt x="4275" y="27"/>
                  </a:lnTo>
                  <a:cubicBezTo>
                    <a:pt x="4257" y="9"/>
                    <a:pt x="4225" y="0"/>
                    <a:pt x="41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2" name="Google Shape;13352;p64"/>
            <p:cNvSpPr/>
            <p:nvPr/>
          </p:nvSpPr>
          <p:spPr>
            <a:xfrm>
              <a:off x="5217493" y="3007116"/>
              <a:ext cx="34122" cy="34122"/>
            </a:xfrm>
            <a:custGeom>
              <a:avLst/>
              <a:gdLst/>
              <a:ahLst/>
              <a:cxnLst/>
              <a:rect l="l" t="t" r="r" b="b"/>
              <a:pathLst>
                <a:path w="1072" h="1072" extrusionOk="0">
                  <a:moveTo>
                    <a:pt x="810" y="262"/>
                  </a:moveTo>
                  <a:lnTo>
                    <a:pt x="810" y="810"/>
                  </a:lnTo>
                  <a:lnTo>
                    <a:pt x="274" y="810"/>
                  </a:lnTo>
                  <a:lnTo>
                    <a:pt x="274" y="262"/>
                  </a:lnTo>
                  <a:close/>
                  <a:moveTo>
                    <a:pt x="143" y="0"/>
                  </a:moveTo>
                  <a:cubicBezTo>
                    <a:pt x="60" y="0"/>
                    <a:pt x="0" y="60"/>
                    <a:pt x="0" y="131"/>
                  </a:cubicBezTo>
                  <a:lnTo>
                    <a:pt x="0" y="941"/>
                  </a:lnTo>
                  <a:cubicBezTo>
                    <a:pt x="0" y="1012"/>
                    <a:pt x="60" y="1072"/>
                    <a:pt x="143" y="1072"/>
                  </a:cubicBezTo>
                  <a:lnTo>
                    <a:pt x="941" y="1072"/>
                  </a:lnTo>
                  <a:cubicBezTo>
                    <a:pt x="1012" y="1072"/>
                    <a:pt x="1072" y="1012"/>
                    <a:pt x="1072" y="941"/>
                  </a:cubicBezTo>
                  <a:lnTo>
                    <a:pt x="1072" y="131"/>
                  </a:lnTo>
                  <a:cubicBezTo>
                    <a:pt x="1060" y="60"/>
                    <a:pt x="1000"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3" name="Google Shape;13353;p64"/>
            <p:cNvSpPr/>
            <p:nvPr/>
          </p:nvSpPr>
          <p:spPr>
            <a:xfrm>
              <a:off x="5264474" y="3007116"/>
              <a:ext cx="26196" cy="8371"/>
            </a:xfrm>
            <a:custGeom>
              <a:avLst/>
              <a:gdLst/>
              <a:ahLst/>
              <a:cxnLst/>
              <a:rect l="l" t="t" r="r" b="b"/>
              <a:pathLst>
                <a:path w="823" h="263" extrusionOk="0">
                  <a:moveTo>
                    <a:pt x="132" y="0"/>
                  </a:moveTo>
                  <a:cubicBezTo>
                    <a:pt x="60" y="0"/>
                    <a:pt x="1" y="60"/>
                    <a:pt x="1" y="131"/>
                  </a:cubicBezTo>
                  <a:cubicBezTo>
                    <a:pt x="1" y="215"/>
                    <a:pt x="60" y="262"/>
                    <a:pt x="132" y="262"/>
                  </a:cubicBezTo>
                  <a:lnTo>
                    <a:pt x="679" y="262"/>
                  </a:lnTo>
                  <a:cubicBezTo>
                    <a:pt x="763" y="262"/>
                    <a:pt x="822" y="215"/>
                    <a:pt x="822" y="131"/>
                  </a:cubicBezTo>
                  <a:cubicBezTo>
                    <a:pt x="822" y="60"/>
                    <a:pt x="763"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4" name="Google Shape;13354;p64"/>
            <p:cNvSpPr/>
            <p:nvPr/>
          </p:nvSpPr>
          <p:spPr>
            <a:xfrm>
              <a:off x="5264856" y="3029079"/>
              <a:ext cx="86068" cy="8371"/>
            </a:xfrm>
            <a:custGeom>
              <a:avLst/>
              <a:gdLst/>
              <a:ahLst/>
              <a:cxnLst/>
              <a:rect l="l" t="t" r="r" b="b"/>
              <a:pathLst>
                <a:path w="2704" h="263" extrusionOk="0">
                  <a:moveTo>
                    <a:pt x="143" y="1"/>
                  </a:moveTo>
                  <a:cubicBezTo>
                    <a:pt x="60" y="1"/>
                    <a:pt x="1" y="60"/>
                    <a:pt x="1" y="132"/>
                  </a:cubicBezTo>
                  <a:cubicBezTo>
                    <a:pt x="1" y="203"/>
                    <a:pt x="60" y="263"/>
                    <a:pt x="143" y="263"/>
                  </a:cubicBezTo>
                  <a:lnTo>
                    <a:pt x="2560" y="263"/>
                  </a:lnTo>
                  <a:cubicBezTo>
                    <a:pt x="2644" y="263"/>
                    <a:pt x="2703" y="203"/>
                    <a:pt x="2703" y="132"/>
                  </a:cubicBezTo>
                  <a:cubicBezTo>
                    <a:pt x="2679" y="60"/>
                    <a:pt x="2620" y="1"/>
                    <a:pt x="2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5" name="Google Shape;13355;p64"/>
            <p:cNvSpPr/>
            <p:nvPr/>
          </p:nvSpPr>
          <p:spPr>
            <a:xfrm>
              <a:off x="5227710" y="3062819"/>
              <a:ext cx="51565" cy="8753"/>
            </a:xfrm>
            <a:custGeom>
              <a:avLst/>
              <a:gdLst/>
              <a:ahLst/>
              <a:cxnLst/>
              <a:rect l="l" t="t" r="r" b="b"/>
              <a:pathLst>
                <a:path w="1620" h="275" extrusionOk="0">
                  <a:moveTo>
                    <a:pt x="132" y="0"/>
                  </a:moveTo>
                  <a:cubicBezTo>
                    <a:pt x="60" y="0"/>
                    <a:pt x="1" y="60"/>
                    <a:pt x="1" y="143"/>
                  </a:cubicBezTo>
                  <a:cubicBezTo>
                    <a:pt x="1" y="215"/>
                    <a:pt x="60" y="274"/>
                    <a:pt x="132" y="274"/>
                  </a:cubicBezTo>
                  <a:lnTo>
                    <a:pt x="1489" y="274"/>
                  </a:lnTo>
                  <a:cubicBezTo>
                    <a:pt x="1560" y="274"/>
                    <a:pt x="1620" y="215"/>
                    <a:pt x="1620" y="143"/>
                  </a:cubicBezTo>
                  <a:cubicBezTo>
                    <a:pt x="1620" y="72"/>
                    <a:pt x="1560" y="0"/>
                    <a:pt x="1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6" name="Google Shape;13356;p64"/>
            <p:cNvSpPr/>
            <p:nvPr/>
          </p:nvSpPr>
          <p:spPr>
            <a:xfrm>
              <a:off x="5196644" y="3182945"/>
              <a:ext cx="42461" cy="8371"/>
            </a:xfrm>
            <a:custGeom>
              <a:avLst/>
              <a:gdLst/>
              <a:ahLst/>
              <a:cxnLst/>
              <a:rect l="l" t="t" r="r" b="b"/>
              <a:pathLst>
                <a:path w="1334" h="263" extrusionOk="0">
                  <a:moveTo>
                    <a:pt x="143" y="1"/>
                  </a:moveTo>
                  <a:cubicBezTo>
                    <a:pt x="60" y="1"/>
                    <a:pt x="0" y="60"/>
                    <a:pt x="0" y="132"/>
                  </a:cubicBezTo>
                  <a:cubicBezTo>
                    <a:pt x="0" y="203"/>
                    <a:pt x="60" y="263"/>
                    <a:pt x="143" y="263"/>
                  </a:cubicBezTo>
                  <a:lnTo>
                    <a:pt x="1191" y="263"/>
                  </a:lnTo>
                  <a:cubicBezTo>
                    <a:pt x="1274" y="263"/>
                    <a:pt x="1334" y="203"/>
                    <a:pt x="1334" y="132"/>
                  </a:cubicBezTo>
                  <a:cubicBezTo>
                    <a:pt x="1310" y="60"/>
                    <a:pt x="1274" y="1"/>
                    <a:pt x="11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7" name="Google Shape;13357;p64"/>
            <p:cNvSpPr/>
            <p:nvPr/>
          </p:nvSpPr>
          <p:spPr>
            <a:xfrm>
              <a:off x="5210299" y="3013928"/>
              <a:ext cx="222110" cy="201261"/>
            </a:xfrm>
            <a:custGeom>
              <a:avLst/>
              <a:gdLst/>
              <a:ahLst/>
              <a:cxnLst/>
              <a:rect l="l" t="t" r="r" b="b"/>
              <a:pathLst>
                <a:path w="6978" h="6323" extrusionOk="0">
                  <a:moveTo>
                    <a:pt x="4679" y="2632"/>
                  </a:moveTo>
                  <a:lnTo>
                    <a:pt x="4274" y="2929"/>
                  </a:lnTo>
                  <a:lnTo>
                    <a:pt x="1441" y="2929"/>
                  </a:lnTo>
                  <a:lnTo>
                    <a:pt x="1024" y="2632"/>
                  </a:lnTo>
                  <a:close/>
                  <a:moveTo>
                    <a:pt x="3905" y="3168"/>
                  </a:moveTo>
                  <a:lnTo>
                    <a:pt x="3500" y="3465"/>
                  </a:lnTo>
                  <a:lnTo>
                    <a:pt x="2179" y="3465"/>
                  </a:lnTo>
                  <a:lnTo>
                    <a:pt x="1774" y="3168"/>
                  </a:lnTo>
                  <a:close/>
                  <a:moveTo>
                    <a:pt x="3143" y="3727"/>
                  </a:moveTo>
                  <a:lnTo>
                    <a:pt x="2846" y="3942"/>
                  </a:lnTo>
                  <a:lnTo>
                    <a:pt x="2548" y="3727"/>
                  </a:lnTo>
                  <a:close/>
                  <a:moveTo>
                    <a:pt x="6239" y="1"/>
                  </a:moveTo>
                  <a:cubicBezTo>
                    <a:pt x="6167" y="1"/>
                    <a:pt x="6108" y="48"/>
                    <a:pt x="6108" y="132"/>
                  </a:cubicBezTo>
                  <a:lnTo>
                    <a:pt x="6108" y="1263"/>
                  </a:lnTo>
                  <a:lnTo>
                    <a:pt x="6108" y="1596"/>
                  </a:lnTo>
                  <a:lnTo>
                    <a:pt x="5036" y="2382"/>
                  </a:lnTo>
                  <a:lnTo>
                    <a:pt x="667" y="2382"/>
                  </a:lnTo>
                  <a:lnTo>
                    <a:pt x="226" y="2060"/>
                  </a:lnTo>
                  <a:cubicBezTo>
                    <a:pt x="204" y="2047"/>
                    <a:pt x="180" y="2040"/>
                    <a:pt x="156" y="2040"/>
                  </a:cubicBezTo>
                  <a:cubicBezTo>
                    <a:pt x="116" y="2040"/>
                    <a:pt x="77" y="2059"/>
                    <a:pt x="48" y="2096"/>
                  </a:cubicBezTo>
                  <a:cubicBezTo>
                    <a:pt x="0" y="2156"/>
                    <a:pt x="24" y="2227"/>
                    <a:pt x="83" y="2275"/>
                  </a:cubicBezTo>
                  <a:lnTo>
                    <a:pt x="2786" y="4203"/>
                  </a:lnTo>
                  <a:cubicBezTo>
                    <a:pt x="2810" y="4221"/>
                    <a:pt x="2837" y="4230"/>
                    <a:pt x="2863" y="4230"/>
                  </a:cubicBezTo>
                  <a:cubicBezTo>
                    <a:pt x="2890" y="4230"/>
                    <a:pt x="2917" y="4221"/>
                    <a:pt x="2941" y="4203"/>
                  </a:cubicBezTo>
                  <a:lnTo>
                    <a:pt x="6703" y="1513"/>
                  </a:lnTo>
                  <a:lnTo>
                    <a:pt x="6703" y="6049"/>
                  </a:lnTo>
                  <a:lnTo>
                    <a:pt x="786" y="6049"/>
                  </a:lnTo>
                  <a:cubicBezTo>
                    <a:pt x="702" y="6049"/>
                    <a:pt x="643" y="6108"/>
                    <a:pt x="643" y="6192"/>
                  </a:cubicBezTo>
                  <a:cubicBezTo>
                    <a:pt x="643" y="6263"/>
                    <a:pt x="702" y="6323"/>
                    <a:pt x="786" y="6323"/>
                  </a:cubicBezTo>
                  <a:lnTo>
                    <a:pt x="6834" y="6323"/>
                  </a:lnTo>
                  <a:cubicBezTo>
                    <a:pt x="6918" y="6323"/>
                    <a:pt x="6977" y="6263"/>
                    <a:pt x="6977" y="6192"/>
                  </a:cubicBezTo>
                  <a:lnTo>
                    <a:pt x="6977" y="1263"/>
                  </a:lnTo>
                  <a:cubicBezTo>
                    <a:pt x="6941" y="1263"/>
                    <a:pt x="6941" y="1239"/>
                    <a:pt x="6941" y="1239"/>
                  </a:cubicBezTo>
                  <a:cubicBezTo>
                    <a:pt x="6929" y="1191"/>
                    <a:pt x="6882" y="1132"/>
                    <a:pt x="6810" y="1132"/>
                  </a:cubicBezTo>
                  <a:lnTo>
                    <a:pt x="6370" y="1132"/>
                  </a:lnTo>
                  <a:lnTo>
                    <a:pt x="6370" y="132"/>
                  </a:lnTo>
                  <a:cubicBezTo>
                    <a:pt x="6370" y="48"/>
                    <a:pt x="6310" y="1"/>
                    <a:pt x="6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58" name="Google Shape;13358;p64"/>
          <p:cNvGrpSpPr/>
          <p:nvPr/>
        </p:nvGrpSpPr>
        <p:grpSpPr>
          <a:xfrm>
            <a:off x="6069423" y="2891892"/>
            <a:ext cx="362321" cy="364231"/>
            <a:chOff x="6069423" y="2891892"/>
            <a:chExt cx="362321" cy="364231"/>
          </a:xfrm>
        </p:grpSpPr>
        <p:sp>
          <p:nvSpPr>
            <p:cNvPr id="13359" name="Google Shape;13359;p64"/>
            <p:cNvSpPr/>
            <p:nvPr/>
          </p:nvSpPr>
          <p:spPr>
            <a:xfrm>
              <a:off x="6069423" y="2891892"/>
              <a:ext cx="278958" cy="278958"/>
            </a:xfrm>
            <a:custGeom>
              <a:avLst/>
              <a:gdLst/>
              <a:ahLst/>
              <a:cxnLst/>
              <a:rect l="l" t="t" r="r" b="b"/>
              <a:pathLst>
                <a:path w="8764" h="8764" extrusionOk="0">
                  <a:moveTo>
                    <a:pt x="4120" y="1"/>
                  </a:moveTo>
                  <a:cubicBezTo>
                    <a:pt x="3858" y="1"/>
                    <a:pt x="3632" y="203"/>
                    <a:pt x="3572" y="453"/>
                  </a:cubicBezTo>
                  <a:lnTo>
                    <a:pt x="3406" y="1299"/>
                  </a:lnTo>
                  <a:cubicBezTo>
                    <a:pt x="3227" y="1358"/>
                    <a:pt x="3060" y="1418"/>
                    <a:pt x="2906" y="1513"/>
                  </a:cubicBezTo>
                  <a:lnTo>
                    <a:pt x="2191" y="1037"/>
                  </a:lnTo>
                  <a:cubicBezTo>
                    <a:pt x="2096" y="971"/>
                    <a:pt x="1987" y="940"/>
                    <a:pt x="1879" y="940"/>
                  </a:cubicBezTo>
                  <a:cubicBezTo>
                    <a:pt x="1732" y="940"/>
                    <a:pt x="1587" y="998"/>
                    <a:pt x="1477" y="1108"/>
                  </a:cubicBezTo>
                  <a:lnTo>
                    <a:pt x="1096" y="1477"/>
                  </a:lnTo>
                  <a:cubicBezTo>
                    <a:pt x="905" y="1668"/>
                    <a:pt x="882" y="1965"/>
                    <a:pt x="1024" y="2191"/>
                  </a:cubicBezTo>
                  <a:lnTo>
                    <a:pt x="1501" y="2906"/>
                  </a:lnTo>
                  <a:cubicBezTo>
                    <a:pt x="1417" y="3073"/>
                    <a:pt x="1358" y="3239"/>
                    <a:pt x="1298" y="3406"/>
                  </a:cubicBezTo>
                  <a:lnTo>
                    <a:pt x="441" y="3573"/>
                  </a:lnTo>
                  <a:cubicBezTo>
                    <a:pt x="179" y="3632"/>
                    <a:pt x="0" y="3858"/>
                    <a:pt x="0" y="4132"/>
                  </a:cubicBezTo>
                  <a:lnTo>
                    <a:pt x="0" y="4644"/>
                  </a:lnTo>
                  <a:cubicBezTo>
                    <a:pt x="0" y="4918"/>
                    <a:pt x="191" y="5132"/>
                    <a:pt x="441" y="5204"/>
                  </a:cubicBezTo>
                  <a:lnTo>
                    <a:pt x="1298" y="5359"/>
                  </a:lnTo>
                  <a:cubicBezTo>
                    <a:pt x="1358" y="5537"/>
                    <a:pt x="1417" y="5704"/>
                    <a:pt x="1501" y="5871"/>
                  </a:cubicBezTo>
                  <a:lnTo>
                    <a:pt x="1024" y="6585"/>
                  </a:lnTo>
                  <a:cubicBezTo>
                    <a:pt x="882" y="6811"/>
                    <a:pt x="905" y="7109"/>
                    <a:pt x="1096" y="7299"/>
                  </a:cubicBezTo>
                  <a:lnTo>
                    <a:pt x="1477" y="7668"/>
                  </a:lnTo>
                  <a:cubicBezTo>
                    <a:pt x="1587" y="7778"/>
                    <a:pt x="1732" y="7837"/>
                    <a:pt x="1879" y="7837"/>
                  </a:cubicBezTo>
                  <a:cubicBezTo>
                    <a:pt x="1987" y="7837"/>
                    <a:pt x="2096" y="7805"/>
                    <a:pt x="2191" y="7740"/>
                  </a:cubicBezTo>
                  <a:lnTo>
                    <a:pt x="2906" y="7264"/>
                  </a:lnTo>
                  <a:cubicBezTo>
                    <a:pt x="3060" y="7359"/>
                    <a:pt x="3227" y="7418"/>
                    <a:pt x="3406" y="7478"/>
                  </a:cubicBezTo>
                  <a:lnTo>
                    <a:pt x="3572" y="8323"/>
                  </a:lnTo>
                  <a:cubicBezTo>
                    <a:pt x="3632" y="8585"/>
                    <a:pt x="3858" y="8764"/>
                    <a:pt x="4120" y="8764"/>
                  </a:cubicBezTo>
                  <a:lnTo>
                    <a:pt x="4644" y="8764"/>
                  </a:lnTo>
                  <a:cubicBezTo>
                    <a:pt x="4906" y="8764"/>
                    <a:pt x="5132" y="8573"/>
                    <a:pt x="5192" y="8323"/>
                  </a:cubicBezTo>
                  <a:lnTo>
                    <a:pt x="5358" y="7478"/>
                  </a:lnTo>
                  <a:cubicBezTo>
                    <a:pt x="5489" y="7430"/>
                    <a:pt x="5620" y="7371"/>
                    <a:pt x="5763" y="7311"/>
                  </a:cubicBezTo>
                  <a:cubicBezTo>
                    <a:pt x="5846" y="7299"/>
                    <a:pt x="5894" y="7192"/>
                    <a:pt x="5846" y="7109"/>
                  </a:cubicBezTo>
                  <a:cubicBezTo>
                    <a:pt x="5812" y="7039"/>
                    <a:pt x="5751" y="6995"/>
                    <a:pt x="5684" y="6995"/>
                  </a:cubicBezTo>
                  <a:cubicBezTo>
                    <a:pt x="5659" y="6995"/>
                    <a:pt x="5634" y="7001"/>
                    <a:pt x="5608" y="7014"/>
                  </a:cubicBezTo>
                  <a:cubicBezTo>
                    <a:pt x="5465" y="7085"/>
                    <a:pt x="5311" y="7144"/>
                    <a:pt x="5144" y="7180"/>
                  </a:cubicBezTo>
                  <a:cubicBezTo>
                    <a:pt x="5084" y="7192"/>
                    <a:pt x="5025" y="7252"/>
                    <a:pt x="5013" y="7311"/>
                  </a:cubicBezTo>
                  <a:lnTo>
                    <a:pt x="4823" y="8264"/>
                  </a:lnTo>
                  <a:cubicBezTo>
                    <a:pt x="4811" y="8347"/>
                    <a:pt x="4715" y="8430"/>
                    <a:pt x="4632" y="8430"/>
                  </a:cubicBezTo>
                  <a:lnTo>
                    <a:pt x="4108" y="8430"/>
                  </a:lnTo>
                  <a:cubicBezTo>
                    <a:pt x="4013" y="8430"/>
                    <a:pt x="3930" y="8347"/>
                    <a:pt x="3918" y="8264"/>
                  </a:cubicBezTo>
                  <a:lnTo>
                    <a:pt x="3715" y="7311"/>
                  </a:lnTo>
                  <a:cubicBezTo>
                    <a:pt x="3703" y="7252"/>
                    <a:pt x="3656" y="7192"/>
                    <a:pt x="3584" y="7180"/>
                  </a:cubicBezTo>
                  <a:cubicBezTo>
                    <a:pt x="3358" y="7121"/>
                    <a:pt x="3156" y="7025"/>
                    <a:pt x="2965" y="6906"/>
                  </a:cubicBezTo>
                  <a:cubicBezTo>
                    <a:pt x="2935" y="6894"/>
                    <a:pt x="2900" y="6888"/>
                    <a:pt x="2864" y="6888"/>
                  </a:cubicBezTo>
                  <a:cubicBezTo>
                    <a:pt x="2828" y="6888"/>
                    <a:pt x="2792" y="6894"/>
                    <a:pt x="2763" y="6906"/>
                  </a:cubicBezTo>
                  <a:lnTo>
                    <a:pt x="1965" y="7442"/>
                  </a:lnTo>
                  <a:cubicBezTo>
                    <a:pt x="1934" y="7468"/>
                    <a:pt x="1894" y="7480"/>
                    <a:pt x="1854" y="7480"/>
                  </a:cubicBezTo>
                  <a:cubicBezTo>
                    <a:pt x="1802" y="7480"/>
                    <a:pt x="1749" y="7459"/>
                    <a:pt x="1715" y="7418"/>
                  </a:cubicBezTo>
                  <a:lnTo>
                    <a:pt x="1334" y="7049"/>
                  </a:lnTo>
                  <a:cubicBezTo>
                    <a:pt x="1263" y="6966"/>
                    <a:pt x="1263" y="6859"/>
                    <a:pt x="1310" y="6787"/>
                  </a:cubicBezTo>
                  <a:lnTo>
                    <a:pt x="1846" y="5990"/>
                  </a:lnTo>
                  <a:cubicBezTo>
                    <a:pt x="1882" y="5930"/>
                    <a:pt x="1882" y="5859"/>
                    <a:pt x="1846" y="5799"/>
                  </a:cubicBezTo>
                  <a:cubicBezTo>
                    <a:pt x="1727" y="5597"/>
                    <a:pt x="1655" y="5382"/>
                    <a:pt x="1572" y="5168"/>
                  </a:cubicBezTo>
                  <a:cubicBezTo>
                    <a:pt x="1560" y="5109"/>
                    <a:pt x="1501" y="5049"/>
                    <a:pt x="1441" y="5037"/>
                  </a:cubicBezTo>
                  <a:lnTo>
                    <a:pt x="489" y="4847"/>
                  </a:lnTo>
                  <a:cubicBezTo>
                    <a:pt x="393" y="4823"/>
                    <a:pt x="322" y="4739"/>
                    <a:pt x="322" y="4644"/>
                  </a:cubicBezTo>
                  <a:lnTo>
                    <a:pt x="322" y="4132"/>
                  </a:lnTo>
                  <a:cubicBezTo>
                    <a:pt x="322" y="4037"/>
                    <a:pt x="393" y="3954"/>
                    <a:pt x="489" y="3930"/>
                  </a:cubicBezTo>
                  <a:lnTo>
                    <a:pt x="1441" y="3739"/>
                  </a:lnTo>
                  <a:cubicBezTo>
                    <a:pt x="1501" y="3727"/>
                    <a:pt x="1560" y="3680"/>
                    <a:pt x="1572" y="3608"/>
                  </a:cubicBezTo>
                  <a:cubicBezTo>
                    <a:pt x="1632" y="3382"/>
                    <a:pt x="1727" y="3180"/>
                    <a:pt x="1846" y="2977"/>
                  </a:cubicBezTo>
                  <a:cubicBezTo>
                    <a:pt x="1870" y="2918"/>
                    <a:pt x="1870" y="2846"/>
                    <a:pt x="1846" y="2787"/>
                  </a:cubicBezTo>
                  <a:lnTo>
                    <a:pt x="1310" y="1989"/>
                  </a:lnTo>
                  <a:cubicBezTo>
                    <a:pt x="1251" y="1906"/>
                    <a:pt x="1263" y="1787"/>
                    <a:pt x="1334" y="1727"/>
                  </a:cubicBezTo>
                  <a:lnTo>
                    <a:pt x="1715" y="1358"/>
                  </a:lnTo>
                  <a:cubicBezTo>
                    <a:pt x="1754" y="1319"/>
                    <a:pt x="1804" y="1301"/>
                    <a:pt x="1854" y="1301"/>
                  </a:cubicBezTo>
                  <a:cubicBezTo>
                    <a:pt x="1894" y="1301"/>
                    <a:pt x="1933" y="1313"/>
                    <a:pt x="1965" y="1334"/>
                  </a:cubicBezTo>
                  <a:lnTo>
                    <a:pt x="2763" y="1870"/>
                  </a:lnTo>
                  <a:cubicBezTo>
                    <a:pt x="2792" y="1888"/>
                    <a:pt x="2828" y="1897"/>
                    <a:pt x="2864" y="1897"/>
                  </a:cubicBezTo>
                  <a:cubicBezTo>
                    <a:pt x="2900" y="1897"/>
                    <a:pt x="2935" y="1888"/>
                    <a:pt x="2965" y="1870"/>
                  </a:cubicBezTo>
                  <a:cubicBezTo>
                    <a:pt x="3156" y="1751"/>
                    <a:pt x="3382" y="1668"/>
                    <a:pt x="3584" y="1596"/>
                  </a:cubicBezTo>
                  <a:cubicBezTo>
                    <a:pt x="3644" y="1584"/>
                    <a:pt x="3703" y="1525"/>
                    <a:pt x="3715" y="1465"/>
                  </a:cubicBezTo>
                  <a:lnTo>
                    <a:pt x="3918" y="513"/>
                  </a:lnTo>
                  <a:cubicBezTo>
                    <a:pt x="3930" y="417"/>
                    <a:pt x="4013" y="346"/>
                    <a:pt x="4108" y="346"/>
                  </a:cubicBezTo>
                  <a:lnTo>
                    <a:pt x="4632" y="346"/>
                  </a:lnTo>
                  <a:cubicBezTo>
                    <a:pt x="4715" y="346"/>
                    <a:pt x="4811" y="417"/>
                    <a:pt x="4823" y="513"/>
                  </a:cubicBezTo>
                  <a:lnTo>
                    <a:pt x="5013" y="1465"/>
                  </a:lnTo>
                  <a:cubicBezTo>
                    <a:pt x="5025" y="1525"/>
                    <a:pt x="5073" y="1584"/>
                    <a:pt x="5144" y="1596"/>
                  </a:cubicBezTo>
                  <a:cubicBezTo>
                    <a:pt x="5370" y="1656"/>
                    <a:pt x="5585" y="1751"/>
                    <a:pt x="5775" y="1870"/>
                  </a:cubicBezTo>
                  <a:cubicBezTo>
                    <a:pt x="5805" y="1882"/>
                    <a:pt x="5838" y="1888"/>
                    <a:pt x="5870" y="1888"/>
                  </a:cubicBezTo>
                  <a:cubicBezTo>
                    <a:pt x="5903" y="1888"/>
                    <a:pt x="5936" y="1882"/>
                    <a:pt x="5966" y="1870"/>
                  </a:cubicBezTo>
                  <a:lnTo>
                    <a:pt x="6775" y="1334"/>
                  </a:lnTo>
                  <a:cubicBezTo>
                    <a:pt x="6806" y="1309"/>
                    <a:pt x="6846" y="1296"/>
                    <a:pt x="6886" y="1296"/>
                  </a:cubicBezTo>
                  <a:cubicBezTo>
                    <a:pt x="6938" y="1296"/>
                    <a:pt x="6991" y="1317"/>
                    <a:pt x="7025" y="1358"/>
                  </a:cubicBezTo>
                  <a:lnTo>
                    <a:pt x="7394" y="1727"/>
                  </a:lnTo>
                  <a:cubicBezTo>
                    <a:pt x="7466" y="1810"/>
                    <a:pt x="7466" y="1906"/>
                    <a:pt x="7430" y="1989"/>
                  </a:cubicBezTo>
                  <a:lnTo>
                    <a:pt x="6894" y="2787"/>
                  </a:lnTo>
                  <a:cubicBezTo>
                    <a:pt x="6847" y="2846"/>
                    <a:pt x="6847" y="2918"/>
                    <a:pt x="6894" y="2977"/>
                  </a:cubicBezTo>
                  <a:cubicBezTo>
                    <a:pt x="7013" y="3180"/>
                    <a:pt x="7085" y="3394"/>
                    <a:pt x="7156" y="3608"/>
                  </a:cubicBezTo>
                  <a:cubicBezTo>
                    <a:pt x="7168" y="3668"/>
                    <a:pt x="7228" y="3727"/>
                    <a:pt x="7287" y="3739"/>
                  </a:cubicBezTo>
                  <a:lnTo>
                    <a:pt x="8240" y="3930"/>
                  </a:lnTo>
                  <a:cubicBezTo>
                    <a:pt x="8335" y="3954"/>
                    <a:pt x="8406" y="4037"/>
                    <a:pt x="8406" y="4132"/>
                  </a:cubicBezTo>
                  <a:lnTo>
                    <a:pt x="8406" y="4644"/>
                  </a:lnTo>
                  <a:cubicBezTo>
                    <a:pt x="8406" y="4739"/>
                    <a:pt x="8335" y="4823"/>
                    <a:pt x="8240" y="4847"/>
                  </a:cubicBezTo>
                  <a:lnTo>
                    <a:pt x="7287" y="5037"/>
                  </a:lnTo>
                  <a:cubicBezTo>
                    <a:pt x="7228" y="5049"/>
                    <a:pt x="7168" y="5097"/>
                    <a:pt x="7156" y="5168"/>
                  </a:cubicBezTo>
                  <a:cubicBezTo>
                    <a:pt x="7109" y="5335"/>
                    <a:pt x="7049" y="5478"/>
                    <a:pt x="6978" y="5632"/>
                  </a:cubicBezTo>
                  <a:cubicBezTo>
                    <a:pt x="6930" y="5716"/>
                    <a:pt x="6978" y="5823"/>
                    <a:pt x="7073" y="5871"/>
                  </a:cubicBezTo>
                  <a:cubicBezTo>
                    <a:pt x="7095" y="5883"/>
                    <a:pt x="7119" y="5889"/>
                    <a:pt x="7143" y="5889"/>
                  </a:cubicBezTo>
                  <a:cubicBezTo>
                    <a:pt x="7209" y="5889"/>
                    <a:pt x="7276" y="5845"/>
                    <a:pt x="7311" y="5775"/>
                  </a:cubicBezTo>
                  <a:cubicBezTo>
                    <a:pt x="7370" y="5644"/>
                    <a:pt x="7430" y="5513"/>
                    <a:pt x="7466" y="5359"/>
                  </a:cubicBezTo>
                  <a:lnTo>
                    <a:pt x="8323" y="5204"/>
                  </a:lnTo>
                  <a:cubicBezTo>
                    <a:pt x="8585" y="5144"/>
                    <a:pt x="8763" y="4918"/>
                    <a:pt x="8763" y="4644"/>
                  </a:cubicBezTo>
                  <a:lnTo>
                    <a:pt x="8763" y="4132"/>
                  </a:lnTo>
                  <a:cubicBezTo>
                    <a:pt x="8763" y="3858"/>
                    <a:pt x="8573" y="3632"/>
                    <a:pt x="8323" y="3573"/>
                  </a:cubicBezTo>
                  <a:lnTo>
                    <a:pt x="7466" y="3406"/>
                  </a:lnTo>
                  <a:cubicBezTo>
                    <a:pt x="7406" y="3227"/>
                    <a:pt x="7347" y="3073"/>
                    <a:pt x="7263" y="2906"/>
                  </a:cubicBezTo>
                  <a:lnTo>
                    <a:pt x="7740" y="2191"/>
                  </a:lnTo>
                  <a:cubicBezTo>
                    <a:pt x="7882" y="1965"/>
                    <a:pt x="7859" y="1668"/>
                    <a:pt x="7668" y="1477"/>
                  </a:cubicBezTo>
                  <a:lnTo>
                    <a:pt x="7287" y="1108"/>
                  </a:lnTo>
                  <a:cubicBezTo>
                    <a:pt x="7177" y="998"/>
                    <a:pt x="7032" y="940"/>
                    <a:pt x="6885" y="940"/>
                  </a:cubicBezTo>
                  <a:cubicBezTo>
                    <a:pt x="6777" y="940"/>
                    <a:pt x="6668" y="971"/>
                    <a:pt x="6573" y="1037"/>
                  </a:cubicBezTo>
                  <a:lnTo>
                    <a:pt x="5858" y="1513"/>
                  </a:lnTo>
                  <a:cubicBezTo>
                    <a:pt x="5704" y="1418"/>
                    <a:pt x="5537" y="1358"/>
                    <a:pt x="5358" y="1299"/>
                  </a:cubicBezTo>
                  <a:lnTo>
                    <a:pt x="5192" y="453"/>
                  </a:lnTo>
                  <a:cubicBezTo>
                    <a:pt x="5132" y="179"/>
                    <a:pt x="4906" y="1"/>
                    <a:pt x="4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0" name="Google Shape;13360;p64"/>
            <p:cNvSpPr/>
            <p:nvPr/>
          </p:nvSpPr>
          <p:spPr>
            <a:xfrm>
              <a:off x="6161507" y="2967679"/>
              <a:ext cx="111851" cy="97432"/>
            </a:xfrm>
            <a:custGeom>
              <a:avLst/>
              <a:gdLst/>
              <a:ahLst/>
              <a:cxnLst/>
              <a:rect l="l" t="t" r="r" b="b"/>
              <a:pathLst>
                <a:path w="3514" h="3061" extrusionOk="0">
                  <a:moveTo>
                    <a:pt x="1489" y="1"/>
                  </a:moveTo>
                  <a:cubicBezTo>
                    <a:pt x="965" y="1"/>
                    <a:pt x="465" y="215"/>
                    <a:pt x="84" y="584"/>
                  </a:cubicBezTo>
                  <a:cubicBezTo>
                    <a:pt x="1" y="656"/>
                    <a:pt x="1" y="763"/>
                    <a:pt x="84" y="834"/>
                  </a:cubicBezTo>
                  <a:cubicBezTo>
                    <a:pt x="120" y="870"/>
                    <a:pt x="164" y="888"/>
                    <a:pt x="209" y="888"/>
                  </a:cubicBezTo>
                  <a:cubicBezTo>
                    <a:pt x="254" y="888"/>
                    <a:pt x="298" y="870"/>
                    <a:pt x="334" y="834"/>
                  </a:cubicBezTo>
                  <a:cubicBezTo>
                    <a:pt x="644" y="537"/>
                    <a:pt x="1060" y="358"/>
                    <a:pt x="1489" y="358"/>
                  </a:cubicBezTo>
                  <a:cubicBezTo>
                    <a:pt x="2418" y="358"/>
                    <a:pt x="3168" y="1108"/>
                    <a:pt x="3168" y="2025"/>
                  </a:cubicBezTo>
                  <a:cubicBezTo>
                    <a:pt x="3168" y="2299"/>
                    <a:pt x="3096" y="2549"/>
                    <a:pt x="2989" y="2787"/>
                  </a:cubicBezTo>
                  <a:cubicBezTo>
                    <a:pt x="2930" y="2894"/>
                    <a:pt x="2953" y="2989"/>
                    <a:pt x="3049" y="3037"/>
                  </a:cubicBezTo>
                  <a:cubicBezTo>
                    <a:pt x="3073" y="3061"/>
                    <a:pt x="3108" y="3061"/>
                    <a:pt x="3132" y="3061"/>
                  </a:cubicBezTo>
                  <a:cubicBezTo>
                    <a:pt x="3192" y="3061"/>
                    <a:pt x="3263" y="3025"/>
                    <a:pt x="3299" y="2954"/>
                  </a:cubicBezTo>
                  <a:cubicBezTo>
                    <a:pt x="3442" y="2668"/>
                    <a:pt x="3513" y="2358"/>
                    <a:pt x="3513" y="2025"/>
                  </a:cubicBezTo>
                  <a:cubicBezTo>
                    <a:pt x="3513" y="906"/>
                    <a:pt x="2608" y="1"/>
                    <a:pt x="1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1" name="Google Shape;13361;p64"/>
            <p:cNvSpPr/>
            <p:nvPr/>
          </p:nvSpPr>
          <p:spPr>
            <a:xfrm>
              <a:off x="6144828" y="3007848"/>
              <a:ext cx="105389" cy="88742"/>
            </a:xfrm>
            <a:custGeom>
              <a:avLst/>
              <a:gdLst/>
              <a:ahLst/>
              <a:cxnLst/>
              <a:rect l="l" t="t" r="r" b="b"/>
              <a:pathLst>
                <a:path w="3311" h="2788" extrusionOk="0">
                  <a:moveTo>
                    <a:pt x="262" y="1"/>
                  </a:moveTo>
                  <a:cubicBezTo>
                    <a:pt x="194" y="1"/>
                    <a:pt x="124" y="44"/>
                    <a:pt x="96" y="108"/>
                  </a:cubicBezTo>
                  <a:cubicBezTo>
                    <a:pt x="25" y="323"/>
                    <a:pt x="1" y="549"/>
                    <a:pt x="1" y="763"/>
                  </a:cubicBezTo>
                  <a:cubicBezTo>
                    <a:pt x="1" y="1882"/>
                    <a:pt x="906" y="2787"/>
                    <a:pt x="2013" y="2787"/>
                  </a:cubicBezTo>
                  <a:cubicBezTo>
                    <a:pt x="2454" y="2787"/>
                    <a:pt x="2846" y="2656"/>
                    <a:pt x="3204" y="2406"/>
                  </a:cubicBezTo>
                  <a:cubicBezTo>
                    <a:pt x="3287" y="2347"/>
                    <a:pt x="3311" y="2239"/>
                    <a:pt x="3251" y="2156"/>
                  </a:cubicBezTo>
                  <a:cubicBezTo>
                    <a:pt x="3214" y="2104"/>
                    <a:pt x="3159" y="2075"/>
                    <a:pt x="3102" y="2075"/>
                  </a:cubicBezTo>
                  <a:cubicBezTo>
                    <a:pt x="3068" y="2075"/>
                    <a:pt x="3033" y="2086"/>
                    <a:pt x="3001" y="2108"/>
                  </a:cubicBezTo>
                  <a:cubicBezTo>
                    <a:pt x="2715" y="2311"/>
                    <a:pt x="2370" y="2418"/>
                    <a:pt x="2037" y="2418"/>
                  </a:cubicBezTo>
                  <a:cubicBezTo>
                    <a:pt x="1108" y="2418"/>
                    <a:pt x="370" y="1680"/>
                    <a:pt x="370" y="751"/>
                  </a:cubicBezTo>
                  <a:cubicBezTo>
                    <a:pt x="370" y="573"/>
                    <a:pt x="394" y="382"/>
                    <a:pt x="453" y="215"/>
                  </a:cubicBezTo>
                  <a:cubicBezTo>
                    <a:pt x="477" y="144"/>
                    <a:pt x="406" y="37"/>
                    <a:pt x="322" y="13"/>
                  </a:cubicBezTo>
                  <a:cubicBezTo>
                    <a:pt x="303" y="5"/>
                    <a:pt x="283" y="1"/>
                    <a:pt x="26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2" name="Google Shape;13362;p64"/>
            <p:cNvSpPr/>
            <p:nvPr/>
          </p:nvSpPr>
          <p:spPr>
            <a:xfrm>
              <a:off x="6245633" y="3069248"/>
              <a:ext cx="186110" cy="186874"/>
            </a:xfrm>
            <a:custGeom>
              <a:avLst/>
              <a:gdLst/>
              <a:ahLst/>
              <a:cxnLst/>
              <a:rect l="l" t="t" r="r" b="b"/>
              <a:pathLst>
                <a:path w="5847" h="5871" extrusionOk="0">
                  <a:moveTo>
                    <a:pt x="2751" y="1"/>
                  </a:moveTo>
                  <a:cubicBezTo>
                    <a:pt x="2549" y="1"/>
                    <a:pt x="2370" y="144"/>
                    <a:pt x="2335" y="346"/>
                  </a:cubicBezTo>
                  <a:lnTo>
                    <a:pt x="2227" y="858"/>
                  </a:lnTo>
                  <a:cubicBezTo>
                    <a:pt x="2144" y="894"/>
                    <a:pt x="2037" y="941"/>
                    <a:pt x="1965" y="977"/>
                  </a:cubicBezTo>
                  <a:lnTo>
                    <a:pt x="1513" y="680"/>
                  </a:lnTo>
                  <a:cubicBezTo>
                    <a:pt x="1449" y="631"/>
                    <a:pt x="1372" y="608"/>
                    <a:pt x="1293" y="608"/>
                  </a:cubicBezTo>
                  <a:cubicBezTo>
                    <a:pt x="1179" y="608"/>
                    <a:pt x="1061" y="655"/>
                    <a:pt x="977" y="739"/>
                  </a:cubicBezTo>
                  <a:lnTo>
                    <a:pt x="739" y="977"/>
                  </a:lnTo>
                  <a:cubicBezTo>
                    <a:pt x="596" y="1132"/>
                    <a:pt x="584" y="1346"/>
                    <a:pt x="680" y="1513"/>
                  </a:cubicBezTo>
                  <a:lnTo>
                    <a:pt x="977" y="1965"/>
                  </a:lnTo>
                  <a:cubicBezTo>
                    <a:pt x="918" y="2084"/>
                    <a:pt x="882" y="2215"/>
                    <a:pt x="834" y="2346"/>
                  </a:cubicBezTo>
                  <a:cubicBezTo>
                    <a:pt x="799" y="2442"/>
                    <a:pt x="858" y="2537"/>
                    <a:pt x="953" y="2573"/>
                  </a:cubicBezTo>
                  <a:cubicBezTo>
                    <a:pt x="968" y="2579"/>
                    <a:pt x="984" y="2582"/>
                    <a:pt x="1000" y="2582"/>
                  </a:cubicBezTo>
                  <a:cubicBezTo>
                    <a:pt x="1073" y="2582"/>
                    <a:pt x="1150" y="2522"/>
                    <a:pt x="1180" y="2454"/>
                  </a:cubicBezTo>
                  <a:cubicBezTo>
                    <a:pt x="1215" y="2323"/>
                    <a:pt x="1263" y="2192"/>
                    <a:pt x="1334" y="2049"/>
                  </a:cubicBezTo>
                  <a:cubicBezTo>
                    <a:pt x="1370" y="1989"/>
                    <a:pt x="1370" y="1918"/>
                    <a:pt x="1334" y="1858"/>
                  </a:cubicBezTo>
                  <a:lnTo>
                    <a:pt x="977" y="1322"/>
                  </a:lnTo>
                  <a:cubicBezTo>
                    <a:pt x="965" y="1287"/>
                    <a:pt x="965" y="1263"/>
                    <a:pt x="1001" y="1239"/>
                  </a:cubicBezTo>
                  <a:lnTo>
                    <a:pt x="1239" y="989"/>
                  </a:lnTo>
                  <a:cubicBezTo>
                    <a:pt x="1253" y="975"/>
                    <a:pt x="1271" y="969"/>
                    <a:pt x="1288" y="969"/>
                  </a:cubicBezTo>
                  <a:cubicBezTo>
                    <a:pt x="1301" y="969"/>
                    <a:pt x="1313" y="972"/>
                    <a:pt x="1322" y="977"/>
                  </a:cubicBezTo>
                  <a:lnTo>
                    <a:pt x="1858" y="1334"/>
                  </a:lnTo>
                  <a:cubicBezTo>
                    <a:pt x="1888" y="1358"/>
                    <a:pt x="1921" y="1370"/>
                    <a:pt x="1954" y="1370"/>
                  </a:cubicBezTo>
                  <a:cubicBezTo>
                    <a:pt x="1986" y="1370"/>
                    <a:pt x="2019" y="1358"/>
                    <a:pt x="2049" y="1334"/>
                  </a:cubicBezTo>
                  <a:cubicBezTo>
                    <a:pt x="2168" y="1263"/>
                    <a:pt x="2323" y="1203"/>
                    <a:pt x="2454" y="1168"/>
                  </a:cubicBezTo>
                  <a:cubicBezTo>
                    <a:pt x="2513" y="1156"/>
                    <a:pt x="2573" y="1096"/>
                    <a:pt x="2585" y="1037"/>
                  </a:cubicBezTo>
                  <a:lnTo>
                    <a:pt x="2704" y="418"/>
                  </a:lnTo>
                  <a:cubicBezTo>
                    <a:pt x="2704" y="382"/>
                    <a:pt x="2739" y="358"/>
                    <a:pt x="2775" y="358"/>
                  </a:cubicBezTo>
                  <a:lnTo>
                    <a:pt x="3120" y="358"/>
                  </a:lnTo>
                  <a:cubicBezTo>
                    <a:pt x="3156" y="358"/>
                    <a:pt x="3180" y="382"/>
                    <a:pt x="3192" y="418"/>
                  </a:cubicBezTo>
                  <a:lnTo>
                    <a:pt x="3311" y="1037"/>
                  </a:lnTo>
                  <a:cubicBezTo>
                    <a:pt x="3335" y="1096"/>
                    <a:pt x="3370" y="1156"/>
                    <a:pt x="3454" y="1168"/>
                  </a:cubicBezTo>
                  <a:cubicBezTo>
                    <a:pt x="3585" y="1215"/>
                    <a:pt x="3716" y="1263"/>
                    <a:pt x="3847" y="1334"/>
                  </a:cubicBezTo>
                  <a:cubicBezTo>
                    <a:pt x="3882" y="1352"/>
                    <a:pt x="3918" y="1361"/>
                    <a:pt x="3952" y="1361"/>
                  </a:cubicBezTo>
                  <a:cubicBezTo>
                    <a:pt x="3987" y="1361"/>
                    <a:pt x="4019" y="1352"/>
                    <a:pt x="4049" y="1334"/>
                  </a:cubicBezTo>
                  <a:lnTo>
                    <a:pt x="4585" y="977"/>
                  </a:lnTo>
                  <a:cubicBezTo>
                    <a:pt x="4595" y="972"/>
                    <a:pt x="4607" y="969"/>
                    <a:pt x="4619" y="969"/>
                  </a:cubicBezTo>
                  <a:cubicBezTo>
                    <a:pt x="4636" y="969"/>
                    <a:pt x="4654" y="975"/>
                    <a:pt x="4668" y="989"/>
                  </a:cubicBezTo>
                  <a:lnTo>
                    <a:pt x="4906" y="1239"/>
                  </a:lnTo>
                  <a:cubicBezTo>
                    <a:pt x="4942" y="1263"/>
                    <a:pt x="4942" y="1287"/>
                    <a:pt x="4918" y="1322"/>
                  </a:cubicBezTo>
                  <a:lnTo>
                    <a:pt x="4561" y="1858"/>
                  </a:lnTo>
                  <a:cubicBezTo>
                    <a:pt x="4525" y="1918"/>
                    <a:pt x="4525" y="1989"/>
                    <a:pt x="4561" y="2049"/>
                  </a:cubicBezTo>
                  <a:cubicBezTo>
                    <a:pt x="4644" y="2168"/>
                    <a:pt x="4704" y="2323"/>
                    <a:pt x="4728" y="2454"/>
                  </a:cubicBezTo>
                  <a:cubicBezTo>
                    <a:pt x="4740" y="2513"/>
                    <a:pt x="4799" y="2573"/>
                    <a:pt x="4859" y="2585"/>
                  </a:cubicBezTo>
                  <a:lnTo>
                    <a:pt x="5490" y="2704"/>
                  </a:lnTo>
                  <a:cubicBezTo>
                    <a:pt x="5513" y="2704"/>
                    <a:pt x="5549" y="2739"/>
                    <a:pt x="5549" y="2775"/>
                  </a:cubicBezTo>
                  <a:lnTo>
                    <a:pt x="5549" y="3120"/>
                  </a:lnTo>
                  <a:cubicBezTo>
                    <a:pt x="5549" y="3156"/>
                    <a:pt x="5513" y="3180"/>
                    <a:pt x="5490" y="3192"/>
                  </a:cubicBezTo>
                  <a:lnTo>
                    <a:pt x="4859" y="3311"/>
                  </a:lnTo>
                  <a:cubicBezTo>
                    <a:pt x="4799" y="3335"/>
                    <a:pt x="4740" y="3370"/>
                    <a:pt x="4728" y="3454"/>
                  </a:cubicBezTo>
                  <a:cubicBezTo>
                    <a:pt x="4680" y="3585"/>
                    <a:pt x="4644" y="3716"/>
                    <a:pt x="4561" y="3847"/>
                  </a:cubicBezTo>
                  <a:cubicBezTo>
                    <a:pt x="4537" y="3906"/>
                    <a:pt x="4537" y="3989"/>
                    <a:pt x="4561" y="4049"/>
                  </a:cubicBezTo>
                  <a:lnTo>
                    <a:pt x="4918" y="4585"/>
                  </a:lnTo>
                  <a:cubicBezTo>
                    <a:pt x="4942" y="4609"/>
                    <a:pt x="4942" y="4644"/>
                    <a:pt x="4906" y="4668"/>
                  </a:cubicBezTo>
                  <a:lnTo>
                    <a:pt x="4668" y="4906"/>
                  </a:lnTo>
                  <a:cubicBezTo>
                    <a:pt x="4655" y="4926"/>
                    <a:pt x="4638" y="4935"/>
                    <a:pt x="4622" y="4935"/>
                  </a:cubicBezTo>
                  <a:cubicBezTo>
                    <a:pt x="4609" y="4935"/>
                    <a:pt x="4595" y="4929"/>
                    <a:pt x="4585" y="4918"/>
                  </a:cubicBezTo>
                  <a:lnTo>
                    <a:pt x="4049" y="4561"/>
                  </a:lnTo>
                  <a:cubicBezTo>
                    <a:pt x="4019" y="4543"/>
                    <a:pt x="3984" y="4534"/>
                    <a:pt x="3948" y="4534"/>
                  </a:cubicBezTo>
                  <a:cubicBezTo>
                    <a:pt x="3912" y="4534"/>
                    <a:pt x="3876" y="4543"/>
                    <a:pt x="3847" y="4561"/>
                  </a:cubicBezTo>
                  <a:cubicBezTo>
                    <a:pt x="3728" y="4644"/>
                    <a:pt x="3585" y="4704"/>
                    <a:pt x="3454" y="4728"/>
                  </a:cubicBezTo>
                  <a:cubicBezTo>
                    <a:pt x="3394" y="4751"/>
                    <a:pt x="3335" y="4811"/>
                    <a:pt x="3311" y="4859"/>
                  </a:cubicBezTo>
                  <a:lnTo>
                    <a:pt x="3192" y="5490"/>
                  </a:lnTo>
                  <a:cubicBezTo>
                    <a:pt x="3192" y="5525"/>
                    <a:pt x="3168" y="5549"/>
                    <a:pt x="3120" y="5549"/>
                  </a:cubicBezTo>
                  <a:lnTo>
                    <a:pt x="2775" y="5549"/>
                  </a:lnTo>
                  <a:cubicBezTo>
                    <a:pt x="2751" y="5549"/>
                    <a:pt x="2716" y="5513"/>
                    <a:pt x="2704" y="5490"/>
                  </a:cubicBezTo>
                  <a:lnTo>
                    <a:pt x="2585" y="4859"/>
                  </a:lnTo>
                  <a:cubicBezTo>
                    <a:pt x="2573" y="4811"/>
                    <a:pt x="2525" y="4751"/>
                    <a:pt x="2454" y="4728"/>
                  </a:cubicBezTo>
                  <a:cubicBezTo>
                    <a:pt x="2323" y="4692"/>
                    <a:pt x="2180" y="4644"/>
                    <a:pt x="2049" y="4561"/>
                  </a:cubicBezTo>
                  <a:cubicBezTo>
                    <a:pt x="2019" y="4549"/>
                    <a:pt x="1986" y="4543"/>
                    <a:pt x="1954" y="4543"/>
                  </a:cubicBezTo>
                  <a:cubicBezTo>
                    <a:pt x="1921" y="4543"/>
                    <a:pt x="1888" y="4549"/>
                    <a:pt x="1858" y="4561"/>
                  </a:cubicBezTo>
                  <a:lnTo>
                    <a:pt x="1322" y="4918"/>
                  </a:lnTo>
                  <a:cubicBezTo>
                    <a:pt x="1306" y="4929"/>
                    <a:pt x="1293" y="4935"/>
                    <a:pt x="1280" y="4935"/>
                  </a:cubicBezTo>
                  <a:cubicBezTo>
                    <a:pt x="1265" y="4935"/>
                    <a:pt x="1252" y="4926"/>
                    <a:pt x="1239" y="4906"/>
                  </a:cubicBezTo>
                  <a:lnTo>
                    <a:pt x="1001" y="4668"/>
                  </a:lnTo>
                  <a:cubicBezTo>
                    <a:pt x="965" y="4644"/>
                    <a:pt x="965" y="4609"/>
                    <a:pt x="977" y="4585"/>
                  </a:cubicBezTo>
                  <a:lnTo>
                    <a:pt x="1334" y="4049"/>
                  </a:lnTo>
                  <a:cubicBezTo>
                    <a:pt x="1382" y="3989"/>
                    <a:pt x="1382" y="3906"/>
                    <a:pt x="1334" y="3847"/>
                  </a:cubicBezTo>
                  <a:cubicBezTo>
                    <a:pt x="1263" y="3728"/>
                    <a:pt x="1203" y="3585"/>
                    <a:pt x="1180" y="3454"/>
                  </a:cubicBezTo>
                  <a:cubicBezTo>
                    <a:pt x="1156" y="3394"/>
                    <a:pt x="1096" y="3335"/>
                    <a:pt x="1037" y="3311"/>
                  </a:cubicBezTo>
                  <a:lnTo>
                    <a:pt x="418" y="3192"/>
                  </a:lnTo>
                  <a:cubicBezTo>
                    <a:pt x="382" y="3192"/>
                    <a:pt x="358" y="3168"/>
                    <a:pt x="358" y="3120"/>
                  </a:cubicBezTo>
                  <a:lnTo>
                    <a:pt x="358" y="2775"/>
                  </a:lnTo>
                  <a:cubicBezTo>
                    <a:pt x="358" y="2751"/>
                    <a:pt x="382" y="2727"/>
                    <a:pt x="418" y="2704"/>
                  </a:cubicBezTo>
                  <a:lnTo>
                    <a:pt x="465" y="2692"/>
                  </a:lnTo>
                  <a:cubicBezTo>
                    <a:pt x="560" y="2680"/>
                    <a:pt x="620" y="2573"/>
                    <a:pt x="596" y="2477"/>
                  </a:cubicBezTo>
                  <a:cubicBezTo>
                    <a:pt x="586" y="2396"/>
                    <a:pt x="507" y="2341"/>
                    <a:pt x="425" y="2341"/>
                  </a:cubicBezTo>
                  <a:cubicBezTo>
                    <a:pt x="411" y="2341"/>
                    <a:pt x="396" y="2343"/>
                    <a:pt x="382" y="2346"/>
                  </a:cubicBezTo>
                  <a:lnTo>
                    <a:pt x="346" y="2370"/>
                  </a:lnTo>
                  <a:cubicBezTo>
                    <a:pt x="144" y="2406"/>
                    <a:pt x="1" y="2585"/>
                    <a:pt x="1" y="2775"/>
                  </a:cubicBezTo>
                  <a:lnTo>
                    <a:pt x="1" y="3120"/>
                  </a:lnTo>
                  <a:cubicBezTo>
                    <a:pt x="1" y="3335"/>
                    <a:pt x="144" y="3513"/>
                    <a:pt x="346" y="3537"/>
                  </a:cubicBezTo>
                  <a:lnTo>
                    <a:pt x="858" y="3644"/>
                  </a:lnTo>
                  <a:cubicBezTo>
                    <a:pt x="894" y="3728"/>
                    <a:pt x="941" y="3835"/>
                    <a:pt x="977" y="3906"/>
                  </a:cubicBezTo>
                  <a:lnTo>
                    <a:pt x="680" y="4359"/>
                  </a:lnTo>
                  <a:cubicBezTo>
                    <a:pt x="560" y="4525"/>
                    <a:pt x="596" y="4763"/>
                    <a:pt x="739" y="4894"/>
                  </a:cubicBezTo>
                  <a:lnTo>
                    <a:pt x="977" y="5132"/>
                  </a:lnTo>
                  <a:cubicBezTo>
                    <a:pt x="1067" y="5216"/>
                    <a:pt x="1182" y="5259"/>
                    <a:pt x="1292" y="5259"/>
                  </a:cubicBezTo>
                  <a:cubicBezTo>
                    <a:pt x="1371" y="5259"/>
                    <a:pt x="1448" y="5237"/>
                    <a:pt x="1513" y="5192"/>
                  </a:cubicBezTo>
                  <a:lnTo>
                    <a:pt x="1965" y="4894"/>
                  </a:lnTo>
                  <a:cubicBezTo>
                    <a:pt x="2049" y="4942"/>
                    <a:pt x="2144" y="4978"/>
                    <a:pt x="2227" y="5013"/>
                  </a:cubicBezTo>
                  <a:lnTo>
                    <a:pt x="2335" y="5537"/>
                  </a:lnTo>
                  <a:cubicBezTo>
                    <a:pt x="2382" y="5728"/>
                    <a:pt x="2561" y="5871"/>
                    <a:pt x="2751" y="5871"/>
                  </a:cubicBezTo>
                  <a:lnTo>
                    <a:pt x="3097" y="5871"/>
                  </a:lnTo>
                  <a:cubicBezTo>
                    <a:pt x="3299" y="5871"/>
                    <a:pt x="3478" y="5728"/>
                    <a:pt x="3513" y="5537"/>
                  </a:cubicBezTo>
                  <a:lnTo>
                    <a:pt x="3620" y="5013"/>
                  </a:lnTo>
                  <a:cubicBezTo>
                    <a:pt x="3704" y="4978"/>
                    <a:pt x="3811" y="4942"/>
                    <a:pt x="3882" y="4894"/>
                  </a:cubicBezTo>
                  <a:lnTo>
                    <a:pt x="4323" y="5192"/>
                  </a:lnTo>
                  <a:cubicBezTo>
                    <a:pt x="4391" y="5241"/>
                    <a:pt x="4472" y="5264"/>
                    <a:pt x="4552" y="5264"/>
                  </a:cubicBezTo>
                  <a:cubicBezTo>
                    <a:pt x="4667" y="5264"/>
                    <a:pt x="4781" y="5217"/>
                    <a:pt x="4859" y="5132"/>
                  </a:cubicBezTo>
                  <a:lnTo>
                    <a:pt x="5097" y="4894"/>
                  </a:lnTo>
                  <a:cubicBezTo>
                    <a:pt x="5252" y="4740"/>
                    <a:pt x="5263" y="4525"/>
                    <a:pt x="5156" y="4359"/>
                  </a:cubicBezTo>
                  <a:lnTo>
                    <a:pt x="4859" y="3906"/>
                  </a:lnTo>
                  <a:cubicBezTo>
                    <a:pt x="4906" y="3823"/>
                    <a:pt x="4954" y="3728"/>
                    <a:pt x="4978" y="3644"/>
                  </a:cubicBezTo>
                  <a:lnTo>
                    <a:pt x="5502" y="3537"/>
                  </a:lnTo>
                  <a:cubicBezTo>
                    <a:pt x="5692" y="3489"/>
                    <a:pt x="5847" y="3311"/>
                    <a:pt x="5847" y="3120"/>
                  </a:cubicBezTo>
                  <a:lnTo>
                    <a:pt x="5847" y="2775"/>
                  </a:lnTo>
                  <a:cubicBezTo>
                    <a:pt x="5847" y="2549"/>
                    <a:pt x="5716" y="2382"/>
                    <a:pt x="5502" y="2334"/>
                  </a:cubicBezTo>
                  <a:lnTo>
                    <a:pt x="4990" y="2227"/>
                  </a:lnTo>
                  <a:cubicBezTo>
                    <a:pt x="4954" y="2144"/>
                    <a:pt x="4906" y="2037"/>
                    <a:pt x="4871" y="1965"/>
                  </a:cubicBezTo>
                  <a:lnTo>
                    <a:pt x="5168" y="1513"/>
                  </a:lnTo>
                  <a:cubicBezTo>
                    <a:pt x="5287" y="1346"/>
                    <a:pt x="5252" y="1108"/>
                    <a:pt x="5109" y="977"/>
                  </a:cubicBezTo>
                  <a:lnTo>
                    <a:pt x="4871" y="739"/>
                  </a:lnTo>
                  <a:cubicBezTo>
                    <a:pt x="4780" y="656"/>
                    <a:pt x="4666" y="613"/>
                    <a:pt x="4555" y="613"/>
                  </a:cubicBezTo>
                  <a:cubicBezTo>
                    <a:pt x="4476" y="613"/>
                    <a:pt x="4399" y="635"/>
                    <a:pt x="4335" y="680"/>
                  </a:cubicBezTo>
                  <a:lnTo>
                    <a:pt x="3882" y="977"/>
                  </a:lnTo>
                  <a:cubicBezTo>
                    <a:pt x="3799" y="941"/>
                    <a:pt x="3704" y="894"/>
                    <a:pt x="3620" y="858"/>
                  </a:cubicBezTo>
                  <a:lnTo>
                    <a:pt x="3513" y="346"/>
                  </a:lnTo>
                  <a:cubicBezTo>
                    <a:pt x="3466" y="144"/>
                    <a:pt x="3287" y="1"/>
                    <a:pt x="3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3" name="Google Shape;13363;p64"/>
            <p:cNvSpPr/>
            <p:nvPr/>
          </p:nvSpPr>
          <p:spPr>
            <a:xfrm>
              <a:off x="6305888" y="3129884"/>
              <a:ext cx="64488" cy="64456"/>
            </a:xfrm>
            <a:custGeom>
              <a:avLst/>
              <a:gdLst/>
              <a:ahLst/>
              <a:cxnLst/>
              <a:rect l="l" t="t" r="r" b="b"/>
              <a:pathLst>
                <a:path w="2026" h="2025" extrusionOk="0">
                  <a:moveTo>
                    <a:pt x="1013" y="1"/>
                  </a:moveTo>
                  <a:cubicBezTo>
                    <a:pt x="453" y="1"/>
                    <a:pt x="1" y="441"/>
                    <a:pt x="1" y="1013"/>
                  </a:cubicBezTo>
                  <a:cubicBezTo>
                    <a:pt x="1" y="1561"/>
                    <a:pt x="442" y="2025"/>
                    <a:pt x="1013" y="2025"/>
                  </a:cubicBezTo>
                  <a:cubicBezTo>
                    <a:pt x="1227" y="2025"/>
                    <a:pt x="1442" y="1942"/>
                    <a:pt x="1620" y="1811"/>
                  </a:cubicBezTo>
                  <a:cubicBezTo>
                    <a:pt x="1692" y="1751"/>
                    <a:pt x="1704" y="1632"/>
                    <a:pt x="1644" y="1561"/>
                  </a:cubicBezTo>
                  <a:cubicBezTo>
                    <a:pt x="1608" y="1517"/>
                    <a:pt x="1549" y="1491"/>
                    <a:pt x="1493" y="1491"/>
                  </a:cubicBezTo>
                  <a:cubicBezTo>
                    <a:pt x="1457" y="1491"/>
                    <a:pt x="1422" y="1502"/>
                    <a:pt x="1394" y="1525"/>
                  </a:cubicBezTo>
                  <a:cubicBezTo>
                    <a:pt x="1275" y="1620"/>
                    <a:pt x="1144" y="1668"/>
                    <a:pt x="989" y="1668"/>
                  </a:cubicBezTo>
                  <a:cubicBezTo>
                    <a:pt x="632" y="1668"/>
                    <a:pt x="358" y="1370"/>
                    <a:pt x="358" y="1025"/>
                  </a:cubicBezTo>
                  <a:cubicBezTo>
                    <a:pt x="382" y="668"/>
                    <a:pt x="668" y="370"/>
                    <a:pt x="1025" y="370"/>
                  </a:cubicBezTo>
                  <a:cubicBezTo>
                    <a:pt x="1382" y="370"/>
                    <a:pt x="1668" y="668"/>
                    <a:pt x="1668" y="1013"/>
                  </a:cubicBezTo>
                  <a:cubicBezTo>
                    <a:pt x="1668" y="1120"/>
                    <a:pt x="1739" y="1191"/>
                    <a:pt x="1846" y="1191"/>
                  </a:cubicBezTo>
                  <a:cubicBezTo>
                    <a:pt x="1942" y="1191"/>
                    <a:pt x="2025" y="1120"/>
                    <a:pt x="2025" y="1013"/>
                  </a:cubicBezTo>
                  <a:cubicBezTo>
                    <a:pt x="2025" y="453"/>
                    <a:pt x="1573" y="1"/>
                    <a:pt x="1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4" name="Google Shape;13364;p64"/>
            <p:cNvSpPr/>
            <p:nvPr/>
          </p:nvSpPr>
          <p:spPr>
            <a:xfrm>
              <a:off x="6173634" y="2997631"/>
              <a:ext cx="70153" cy="70153"/>
            </a:xfrm>
            <a:custGeom>
              <a:avLst/>
              <a:gdLst/>
              <a:ahLst/>
              <a:cxnLst/>
              <a:rect l="l" t="t" r="r" b="b"/>
              <a:pathLst>
                <a:path w="2204" h="2204" extrusionOk="0">
                  <a:moveTo>
                    <a:pt x="1096" y="370"/>
                  </a:moveTo>
                  <a:cubicBezTo>
                    <a:pt x="1501" y="370"/>
                    <a:pt x="1834" y="703"/>
                    <a:pt x="1834" y="1108"/>
                  </a:cubicBezTo>
                  <a:cubicBezTo>
                    <a:pt x="1834" y="1501"/>
                    <a:pt x="1501" y="1834"/>
                    <a:pt x="1096" y="1834"/>
                  </a:cubicBezTo>
                  <a:cubicBezTo>
                    <a:pt x="691" y="1834"/>
                    <a:pt x="370" y="1501"/>
                    <a:pt x="370" y="1108"/>
                  </a:cubicBezTo>
                  <a:cubicBezTo>
                    <a:pt x="370" y="703"/>
                    <a:pt x="703" y="370"/>
                    <a:pt x="1096" y="370"/>
                  </a:cubicBezTo>
                  <a:close/>
                  <a:moveTo>
                    <a:pt x="1096" y="1"/>
                  </a:moveTo>
                  <a:cubicBezTo>
                    <a:pt x="489" y="1"/>
                    <a:pt x="1" y="489"/>
                    <a:pt x="1" y="1108"/>
                  </a:cubicBezTo>
                  <a:cubicBezTo>
                    <a:pt x="1" y="1715"/>
                    <a:pt x="489" y="2203"/>
                    <a:pt x="1096" y="2203"/>
                  </a:cubicBezTo>
                  <a:cubicBezTo>
                    <a:pt x="1715" y="2191"/>
                    <a:pt x="2203" y="1703"/>
                    <a:pt x="2203" y="1108"/>
                  </a:cubicBezTo>
                  <a:cubicBezTo>
                    <a:pt x="2203" y="489"/>
                    <a:pt x="1715" y="1"/>
                    <a:pt x="10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65" name="Google Shape;13365;p64"/>
          <p:cNvGrpSpPr/>
          <p:nvPr/>
        </p:nvGrpSpPr>
        <p:grpSpPr>
          <a:xfrm>
            <a:off x="6571955" y="2919170"/>
            <a:ext cx="308878" cy="311170"/>
            <a:chOff x="6571955" y="2919170"/>
            <a:chExt cx="308878" cy="311170"/>
          </a:xfrm>
        </p:grpSpPr>
        <p:sp>
          <p:nvSpPr>
            <p:cNvPr id="13366" name="Google Shape;13366;p64"/>
            <p:cNvSpPr/>
            <p:nvPr/>
          </p:nvSpPr>
          <p:spPr>
            <a:xfrm>
              <a:off x="6571955" y="2919170"/>
              <a:ext cx="245982" cy="237675"/>
            </a:xfrm>
            <a:custGeom>
              <a:avLst/>
              <a:gdLst/>
              <a:ahLst/>
              <a:cxnLst/>
              <a:rect l="l" t="t" r="r" b="b"/>
              <a:pathLst>
                <a:path w="7728" h="7467" extrusionOk="0">
                  <a:moveTo>
                    <a:pt x="3084" y="1680"/>
                  </a:moveTo>
                  <a:cubicBezTo>
                    <a:pt x="3405" y="1680"/>
                    <a:pt x="3679" y="1942"/>
                    <a:pt x="3679" y="2275"/>
                  </a:cubicBezTo>
                  <a:lnTo>
                    <a:pt x="3679" y="4049"/>
                  </a:lnTo>
                  <a:cubicBezTo>
                    <a:pt x="3679" y="4371"/>
                    <a:pt x="3405" y="4644"/>
                    <a:pt x="3084" y="4644"/>
                  </a:cubicBezTo>
                  <a:lnTo>
                    <a:pt x="2203" y="4644"/>
                  </a:lnTo>
                  <a:cubicBezTo>
                    <a:pt x="2143" y="4644"/>
                    <a:pt x="2084" y="4680"/>
                    <a:pt x="2072" y="4740"/>
                  </a:cubicBezTo>
                  <a:cubicBezTo>
                    <a:pt x="2060" y="4787"/>
                    <a:pt x="1929" y="5204"/>
                    <a:pt x="2096" y="5490"/>
                  </a:cubicBezTo>
                  <a:cubicBezTo>
                    <a:pt x="2036" y="5478"/>
                    <a:pt x="1977" y="5442"/>
                    <a:pt x="1917" y="5395"/>
                  </a:cubicBezTo>
                  <a:cubicBezTo>
                    <a:pt x="1786" y="5299"/>
                    <a:pt x="1703" y="5073"/>
                    <a:pt x="1679" y="4775"/>
                  </a:cubicBezTo>
                  <a:cubicBezTo>
                    <a:pt x="1679" y="4704"/>
                    <a:pt x="1608" y="4644"/>
                    <a:pt x="1536" y="4644"/>
                  </a:cubicBezTo>
                  <a:lnTo>
                    <a:pt x="822" y="4644"/>
                  </a:lnTo>
                  <a:cubicBezTo>
                    <a:pt x="488" y="4644"/>
                    <a:pt x="226" y="4371"/>
                    <a:pt x="226" y="4049"/>
                  </a:cubicBezTo>
                  <a:lnTo>
                    <a:pt x="226" y="2275"/>
                  </a:lnTo>
                  <a:cubicBezTo>
                    <a:pt x="226" y="1942"/>
                    <a:pt x="488" y="1680"/>
                    <a:pt x="822" y="1680"/>
                  </a:cubicBezTo>
                  <a:close/>
                  <a:moveTo>
                    <a:pt x="2739" y="1"/>
                  </a:moveTo>
                  <a:cubicBezTo>
                    <a:pt x="2334" y="1"/>
                    <a:pt x="2024" y="322"/>
                    <a:pt x="2024" y="715"/>
                  </a:cubicBezTo>
                  <a:lnTo>
                    <a:pt x="2024" y="1382"/>
                  </a:lnTo>
                  <a:lnTo>
                    <a:pt x="881" y="1382"/>
                  </a:lnTo>
                  <a:cubicBezTo>
                    <a:pt x="393" y="1382"/>
                    <a:pt x="0" y="1763"/>
                    <a:pt x="0" y="2263"/>
                  </a:cubicBezTo>
                  <a:lnTo>
                    <a:pt x="0" y="4025"/>
                  </a:lnTo>
                  <a:cubicBezTo>
                    <a:pt x="0" y="4513"/>
                    <a:pt x="393" y="4906"/>
                    <a:pt x="881" y="4906"/>
                  </a:cubicBezTo>
                  <a:lnTo>
                    <a:pt x="1465" y="4906"/>
                  </a:lnTo>
                  <a:cubicBezTo>
                    <a:pt x="1500" y="5240"/>
                    <a:pt x="1619" y="5466"/>
                    <a:pt x="1822" y="5621"/>
                  </a:cubicBezTo>
                  <a:cubicBezTo>
                    <a:pt x="1893" y="5668"/>
                    <a:pt x="1953" y="5704"/>
                    <a:pt x="2024" y="5740"/>
                  </a:cubicBezTo>
                  <a:lnTo>
                    <a:pt x="2024" y="7323"/>
                  </a:lnTo>
                  <a:lnTo>
                    <a:pt x="1977" y="7323"/>
                  </a:lnTo>
                  <a:cubicBezTo>
                    <a:pt x="1977" y="7395"/>
                    <a:pt x="2036" y="7466"/>
                    <a:pt x="2131" y="7466"/>
                  </a:cubicBezTo>
                  <a:cubicBezTo>
                    <a:pt x="2215" y="7466"/>
                    <a:pt x="2274" y="7407"/>
                    <a:pt x="2274" y="7323"/>
                  </a:cubicBezTo>
                  <a:lnTo>
                    <a:pt x="2274" y="5787"/>
                  </a:lnTo>
                  <a:lnTo>
                    <a:pt x="2298" y="5787"/>
                  </a:lnTo>
                  <a:cubicBezTo>
                    <a:pt x="2393" y="5787"/>
                    <a:pt x="2489" y="5776"/>
                    <a:pt x="2548" y="5752"/>
                  </a:cubicBezTo>
                  <a:cubicBezTo>
                    <a:pt x="2620" y="5740"/>
                    <a:pt x="2679" y="5668"/>
                    <a:pt x="2679" y="5597"/>
                  </a:cubicBezTo>
                  <a:cubicBezTo>
                    <a:pt x="2679" y="5514"/>
                    <a:pt x="2620" y="5442"/>
                    <a:pt x="2548" y="5430"/>
                  </a:cubicBezTo>
                  <a:cubicBezTo>
                    <a:pt x="2477" y="5406"/>
                    <a:pt x="2429" y="5383"/>
                    <a:pt x="2393" y="5335"/>
                  </a:cubicBezTo>
                  <a:cubicBezTo>
                    <a:pt x="2322" y="5216"/>
                    <a:pt x="2334" y="5037"/>
                    <a:pt x="2370" y="4906"/>
                  </a:cubicBezTo>
                  <a:lnTo>
                    <a:pt x="3120" y="4906"/>
                  </a:lnTo>
                  <a:cubicBezTo>
                    <a:pt x="3620" y="4906"/>
                    <a:pt x="4001" y="4513"/>
                    <a:pt x="4001" y="4025"/>
                  </a:cubicBezTo>
                  <a:lnTo>
                    <a:pt x="4001" y="2263"/>
                  </a:lnTo>
                  <a:cubicBezTo>
                    <a:pt x="4001" y="1763"/>
                    <a:pt x="3620" y="1382"/>
                    <a:pt x="3120" y="1382"/>
                  </a:cubicBezTo>
                  <a:lnTo>
                    <a:pt x="2298" y="1382"/>
                  </a:lnTo>
                  <a:lnTo>
                    <a:pt x="2298" y="1156"/>
                  </a:lnTo>
                  <a:lnTo>
                    <a:pt x="3024" y="1156"/>
                  </a:lnTo>
                  <a:cubicBezTo>
                    <a:pt x="3096" y="1156"/>
                    <a:pt x="3167" y="1096"/>
                    <a:pt x="3167" y="1013"/>
                  </a:cubicBezTo>
                  <a:cubicBezTo>
                    <a:pt x="3167" y="930"/>
                    <a:pt x="3108" y="858"/>
                    <a:pt x="3024" y="858"/>
                  </a:cubicBezTo>
                  <a:lnTo>
                    <a:pt x="2298" y="858"/>
                  </a:lnTo>
                  <a:lnTo>
                    <a:pt x="2298" y="692"/>
                  </a:lnTo>
                  <a:cubicBezTo>
                    <a:pt x="2298" y="453"/>
                    <a:pt x="2489" y="263"/>
                    <a:pt x="2727" y="263"/>
                  </a:cubicBezTo>
                  <a:lnTo>
                    <a:pt x="7001" y="263"/>
                  </a:lnTo>
                  <a:cubicBezTo>
                    <a:pt x="7239" y="263"/>
                    <a:pt x="7430" y="453"/>
                    <a:pt x="7430" y="692"/>
                  </a:cubicBezTo>
                  <a:lnTo>
                    <a:pt x="7430" y="858"/>
                  </a:lnTo>
                  <a:lnTo>
                    <a:pt x="3632" y="858"/>
                  </a:lnTo>
                  <a:cubicBezTo>
                    <a:pt x="3560" y="858"/>
                    <a:pt x="3489" y="918"/>
                    <a:pt x="3489" y="1013"/>
                  </a:cubicBezTo>
                  <a:cubicBezTo>
                    <a:pt x="3489" y="1084"/>
                    <a:pt x="3548" y="1156"/>
                    <a:pt x="3632" y="1156"/>
                  </a:cubicBezTo>
                  <a:lnTo>
                    <a:pt x="7430" y="1156"/>
                  </a:lnTo>
                  <a:lnTo>
                    <a:pt x="7430" y="1823"/>
                  </a:lnTo>
                  <a:cubicBezTo>
                    <a:pt x="7430" y="1906"/>
                    <a:pt x="7489" y="1977"/>
                    <a:pt x="7573" y="1977"/>
                  </a:cubicBezTo>
                  <a:cubicBezTo>
                    <a:pt x="7656" y="1977"/>
                    <a:pt x="7727" y="1918"/>
                    <a:pt x="7727" y="1823"/>
                  </a:cubicBezTo>
                  <a:lnTo>
                    <a:pt x="7727" y="715"/>
                  </a:lnTo>
                  <a:cubicBezTo>
                    <a:pt x="7727" y="311"/>
                    <a:pt x="7394" y="1"/>
                    <a:pt x="70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7" name="Google Shape;13367;p64"/>
            <p:cNvSpPr/>
            <p:nvPr/>
          </p:nvSpPr>
          <p:spPr>
            <a:xfrm>
              <a:off x="6708760" y="3206436"/>
              <a:ext cx="33740" cy="9517"/>
            </a:xfrm>
            <a:custGeom>
              <a:avLst/>
              <a:gdLst/>
              <a:ahLst/>
              <a:cxnLst/>
              <a:rect l="l" t="t" r="r" b="b"/>
              <a:pathLst>
                <a:path w="1060" h="299" extrusionOk="0">
                  <a:moveTo>
                    <a:pt x="155" y="1"/>
                  </a:moveTo>
                  <a:cubicBezTo>
                    <a:pt x="84" y="1"/>
                    <a:pt x="0" y="60"/>
                    <a:pt x="0" y="156"/>
                  </a:cubicBezTo>
                  <a:cubicBezTo>
                    <a:pt x="0" y="239"/>
                    <a:pt x="60" y="299"/>
                    <a:pt x="155" y="299"/>
                  </a:cubicBezTo>
                  <a:lnTo>
                    <a:pt x="917" y="299"/>
                  </a:lnTo>
                  <a:cubicBezTo>
                    <a:pt x="989" y="299"/>
                    <a:pt x="1060" y="239"/>
                    <a:pt x="1060" y="156"/>
                  </a:cubicBezTo>
                  <a:cubicBezTo>
                    <a:pt x="1060" y="84"/>
                    <a:pt x="1000" y="1"/>
                    <a:pt x="91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8" name="Google Shape;13368;p64"/>
            <p:cNvSpPr/>
            <p:nvPr/>
          </p:nvSpPr>
          <p:spPr>
            <a:xfrm>
              <a:off x="6604549" y="2993079"/>
              <a:ext cx="59904" cy="51565"/>
            </a:xfrm>
            <a:custGeom>
              <a:avLst/>
              <a:gdLst/>
              <a:ahLst/>
              <a:cxnLst/>
              <a:rect l="l" t="t" r="r" b="b"/>
              <a:pathLst>
                <a:path w="1882" h="1620" extrusionOk="0">
                  <a:moveTo>
                    <a:pt x="1346" y="275"/>
                  </a:moveTo>
                  <a:cubicBezTo>
                    <a:pt x="1512" y="275"/>
                    <a:pt x="1596" y="441"/>
                    <a:pt x="1596" y="596"/>
                  </a:cubicBezTo>
                  <a:cubicBezTo>
                    <a:pt x="1596" y="834"/>
                    <a:pt x="1357" y="1096"/>
                    <a:pt x="941" y="1322"/>
                  </a:cubicBezTo>
                  <a:cubicBezTo>
                    <a:pt x="524" y="1096"/>
                    <a:pt x="286" y="834"/>
                    <a:pt x="286" y="596"/>
                  </a:cubicBezTo>
                  <a:cubicBezTo>
                    <a:pt x="286" y="441"/>
                    <a:pt x="381" y="275"/>
                    <a:pt x="536" y="275"/>
                  </a:cubicBezTo>
                  <a:cubicBezTo>
                    <a:pt x="655" y="275"/>
                    <a:pt x="750" y="334"/>
                    <a:pt x="798" y="382"/>
                  </a:cubicBezTo>
                  <a:cubicBezTo>
                    <a:pt x="834" y="429"/>
                    <a:pt x="881" y="441"/>
                    <a:pt x="941" y="441"/>
                  </a:cubicBezTo>
                  <a:cubicBezTo>
                    <a:pt x="1000" y="441"/>
                    <a:pt x="1048" y="406"/>
                    <a:pt x="1095" y="382"/>
                  </a:cubicBezTo>
                  <a:cubicBezTo>
                    <a:pt x="1131" y="334"/>
                    <a:pt x="1226" y="275"/>
                    <a:pt x="1346" y="275"/>
                  </a:cubicBezTo>
                  <a:close/>
                  <a:moveTo>
                    <a:pt x="536" y="1"/>
                  </a:moveTo>
                  <a:cubicBezTo>
                    <a:pt x="238" y="1"/>
                    <a:pt x="0" y="263"/>
                    <a:pt x="0" y="596"/>
                  </a:cubicBezTo>
                  <a:cubicBezTo>
                    <a:pt x="0" y="798"/>
                    <a:pt x="107" y="1215"/>
                    <a:pt x="834" y="1584"/>
                  </a:cubicBezTo>
                  <a:cubicBezTo>
                    <a:pt x="869" y="1608"/>
                    <a:pt x="917" y="1620"/>
                    <a:pt x="941" y="1620"/>
                  </a:cubicBezTo>
                  <a:cubicBezTo>
                    <a:pt x="976" y="1620"/>
                    <a:pt x="1012" y="1608"/>
                    <a:pt x="1048" y="1584"/>
                  </a:cubicBezTo>
                  <a:cubicBezTo>
                    <a:pt x="1762" y="1215"/>
                    <a:pt x="1881" y="798"/>
                    <a:pt x="1881" y="596"/>
                  </a:cubicBezTo>
                  <a:cubicBezTo>
                    <a:pt x="1881" y="263"/>
                    <a:pt x="1643" y="1"/>
                    <a:pt x="1346" y="1"/>
                  </a:cubicBezTo>
                  <a:cubicBezTo>
                    <a:pt x="1167" y="1"/>
                    <a:pt x="1036" y="72"/>
                    <a:pt x="941" y="132"/>
                  </a:cubicBezTo>
                  <a:cubicBezTo>
                    <a:pt x="857" y="72"/>
                    <a:pt x="714"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9" name="Google Shape;13369;p64"/>
            <p:cNvSpPr/>
            <p:nvPr/>
          </p:nvSpPr>
          <p:spPr>
            <a:xfrm>
              <a:off x="6634469" y="2991933"/>
              <a:ext cx="246364" cy="238407"/>
            </a:xfrm>
            <a:custGeom>
              <a:avLst/>
              <a:gdLst/>
              <a:ahLst/>
              <a:cxnLst/>
              <a:rect l="l" t="t" r="r" b="b"/>
              <a:pathLst>
                <a:path w="7740" h="7490" extrusionOk="0">
                  <a:moveTo>
                    <a:pt x="6847" y="1727"/>
                  </a:moveTo>
                  <a:cubicBezTo>
                    <a:pt x="7180" y="1727"/>
                    <a:pt x="7442" y="1989"/>
                    <a:pt x="7442" y="2323"/>
                  </a:cubicBezTo>
                  <a:lnTo>
                    <a:pt x="7442" y="4085"/>
                  </a:lnTo>
                  <a:lnTo>
                    <a:pt x="7454" y="4085"/>
                  </a:lnTo>
                  <a:cubicBezTo>
                    <a:pt x="7454" y="4406"/>
                    <a:pt x="7192" y="4680"/>
                    <a:pt x="6859" y="4680"/>
                  </a:cubicBezTo>
                  <a:lnTo>
                    <a:pt x="6144" y="4680"/>
                  </a:lnTo>
                  <a:cubicBezTo>
                    <a:pt x="6073" y="4680"/>
                    <a:pt x="6013" y="4740"/>
                    <a:pt x="6001" y="4811"/>
                  </a:cubicBezTo>
                  <a:cubicBezTo>
                    <a:pt x="5990" y="5121"/>
                    <a:pt x="5894" y="5335"/>
                    <a:pt x="5751" y="5454"/>
                  </a:cubicBezTo>
                  <a:cubicBezTo>
                    <a:pt x="5692" y="5490"/>
                    <a:pt x="5632" y="5525"/>
                    <a:pt x="5573" y="5537"/>
                  </a:cubicBezTo>
                  <a:cubicBezTo>
                    <a:pt x="5728" y="5252"/>
                    <a:pt x="5609" y="4835"/>
                    <a:pt x="5597" y="4799"/>
                  </a:cubicBezTo>
                  <a:cubicBezTo>
                    <a:pt x="5585" y="4740"/>
                    <a:pt x="5525" y="4692"/>
                    <a:pt x="5466" y="4692"/>
                  </a:cubicBezTo>
                  <a:lnTo>
                    <a:pt x="4585" y="4692"/>
                  </a:lnTo>
                  <a:cubicBezTo>
                    <a:pt x="4251" y="4692"/>
                    <a:pt x="3989" y="4418"/>
                    <a:pt x="3989" y="4097"/>
                  </a:cubicBezTo>
                  <a:lnTo>
                    <a:pt x="3989" y="2323"/>
                  </a:lnTo>
                  <a:cubicBezTo>
                    <a:pt x="3989" y="1989"/>
                    <a:pt x="4251" y="1727"/>
                    <a:pt x="4585" y="1727"/>
                  </a:cubicBezTo>
                  <a:close/>
                  <a:moveTo>
                    <a:pt x="5430" y="6609"/>
                  </a:moveTo>
                  <a:lnTo>
                    <a:pt x="5430" y="6776"/>
                  </a:lnTo>
                  <a:cubicBezTo>
                    <a:pt x="5430" y="7014"/>
                    <a:pt x="5239" y="7204"/>
                    <a:pt x="5001" y="7204"/>
                  </a:cubicBezTo>
                  <a:lnTo>
                    <a:pt x="727" y="7204"/>
                  </a:lnTo>
                  <a:cubicBezTo>
                    <a:pt x="489" y="7204"/>
                    <a:pt x="298" y="7014"/>
                    <a:pt x="298" y="6776"/>
                  </a:cubicBezTo>
                  <a:lnTo>
                    <a:pt x="298" y="6609"/>
                  </a:lnTo>
                  <a:close/>
                  <a:moveTo>
                    <a:pt x="5573" y="1"/>
                  </a:moveTo>
                  <a:cubicBezTo>
                    <a:pt x="5489" y="1"/>
                    <a:pt x="5418" y="61"/>
                    <a:pt x="5418" y="144"/>
                  </a:cubicBezTo>
                  <a:lnTo>
                    <a:pt x="5418" y="1430"/>
                  </a:lnTo>
                  <a:lnTo>
                    <a:pt x="4585" y="1430"/>
                  </a:lnTo>
                  <a:cubicBezTo>
                    <a:pt x="4096" y="1430"/>
                    <a:pt x="3704" y="1823"/>
                    <a:pt x="3704" y="2311"/>
                  </a:cubicBezTo>
                  <a:lnTo>
                    <a:pt x="3704" y="4073"/>
                  </a:lnTo>
                  <a:cubicBezTo>
                    <a:pt x="3704" y="4573"/>
                    <a:pt x="4096" y="4954"/>
                    <a:pt x="4585" y="4954"/>
                  </a:cubicBezTo>
                  <a:lnTo>
                    <a:pt x="5347" y="4954"/>
                  </a:lnTo>
                  <a:cubicBezTo>
                    <a:pt x="5359" y="5073"/>
                    <a:pt x="5370" y="5264"/>
                    <a:pt x="5311" y="5383"/>
                  </a:cubicBezTo>
                  <a:cubicBezTo>
                    <a:pt x="5287" y="5442"/>
                    <a:pt x="5239" y="5478"/>
                    <a:pt x="5168" y="5478"/>
                  </a:cubicBezTo>
                  <a:cubicBezTo>
                    <a:pt x="5097" y="5490"/>
                    <a:pt x="5025" y="5549"/>
                    <a:pt x="5025" y="5645"/>
                  </a:cubicBezTo>
                  <a:cubicBezTo>
                    <a:pt x="5025" y="5716"/>
                    <a:pt x="5097" y="5787"/>
                    <a:pt x="5168" y="5799"/>
                  </a:cubicBezTo>
                  <a:cubicBezTo>
                    <a:pt x="5228" y="5823"/>
                    <a:pt x="5311" y="5835"/>
                    <a:pt x="5418" y="5835"/>
                  </a:cubicBezTo>
                  <a:lnTo>
                    <a:pt x="5430" y="5835"/>
                  </a:lnTo>
                  <a:lnTo>
                    <a:pt x="5430" y="6323"/>
                  </a:lnTo>
                  <a:lnTo>
                    <a:pt x="298" y="6323"/>
                  </a:lnTo>
                  <a:lnTo>
                    <a:pt x="298" y="5656"/>
                  </a:lnTo>
                  <a:cubicBezTo>
                    <a:pt x="298" y="5585"/>
                    <a:pt x="239" y="5502"/>
                    <a:pt x="144" y="5502"/>
                  </a:cubicBezTo>
                  <a:cubicBezTo>
                    <a:pt x="72" y="5502"/>
                    <a:pt x="1" y="5561"/>
                    <a:pt x="1" y="5656"/>
                  </a:cubicBezTo>
                  <a:lnTo>
                    <a:pt x="1" y="6776"/>
                  </a:lnTo>
                  <a:cubicBezTo>
                    <a:pt x="1" y="7180"/>
                    <a:pt x="334" y="7490"/>
                    <a:pt x="715" y="7490"/>
                  </a:cubicBezTo>
                  <a:lnTo>
                    <a:pt x="4989" y="7490"/>
                  </a:lnTo>
                  <a:cubicBezTo>
                    <a:pt x="5394" y="7490"/>
                    <a:pt x="5704" y="7157"/>
                    <a:pt x="5704" y="6776"/>
                  </a:cubicBezTo>
                  <a:lnTo>
                    <a:pt x="5704" y="5787"/>
                  </a:lnTo>
                  <a:cubicBezTo>
                    <a:pt x="5775" y="5764"/>
                    <a:pt x="5847" y="5728"/>
                    <a:pt x="5906" y="5668"/>
                  </a:cubicBezTo>
                  <a:cubicBezTo>
                    <a:pt x="6097" y="5525"/>
                    <a:pt x="6216" y="5287"/>
                    <a:pt x="6263" y="4954"/>
                  </a:cubicBezTo>
                  <a:lnTo>
                    <a:pt x="6847" y="4954"/>
                  </a:lnTo>
                  <a:cubicBezTo>
                    <a:pt x="7335" y="4954"/>
                    <a:pt x="7728" y="4573"/>
                    <a:pt x="7728" y="4085"/>
                  </a:cubicBezTo>
                  <a:lnTo>
                    <a:pt x="7728" y="2311"/>
                  </a:lnTo>
                  <a:cubicBezTo>
                    <a:pt x="7740" y="1835"/>
                    <a:pt x="7359" y="1430"/>
                    <a:pt x="6859" y="1430"/>
                  </a:cubicBezTo>
                  <a:lnTo>
                    <a:pt x="5716" y="1430"/>
                  </a:lnTo>
                  <a:lnTo>
                    <a:pt x="5716" y="144"/>
                  </a:lnTo>
                  <a:cubicBezTo>
                    <a:pt x="5716" y="72"/>
                    <a:pt x="5656"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0" name="Google Shape;13370;p64"/>
            <p:cNvSpPr/>
            <p:nvPr/>
          </p:nvSpPr>
          <p:spPr>
            <a:xfrm>
              <a:off x="6790627" y="3057885"/>
              <a:ext cx="52329" cy="60668"/>
            </a:xfrm>
            <a:custGeom>
              <a:avLst/>
              <a:gdLst/>
              <a:ahLst/>
              <a:cxnLst/>
              <a:rect l="l" t="t" r="r" b="b"/>
              <a:pathLst>
                <a:path w="1644" h="1906" extrusionOk="0">
                  <a:moveTo>
                    <a:pt x="822" y="286"/>
                  </a:moveTo>
                  <a:cubicBezTo>
                    <a:pt x="976" y="286"/>
                    <a:pt x="1084" y="405"/>
                    <a:pt x="1084" y="536"/>
                  </a:cubicBezTo>
                  <a:cubicBezTo>
                    <a:pt x="1084" y="679"/>
                    <a:pt x="964" y="786"/>
                    <a:pt x="822" y="786"/>
                  </a:cubicBezTo>
                  <a:cubicBezTo>
                    <a:pt x="691" y="786"/>
                    <a:pt x="572" y="667"/>
                    <a:pt x="572" y="536"/>
                  </a:cubicBezTo>
                  <a:cubicBezTo>
                    <a:pt x="572" y="405"/>
                    <a:pt x="691" y="286"/>
                    <a:pt x="822" y="286"/>
                  </a:cubicBezTo>
                  <a:close/>
                  <a:moveTo>
                    <a:pt x="936" y="1096"/>
                  </a:moveTo>
                  <a:cubicBezTo>
                    <a:pt x="1165" y="1096"/>
                    <a:pt x="1345" y="1305"/>
                    <a:pt x="1345" y="1548"/>
                  </a:cubicBezTo>
                  <a:cubicBezTo>
                    <a:pt x="1345" y="1572"/>
                    <a:pt x="1322" y="1608"/>
                    <a:pt x="1286" y="1608"/>
                  </a:cubicBezTo>
                  <a:lnTo>
                    <a:pt x="369" y="1608"/>
                  </a:lnTo>
                  <a:cubicBezTo>
                    <a:pt x="333" y="1608"/>
                    <a:pt x="298" y="1572"/>
                    <a:pt x="298" y="1548"/>
                  </a:cubicBezTo>
                  <a:lnTo>
                    <a:pt x="298" y="1537"/>
                  </a:lnTo>
                  <a:cubicBezTo>
                    <a:pt x="298" y="1298"/>
                    <a:pt x="500" y="1096"/>
                    <a:pt x="738" y="1096"/>
                  </a:cubicBezTo>
                  <a:lnTo>
                    <a:pt x="917" y="1096"/>
                  </a:lnTo>
                  <a:cubicBezTo>
                    <a:pt x="923" y="1096"/>
                    <a:pt x="929" y="1096"/>
                    <a:pt x="936" y="1096"/>
                  </a:cubicBezTo>
                  <a:close/>
                  <a:moveTo>
                    <a:pt x="822" y="1"/>
                  </a:moveTo>
                  <a:cubicBezTo>
                    <a:pt x="512" y="1"/>
                    <a:pt x="274" y="239"/>
                    <a:pt x="274" y="548"/>
                  </a:cubicBezTo>
                  <a:cubicBezTo>
                    <a:pt x="274" y="679"/>
                    <a:pt x="322" y="798"/>
                    <a:pt x="393" y="894"/>
                  </a:cubicBezTo>
                  <a:cubicBezTo>
                    <a:pt x="167" y="1013"/>
                    <a:pt x="0" y="1251"/>
                    <a:pt x="0" y="1537"/>
                  </a:cubicBezTo>
                  <a:lnTo>
                    <a:pt x="0" y="1548"/>
                  </a:lnTo>
                  <a:cubicBezTo>
                    <a:pt x="0" y="1739"/>
                    <a:pt x="167" y="1906"/>
                    <a:pt x="369" y="1906"/>
                  </a:cubicBezTo>
                  <a:lnTo>
                    <a:pt x="1286" y="1906"/>
                  </a:lnTo>
                  <a:cubicBezTo>
                    <a:pt x="1476" y="1906"/>
                    <a:pt x="1643" y="1739"/>
                    <a:pt x="1643" y="1548"/>
                  </a:cubicBezTo>
                  <a:lnTo>
                    <a:pt x="1643" y="1537"/>
                  </a:lnTo>
                  <a:cubicBezTo>
                    <a:pt x="1643" y="1251"/>
                    <a:pt x="1476" y="1013"/>
                    <a:pt x="1262" y="894"/>
                  </a:cubicBezTo>
                  <a:cubicBezTo>
                    <a:pt x="1334" y="798"/>
                    <a:pt x="1381" y="679"/>
                    <a:pt x="1381" y="548"/>
                  </a:cubicBezTo>
                  <a:cubicBezTo>
                    <a:pt x="1381" y="251"/>
                    <a:pt x="1143"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1" name="Google Shape;13371;p64"/>
            <p:cNvSpPr/>
            <p:nvPr/>
          </p:nvSpPr>
          <p:spPr>
            <a:xfrm>
              <a:off x="6712166" y="2975286"/>
              <a:ext cx="73941" cy="9485"/>
            </a:xfrm>
            <a:custGeom>
              <a:avLst/>
              <a:gdLst/>
              <a:ahLst/>
              <a:cxnLst/>
              <a:rect l="l" t="t" r="r" b="b"/>
              <a:pathLst>
                <a:path w="2323" h="298" extrusionOk="0">
                  <a:moveTo>
                    <a:pt x="155" y="0"/>
                  </a:moveTo>
                  <a:cubicBezTo>
                    <a:pt x="72" y="0"/>
                    <a:pt x="0" y="60"/>
                    <a:pt x="0" y="155"/>
                  </a:cubicBezTo>
                  <a:cubicBezTo>
                    <a:pt x="0" y="238"/>
                    <a:pt x="60" y="298"/>
                    <a:pt x="155" y="298"/>
                  </a:cubicBezTo>
                  <a:lnTo>
                    <a:pt x="2179" y="298"/>
                  </a:lnTo>
                  <a:cubicBezTo>
                    <a:pt x="2251" y="298"/>
                    <a:pt x="2322" y="238"/>
                    <a:pt x="2322" y="155"/>
                  </a:cubicBezTo>
                  <a:cubicBezTo>
                    <a:pt x="2322" y="60"/>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2" name="Google Shape;13372;p64"/>
            <p:cNvSpPr/>
            <p:nvPr/>
          </p:nvSpPr>
          <p:spPr>
            <a:xfrm>
              <a:off x="6712166" y="2993461"/>
              <a:ext cx="73941" cy="9517"/>
            </a:xfrm>
            <a:custGeom>
              <a:avLst/>
              <a:gdLst/>
              <a:ahLst/>
              <a:cxnLst/>
              <a:rect l="l" t="t" r="r" b="b"/>
              <a:pathLst>
                <a:path w="2323" h="299" extrusionOk="0">
                  <a:moveTo>
                    <a:pt x="155" y="1"/>
                  </a:moveTo>
                  <a:cubicBezTo>
                    <a:pt x="72" y="1"/>
                    <a:pt x="0" y="60"/>
                    <a:pt x="0" y="143"/>
                  </a:cubicBezTo>
                  <a:cubicBezTo>
                    <a:pt x="0" y="239"/>
                    <a:pt x="60" y="298"/>
                    <a:pt x="155" y="298"/>
                  </a:cubicBezTo>
                  <a:lnTo>
                    <a:pt x="2179" y="298"/>
                  </a:lnTo>
                  <a:cubicBezTo>
                    <a:pt x="2251" y="298"/>
                    <a:pt x="2322" y="239"/>
                    <a:pt x="2322" y="143"/>
                  </a:cubicBezTo>
                  <a:cubicBezTo>
                    <a:pt x="2322" y="60"/>
                    <a:pt x="2263" y="1"/>
                    <a:pt x="2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3" name="Google Shape;13373;p64"/>
            <p:cNvSpPr/>
            <p:nvPr/>
          </p:nvSpPr>
          <p:spPr>
            <a:xfrm>
              <a:off x="6712166" y="3012050"/>
              <a:ext cx="73941" cy="9485"/>
            </a:xfrm>
            <a:custGeom>
              <a:avLst/>
              <a:gdLst/>
              <a:ahLst/>
              <a:cxnLst/>
              <a:rect l="l" t="t" r="r" b="b"/>
              <a:pathLst>
                <a:path w="2323" h="298" extrusionOk="0">
                  <a:moveTo>
                    <a:pt x="155" y="0"/>
                  </a:moveTo>
                  <a:cubicBezTo>
                    <a:pt x="72" y="0"/>
                    <a:pt x="0" y="60"/>
                    <a:pt x="0" y="143"/>
                  </a:cubicBezTo>
                  <a:cubicBezTo>
                    <a:pt x="0" y="238"/>
                    <a:pt x="60" y="298"/>
                    <a:pt x="155" y="298"/>
                  </a:cubicBezTo>
                  <a:lnTo>
                    <a:pt x="2179" y="298"/>
                  </a:lnTo>
                  <a:cubicBezTo>
                    <a:pt x="2263" y="274"/>
                    <a:pt x="2322" y="214"/>
                    <a:pt x="2322" y="143"/>
                  </a:cubicBezTo>
                  <a:cubicBezTo>
                    <a:pt x="2322" y="71"/>
                    <a:pt x="2263" y="0"/>
                    <a:pt x="2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4" name="Google Shape;13374;p64"/>
            <p:cNvSpPr/>
            <p:nvPr/>
          </p:nvSpPr>
          <p:spPr>
            <a:xfrm>
              <a:off x="6662511" y="3103752"/>
              <a:ext cx="73941" cy="27310"/>
            </a:xfrm>
            <a:custGeom>
              <a:avLst/>
              <a:gdLst/>
              <a:ahLst/>
              <a:cxnLst/>
              <a:rect l="l" t="t" r="r" b="b"/>
              <a:pathLst>
                <a:path w="2323" h="858" extrusionOk="0">
                  <a:moveTo>
                    <a:pt x="2037" y="298"/>
                  </a:moveTo>
                  <a:lnTo>
                    <a:pt x="2037" y="584"/>
                  </a:lnTo>
                  <a:lnTo>
                    <a:pt x="298" y="584"/>
                  </a:lnTo>
                  <a:lnTo>
                    <a:pt x="298" y="298"/>
                  </a:lnTo>
                  <a:close/>
                  <a:moveTo>
                    <a:pt x="144" y="0"/>
                  </a:moveTo>
                  <a:cubicBezTo>
                    <a:pt x="72" y="0"/>
                    <a:pt x="1" y="60"/>
                    <a:pt x="1" y="155"/>
                  </a:cubicBezTo>
                  <a:lnTo>
                    <a:pt x="1" y="715"/>
                  </a:lnTo>
                  <a:cubicBezTo>
                    <a:pt x="1" y="786"/>
                    <a:pt x="60" y="858"/>
                    <a:pt x="144" y="858"/>
                  </a:cubicBezTo>
                  <a:lnTo>
                    <a:pt x="2168" y="858"/>
                  </a:lnTo>
                  <a:cubicBezTo>
                    <a:pt x="2251" y="858"/>
                    <a:pt x="2322" y="798"/>
                    <a:pt x="2322" y="715"/>
                  </a:cubicBezTo>
                  <a:lnTo>
                    <a:pt x="2322" y="155"/>
                  </a:lnTo>
                  <a:cubicBezTo>
                    <a:pt x="2322" y="72"/>
                    <a:pt x="2263" y="0"/>
                    <a:pt x="2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5" name="Google Shape;13375;p64"/>
            <p:cNvSpPr/>
            <p:nvPr/>
          </p:nvSpPr>
          <p:spPr>
            <a:xfrm>
              <a:off x="6662893" y="3140134"/>
              <a:ext cx="73941" cy="9485"/>
            </a:xfrm>
            <a:custGeom>
              <a:avLst/>
              <a:gdLst/>
              <a:ahLst/>
              <a:cxnLst/>
              <a:rect l="l" t="t" r="r" b="b"/>
              <a:pathLst>
                <a:path w="2323" h="298" extrusionOk="0">
                  <a:moveTo>
                    <a:pt x="155" y="0"/>
                  </a:moveTo>
                  <a:cubicBezTo>
                    <a:pt x="72" y="0"/>
                    <a:pt x="1" y="60"/>
                    <a:pt x="1" y="155"/>
                  </a:cubicBezTo>
                  <a:cubicBezTo>
                    <a:pt x="1" y="238"/>
                    <a:pt x="60" y="298"/>
                    <a:pt x="155" y="298"/>
                  </a:cubicBezTo>
                  <a:lnTo>
                    <a:pt x="2180" y="298"/>
                  </a:lnTo>
                  <a:cubicBezTo>
                    <a:pt x="2251" y="298"/>
                    <a:pt x="2322" y="238"/>
                    <a:pt x="2322" y="155"/>
                  </a:cubicBezTo>
                  <a:cubicBezTo>
                    <a:pt x="2322" y="60"/>
                    <a:pt x="2251" y="0"/>
                    <a:pt x="2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76" name="Google Shape;13376;p64"/>
          <p:cNvGrpSpPr/>
          <p:nvPr/>
        </p:nvGrpSpPr>
        <p:grpSpPr>
          <a:xfrm>
            <a:off x="7500054" y="2934735"/>
            <a:ext cx="350576" cy="280454"/>
            <a:chOff x="7500054" y="2934735"/>
            <a:chExt cx="350576" cy="280454"/>
          </a:xfrm>
        </p:grpSpPr>
        <p:sp>
          <p:nvSpPr>
            <p:cNvPr id="13377" name="Google Shape;13377;p64"/>
            <p:cNvSpPr/>
            <p:nvPr/>
          </p:nvSpPr>
          <p:spPr>
            <a:xfrm>
              <a:off x="7571671" y="2959371"/>
              <a:ext cx="191426" cy="10249"/>
            </a:xfrm>
            <a:custGeom>
              <a:avLst/>
              <a:gdLst/>
              <a:ahLst/>
              <a:cxnLst/>
              <a:rect l="l" t="t" r="r" b="b"/>
              <a:pathLst>
                <a:path w="6014" h="322" extrusionOk="0">
                  <a:moveTo>
                    <a:pt x="156" y="0"/>
                  </a:moveTo>
                  <a:cubicBezTo>
                    <a:pt x="72" y="0"/>
                    <a:pt x="1" y="71"/>
                    <a:pt x="1" y="167"/>
                  </a:cubicBezTo>
                  <a:cubicBezTo>
                    <a:pt x="1" y="250"/>
                    <a:pt x="72" y="322"/>
                    <a:pt x="156" y="322"/>
                  </a:cubicBezTo>
                  <a:lnTo>
                    <a:pt x="5847" y="322"/>
                  </a:lnTo>
                  <a:cubicBezTo>
                    <a:pt x="5930" y="322"/>
                    <a:pt x="6014" y="250"/>
                    <a:pt x="6014" y="167"/>
                  </a:cubicBezTo>
                  <a:cubicBezTo>
                    <a:pt x="6014" y="71"/>
                    <a:pt x="5930" y="0"/>
                    <a:pt x="584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8" name="Google Shape;13378;p64"/>
            <p:cNvSpPr/>
            <p:nvPr/>
          </p:nvSpPr>
          <p:spPr>
            <a:xfrm>
              <a:off x="7500054" y="2934735"/>
              <a:ext cx="350576" cy="280454"/>
            </a:xfrm>
            <a:custGeom>
              <a:avLst/>
              <a:gdLst/>
              <a:ahLst/>
              <a:cxnLst/>
              <a:rect l="l" t="t" r="r" b="b"/>
              <a:pathLst>
                <a:path w="11014" h="8811" extrusionOk="0">
                  <a:moveTo>
                    <a:pt x="1501" y="310"/>
                  </a:moveTo>
                  <a:lnTo>
                    <a:pt x="1501" y="1560"/>
                  </a:lnTo>
                  <a:lnTo>
                    <a:pt x="310" y="1560"/>
                  </a:lnTo>
                  <a:lnTo>
                    <a:pt x="310" y="417"/>
                  </a:lnTo>
                  <a:cubicBezTo>
                    <a:pt x="310" y="357"/>
                    <a:pt x="358" y="310"/>
                    <a:pt x="417" y="310"/>
                  </a:cubicBezTo>
                  <a:close/>
                  <a:moveTo>
                    <a:pt x="8990" y="310"/>
                  </a:moveTo>
                  <a:cubicBezTo>
                    <a:pt x="9049" y="310"/>
                    <a:pt x="9097" y="357"/>
                    <a:pt x="9097" y="417"/>
                  </a:cubicBezTo>
                  <a:lnTo>
                    <a:pt x="9097" y="1560"/>
                  </a:lnTo>
                  <a:lnTo>
                    <a:pt x="1834" y="1560"/>
                  </a:lnTo>
                  <a:lnTo>
                    <a:pt x="1834" y="310"/>
                  </a:lnTo>
                  <a:close/>
                  <a:moveTo>
                    <a:pt x="10419" y="3453"/>
                  </a:moveTo>
                  <a:cubicBezTo>
                    <a:pt x="10561" y="3453"/>
                    <a:pt x="10704" y="3572"/>
                    <a:pt x="10704" y="3739"/>
                  </a:cubicBezTo>
                  <a:cubicBezTo>
                    <a:pt x="10704" y="3893"/>
                    <a:pt x="10561" y="4013"/>
                    <a:pt x="10419" y="4013"/>
                  </a:cubicBezTo>
                  <a:cubicBezTo>
                    <a:pt x="10264" y="4013"/>
                    <a:pt x="10133" y="3893"/>
                    <a:pt x="10133" y="3739"/>
                  </a:cubicBezTo>
                  <a:cubicBezTo>
                    <a:pt x="10133" y="3572"/>
                    <a:pt x="10252" y="3453"/>
                    <a:pt x="10419" y="3453"/>
                  </a:cubicBezTo>
                  <a:close/>
                  <a:moveTo>
                    <a:pt x="6537" y="4786"/>
                  </a:moveTo>
                  <a:cubicBezTo>
                    <a:pt x="6680" y="4786"/>
                    <a:pt x="6811" y="4906"/>
                    <a:pt x="6811" y="5072"/>
                  </a:cubicBezTo>
                  <a:cubicBezTo>
                    <a:pt x="6811" y="5239"/>
                    <a:pt x="6680" y="5358"/>
                    <a:pt x="6537" y="5358"/>
                  </a:cubicBezTo>
                  <a:cubicBezTo>
                    <a:pt x="6382" y="5358"/>
                    <a:pt x="6251" y="5239"/>
                    <a:pt x="6251" y="5072"/>
                  </a:cubicBezTo>
                  <a:cubicBezTo>
                    <a:pt x="6251" y="4906"/>
                    <a:pt x="6370" y="4786"/>
                    <a:pt x="6537" y="4786"/>
                  </a:cubicBezTo>
                  <a:close/>
                  <a:moveTo>
                    <a:pt x="8240" y="6156"/>
                  </a:moveTo>
                  <a:cubicBezTo>
                    <a:pt x="8394" y="6156"/>
                    <a:pt x="8525" y="6275"/>
                    <a:pt x="8525" y="6441"/>
                  </a:cubicBezTo>
                  <a:cubicBezTo>
                    <a:pt x="8525" y="6608"/>
                    <a:pt x="8394" y="6727"/>
                    <a:pt x="8240" y="6727"/>
                  </a:cubicBezTo>
                  <a:cubicBezTo>
                    <a:pt x="8097" y="6727"/>
                    <a:pt x="7966" y="6608"/>
                    <a:pt x="7966" y="6441"/>
                  </a:cubicBezTo>
                  <a:cubicBezTo>
                    <a:pt x="7966" y="6299"/>
                    <a:pt x="8073" y="6156"/>
                    <a:pt x="8240" y="6156"/>
                  </a:cubicBezTo>
                  <a:close/>
                  <a:moveTo>
                    <a:pt x="4811" y="6382"/>
                  </a:moveTo>
                  <a:cubicBezTo>
                    <a:pt x="4954" y="6382"/>
                    <a:pt x="5085" y="6501"/>
                    <a:pt x="5085" y="6668"/>
                  </a:cubicBezTo>
                  <a:cubicBezTo>
                    <a:pt x="5085" y="6834"/>
                    <a:pt x="4954" y="6953"/>
                    <a:pt x="4811" y="6953"/>
                  </a:cubicBezTo>
                  <a:cubicBezTo>
                    <a:pt x="4656" y="6953"/>
                    <a:pt x="4525" y="6834"/>
                    <a:pt x="4525" y="6668"/>
                  </a:cubicBezTo>
                  <a:cubicBezTo>
                    <a:pt x="4525" y="6501"/>
                    <a:pt x="4644" y="6382"/>
                    <a:pt x="4811" y="6382"/>
                  </a:cubicBezTo>
                  <a:close/>
                  <a:moveTo>
                    <a:pt x="417" y="0"/>
                  </a:moveTo>
                  <a:cubicBezTo>
                    <a:pt x="179" y="0"/>
                    <a:pt x="1" y="143"/>
                    <a:pt x="1" y="417"/>
                  </a:cubicBezTo>
                  <a:lnTo>
                    <a:pt x="1" y="8382"/>
                  </a:lnTo>
                  <a:cubicBezTo>
                    <a:pt x="1" y="8620"/>
                    <a:pt x="191" y="8787"/>
                    <a:pt x="417" y="8787"/>
                  </a:cubicBezTo>
                  <a:lnTo>
                    <a:pt x="4513" y="8787"/>
                  </a:lnTo>
                  <a:cubicBezTo>
                    <a:pt x="4596" y="8787"/>
                    <a:pt x="4668" y="8715"/>
                    <a:pt x="4668" y="8632"/>
                  </a:cubicBezTo>
                  <a:cubicBezTo>
                    <a:pt x="4668" y="8537"/>
                    <a:pt x="4596" y="8465"/>
                    <a:pt x="4513" y="8465"/>
                  </a:cubicBezTo>
                  <a:lnTo>
                    <a:pt x="417" y="8465"/>
                  </a:lnTo>
                  <a:cubicBezTo>
                    <a:pt x="358" y="8465"/>
                    <a:pt x="310" y="8418"/>
                    <a:pt x="310" y="8358"/>
                  </a:cubicBezTo>
                  <a:lnTo>
                    <a:pt x="310" y="1869"/>
                  </a:lnTo>
                  <a:lnTo>
                    <a:pt x="9073" y="1869"/>
                  </a:lnTo>
                  <a:lnTo>
                    <a:pt x="9073" y="5144"/>
                  </a:lnTo>
                  <a:lnTo>
                    <a:pt x="8502" y="5894"/>
                  </a:lnTo>
                  <a:cubicBezTo>
                    <a:pt x="8418" y="5846"/>
                    <a:pt x="8335" y="5834"/>
                    <a:pt x="8240" y="5834"/>
                  </a:cubicBezTo>
                  <a:cubicBezTo>
                    <a:pt x="8109" y="5834"/>
                    <a:pt x="7978" y="5870"/>
                    <a:pt x="7871" y="5965"/>
                  </a:cubicBezTo>
                  <a:lnTo>
                    <a:pt x="7073" y="5322"/>
                  </a:lnTo>
                  <a:cubicBezTo>
                    <a:pt x="7109" y="5251"/>
                    <a:pt x="7132" y="5156"/>
                    <a:pt x="7132" y="5060"/>
                  </a:cubicBezTo>
                  <a:cubicBezTo>
                    <a:pt x="7132" y="4727"/>
                    <a:pt x="6859" y="4441"/>
                    <a:pt x="6513" y="4441"/>
                  </a:cubicBezTo>
                  <a:cubicBezTo>
                    <a:pt x="6192" y="4441"/>
                    <a:pt x="5906" y="4715"/>
                    <a:pt x="5906" y="5060"/>
                  </a:cubicBezTo>
                  <a:cubicBezTo>
                    <a:pt x="5906" y="5167"/>
                    <a:pt x="5942" y="5263"/>
                    <a:pt x="5978" y="5358"/>
                  </a:cubicBezTo>
                  <a:lnTo>
                    <a:pt x="5108" y="6144"/>
                  </a:lnTo>
                  <a:cubicBezTo>
                    <a:pt x="5013" y="6084"/>
                    <a:pt x="4906" y="6049"/>
                    <a:pt x="4787" y="6049"/>
                  </a:cubicBezTo>
                  <a:cubicBezTo>
                    <a:pt x="4465" y="6049"/>
                    <a:pt x="4180" y="6322"/>
                    <a:pt x="4180" y="6668"/>
                  </a:cubicBezTo>
                  <a:cubicBezTo>
                    <a:pt x="4180" y="6989"/>
                    <a:pt x="4454" y="7275"/>
                    <a:pt x="4787" y="7275"/>
                  </a:cubicBezTo>
                  <a:cubicBezTo>
                    <a:pt x="5132" y="7275"/>
                    <a:pt x="5406" y="7001"/>
                    <a:pt x="5406" y="6668"/>
                  </a:cubicBezTo>
                  <a:cubicBezTo>
                    <a:pt x="5406" y="6560"/>
                    <a:pt x="5370" y="6465"/>
                    <a:pt x="5323" y="6382"/>
                  </a:cubicBezTo>
                  <a:lnTo>
                    <a:pt x="6204" y="5572"/>
                  </a:lnTo>
                  <a:cubicBezTo>
                    <a:pt x="6299" y="5620"/>
                    <a:pt x="6394" y="5656"/>
                    <a:pt x="6501" y="5656"/>
                  </a:cubicBezTo>
                  <a:cubicBezTo>
                    <a:pt x="6620" y="5656"/>
                    <a:pt x="6740" y="5620"/>
                    <a:pt x="6835" y="5548"/>
                  </a:cubicBezTo>
                  <a:lnTo>
                    <a:pt x="7644" y="6203"/>
                  </a:lnTo>
                  <a:cubicBezTo>
                    <a:pt x="7621" y="6263"/>
                    <a:pt x="7609" y="6334"/>
                    <a:pt x="7609" y="6406"/>
                  </a:cubicBezTo>
                  <a:cubicBezTo>
                    <a:pt x="7609" y="6739"/>
                    <a:pt x="7871" y="7025"/>
                    <a:pt x="8216" y="7025"/>
                  </a:cubicBezTo>
                  <a:cubicBezTo>
                    <a:pt x="8561" y="7025"/>
                    <a:pt x="8823" y="6751"/>
                    <a:pt x="8823" y="6406"/>
                  </a:cubicBezTo>
                  <a:cubicBezTo>
                    <a:pt x="8823" y="6287"/>
                    <a:pt x="8799" y="6168"/>
                    <a:pt x="8716" y="6084"/>
                  </a:cubicBezTo>
                  <a:lnTo>
                    <a:pt x="9061" y="5656"/>
                  </a:lnTo>
                  <a:lnTo>
                    <a:pt x="9061" y="8382"/>
                  </a:lnTo>
                  <a:cubicBezTo>
                    <a:pt x="9061" y="8442"/>
                    <a:pt x="9014" y="8477"/>
                    <a:pt x="8954" y="8477"/>
                  </a:cubicBezTo>
                  <a:lnTo>
                    <a:pt x="5227" y="8477"/>
                  </a:lnTo>
                  <a:cubicBezTo>
                    <a:pt x="5132" y="8477"/>
                    <a:pt x="5061" y="8561"/>
                    <a:pt x="5061" y="8644"/>
                  </a:cubicBezTo>
                  <a:cubicBezTo>
                    <a:pt x="5061" y="8739"/>
                    <a:pt x="5132" y="8811"/>
                    <a:pt x="5227" y="8811"/>
                  </a:cubicBezTo>
                  <a:lnTo>
                    <a:pt x="8954" y="8811"/>
                  </a:lnTo>
                  <a:cubicBezTo>
                    <a:pt x="9192" y="8811"/>
                    <a:pt x="9371" y="8620"/>
                    <a:pt x="9371" y="8394"/>
                  </a:cubicBezTo>
                  <a:lnTo>
                    <a:pt x="9371" y="5287"/>
                  </a:lnTo>
                  <a:lnTo>
                    <a:pt x="10145" y="4298"/>
                  </a:lnTo>
                  <a:cubicBezTo>
                    <a:pt x="10228" y="4334"/>
                    <a:pt x="10299" y="4346"/>
                    <a:pt x="10383" y="4346"/>
                  </a:cubicBezTo>
                  <a:cubicBezTo>
                    <a:pt x="10716" y="4346"/>
                    <a:pt x="10990" y="4072"/>
                    <a:pt x="10990" y="3739"/>
                  </a:cubicBezTo>
                  <a:cubicBezTo>
                    <a:pt x="11014" y="3405"/>
                    <a:pt x="10740" y="3131"/>
                    <a:pt x="10419" y="3131"/>
                  </a:cubicBezTo>
                  <a:cubicBezTo>
                    <a:pt x="10085" y="3131"/>
                    <a:pt x="9811" y="3405"/>
                    <a:pt x="9811" y="3751"/>
                  </a:cubicBezTo>
                  <a:cubicBezTo>
                    <a:pt x="9811" y="3882"/>
                    <a:pt x="9847" y="4001"/>
                    <a:pt x="9930" y="4108"/>
                  </a:cubicBezTo>
                  <a:lnTo>
                    <a:pt x="9407" y="4763"/>
                  </a:lnTo>
                  <a:lnTo>
                    <a:pt x="9407" y="381"/>
                  </a:lnTo>
                  <a:cubicBezTo>
                    <a:pt x="9407" y="191"/>
                    <a:pt x="9276" y="0"/>
                    <a:pt x="8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9" name="Google Shape;13379;p64"/>
            <p:cNvSpPr/>
            <p:nvPr/>
          </p:nvSpPr>
          <p:spPr>
            <a:xfrm>
              <a:off x="7539459" y="3074564"/>
              <a:ext cx="82663" cy="10249"/>
            </a:xfrm>
            <a:custGeom>
              <a:avLst/>
              <a:gdLst/>
              <a:ahLst/>
              <a:cxnLst/>
              <a:rect l="l" t="t" r="r" b="b"/>
              <a:pathLst>
                <a:path w="2597" h="322"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0" name="Google Shape;13380;p64"/>
            <p:cNvSpPr/>
            <p:nvPr/>
          </p:nvSpPr>
          <p:spPr>
            <a:xfrm>
              <a:off x="7539459" y="3099582"/>
              <a:ext cx="82663" cy="10249"/>
            </a:xfrm>
            <a:custGeom>
              <a:avLst/>
              <a:gdLst/>
              <a:ahLst/>
              <a:cxnLst/>
              <a:rect l="l" t="t" r="r" b="b"/>
              <a:pathLst>
                <a:path w="2597" h="322" extrusionOk="0">
                  <a:moveTo>
                    <a:pt x="156" y="0"/>
                  </a:moveTo>
                  <a:cubicBezTo>
                    <a:pt x="72" y="0"/>
                    <a:pt x="1" y="72"/>
                    <a:pt x="1" y="167"/>
                  </a:cubicBezTo>
                  <a:cubicBezTo>
                    <a:pt x="1" y="250"/>
                    <a:pt x="72" y="322"/>
                    <a:pt x="156" y="322"/>
                  </a:cubicBezTo>
                  <a:lnTo>
                    <a:pt x="2442" y="322"/>
                  </a:lnTo>
                  <a:cubicBezTo>
                    <a:pt x="2525" y="322"/>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1" name="Google Shape;13381;p64"/>
            <p:cNvSpPr/>
            <p:nvPr/>
          </p:nvSpPr>
          <p:spPr>
            <a:xfrm>
              <a:off x="7539459" y="3124601"/>
              <a:ext cx="82663" cy="10631"/>
            </a:xfrm>
            <a:custGeom>
              <a:avLst/>
              <a:gdLst/>
              <a:ahLst/>
              <a:cxnLst/>
              <a:rect l="l" t="t" r="r" b="b"/>
              <a:pathLst>
                <a:path w="2597" h="334" extrusionOk="0">
                  <a:moveTo>
                    <a:pt x="156" y="0"/>
                  </a:moveTo>
                  <a:cubicBezTo>
                    <a:pt x="72" y="0"/>
                    <a:pt x="1" y="72"/>
                    <a:pt x="1" y="167"/>
                  </a:cubicBezTo>
                  <a:cubicBezTo>
                    <a:pt x="1" y="250"/>
                    <a:pt x="72" y="334"/>
                    <a:pt x="156" y="334"/>
                  </a:cubicBezTo>
                  <a:lnTo>
                    <a:pt x="2442" y="334"/>
                  </a:lnTo>
                  <a:cubicBezTo>
                    <a:pt x="2525" y="334"/>
                    <a:pt x="2596" y="250"/>
                    <a:pt x="2596" y="167"/>
                  </a:cubicBezTo>
                  <a:cubicBezTo>
                    <a:pt x="2596" y="72"/>
                    <a:pt x="2525"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2" name="Google Shape;13382;p64"/>
            <p:cNvSpPr/>
            <p:nvPr/>
          </p:nvSpPr>
          <p:spPr>
            <a:xfrm>
              <a:off x="7539459" y="3149587"/>
              <a:ext cx="82663" cy="10663"/>
            </a:xfrm>
            <a:custGeom>
              <a:avLst/>
              <a:gdLst/>
              <a:ahLst/>
              <a:cxnLst/>
              <a:rect l="l" t="t" r="r" b="b"/>
              <a:pathLst>
                <a:path w="2597" h="335" extrusionOk="0">
                  <a:moveTo>
                    <a:pt x="156" y="1"/>
                  </a:moveTo>
                  <a:cubicBezTo>
                    <a:pt x="72" y="1"/>
                    <a:pt x="1" y="84"/>
                    <a:pt x="1" y="168"/>
                  </a:cubicBezTo>
                  <a:cubicBezTo>
                    <a:pt x="1" y="263"/>
                    <a:pt x="72" y="334"/>
                    <a:pt x="156" y="334"/>
                  </a:cubicBezTo>
                  <a:lnTo>
                    <a:pt x="2442" y="334"/>
                  </a:lnTo>
                  <a:cubicBezTo>
                    <a:pt x="2525" y="334"/>
                    <a:pt x="2596" y="263"/>
                    <a:pt x="2596" y="168"/>
                  </a:cubicBezTo>
                  <a:cubicBezTo>
                    <a:pt x="2596" y="84"/>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3" name="Google Shape;13383;p64"/>
            <p:cNvSpPr/>
            <p:nvPr/>
          </p:nvSpPr>
          <p:spPr>
            <a:xfrm>
              <a:off x="7539459" y="3174988"/>
              <a:ext cx="82663" cy="10281"/>
            </a:xfrm>
            <a:custGeom>
              <a:avLst/>
              <a:gdLst/>
              <a:ahLst/>
              <a:cxnLst/>
              <a:rect l="l" t="t" r="r" b="b"/>
              <a:pathLst>
                <a:path w="2597" h="323" extrusionOk="0">
                  <a:moveTo>
                    <a:pt x="156" y="1"/>
                  </a:moveTo>
                  <a:cubicBezTo>
                    <a:pt x="72" y="1"/>
                    <a:pt x="1" y="72"/>
                    <a:pt x="1" y="155"/>
                  </a:cubicBezTo>
                  <a:cubicBezTo>
                    <a:pt x="1" y="251"/>
                    <a:pt x="72" y="322"/>
                    <a:pt x="156" y="322"/>
                  </a:cubicBezTo>
                  <a:lnTo>
                    <a:pt x="2442" y="322"/>
                  </a:lnTo>
                  <a:cubicBezTo>
                    <a:pt x="2525" y="322"/>
                    <a:pt x="2596" y="251"/>
                    <a:pt x="2596" y="155"/>
                  </a:cubicBezTo>
                  <a:cubicBezTo>
                    <a:pt x="2596" y="72"/>
                    <a:pt x="2525" y="1"/>
                    <a:pt x="244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4" name="Google Shape;13384;p64"/>
            <p:cNvSpPr/>
            <p:nvPr/>
          </p:nvSpPr>
          <p:spPr>
            <a:xfrm>
              <a:off x="7539459" y="3011286"/>
              <a:ext cx="220614" cy="47395"/>
            </a:xfrm>
            <a:custGeom>
              <a:avLst/>
              <a:gdLst/>
              <a:ahLst/>
              <a:cxnLst/>
              <a:rect l="l" t="t" r="r" b="b"/>
              <a:pathLst>
                <a:path w="6931" h="1489" extrusionOk="0">
                  <a:moveTo>
                    <a:pt x="418" y="0"/>
                  </a:moveTo>
                  <a:cubicBezTo>
                    <a:pt x="179" y="0"/>
                    <a:pt x="1" y="191"/>
                    <a:pt x="1" y="417"/>
                  </a:cubicBezTo>
                  <a:lnTo>
                    <a:pt x="1" y="1072"/>
                  </a:lnTo>
                  <a:cubicBezTo>
                    <a:pt x="1" y="1310"/>
                    <a:pt x="191" y="1488"/>
                    <a:pt x="418" y="1488"/>
                  </a:cubicBezTo>
                  <a:lnTo>
                    <a:pt x="3251" y="1488"/>
                  </a:lnTo>
                  <a:cubicBezTo>
                    <a:pt x="3346" y="1488"/>
                    <a:pt x="3418" y="1417"/>
                    <a:pt x="3418" y="1322"/>
                  </a:cubicBezTo>
                  <a:cubicBezTo>
                    <a:pt x="3418" y="1238"/>
                    <a:pt x="3346" y="1167"/>
                    <a:pt x="3251" y="1167"/>
                  </a:cubicBezTo>
                  <a:lnTo>
                    <a:pt x="418" y="1167"/>
                  </a:lnTo>
                  <a:cubicBezTo>
                    <a:pt x="358" y="1167"/>
                    <a:pt x="310" y="1119"/>
                    <a:pt x="310" y="1060"/>
                  </a:cubicBezTo>
                  <a:lnTo>
                    <a:pt x="310" y="405"/>
                  </a:lnTo>
                  <a:cubicBezTo>
                    <a:pt x="310" y="345"/>
                    <a:pt x="358" y="298"/>
                    <a:pt x="418" y="298"/>
                  </a:cubicBezTo>
                  <a:lnTo>
                    <a:pt x="6502" y="298"/>
                  </a:lnTo>
                  <a:cubicBezTo>
                    <a:pt x="6561" y="298"/>
                    <a:pt x="6609" y="345"/>
                    <a:pt x="6609" y="405"/>
                  </a:cubicBezTo>
                  <a:lnTo>
                    <a:pt x="6609" y="1060"/>
                  </a:lnTo>
                  <a:cubicBezTo>
                    <a:pt x="6609" y="1119"/>
                    <a:pt x="6561" y="1167"/>
                    <a:pt x="6502" y="1167"/>
                  </a:cubicBezTo>
                  <a:lnTo>
                    <a:pt x="4013" y="1167"/>
                  </a:lnTo>
                  <a:cubicBezTo>
                    <a:pt x="3930" y="1167"/>
                    <a:pt x="3847" y="1238"/>
                    <a:pt x="3847" y="1322"/>
                  </a:cubicBezTo>
                  <a:cubicBezTo>
                    <a:pt x="3847" y="1417"/>
                    <a:pt x="3930" y="1488"/>
                    <a:pt x="4013" y="1488"/>
                  </a:cubicBezTo>
                  <a:lnTo>
                    <a:pt x="6502" y="1488"/>
                  </a:lnTo>
                  <a:cubicBezTo>
                    <a:pt x="6740" y="1488"/>
                    <a:pt x="6918" y="1298"/>
                    <a:pt x="6918" y="1072"/>
                  </a:cubicBezTo>
                  <a:lnTo>
                    <a:pt x="6918" y="417"/>
                  </a:lnTo>
                  <a:cubicBezTo>
                    <a:pt x="6930" y="203"/>
                    <a:pt x="6740" y="0"/>
                    <a:pt x="6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385" name="Google Shape;13385;p64"/>
          <p:cNvGrpSpPr/>
          <p:nvPr/>
        </p:nvGrpSpPr>
        <p:grpSpPr>
          <a:xfrm>
            <a:off x="7024430" y="2874662"/>
            <a:ext cx="332012" cy="355454"/>
            <a:chOff x="7055134" y="2919170"/>
            <a:chExt cx="290321" cy="310820"/>
          </a:xfrm>
        </p:grpSpPr>
        <p:sp>
          <p:nvSpPr>
            <p:cNvPr id="13386" name="Google Shape;13386;p64"/>
            <p:cNvSpPr/>
            <p:nvPr/>
          </p:nvSpPr>
          <p:spPr>
            <a:xfrm>
              <a:off x="7102497" y="2970989"/>
              <a:ext cx="191044" cy="259001"/>
            </a:xfrm>
            <a:custGeom>
              <a:avLst/>
              <a:gdLst/>
              <a:ahLst/>
              <a:cxnLst/>
              <a:rect l="l" t="t" r="r" b="b"/>
              <a:pathLst>
                <a:path w="6002" h="8137" extrusionOk="0">
                  <a:moveTo>
                    <a:pt x="3097" y="314"/>
                  </a:moveTo>
                  <a:cubicBezTo>
                    <a:pt x="3739" y="314"/>
                    <a:pt x="4347" y="552"/>
                    <a:pt x="4835" y="980"/>
                  </a:cubicBezTo>
                  <a:cubicBezTo>
                    <a:pt x="5394" y="1481"/>
                    <a:pt x="5716" y="2195"/>
                    <a:pt x="5716" y="2933"/>
                  </a:cubicBezTo>
                  <a:cubicBezTo>
                    <a:pt x="5704" y="3445"/>
                    <a:pt x="5549" y="3933"/>
                    <a:pt x="5287" y="4350"/>
                  </a:cubicBezTo>
                  <a:cubicBezTo>
                    <a:pt x="5013" y="4767"/>
                    <a:pt x="4644" y="5100"/>
                    <a:pt x="4204" y="5302"/>
                  </a:cubicBezTo>
                  <a:cubicBezTo>
                    <a:pt x="3930" y="5433"/>
                    <a:pt x="3751" y="5719"/>
                    <a:pt x="3751" y="6029"/>
                  </a:cubicBezTo>
                  <a:lnTo>
                    <a:pt x="3751" y="6207"/>
                  </a:lnTo>
                  <a:lnTo>
                    <a:pt x="2430" y="6207"/>
                  </a:lnTo>
                  <a:lnTo>
                    <a:pt x="2430" y="6029"/>
                  </a:lnTo>
                  <a:cubicBezTo>
                    <a:pt x="2430" y="5719"/>
                    <a:pt x="2251" y="5433"/>
                    <a:pt x="1965" y="5302"/>
                  </a:cubicBezTo>
                  <a:cubicBezTo>
                    <a:pt x="942" y="4814"/>
                    <a:pt x="346" y="3731"/>
                    <a:pt x="489" y="2588"/>
                  </a:cubicBezTo>
                  <a:cubicBezTo>
                    <a:pt x="644" y="1421"/>
                    <a:pt x="1608" y="457"/>
                    <a:pt x="2799" y="326"/>
                  </a:cubicBezTo>
                  <a:cubicBezTo>
                    <a:pt x="2906" y="314"/>
                    <a:pt x="3013" y="314"/>
                    <a:pt x="3097" y="314"/>
                  </a:cubicBezTo>
                  <a:close/>
                  <a:moveTo>
                    <a:pt x="3728" y="6505"/>
                  </a:moveTo>
                  <a:lnTo>
                    <a:pt x="3739" y="7017"/>
                  </a:lnTo>
                  <a:cubicBezTo>
                    <a:pt x="3739" y="7100"/>
                    <a:pt x="3668" y="7195"/>
                    <a:pt x="3561" y="7195"/>
                  </a:cubicBezTo>
                  <a:lnTo>
                    <a:pt x="2573" y="7195"/>
                  </a:lnTo>
                  <a:cubicBezTo>
                    <a:pt x="2489" y="7195"/>
                    <a:pt x="2394" y="7124"/>
                    <a:pt x="2394" y="7017"/>
                  </a:cubicBezTo>
                  <a:lnTo>
                    <a:pt x="2394" y="6505"/>
                  </a:lnTo>
                  <a:close/>
                  <a:moveTo>
                    <a:pt x="3394" y="7469"/>
                  </a:moveTo>
                  <a:lnTo>
                    <a:pt x="3406" y="7648"/>
                  </a:lnTo>
                  <a:cubicBezTo>
                    <a:pt x="3406" y="7743"/>
                    <a:pt x="3335" y="7838"/>
                    <a:pt x="3228" y="7838"/>
                  </a:cubicBezTo>
                  <a:lnTo>
                    <a:pt x="2906" y="7838"/>
                  </a:lnTo>
                  <a:cubicBezTo>
                    <a:pt x="2811" y="7838"/>
                    <a:pt x="2727" y="7755"/>
                    <a:pt x="2727" y="7648"/>
                  </a:cubicBezTo>
                  <a:lnTo>
                    <a:pt x="2727" y="7469"/>
                  </a:lnTo>
                  <a:close/>
                  <a:moveTo>
                    <a:pt x="3056" y="0"/>
                  </a:moveTo>
                  <a:cubicBezTo>
                    <a:pt x="2951" y="0"/>
                    <a:pt x="2845" y="6"/>
                    <a:pt x="2739" y="16"/>
                  </a:cubicBezTo>
                  <a:cubicBezTo>
                    <a:pt x="1418" y="171"/>
                    <a:pt x="322" y="1230"/>
                    <a:pt x="168" y="2552"/>
                  </a:cubicBezTo>
                  <a:cubicBezTo>
                    <a:pt x="1" y="3814"/>
                    <a:pt x="668" y="5040"/>
                    <a:pt x="1811" y="5564"/>
                  </a:cubicBezTo>
                  <a:cubicBezTo>
                    <a:pt x="1977" y="5648"/>
                    <a:pt x="2096" y="5826"/>
                    <a:pt x="2096" y="6017"/>
                  </a:cubicBezTo>
                  <a:lnTo>
                    <a:pt x="2096" y="7005"/>
                  </a:lnTo>
                  <a:cubicBezTo>
                    <a:pt x="2096" y="7207"/>
                    <a:pt x="2239" y="7386"/>
                    <a:pt x="2430" y="7457"/>
                  </a:cubicBezTo>
                  <a:lnTo>
                    <a:pt x="2430" y="7648"/>
                  </a:lnTo>
                  <a:cubicBezTo>
                    <a:pt x="2430" y="7922"/>
                    <a:pt x="2632" y="8136"/>
                    <a:pt x="2906" y="8136"/>
                  </a:cubicBezTo>
                  <a:lnTo>
                    <a:pt x="3228" y="8136"/>
                  </a:lnTo>
                  <a:cubicBezTo>
                    <a:pt x="3501" y="8136"/>
                    <a:pt x="3704" y="7922"/>
                    <a:pt x="3704" y="7648"/>
                  </a:cubicBezTo>
                  <a:lnTo>
                    <a:pt x="3704" y="7457"/>
                  </a:lnTo>
                  <a:cubicBezTo>
                    <a:pt x="3906" y="7398"/>
                    <a:pt x="4037" y="7219"/>
                    <a:pt x="4037" y="7005"/>
                  </a:cubicBezTo>
                  <a:lnTo>
                    <a:pt x="4037" y="6017"/>
                  </a:lnTo>
                  <a:cubicBezTo>
                    <a:pt x="4037" y="5826"/>
                    <a:pt x="4144" y="5648"/>
                    <a:pt x="4323" y="5564"/>
                  </a:cubicBezTo>
                  <a:cubicBezTo>
                    <a:pt x="4811" y="5326"/>
                    <a:pt x="5228" y="4969"/>
                    <a:pt x="5537" y="4517"/>
                  </a:cubicBezTo>
                  <a:cubicBezTo>
                    <a:pt x="5847" y="4040"/>
                    <a:pt x="6002" y="3481"/>
                    <a:pt x="6002" y="2921"/>
                  </a:cubicBezTo>
                  <a:cubicBezTo>
                    <a:pt x="6002" y="2100"/>
                    <a:pt x="5644" y="1302"/>
                    <a:pt x="5037" y="754"/>
                  </a:cubicBezTo>
                  <a:cubicBezTo>
                    <a:pt x="4485" y="254"/>
                    <a:pt x="3788" y="0"/>
                    <a:pt x="30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7" name="Google Shape;13387;p64"/>
            <p:cNvSpPr/>
            <p:nvPr/>
          </p:nvSpPr>
          <p:spPr>
            <a:xfrm>
              <a:off x="7304872" y="3059413"/>
              <a:ext cx="40583" cy="9485"/>
            </a:xfrm>
            <a:custGeom>
              <a:avLst/>
              <a:gdLst/>
              <a:ahLst/>
              <a:cxnLst/>
              <a:rect l="l" t="t" r="r" b="b"/>
              <a:pathLst>
                <a:path w="1275" h="298" extrusionOk="0">
                  <a:moveTo>
                    <a:pt x="144" y="0"/>
                  </a:moveTo>
                  <a:cubicBezTo>
                    <a:pt x="60" y="0"/>
                    <a:pt x="1" y="72"/>
                    <a:pt x="1" y="143"/>
                  </a:cubicBezTo>
                  <a:cubicBezTo>
                    <a:pt x="1" y="238"/>
                    <a:pt x="72" y="298"/>
                    <a:pt x="144" y="298"/>
                  </a:cubicBezTo>
                  <a:lnTo>
                    <a:pt x="1132" y="298"/>
                  </a:lnTo>
                  <a:cubicBezTo>
                    <a:pt x="1215" y="298"/>
                    <a:pt x="1275" y="215"/>
                    <a:pt x="1275" y="143"/>
                  </a:cubicBezTo>
                  <a:cubicBezTo>
                    <a:pt x="1275" y="72"/>
                    <a:pt x="1203"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8" name="Google Shape;13388;p64"/>
            <p:cNvSpPr/>
            <p:nvPr/>
          </p:nvSpPr>
          <p:spPr>
            <a:xfrm>
              <a:off x="7055134" y="3059413"/>
              <a:ext cx="41347" cy="9485"/>
            </a:xfrm>
            <a:custGeom>
              <a:avLst/>
              <a:gdLst/>
              <a:ahLst/>
              <a:cxnLst/>
              <a:rect l="l" t="t" r="r" b="b"/>
              <a:pathLst>
                <a:path w="1299" h="298" extrusionOk="0">
                  <a:moveTo>
                    <a:pt x="155" y="0"/>
                  </a:moveTo>
                  <a:cubicBezTo>
                    <a:pt x="60" y="0"/>
                    <a:pt x="1" y="72"/>
                    <a:pt x="1" y="143"/>
                  </a:cubicBezTo>
                  <a:cubicBezTo>
                    <a:pt x="1" y="238"/>
                    <a:pt x="72" y="298"/>
                    <a:pt x="155" y="298"/>
                  </a:cubicBezTo>
                  <a:lnTo>
                    <a:pt x="1132" y="298"/>
                  </a:lnTo>
                  <a:cubicBezTo>
                    <a:pt x="1215" y="298"/>
                    <a:pt x="1287" y="215"/>
                    <a:pt x="1287" y="143"/>
                  </a:cubicBezTo>
                  <a:cubicBezTo>
                    <a:pt x="1298" y="72"/>
                    <a:pt x="1227" y="0"/>
                    <a:pt x="11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9" name="Google Shape;13389;p64"/>
            <p:cNvSpPr/>
            <p:nvPr/>
          </p:nvSpPr>
          <p:spPr>
            <a:xfrm>
              <a:off x="7195727" y="2919170"/>
              <a:ext cx="9517" cy="40583"/>
            </a:xfrm>
            <a:custGeom>
              <a:avLst/>
              <a:gdLst/>
              <a:ahLst/>
              <a:cxnLst/>
              <a:rect l="l" t="t" r="r" b="b"/>
              <a:pathLst>
                <a:path w="299" h="1275" extrusionOk="0">
                  <a:moveTo>
                    <a:pt x="156" y="1"/>
                  </a:moveTo>
                  <a:cubicBezTo>
                    <a:pt x="60" y="1"/>
                    <a:pt x="1" y="72"/>
                    <a:pt x="1" y="144"/>
                  </a:cubicBezTo>
                  <a:lnTo>
                    <a:pt x="1" y="1132"/>
                  </a:lnTo>
                  <a:cubicBezTo>
                    <a:pt x="1" y="1215"/>
                    <a:pt x="84" y="1275"/>
                    <a:pt x="156" y="1275"/>
                  </a:cubicBezTo>
                  <a:cubicBezTo>
                    <a:pt x="227" y="1275"/>
                    <a:pt x="299" y="1204"/>
                    <a:pt x="299" y="1132"/>
                  </a:cubicBezTo>
                  <a:lnTo>
                    <a:pt x="299" y="144"/>
                  </a:lnTo>
                  <a:cubicBezTo>
                    <a:pt x="299" y="72"/>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0" name="Google Shape;13390;p64"/>
            <p:cNvSpPr/>
            <p:nvPr/>
          </p:nvSpPr>
          <p:spPr>
            <a:xfrm>
              <a:off x="7185128" y="3007116"/>
              <a:ext cx="30334" cy="92880"/>
            </a:xfrm>
            <a:custGeom>
              <a:avLst/>
              <a:gdLst/>
              <a:ahLst/>
              <a:cxnLst/>
              <a:rect l="l" t="t" r="r" b="b"/>
              <a:pathLst>
                <a:path w="953" h="2918" extrusionOk="0">
                  <a:moveTo>
                    <a:pt x="477" y="310"/>
                  </a:moveTo>
                  <a:cubicBezTo>
                    <a:pt x="512" y="310"/>
                    <a:pt x="560" y="334"/>
                    <a:pt x="596" y="357"/>
                  </a:cubicBezTo>
                  <a:cubicBezTo>
                    <a:pt x="620" y="393"/>
                    <a:pt x="632" y="429"/>
                    <a:pt x="632" y="476"/>
                  </a:cubicBezTo>
                  <a:lnTo>
                    <a:pt x="548" y="2608"/>
                  </a:lnTo>
                  <a:lnTo>
                    <a:pt x="405" y="2620"/>
                  </a:lnTo>
                  <a:cubicBezTo>
                    <a:pt x="405" y="2620"/>
                    <a:pt x="393" y="2620"/>
                    <a:pt x="393" y="2608"/>
                  </a:cubicBezTo>
                  <a:lnTo>
                    <a:pt x="310" y="476"/>
                  </a:lnTo>
                  <a:cubicBezTo>
                    <a:pt x="310" y="429"/>
                    <a:pt x="322" y="393"/>
                    <a:pt x="358" y="357"/>
                  </a:cubicBezTo>
                  <a:cubicBezTo>
                    <a:pt x="381" y="334"/>
                    <a:pt x="429" y="310"/>
                    <a:pt x="477" y="310"/>
                  </a:cubicBezTo>
                  <a:close/>
                  <a:moveTo>
                    <a:pt x="477" y="0"/>
                  </a:moveTo>
                  <a:cubicBezTo>
                    <a:pt x="334" y="0"/>
                    <a:pt x="215" y="48"/>
                    <a:pt x="131" y="155"/>
                  </a:cubicBezTo>
                  <a:cubicBezTo>
                    <a:pt x="36" y="238"/>
                    <a:pt x="0" y="357"/>
                    <a:pt x="0" y="488"/>
                  </a:cubicBezTo>
                  <a:lnTo>
                    <a:pt x="84" y="2620"/>
                  </a:lnTo>
                  <a:cubicBezTo>
                    <a:pt x="84" y="2786"/>
                    <a:pt x="239" y="2917"/>
                    <a:pt x="393" y="2917"/>
                  </a:cubicBezTo>
                  <a:lnTo>
                    <a:pt x="512" y="2917"/>
                  </a:lnTo>
                  <a:cubicBezTo>
                    <a:pt x="679" y="2917"/>
                    <a:pt x="822" y="2786"/>
                    <a:pt x="822" y="2620"/>
                  </a:cubicBezTo>
                  <a:lnTo>
                    <a:pt x="917" y="488"/>
                  </a:lnTo>
                  <a:cubicBezTo>
                    <a:pt x="953" y="369"/>
                    <a:pt x="905" y="238"/>
                    <a:pt x="810" y="155"/>
                  </a:cubicBezTo>
                  <a:cubicBezTo>
                    <a:pt x="727" y="60"/>
                    <a:pt x="608"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1" name="Google Shape;13391;p64"/>
            <p:cNvSpPr/>
            <p:nvPr/>
          </p:nvSpPr>
          <p:spPr>
            <a:xfrm>
              <a:off x="7187770" y="3111328"/>
              <a:ext cx="25814" cy="25814"/>
            </a:xfrm>
            <a:custGeom>
              <a:avLst/>
              <a:gdLst/>
              <a:ahLst/>
              <a:cxnLst/>
              <a:rect l="l" t="t" r="r" b="b"/>
              <a:pathLst>
                <a:path w="811" h="811" extrusionOk="0">
                  <a:moveTo>
                    <a:pt x="406" y="310"/>
                  </a:moveTo>
                  <a:cubicBezTo>
                    <a:pt x="453" y="310"/>
                    <a:pt x="489" y="358"/>
                    <a:pt x="489" y="405"/>
                  </a:cubicBezTo>
                  <a:cubicBezTo>
                    <a:pt x="489" y="453"/>
                    <a:pt x="453" y="489"/>
                    <a:pt x="406" y="489"/>
                  </a:cubicBezTo>
                  <a:cubicBezTo>
                    <a:pt x="358" y="489"/>
                    <a:pt x="310" y="453"/>
                    <a:pt x="310" y="405"/>
                  </a:cubicBezTo>
                  <a:cubicBezTo>
                    <a:pt x="310" y="358"/>
                    <a:pt x="358" y="310"/>
                    <a:pt x="406" y="310"/>
                  </a:cubicBezTo>
                  <a:close/>
                  <a:moveTo>
                    <a:pt x="406" y="0"/>
                  </a:moveTo>
                  <a:cubicBezTo>
                    <a:pt x="179" y="0"/>
                    <a:pt x="1" y="179"/>
                    <a:pt x="1" y="405"/>
                  </a:cubicBezTo>
                  <a:cubicBezTo>
                    <a:pt x="1" y="631"/>
                    <a:pt x="179" y="810"/>
                    <a:pt x="406" y="810"/>
                  </a:cubicBezTo>
                  <a:cubicBezTo>
                    <a:pt x="632" y="810"/>
                    <a:pt x="810" y="631"/>
                    <a:pt x="810" y="405"/>
                  </a:cubicBezTo>
                  <a:cubicBezTo>
                    <a:pt x="787" y="179"/>
                    <a:pt x="608" y="0"/>
                    <a:pt x="4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2" name="Google Shape;13392;p64"/>
            <p:cNvSpPr/>
            <p:nvPr/>
          </p:nvSpPr>
          <p:spPr>
            <a:xfrm>
              <a:off x="7249552" y="2951477"/>
              <a:ext cx="18971" cy="23077"/>
            </a:xfrm>
            <a:custGeom>
              <a:avLst/>
              <a:gdLst/>
              <a:ahLst/>
              <a:cxnLst/>
              <a:rect l="l" t="t" r="r" b="b"/>
              <a:pathLst>
                <a:path w="596" h="725" extrusionOk="0">
                  <a:moveTo>
                    <a:pt x="417" y="0"/>
                  </a:moveTo>
                  <a:cubicBezTo>
                    <a:pt x="362" y="0"/>
                    <a:pt x="307" y="32"/>
                    <a:pt x="274" y="81"/>
                  </a:cubicBezTo>
                  <a:lnTo>
                    <a:pt x="36" y="498"/>
                  </a:lnTo>
                  <a:cubicBezTo>
                    <a:pt x="1" y="570"/>
                    <a:pt x="24" y="665"/>
                    <a:pt x="96" y="700"/>
                  </a:cubicBezTo>
                  <a:cubicBezTo>
                    <a:pt x="132" y="724"/>
                    <a:pt x="143" y="724"/>
                    <a:pt x="179" y="724"/>
                  </a:cubicBezTo>
                  <a:cubicBezTo>
                    <a:pt x="239" y="724"/>
                    <a:pt x="274" y="689"/>
                    <a:pt x="310" y="641"/>
                  </a:cubicBezTo>
                  <a:lnTo>
                    <a:pt x="548" y="224"/>
                  </a:lnTo>
                  <a:cubicBezTo>
                    <a:pt x="596" y="153"/>
                    <a:pt x="560" y="69"/>
                    <a:pt x="489" y="22"/>
                  </a:cubicBezTo>
                  <a:cubicBezTo>
                    <a:pt x="466" y="7"/>
                    <a:pt x="442" y="0"/>
                    <a:pt x="41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3" name="Google Shape;13393;p64"/>
            <p:cNvSpPr/>
            <p:nvPr/>
          </p:nvSpPr>
          <p:spPr>
            <a:xfrm>
              <a:off x="7132831" y="3153852"/>
              <a:ext cx="18589" cy="22695"/>
            </a:xfrm>
            <a:custGeom>
              <a:avLst/>
              <a:gdLst/>
              <a:ahLst/>
              <a:cxnLst/>
              <a:rect l="l" t="t" r="r" b="b"/>
              <a:pathLst>
                <a:path w="584" h="713" extrusionOk="0">
                  <a:moveTo>
                    <a:pt x="419" y="0"/>
                  </a:moveTo>
                  <a:cubicBezTo>
                    <a:pt x="368" y="0"/>
                    <a:pt x="319" y="32"/>
                    <a:pt x="286" y="81"/>
                  </a:cubicBezTo>
                  <a:lnTo>
                    <a:pt x="48" y="498"/>
                  </a:lnTo>
                  <a:cubicBezTo>
                    <a:pt x="0" y="569"/>
                    <a:pt x="36" y="665"/>
                    <a:pt x="108" y="700"/>
                  </a:cubicBezTo>
                  <a:cubicBezTo>
                    <a:pt x="131" y="712"/>
                    <a:pt x="155" y="712"/>
                    <a:pt x="179" y="712"/>
                  </a:cubicBezTo>
                  <a:cubicBezTo>
                    <a:pt x="239" y="712"/>
                    <a:pt x="286" y="689"/>
                    <a:pt x="310" y="641"/>
                  </a:cubicBezTo>
                  <a:lnTo>
                    <a:pt x="548" y="224"/>
                  </a:lnTo>
                  <a:cubicBezTo>
                    <a:pt x="584" y="153"/>
                    <a:pt x="572" y="69"/>
                    <a:pt x="489" y="22"/>
                  </a:cubicBezTo>
                  <a:cubicBezTo>
                    <a:pt x="466" y="7"/>
                    <a:pt x="443" y="0"/>
                    <a:pt x="41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4" name="Google Shape;13394;p64"/>
            <p:cNvSpPr/>
            <p:nvPr/>
          </p:nvSpPr>
          <p:spPr>
            <a:xfrm>
              <a:off x="7132449" y="2951477"/>
              <a:ext cx="18971" cy="23077"/>
            </a:xfrm>
            <a:custGeom>
              <a:avLst/>
              <a:gdLst/>
              <a:ahLst/>
              <a:cxnLst/>
              <a:rect l="l" t="t" r="r" b="b"/>
              <a:pathLst>
                <a:path w="596" h="725" extrusionOk="0">
                  <a:moveTo>
                    <a:pt x="177" y="0"/>
                  </a:moveTo>
                  <a:cubicBezTo>
                    <a:pt x="154" y="0"/>
                    <a:pt x="130" y="7"/>
                    <a:pt x="108" y="22"/>
                  </a:cubicBezTo>
                  <a:cubicBezTo>
                    <a:pt x="24" y="69"/>
                    <a:pt x="1" y="153"/>
                    <a:pt x="48" y="236"/>
                  </a:cubicBezTo>
                  <a:lnTo>
                    <a:pt x="274" y="653"/>
                  </a:lnTo>
                  <a:cubicBezTo>
                    <a:pt x="310" y="689"/>
                    <a:pt x="358" y="724"/>
                    <a:pt x="417" y="724"/>
                  </a:cubicBezTo>
                  <a:cubicBezTo>
                    <a:pt x="441" y="724"/>
                    <a:pt x="477" y="724"/>
                    <a:pt x="489" y="712"/>
                  </a:cubicBezTo>
                  <a:cubicBezTo>
                    <a:pt x="584" y="665"/>
                    <a:pt x="596" y="570"/>
                    <a:pt x="548" y="498"/>
                  </a:cubicBezTo>
                  <a:lnTo>
                    <a:pt x="310" y="81"/>
                  </a:lnTo>
                  <a:cubicBezTo>
                    <a:pt x="277" y="32"/>
                    <a:pt x="228"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5" name="Google Shape;13395;p64"/>
            <p:cNvSpPr/>
            <p:nvPr/>
          </p:nvSpPr>
          <p:spPr>
            <a:xfrm>
              <a:off x="7249552" y="3153852"/>
              <a:ext cx="18971" cy="22695"/>
            </a:xfrm>
            <a:custGeom>
              <a:avLst/>
              <a:gdLst/>
              <a:ahLst/>
              <a:cxnLst/>
              <a:rect l="l" t="t" r="r" b="b"/>
              <a:pathLst>
                <a:path w="596" h="713" extrusionOk="0">
                  <a:moveTo>
                    <a:pt x="173" y="0"/>
                  </a:moveTo>
                  <a:cubicBezTo>
                    <a:pt x="148" y="0"/>
                    <a:pt x="122" y="7"/>
                    <a:pt x="96" y="22"/>
                  </a:cubicBezTo>
                  <a:cubicBezTo>
                    <a:pt x="24" y="69"/>
                    <a:pt x="1" y="153"/>
                    <a:pt x="36" y="224"/>
                  </a:cubicBezTo>
                  <a:lnTo>
                    <a:pt x="274" y="641"/>
                  </a:lnTo>
                  <a:cubicBezTo>
                    <a:pt x="310" y="689"/>
                    <a:pt x="358" y="712"/>
                    <a:pt x="417" y="712"/>
                  </a:cubicBezTo>
                  <a:cubicBezTo>
                    <a:pt x="441" y="712"/>
                    <a:pt x="477" y="712"/>
                    <a:pt x="489" y="700"/>
                  </a:cubicBezTo>
                  <a:cubicBezTo>
                    <a:pt x="560" y="665"/>
                    <a:pt x="596" y="569"/>
                    <a:pt x="548" y="498"/>
                  </a:cubicBezTo>
                  <a:lnTo>
                    <a:pt x="310" y="81"/>
                  </a:lnTo>
                  <a:cubicBezTo>
                    <a:pt x="277" y="32"/>
                    <a:pt x="228"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6" name="Google Shape;13396;p64"/>
            <p:cNvSpPr/>
            <p:nvPr/>
          </p:nvSpPr>
          <p:spPr>
            <a:xfrm>
              <a:off x="7289721" y="3113969"/>
              <a:ext cx="24286" cy="17093"/>
            </a:xfrm>
            <a:custGeom>
              <a:avLst/>
              <a:gdLst/>
              <a:ahLst/>
              <a:cxnLst/>
              <a:rect l="l" t="t" r="r" b="b"/>
              <a:pathLst>
                <a:path w="763" h="537" extrusionOk="0">
                  <a:moveTo>
                    <a:pt x="172" y="0"/>
                  </a:moveTo>
                  <a:cubicBezTo>
                    <a:pt x="121" y="0"/>
                    <a:pt x="72" y="29"/>
                    <a:pt x="48" y="84"/>
                  </a:cubicBezTo>
                  <a:cubicBezTo>
                    <a:pt x="1" y="156"/>
                    <a:pt x="24" y="239"/>
                    <a:pt x="108" y="287"/>
                  </a:cubicBezTo>
                  <a:lnTo>
                    <a:pt x="524" y="525"/>
                  </a:lnTo>
                  <a:cubicBezTo>
                    <a:pt x="548" y="537"/>
                    <a:pt x="560" y="537"/>
                    <a:pt x="596" y="537"/>
                  </a:cubicBezTo>
                  <a:cubicBezTo>
                    <a:pt x="655" y="537"/>
                    <a:pt x="703" y="513"/>
                    <a:pt x="727" y="465"/>
                  </a:cubicBezTo>
                  <a:cubicBezTo>
                    <a:pt x="763" y="394"/>
                    <a:pt x="739" y="310"/>
                    <a:pt x="667" y="263"/>
                  </a:cubicBezTo>
                  <a:lnTo>
                    <a:pt x="251" y="25"/>
                  </a:lnTo>
                  <a:cubicBezTo>
                    <a:pt x="226" y="8"/>
                    <a:pt x="199" y="0"/>
                    <a:pt x="1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7" name="Google Shape;13397;p64"/>
            <p:cNvSpPr/>
            <p:nvPr/>
          </p:nvSpPr>
          <p:spPr>
            <a:xfrm>
              <a:off x="7086964" y="2996931"/>
              <a:ext cx="24668" cy="17411"/>
            </a:xfrm>
            <a:custGeom>
              <a:avLst/>
              <a:gdLst/>
              <a:ahLst/>
              <a:cxnLst/>
              <a:rect l="l" t="t" r="r" b="b"/>
              <a:pathLst>
                <a:path w="775" h="547" extrusionOk="0">
                  <a:moveTo>
                    <a:pt x="179" y="1"/>
                  </a:moveTo>
                  <a:cubicBezTo>
                    <a:pt x="125" y="1"/>
                    <a:pt x="73" y="33"/>
                    <a:pt x="48" y="82"/>
                  </a:cubicBezTo>
                  <a:cubicBezTo>
                    <a:pt x="1" y="154"/>
                    <a:pt x="25" y="249"/>
                    <a:pt x="108" y="285"/>
                  </a:cubicBezTo>
                  <a:lnTo>
                    <a:pt x="525" y="535"/>
                  </a:lnTo>
                  <a:cubicBezTo>
                    <a:pt x="548" y="546"/>
                    <a:pt x="560" y="546"/>
                    <a:pt x="596" y="546"/>
                  </a:cubicBezTo>
                  <a:cubicBezTo>
                    <a:pt x="656" y="546"/>
                    <a:pt x="703" y="511"/>
                    <a:pt x="727" y="475"/>
                  </a:cubicBezTo>
                  <a:cubicBezTo>
                    <a:pt x="775" y="415"/>
                    <a:pt x="739" y="308"/>
                    <a:pt x="668" y="261"/>
                  </a:cubicBezTo>
                  <a:lnTo>
                    <a:pt x="251" y="23"/>
                  </a:lnTo>
                  <a:cubicBezTo>
                    <a:pt x="228" y="8"/>
                    <a:pt x="204"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8" name="Google Shape;13398;p64"/>
            <p:cNvSpPr/>
            <p:nvPr/>
          </p:nvSpPr>
          <p:spPr>
            <a:xfrm>
              <a:off x="7289339" y="2996931"/>
              <a:ext cx="24668" cy="17411"/>
            </a:xfrm>
            <a:custGeom>
              <a:avLst/>
              <a:gdLst/>
              <a:ahLst/>
              <a:cxnLst/>
              <a:rect l="l" t="t" r="r" b="b"/>
              <a:pathLst>
                <a:path w="775" h="547" extrusionOk="0">
                  <a:moveTo>
                    <a:pt x="590" y="1"/>
                  </a:moveTo>
                  <a:cubicBezTo>
                    <a:pt x="565" y="1"/>
                    <a:pt x="539" y="8"/>
                    <a:pt x="513" y="23"/>
                  </a:cubicBezTo>
                  <a:lnTo>
                    <a:pt x="96" y="261"/>
                  </a:lnTo>
                  <a:cubicBezTo>
                    <a:pt x="25" y="308"/>
                    <a:pt x="1" y="392"/>
                    <a:pt x="36" y="475"/>
                  </a:cubicBezTo>
                  <a:cubicBezTo>
                    <a:pt x="72" y="511"/>
                    <a:pt x="108" y="546"/>
                    <a:pt x="179" y="546"/>
                  </a:cubicBezTo>
                  <a:cubicBezTo>
                    <a:pt x="203" y="546"/>
                    <a:pt x="239" y="546"/>
                    <a:pt x="251" y="535"/>
                  </a:cubicBezTo>
                  <a:lnTo>
                    <a:pt x="667" y="285"/>
                  </a:lnTo>
                  <a:cubicBezTo>
                    <a:pt x="751" y="249"/>
                    <a:pt x="775" y="154"/>
                    <a:pt x="727" y="82"/>
                  </a:cubicBezTo>
                  <a:cubicBezTo>
                    <a:pt x="694" y="33"/>
                    <a:pt x="645" y="1"/>
                    <a:pt x="59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9" name="Google Shape;13399;p64"/>
            <p:cNvSpPr/>
            <p:nvPr/>
          </p:nvSpPr>
          <p:spPr>
            <a:xfrm>
              <a:off x="7086964" y="3113587"/>
              <a:ext cx="24668" cy="17093"/>
            </a:xfrm>
            <a:custGeom>
              <a:avLst/>
              <a:gdLst/>
              <a:ahLst/>
              <a:cxnLst/>
              <a:rect l="l" t="t" r="r" b="b"/>
              <a:pathLst>
                <a:path w="775" h="537" extrusionOk="0">
                  <a:moveTo>
                    <a:pt x="597" y="0"/>
                  </a:moveTo>
                  <a:cubicBezTo>
                    <a:pt x="570" y="0"/>
                    <a:pt x="541" y="8"/>
                    <a:pt x="513" y="25"/>
                  </a:cubicBezTo>
                  <a:lnTo>
                    <a:pt x="108" y="263"/>
                  </a:lnTo>
                  <a:cubicBezTo>
                    <a:pt x="25" y="299"/>
                    <a:pt x="1" y="394"/>
                    <a:pt x="36" y="465"/>
                  </a:cubicBezTo>
                  <a:cubicBezTo>
                    <a:pt x="72" y="513"/>
                    <a:pt x="120" y="537"/>
                    <a:pt x="179" y="537"/>
                  </a:cubicBezTo>
                  <a:cubicBezTo>
                    <a:pt x="203" y="537"/>
                    <a:pt x="239" y="537"/>
                    <a:pt x="251" y="525"/>
                  </a:cubicBezTo>
                  <a:lnTo>
                    <a:pt x="668" y="287"/>
                  </a:lnTo>
                  <a:cubicBezTo>
                    <a:pt x="739" y="263"/>
                    <a:pt x="775" y="156"/>
                    <a:pt x="727" y="84"/>
                  </a:cubicBezTo>
                  <a:cubicBezTo>
                    <a:pt x="696" y="29"/>
                    <a:pt x="649" y="0"/>
                    <a:pt x="59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0" name="Google Shape;13400;p64"/>
          <p:cNvGrpSpPr/>
          <p:nvPr/>
        </p:nvGrpSpPr>
        <p:grpSpPr>
          <a:xfrm>
            <a:off x="7985143" y="2900613"/>
            <a:ext cx="330109" cy="347552"/>
            <a:chOff x="7985143" y="2900613"/>
            <a:chExt cx="330109" cy="347552"/>
          </a:xfrm>
        </p:grpSpPr>
        <p:sp>
          <p:nvSpPr>
            <p:cNvPr id="13401" name="Google Shape;13401;p64"/>
            <p:cNvSpPr/>
            <p:nvPr/>
          </p:nvSpPr>
          <p:spPr>
            <a:xfrm>
              <a:off x="8143943" y="3145449"/>
              <a:ext cx="13273" cy="10631"/>
            </a:xfrm>
            <a:custGeom>
              <a:avLst/>
              <a:gdLst/>
              <a:ahLst/>
              <a:cxnLst/>
              <a:rect l="l" t="t" r="r" b="b"/>
              <a:pathLst>
                <a:path w="417" h="334" extrusionOk="0">
                  <a:moveTo>
                    <a:pt x="155" y="0"/>
                  </a:moveTo>
                  <a:cubicBezTo>
                    <a:pt x="72" y="0"/>
                    <a:pt x="0" y="71"/>
                    <a:pt x="0" y="167"/>
                  </a:cubicBezTo>
                  <a:cubicBezTo>
                    <a:pt x="0" y="250"/>
                    <a:pt x="72" y="333"/>
                    <a:pt x="155" y="333"/>
                  </a:cubicBezTo>
                  <a:lnTo>
                    <a:pt x="250" y="333"/>
                  </a:lnTo>
                  <a:cubicBezTo>
                    <a:pt x="334" y="333"/>
                    <a:pt x="417" y="250"/>
                    <a:pt x="417" y="167"/>
                  </a:cubicBezTo>
                  <a:cubicBezTo>
                    <a:pt x="393" y="60"/>
                    <a:pt x="334" y="0"/>
                    <a:pt x="25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2" name="Google Shape;13402;p64"/>
            <p:cNvSpPr/>
            <p:nvPr/>
          </p:nvSpPr>
          <p:spPr>
            <a:xfrm>
              <a:off x="8163264" y="3005970"/>
              <a:ext cx="32" cy="32"/>
            </a:xfrm>
            <a:custGeom>
              <a:avLst/>
              <a:gdLst/>
              <a:ahLst/>
              <a:cxnLst/>
              <a:rect l="l" t="t" r="r" b="b"/>
              <a:pathLst>
                <a:path w="1" h="1" extrusionOk="0">
                  <a:moveTo>
                    <a:pt x="1" y="1"/>
                  </a:moveTo>
                  <a:lnTo>
                    <a:pt x="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3" name="Google Shape;13403;p64"/>
            <p:cNvSpPr/>
            <p:nvPr/>
          </p:nvSpPr>
          <p:spPr>
            <a:xfrm>
              <a:off x="8163264" y="3005970"/>
              <a:ext cx="5347" cy="11013"/>
            </a:xfrm>
            <a:custGeom>
              <a:avLst/>
              <a:gdLst/>
              <a:ahLst/>
              <a:cxnLst/>
              <a:rect l="l" t="t" r="r" b="b"/>
              <a:pathLst>
                <a:path w="168" h="346" extrusionOk="0">
                  <a:moveTo>
                    <a:pt x="1" y="1"/>
                  </a:moveTo>
                  <a:cubicBezTo>
                    <a:pt x="20" y="70"/>
                    <a:pt x="97" y="228"/>
                    <a:pt x="143" y="308"/>
                  </a:cubicBezTo>
                  <a:lnTo>
                    <a:pt x="143" y="308"/>
                  </a:lnTo>
                  <a:cubicBezTo>
                    <a:pt x="118" y="259"/>
                    <a:pt x="78" y="164"/>
                    <a:pt x="1" y="1"/>
                  </a:cubicBezTo>
                  <a:close/>
                  <a:moveTo>
                    <a:pt x="143" y="308"/>
                  </a:moveTo>
                  <a:lnTo>
                    <a:pt x="143" y="308"/>
                  </a:lnTo>
                  <a:cubicBezTo>
                    <a:pt x="153" y="327"/>
                    <a:pt x="161" y="339"/>
                    <a:pt x="167" y="346"/>
                  </a:cubicBezTo>
                  <a:cubicBezTo>
                    <a:pt x="161" y="338"/>
                    <a:pt x="153" y="325"/>
                    <a:pt x="143" y="308"/>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4" name="Google Shape;13404;p64"/>
            <p:cNvSpPr/>
            <p:nvPr/>
          </p:nvSpPr>
          <p:spPr>
            <a:xfrm>
              <a:off x="8163264" y="3005588"/>
              <a:ext cx="32" cy="414"/>
            </a:xfrm>
            <a:custGeom>
              <a:avLst/>
              <a:gdLst/>
              <a:ahLst/>
              <a:cxnLst/>
              <a:rect l="l" t="t" r="r" b="b"/>
              <a:pathLst>
                <a:path w="1" h="13" extrusionOk="0">
                  <a:moveTo>
                    <a:pt x="1" y="1"/>
                  </a:moveTo>
                  <a:cubicBezTo>
                    <a:pt x="1" y="13"/>
                    <a:pt x="1" y="13"/>
                    <a:pt x="1" y="1"/>
                  </a:cubicBezTo>
                  <a:cubicBezTo>
                    <a:pt x="1" y="13"/>
                    <a:pt x="1" y="13"/>
                    <a:pt x="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5" name="Google Shape;13405;p64"/>
            <p:cNvSpPr/>
            <p:nvPr/>
          </p:nvSpPr>
          <p:spPr>
            <a:xfrm>
              <a:off x="8168579" y="3016952"/>
              <a:ext cx="32" cy="796"/>
            </a:xfrm>
            <a:custGeom>
              <a:avLst/>
              <a:gdLst/>
              <a:ahLst/>
              <a:cxnLst/>
              <a:rect l="l" t="t" r="r" b="b"/>
              <a:pathLst>
                <a:path w="1" h="25" extrusionOk="0">
                  <a:moveTo>
                    <a:pt x="0" y="1"/>
                  </a:moveTo>
                  <a:cubicBezTo>
                    <a:pt x="0" y="25"/>
                    <a:pt x="0" y="25"/>
                    <a:pt x="0" y="1"/>
                  </a:cubicBezTo>
                  <a:cubicBezTo>
                    <a:pt x="0" y="25"/>
                    <a:pt x="0" y="25"/>
                    <a:pt x="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6" name="Google Shape;13406;p64"/>
            <p:cNvSpPr/>
            <p:nvPr/>
          </p:nvSpPr>
          <p:spPr>
            <a:xfrm>
              <a:off x="7985143" y="2900613"/>
              <a:ext cx="330109" cy="347552"/>
            </a:xfrm>
            <a:custGeom>
              <a:avLst/>
              <a:gdLst/>
              <a:ahLst/>
              <a:cxnLst/>
              <a:rect l="l" t="t" r="r" b="b"/>
              <a:pathLst>
                <a:path w="10371" h="10919" extrusionOk="0">
                  <a:moveTo>
                    <a:pt x="5120" y="3060"/>
                  </a:moveTo>
                  <a:lnTo>
                    <a:pt x="5358" y="3572"/>
                  </a:lnTo>
                  <a:lnTo>
                    <a:pt x="4882" y="3572"/>
                  </a:lnTo>
                  <a:lnTo>
                    <a:pt x="5120" y="3060"/>
                  </a:lnTo>
                  <a:close/>
                  <a:moveTo>
                    <a:pt x="5501" y="3882"/>
                  </a:moveTo>
                  <a:lnTo>
                    <a:pt x="5644" y="4180"/>
                  </a:lnTo>
                  <a:lnTo>
                    <a:pt x="4596" y="4180"/>
                  </a:lnTo>
                  <a:lnTo>
                    <a:pt x="4727" y="3882"/>
                  </a:lnTo>
                  <a:close/>
                  <a:moveTo>
                    <a:pt x="3120" y="2799"/>
                  </a:moveTo>
                  <a:lnTo>
                    <a:pt x="3703" y="3644"/>
                  </a:lnTo>
                  <a:lnTo>
                    <a:pt x="3334" y="4037"/>
                  </a:lnTo>
                  <a:cubicBezTo>
                    <a:pt x="3239" y="4120"/>
                    <a:pt x="3239" y="4227"/>
                    <a:pt x="3239" y="4299"/>
                  </a:cubicBezTo>
                  <a:lnTo>
                    <a:pt x="2703" y="4299"/>
                  </a:lnTo>
                  <a:cubicBezTo>
                    <a:pt x="2703" y="4227"/>
                    <a:pt x="2727" y="4120"/>
                    <a:pt x="2620" y="4037"/>
                  </a:cubicBezTo>
                  <a:lnTo>
                    <a:pt x="2227" y="3644"/>
                  </a:lnTo>
                  <a:lnTo>
                    <a:pt x="2810" y="2799"/>
                  </a:lnTo>
                  <a:lnTo>
                    <a:pt x="2810" y="3465"/>
                  </a:lnTo>
                  <a:cubicBezTo>
                    <a:pt x="2739" y="3477"/>
                    <a:pt x="2668" y="3537"/>
                    <a:pt x="2668" y="3632"/>
                  </a:cubicBezTo>
                  <a:cubicBezTo>
                    <a:pt x="2668" y="3715"/>
                    <a:pt x="2739" y="3799"/>
                    <a:pt x="2822" y="3799"/>
                  </a:cubicBezTo>
                  <a:lnTo>
                    <a:pt x="3096" y="3799"/>
                  </a:lnTo>
                  <a:cubicBezTo>
                    <a:pt x="3180" y="3799"/>
                    <a:pt x="3263" y="3715"/>
                    <a:pt x="3263" y="3632"/>
                  </a:cubicBezTo>
                  <a:cubicBezTo>
                    <a:pt x="3263" y="3561"/>
                    <a:pt x="3203" y="3477"/>
                    <a:pt x="3120" y="3465"/>
                  </a:cubicBezTo>
                  <a:lnTo>
                    <a:pt x="3120" y="2799"/>
                  </a:lnTo>
                  <a:close/>
                  <a:moveTo>
                    <a:pt x="2414" y="4793"/>
                  </a:moveTo>
                  <a:cubicBezTo>
                    <a:pt x="2416" y="4793"/>
                    <a:pt x="2422" y="4795"/>
                    <a:pt x="2429" y="4799"/>
                  </a:cubicBezTo>
                  <a:cubicBezTo>
                    <a:pt x="2414" y="4799"/>
                    <a:pt x="2408" y="4793"/>
                    <a:pt x="2414" y="4793"/>
                  </a:cubicBezTo>
                  <a:close/>
                  <a:moveTo>
                    <a:pt x="3549" y="4620"/>
                  </a:moveTo>
                  <a:cubicBezTo>
                    <a:pt x="3549" y="4620"/>
                    <a:pt x="3572" y="4620"/>
                    <a:pt x="3572" y="4644"/>
                  </a:cubicBezTo>
                  <a:lnTo>
                    <a:pt x="3572" y="4787"/>
                  </a:lnTo>
                  <a:cubicBezTo>
                    <a:pt x="3572" y="4787"/>
                    <a:pt x="3572" y="4799"/>
                    <a:pt x="3549" y="4799"/>
                  </a:cubicBezTo>
                  <a:lnTo>
                    <a:pt x="2429" y="4799"/>
                  </a:lnTo>
                  <a:lnTo>
                    <a:pt x="2406" y="4644"/>
                  </a:lnTo>
                  <a:cubicBezTo>
                    <a:pt x="2406" y="4644"/>
                    <a:pt x="2406" y="4620"/>
                    <a:pt x="2429" y="4620"/>
                  </a:cubicBezTo>
                  <a:close/>
                  <a:moveTo>
                    <a:pt x="3251" y="5120"/>
                  </a:moveTo>
                  <a:lnTo>
                    <a:pt x="3251" y="5537"/>
                  </a:lnTo>
                  <a:lnTo>
                    <a:pt x="2727" y="5537"/>
                  </a:lnTo>
                  <a:lnTo>
                    <a:pt x="2727" y="5120"/>
                  </a:lnTo>
                  <a:close/>
                  <a:moveTo>
                    <a:pt x="3394" y="5858"/>
                  </a:moveTo>
                  <a:cubicBezTo>
                    <a:pt x="3418" y="5858"/>
                    <a:pt x="3441" y="5882"/>
                    <a:pt x="3441" y="5882"/>
                  </a:cubicBezTo>
                  <a:cubicBezTo>
                    <a:pt x="3453" y="5894"/>
                    <a:pt x="3453" y="5906"/>
                    <a:pt x="3453" y="5918"/>
                  </a:cubicBezTo>
                  <a:lnTo>
                    <a:pt x="3418" y="6811"/>
                  </a:lnTo>
                  <a:lnTo>
                    <a:pt x="2525" y="6811"/>
                  </a:lnTo>
                  <a:lnTo>
                    <a:pt x="2501" y="5918"/>
                  </a:lnTo>
                  <a:cubicBezTo>
                    <a:pt x="2501" y="5894"/>
                    <a:pt x="2513" y="5882"/>
                    <a:pt x="2513" y="5882"/>
                  </a:cubicBezTo>
                  <a:cubicBezTo>
                    <a:pt x="2513" y="5882"/>
                    <a:pt x="2537" y="5858"/>
                    <a:pt x="2560" y="5858"/>
                  </a:cubicBezTo>
                  <a:close/>
                  <a:moveTo>
                    <a:pt x="4954" y="4501"/>
                  </a:moveTo>
                  <a:lnTo>
                    <a:pt x="4954" y="6835"/>
                  </a:lnTo>
                  <a:lnTo>
                    <a:pt x="4489" y="6835"/>
                  </a:lnTo>
                  <a:lnTo>
                    <a:pt x="4489" y="4501"/>
                  </a:lnTo>
                  <a:close/>
                  <a:moveTo>
                    <a:pt x="5739" y="4501"/>
                  </a:moveTo>
                  <a:lnTo>
                    <a:pt x="5739" y="6835"/>
                  </a:lnTo>
                  <a:lnTo>
                    <a:pt x="5287" y="6835"/>
                  </a:lnTo>
                  <a:lnTo>
                    <a:pt x="5287" y="4501"/>
                  </a:lnTo>
                  <a:close/>
                  <a:moveTo>
                    <a:pt x="9252" y="1120"/>
                  </a:moveTo>
                  <a:cubicBezTo>
                    <a:pt x="9287" y="1120"/>
                    <a:pt x="9311" y="1144"/>
                    <a:pt x="9311" y="1179"/>
                  </a:cubicBezTo>
                  <a:lnTo>
                    <a:pt x="9311" y="6835"/>
                  </a:lnTo>
                  <a:lnTo>
                    <a:pt x="8335" y="6835"/>
                  </a:lnTo>
                  <a:lnTo>
                    <a:pt x="8335" y="1822"/>
                  </a:lnTo>
                  <a:cubicBezTo>
                    <a:pt x="8335" y="1691"/>
                    <a:pt x="8216" y="1572"/>
                    <a:pt x="8085" y="1572"/>
                  </a:cubicBezTo>
                  <a:lnTo>
                    <a:pt x="6692" y="1572"/>
                  </a:lnTo>
                  <a:cubicBezTo>
                    <a:pt x="6561" y="1572"/>
                    <a:pt x="6442" y="1691"/>
                    <a:pt x="6442" y="1822"/>
                  </a:cubicBezTo>
                  <a:lnTo>
                    <a:pt x="6442" y="6835"/>
                  </a:lnTo>
                  <a:lnTo>
                    <a:pt x="6061" y="6835"/>
                  </a:lnTo>
                  <a:lnTo>
                    <a:pt x="6061" y="4346"/>
                  </a:lnTo>
                  <a:cubicBezTo>
                    <a:pt x="6061" y="4311"/>
                    <a:pt x="6061" y="4299"/>
                    <a:pt x="6037" y="4263"/>
                  </a:cubicBezTo>
                  <a:cubicBezTo>
                    <a:pt x="5690" y="3506"/>
                    <a:pt x="5585" y="3288"/>
                    <a:pt x="5581" y="3288"/>
                  </a:cubicBezTo>
                  <a:lnTo>
                    <a:pt x="5581" y="3288"/>
                  </a:lnTo>
                  <a:cubicBezTo>
                    <a:pt x="5580" y="3288"/>
                    <a:pt x="5582" y="3292"/>
                    <a:pt x="5585" y="3299"/>
                  </a:cubicBezTo>
                  <a:cubicBezTo>
                    <a:pt x="5525" y="3168"/>
                    <a:pt x="5430" y="3001"/>
                    <a:pt x="5323" y="2775"/>
                  </a:cubicBezTo>
                  <a:cubicBezTo>
                    <a:pt x="5281" y="2679"/>
                    <a:pt x="5192" y="2632"/>
                    <a:pt x="5102" y="2632"/>
                  </a:cubicBezTo>
                  <a:cubicBezTo>
                    <a:pt x="5013" y="2632"/>
                    <a:pt x="4924" y="2679"/>
                    <a:pt x="4882" y="2775"/>
                  </a:cubicBezTo>
                  <a:cubicBezTo>
                    <a:pt x="4811" y="2941"/>
                    <a:pt x="4239" y="4132"/>
                    <a:pt x="4180" y="4263"/>
                  </a:cubicBezTo>
                  <a:cubicBezTo>
                    <a:pt x="4168" y="4287"/>
                    <a:pt x="4168" y="4311"/>
                    <a:pt x="4168" y="4346"/>
                  </a:cubicBezTo>
                  <a:lnTo>
                    <a:pt x="4168" y="6835"/>
                  </a:lnTo>
                  <a:lnTo>
                    <a:pt x="3739" y="6835"/>
                  </a:lnTo>
                  <a:lnTo>
                    <a:pt x="3763" y="5954"/>
                  </a:lnTo>
                  <a:cubicBezTo>
                    <a:pt x="3763" y="5847"/>
                    <a:pt x="3739" y="5739"/>
                    <a:pt x="3656" y="5668"/>
                  </a:cubicBezTo>
                  <a:cubicBezTo>
                    <a:pt x="3632" y="5644"/>
                    <a:pt x="3596" y="5608"/>
                    <a:pt x="3561" y="5597"/>
                  </a:cubicBezTo>
                  <a:lnTo>
                    <a:pt x="3561" y="5132"/>
                  </a:lnTo>
                  <a:cubicBezTo>
                    <a:pt x="3739" y="5120"/>
                    <a:pt x="3870" y="4965"/>
                    <a:pt x="3870" y="4799"/>
                  </a:cubicBezTo>
                  <a:lnTo>
                    <a:pt x="3870" y="4656"/>
                  </a:lnTo>
                  <a:cubicBezTo>
                    <a:pt x="3870" y="4477"/>
                    <a:pt x="3739" y="4323"/>
                    <a:pt x="3561" y="4323"/>
                  </a:cubicBezTo>
                  <a:lnTo>
                    <a:pt x="3561" y="4263"/>
                  </a:lnTo>
                  <a:lnTo>
                    <a:pt x="3942" y="3870"/>
                  </a:lnTo>
                  <a:cubicBezTo>
                    <a:pt x="4049" y="3763"/>
                    <a:pt x="4061" y="3608"/>
                    <a:pt x="3977" y="3489"/>
                  </a:cubicBezTo>
                  <a:lnTo>
                    <a:pt x="3120" y="2263"/>
                  </a:lnTo>
                  <a:cubicBezTo>
                    <a:pt x="3078" y="2203"/>
                    <a:pt x="3013" y="2173"/>
                    <a:pt x="2949" y="2173"/>
                  </a:cubicBezTo>
                  <a:cubicBezTo>
                    <a:pt x="2885" y="2173"/>
                    <a:pt x="2822" y="2203"/>
                    <a:pt x="2787" y="2263"/>
                  </a:cubicBezTo>
                  <a:lnTo>
                    <a:pt x="1929" y="3489"/>
                  </a:lnTo>
                  <a:cubicBezTo>
                    <a:pt x="1858" y="3608"/>
                    <a:pt x="1870" y="3775"/>
                    <a:pt x="1965" y="3870"/>
                  </a:cubicBezTo>
                  <a:lnTo>
                    <a:pt x="2346" y="4263"/>
                  </a:lnTo>
                  <a:lnTo>
                    <a:pt x="2346" y="4323"/>
                  </a:lnTo>
                  <a:cubicBezTo>
                    <a:pt x="2168" y="4346"/>
                    <a:pt x="2037" y="4489"/>
                    <a:pt x="2037" y="4656"/>
                  </a:cubicBezTo>
                  <a:lnTo>
                    <a:pt x="2037" y="4799"/>
                  </a:lnTo>
                  <a:cubicBezTo>
                    <a:pt x="2037" y="4989"/>
                    <a:pt x="2168" y="5132"/>
                    <a:pt x="2346" y="5132"/>
                  </a:cubicBezTo>
                  <a:lnTo>
                    <a:pt x="2346" y="5597"/>
                  </a:lnTo>
                  <a:cubicBezTo>
                    <a:pt x="2310" y="5608"/>
                    <a:pt x="2275" y="5644"/>
                    <a:pt x="2251" y="5668"/>
                  </a:cubicBezTo>
                  <a:cubicBezTo>
                    <a:pt x="2168" y="5739"/>
                    <a:pt x="2132" y="5847"/>
                    <a:pt x="2144" y="5954"/>
                  </a:cubicBezTo>
                  <a:lnTo>
                    <a:pt x="2168" y="6835"/>
                  </a:lnTo>
                  <a:lnTo>
                    <a:pt x="1013" y="6835"/>
                  </a:lnTo>
                  <a:lnTo>
                    <a:pt x="1013" y="1179"/>
                  </a:lnTo>
                  <a:lnTo>
                    <a:pt x="1060" y="1179"/>
                  </a:lnTo>
                  <a:cubicBezTo>
                    <a:pt x="1060" y="1144"/>
                    <a:pt x="1084" y="1120"/>
                    <a:pt x="1120" y="1120"/>
                  </a:cubicBezTo>
                  <a:close/>
                  <a:moveTo>
                    <a:pt x="8002" y="1917"/>
                  </a:moveTo>
                  <a:lnTo>
                    <a:pt x="8002" y="2644"/>
                  </a:lnTo>
                  <a:lnTo>
                    <a:pt x="7752" y="2644"/>
                  </a:lnTo>
                  <a:cubicBezTo>
                    <a:pt x="7668" y="2644"/>
                    <a:pt x="7585" y="2715"/>
                    <a:pt x="7585" y="2810"/>
                  </a:cubicBezTo>
                  <a:cubicBezTo>
                    <a:pt x="7585" y="2870"/>
                    <a:pt x="7668" y="2941"/>
                    <a:pt x="7752" y="2941"/>
                  </a:cubicBezTo>
                  <a:lnTo>
                    <a:pt x="8002" y="2941"/>
                  </a:lnTo>
                  <a:lnTo>
                    <a:pt x="8002" y="3668"/>
                  </a:lnTo>
                  <a:lnTo>
                    <a:pt x="7752" y="3668"/>
                  </a:lnTo>
                  <a:cubicBezTo>
                    <a:pt x="7668" y="3668"/>
                    <a:pt x="7585" y="3751"/>
                    <a:pt x="7585" y="3834"/>
                  </a:cubicBezTo>
                  <a:cubicBezTo>
                    <a:pt x="7585" y="3930"/>
                    <a:pt x="7668" y="4001"/>
                    <a:pt x="7752" y="4001"/>
                  </a:cubicBezTo>
                  <a:lnTo>
                    <a:pt x="8002" y="4001"/>
                  </a:lnTo>
                  <a:lnTo>
                    <a:pt x="8002" y="4727"/>
                  </a:lnTo>
                  <a:lnTo>
                    <a:pt x="7752" y="4727"/>
                  </a:lnTo>
                  <a:cubicBezTo>
                    <a:pt x="7668" y="4727"/>
                    <a:pt x="7585" y="4799"/>
                    <a:pt x="7585" y="4894"/>
                  </a:cubicBezTo>
                  <a:cubicBezTo>
                    <a:pt x="7585" y="4989"/>
                    <a:pt x="7668" y="5061"/>
                    <a:pt x="7752" y="5061"/>
                  </a:cubicBezTo>
                  <a:lnTo>
                    <a:pt x="8002" y="5061"/>
                  </a:lnTo>
                  <a:lnTo>
                    <a:pt x="8002" y="5787"/>
                  </a:lnTo>
                  <a:lnTo>
                    <a:pt x="7752" y="5787"/>
                  </a:lnTo>
                  <a:cubicBezTo>
                    <a:pt x="7668" y="5787"/>
                    <a:pt x="7585" y="5858"/>
                    <a:pt x="7585" y="5954"/>
                  </a:cubicBezTo>
                  <a:cubicBezTo>
                    <a:pt x="7585" y="6037"/>
                    <a:pt x="7668" y="6120"/>
                    <a:pt x="7752" y="6120"/>
                  </a:cubicBezTo>
                  <a:lnTo>
                    <a:pt x="8002" y="6120"/>
                  </a:lnTo>
                  <a:lnTo>
                    <a:pt x="8002" y="6847"/>
                  </a:lnTo>
                  <a:lnTo>
                    <a:pt x="6775" y="6847"/>
                  </a:lnTo>
                  <a:lnTo>
                    <a:pt x="6775" y="1917"/>
                  </a:lnTo>
                  <a:close/>
                  <a:moveTo>
                    <a:pt x="10049" y="7144"/>
                  </a:moveTo>
                  <a:lnTo>
                    <a:pt x="10049" y="8347"/>
                  </a:lnTo>
                  <a:cubicBezTo>
                    <a:pt x="10049" y="8454"/>
                    <a:pt x="9954" y="8561"/>
                    <a:pt x="9835" y="8561"/>
                  </a:cubicBezTo>
                  <a:lnTo>
                    <a:pt x="501" y="8561"/>
                  </a:lnTo>
                  <a:cubicBezTo>
                    <a:pt x="393" y="8561"/>
                    <a:pt x="298" y="8466"/>
                    <a:pt x="298" y="8347"/>
                  </a:cubicBezTo>
                  <a:lnTo>
                    <a:pt x="298" y="7144"/>
                  </a:lnTo>
                  <a:close/>
                  <a:moveTo>
                    <a:pt x="5966" y="8871"/>
                  </a:moveTo>
                  <a:lnTo>
                    <a:pt x="5966" y="9787"/>
                  </a:lnTo>
                  <a:lnTo>
                    <a:pt x="4299" y="9787"/>
                  </a:lnTo>
                  <a:lnTo>
                    <a:pt x="4299" y="8871"/>
                  </a:lnTo>
                  <a:close/>
                  <a:moveTo>
                    <a:pt x="524" y="1"/>
                  </a:moveTo>
                  <a:cubicBezTo>
                    <a:pt x="239" y="1"/>
                    <a:pt x="1" y="239"/>
                    <a:pt x="1" y="524"/>
                  </a:cubicBezTo>
                  <a:lnTo>
                    <a:pt x="1" y="8347"/>
                  </a:lnTo>
                  <a:cubicBezTo>
                    <a:pt x="1" y="8633"/>
                    <a:pt x="239" y="8871"/>
                    <a:pt x="524" y="8871"/>
                  </a:cubicBezTo>
                  <a:lnTo>
                    <a:pt x="3989" y="8871"/>
                  </a:lnTo>
                  <a:lnTo>
                    <a:pt x="3989" y="9787"/>
                  </a:lnTo>
                  <a:lnTo>
                    <a:pt x="3465" y="9787"/>
                  </a:lnTo>
                  <a:cubicBezTo>
                    <a:pt x="3215" y="9787"/>
                    <a:pt x="3001" y="10002"/>
                    <a:pt x="3001" y="10252"/>
                  </a:cubicBezTo>
                  <a:lnTo>
                    <a:pt x="3001" y="10466"/>
                  </a:lnTo>
                  <a:cubicBezTo>
                    <a:pt x="3001" y="10716"/>
                    <a:pt x="3215" y="10919"/>
                    <a:pt x="3465" y="10919"/>
                  </a:cubicBezTo>
                  <a:lnTo>
                    <a:pt x="4739" y="10919"/>
                  </a:lnTo>
                  <a:cubicBezTo>
                    <a:pt x="4835" y="10919"/>
                    <a:pt x="4906" y="10847"/>
                    <a:pt x="4906" y="10764"/>
                  </a:cubicBezTo>
                  <a:cubicBezTo>
                    <a:pt x="4906" y="10669"/>
                    <a:pt x="4835" y="10597"/>
                    <a:pt x="4739" y="10597"/>
                  </a:cubicBezTo>
                  <a:lnTo>
                    <a:pt x="3465" y="10597"/>
                  </a:lnTo>
                  <a:cubicBezTo>
                    <a:pt x="3394" y="10597"/>
                    <a:pt x="3322" y="10538"/>
                    <a:pt x="3322" y="10442"/>
                  </a:cubicBezTo>
                  <a:lnTo>
                    <a:pt x="3322" y="10240"/>
                  </a:lnTo>
                  <a:cubicBezTo>
                    <a:pt x="3322" y="10168"/>
                    <a:pt x="3382" y="10085"/>
                    <a:pt x="3465" y="10085"/>
                  </a:cubicBezTo>
                  <a:lnTo>
                    <a:pt x="6811" y="10085"/>
                  </a:lnTo>
                  <a:cubicBezTo>
                    <a:pt x="6894" y="10085"/>
                    <a:pt x="6966" y="10145"/>
                    <a:pt x="6966" y="10240"/>
                  </a:cubicBezTo>
                  <a:lnTo>
                    <a:pt x="6966" y="10442"/>
                  </a:lnTo>
                  <a:cubicBezTo>
                    <a:pt x="6966" y="10526"/>
                    <a:pt x="6906" y="10597"/>
                    <a:pt x="6811" y="10597"/>
                  </a:cubicBezTo>
                  <a:lnTo>
                    <a:pt x="5489" y="10597"/>
                  </a:lnTo>
                  <a:cubicBezTo>
                    <a:pt x="5406" y="10597"/>
                    <a:pt x="5323" y="10669"/>
                    <a:pt x="5323" y="10764"/>
                  </a:cubicBezTo>
                  <a:cubicBezTo>
                    <a:pt x="5323" y="10847"/>
                    <a:pt x="5406" y="10919"/>
                    <a:pt x="5489" y="10919"/>
                  </a:cubicBezTo>
                  <a:lnTo>
                    <a:pt x="6811" y="10919"/>
                  </a:lnTo>
                  <a:cubicBezTo>
                    <a:pt x="7073" y="10919"/>
                    <a:pt x="7275" y="10716"/>
                    <a:pt x="7275" y="10466"/>
                  </a:cubicBezTo>
                  <a:lnTo>
                    <a:pt x="7275" y="10252"/>
                  </a:lnTo>
                  <a:cubicBezTo>
                    <a:pt x="7275" y="10002"/>
                    <a:pt x="7061" y="9787"/>
                    <a:pt x="6811" y="9787"/>
                  </a:cubicBezTo>
                  <a:lnTo>
                    <a:pt x="6299" y="9787"/>
                  </a:lnTo>
                  <a:lnTo>
                    <a:pt x="6299" y="8871"/>
                  </a:lnTo>
                  <a:lnTo>
                    <a:pt x="9847" y="8871"/>
                  </a:lnTo>
                  <a:cubicBezTo>
                    <a:pt x="10133" y="8871"/>
                    <a:pt x="10371" y="8633"/>
                    <a:pt x="10371" y="8347"/>
                  </a:cubicBezTo>
                  <a:lnTo>
                    <a:pt x="10371" y="4727"/>
                  </a:lnTo>
                  <a:cubicBezTo>
                    <a:pt x="10371" y="4644"/>
                    <a:pt x="10299" y="4573"/>
                    <a:pt x="10204" y="4573"/>
                  </a:cubicBezTo>
                  <a:cubicBezTo>
                    <a:pt x="10121" y="4573"/>
                    <a:pt x="10049" y="4644"/>
                    <a:pt x="10049" y="4727"/>
                  </a:cubicBezTo>
                  <a:lnTo>
                    <a:pt x="10049" y="6811"/>
                  </a:lnTo>
                  <a:lnTo>
                    <a:pt x="9633" y="6811"/>
                  </a:lnTo>
                  <a:lnTo>
                    <a:pt x="9633" y="1155"/>
                  </a:lnTo>
                  <a:cubicBezTo>
                    <a:pt x="9633" y="953"/>
                    <a:pt x="9466" y="786"/>
                    <a:pt x="9252" y="786"/>
                  </a:cubicBezTo>
                  <a:lnTo>
                    <a:pt x="1120" y="786"/>
                  </a:lnTo>
                  <a:cubicBezTo>
                    <a:pt x="905" y="786"/>
                    <a:pt x="739" y="953"/>
                    <a:pt x="739" y="1155"/>
                  </a:cubicBezTo>
                  <a:lnTo>
                    <a:pt x="739" y="6811"/>
                  </a:lnTo>
                  <a:lnTo>
                    <a:pt x="322" y="6811"/>
                  </a:lnTo>
                  <a:lnTo>
                    <a:pt x="322" y="524"/>
                  </a:lnTo>
                  <a:cubicBezTo>
                    <a:pt x="322" y="417"/>
                    <a:pt x="417" y="310"/>
                    <a:pt x="536" y="310"/>
                  </a:cubicBezTo>
                  <a:lnTo>
                    <a:pt x="9871" y="310"/>
                  </a:lnTo>
                  <a:cubicBezTo>
                    <a:pt x="9966" y="310"/>
                    <a:pt x="10073" y="405"/>
                    <a:pt x="10073" y="524"/>
                  </a:cubicBezTo>
                  <a:lnTo>
                    <a:pt x="10073" y="3977"/>
                  </a:lnTo>
                  <a:cubicBezTo>
                    <a:pt x="10049" y="4073"/>
                    <a:pt x="10121" y="4156"/>
                    <a:pt x="10204" y="4156"/>
                  </a:cubicBezTo>
                  <a:cubicBezTo>
                    <a:pt x="10299" y="4156"/>
                    <a:pt x="10371" y="4073"/>
                    <a:pt x="10371" y="3989"/>
                  </a:cubicBezTo>
                  <a:lnTo>
                    <a:pt x="10371" y="524"/>
                  </a:lnTo>
                  <a:cubicBezTo>
                    <a:pt x="10371" y="239"/>
                    <a:pt x="10133" y="1"/>
                    <a:pt x="984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7" name="Google Shape;13407;p64"/>
            <p:cNvSpPr/>
            <p:nvPr/>
          </p:nvSpPr>
          <p:spPr>
            <a:xfrm>
              <a:off x="8168579" y="3016952"/>
              <a:ext cx="32" cy="32"/>
            </a:xfrm>
            <a:custGeom>
              <a:avLst/>
              <a:gdLst/>
              <a:ahLst/>
              <a:cxnLst/>
              <a:rect l="l" t="t" r="r" b="b"/>
              <a:pathLst>
                <a:path w="1" h="1" extrusionOk="0">
                  <a:moveTo>
                    <a:pt x="0" y="1"/>
                  </a:moveTo>
                  <a:lnTo>
                    <a:pt x="0"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8" name="Google Shape;13408;p64"/>
            <p:cNvSpPr/>
            <p:nvPr/>
          </p:nvSpPr>
          <p:spPr>
            <a:xfrm>
              <a:off x="8168579" y="3017715"/>
              <a:ext cx="32" cy="32"/>
            </a:xfrm>
            <a:custGeom>
              <a:avLst/>
              <a:gdLst/>
              <a:ahLst/>
              <a:cxnLst/>
              <a:rect l="l" t="t" r="r" b="b"/>
              <a:pathLst>
                <a:path w="1" h="1" extrusionOk="0">
                  <a:moveTo>
                    <a:pt x="0" y="1"/>
                  </a:move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09" name="Google Shape;13409;p64"/>
          <p:cNvGrpSpPr/>
          <p:nvPr/>
        </p:nvGrpSpPr>
        <p:grpSpPr>
          <a:xfrm>
            <a:off x="7990840" y="2435226"/>
            <a:ext cx="354363" cy="353631"/>
            <a:chOff x="7990840" y="2435226"/>
            <a:chExt cx="354363" cy="353631"/>
          </a:xfrm>
        </p:grpSpPr>
        <p:sp>
          <p:nvSpPr>
            <p:cNvPr id="13410" name="Google Shape;13410;p64"/>
            <p:cNvSpPr/>
            <p:nvPr/>
          </p:nvSpPr>
          <p:spPr>
            <a:xfrm>
              <a:off x="7990840" y="2435226"/>
              <a:ext cx="354363" cy="353631"/>
            </a:xfrm>
            <a:custGeom>
              <a:avLst/>
              <a:gdLst/>
              <a:ahLst/>
              <a:cxnLst/>
              <a:rect l="l" t="t" r="r" b="b"/>
              <a:pathLst>
                <a:path w="11133" h="11110" extrusionOk="0">
                  <a:moveTo>
                    <a:pt x="3477" y="1727"/>
                  </a:moveTo>
                  <a:cubicBezTo>
                    <a:pt x="3679" y="1727"/>
                    <a:pt x="3834" y="1894"/>
                    <a:pt x="3834" y="2084"/>
                  </a:cubicBezTo>
                  <a:lnTo>
                    <a:pt x="3834" y="2430"/>
                  </a:lnTo>
                  <a:cubicBezTo>
                    <a:pt x="3834" y="2727"/>
                    <a:pt x="3596" y="2965"/>
                    <a:pt x="3298" y="2965"/>
                  </a:cubicBezTo>
                  <a:cubicBezTo>
                    <a:pt x="3024" y="2965"/>
                    <a:pt x="2786" y="2727"/>
                    <a:pt x="2786" y="2430"/>
                  </a:cubicBezTo>
                  <a:lnTo>
                    <a:pt x="2786" y="2084"/>
                  </a:lnTo>
                  <a:cubicBezTo>
                    <a:pt x="2786" y="1894"/>
                    <a:pt x="2941" y="1727"/>
                    <a:pt x="3143" y="1727"/>
                  </a:cubicBezTo>
                  <a:close/>
                  <a:moveTo>
                    <a:pt x="3477" y="3299"/>
                  </a:moveTo>
                  <a:lnTo>
                    <a:pt x="3477" y="3311"/>
                  </a:lnTo>
                  <a:cubicBezTo>
                    <a:pt x="3501" y="3382"/>
                    <a:pt x="3513" y="3454"/>
                    <a:pt x="3536" y="3537"/>
                  </a:cubicBezTo>
                  <a:lnTo>
                    <a:pt x="3322" y="3751"/>
                  </a:lnTo>
                  <a:lnTo>
                    <a:pt x="3286" y="3751"/>
                  </a:lnTo>
                  <a:lnTo>
                    <a:pt x="3060" y="3537"/>
                  </a:lnTo>
                  <a:cubicBezTo>
                    <a:pt x="3096" y="3489"/>
                    <a:pt x="3108" y="3430"/>
                    <a:pt x="3108" y="3370"/>
                  </a:cubicBezTo>
                  <a:lnTo>
                    <a:pt x="3108" y="3299"/>
                  </a:lnTo>
                  <a:close/>
                  <a:moveTo>
                    <a:pt x="5418" y="4966"/>
                  </a:moveTo>
                  <a:lnTo>
                    <a:pt x="5418" y="7025"/>
                  </a:lnTo>
                  <a:lnTo>
                    <a:pt x="5406" y="7025"/>
                  </a:lnTo>
                  <a:lnTo>
                    <a:pt x="4346" y="7787"/>
                  </a:lnTo>
                  <a:lnTo>
                    <a:pt x="4346" y="5180"/>
                  </a:lnTo>
                  <a:cubicBezTo>
                    <a:pt x="4429" y="5239"/>
                    <a:pt x="4536" y="5287"/>
                    <a:pt x="4656" y="5299"/>
                  </a:cubicBezTo>
                  <a:lnTo>
                    <a:pt x="4786" y="5299"/>
                  </a:lnTo>
                  <a:cubicBezTo>
                    <a:pt x="4929" y="5287"/>
                    <a:pt x="5060" y="5239"/>
                    <a:pt x="5167" y="5156"/>
                  </a:cubicBezTo>
                  <a:lnTo>
                    <a:pt x="5418" y="4966"/>
                  </a:lnTo>
                  <a:close/>
                  <a:moveTo>
                    <a:pt x="2846" y="3739"/>
                  </a:moveTo>
                  <a:lnTo>
                    <a:pt x="3096" y="3989"/>
                  </a:lnTo>
                  <a:cubicBezTo>
                    <a:pt x="3155" y="4049"/>
                    <a:pt x="3239" y="4096"/>
                    <a:pt x="3334" y="4096"/>
                  </a:cubicBezTo>
                  <a:cubicBezTo>
                    <a:pt x="3417" y="4096"/>
                    <a:pt x="3513" y="4073"/>
                    <a:pt x="3572" y="3989"/>
                  </a:cubicBezTo>
                  <a:lnTo>
                    <a:pt x="3798" y="3775"/>
                  </a:lnTo>
                  <a:cubicBezTo>
                    <a:pt x="3870" y="3799"/>
                    <a:pt x="3941" y="3823"/>
                    <a:pt x="4013" y="3823"/>
                  </a:cubicBezTo>
                  <a:cubicBezTo>
                    <a:pt x="4072" y="3823"/>
                    <a:pt x="4120" y="3858"/>
                    <a:pt x="4167" y="3906"/>
                  </a:cubicBezTo>
                  <a:lnTo>
                    <a:pt x="4644" y="4501"/>
                  </a:lnTo>
                  <a:cubicBezTo>
                    <a:pt x="4676" y="4541"/>
                    <a:pt x="4724" y="4558"/>
                    <a:pt x="4769" y="4558"/>
                  </a:cubicBezTo>
                  <a:cubicBezTo>
                    <a:pt x="4807" y="4558"/>
                    <a:pt x="4843" y="4547"/>
                    <a:pt x="4870" y="4525"/>
                  </a:cubicBezTo>
                  <a:lnTo>
                    <a:pt x="5441" y="4061"/>
                  </a:lnTo>
                  <a:cubicBezTo>
                    <a:pt x="5483" y="4031"/>
                    <a:pt x="5534" y="4016"/>
                    <a:pt x="5581" y="4016"/>
                  </a:cubicBezTo>
                  <a:cubicBezTo>
                    <a:pt x="5629" y="4016"/>
                    <a:pt x="5674" y="4031"/>
                    <a:pt x="5703" y="4061"/>
                  </a:cubicBezTo>
                  <a:cubicBezTo>
                    <a:pt x="5739" y="4108"/>
                    <a:pt x="5763" y="4156"/>
                    <a:pt x="5763" y="4216"/>
                  </a:cubicBezTo>
                  <a:cubicBezTo>
                    <a:pt x="5739" y="4227"/>
                    <a:pt x="5727" y="4275"/>
                    <a:pt x="5679" y="4311"/>
                  </a:cubicBezTo>
                  <a:lnTo>
                    <a:pt x="4953" y="4882"/>
                  </a:lnTo>
                  <a:cubicBezTo>
                    <a:pt x="4894" y="4930"/>
                    <a:pt x="4834" y="4966"/>
                    <a:pt x="4763" y="4966"/>
                  </a:cubicBezTo>
                  <a:lnTo>
                    <a:pt x="4691" y="4966"/>
                  </a:lnTo>
                  <a:cubicBezTo>
                    <a:pt x="4596" y="4942"/>
                    <a:pt x="4513" y="4906"/>
                    <a:pt x="4453" y="4823"/>
                  </a:cubicBezTo>
                  <a:lnTo>
                    <a:pt x="4310" y="4644"/>
                  </a:lnTo>
                  <a:cubicBezTo>
                    <a:pt x="4288" y="4607"/>
                    <a:pt x="4247" y="4588"/>
                    <a:pt x="4205" y="4588"/>
                  </a:cubicBezTo>
                  <a:cubicBezTo>
                    <a:pt x="4180" y="4588"/>
                    <a:pt x="4154" y="4595"/>
                    <a:pt x="4132" y="4608"/>
                  </a:cubicBezTo>
                  <a:cubicBezTo>
                    <a:pt x="4072" y="4632"/>
                    <a:pt x="4036" y="4692"/>
                    <a:pt x="4036" y="4751"/>
                  </a:cubicBezTo>
                  <a:lnTo>
                    <a:pt x="4036" y="8014"/>
                  </a:lnTo>
                  <a:lnTo>
                    <a:pt x="3655" y="8276"/>
                  </a:lnTo>
                  <a:lnTo>
                    <a:pt x="3655" y="6763"/>
                  </a:lnTo>
                  <a:cubicBezTo>
                    <a:pt x="3655" y="6668"/>
                    <a:pt x="3584" y="6597"/>
                    <a:pt x="3501" y="6597"/>
                  </a:cubicBezTo>
                  <a:cubicBezTo>
                    <a:pt x="3405" y="6597"/>
                    <a:pt x="3334" y="6668"/>
                    <a:pt x="3334" y="6763"/>
                  </a:cubicBezTo>
                  <a:lnTo>
                    <a:pt x="3334" y="8502"/>
                  </a:lnTo>
                  <a:lnTo>
                    <a:pt x="2798" y="8895"/>
                  </a:lnTo>
                  <a:lnTo>
                    <a:pt x="2798" y="6811"/>
                  </a:lnTo>
                  <a:cubicBezTo>
                    <a:pt x="2798" y="6644"/>
                    <a:pt x="2751" y="6490"/>
                    <a:pt x="2691" y="6347"/>
                  </a:cubicBezTo>
                  <a:lnTo>
                    <a:pt x="2524" y="6013"/>
                  </a:lnTo>
                  <a:cubicBezTo>
                    <a:pt x="2489" y="5918"/>
                    <a:pt x="2453" y="5811"/>
                    <a:pt x="2453" y="5704"/>
                  </a:cubicBezTo>
                  <a:lnTo>
                    <a:pt x="2453" y="4037"/>
                  </a:lnTo>
                  <a:cubicBezTo>
                    <a:pt x="2453" y="3966"/>
                    <a:pt x="2500" y="3906"/>
                    <a:pt x="2560" y="3870"/>
                  </a:cubicBezTo>
                  <a:lnTo>
                    <a:pt x="2846" y="3739"/>
                  </a:lnTo>
                  <a:close/>
                  <a:moveTo>
                    <a:pt x="5560" y="1"/>
                  </a:moveTo>
                  <a:cubicBezTo>
                    <a:pt x="5477" y="1"/>
                    <a:pt x="5406" y="84"/>
                    <a:pt x="5406" y="167"/>
                  </a:cubicBezTo>
                  <a:lnTo>
                    <a:pt x="5406" y="3680"/>
                  </a:lnTo>
                  <a:cubicBezTo>
                    <a:pt x="5346" y="3692"/>
                    <a:pt x="5287" y="3727"/>
                    <a:pt x="5239" y="3775"/>
                  </a:cubicBezTo>
                  <a:lnTo>
                    <a:pt x="4775" y="4132"/>
                  </a:lnTo>
                  <a:lnTo>
                    <a:pt x="4405" y="3656"/>
                  </a:lnTo>
                  <a:cubicBezTo>
                    <a:pt x="4298" y="3537"/>
                    <a:pt x="4167" y="3454"/>
                    <a:pt x="4001" y="3454"/>
                  </a:cubicBezTo>
                  <a:cubicBezTo>
                    <a:pt x="3894" y="3454"/>
                    <a:pt x="3822" y="3370"/>
                    <a:pt x="3822" y="3275"/>
                  </a:cubicBezTo>
                  <a:lnTo>
                    <a:pt x="3822" y="3096"/>
                  </a:lnTo>
                  <a:cubicBezTo>
                    <a:pt x="4036" y="2953"/>
                    <a:pt x="4167" y="2703"/>
                    <a:pt x="4167" y="2418"/>
                  </a:cubicBezTo>
                  <a:lnTo>
                    <a:pt x="4167" y="2072"/>
                  </a:lnTo>
                  <a:cubicBezTo>
                    <a:pt x="4167" y="1703"/>
                    <a:pt x="3858" y="1394"/>
                    <a:pt x="3477" y="1394"/>
                  </a:cubicBezTo>
                  <a:lnTo>
                    <a:pt x="3143" y="1394"/>
                  </a:lnTo>
                  <a:cubicBezTo>
                    <a:pt x="2762" y="1394"/>
                    <a:pt x="2453" y="1703"/>
                    <a:pt x="2453" y="2072"/>
                  </a:cubicBezTo>
                  <a:lnTo>
                    <a:pt x="2453" y="2418"/>
                  </a:lnTo>
                  <a:cubicBezTo>
                    <a:pt x="2453" y="2703"/>
                    <a:pt x="2584" y="2953"/>
                    <a:pt x="2798" y="3096"/>
                  </a:cubicBezTo>
                  <a:lnTo>
                    <a:pt x="2798" y="3358"/>
                  </a:lnTo>
                  <a:lnTo>
                    <a:pt x="2798" y="3370"/>
                  </a:lnTo>
                  <a:lnTo>
                    <a:pt x="2393" y="3573"/>
                  </a:lnTo>
                  <a:cubicBezTo>
                    <a:pt x="2215" y="3668"/>
                    <a:pt x="2108" y="3846"/>
                    <a:pt x="2108" y="4037"/>
                  </a:cubicBezTo>
                  <a:lnTo>
                    <a:pt x="2108" y="5704"/>
                  </a:lnTo>
                  <a:cubicBezTo>
                    <a:pt x="2108" y="5871"/>
                    <a:pt x="2155" y="6013"/>
                    <a:pt x="2215" y="6168"/>
                  </a:cubicBezTo>
                  <a:lnTo>
                    <a:pt x="2381" y="6490"/>
                  </a:lnTo>
                  <a:cubicBezTo>
                    <a:pt x="2429" y="6597"/>
                    <a:pt x="2453" y="6704"/>
                    <a:pt x="2453" y="6811"/>
                  </a:cubicBezTo>
                  <a:lnTo>
                    <a:pt x="2453" y="9133"/>
                  </a:lnTo>
                  <a:lnTo>
                    <a:pt x="84" y="10812"/>
                  </a:lnTo>
                  <a:cubicBezTo>
                    <a:pt x="12" y="10859"/>
                    <a:pt x="0" y="10954"/>
                    <a:pt x="48" y="11038"/>
                  </a:cubicBezTo>
                  <a:cubicBezTo>
                    <a:pt x="69" y="11081"/>
                    <a:pt x="116" y="11102"/>
                    <a:pt x="166" y="11102"/>
                  </a:cubicBezTo>
                  <a:cubicBezTo>
                    <a:pt x="199" y="11102"/>
                    <a:pt x="234" y="11093"/>
                    <a:pt x="262" y="11074"/>
                  </a:cubicBezTo>
                  <a:lnTo>
                    <a:pt x="5548" y="7323"/>
                  </a:lnTo>
                  <a:lnTo>
                    <a:pt x="10835" y="11074"/>
                  </a:lnTo>
                  <a:cubicBezTo>
                    <a:pt x="10859" y="11097"/>
                    <a:pt x="10894" y="11109"/>
                    <a:pt x="10918" y="11109"/>
                  </a:cubicBezTo>
                  <a:cubicBezTo>
                    <a:pt x="10966" y="11109"/>
                    <a:pt x="11025" y="11074"/>
                    <a:pt x="11061" y="11038"/>
                  </a:cubicBezTo>
                  <a:cubicBezTo>
                    <a:pt x="11133" y="10954"/>
                    <a:pt x="11121" y="10859"/>
                    <a:pt x="11037" y="10812"/>
                  </a:cubicBezTo>
                  <a:lnTo>
                    <a:pt x="5727" y="7049"/>
                  </a:lnTo>
                  <a:lnTo>
                    <a:pt x="5727" y="4692"/>
                  </a:lnTo>
                  <a:lnTo>
                    <a:pt x="5882" y="4573"/>
                  </a:lnTo>
                  <a:cubicBezTo>
                    <a:pt x="6001" y="4477"/>
                    <a:pt x="6072" y="4335"/>
                    <a:pt x="6072" y="4180"/>
                  </a:cubicBezTo>
                  <a:cubicBezTo>
                    <a:pt x="6072" y="4037"/>
                    <a:pt x="6013" y="3882"/>
                    <a:pt x="5906" y="3787"/>
                  </a:cubicBezTo>
                  <a:cubicBezTo>
                    <a:pt x="5858" y="3739"/>
                    <a:pt x="5787" y="3704"/>
                    <a:pt x="5727" y="3680"/>
                  </a:cubicBezTo>
                  <a:lnTo>
                    <a:pt x="5727" y="667"/>
                  </a:lnTo>
                  <a:lnTo>
                    <a:pt x="7906" y="667"/>
                  </a:lnTo>
                  <a:lnTo>
                    <a:pt x="7680" y="1132"/>
                  </a:lnTo>
                  <a:cubicBezTo>
                    <a:pt x="7644" y="1179"/>
                    <a:pt x="7644" y="1239"/>
                    <a:pt x="7680" y="1287"/>
                  </a:cubicBezTo>
                  <a:lnTo>
                    <a:pt x="7906" y="1751"/>
                  </a:lnTo>
                  <a:lnTo>
                    <a:pt x="6251" y="1751"/>
                  </a:lnTo>
                  <a:cubicBezTo>
                    <a:pt x="6156" y="1751"/>
                    <a:pt x="6084" y="1822"/>
                    <a:pt x="6084" y="1906"/>
                  </a:cubicBezTo>
                  <a:cubicBezTo>
                    <a:pt x="6084" y="2001"/>
                    <a:pt x="6156" y="2072"/>
                    <a:pt x="6251" y="2072"/>
                  </a:cubicBezTo>
                  <a:lnTo>
                    <a:pt x="8156" y="2072"/>
                  </a:lnTo>
                  <a:cubicBezTo>
                    <a:pt x="8215" y="2072"/>
                    <a:pt x="8263" y="2049"/>
                    <a:pt x="8287" y="2001"/>
                  </a:cubicBezTo>
                  <a:cubicBezTo>
                    <a:pt x="8323" y="1953"/>
                    <a:pt x="8323" y="1894"/>
                    <a:pt x="8287" y="1834"/>
                  </a:cubicBezTo>
                  <a:lnTo>
                    <a:pt x="7977" y="1215"/>
                  </a:lnTo>
                  <a:lnTo>
                    <a:pt x="8287" y="584"/>
                  </a:lnTo>
                  <a:cubicBezTo>
                    <a:pt x="8323" y="537"/>
                    <a:pt x="8323" y="477"/>
                    <a:pt x="8287" y="417"/>
                  </a:cubicBezTo>
                  <a:cubicBezTo>
                    <a:pt x="8263" y="382"/>
                    <a:pt x="8204" y="346"/>
                    <a:pt x="8156" y="346"/>
                  </a:cubicBezTo>
                  <a:lnTo>
                    <a:pt x="5727" y="346"/>
                  </a:lnTo>
                  <a:lnTo>
                    <a:pt x="5727" y="167"/>
                  </a:lnTo>
                  <a:cubicBezTo>
                    <a:pt x="5727" y="84"/>
                    <a:pt x="5656" y="1"/>
                    <a:pt x="55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1" name="Google Shape;13411;p64"/>
            <p:cNvSpPr/>
            <p:nvPr/>
          </p:nvSpPr>
          <p:spPr>
            <a:xfrm>
              <a:off x="8190160" y="2704158"/>
              <a:ext cx="61814" cy="45644"/>
            </a:xfrm>
            <a:custGeom>
              <a:avLst/>
              <a:gdLst/>
              <a:ahLst/>
              <a:cxnLst/>
              <a:rect l="l" t="t" r="r" b="b"/>
              <a:pathLst>
                <a:path w="1942" h="1434" extrusionOk="0">
                  <a:moveTo>
                    <a:pt x="173" y="0"/>
                  </a:moveTo>
                  <a:cubicBezTo>
                    <a:pt x="123" y="0"/>
                    <a:pt x="77" y="22"/>
                    <a:pt x="48" y="65"/>
                  </a:cubicBezTo>
                  <a:cubicBezTo>
                    <a:pt x="1" y="148"/>
                    <a:pt x="13" y="243"/>
                    <a:pt x="96" y="291"/>
                  </a:cubicBezTo>
                  <a:lnTo>
                    <a:pt x="1668" y="1410"/>
                  </a:lnTo>
                  <a:cubicBezTo>
                    <a:pt x="1703" y="1422"/>
                    <a:pt x="1727" y="1434"/>
                    <a:pt x="1763" y="1434"/>
                  </a:cubicBezTo>
                  <a:cubicBezTo>
                    <a:pt x="1799" y="1434"/>
                    <a:pt x="1858" y="1410"/>
                    <a:pt x="1894" y="1362"/>
                  </a:cubicBezTo>
                  <a:cubicBezTo>
                    <a:pt x="1942" y="1291"/>
                    <a:pt x="1918" y="1196"/>
                    <a:pt x="1846" y="1136"/>
                  </a:cubicBezTo>
                  <a:lnTo>
                    <a:pt x="275" y="29"/>
                  </a:lnTo>
                  <a:cubicBezTo>
                    <a:pt x="241" y="10"/>
                    <a:pt x="206"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2" name="Google Shape;13412;p64"/>
            <p:cNvSpPr/>
            <p:nvPr/>
          </p:nvSpPr>
          <p:spPr>
            <a:xfrm>
              <a:off x="8162882" y="2684201"/>
              <a:ext cx="22026" cy="18239"/>
            </a:xfrm>
            <a:custGeom>
              <a:avLst/>
              <a:gdLst/>
              <a:ahLst/>
              <a:cxnLst/>
              <a:rect l="l" t="t" r="r" b="b"/>
              <a:pathLst>
                <a:path w="692" h="573" extrusionOk="0">
                  <a:moveTo>
                    <a:pt x="177" y="0"/>
                  </a:moveTo>
                  <a:cubicBezTo>
                    <a:pt x="123" y="0"/>
                    <a:pt x="67" y="26"/>
                    <a:pt x="36" y="73"/>
                  </a:cubicBezTo>
                  <a:cubicBezTo>
                    <a:pt x="1" y="144"/>
                    <a:pt x="13" y="251"/>
                    <a:pt x="84" y="299"/>
                  </a:cubicBezTo>
                  <a:lnTo>
                    <a:pt x="429" y="549"/>
                  </a:lnTo>
                  <a:cubicBezTo>
                    <a:pt x="453" y="561"/>
                    <a:pt x="489" y="573"/>
                    <a:pt x="513" y="573"/>
                  </a:cubicBezTo>
                  <a:cubicBezTo>
                    <a:pt x="560" y="573"/>
                    <a:pt x="620" y="549"/>
                    <a:pt x="655" y="501"/>
                  </a:cubicBezTo>
                  <a:cubicBezTo>
                    <a:pt x="691" y="430"/>
                    <a:pt x="679" y="323"/>
                    <a:pt x="608" y="275"/>
                  </a:cubicBezTo>
                  <a:lnTo>
                    <a:pt x="263" y="25"/>
                  </a:lnTo>
                  <a:cubicBezTo>
                    <a:pt x="237" y="8"/>
                    <a:pt x="207" y="0"/>
                    <a:pt x="1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3" name="Google Shape;13413;p64"/>
          <p:cNvGrpSpPr/>
          <p:nvPr/>
        </p:nvGrpSpPr>
        <p:grpSpPr>
          <a:xfrm>
            <a:off x="1817317" y="2480330"/>
            <a:ext cx="350958" cy="263043"/>
            <a:chOff x="1817317" y="2480330"/>
            <a:chExt cx="350958" cy="263043"/>
          </a:xfrm>
        </p:grpSpPr>
        <p:sp>
          <p:nvSpPr>
            <p:cNvPr id="13414" name="Google Shape;13414;p64"/>
            <p:cNvSpPr/>
            <p:nvPr/>
          </p:nvSpPr>
          <p:spPr>
            <a:xfrm>
              <a:off x="1817317" y="2480330"/>
              <a:ext cx="350958" cy="191426"/>
            </a:xfrm>
            <a:custGeom>
              <a:avLst/>
              <a:gdLst/>
              <a:ahLst/>
              <a:cxnLst/>
              <a:rect l="l" t="t" r="r" b="b"/>
              <a:pathLst>
                <a:path w="11026" h="6014" extrusionOk="0">
                  <a:moveTo>
                    <a:pt x="4477" y="1"/>
                  </a:moveTo>
                  <a:cubicBezTo>
                    <a:pt x="3918" y="1"/>
                    <a:pt x="3382" y="179"/>
                    <a:pt x="2917" y="524"/>
                  </a:cubicBezTo>
                  <a:cubicBezTo>
                    <a:pt x="2513" y="834"/>
                    <a:pt x="2203" y="1251"/>
                    <a:pt x="2036" y="1727"/>
                  </a:cubicBezTo>
                  <a:cubicBezTo>
                    <a:pt x="905" y="1787"/>
                    <a:pt x="0" y="2727"/>
                    <a:pt x="0" y="3870"/>
                  </a:cubicBezTo>
                  <a:cubicBezTo>
                    <a:pt x="0" y="5061"/>
                    <a:pt x="965" y="6013"/>
                    <a:pt x="2143" y="6013"/>
                  </a:cubicBezTo>
                  <a:lnTo>
                    <a:pt x="2917" y="6013"/>
                  </a:lnTo>
                  <a:cubicBezTo>
                    <a:pt x="3001" y="6013"/>
                    <a:pt x="3084" y="5942"/>
                    <a:pt x="3084" y="5847"/>
                  </a:cubicBezTo>
                  <a:cubicBezTo>
                    <a:pt x="3084" y="5763"/>
                    <a:pt x="3001" y="5692"/>
                    <a:pt x="2917" y="5692"/>
                  </a:cubicBezTo>
                  <a:lnTo>
                    <a:pt x="2143" y="5692"/>
                  </a:lnTo>
                  <a:cubicBezTo>
                    <a:pt x="1131" y="5692"/>
                    <a:pt x="310" y="4870"/>
                    <a:pt x="310" y="3858"/>
                  </a:cubicBezTo>
                  <a:cubicBezTo>
                    <a:pt x="310" y="2846"/>
                    <a:pt x="1131" y="2025"/>
                    <a:pt x="2132" y="2025"/>
                  </a:cubicBezTo>
                  <a:lnTo>
                    <a:pt x="2143" y="2025"/>
                  </a:lnTo>
                  <a:cubicBezTo>
                    <a:pt x="2215" y="2025"/>
                    <a:pt x="2274" y="1977"/>
                    <a:pt x="2286" y="1906"/>
                  </a:cubicBezTo>
                  <a:cubicBezTo>
                    <a:pt x="2429" y="1441"/>
                    <a:pt x="2703" y="1036"/>
                    <a:pt x="3096" y="739"/>
                  </a:cubicBezTo>
                  <a:cubicBezTo>
                    <a:pt x="3477" y="441"/>
                    <a:pt x="3953" y="286"/>
                    <a:pt x="4453" y="286"/>
                  </a:cubicBezTo>
                  <a:cubicBezTo>
                    <a:pt x="5239" y="286"/>
                    <a:pt x="5953" y="679"/>
                    <a:pt x="6370" y="1334"/>
                  </a:cubicBezTo>
                  <a:cubicBezTo>
                    <a:pt x="6412" y="1386"/>
                    <a:pt x="6471" y="1420"/>
                    <a:pt x="6533" y="1420"/>
                  </a:cubicBezTo>
                  <a:cubicBezTo>
                    <a:pt x="6542" y="1420"/>
                    <a:pt x="6551" y="1419"/>
                    <a:pt x="6561" y="1417"/>
                  </a:cubicBezTo>
                  <a:cubicBezTo>
                    <a:pt x="6751" y="1358"/>
                    <a:pt x="6954" y="1322"/>
                    <a:pt x="7144" y="1322"/>
                  </a:cubicBezTo>
                  <a:cubicBezTo>
                    <a:pt x="7942" y="1322"/>
                    <a:pt x="8644" y="1846"/>
                    <a:pt x="8882" y="2608"/>
                  </a:cubicBezTo>
                  <a:cubicBezTo>
                    <a:pt x="8918" y="2679"/>
                    <a:pt x="8978" y="2727"/>
                    <a:pt x="9061" y="2727"/>
                  </a:cubicBezTo>
                  <a:cubicBezTo>
                    <a:pt x="9121" y="2727"/>
                    <a:pt x="9168" y="2703"/>
                    <a:pt x="9228" y="2703"/>
                  </a:cubicBezTo>
                  <a:cubicBezTo>
                    <a:pt x="10049" y="2703"/>
                    <a:pt x="10704" y="3382"/>
                    <a:pt x="10704" y="4180"/>
                  </a:cubicBezTo>
                  <a:cubicBezTo>
                    <a:pt x="10704" y="4989"/>
                    <a:pt x="10025" y="5656"/>
                    <a:pt x="9228" y="5656"/>
                  </a:cubicBezTo>
                  <a:lnTo>
                    <a:pt x="8109" y="5656"/>
                  </a:lnTo>
                  <a:cubicBezTo>
                    <a:pt x="8025" y="5656"/>
                    <a:pt x="7942" y="5727"/>
                    <a:pt x="7942" y="5823"/>
                  </a:cubicBezTo>
                  <a:cubicBezTo>
                    <a:pt x="7942" y="5906"/>
                    <a:pt x="8025" y="5978"/>
                    <a:pt x="8109" y="5978"/>
                  </a:cubicBezTo>
                  <a:lnTo>
                    <a:pt x="9228" y="5978"/>
                  </a:lnTo>
                  <a:cubicBezTo>
                    <a:pt x="10228" y="5978"/>
                    <a:pt x="11026" y="5180"/>
                    <a:pt x="11026" y="4180"/>
                  </a:cubicBezTo>
                  <a:cubicBezTo>
                    <a:pt x="11026" y="3180"/>
                    <a:pt x="10204" y="2429"/>
                    <a:pt x="9228" y="2429"/>
                  </a:cubicBezTo>
                  <a:lnTo>
                    <a:pt x="9168" y="2429"/>
                  </a:lnTo>
                  <a:cubicBezTo>
                    <a:pt x="9013" y="2060"/>
                    <a:pt x="8763" y="1715"/>
                    <a:pt x="8442" y="1477"/>
                  </a:cubicBezTo>
                  <a:cubicBezTo>
                    <a:pt x="8061" y="1191"/>
                    <a:pt x="7620" y="1048"/>
                    <a:pt x="7156" y="1048"/>
                  </a:cubicBezTo>
                  <a:cubicBezTo>
                    <a:pt x="6966" y="1048"/>
                    <a:pt x="6787" y="1072"/>
                    <a:pt x="6596" y="1120"/>
                  </a:cubicBezTo>
                  <a:cubicBezTo>
                    <a:pt x="6096" y="417"/>
                    <a:pt x="5322"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5" name="Google Shape;13415;p64"/>
            <p:cNvSpPr/>
            <p:nvPr/>
          </p:nvSpPr>
          <p:spPr>
            <a:xfrm>
              <a:off x="1926844" y="2568626"/>
              <a:ext cx="131140" cy="174747"/>
            </a:xfrm>
            <a:custGeom>
              <a:avLst/>
              <a:gdLst/>
              <a:ahLst/>
              <a:cxnLst/>
              <a:rect l="l" t="t" r="r" b="b"/>
              <a:pathLst>
                <a:path w="4120" h="5490" extrusionOk="0">
                  <a:moveTo>
                    <a:pt x="2417" y="322"/>
                  </a:moveTo>
                  <a:lnTo>
                    <a:pt x="2417" y="1370"/>
                  </a:lnTo>
                  <a:cubicBezTo>
                    <a:pt x="2417" y="1537"/>
                    <a:pt x="2572" y="1691"/>
                    <a:pt x="2751" y="1691"/>
                  </a:cubicBezTo>
                  <a:lnTo>
                    <a:pt x="3274" y="1691"/>
                  </a:lnTo>
                  <a:cubicBezTo>
                    <a:pt x="3358" y="1691"/>
                    <a:pt x="3429" y="1620"/>
                    <a:pt x="3429" y="1525"/>
                  </a:cubicBezTo>
                  <a:cubicBezTo>
                    <a:pt x="3429" y="1441"/>
                    <a:pt x="3358" y="1358"/>
                    <a:pt x="3274" y="1358"/>
                  </a:cubicBezTo>
                  <a:lnTo>
                    <a:pt x="2751" y="1358"/>
                  </a:lnTo>
                  <a:cubicBezTo>
                    <a:pt x="2751" y="1358"/>
                    <a:pt x="2727" y="1358"/>
                    <a:pt x="2727" y="1346"/>
                  </a:cubicBezTo>
                  <a:lnTo>
                    <a:pt x="2727" y="346"/>
                  </a:lnTo>
                  <a:lnTo>
                    <a:pt x="3751" y="1358"/>
                  </a:lnTo>
                  <a:cubicBezTo>
                    <a:pt x="3775" y="1394"/>
                    <a:pt x="3798" y="1441"/>
                    <a:pt x="3798" y="1501"/>
                  </a:cubicBezTo>
                  <a:lnTo>
                    <a:pt x="3798" y="5180"/>
                  </a:lnTo>
                  <a:lnTo>
                    <a:pt x="3810" y="5180"/>
                  </a:lnTo>
                  <a:lnTo>
                    <a:pt x="334" y="5192"/>
                  </a:lnTo>
                  <a:cubicBezTo>
                    <a:pt x="334" y="5192"/>
                    <a:pt x="322" y="5192"/>
                    <a:pt x="322" y="5180"/>
                  </a:cubicBezTo>
                  <a:lnTo>
                    <a:pt x="322" y="334"/>
                  </a:lnTo>
                  <a:cubicBezTo>
                    <a:pt x="322" y="334"/>
                    <a:pt x="322" y="322"/>
                    <a:pt x="334" y="322"/>
                  </a:cubicBezTo>
                  <a:close/>
                  <a:moveTo>
                    <a:pt x="322" y="1"/>
                  </a:moveTo>
                  <a:cubicBezTo>
                    <a:pt x="143" y="1"/>
                    <a:pt x="0" y="144"/>
                    <a:pt x="0" y="322"/>
                  </a:cubicBezTo>
                  <a:lnTo>
                    <a:pt x="0" y="5156"/>
                  </a:lnTo>
                  <a:cubicBezTo>
                    <a:pt x="0" y="5335"/>
                    <a:pt x="143" y="5489"/>
                    <a:pt x="322" y="5489"/>
                  </a:cubicBezTo>
                  <a:lnTo>
                    <a:pt x="3775" y="5489"/>
                  </a:lnTo>
                  <a:cubicBezTo>
                    <a:pt x="3953" y="5489"/>
                    <a:pt x="4108" y="5335"/>
                    <a:pt x="4108" y="5156"/>
                  </a:cubicBezTo>
                  <a:lnTo>
                    <a:pt x="4108" y="1501"/>
                  </a:lnTo>
                  <a:cubicBezTo>
                    <a:pt x="4120" y="1382"/>
                    <a:pt x="4072" y="1251"/>
                    <a:pt x="3965" y="1156"/>
                  </a:cubicBezTo>
                  <a:lnTo>
                    <a:pt x="2953" y="144"/>
                  </a:lnTo>
                  <a:cubicBezTo>
                    <a:pt x="2870" y="48"/>
                    <a:pt x="2739" y="1"/>
                    <a:pt x="25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6" name="Google Shape;13416;p64"/>
            <p:cNvSpPr/>
            <p:nvPr/>
          </p:nvSpPr>
          <p:spPr>
            <a:xfrm>
              <a:off x="1965485" y="2639893"/>
              <a:ext cx="55002" cy="70885"/>
            </a:xfrm>
            <a:custGeom>
              <a:avLst/>
              <a:gdLst/>
              <a:ahLst/>
              <a:cxnLst/>
              <a:rect l="l" t="t" r="r" b="b"/>
              <a:pathLst>
                <a:path w="1728" h="2227" extrusionOk="0">
                  <a:moveTo>
                    <a:pt x="870" y="0"/>
                  </a:moveTo>
                  <a:cubicBezTo>
                    <a:pt x="822" y="0"/>
                    <a:pt x="775" y="36"/>
                    <a:pt x="751" y="60"/>
                  </a:cubicBezTo>
                  <a:lnTo>
                    <a:pt x="60" y="929"/>
                  </a:lnTo>
                  <a:cubicBezTo>
                    <a:pt x="1" y="1000"/>
                    <a:pt x="13" y="1107"/>
                    <a:pt x="84" y="1155"/>
                  </a:cubicBezTo>
                  <a:cubicBezTo>
                    <a:pt x="117" y="1178"/>
                    <a:pt x="151" y="1189"/>
                    <a:pt x="183" y="1189"/>
                  </a:cubicBezTo>
                  <a:cubicBezTo>
                    <a:pt x="234" y="1189"/>
                    <a:pt x="281" y="1163"/>
                    <a:pt x="310" y="1119"/>
                  </a:cubicBezTo>
                  <a:lnTo>
                    <a:pt x="715" y="619"/>
                  </a:lnTo>
                  <a:lnTo>
                    <a:pt x="715" y="2060"/>
                  </a:lnTo>
                  <a:cubicBezTo>
                    <a:pt x="715" y="2143"/>
                    <a:pt x="787" y="2227"/>
                    <a:pt x="882" y="2227"/>
                  </a:cubicBezTo>
                  <a:cubicBezTo>
                    <a:pt x="965" y="2227"/>
                    <a:pt x="1048" y="2143"/>
                    <a:pt x="1048" y="2060"/>
                  </a:cubicBezTo>
                  <a:lnTo>
                    <a:pt x="1048" y="619"/>
                  </a:lnTo>
                  <a:lnTo>
                    <a:pt x="1441" y="1119"/>
                  </a:lnTo>
                  <a:cubicBezTo>
                    <a:pt x="1477" y="1167"/>
                    <a:pt x="1513" y="1179"/>
                    <a:pt x="1560" y="1179"/>
                  </a:cubicBezTo>
                  <a:cubicBezTo>
                    <a:pt x="1596" y="1179"/>
                    <a:pt x="1644" y="1167"/>
                    <a:pt x="1668" y="1155"/>
                  </a:cubicBezTo>
                  <a:cubicBezTo>
                    <a:pt x="1715" y="1107"/>
                    <a:pt x="1727" y="1000"/>
                    <a:pt x="1668" y="929"/>
                  </a:cubicBezTo>
                  <a:lnTo>
                    <a:pt x="989" y="60"/>
                  </a:lnTo>
                  <a:cubicBezTo>
                    <a:pt x="953" y="24"/>
                    <a:pt x="906"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7" name="Google Shape;13417;p64"/>
            <p:cNvSpPr/>
            <p:nvPr/>
          </p:nvSpPr>
          <p:spPr>
            <a:xfrm>
              <a:off x="1965103" y="2503406"/>
              <a:ext cx="43989" cy="31162"/>
            </a:xfrm>
            <a:custGeom>
              <a:avLst/>
              <a:gdLst/>
              <a:ahLst/>
              <a:cxnLst/>
              <a:rect l="l" t="t" r="r" b="b"/>
              <a:pathLst>
                <a:path w="1382" h="979" extrusionOk="0">
                  <a:moveTo>
                    <a:pt x="181" y="0"/>
                  </a:moveTo>
                  <a:cubicBezTo>
                    <a:pt x="104" y="0"/>
                    <a:pt x="24" y="56"/>
                    <a:pt x="13" y="121"/>
                  </a:cubicBezTo>
                  <a:cubicBezTo>
                    <a:pt x="1" y="216"/>
                    <a:pt x="60" y="300"/>
                    <a:pt x="132" y="323"/>
                  </a:cubicBezTo>
                  <a:cubicBezTo>
                    <a:pt x="501" y="395"/>
                    <a:pt x="846" y="597"/>
                    <a:pt x="1072" y="919"/>
                  </a:cubicBezTo>
                  <a:cubicBezTo>
                    <a:pt x="1096" y="954"/>
                    <a:pt x="1144" y="978"/>
                    <a:pt x="1203" y="978"/>
                  </a:cubicBezTo>
                  <a:cubicBezTo>
                    <a:pt x="1227" y="978"/>
                    <a:pt x="1275" y="954"/>
                    <a:pt x="1310" y="942"/>
                  </a:cubicBezTo>
                  <a:cubicBezTo>
                    <a:pt x="1370" y="895"/>
                    <a:pt x="1382" y="800"/>
                    <a:pt x="1334" y="716"/>
                  </a:cubicBezTo>
                  <a:cubicBezTo>
                    <a:pt x="1060" y="347"/>
                    <a:pt x="656" y="97"/>
                    <a:pt x="203" y="2"/>
                  </a:cubicBezTo>
                  <a:cubicBezTo>
                    <a:pt x="196" y="1"/>
                    <a:pt x="189"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8" name="Google Shape;13418;p64"/>
            <p:cNvSpPr/>
            <p:nvPr/>
          </p:nvSpPr>
          <p:spPr>
            <a:xfrm>
              <a:off x="2052668" y="2537369"/>
              <a:ext cx="34504" cy="30175"/>
            </a:xfrm>
            <a:custGeom>
              <a:avLst/>
              <a:gdLst/>
              <a:ahLst/>
              <a:cxnLst/>
              <a:rect l="l" t="t" r="r" b="b"/>
              <a:pathLst>
                <a:path w="1084" h="948" extrusionOk="0">
                  <a:moveTo>
                    <a:pt x="194" y="0"/>
                  </a:moveTo>
                  <a:cubicBezTo>
                    <a:pt x="124" y="0"/>
                    <a:pt x="56" y="45"/>
                    <a:pt x="36" y="114"/>
                  </a:cubicBezTo>
                  <a:cubicBezTo>
                    <a:pt x="0" y="209"/>
                    <a:pt x="48" y="292"/>
                    <a:pt x="131" y="328"/>
                  </a:cubicBezTo>
                  <a:cubicBezTo>
                    <a:pt x="405" y="411"/>
                    <a:pt x="631" y="602"/>
                    <a:pt x="762" y="864"/>
                  </a:cubicBezTo>
                  <a:cubicBezTo>
                    <a:pt x="786" y="923"/>
                    <a:pt x="845" y="947"/>
                    <a:pt x="905" y="947"/>
                  </a:cubicBezTo>
                  <a:cubicBezTo>
                    <a:pt x="941" y="947"/>
                    <a:pt x="953" y="947"/>
                    <a:pt x="988" y="935"/>
                  </a:cubicBezTo>
                  <a:cubicBezTo>
                    <a:pt x="1060" y="887"/>
                    <a:pt x="1084" y="804"/>
                    <a:pt x="1048" y="709"/>
                  </a:cubicBezTo>
                  <a:cubicBezTo>
                    <a:pt x="869" y="387"/>
                    <a:pt x="584" y="149"/>
                    <a:pt x="238" y="6"/>
                  </a:cubicBezTo>
                  <a:cubicBezTo>
                    <a:pt x="224" y="2"/>
                    <a:pt x="209" y="0"/>
                    <a:pt x="1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19" name="Google Shape;13419;p64"/>
          <p:cNvGrpSpPr/>
          <p:nvPr/>
        </p:nvGrpSpPr>
        <p:grpSpPr>
          <a:xfrm>
            <a:off x="1341727" y="2483349"/>
            <a:ext cx="419913" cy="308109"/>
            <a:chOff x="1341727" y="2483349"/>
            <a:chExt cx="419913" cy="308109"/>
          </a:xfrm>
        </p:grpSpPr>
        <p:sp>
          <p:nvSpPr>
            <p:cNvPr id="13420" name="Google Shape;13420;p64"/>
            <p:cNvSpPr/>
            <p:nvPr/>
          </p:nvSpPr>
          <p:spPr>
            <a:xfrm>
              <a:off x="1623896" y="2522310"/>
              <a:ext cx="53488" cy="18605"/>
            </a:xfrm>
            <a:custGeom>
              <a:avLst/>
              <a:gdLst/>
              <a:ahLst/>
              <a:cxnLst/>
              <a:rect l="l" t="t" r="r" b="b"/>
              <a:pathLst>
                <a:path w="1406" h="489" extrusionOk="0">
                  <a:moveTo>
                    <a:pt x="167" y="1"/>
                  </a:moveTo>
                  <a:cubicBezTo>
                    <a:pt x="84" y="1"/>
                    <a:pt x="1" y="72"/>
                    <a:pt x="1" y="167"/>
                  </a:cubicBezTo>
                  <a:cubicBezTo>
                    <a:pt x="1" y="251"/>
                    <a:pt x="84" y="322"/>
                    <a:pt x="167" y="322"/>
                  </a:cubicBezTo>
                  <a:cubicBezTo>
                    <a:pt x="346" y="322"/>
                    <a:pt x="882" y="358"/>
                    <a:pt x="1144" y="477"/>
                  </a:cubicBezTo>
                  <a:cubicBezTo>
                    <a:pt x="1167" y="489"/>
                    <a:pt x="1179" y="489"/>
                    <a:pt x="1215" y="489"/>
                  </a:cubicBezTo>
                  <a:cubicBezTo>
                    <a:pt x="1275" y="489"/>
                    <a:pt x="1334" y="465"/>
                    <a:pt x="1358" y="406"/>
                  </a:cubicBezTo>
                  <a:cubicBezTo>
                    <a:pt x="1406" y="346"/>
                    <a:pt x="1358" y="239"/>
                    <a:pt x="1286" y="191"/>
                  </a:cubicBezTo>
                  <a:cubicBezTo>
                    <a:pt x="917" y="1"/>
                    <a:pt x="203"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1" name="Google Shape;13421;p64"/>
            <p:cNvSpPr/>
            <p:nvPr/>
          </p:nvSpPr>
          <p:spPr>
            <a:xfrm>
              <a:off x="1341727" y="2483349"/>
              <a:ext cx="419913" cy="308109"/>
            </a:xfrm>
            <a:custGeom>
              <a:avLst/>
              <a:gdLst/>
              <a:ahLst/>
              <a:cxnLst/>
              <a:rect l="l" t="t" r="r" b="b"/>
              <a:pathLst>
                <a:path w="11038" h="8098" extrusionOk="0">
                  <a:moveTo>
                    <a:pt x="9156" y="501"/>
                  </a:moveTo>
                  <a:lnTo>
                    <a:pt x="9156" y="1168"/>
                  </a:lnTo>
                  <a:cubicBezTo>
                    <a:pt x="9156" y="1275"/>
                    <a:pt x="9120" y="1394"/>
                    <a:pt x="9073" y="1489"/>
                  </a:cubicBezTo>
                  <a:lnTo>
                    <a:pt x="9001" y="1644"/>
                  </a:lnTo>
                  <a:cubicBezTo>
                    <a:pt x="8989" y="1680"/>
                    <a:pt x="8989" y="1692"/>
                    <a:pt x="8989" y="1727"/>
                  </a:cubicBezTo>
                  <a:lnTo>
                    <a:pt x="8989" y="2061"/>
                  </a:lnTo>
                  <a:cubicBezTo>
                    <a:pt x="8989" y="2299"/>
                    <a:pt x="8894" y="2525"/>
                    <a:pt x="8715" y="2692"/>
                  </a:cubicBezTo>
                  <a:cubicBezTo>
                    <a:pt x="8537" y="2858"/>
                    <a:pt x="8311" y="2942"/>
                    <a:pt x="8072" y="2942"/>
                  </a:cubicBezTo>
                  <a:cubicBezTo>
                    <a:pt x="7620" y="2918"/>
                    <a:pt x="7227" y="2513"/>
                    <a:pt x="7227" y="2025"/>
                  </a:cubicBezTo>
                  <a:lnTo>
                    <a:pt x="7227" y="1727"/>
                  </a:lnTo>
                  <a:cubicBezTo>
                    <a:pt x="7227" y="1692"/>
                    <a:pt x="7227" y="1680"/>
                    <a:pt x="7215" y="1644"/>
                  </a:cubicBezTo>
                  <a:lnTo>
                    <a:pt x="7108" y="1453"/>
                  </a:lnTo>
                  <a:cubicBezTo>
                    <a:pt x="7084" y="1382"/>
                    <a:pt x="7049" y="1311"/>
                    <a:pt x="7049" y="1215"/>
                  </a:cubicBezTo>
                  <a:lnTo>
                    <a:pt x="7049" y="1203"/>
                  </a:lnTo>
                  <a:cubicBezTo>
                    <a:pt x="7049" y="810"/>
                    <a:pt x="7370" y="501"/>
                    <a:pt x="7751" y="501"/>
                  </a:cubicBezTo>
                  <a:close/>
                  <a:moveTo>
                    <a:pt x="3274" y="322"/>
                  </a:moveTo>
                  <a:cubicBezTo>
                    <a:pt x="3548" y="322"/>
                    <a:pt x="3786" y="429"/>
                    <a:pt x="3989" y="632"/>
                  </a:cubicBezTo>
                  <a:cubicBezTo>
                    <a:pt x="4179" y="834"/>
                    <a:pt x="4298" y="1108"/>
                    <a:pt x="4310" y="1394"/>
                  </a:cubicBezTo>
                  <a:cubicBezTo>
                    <a:pt x="4346" y="1739"/>
                    <a:pt x="4441" y="2442"/>
                    <a:pt x="4608" y="2858"/>
                  </a:cubicBezTo>
                  <a:cubicBezTo>
                    <a:pt x="4358" y="2942"/>
                    <a:pt x="3870" y="3096"/>
                    <a:pt x="3274" y="3096"/>
                  </a:cubicBezTo>
                  <a:cubicBezTo>
                    <a:pt x="3253" y="3097"/>
                    <a:pt x="3232" y="3097"/>
                    <a:pt x="3210" y="3097"/>
                  </a:cubicBezTo>
                  <a:cubicBezTo>
                    <a:pt x="2654" y="3097"/>
                    <a:pt x="2182" y="2951"/>
                    <a:pt x="1953" y="2870"/>
                  </a:cubicBezTo>
                  <a:cubicBezTo>
                    <a:pt x="2096" y="2442"/>
                    <a:pt x="2215" y="1739"/>
                    <a:pt x="2226" y="1394"/>
                  </a:cubicBezTo>
                  <a:cubicBezTo>
                    <a:pt x="2250" y="1096"/>
                    <a:pt x="2357" y="834"/>
                    <a:pt x="2560" y="632"/>
                  </a:cubicBezTo>
                  <a:cubicBezTo>
                    <a:pt x="2750" y="429"/>
                    <a:pt x="3000" y="322"/>
                    <a:pt x="3274" y="322"/>
                  </a:cubicBezTo>
                  <a:close/>
                  <a:moveTo>
                    <a:pt x="7751" y="3192"/>
                  </a:moveTo>
                  <a:cubicBezTo>
                    <a:pt x="7858" y="3227"/>
                    <a:pt x="7965" y="3251"/>
                    <a:pt x="8084" y="3251"/>
                  </a:cubicBezTo>
                  <a:lnTo>
                    <a:pt x="8120" y="3251"/>
                  </a:lnTo>
                  <a:cubicBezTo>
                    <a:pt x="8239" y="3251"/>
                    <a:pt x="8358" y="3239"/>
                    <a:pt x="8477" y="3192"/>
                  </a:cubicBezTo>
                  <a:lnTo>
                    <a:pt x="8477" y="3192"/>
                  </a:lnTo>
                  <a:cubicBezTo>
                    <a:pt x="8465" y="3251"/>
                    <a:pt x="8477" y="3299"/>
                    <a:pt x="8501" y="3346"/>
                  </a:cubicBezTo>
                  <a:lnTo>
                    <a:pt x="8358" y="3477"/>
                  </a:lnTo>
                  <a:cubicBezTo>
                    <a:pt x="8287" y="3549"/>
                    <a:pt x="8203" y="3585"/>
                    <a:pt x="8108" y="3585"/>
                  </a:cubicBezTo>
                  <a:cubicBezTo>
                    <a:pt x="8025" y="3585"/>
                    <a:pt x="7930" y="3549"/>
                    <a:pt x="7858" y="3477"/>
                  </a:cubicBezTo>
                  <a:lnTo>
                    <a:pt x="7727" y="3346"/>
                  </a:lnTo>
                  <a:cubicBezTo>
                    <a:pt x="7739" y="3299"/>
                    <a:pt x="7751" y="3251"/>
                    <a:pt x="7751" y="3192"/>
                  </a:cubicBezTo>
                  <a:close/>
                  <a:moveTo>
                    <a:pt x="3691" y="3418"/>
                  </a:moveTo>
                  <a:cubicBezTo>
                    <a:pt x="3750" y="3537"/>
                    <a:pt x="3870" y="3644"/>
                    <a:pt x="4001" y="3668"/>
                  </a:cubicBezTo>
                  <a:lnTo>
                    <a:pt x="4584" y="3835"/>
                  </a:lnTo>
                  <a:cubicBezTo>
                    <a:pt x="4727" y="3882"/>
                    <a:pt x="4834" y="4013"/>
                    <a:pt x="4834" y="4180"/>
                  </a:cubicBezTo>
                  <a:lnTo>
                    <a:pt x="4834" y="5680"/>
                  </a:lnTo>
                  <a:cubicBezTo>
                    <a:pt x="4834" y="5871"/>
                    <a:pt x="4667" y="6037"/>
                    <a:pt x="4477" y="6037"/>
                  </a:cubicBezTo>
                  <a:lnTo>
                    <a:pt x="4477" y="4811"/>
                  </a:lnTo>
                  <a:cubicBezTo>
                    <a:pt x="4477" y="4549"/>
                    <a:pt x="4239" y="4311"/>
                    <a:pt x="3977" y="4311"/>
                  </a:cubicBezTo>
                  <a:lnTo>
                    <a:pt x="2584" y="4311"/>
                  </a:lnTo>
                  <a:cubicBezTo>
                    <a:pt x="2310" y="4311"/>
                    <a:pt x="2084" y="4537"/>
                    <a:pt x="2084" y="4811"/>
                  </a:cubicBezTo>
                  <a:lnTo>
                    <a:pt x="2084" y="6037"/>
                  </a:lnTo>
                  <a:lnTo>
                    <a:pt x="2072" y="6037"/>
                  </a:lnTo>
                  <a:cubicBezTo>
                    <a:pt x="1869" y="6037"/>
                    <a:pt x="1715" y="5871"/>
                    <a:pt x="1715" y="5680"/>
                  </a:cubicBezTo>
                  <a:lnTo>
                    <a:pt x="1715" y="4180"/>
                  </a:lnTo>
                  <a:cubicBezTo>
                    <a:pt x="1715" y="4013"/>
                    <a:pt x="1810" y="3882"/>
                    <a:pt x="1965" y="3835"/>
                  </a:cubicBezTo>
                  <a:lnTo>
                    <a:pt x="2548" y="3668"/>
                  </a:lnTo>
                  <a:cubicBezTo>
                    <a:pt x="2679" y="3620"/>
                    <a:pt x="2798" y="3537"/>
                    <a:pt x="2858" y="3418"/>
                  </a:cubicBezTo>
                  <a:cubicBezTo>
                    <a:pt x="2988" y="3430"/>
                    <a:pt x="3119" y="3430"/>
                    <a:pt x="3274" y="3430"/>
                  </a:cubicBezTo>
                  <a:cubicBezTo>
                    <a:pt x="3417" y="3430"/>
                    <a:pt x="3560" y="3418"/>
                    <a:pt x="3691" y="3418"/>
                  </a:cubicBezTo>
                  <a:close/>
                  <a:moveTo>
                    <a:pt x="8668" y="3608"/>
                  </a:moveTo>
                  <a:cubicBezTo>
                    <a:pt x="8715" y="3644"/>
                    <a:pt x="8763" y="3656"/>
                    <a:pt x="8811" y="3668"/>
                  </a:cubicBezTo>
                  <a:lnTo>
                    <a:pt x="9382" y="3835"/>
                  </a:lnTo>
                  <a:cubicBezTo>
                    <a:pt x="9537" y="3882"/>
                    <a:pt x="9644" y="4013"/>
                    <a:pt x="9644" y="4180"/>
                  </a:cubicBezTo>
                  <a:lnTo>
                    <a:pt x="9644" y="5680"/>
                  </a:lnTo>
                  <a:cubicBezTo>
                    <a:pt x="9644" y="5871"/>
                    <a:pt x="9477" y="6037"/>
                    <a:pt x="9287" y="6037"/>
                  </a:cubicBezTo>
                  <a:lnTo>
                    <a:pt x="8584" y="6037"/>
                  </a:lnTo>
                  <a:lnTo>
                    <a:pt x="8584" y="6025"/>
                  </a:lnTo>
                  <a:lnTo>
                    <a:pt x="8584" y="5668"/>
                  </a:lnTo>
                  <a:lnTo>
                    <a:pt x="9120" y="5668"/>
                  </a:lnTo>
                  <a:cubicBezTo>
                    <a:pt x="9204" y="5668"/>
                    <a:pt x="9287" y="5597"/>
                    <a:pt x="9287" y="5502"/>
                  </a:cubicBezTo>
                  <a:lnTo>
                    <a:pt x="9287" y="4466"/>
                  </a:lnTo>
                  <a:cubicBezTo>
                    <a:pt x="9287" y="4370"/>
                    <a:pt x="9204" y="4299"/>
                    <a:pt x="9120" y="4299"/>
                  </a:cubicBezTo>
                  <a:cubicBezTo>
                    <a:pt x="9025" y="4299"/>
                    <a:pt x="8954" y="4370"/>
                    <a:pt x="8954" y="4466"/>
                  </a:cubicBezTo>
                  <a:lnTo>
                    <a:pt x="8954" y="5335"/>
                  </a:lnTo>
                  <a:lnTo>
                    <a:pt x="8584" y="5335"/>
                  </a:lnTo>
                  <a:lnTo>
                    <a:pt x="8584" y="4644"/>
                  </a:lnTo>
                  <a:cubicBezTo>
                    <a:pt x="8584" y="4466"/>
                    <a:pt x="8430" y="4311"/>
                    <a:pt x="8251" y="4311"/>
                  </a:cubicBezTo>
                  <a:lnTo>
                    <a:pt x="6513" y="4311"/>
                  </a:lnTo>
                  <a:lnTo>
                    <a:pt x="6513" y="4180"/>
                  </a:lnTo>
                  <a:lnTo>
                    <a:pt x="6548" y="4180"/>
                  </a:lnTo>
                  <a:cubicBezTo>
                    <a:pt x="6548" y="4013"/>
                    <a:pt x="6644" y="3882"/>
                    <a:pt x="6798" y="3835"/>
                  </a:cubicBezTo>
                  <a:lnTo>
                    <a:pt x="7382" y="3668"/>
                  </a:lnTo>
                  <a:cubicBezTo>
                    <a:pt x="7418" y="3656"/>
                    <a:pt x="7477" y="3644"/>
                    <a:pt x="7513" y="3608"/>
                  </a:cubicBezTo>
                  <a:lnTo>
                    <a:pt x="7620" y="3716"/>
                  </a:lnTo>
                  <a:cubicBezTo>
                    <a:pt x="7751" y="3847"/>
                    <a:pt x="7918" y="3906"/>
                    <a:pt x="8096" y="3906"/>
                  </a:cubicBezTo>
                  <a:cubicBezTo>
                    <a:pt x="8275" y="3906"/>
                    <a:pt x="8453" y="3835"/>
                    <a:pt x="8573" y="3716"/>
                  </a:cubicBezTo>
                  <a:lnTo>
                    <a:pt x="8668" y="3608"/>
                  </a:lnTo>
                  <a:close/>
                  <a:moveTo>
                    <a:pt x="8287" y="4644"/>
                  </a:moveTo>
                  <a:cubicBezTo>
                    <a:pt x="8287" y="4644"/>
                    <a:pt x="8299" y="4644"/>
                    <a:pt x="8299" y="4656"/>
                  </a:cubicBezTo>
                  <a:lnTo>
                    <a:pt x="8299" y="6037"/>
                  </a:lnTo>
                  <a:cubicBezTo>
                    <a:pt x="8299" y="6037"/>
                    <a:pt x="8299" y="6049"/>
                    <a:pt x="8287" y="6049"/>
                  </a:cubicBezTo>
                  <a:lnTo>
                    <a:pt x="6215" y="6049"/>
                  </a:lnTo>
                  <a:cubicBezTo>
                    <a:pt x="6215" y="6049"/>
                    <a:pt x="6203" y="6049"/>
                    <a:pt x="6203" y="6037"/>
                  </a:cubicBezTo>
                  <a:lnTo>
                    <a:pt x="6203" y="4656"/>
                  </a:lnTo>
                  <a:lnTo>
                    <a:pt x="8287" y="4644"/>
                  </a:lnTo>
                  <a:close/>
                  <a:moveTo>
                    <a:pt x="2084" y="6371"/>
                  </a:moveTo>
                  <a:lnTo>
                    <a:pt x="2084" y="6740"/>
                  </a:lnTo>
                  <a:lnTo>
                    <a:pt x="679" y="6740"/>
                  </a:lnTo>
                  <a:lnTo>
                    <a:pt x="679" y="6371"/>
                  </a:lnTo>
                  <a:close/>
                  <a:moveTo>
                    <a:pt x="10382" y="6371"/>
                  </a:moveTo>
                  <a:lnTo>
                    <a:pt x="10382" y="6740"/>
                  </a:lnTo>
                  <a:lnTo>
                    <a:pt x="4477" y="6740"/>
                  </a:lnTo>
                  <a:lnTo>
                    <a:pt x="4477" y="6371"/>
                  </a:lnTo>
                  <a:close/>
                  <a:moveTo>
                    <a:pt x="3953" y="4644"/>
                  </a:moveTo>
                  <a:cubicBezTo>
                    <a:pt x="4060" y="4644"/>
                    <a:pt x="4131" y="4728"/>
                    <a:pt x="4131" y="4823"/>
                  </a:cubicBezTo>
                  <a:lnTo>
                    <a:pt x="4131" y="7085"/>
                  </a:lnTo>
                  <a:lnTo>
                    <a:pt x="2393" y="7085"/>
                  </a:lnTo>
                  <a:lnTo>
                    <a:pt x="2393" y="4823"/>
                  </a:lnTo>
                  <a:cubicBezTo>
                    <a:pt x="2393" y="4716"/>
                    <a:pt x="2488" y="4644"/>
                    <a:pt x="2572" y="4644"/>
                  </a:cubicBezTo>
                  <a:close/>
                  <a:moveTo>
                    <a:pt x="3274" y="1"/>
                  </a:moveTo>
                  <a:cubicBezTo>
                    <a:pt x="2548" y="1"/>
                    <a:pt x="1965" y="596"/>
                    <a:pt x="1905" y="1370"/>
                  </a:cubicBezTo>
                  <a:cubicBezTo>
                    <a:pt x="1869" y="1692"/>
                    <a:pt x="1774" y="2346"/>
                    <a:pt x="1631" y="2751"/>
                  </a:cubicBezTo>
                  <a:cubicBezTo>
                    <a:pt x="1607" y="2835"/>
                    <a:pt x="1607" y="2930"/>
                    <a:pt x="1655" y="3001"/>
                  </a:cubicBezTo>
                  <a:cubicBezTo>
                    <a:pt x="1691" y="3073"/>
                    <a:pt x="1750" y="3156"/>
                    <a:pt x="1845" y="3180"/>
                  </a:cubicBezTo>
                  <a:cubicBezTo>
                    <a:pt x="1988" y="3227"/>
                    <a:pt x="2215" y="3299"/>
                    <a:pt x="2488" y="3358"/>
                  </a:cubicBezTo>
                  <a:lnTo>
                    <a:pt x="2465" y="3358"/>
                  </a:lnTo>
                  <a:lnTo>
                    <a:pt x="1893" y="3525"/>
                  </a:lnTo>
                  <a:cubicBezTo>
                    <a:pt x="1595" y="3608"/>
                    <a:pt x="1393" y="3882"/>
                    <a:pt x="1393" y="4180"/>
                  </a:cubicBezTo>
                  <a:lnTo>
                    <a:pt x="1393" y="5680"/>
                  </a:lnTo>
                  <a:cubicBezTo>
                    <a:pt x="1393" y="5811"/>
                    <a:pt x="1429" y="5930"/>
                    <a:pt x="1500" y="6037"/>
                  </a:cubicBezTo>
                  <a:lnTo>
                    <a:pt x="167" y="6037"/>
                  </a:lnTo>
                  <a:cubicBezTo>
                    <a:pt x="71" y="6037"/>
                    <a:pt x="0" y="6109"/>
                    <a:pt x="0" y="6204"/>
                  </a:cubicBezTo>
                  <a:cubicBezTo>
                    <a:pt x="0" y="6287"/>
                    <a:pt x="71" y="6371"/>
                    <a:pt x="167" y="6371"/>
                  </a:cubicBezTo>
                  <a:lnTo>
                    <a:pt x="345" y="6371"/>
                  </a:lnTo>
                  <a:lnTo>
                    <a:pt x="345" y="7930"/>
                  </a:lnTo>
                  <a:cubicBezTo>
                    <a:pt x="345" y="8014"/>
                    <a:pt x="417" y="8097"/>
                    <a:pt x="500" y="8097"/>
                  </a:cubicBezTo>
                  <a:cubicBezTo>
                    <a:pt x="595" y="8097"/>
                    <a:pt x="667" y="8014"/>
                    <a:pt x="667" y="7930"/>
                  </a:cubicBezTo>
                  <a:lnTo>
                    <a:pt x="667" y="7049"/>
                  </a:lnTo>
                  <a:lnTo>
                    <a:pt x="2072" y="7049"/>
                  </a:lnTo>
                  <a:lnTo>
                    <a:pt x="2072" y="7930"/>
                  </a:lnTo>
                  <a:cubicBezTo>
                    <a:pt x="2072" y="8014"/>
                    <a:pt x="2143" y="8097"/>
                    <a:pt x="2226" y="8097"/>
                  </a:cubicBezTo>
                  <a:cubicBezTo>
                    <a:pt x="2322" y="8097"/>
                    <a:pt x="2393" y="8014"/>
                    <a:pt x="2393" y="7930"/>
                  </a:cubicBezTo>
                  <a:lnTo>
                    <a:pt x="2393" y="7395"/>
                  </a:lnTo>
                  <a:lnTo>
                    <a:pt x="4155" y="7395"/>
                  </a:lnTo>
                  <a:lnTo>
                    <a:pt x="4155" y="7930"/>
                  </a:lnTo>
                  <a:cubicBezTo>
                    <a:pt x="4155" y="8014"/>
                    <a:pt x="4227" y="8097"/>
                    <a:pt x="4310" y="8097"/>
                  </a:cubicBezTo>
                  <a:cubicBezTo>
                    <a:pt x="4405" y="8097"/>
                    <a:pt x="4477" y="8014"/>
                    <a:pt x="4477" y="7930"/>
                  </a:cubicBezTo>
                  <a:lnTo>
                    <a:pt x="4477" y="7049"/>
                  </a:lnTo>
                  <a:lnTo>
                    <a:pt x="10370" y="7049"/>
                  </a:lnTo>
                  <a:lnTo>
                    <a:pt x="10370" y="7930"/>
                  </a:lnTo>
                  <a:cubicBezTo>
                    <a:pt x="10370" y="8014"/>
                    <a:pt x="10442" y="8097"/>
                    <a:pt x="10537" y="8097"/>
                  </a:cubicBezTo>
                  <a:cubicBezTo>
                    <a:pt x="10620" y="8097"/>
                    <a:pt x="10704" y="8014"/>
                    <a:pt x="10704" y="7930"/>
                  </a:cubicBezTo>
                  <a:lnTo>
                    <a:pt x="10704" y="6371"/>
                  </a:lnTo>
                  <a:lnTo>
                    <a:pt x="10882" y="6371"/>
                  </a:lnTo>
                  <a:cubicBezTo>
                    <a:pt x="10966" y="6371"/>
                    <a:pt x="11037" y="6287"/>
                    <a:pt x="11037" y="6204"/>
                  </a:cubicBezTo>
                  <a:cubicBezTo>
                    <a:pt x="11037" y="6109"/>
                    <a:pt x="10966" y="6037"/>
                    <a:pt x="10882" y="6037"/>
                  </a:cubicBezTo>
                  <a:lnTo>
                    <a:pt x="9894" y="6037"/>
                  </a:lnTo>
                  <a:cubicBezTo>
                    <a:pt x="9954" y="5930"/>
                    <a:pt x="10001" y="5811"/>
                    <a:pt x="10001" y="5680"/>
                  </a:cubicBezTo>
                  <a:lnTo>
                    <a:pt x="10001" y="4180"/>
                  </a:lnTo>
                  <a:cubicBezTo>
                    <a:pt x="10001" y="3882"/>
                    <a:pt x="9787" y="3608"/>
                    <a:pt x="9501" y="3525"/>
                  </a:cubicBezTo>
                  <a:lnTo>
                    <a:pt x="8930" y="3358"/>
                  </a:lnTo>
                  <a:cubicBezTo>
                    <a:pt x="8858" y="3335"/>
                    <a:pt x="8799" y="3275"/>
                    <a:pt x="8799" y="3180"/>
                  </a:cubicBezTo>
                  <a:lnTo>
                    <a:pt x="8799" y="3049"/>
                  </a:lnTo>
                  <a:cubicBezTo>
                    <a:pt x="8858" y="3001"/>
                    <a:pt x="8894" y="2977"/>
                    <a:pt x="8942" y="2918"/>
                  </a:cubicBezTo>
                  <a:cubicBezTo>
                    <a:pt x="9180" y="2692"/>
                    <a:pt x="9299" y="2382"/>
                    <a:pt x="9299" y="2049"/>
                  </a:cubicBezTo>
                  <a:lnTo>
                    <a:pt x="9299" y="1739"/>
                  </a:lnTo>
                  <a:lnTo>
                    <a:pt x="9358" y="1608"/>
                  </a:lnTo>
                  <a:cubicBezTo>
                    <a:pt x="9430" y="1453"/>
                    <a:pt x="9465" y="1311"/>
                    <a:pt x="9465" y="1144"/>
                  </a:cubicBezTo>
                  <a:lnTo>
                    <a:pt x="9465" y="310"/>
                  </a:lnTo>
                  <a:cubicBezTo>
                    <a:pt x="9465" y="215"/>
                    <a:pt x="9382" y="144"/>
                    <a:pt x="9299" y="144"/>
                  </a:cubicBezTo>
                  <a:lnTo>
                    <a:pt x="7739" y="144"/>
                  </a:lnTo>
                  <a:cubicBezTo>
                    <a:pt x="7168" y="144"/>
                    <a:pt x="6703" y="608"/>
                    <a:pt x="6703" y="1168"/>
                  </a:cubicBezTo>
                  <a:lnTo>
                    <a:pt x="6703" y="1191"/>
                  </a:lnTo>
                  <a:cubicBezTo>
                    <a:pt x="6703" y="1322"/>
                    <a:pt x="6739" y="1453"/>
                    <a:pt x="6798" y="1572"/>
                  </a:cubicBezTo>
                  <a:lnTo>
                    <a:pt x="6894" y="1739"/>
                  </a:lnTo>
                  <a:lnTo>
                    <a:pt x="6894" y="2001"/>
                  </a:lnTo>
                  <a:cubicBezTo>
                    <a:pt x="6894" y="2418"/>
                    <a:pt x="7096" y="2799"/>
                    <a:pt x="7406" y="3037"/>
                  </a:cubicBezTo>
                  <a:lnTo>
                    <a:pt x="7406" y="3180"/>
                  </a:lnTo>
                  <a:cubicBezTo>
                    <a:pt x="7406" y="3251"/>
                    <a:pt x="7346" y="3335"/>
                    <a:pt x="7275" y="3358"/>
                  </a:cubicBezTo>
                  <a:lnTo>
                    <a:pt x="6691" y="3525"/>
                  </a:lnTo>
                  <a:cubicBezTo>
                    <a:pt x="6394" y="3608"/>
                    <a:pt x="6203" y="3882"/>
                    <a:pt x="6203" y="4180"/>
                  </a:cubicBezTo>
                  <a:lnTo>
                    <a:pt x="6203" y="4311"/>
                  </a:lnTo>
                  <a:lnTo>
                    <a:pt x="6191" y="4311"/>
                  </a:lnTo>
                  <a:cubicBezTo>
                    <a:pt x="6013" y="4311"/>
                    <a:pt x="5858" y="4466"/>
                    <a:pt x="5858" y="4644"/>
                  </a:cubicBezTo>
                  <a:lnTo>
                    <a:pt x="5858" y="6025"/>
                  </a:lnTo>
                  <a:lnTo>
                    <a:pt x="5858" y="6037"/>
                  </a:lnTo>
                  <a:lnTo>
                    <a:pt x="5048" y="6037"/>
                  </a:lnTo>
                  <a:cubicBezTo>
                    <a:pt x="5108" y="5930"/>
                    <a:pt x="5144" y="5811"/>
                    <a:pt x="5144" y="5680"/>
                  </a:cubicBezTo>
                  <a:lnTo>
                    <a:pt x="5144" y="4180"/>
                  </a:lnTo>
                  <a:cubicBezTo>
                    <a:pt x="5144" y="3882"/>
                    <a:pt x="4941" y="3608"/>
                    <a:pt x="4655" y="3525"/>
                  </a:cubicBezTo>
                  <a:lnTo>
                    <a:pt x="4072" y="3358"/>
                  </a:lnTo>
                  <a:lnTo>
                    <a:pt x="4060" y="3358"/>
                  </a:lnTo>
                  <a:cubicBezTo>
                    <a:pt x="4346" y="3299"/>
                    <a:pt x="4560" y="3239"/>
                    <a:pt x="4703" y="3180"/>
                  </a:cubicBezTo>
                  <a:cubicBezTo>
                    <a:pt x="4786" y="3156"/>
                    <a:pt x="4846" y="3096"/>
                    <a:pt x="4893" y="3001"/>
                  </a:cubicBezTo>
                  <a:cubicBezTo>
                    <a:pt x="4941" y="2930"/>
                    <a:pt x="4941" y="2835"/>
                    <a:pt x="4905" y="2751"/>
                  </a:cubicBezTo>
                  <a:cubicBezTo>
                    <a:pt x="4763" y="2358"/>
                    <a:pt x="4655" y="1692"/>
                    <a:pt x="4643" y="1370"/>
                  </a:cubicBezTo>
                  <a:cubicBezTo>
                    <a:pt x="4584" y="572"/>
                    <a:pt x="4001" y="1"/>
                    <a:pt x="327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2" name="Google Shape;13422;p64"/>
            <p:cNvSpPr/>
            <p:nvPr/>
          </p:nvSpPr>
          <p:spPr>
            <a:xfrm>
              <a:off x="1611228" y="2679979"/>
              <a:ext cx="12250" cy="12708"/>
            </a:xfrm>
            <a:custGeom>
              <a:avLst/>
              <a:gdLst/>
              <a:ahLst/>
              <a:cxnLst/>
              <a:rect l="l" t="t" r="r" b="b"/>
              <a:pathLst>
                <a:path w="322" h="334" extrusionOk="0">
                  <a:moveTo>
                    <a:pt x="167" y="0"/>
                  </a:moveTo>
                  <a:cubicBezTo>
                    <a:pt x="72" y="0"/>
                    <a:pt x="0" y="83"/>
                    <a:pt x="0" y="167"/>
                  </a:cubicBezTo>
                  <a:cubicBezTo>
                    <a:pt x="0" y="262"/>
                    <a:pt x="72" y="334"/>
                    <a:pt x="167" y="334"/>
                  </a:cubicBezTo>
                  <a:cubicBezTo>
                    <a:pt x="250" y="334"/>
                    <a:pt x="322" y="262"/>
                    <a:pt x="322" y="167"/>
                  </a:cubicBezTo>
                  <a:cubicBezTo>
                    <a:pt x="322"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23" name="Google Shape;13423;p64"/>
          <p:cNvGrpSpPr/>
          <p:nvPr/>
        </p:nvGrpSpPr>
        <p:grpSpPr>
          <a:xfrm>
            <a:off x="854332" y="2447736"/>
            <a:ext cx="376358" cy="330109"/>
            <a:chOff x="854332" y="2447736"/>
            <a:chExt cx="376358" cy="330109"/>
          </a:xfrm>
        </p:grpSpPr>
        <p:sp>
          <p:nvSpPr>
            <p:cNvPr id="13424" name="Google Shape;13424;p64"/>
            <p:cNvSpPr/>
            <p:nvPr/>
          </p:nvSpPr>
          <p:spPr>
            <a:xfrm>
              <a:off x="854332" y="2483353"/>
              <a:ext cx="376358" cy="294491"/>
            </a:xfrm>
            <a:custGeom>
              <a:avLst/>
              <a:gdLst/>
              <a:ahLst/>
              <a:cxnLst/>
              <a:rect l="l" t="t" r="r" b="b"/>
              <a:pathLst>
                <a:path w="11824" h="9252" extrusionOk="0">
                  <a:moveTo>
                    <a:pt x="3311" y="334"/>
                  </a:moveTo>
                  <a:cubicBezTo>
                    <a:pt x="3632" y="334"/>
                    <a:pt x="3882" y="549"/>
                    <a:pt x="3882" y="810"/>
                  </a:cubicBezTo>
                  <a:lnTo>
                    <a:pt x="3882" y="846"/>
                  </a:lnTo>
                  <a:cubicBezTo>
                    <a:pt x="3703" y="775"/>
                    <a:pt x="3513" y="727"/>
                    <a:pt x="3311" y="727"/>
                  </a:cubicBezTo>
                  <a:cubicBezTo>
                    <a:pt x="3120" y="727"/>
                    <a:pt x="2930" y="775"/>
                    <a:pt x="2751" y="846"/>
                  </a:cubicBezTo>
                  <a:lnTo>
                    <a:pt x="2751" y="810"/>
                  </a:lnTo>
                  <a:cubicBezTo>
                    <a:pt x="2751" y="549"/>
                    <a:pt x="3001" y="334"/>
                    <a:pt x="3311" y="334"/>
                  </a:cubicBezTo>
                  <a:close/>
                  <a:moveTo>
                    <a:pt x="3311" y="1084"/>
                  </a:moveTo>
                  <a:cubicBezTo>
                    <a:pt x="3942" y="1084"/>
                    <a:pt x="4430" y="1584"/>
                    <a:pt x="4430" y="2203"/>
                  </a:cubicBezTo>
                  <a:cubicBezTo>
                    <a:pt x="4430" y="2323"/>
                    <a:pt x="4418" y="2442"/>
                    <a:pt x="4370" y="2561"/>
                  </a:cubicBezTo>
                  <a:cubicBezTo>
                    <a:pt x="3882" y="2049"/>
                    <a:pt x="3013" y="1858"/>
                    <a:pt x="2977" y="1858"/>
                  </a:cubicBezTo>
                  <a:cubicBezTo>
                    <a:pt x="2961" y="1855"/>
                    <a:pt x="2946" y="1854"/>
                    <a:pt x="2932" y="1854"/>
                  </a:cubicBezTo>
                  <a:cubicBezTo>
                    <a:pt x="2892" y="1854"/>
                    <a:pt x="2857" y="1865"/>
                    <a:pt x="2822" y="1882"/>
                  </a:cubicBezTo>
                  <a:cubicBezTo>
                    <a:pt x="2775" y="1918"/>
                    <a:pt x="2763" y="1965"/>
                    <a:pt x="2763" y="2025"/>
                  </a:cubicBezTo>
                  <a:cubicBezTo>
                    <a:pt x="2763" y="2037"/>
                    <a:pt x="2751" y="2156"/>
                    <a:pt x="2632" y="2275"/>
                  </a:cubicBezTo>
                  <a:cubicBezTo>
                    <a:pt x="2560" y="2346"/>
                    <a:pt x="2560" y="2454"/>
                    <a:pt x="2632" y="2513"/>
                  </a:cubicBezTo>
                  <a:cubicBezTo>
                    <a:pt x="2668" y="2549"/>
                    <a:pt x="2712" y="2567"/>
                    <a:pt x="2755" y="2567"/>
                  </a:cubicBezTo>
                  <a:cubicBezTo>
                    <a:pt x="2799" y="2567"/>
                    <a:pt x="2840" y="2549"/>
                    <a:pt x="2870" y="2513"/>
                  </a:cubicBezTo>
                  <a:cubicBezTo>
                    <a:pt x="2965" y="2406"/>
                    <a:pt x="3013" y="2323"/>
                    <a:pt x="3060" y="2227"/>
                  </a:cubicBezTo>
                  <a:cubicBezTo>
                    <a:pt x="3358" y="2323"/>
                    <a:pt x="3953" y="2525"/>
                    <a:pt x="4227" y="2918"/>
                  </a:cubicBezTo>
                  <a:cubicBezTo>
                    <a:pt x="4144" y="3358"/>
                    <a:pt x="3763" y="3692"/>
                    <a:pt x="3299" y="3692"/>
                  </a:cubicBezTo>
                  <a:cubicBezTo>
                    <a:pt x="2834" y="3692"/>
                    <a:pt x="2441" y="3335"/>
                    <a:pt x="2394" y="2858"/>
                  </a:cubicBezTo>
                  <a:cubicBezTo>
                    <a:pt x="2394" y="2823"/>
                    <a:pt x="2382" y="2811"/>
                    <a:pt x="2358" y="2775"/>
                  </a:cubicBezTo>
                  <a:cubicBezTo>
                    <a:pt x="2263" y="2596"/>
                    <a:pt x="2203" y="2406"/>
                    <a:pt x="2203" y="2203"/>
                  </a:cubicBezTo>
                  <a:cubicBezTo>
                    <a:pt x="2203" y="1572"/>
                    <a:pt x="2703" y="1084"/>
                    <a:pt x="3311" y="1084"/>
                  </a:cubicBezTo>
                  <a:close/>
                  <a:moveTo>
                    <a:pt x="3715" y="3989"/>
                  </a:moveTo>
                  <a:lnTo>
                    <a:pt x="3715" y="4168"/>
                  </a:lnTo>
                  <a:cubicBezTo>
                    <a:pt x="3703" y="4228"/>
                    <a:pt x="3715" y="4287"/>
                    <a:pt x="3751" y="4323"/>
                  </a:cubicBezTo>
                  <a:lnTo>
                    <a:pt x="3584" y="4478"/>
                  </a:lnTo>
                  <a:cubicBezTo>
                    <a:pt x="3507" y="4543"/>
                    <a:pt x="3415" y="4576"/>
                    <a:pt x="3322" y="4576"/>
                  </a:cubicBezTo>
                  <a:cubicBezTo>
                    <a:pt x="3230" y="4576"/>
                    <a:pt x="3138" y="4543"/>
                    <a:pt x="3060" y="4478"/>
                  </a:cubicBezTo>
                  <a:lnTo>
                    <a:pt x="2894" y="4323"/>
                  </a:lnTo>
                  <a:cubicBezTo>
                    <a:pt x="2930" y="4287"/>
                    <a:pt x="2941" y="4228"/>
                    <a:pt x="2941" y="4168"/>
                  </a:cubicBezTo>
                  <a:lnTo>
                    <a:pt x="2941" y="3989"/>
                  </a:lnTo>
                  <a:cubicBezTo>
                    <a:pt x="3060" y="4025"/>
                    <a:pt x="3191" y="4049"/>
                    <a:pt x="3334" y="4049"/>
                  </a:cubicBezTo>
                  <a:cubicBezTo>
                    <a:pt x="3465" y="4049"/>
                    <a:pt x="3596" y="4025"/>
                    <a:pt x="3715" y="3989"/>
                  </a:cubicBezTo>
                  <a:close/>
                  <a:moveTo>
                    <a:pt x="4049" y="4549"/>
                  </a:moveTo>
                  <a:lnTo>
                    <a:pt x="4620" y="4835"/>
                  </a:lnTo>
                  <a:cubicBezTo>
                    <a:pt x="4763" y="4894"/>
                    <a:pt x="4835" y="5025"/>
                    <a:pt x="4835" y="5180"/>
                  </a:cubicBezTo>
                  <a:lnTo>
                    <a:pt x="3346" y="5180"/>
                  </a:lnTo>
                  <a:cubicBezTo>
                    <a:pt x="3156" y="5180"/>
                    <a:pt x="2989" y="5335"/>
                    <a:pt x="2989" y="5537"/>
                  </a:cubicBezTo>
                  <a:lnTo>
                    <a:pt x="2989" y="6275"/>
                  </a:lnTo>
                  <a:lnTo>
                    <a:pt x="2596" y="6275"/>
                  </a:lnTo>
                  <a:lnTo>
                    <a:pt x="2596" y="5561"/>
                  </a:lnTo>
                  <a:cubicBezTo>
                    <a:pt x="2596" y="5466"/>
                    <a:pt x="2525" y="5382"/>
                    <a:pt x="2418" y="5382"/>
                  </a:cubicBezTo>
                  <a:cubicBezTo>
                    <a:pt x="2322" y="5382"/>
                    <a:pt x="2239" y="5454"/>
                    <a:pt x="2239" y="5561"/>
                  </a:cubicBezTo>
                  <a:lnTo>
                    <a:pt x="2239" y="6442"/>
                  </a:lnTo>
                  <a:cubicBezTo>
                    <a:pt x="2239" y="6525"/>
                    <a:pt x="2322" y="6621"/>
                    <a:pt x="2418" y="6621"/>
                  </a:cubicBezTo>
                  <a:lnTo>
                    <a:pt x="2989" y="6621"/>
                  </a:lnTo>
                  <a:lnTo>
                    <a:pt x="2989" y="7002"/>
                  </a:lnTo>
                  <a:lnTo>
                    <a:pt x="2989" y="7026"/>
                  </a:lnTo>
                  <a:lnTo>
                    <a:pt x="2227" y="7026"/>
                  </a:lnTo>
                  <a:cubicBezTo>
                    <a:pt x="2025" y="7026"/>
                    <a:pt x="1846" y="6847"/>
                    <a:pt x="1846" y="6633"/>
                  </a:cubicBezTo>
                  <a:lnTo>
                    <a:pt x="1846" y="5180"/>
                  </a:lnTo>
                  <a:lnTo>
                    <a:pt x="1822" y="5180"/>
                  </a:lnTo>
                  <a:cubicBezTo>
                    <a:pt x="1822" y="5025"/>
                    <a:pt x="1906" y="4894"/>
                    <a:pt x="2037" y="4835"/>
                  </a:cubicBezTo>
                  <a:lnTo>
                    <a:pt x="2620" y="4549"/>
                  </a:lnTo>
                  <a:lnTo>
                    <a:pt x="2822" y="4740"/>
                  </a:lnTo>
                  <a:cubicBezTo>
                    <a:pt x="2953" y="4882"/>
                    <a:pt x="3156" y="4942"/>
                    <a:pt x="3334" y="4942"/>
                  </a:cubicBezTo>
                  <a:cubicBezTo>
                    <a:pt x="3513" y="4942"/>
                    <a:pt x="3692" y="4882"/>
                    <a:pt x="3834" y="4740"/>
                  </a:cubicBezTo>
                  <a:lnTo>
                    <a:pt x="4049" y="4549"/>
                  </a:lnTo>
                  <a:close/>
                  <a:moveTo>
                    <a:pt x="5537" y="5513"/>
                  </a:moveTo>
                  <a:lnTo>
                    <a:pt x="5549" y="7002"/>
                  </a:lnTo>
                  <a:cubicBezTo>
                    <a:pt x="5549" y="7002"/>
                    <a:pt x="5549" y="7026"/>
                    <a:pt x="5537" y="7026"/>
                  </a:cubicBezTo>
                  <a:lnTo>
                    <a:pt x="3311" y="7026"/>
                  </a:lnTo>
                  <a:cubicBezTo>
                    <a:pt x="3311" y="7026"/>
                    <a:pt x="3299" y="7026"/>
                    <a:pt x="3299" y="7002"/>
                  </a:cubicBezTo>
                  <a:lnTo>
                    <a:pt x="3299" y="5537"/>
                  </a:lnTo>
                  <a:cubicBezTo>
                    <a:pt x="3299" y="5537"/>
                    <a:pt x="3299" y="5513"/>
                    <a:pt x="3311" y="5513"/>
                  </a:cubicBezTo>
                  <a:close/>
                  <a:moveTo>
                    <a:pt x="11097" y="7359"/>
                  </a:moveTo>
                  <a:lnTo>
                    <a:pt x="11097" y="7752"/>
                  </a:lnTo>
                  <a:lnTo>
                    <a:pt x="727" y="7752"/>
                  </a:lnTo>
                  <a:lnTo>
                    <a:pt x="727" y="7359"/>
                  </a:lnTo>
                  <a:close/>
                  <a:moveTo>
                    <a:pt x="3311" y="1"/>
                  </a:moveTo>
                  <a:cubicBezTo>
                    <a:pt x="2810" y="1"/>
                    <a:pt x="2406" y="370"/>
                    <a:pt x="2406" y="810"/>
                  </a:cubicBezTo>
                  <a:cubicBezTo>
                    <a:pt x="2406" y="894"/>
                    <a:pt x="2418" y="965"/>
                    <a:pt x="2441" y="1025"/>
                  </a:cubicBezTo>
                  <a:cubicBezTo>
                    <a:pt x="2084" y="1287"/>
                    <a:pt x="1858" y="1727"/>
                    <a:pt x="1858" y="2203"/>
                  </a:cubicBezTo>
                  <a:cubicBezTo>
                    <a:pt x="1858" y="2454"/>
                    <a:pt x="1929" y="2704"/>
                    <a:pt x="2048" y="2930"/>
                  </a:cubicBezTo>
                  <a:cubicBezTo>
                    <a:pt x="2096" y="3299"/>
                    <a:pt x="2298" y="3608"/>
                    <a:pt x="2584" y="3811"/>
                  </a:cubicBezTo>
                  <a:lnTo>
                    <a:pt x="2584" y="4168"/>
                  </a:lnTo>
                  <a:lnTo>
                    <a:pt x="2584" y="4180"/>
                  </a:lnTo>
                  <a:lnTo>
                    <a:pt x="1882" y="4537"/>
                  </a:lnTo>
                  <a:cubicBezTo>
                    <a:pt x="1632" y="4656"/>
                    <a:pt x="1489" y="4906"/>
                    <a:pt x="1489" y="5192"/>
                  </a:cubicBezTo>
                  <a:lnTo>
                    <a:pt x="1489" y="6645"/>
                  </a:lnTo>
                  <a:cubicBezTo>
                    <a:pt x="1489" y="6787"/>
                    <a:pt x="1525" y="6918"/>
                    <a:pt x="1584" y="7037"/>
                  </a:cubicBezTo>
                  <a:lnTo>
                    <a:pt x="179" y="7037"/>
                  </a:lnTo>
                  <a:cubicBezTo>
                    <a:pt x="84" y="7037"/>
                    <a:pt x="1" y="7109"/>
                    <a:pt x="1" y="7216"/>
                  </a:cubicBezTo>
                  <a:cubicBezTo>
                    <a:pt x="1" y="7323"/>
                    <a:pt x="72" y="7395"/>
                    <a:pt x="179" y="7395"/>
                  </a:cubicBezTo>
                  <a:lnTo>
                    <a:pt x="370" y="7395"/>
                  </a:lnTo>
                  <a:lnTo>
                    <a:pt x="370" y="9073"/>
                  </a:lnTo>
                  <a:cubicBezTo>
                    <a:pt x="370" y="9169"/>
                    <a:pt x="441" y="9252"/>
                    <a:pt x="548" y="9252"/>
                  </a:cubicBezTo>
                  <a:cubicBezTo>
                    <a:pt x="655" y="9252"/>
                    <a:pt x="727" y="9181"/>
                    <a:pt x="727" y="9073"/>
                  </a:cubicBezTo>
                  <a:lnTo>
                    <a:pt x="727" y="8133"/>
                  </a:lnTo>
                  <a:lnTo>
                    <a:pt x="11097" y="8133"/>
                  </a:lnTo>
                  <a:lnTo>
                    <a:pt x="11097" y="9073"/>
                  </a:lnTo>
                  <a:cubicBezTo>
                    <a:pt x="11097" y="9169"/>
                    <a:pt x="11169" y="9252"/>
                    <a:pt x="11276" y="9252"/>
                  </a:cubicBezTo>
                  <a:cubicBezTo>
                    <a:pt x="11383" y="9252"/>
                    <a:pt x="11454" y="9181"/>
                    <a:pt x="11454" y="9073"/>
                  </a:cubicBezTo>
                  <a:lnTo>
                    <a:pt x="11454" y="7395"/>
                  </a:lnTo>
                  <a:lnTo>
                    <a:pt x="11645" y="7395"/>
                  </a:lnTo>
                  <a:cubicBezTo>
                    <a:pt x="11740" y="7395"/>
                    <a:pt x="11823" y="7323"/>
                    <a:pt x="11823" y="7216"/>
                  </a:cubicBezTo>
                  <a:cubicBezTo>
                    <a:pt x="11812" y="7097"/>
                    <a:pt x="11740" y="7026"/>
                    <a:pt x="11633" y="7026"/>
                  </a:cubicBezTo>
                  <a:lnTo>
                    <a:pt x="5894" y="7026"/>
                  </a:lnTo>
                  <a:lnTo>
                    <a:pt x="5894" y="7002"/>
                  </a:lnTo>
                  <a:lnTo>
                    <a:pt x="5894" y="5537"/>
                  </a:lnTo>
                  <a:cubicBezTo>
                    <a:pt x="5894" y="5335"/>
                    <a:pt x="5727" y="5180"/>
                    <a:pt x="5537" y="5180"/>
                  </a:cubicBezTo>
                  <a:lnTo>
                    <a:pt x="5144" y="5180"/>
                  </a:lnTo>
                  <a:cubicBezTo>
                    <a:pt x="5144" y="4894"/>
                    <a:pt x="5001" y="4656"/>
                    <a:pt x="4739" y="4537"/>
                  </a:cubicBezTo>
                  <a:lnTo>
                    <a:pt x="4049" y="4180"/>
                  </a:lnTo>
                  <a:lnTo>
                    <a:pt x="4049" y="4168"/>
                  </a:lnTo>
                  <a:lnTo>
                    <a:pt x="4049" y="3811"/>
                  </a:lnTo>
                  <a:cubicBezTo>
                    <a:pt x="4323" y="3608"/>
                    <a:pt x="4537" y="3299"/>
                    <a:pt x="4584" y="2930"/>
                  </a:cubicBezTo>
                  <a:cubicBezTo>
                    <a:pt x="4715" y="2704"/>
                    <a:pt x="4775" y="2454"/>
                    <a:pt x="4775" y="2203"/>
                  </a:cubicBezTo>
                  <a:cubicBezTo>
                    <a:pt x="4775" y="1727"/>
                    <a:pt x="4549" y="1287"/>
                    <a:pt x="4192" y="1025"/>
                  </a:cubicBezTo>
                  <a:cubicBezTo>
                    <a:pt x="4203" y="953"/>
                    <a:pt x="4227" y="894"/>
                    <a:pt x="4227" y="810"/>
                  </a:cubicBezTo>
                  <a:cubicBezTo>
                    <a:pt x="4227" y="370"/>
                    <a:pt x="3811" y="1"/>
                    <a:pt x="331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5" name="Google Shape;13425;p64"/>
            <p:cNvSpPr/>
            <p:nvPr/>
          </p:nvSpPr>
          <p:spPr>
            <a:xfrm>
              <a:off x="983561" y="2677389"/>
              <a:ext cx="23140" cy="11395"/>
            </a:xfrm>
            <a:custGeom>
              <a:avLst/>
              <a:gdLst/>
              <a:ahLst/>
              <a:cxnLst/>
              <a:rect l="l" t="t" r="r" b="b"/>
              <a:pathLst>
                <a:path w="727" h="358" extrusionOk="0">
                  <a:moveTo>
                    <a:pt x="179" y="1"/>
                  </a:moveTo>
                  <a:cubicBezTo>
                    <a:pt x="84" y="1"/>
                    <a:pt x="1" y="72"/>
                    <a:pt x="1" y="179"/>
                  </a:cubicBezTo>
                  <a:cubicBezTo>
                    <a:pt x="1" y="275"/>
                    <a:pt x="72" y="358"/>
                    <a:pt x="179" y="358"/>
                  </a:cubicBezTo>
                  <a:lnTo>
                    <a:pt x="548" y="358"/>
                  </a:lnTo>
                  <a:cubicBezTo>
                    <a:pt x="644" y="358"/>
                    <a:pt x="727" y="287"/>
                    <a:pt x="727" y="179"/>
                  </a:cubicBezTo>
                  <a:cubicBezTo>
                    <a:pt x="727" y="72"/>
                    <a:pt x="655" y="1"/>
                    <a:pt x="54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6" name="Google Shape;13426;p64"/>
            <p:cNvSpPr/>
            <p:nvPr/>
          </p:nvSpPr>
          <p:spPr>
            <a:xfrm>
              <a:off x="1030925" y="2447736"/>
              <a:ext cx="187638" cy="183086"/>
            </a:xfrm>
            <a:custGeom>
              <a:avLst/>
              <a:gdLst/>
              <a:ahLst/>
              <a:cxnLst/>
              <a:rect l="l" t="t" r="r" b="b"/>
              <a:pathLst>
                <a:path w="5895" h="5752" extrusionOk="0">
                  <a:moveTo>
                    <a:pt x="5168" y="358"/>
                  </a:moveTo>
                  <a:cubicBezTo>
                    <a:pt x="5371" y="358"/>
                    <a:pt x="5549" y="536"/>
                    <a:pt x="5549" y="739"/>
                  </a:cubicBezTo>
                  <a:lnTo>
                    <a:pt x="5549" y="3692"/>
                  </a:lnTo>
                  <a:cubicBezTo>
                    <a:pt x="5549" y="3894"/>
                    <a:pt x="5371" y="4073"/>
                    <a:pt x="5168" y="4073"/>
                  </a:cubicBezTo>
                  <a:lnTo>
                    <a:pt x="2942" y="4073"/>
                  </a:lnTo>
                  <a:cubicBezTo>
                    <a:pt x="2918" y="4073"/>
                    <a:pt x="2870" y="4096"/>
                    <a:pt x="2846" y="4108"/>
                  </a:cubicBezTo>
                  <a:lnTo>
                    <a:pt x="1192" y="5311"/>
                  </a:lnTo>
                  <a:lnTo>
                    <a:pt x="1192" y="5311"/>
                  </a:lnTo>
                  <a:lnTo>
                    <a:pt x="1442" y="4299"/>
                  </a:lnTo>
                  <a:cubicBezTo>
                    <a:pt x="1453" y="4251"/>
                    <a:pt x="1442" y="4192"/>
                    <a:pt x="1418" y="4156"/>
                  </a:cubicBezTo>
                  <a:cubicBezTo>
                    <a:pt x="1382" y="4108"/>
                    <a:pt x="1322" y="4096"/>
                    <a:pt x="1275" y="4096"/>
                  </a:cubicBezTo>
                  <a:lnTo>
                    <a:pt x="727" y="4096"/>
                  </a:lnTo>
                  <a:cubicBezTo>
                    <a:pt x="525" y="4096"/>
                    <a:pt x="346" y="3918"/>
                    <a:pt x="346" y="3703"/>
                  </a:cubicBezTo>
                  <a:lnTo>
                    <a:pt x="346" y="739"/>
                  </a:lnTo>
                  <a:cubicBezTo>
                    <a:pt x="346" y="536"/>
                    <a:pt x="525" y="358"/>
                    <a:pt x="727" y="358"/>
                  </a:cubicBezTo>
                  <a:close/>
                  <a:moveTo>
                    <a:pt x="727" y="1"/>
                  </a:moveTo>
                  <a:cubicBezTo>
                    <a:pt x="322" y="1"/>
                    <a:pt x="1" y="322"/>
                    <a:pt x="1" y="727"/>
                  </a:cubicBezTo>
                  <a:lnTo>
                    <a:pt x="1" y="3692"/>
                  </a:lnTo>
                  <a:cubicBezTo>
                    <a:pt x="1" y="4084"/>
                    <a:pt x="322" y="4418"/>
                    <a:pt x="727" y="4418"/>
                  </a:cubicBezTo>
                  <a:lnTo>
                    <a:pt x="1049" y="4418"/>
                  </a:lnTo>
                  <a:lnTo>
                    <a:pt x="799" y="5430"/>
                  </a:lnTo>
                  <a:cubicBezTo>
                    <a:pt x="775" y="5537"/>
                    <a:pt x="822" y="5656"/>
                    <a:pt x="906" y="5716"/>
                  </a:cubicBezTo>
                  <a:cubicBezTo>
                    <a:pt x="953" y="5739"/>
                    <a:pt x="1013" y="5751"/>
                    <a:pt x="1049" y="5751"/>
                  </a:cubicBezTo>
                  <a:cubicBezTo>
                    <a:pt x="1120" y="5751"/>
                    <a:pt x="1156" y="5739"/>
                    <a:pt x="1203" y="5716"/>
                  </a:cubicBezTo>
                  <a:lnTo>
                    <a:pt x="2989" y="4418"/>
                  </a:lnTo>
                  <a:lnTo>
                    <a:pt x="5168" y="4418"/>
                  </a:lnTo>
                  <a:cubicBezTo>
                    <a:pt x="5561" y="4418"/>
                    <a:pt x="5894" y="4084"/>
                    <a:pt x="5894" y="3692"/>
                  </a:cubicBezTo>
                  <a:lnTo>
                    <a:pt x="5894" y="727"/>
                  </a:lnTo>
                  <a:cubicBezTo>
                    <a:pt x="5894" y="322"/>
                    <a:pt x="5561" y="1"/>
                    <a:pt x="516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7" name="Google Shape;13427;p64"/>
            <p:cNvSpPr/>
            <p:nvPr/>
          </p:nvSpPr>
          <p:spPr>
            <a:xfrm>
              <a:off x="1066574" y="2483353"/>
              <a:ext cx="28806" cy="11045"/>
            </a:xfrm>
            <a:custGeom>
              <a:avLst/>
              <a:gdLst/>
              <a:ahLst/>
              <a:cxnLst/>
              <a:rect l="l" t="t" r="r" b="b"/>
              <a:pathLst>
                <a:path w="905" h="347" extrusionOk="0">
                  <a:moveTo>
                    <a:pt x="179" y="1"/>
                  </a:moveTo>
                  <a:cubicBezTo>
                    <a:pt x="83" y="1"/>
                    <a:pt x="0" y="72"/>
                    <a:pt x="0" y="179"/>
                  </a:cubicBezTo>
                  <a:cubicBezTo>
                    <a:pt x="0" y="263"/>
                    <a:pt x="72" y="346"/>
                    <a:pt x="179" y="346"/>
                  </a:cubicBezTo>
                  <a:lnTo>
                    <a:pt x="726" y="346"/>
                  </a:lnTo>
                  <a:cubicBezTo>
                    <a:pt x="810" y="346"/>
                    <a:pt x="905" y="275"/>
                    <a:pt x="905" y="179"/>
                  </a:cubicBezTo>
                  <a:cubicBezTo>
                    <a:pt x="893" y="72"/>
                    <a:pt x="810" y="1"/>
                    <a:pt x="72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8" name="Google Shape;13428;p64"/>
            <p:cNvSpPr/>
            <p:nvPr/>
          </p:nvSpPr>
          <p:spPr>
            <a:xfrm>
              <a:off x="1107126" y="2483353"/>
              <a:ext cx="76201" cy="11045"/>
            </a:xfrm>
            <a:custGeom>
              <a:avLst/>
              <a:gdLst/>
              <a:ahLst/>
              <a:cxnLst/>
              <a:rect l="l" t="t" r="r" b="b"/>
              <a:pathLst>
                <a:path w="2394" h="347" extrusionOk="0">
                  <a:moveTo>
                    <a:pt x="179" y="1"/>
                  </a:moveTo>
                  <a:cubicBezTo>
                    <a:pt x="95" y="1"/>
                    <a:pt x="0" y="72"/>
                    <a:pt x="0" y="179"/>
                  </a:cubicBezTo>
                  <a:cubicBezTo>
                    <a:pt x="0" y="263"/>
                    <a:pt x="71" y="346"/>
                    <a:pt x="179" y="346"/>
                  </a:cubicBezTo>
                  <a:lnTo>
                    <a:pt x="2215" y="346"/>
                  </a:lnTo>
                  <a:cubicBezTo>
                    <a:pt x="2310" y="346"/>
                    <a:pt x="2393" y="275"/>
                    <a:pt x="2393" y="179"/>
                  </a:cubicBezTo>
                  <a:cubicBezTo>
                    <a:pt x="2393" y="72"/>
                    <a:pt x="2310" y="1"/>
                    <a:pt x="22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9" name="Google Shape;13429;p64"/>
            <p:cNvSpPr/>
            <p:nvPr/>
          </p:nvSpPr>
          <p:spPr>
            <a:xfrm>
              <a:off x="1065810" y="2512542"/>
              <a:ext cx="117516" cy="11395"/>
            </a:xfrm>
            <a:custGeom>
              <a:avLst/>
              <a:gdLst/>
              <a:ahLst/>
              <a:cxnLst/>
              <a:rect l="l" t="t" r="r" b="b"/>
              <a:pathLst>
                <a:path w="3692" h="358" extrusionOk="0">
                  <a:moveTo>
                    <a:pt x="179" y="1"/>
                  </a:moveTo>
                  <a:cubicBezTo>
                    <a:pt x="96" y="1"/>
                    <a:pt x="0" y="72"/>
                    <a:pt x="0" y="179"/>
                  </a:cubicBezTo>
                  <a:cubicBezTo>
                    <a:pt x="0" y="274"/>
                    <a:pt x="84" y="358"/>
                    <a:pt x="179" y="358"/>
                  </a:cubicBezTo>
                  <a:lnTo>
                    <a:pt x="3513" y="358"/>
                  </a:lnTo>
                  <a:cubicBezTo>
                    <a:pt x="3608" y="358"/>
                    <a:pt x="3691" y="286"/>
                    <a:pt x="3691" y="179"/>
                  </a:cubicBezTo>
                  <a:cubicBezTo>
                    <a:pt x="3691" y="72"/>
                    <a:pt x="3608" y="1"/>
                    <a:pt x="3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0" name="Google Shape;13430;p64"/>
            <p:cNvSpPr/>
            <p:nvPr/>
          </p:nvSpPr>
          <p:spPr>
            <a:xfrm>
              <a:off x="1065810" y="2542112"/>
              <a:ext cx="76583" cy="11395"/>
            </a:xfrm>
            <a:custGeom>
              <a:avLst/>
              <a:gdLst/>
              <a:ahLst/>
              <a:cxnLst/>
              <a:rect l="l" t="t" r="r" b="b"/>
              <a:pathLst>
                <a:path w="2406" h="358" extrusionOk="0">
                  <a:moveTo>
                    <a:pt x="179" y="0"/>
                  </a:moveTo>
                  <a:cubicBezTo>
                    <a:pt x="96" y="0"/>
                    <a:pt x="0" y="72"/>
                    <a:pt x="0" y="179"/>
                  </a:cubicBezTo>
                  <a:cubicBezTo>
                    <a:pt x="0" y="262"/>
                    <a:pt x="84" y="357"/>
                    <a:pt x="179" y="357"/>
                  </a:cubicBezTo>
                  <a:lnTo>
                    <a:pt x="2227" y="357"/>
                  </a:lnTo>
                  <a:cubicBezTo>
                    <a:pt x="2310" y="357"/>
                    <a:pt x="2405" y="274"/>
                    <a:pt x="2405" y="179"/>
                  </a:cubicBezTo>
                  <a:cubicBezTo>
                    <a:pt x="2405" y="72"/>
                    <a:pt x="2310" y="0"/>
                    <a:pt x="2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1" name="Google Shape;13431;p64"/>
            <p:cNvSpPr/>
            <p:nvPr/>
          </p:nvSpPr>
          <p:spPr>
            <a:xfrm>
              <a:off x="1154489" y="2542112"/>
              <a:ext cx="28838" cy="11395"/>
            </a:xfrm>
            <a:custGeom>
              <a:avLst/>
              <a:gdLst/>
              <a:ahLst/>
              <a:cxnLst/>
              <a:rect l="l" t="t" r="r" b="b"/>
              <a:pathLst>
                <a:path w="906" h="358" extrusionOk="0">
                  <a:moveTo>
                    <a:pt x="179" y="0"/>
                  </a:moveTo>
                  <a:cubicBezTo>
                    <a:pt x="96" y="0"/>
                    <a:pt x="0" y="72"/>
                    <a:pt x="0" y="179"/>
                  </a:cubicBezTo>
                  <a:cubicBezTo>
                    <a:pt x="0" y="262"/>
                    <a:pt x="72" y="357"/>
                    <a:pt x="179" y="357"/>
                  </a:cubicBezTo>
                  <a:lnTo>
                    <a:pt x="727" y="357"/>
                  </a:lnTo>
                  <a:cubicBezTo>
                    <a:pt x="822" y="357"/>
                    <a:pt x="905" y="274"/>
                    <a:pt x="905" y="179"/>
                  </a:cubicBezTo>
                  <a:cubicBezTo>
                    <a:pt x="905"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2" name="Google Shape;13432;p64"/>
          <p:cNvGrpSpPr/>
          <p:nvPr/>
        </p:nvGrpSpPr>
        <p:grpSpPr>
          <a:xfrm>
            <a:off x="4206763" y="2450951"/>
            <a:ext cx="322151" cy="322374"/>
            <a:chOff x="4206763" y="2450951"/>
            <a:chExt cx="322151" cy="322374"/>
          </a:xfrm>
        </p:grpSpPr>
        <p:sp>
          <p:nvSpPr>
            <p:cNvPr id="13433" name="Google Shape;13433;p64"/>
            <p:cNvSpPr/>
            <p:nvPr/>
          </p:nvSpPr>
          <p:spPr>
            <a:xfrm>
              <a:off x="4206763" y="2571650"/>
              <a:ext cx="322151" cy="201675"/>
            </a:xfrm>
            <a:custGeom>
              <a:avLst/>
              <a:gdLst/>
              <a:ahLst/>
              <a:cxnLst/>
              <a:rect l="l" t="t" r="r" b="b"/>
              <a:pathLst>
                <a:path w="10121" h="6336" extrusionOk="0">
                  <a:moveTo>
                    <a:pt x="2691" y="2847"/>
                  </a:moveTo>
                  <a:lnTo>
                    <a:pt x="2691" y="6037"/>
                  </a:lnTo>
                  <a:lnTo>
                    <a:pt x="1393" y="6037"/>
                  </a:lnTo>
                  <a:lnTo>
                    <a:pt x="1393" y="2847"/>
                  </a:lnTo>
                  <a:close/>
                  <a:moveTo>
                    <a:pt x="5703" y="2049"/>
                  </a:moveTo>
                  <a:lnTo>
                    <a:pt x="5703" y="6037"/>
                  </a:lnTo>
                  <a:lnTo>
                    <a:pt x="4406" y="6037"/>
                  </a:lnTo>
                  <a:lnTo>
                    <a:pt x="4406" y="2049"/>
                  </a:lnTo>
                  <a:close/>
                  <a:moveTo>
                    <a:pt x="8704" y="299"/>
                  </a:moveTo>
                  <a:lnTo>
                    <a:pt x="8704" y="6037"/>
                  </a:lnTo>
                  <a:lnTo>
                    <a:pt x="7406" y="6037"/>
                  </a:lnTo>
                  <a:lnTo>
                    <a:pt x="7406" y="299"/>
                  </a:lnTo>
                  <a:close/>
                  <a:moveTo>
                    <a:pt x="7275" y="1"/>
                  </a:moveTo>
                  <a:cubicBezTo>
                    <a:pt x="7192" y="1"/>
                    <a:pt x="7132" y="61"/>
                    <a:pt x="7132" y="156"/>
                  </a:cubicBezTo>
                  <a:lnTo>
                    <a:pt x="7132" y="6037"/>
                  </a:lnTo>
                  <a:lnTo>
                    <a:pt x="6001" y="6037"/>
                  </a:lnTo>
                  <a:lnTo>
                    <a:pt x="6001" y="1894"/>
                  </a:lnTo>
                  <a:cubicBezTo>
                    <a:pt x="6001" y="1811"/>
                    <a:pt x="5941" y="1751"/>
                    <a:pt x="5846" y="1751"/>
                  </a:cubicBezTo>
                  <a:lnTo>
                    <a:pt x="4275" y="1751"/>
                  </a:lnTo>
                  <a:cubicBezTo>
                    <a:pt x="4179" y="1751"/>
                    <a:pt x="4120" y="1811"/>
                    <a:pt x="4120" y="1894"/>
                  </a:cubicBezTo>
                  <a:lnTo>
                    <a:pt x="4120" y="6037"/>
                  </a:lnTo>
                  <a:lnTo>
                    <a:pt x="2989" y="6037"/>
                  </a:lnTo>
                  <a:lnTo>
                    <a:pt x="2989" y="2704"/>
                  </a:lnTo>
                  <a:cubicBezTo>
                    <a:pt x="2989" y="2608"/>
                    <a:pt x="2929" y="2549"/>
                    <a:pt x="2846" y="2549"/>
                  </a:cubicBezTo>
                  <a:lnTo>
                    <a:pt x="1262" y="2549"/>
                  </a:lnTo>
                  <a:cubicBezTo>
                    <a:pt x="1167" y="2549"/>
                    <a:pt x="1119" y="2608"/>
                    <a:pt x="1119" y="2704"/>
                  </a:cubicBezTo>
                  <a:lnTo>
                    <a:pt x="1119" y="6037"/>
                  </a:lnTo>
                  <a:lnTo>
                    <a:pt x="143" y="6037"/>
                  </a:lnTo>
                  <a:cubicBezTo>
                    <a:pt x="60" y="6037"/>
                    <a:pt x="0" y="6097"/>
                    <a:pt x="0" y="6180"/>
                  </a:cubicBezTo>
                  <a:cubicBezTo>
                    <a:pt x="0" y="6276"/>
                    <a:pt x="60" y="6335"/>
                    <a:pt x="143" y="6335"/>
                  </a:cubicBezTo>
                  <a:lnTo>
                    <a:pt x="9966" y="6335"/>
                  </a:lnTo>
                  <a:cubicBezTo>
                    <a:pt x="10061" y="6335"/>
                    <a:pt x="10121" y="6276"/>
                    <a:pt x="10121" y="6180"/>
                  </a:cubicBezTo>
                  <a:cubicBezTo>
                    <a:pt x="10121" y="6109"/>
                    <a:pt x="10049" y="6037"/>
                    <a:pt x="9966" y="6037"/>
                  </a:cubicBezTo>
                  <a:lnTo>
                    <a:pt x="9001" y="6037"/>
                  </a:lnTo>
                  <a:lnTo>
                    <a:pt x="9001" y="156"/>
                  </a:lnTo>
                  <a:cubicBezTo>
                    <a:pt x="9001" y="61"/>
                    <a:pt x="8942" y="1"/>
                    <a:pt x="885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4" name="Google Shape;13434;p64"/>
            <p:cNvSpPr/>
            <p:nvPr/>
          </p:nvSpPr>
          <p:spPr>
            <a:xfrm>
              <a:off x="4210933" y="2450951"/>
              <a:ext cx="308878" cy="185537"/>
            </a:xfrm>
            <a:custGeom>
              <a:avLst/>
              <a:gdLst/>
              <a:ahLst/>
              <a:cxnLst/>
              <a:rect l="l" t="t" r="r" b="b"/>
              <a:pathLst>
                <a:path w="9704" h="5829" extrusionOk="0">
                  <a:moveTo>
                    <a:pt x="9212" y="1"/>
                  </a:moveTo>
                  <a:cubicBezTo>
                    <a:pt x="9189" y="1"/>
                    <a:pt x="9167" y="3"/>
                    <a:pt x="9144" y="7"/>
                  </a:cubicBezTo>
                  <a:lnTo>
                    <a:pt x="7870" y="162"/>
                  </a:lnTo>
                  <a:cubicBezTo>
                    <a:pt x="7620" y="197"/>
                    <a:pt x="7442" y="435"/>
                    <a:pt x="7477" y="685"/>
                  </a:cubicBezTo>
                  <a:cubicBezTo>
                    <a:pt x="7500" y="920"/>
                    <a:pt x="7711" y="1092"/>
                    <a:pt x="7944" y="1092"/>
                  </a:cubicBezTo>
                  <a:cubicBezTo>
                    <a:pt x="7959" y="1092"/>
                    <a:pt x="7974" y="1092"/>
                    <a:pt x="7989" y="1090"/>
                  </a:cubicBezTo>
                  <a:lnTo>
                    <a:pt x="8096" y="1066"/>
                  </a:lnTo>
                  <a:lnTo>
                    <a:pt x="8096" y="1066"/>
                  </a:lnTo>
                  <a:cubicBezTo>
                    <a:pt x="6537" y="2876"/>
                    <a:pt x="4691" y="3805"/>
                    <a:pt x="3382" y="4269"/>
                  </a:cubicBezTo>
                  <a:cubicBezTo>
                    <a:pt x="1739" y="4853"/>
                    <a:pt x="476" y="4912"/>
                    <a:pt x="465" y="4912"/>
                  </a:cubicBezTo>
                  <a:cubicBezTo>
                    <a:pt x="203" y="4924"/>
                    <a:pt x="0" y="5138"/>
                    <a:pt x="12" y="5388"/>
                  </a:cubicBezTo>
                  <a:cubicBezTo>
                    <a:pt x="36" y="5638"/>
                    <a:pt x="226" y="5829"/>
                    <a:pt x="476" y="5829"/>
                  </a:cubicBezTo>
                  <a:lnTo>
                    <a:pt x="488" y="5829"/>
                  </a:lnTo>
                  <a:cubicBezTo>
                    <a:pt x="548" y="5829"/>
                    <a:pt x="1893" y="5793"/>
                    <a:pt x="3667" y="5150"/>
                  </a:cubicBezTo>
                  <a:cubicBezTo>
                    <a:pt x="4656" y="4793"/>
                    <a:pt x="5596" y="4317"/>
                    <a:pt x="6442" y="3745"/>
                  </a:cubicBezTo>
                  <a:cubicBezTo>
                    <a:pt x="6525" y="3710"/>
                    <a:pt x="6537" y="3614"/>
                    <a:pt x="6489" y="3543"/>
                  </a:cubicBezTo>
                  <a:cubicBezTo>
                    <a:pt x="6458" y="3497"/>
                    <a:pt x="6413" y="3471"/>
                    <a:pt x="6365" y="3471"/>
                  </a:cubicBezTo>
                  <a:cubicBezTo>
                    <a:pt x="6339" y="3471"/>
                    <a:pt x="6312" y="3478"/>
                    <a:pt x="6287" y="3495"/>
                  </a:cubicBezTo>
                  <a:cubicBezTo>
                    <a:pt x="5453" y="4067"/>
                    <a:pt x="4537" y="4519"/>
                    <a:pt x="3560" y="4865"/>
                  </a:cubicBezTo>
                  <a:cubicBezTo>
                    <a:pt x="1834" y="5484"/>
                    <a:pt x="536" y="5519"/>
                    <a:pt x="476" y="5531"/>
                  </a:cubicBezTo>
                  <a:cubicBezTo>
                    <a:pt x="393" y="5531"/>
                    <a:pt x="310" y="5460"/>
                    <a:pt x="310" y="5377"/>
                  </a:cubicBezTo>
                  <a:cubicBezTo>
                    <a:pt x="310" y="5281"/>
                    <a:pt x="393" y="5210"/>
                    <a:pt x="476" y="5198"/>
                  </a:cubicBezTo>
                  <a:cubicBezTo>
                    <a:pt x="488" y="5198"/>
                    <a:pt x="1798" y="5150"/>
                    <a:pt x="3489" y="4543"/>
                  </a:cubicBezTo>
                  <a:cubicBezTo>
                    <a:pt x="4894" y="4031"/>
                    <a:pt x="6918" y="3007"/>
                    <a:pt x="8573" y="947"/>
                  </a:cubicBezTo>
                  <a:cubicBezTo>
                    <a:pt x="8664" y="856"/>
                    <a:pt x="8579" y="709"/>
                    <a:pt x="8456" y="709"/>
                  </a:cubicBezTo>
                  <a:cubicBezTo>
                    <a:pt x="8451" y="709"/>
                    <a:pt x="8447" y="709"/>
                    <a:pt x="8442" y="709"/>
                  </a:cubicBezTo>
                  <a:lnTo>
                    <a:pt x="7966" y="769"/>
                  </a:lnTo>
                  <a:cubicBezTo>
                    <a:pt x="7951" y="772"/>
                    <a:pt x="7937" y="774"/>
                    <a:pt x="7924" y="774"/>
                  </a:cubicBezTo>
                  <a:cubicBezTo>
                    <a:pt x="7850" y="774"/>
                    <a:pt x="7797" y="720"/>
                    <a:pt x="7787" y="650"/>
                  </a:cubicBezTo>
                  <a:cubicBezTo>
                    <a:pt x="7751" y="554"/>
                    <a:pt x="7835" y="459"/>
                    <a:pt x="7930" y="447"/>
                  </a:cubicBezTo>
                  <a:lnTo>
                    <a:pt x="9204" y="281"/>
                  </a:lnTo>
                  <a:cubicBezTo>
                    <a:pt x="9210" y="280"/>
                    <a:pt x="9216" y="280"/>
                    <a:pt x="9222" y="280"/>
                  </a:cubicBezTo>
                  <a:cubicBezTo>
                    <a:pt x="9311" y="280"/>
                    <a:pt x="9394" y="358"/>
                    <a:pt x="9394" y="447"/>
                  </a:cubicBezTo>
                  <a:lnTo>
                    <a:pt x="9394" y="1709"/>
                  </a:lnTo>
                  <a:cubicBezTo>
                    <a:pt x="9394" y="1805"/>
                    <a:pt x="9323" y="1876"/>
                    <a:pt x="9228" y="1876"/>
                  </a:cubicBezTo>
                  <a:cubicBezTo>
                    <a:pt x="9132" y="1876"/>
                    <a:pt x="9061" y="1805"/>
                    <a:pt x="9061" y="1709"/>
                  </a:cubicBezTo>
                  <a:lnTo>
                    <a:pt x="9061" y="1328"/>
                  </a:lnTo>
                  <a:cubicBezTo>
                    <a:pt x="9061" y="1269"/>
                    <a:pt x="9025" y="1209"/>
                    <a:pt x="8978" y="1186"/>
                  </a:cubicBezTo>
                  <a:cubicBezTo>
                    <a:pt x="8963" y="1183"/>
                    <a:pt x="8948" y="1181"/>
                    <a:pt x="8932" y="1181"/>
                  </a:cubicBezTo>
                  <a:cubicBezTo>
                    <a:pt x="8882" y="1181"/>
                    <a:pt x="8829" y="1197"/>
                    <a:pt x="8811" y="1233"/>
                  </a:cubicBezTo>
                  <a:cubicBezTo>
                    <a:pt x="8263" y="1924"/>
                    <a:pt x="7620" y="2531"/>
                    <a:pt x="6930" y="3067"/>
                  </a:cubicBezTo>
                  <a:cubicBezTo>
                    <a:pt x="6870" y="3114"/>
                    <a:pt x="6858" y="3210"/>
                    <a:pt x="6906" y="3269"/>
                  </a:cubicBezTo>
                  <a:cubicBezTo>
                    <a:pt x="6936" y="3307"/>
                    <a:pt x="6985" y="3330"/>
                    <a:pt x="7032" y="3330"/>
                  </a:cubicBezTo>
                  <a:cubicBezTo>
                    <a:pt x="7060" y="3330"/>
                    <a:pt x="7086" y="3322"/>
                    <a:pt x="7108" y="3305"/>
                  </a:cubicBezTo>
                  <a:cubicBezTo>
                    <a:pt x="7704" y="2840"/>
                    <a:pt x="8275" y="2305"/>
                    <a:pt x="8775" y="1745"/>
                  </a:cubicBezTo>
                  <a:cubicBezTo>
                    <a:pt x="8799" y="1995"/>
                    <a:pt x="8989" y="2186"/>
                    <a:pt x="9239" y="2186"/>
                  </a:cubicBezTo>
                  <a:cubicBezTo>
                    <a:pt x="9490" y="2186"/>
                    <a:pt x="9704" y="1983"/>
                    <a:pt x="9704" y="1721"/>
                  </a:cubicBezTo>
                  <a:lnTo>
                    <a:pt x="9704" y="459"/>
                  </a:lnTo>
                  <a:cubicBezTo>
                    <a:pt x="9680" y="328"/>
                    <a:pt x="9620" y="209"/>
                    <a:pt x="9513" y="126"/>
                  </a:cubicBezTo>
                  <a:cubicBezTo>
                    <a:pt x="9425" y="47"/>
                    <a:pt x="9319" y="1"/>
                    <a:pt x="921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35" name="Google Shape;13435;p64"/>
          <p:cNvGrpSpPr/>
          <p:nvPr/>
        </p:nvGrpSpPr>
        <p:grpSpPr>
          <a:xfrm>
            <a:off x="7528096" y="2450059"/>
            <a:ext cx="327976" cy="324316"/>
            <a:chOff x="7528096" y="2450059"/>
            <a:chExt cx="327976" cy="324316"/>
          </a:xfrm>
        </p:grpSpPr>
        <p:sp>
          <p:nvSpPr>
            <p:cNvPr id="13436" name="Google Shape;13436;p64"/>
            <p:cNvSpPr/>
            <p:nvPr/>
          </p:nvSpPr>
          <p:spPr>
            <a:xfrm>
              <a:off x="7569411" y="2697187"/>
              <a:ext cx="26928" cy="25623"/>
            </a:xfrm>
            <a:custGeom>
              <a:avLst/>
              <a:gdLst/>
              <a:ahLst/>
              <a:cxnLst/>
              <a:rect l="l" t="t" r="r" b="b"/>
              <a:pathLst>
                <a:path w="846" h="805" extrusionOk="0">
                  <a:moveTo>
                    <a:pt x="679" y="1"/>
                  </a:moveTo>
                  <a:cubicBezTo>
                    <a:pt x="640" y="1"/>
                    <a:pt x="602" y="16"/>
                    <a:pt x="572" y="46"/>
                  </a:cubicBezTo>
                  <a:lnTo>
                    <a:pt x="60" y="558"/>
                  </a:lnTo>
                  <a:cubicBezTo>
                    <a:pt x="0" y="617"/>
                    <a:pt x="0" y="700"/>
                    <a:pt x="60" y="760"/>
                  </a:cubicBezTo>
                  <a:cubicBezTo>
                    <a:pt x="96" y="790"/>
                    <a:pt x="134" y="805"/>
                    <a:pt x="172" y="805"/>
                  </a:cubicBezTo>
                  <a:cubicBezTo>
                    <a:pt x="209" y="805"/>
                    <a:pt x="244" y="790"/>
                    <a:pt x="274" y="760"/>
                  </a:cubicBezTo>
                  <a:lnTo>
                    <a:pt x="786" y="260"/>
                  </a:lnTo>
                  <a:cubicBezTo>
                    <a:pt x="846" y="200"/>
                    <a:pt x="846" y="105"/>
                    <a:pt x="786" y="46"/>
                  </a:cubicBezTo>
                  <a:cubicBezTo>
                    <a:pt x="756" y="16"/>
                    <a:pt x="718" y="1"/>
                    <a:pt x="6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7" name="Google Shape;13437;p64"/>
            <p:cNvSpPr/>
            <p:nvPr/>
          </p:nvSpPr>
          <p:spPr>
            <a:xfrm>
              <a:off x="7600859" y="2728667"/>
              <a:ext cx="26578" cy="25591"/>
            </a:xfrm>
            <a:custGeom>
              <a:avLst/>
              <a:gdLst/>
              <a:ahLst/>
              <a:cxnLst/>
              <a:rect l="l" t="t" r="r" b="b"/>
              <a:pathLst>
                <a:path w="835" h="804" extrusionOk="0">
                  <a:moveTo>
                    <a:pt x="673" y="0"/>
                  </a:moveTo>
                  <a:cubicBezTo>
                    <a:pt x="638" y="0"/>
                    <a:pt x="602" y="15"/>
                    <a:pt x="572" y="45"/>
                  </a:cubicBezTo>
                  <a:lnTo>
                    <a:pt x="60" y="545"/>
                  </a:lnTo>
                  <a:cubicBezTo>
                    <a:pt x="1" y="604"/>
                    <a:pt x="1" y="700"/>
                    <a:pt x="60" y="759"/>
                  </a:cubicBezTo>
                  <a:cubicBezTo>
                    <a:pt x="90" y="789"/>
                    <a:pt x="129" y="804"/>
                    <a:pt x="167" y="804"/>
                  </a:cubicBezTo>
                  <a:cubicBezTo>
                    <a:pt x="206" y="804"/>
                    <a:pt x="245" y="789"/>
                    <a:pt x="274" y="759"/>
                  </a:cubicBezTo>
                  <a:lnTo>
                    <a:pt x="775" y="247"/>
                  </a:lnTo>
                  <a:cubicBezTo>
                    <a:pt x="834" y="188"/>
                    <a:pt x="834" y="104"/>
                    <a:pt x="775" y="45"/>
                  </a:cubicBezTo>
                  <a:cubicBezTo>
                    <a:pt x="745" y="15"/>
                    <a:pt x="709" y="0"/>
                    <a:pt x="6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8" name="Google Shape;13438;p64"/>
            <p:cNvSpPr/>
            <p:nvPr/>
          </p:nvSpPr>
          <p:spPr>
            <a:xfrm>
              <a:off x="7585326" y="2713102"/>
              <a:ext cx="26546" cy="25241"/>
            </a:xfrm>
            <a:custGeom>
              <a:avLst/>
              <a:gdLst/>
              <a:ahLst/>
              <a:cxnLst/>
              <a:rect l="l" t="t" r="r" b="b"/>
              <a:pathLst>
                <a:path w="834" h="793" extrusionOk="0">
                  <a:moveTo>
                    <a:pt x="667" y="1"/>
                  </a:moveTo>
                  <a:cubicBezTo>
                    <a:pt x="629" y="1"/>
                    <a:pt x="590" y="16"/>
                    <a:pt x="560" y="46"/>
                  </a:cubicBezTo>
                  <a:lnTo>
                    <a:pt x="60" y="546"/>
                  </a:lnTo>
                  <a:cubicBezTo>
                    <a:pt x="0" y="605"/>
                    <a:pt x="0" y="700"/>
                    <a:pt x="60" y="748"/>
                  </a:cubicBezTo>
                  <a:cubicBezTo>
                    <a:pt x="90" y="778"/>
                    <a:pt x="125" y="793"/>
                    <a:pt x="161" y="793"/>
                  </a:cubicBezTo>
                  <a:cubicBezTo>
                    <a:pt x="197" y="793"/>
                    <a:pt x="233" y="778"/>
                    <a:pt x="262" y="748"/>
                  </a:cubicBezTo>
                  <a:lnTo>
                    <a:pt x="774" y="248"/>
                  </a:lnTo>
                  <a:cubicBezTo>
                    <a:pt x="834" y="189"/>
                    <a:pt x="834" y="105"/>
                    <a:pt x="774" y="46"/>
                  </a:cubicBezTo>
                  <a:cubicBezTo>
                    <a:pt x="745" y="16"/>
                    <a:pt x="706" y="1"/>
                    <a:pt x="6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9" name="Google Shape;13439;p64"/>
            <p:cNvSpPr/>
            <p:nvPr/>
          </p:nvSpPr>
          <p:spPr>
            <a:xfrm>
              <a:off x="7528096" y="2450059"/>
              <a:ext cx="327976" cy="324316"/>
            </a:xfrm>
            <a:custGeom>
              <a:avLst/>
              <a:gdLst/>
              <a:ahLst/>
              <a:cxnLst/>
              <a:rect l="l" t="t" r="r" b="b"/>
              <a:pathLst>
                <a:path w="10304" h="10189" extrusionOk="0">
                  <a:moveTo>
                    <a:pt x="9954" y="309"/>
                  </a:moveTo>
                  <a:lnTo>
                    <a:pt x="9538" y="1761"/>
                  </a:lnTo>
                  <a:lnTo>
                    <a:pt x="8514" y="725"/>
                  </a:lnTo>
                  <a:lnTo>
                    <a:pt x="9954" y="309"/>
                  </a:lnTo>
                  <a:close/>
                  <a:moveTo>
                    <a:pt x="4311" y="3369"/>
                  </a:moveTo>
                  <a:lnTo>
                    <a:pt x="2501" y="5178"/>
                  </a:lnTo>
                  <a:lnTo>
                    <a:pt x="429" y="5012"/>
                  </a:lnTo>
                  <a:cubicBezTo>
                    <a:pt x="394" y="5012"/>
                    <a:pt x="382" y="4988"/>
                    <a:pt x="417" y="4952"/>
                  </a:cubicBezTo>
                  <a:cubicBezTo>
                    <a:pt x="1310" y="4059"/>
                    <a:pt x="2477" y="3523"/>
                    <a:pt x="3727" y="3404"/>
                  </a:cubicBezTo>
                  <a:lnTo>
                    <a:pt x="4311" y="3369"/>
                  </a:lnTo>
                  <a:close/>
                  <a:moveTo>
                    <a:pt x="2537" y="5571"/>
                  </a:moveTo>
                  <a:lnTo>
                    <a:pt x="3358" y="6381"/>
                  </a:lnTo>
                  <a:lnTo>
                    <a:pt x="3049" y="6702"/>
                  </a:lnTo>
                  <a:cubicBezTo>
                    <a:pt x="2715" y="6369"/>
                    <a:pt x="2299" y="5952"/>
                    <a:pt x="2227" y="5893"/>
                  </a:cubicBezTo>
                  <a:lnTo>
                    <a:pt x="2537" y="5571"/>
                  </a:lnTo>
                  <a:close/>
                  <a:moveTo>
                    <a:pt x="2418" y="6464"/>
                  </a:moveTo>
                  <a:lnTo>
                    <a:pt x="2834" y="6881"/>
                  </a:lnTo>
                  <a:lnTo>
                    <a:pt x="2465" y="7250"/>
                  </a:lnTo>
                  <a:cubicBezTo>
                    <a:pt x="2453" y="7262"/>
                    <a:pt x="2441" y="7298"/>
                    <a:pt x="2418" y="7310"/>
                  </a:cubicBezTo>
                  <a:lnTo>
                    <a:pt x="2049" y="6940"/>
                  </a:lnTo>
                  <a:cubicBezTo>
                    <a:pt x="2025" y="6905"/>
                    <a:pt x="2025" y="6857"/>
                    <a:pt x="2049" y="6833"/>
                  </a:cubicBezTo>
                  <a:lnTo>
                    <a:pt x="2418" y="6464"/>
                  </a:lnTo>
                  <a:close/>
                  <a:moveTo>
                    <a:pt x="8168" y="821"/>
                  </a:moveTo>
                  <a:lnTo>
                    <a:pt x="9418" y="2071"/>
                  </a:lnTo>
                  <a:lnTo>
                    <a:pt x="9061" y="3380"/>
                  </a:lnTo>
                  <a:lnTo>
                    <a:pt x="4906" y="7536"/>
                  </a:lnTo>
                  <a:lnTo>
                    <a:pt x="4084" y="6714"/>
                  </a:lnTo>
                  <a:lnTo>
                    <a:pt x="5978" y="4821"/>
                  </a:lnTo>
                  <a:cubicBezTo>
                    <a:pt x="6109" y="4690"/>
                    <a:pt x="6144" y="4452"/>
                    <a:pt x="5966" y="4273"/>
                  </a:cubicBezTo>
                  <a:cubicBezTo>
                    <a:pt x="5888" y="4196"/>
                    <a:pt x="5790" y="4157"/>
                    <a:pt x="5693" y="4157"/>
                  </a:cubicBezTo>
                  <a:cubicBezTo>
                    <a:pt x="5597" y="4157"/>
                    <a:pt x="5501" y="4196"/>
                    <a:pt x="5430" y="4273"/>
                  </a:cubicBezTo>
                  <a:lnTo>
                    <a:pt x="3537" y="6167"/>
                  </a:lnTo>
                  <a:lnTo>
                    <a:pt x="2715" y="5345"/>
                  </a:lnTo>
                  <a:lnTo>
                    <a:pt x="6871" y="1190"/>
                  </a:lnTo>
                  <a:lnTo>
                    <a:pt x="8168" y="821"/>
                  </a:lnTo>
                  <a:close/>
                  <a:moveTo>
                    <a:pt x="5711" y="4485"/>
                  </a:moveTo>
                  <a:cubicBezTo>
                    <a:pt x="5733" y="4485"/>
                    <a:pt x="5757" y="4494"/>
                    <a:pt x="5775" y="4512"/>
                  </a:cubicBezTo>
                  <a:cubicBezTo>
                    <a:pt x="5799" y="4535"/>
                    <a:pt x="5799" y="4595"/>
                    <a:pt x="5775" y="4631"/>
                  </a:cubicBezTo>
                  <a:lnTo>
                    <a:pt x="3775" y="6619"/>
                  </a:lnTo>
                  <a:cubicBezTo>
                    <a:pt x="3692" y="6714"/>
                    <a:pt x="2894" y="7488"/>
                    <a:pt x="2811" y="7595"/>
                  </a:cubicBezTo>
                  <a:cubicBezTo>
                    <a:pt x="2793" y="7607"/>
                    <a:pt x="2769" y="7613"/>
                    <a:pt x="2747" y="7613"/>
                  </a:cubicBezTo>
                  <a:cubicBezTo>
                    <a:pt x="2724" y="7613"/>
                    <a:pt x="2703" y="7607"/>
                    <a:pt x="2691" y="7595"/>
                  </a:cubicBezTo>
                  <a:cubicBezTo>
                    <a:pt x="2656" y="7560"/>
                    <a:pt x="2656" y="7500"/>
                    <a:pt x="2691" y="7476"/>
                  </a:cubicBezTo>
                  <a:lnTo>
                    <a:pt x="5656" y="4512"/>
                  </a:lnTo>
                  <a:cubicBezTo>
                    <a:pt x="5668" y="4494"/>
                    <a:pt x="5689" y="4485"/>
                    <a:pt x="5711" y="4485"/>
                  </a:cubicBezTo>
                  <a:close/>
                  <a:moveTo>
                    <a:pt x="3894" y="6917"/>
                  </a:moveTo>
                  <a:lnTo>
                    <a:pt x="4716" y="7738"/>
                  </a:lnTo>
                  <a:lnTo>
                    <a:pt x="4406" y="8036"/>
                  </a:lnTo>
                  <a:lnTo>
                    <a:pt x="4382" y="8036"/>
                  </a:lnTo>
                  <a:lnTo>
                    <a:pt x="3584" y="7238"/>
                  </a:lnTo>
                  <a:lnTo>
                    <a:pt x="3894" y="6917"/>
                  </a:lnTo>
                  <a:close/>
                  <a:moveTo>
                    <a:pt x="3394" y="7452"/>
                  </a:moveTo>
                  <a:lnTo>
                    <a:pt x="3811" y="7869"/>
                  </a:lnTo>
                  <a:lnTo>
                    <a:pt x="3430" y="8226"/>
                  </a:lnTo>
                  <a:cubicBezTo>
                    <a:pt x="3418" y="8250"/>
                    <a:pt x="3394" y="8250"/>
                    <a:pt x="3394" y="8250"/>
                  </a:cubicBezTo>
                  <a:cubicBezTo>
                    <a:pt x="3370" y="8250"/>
                    <a:pt x="3358" y="8250"/>
                    <a:pt x="3346" y="8226"/>
                  </a:cubicBezTo>
                  <a:lnTo>
                    <a:pt x="2977" y="7857"/>
                  </a:lnTo>
                  <a:cubicBezTo>
                    <a:pt x="2989" y="7845"/>
                    <a:pt x="3013" y="7833"/>
                    <a:pt x="3037" y="7810"/>
                  </a:cubicBezTo>
                  <a:lnTo>
                    <a:pt x="3394" y="7452"/>
                  </a:lnTo>
                  <a:close/>
                  <a:moveTo>
                    <a:pt x="9971" y="1"/>
                  </a:moveTo>
                  <a:cubicBezTo>
                    <a:pt x="9946" y="1"/>
                    <a:pt x="9921" y="4"/>
                    <a:pt x="9895" y="11"/>
                  </a:cubicBezTo>
                  <a:cubicBezTo>
                    <a:pt x="9252" y="213"/>
                    <a:pt x="7394" y="749"/>
                    <a:pt x="6787" y="928"/>
                  </a:cubicBezTo>
                  <a:cubicBezTo>
                    <a:pt x="6751" y="928"/>
                    <a:pt x="6740" y="940"/>
                    <a:pt x="6716" y="963"/>
                  </a:cubicBezTo>
                  <a:lnTo>
                    <a:pt x="4632" y="3047"/>
                  </a:lnTo>
                  <a:lnTo>
                    <a:pt x="3703" y="3130"/>
                  </a:lnTo>
                  <a:cubicBezTo>
                    <a:pt x="2370" y="3226"/>
                    <a:pt x="1144" y="3809"/>
                    <a:pt x="191" y="4750"/>
                  </a:cubicBezTo>
                  <a:cubicBezTo>
                    <a:pt x="1" y="4940"/>
                    <a:pt x="120" y="5285"/>
                    <a:pt x="394" y="5309"/>
                  </a:cubicBezTo>
                  <a:lnTo>
                    <a:pt x="2215" y="5476"/>
                  </a:lnTo>
                  <a:lnTo>
                    <a:pt x="2025" y="5666"/>
                  </a:lnTo>
                  <a:cubicBezTo>
                    <a:pt x="1906" y="5786"/>
                    <a:pt x="1906" y="5964"/>
                    <a:pt x="2025" y="6083"/>
                  </a:cubicBezTo>
                  <a:lnTo>
                    <a:pt x="2203" y="6262"/>
                  </a:lnTo>
                  <a:lnTo>
                    <a:pt x="1822" y="6643"/>
                  </a:lnTo>
                  <a:cubicBezTo>
                    <a:pt x="1679" y="6786"/>
                    <a:pt x="1679" y="7012"/>
                    <a:pt x="1822" y="7155"/>
                  </a:cubicBezTo>
                  <a:lnTo>
                    <a:pt x="3108" y="8441"/>
                  </a:lnTo>
                  <a:cubicBezTo>
                    <a:pt x="3180" y="8512"/>
                    <a:pt x="3272" y="8548"/>
                    <a:pt x="3366" y="8548"/>
                  </a:cubicBezTo>
                  <a:cubicBezTo>
                    <a:pt x="3459" y="8548"/>
                    <a:pt x="3555" y="8512"/>
                    <a:pt x="3632" y="8441"/>
                  </a:cubicBezTo>
                  <a:lnTo>
                    <a:pt x="4001" y="8072"/>
                  </a:lnTo>
                  <a:lnTo>
                    <a:pt x="4180" y="8250"/>
                  </a:lnTo>
                  <a:cubicBezTo>
                    <a:pt x="4239" y="8310"/>
                    <a:pt x="4317" y="8339"/>
                    <a:pt x="4396" y="8339"/>
                  </a:cubicBezTo>
                  <a:cubicBezTo>
                    <a:pt x="4474" y="8339"/>
                    <a:pt x="4555" y="8310"/>
                    <a:pt x="4620" y="8250"/>
                  </a:cubicBezTo>
                  <a:lnTo>
                    <a:pt x="4799" y="8072"/>
                  </a:lnTo>
                  <a:lnTo>
                    <a:pt x="4966" y="9881"/>
                  </a:lnTo>
                  <a:cubicBezTo>
                    <a:pt x="4977" y="10012"/>
                    <a:pt x="5061" y="10119"/>
                    <a:pt x="5180" y="10167"/>
                  </a:cubicBezTo>
                  <a:cubicBezTo>
                    <a:pt x="5216" y="10182"/>
                    <a:pt x="5254" y="10188"/>
                    <a:pt x="5291" y="10188"/>
                  </a:cubicBezTo>
                  <a:cubicBezTo>
                    <a:pt x="5375" y="10188"/>
                    <a:pt x="5455" y="10153"/>
                    <a:pt x="5513" y="10096"/>
                  </a:cubicBezTo>
                  <a:cubicBezTo>
                    <a:pt x="6097" y="9512"/>
                    <a:pt x="6525" y="8822"/>
                    <a:pt x="6811" y="8072"/>
                  </a:cubicBezTo>
                  <a:cubicBezTo>
                    <a:pt x="6847" y="7988"/>
                    <a:pt x="6799" y="7905"/>
                    <a:pt x="6728" y="7869"/>
                  </a:cubicBezTo>
                  <a:cubicBezTo>
                    <a:pt x="6713" y="7865"/>
                    <a:pt x="6698" y="7863"/>
                    <a:pt x="6684" y="7863"/>
                  </a:cubicBezTo>
                  <a:cubicBezTo>
                    <a:pt x="6616" y="7863"/>
                    <a:pt x="6555" y="7906"/>
                    <a:pt x="6525" y="7964"/>
                  </a:cubicBezTo>
                  <a:cubicBezTo>
                    <a:pt x="6263" y="8691"/>
                    <a:pt x="5847" y="9334"/>
                    <a:pt x="5299" y="9881"/>
                  </a:cubicBezTo>
                  <a:cubicBezTo>
                    <a:pt x="5292" y="9885"/>
                    <a:pt x="5285" y="9886"/>
                    <a:pt x="5278" y="9886"/>
                  </a:cubicBezTo>
                  <a:cubicBezTo>
                    <a:pt x="5262" y="9886"/>
                    <a:pt x="5248" y="9878"/>
                    <a:pt x="5239" y="9869"/>
                  </a:cubicBezTo>
                  <a:lnTo>
                    <a:pt x="5061" y="7810"/>
                  </a:lnTo>
                  <a:lnTo>
                    <a:pt x="6871" y="6000"/>
                  </a:lnTo>
                  <a:lnTo>
                    <a:pt x="6871" y="6000"/>
                  </a:lnTo>
                  <a:cubicBezTo>
                    <a:pt x="6811" y="6738"/>
                    <a:pt x="6799" y="6940"/>
                    <a:pt x="6704" y="7310"/>
                  </a:cubicBezTo>
                  <a:cubicBezTo>
                    <a:pt x="6692" y="7381"/>
                    <a:pt x="6740" y="7476"/>
                    <a:pt x="6823" y="7488"/>
                  </a:cubicBezTo>
                  <a:cubicBezTo>
                    <a:pt x="6831" y="7489"/>
                    <a:pt x="6840" y="7490"/>
                    <a:pt x="6848" y="7490"/>
                  </a:cubicBezTo>
                  <a:cubicBezTo>
                    <a:pt x="6923" y="7490"/>
                    <a:pt x="6991" y="7444"/>
                    <a:pt x="7002" y="7369"/>
                  </a:cubicBezTo>
                  <a:cubicBezTo>
                    <a:pt x="7109" y="6905"/>
                    <a:pt x="7109" y="6702"/>
                    <a:pt x="7204" y="5666"/>
                  </a:cubicBezTo>
                  <a:lnTo>
                    <a:pt x="9288" y="3583"/>
                  </a:lnTo>
                  <a:cubicBezTo>
                    <a:pt x="9299" y="3571"/>
                    <a:pt x="9311" y="3547"/>
                    <a:pt x="9323" y="3523"/>
                  </a:cubicBezTo>
                  <a:lnTo>
                    <a:pt x="9740" y="2118"/>
                  </a:lnTo>
                  <a:lnTo>
                    <a:pt x="10240" y="416"/>
                  </a:lnTo>
                  <a:cubicBezTo>
                    <a:pt x="10303" y="194"/>
                    <a:pt x="10161" y="1"/>
                    <a:pt x="997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0" name="Google Shape;13440;p64"/>
            <p:cNvSpPr/>
            <p:nvPr/>
          </p:nvSpPr>
          <p:spPr>
            <a:xfrm>
              <a:off x="7712296" y="2525528"/>
              <a:ext cx="79989" cy="60954"/>
            </a:xfrm>
            <a:custGeom>
              <a:avLst/>
              <a:gdLst/>
              <a:ahLst/>
              <a:cxnLst/>
              <a:rect l="l" t="t" r="r" b="b"/>
              <a:pathLst>
                <a:path w="2513" h="1915" extrusionOk="0">
                  <a:moveTo>
                    <a:pt x="842" y="0"/>
                  </a:moveTo>
                  <a:cubicBezTo>
                    <a:pt x="823" y="0"/>
                    <a:pt x="804" y="3"/>
                    <a:pt x="786" y="9"/>
                  </a:cubicBezTo>
                  <a:cubicBezTo>
                    <a:pt x="167" y="295"/>
                    <a:pt x="0" y="1129"/>
                    <a:pt x="488" y="1617"/>
                  </a:cubicBezTo>
                  <a:cubicBezTo>
                    <a:pt x="679" y="1807"/>
                    <a:pt x="941" y="1914"/>
                    <a:pt x="1191" y="1914"/>
                  </a:cubicBezTo>
                  <a:cubicBezTo>
                    <a:pt x="2072" y="1914"/>
                    <a:pt x="2512" y="843"/>
                    <a:pt x="1893" y="224"/>
                  </a:cubicBezTo>
                  <a:cubicBezTo>
                    <a:pt x="1798" y="128"/>
                    <a:pt x="1715" y="69"/>
                    <a:pt x="1596" y="9"/>
                  </a:cubicBezTo>
                  <a:cubicBezTo>
                    <a:pt x="1575" y="3"/>
                    <a:pt x="1554" y="0"/>
                    <a:pt x="1534" y="0"/>
                  </a:cubicBezTo>
                  <a:cubicBezTo>
                    <a:pt x="1473" y="0"/>
                    <a:pt x="1420" y="27"/>
                    <a:pt x="1393" y="81"/>
                  </a:cubicBezTo>
                  <a:cubicBezTo>
                    <a:pt x="1369" y="164"/>
                    <a:pt x="1393" y="247"/>
                    <a:pt x="1476" y="283"/>
                  </a:cubicBezTo>
                  <a:cubicBezTo>
                    <a:pt x="1917" y="474"/>
                    <a:pt x="2024" y="1069"/>
                    <a:pt x="1679" y="1414"/>
                  </a:cubicBezTo>
                  <a:cubicBezTo>
                    <a:pt x="1548" y="1545"/>
                    <a:pt x="1369" y="1611"/>
                    <a:pt x="1191" y="1611"/>
                  </a:cubicBezTo>
                  <a:cubicBezTo>
                    <a:pt x="1012" y="1611"/>
                    <a:pt x="834" y="1545"/>
                    <a:pt x="703" y="1414"/>
                  </a:cubicBezTo>
                  <a:cubicBezTo>
                    <a:pt x="357" y="1069"/>
                    <a:pt x="464" y="486"/>
                    <a:pt x="905" y="283"/>
                  </a:cubicBezTo>
                  <a:cubicBezTo>
                    <a:pt x="976" y="247"/>
                    <a:pt x="1012" y="164"/>
                    <a:pt x="976" y="81"/>
                  </a:cubicBezTo>
                  <a:cubicBezTo>
                    <a:pt x="959" y="27"/>
                    <a:pt x="900" y="0"/>
                    <a:pt x="8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1" name="Google Shape;13441;p64"/>
          <p:cNvGrpSpPr/>
          <p:nvPr/>
        </p:nvGrpSpPr>
        <p:grpSpPr>
          <a:xfrm>
            <a:off x="7077129" y="2512542"/>
            <a:ext cx="282364" cy="198619"/>
            <a:chOff x="7077129" y="2512542"/>
            <a:chExt cx="282364" cy="198619"/>
          </a:xfrm>
        </p:grpSpPr>
        <p:sp>
          <p:nvSpPr>
            <p:cNvPr id="13442" name="Google Shape;13442;p64"/>
            <p:cNvSpPr/>
            <p:nvPr/>
          </p:nvSpPr>
          <p:spPr>
            <a:xfrm>
              <a:off x="7304872" y="2551533"/>
              <a:ext cx="25050" cy="19416"/>
            </a:xfrm>
            <a:custGeom>
              <a:avLst/>
              <a:gdLst/>
              <a:ahLst/>
              <a:cxnLst/>
              <a:rect l="l" t="t" r="r" b="b"/>
              <a:pathLst>
                <a:path w="787" h="610" extrusionOk="0">
                  <a:moveTo>
                    <a:pt x="166" y="1"/>
                  </a:moveTo>
                  <a:cubicBezTo>
                    <a:pt x="119" y="1"/>
                    <a:pt x="72" y="27"/>
                    <a:pt x="48" y="73"/>
                  </a:cubicBezTo>
                  <a:cubicBezTo>
                    <a:pt x="1" y="133"/>
                    <a:pt x="13" y="216"/>
                    <a:pt x="84" y="264"/>
                  </a:cubicBezTo>
                  <a:cubicBezTo>
                    <a:pt x="239" y="371"/>
                    <a:pt x="382" y="478"/>
                    <a:pt x="549" y="573"/>
                  </a:cubicBezTo>
                  <a:cubicBezTo>
                    <a:pt x="584" y="597"/>
                    <a:pt x="608" y="609"/>
                    <a:pt x="620" y="609"/>
                  </a:cubicBezTo>
                  <a:cubicBezTo>
                    <a:pt x="668" y="609"/>
                    <a:pt x="715" y="597"/>
                    <a:pt x="739" y="550"/>
                  </a:cubicBezTo>
                  <a:cubicBezTo>
                    <a:pt x="787" y="490"/>
                    <a:pt x="775" y="395"/>
                    <a:pt x="703" y="359"/>
                  </a:cubicBezTo>
                  <a:cubicBezTo>
                    <a:pt x="537" y="240"/>
                    <a:pt x="382" y="133"/>
                    <a:pt x="239" y="26"/>
                  </a:cubicBezTo>
                  <a:cubicBezTo>
                    <a:pt x="218" y="9"/>
                    <a:pt x="192" y="1"/>
                    <a:pt x="16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3" name="Google Shape;13443;p64"/>
            <p:cNvSpPr/>
            <p:nvPr/>
          </p:nvSpPr>
          <p:spPr>
            <a:xfrm>
              <a:off x="7129043" y="2512542"/>
              <a:ext cx="164879" cy="42875"/>
            </a:xfrm>
            <a:custGeom>
              <a:avLst/>
              <a:gdLst/>
              <a:ahLst/>
              <a:cxnLst/>
              <a:rect l="l" t="t" r="r" b="b"/>
              <a:pathLst>
                <a:path w="5180" h="1347" extrusionOk="0">
                  <a:moveTo>
                    <a:pt x="2798" y="1"/>
                  </a:moveTo>
                  <a:cubicBezTo>
                    <a:pt x="2120" y="1"/>
                    <a:pt x="1227" y="358"/>
                    <a:pt x="96" y="1084"/>
                  </a:cubicBezTo>
                  <a:cubicBezTo>
                    <a:pt x="36" y="1132"/>
                    <a:pt x="0" y="1215"/>
                    <a:pt x="48" y="1286"/>
                  </a:cubicBezTo>
                  <a:cubicBezTo>
                    <a:pt x="72" y="1322"/>
                    <a:pt x="119" y="1346"/>
                    <a:pt x="167" y="1346"/>
                  </a:cubicBezTo>
                  <a:cubicBezTo>
                    <a:pt x="191" y="1346"/>
                    <a:pt x="215" y="1346"/>
                    <a:pt x="238" y="1322"/>
                  </a:cubicBezTo>
                  <a:cubicBezTo>
                    <a:pt x="1322" y="620"/>
                    <a:pt x="2179" y="286"/>
                    <a:pt x="2798" y="286"/>
                  </a:cubicBezTo>
                  <a:cubicBezTo>
                    <a:pt x="3346" y="286"/>
                    <a:pt x="4060" y="536"/>
                    <a:pt x="4953" y="1072"/>
                  </a:cubicBezTo>
                  <a:cubicBezTo>
                    <a:pt x="4973" y="1088"/>
                    <a:pt x="4996" y="1094"/>
                    <a:pt x="5019" y="1094"/>
                  </a:cubicBezTo>
                  <a:cubicBezTo>
                    <a:pt x="5069" y="1094"/>
                    <a:pt x="5124" y="1065"/>
                    <a:pt x="5156" y="1025"/>
                  </a:cubicBezTo>
                  <a:cubicBezTo>
                    <a:pt x="5180" y="965"/>
                    <a:pt x="5168" y="882"/>
                    <a:pt x="5108" y="834"/>
                  </a:cubicBezTo>
                  <a:cubicBezTo>
                    <a:pt x="4156" y="274"/>
                    <a:pt x="3406" y="1"/>
                    <a:pt x="2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4" name="Google Shape;13444;p64"/>
            <p:cNvSpPr/>
            <p:nvPr/>
          </p:nvSpPr>
          <p:spPr>
            <a:xfrm>
              <a:off x="7077129" y="2536796"/>
              <a:ext cx="282364" cy="174365"/>
            </a:xfrm>
            <a:custGeom>
              <a:avLst/>
              <a:gdLst/>
              <a:ahLst/>
              <a:cxnLst/>
              <a:rect l="l" t="t" r="r" b="b"/>
              <a:pathLst>
                <a:path w="8871" h="5478" extrusionOk="0">
                  <a:moveTo>
                    <a:pt x="4429" y="263"/>
                  </a:moveTo>
                  <a:cubicBezTo>
                    <a:pt x="5572" y="263"/>
                    <a:pt x="7858" y="2048"/>
                    <a:pt x="8525" y="2608"/>
                  </a:cubicBezTo>
                  <a:cubicBezTo>
                    <a:pt x="8573" y="2632"/>
                    <a:pt x="8585" y="2680"/>
                    <a:pt x="8585" y="2739"/>
                  </a:cubicBezTo>
                  <a:cubicBezTo>
                    <a:pt x="8585" y="2799"/>
                    <a:pt x="8549" y="2846"/>
                    <a:pt x="8525" y="2870"/>
                  </a:cubicBezTo>
                  <a:cubicBezTo>
                    <a:pt x="7858" y="3418"/>
                    <a:pt x="5572" y="5204"/>
                    <a:pt x="4429" y="5204"/>
                  </a:cubicBezTo>
                  <a:cubicBezTo>
                    <a:pt x="3286" y="5204"/>
                    <a:pt x="1012" y="3418"/>
                    <a:pt x="334" y="2870"/>
                  </a:cubicBezTo>
                  <a:cubicBezTo>
                    <a:pt x="298" y="2846"/>
                    <a:pt x="274" y="2799"/>
                    <a:pt x="274" y="2739"/>
                  </a:cubicBezTo>
                  <a:cubicBezTo>
                    <a:pt x="274" y="2691"/>
                    <a:pt x="310" y="2632"/>
                    <a:pt x="334" y="2608"/>
                  </a:cubicBezTo>
                  <a:cubicBezTo>
                    <a:pt x="1012" y="2048"/>
                    <a:pt x="3286" y="263"/>
                    <a:pt x="4429" y="263"/>
                  </a:cubicBezTo>
                  <a:close/>
                  <a:moveTo>
                    <a:pt x="4429" y="1"/>
                  </a:moveTo>
                  <a:cubicBezTo>
                    <a:pt x="3227" y="1"/>
                    <a:pt x="1036" y="1679"/>
                    <a:pt x="155" y="2394"/>
                  </a:cubicBezTo>
                  <a:cubicBezTo>
                    <a:pt x="48" y="2489"/>
                    <a:pt x="0" y="2608"/>
                    <a:pt x="0" y="2739"/>
                  </a:cubicBezTo>
                  <a:cubicBezTo>
                    <a:pt x="0" y="2870"/>
                    <a:pt x="60" y="3001"/>
                    <a:pt x="155" y="3084"/>
                  </a:cubicBezTo>
                  <a:cubicBezTo>
                    <a:pt x="1036" y="3811"/>
                    <a:pt x="3227" y="5477"/>
                    <a:pt x="4429" y="5477"/>
                  </a:cubicBezTo>
                  <a:cubicBezTo>
                    <a:pt x="5632" y="5477"/>
                    <a:pt x="7823" y="3799"/>
                    <a:pt x="8704" y="3084"/>
                  </a:cubicBezTo>
                  <a:cubicBezTo>
                    <a:pt x="8811" y="2989"/>
                    <a:pt x="8858" y="2870"/>
                    <a:pt x="8858" y="2739"/>
                  </a:cubicBezTo>
                  <a:cubicBezTo>
                    <a:pt x="8870" y="2608"/>
                    <a:pt x="8811" y="2489"/>
                    <a:pt x="8704" y="2394"/>
                  </a:cubicBezTo>
                  <a:cubicBezTo>
                    <a:pt x="7823" y="1667"/>
                    <a:pt x="5632" y="1"/>
                    <a:pt x="4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5" name="Google Shape;13445;p64"/>
            <p:cNvSpPr/>
            <p:nvPr/>
          </p:nvSpPr>
          <p:spPr>
            <a:xfrm>
              <a:off x="7153680" y="2560255"/>
              <a:ext cx="129230" cy="127129"/>
            </a:xfrm>
            <a:custGeom>
              <a:avLst/>
              <a:gdLst/>
              <a:ahLst/>
              <a:cxnLst/>
              <a:rect l="l" t="t" r="r" b="b"/>
              <a:pathLst>
                <a:path w="4060" h="3994" extrusionOk="0">
                  <a:moveTo>
                    <a:pt x="2016" y="1"/>
                  </a:moveTo>
                  <a:cubicBezTo>
                    <a:pt x="1995" y="1"/>
                    <a:pt x="1974" y="1"/>
                    <a:pt x="1953" y="2"/>
                  </a:cubicBezTo>
                  <a:cubicBezTo>
                    <a:pt x="905" y="38"/>
                    <a:pt x="48" y="883"/>
                    <a:pt x="12" y="1943"/>
                  </a:cubicBezTo>
                  <a:cubicBezTo>
                    <a:pt x="0" y="2466"/>
                    <a:pt x="179" y="2955"/>
                    <a:pt x="488" y="3312"/>
                  </a:cubicBezTo>
                  <a:cubicBezTo>
                    <a:pt x="518" y="3341"/>
                    <a:pt x="557" y="3356"/>
                    <a:pt x="596" y="3356"/>
                  </a:cubicBezTo>
                  <a:cubicBezTo>
                    <a:pt x="634" y="3356"/>
                    <a:pt x="673" y="3341"/>
                    <a:pt x="703" y="3312"/>
                  </a:cubicBezTo>
                  <a:cubicBezTo>
                    <a:pt x="750" y="3264"/>
                    <a:pt x="762" y="3181"/>
                    <a:pt x="703" y="3121"/>
                  </a:cubicBezTo>
                  <a:cubicBezTo>
                    <a:pt x="429" y="2788"/>
                    <a:pt x="274" y="2371"/>
                    <a:pt x="286" y="1907"/>
                  </a:cubicBezTo>
                  <a:cubicBezTo>
                    <a:pt x="334" y="1038"/>
                    <a:pt x="1048" y="311"/>
                    <a:pt x="1917" y="276"/>
                  </a:cubicBezTo>
                  <a:cubicBezTo>
                    <a:pt x="1945" y="274"/>
                    <a:pt x="1973" y="274"/>
                    <a:pt x="2001" y="274"/>
                  </a:cubicBezTo>
                  <a:cubicBezTo>
                    <a:pt x="2963" y="274"/>
                    <a:pt x="3750" y="1065"/>
                    <a:pt x="3727" y="2026"/>
                  </a:cubicBezTo>
                  <a:cubicBezTo>
                    <a:pt x="3703" y="2943"/>
                    <a:pt x="2965" y="3681"/>
                    <a:pt x="2060" y="3717"/>
                  </a:cubicBezTo>
                  <a:cubicBezTo>
                    <a:pt x="2037" y="3717"/>
                    <a:pt x="2014" y="3718"/>
                    <a:pt x="1991" y="3718"/>
                  </a:cubicBezTo>
                  <a:cubicBezTo>
                    <a:pt x="1695" y="3718"/>
                    <a:pt x="1411" y="3646"/>
                    <a:pt x="1179" y="3502"/>
                  </a:cubicBezTo>
                  <a:cubicBezTo>
                    <a:pt x="1159" y="3494"/>
                    <a:pt x="1139" y="3490"/>
                    <a:pt x="1120" y="3490"/>
                  </a:cubicBezTo>
                  <a:cubicBezTo>
                    <a:pt x="1081" y="3490"/>
                    <a:pt x="1044" y="3506"/>
                    <a:pt x="1012" y="3538"/>
                  </a:cubicBezTo>
                  <a:cubicBezTo>
                    <a:pt x="953" y="3586"/>
                    <a:pt x="965" y="3717"/>
                    <a:pt x="1048" y="3752"/>
                  </a:cubicBezTo>
                  <a:cubicBezTo>
                    <a:pt x="1315" y="3902"/>
                    <a:pt x="1611" y="3994"/>
                    <a:pt x="1928" y="3994"/>
                  </a:cubicBezTo>
                  <a:cubicBezTo>
                    <a:pt x="1964" y="3994"/>
                    <a:pt x="2000" y="3993"/>
                    <a:pt x="2036" y="3990"/>
                  </a:cubicBezTo>
                  <a:cubicBezTo>
                    <a:pt x="3096" y="3967"/>
                    <a:pt x="3965" y="3121"/>
                    <a:pt x="4001" y="2062"/>
                  </a:cubicBezTo>
                  <a:cubicBezTo>
                    <a:pt x="4059" y="939"/>
                    <a:pt x="3142" y="1"/>
                    <a:pt x="20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6" name="Google Shape;13446;p64"/>
            <p:cNvSpPr/>
            <p:nvPr/>
          </p:nvSpPr>
          <p:spPr>
            <a:xfrm>
              <a:off x="7183982" y="2590239"/>
              <a:ext cx="68244" cy="68244"/>
            </a:xfrm>
            <a:custGeom>
              <a:avLst/>
              <a:gdLst/>
              <a:ahLst/>
              <a:cxnLst/>
              <a:rect l="l" t="t" r="r" b="b"/>
              <a:pathLst>
                <a:path w="2144" h="2144" extrusionOk="0">
                  <a:moveTo>
                    <a:pt x="1072" y="0"/>
                  </a:moveTo>
                  <a:cubicBezTo>
                    <a:pt x="477" y="0"/>
                    <a:pt x="1" y="477"/>
                    <a:pt x="1" y="1072"/>
                  </a:cubicBezTo>
                  <a:cubicBezTo>
                    <a:pt x="1" y="1667"/>
                    <a:pt x="477" y="2144"/>
                    <a:pt x="1072" y="2144"/>
                  </a:cubicBezTo>
                  <a:cubicBezTo>
                    <a:pt x="1668" y="2144"/>
                    <a:pt x="2144" y="1667"/>
                    <a:pt x="2144" y="1072"/>
                  </a:cubicBezTo>
                  <a:cubicBezTo>
                    <a:pt x="2132" y="989"/>
                    <a:pt x="2072" y="929"/>
                    <a:pt x="2001" y="929"/>
                  </a:cubicBezTo>
                  <a:cubicBezTo>
                    <a:pt x="1918" y="929"/>
                    <a:pt x="1858" y="989"/>
                    <a:pt x="1858" y="1060"/>
                  </a:cubicBezTo>
                  <a:cubicBezTo>
                    <a:pt x="1858" y="1489"/>
                    <a:pt x="1501" y="1846"/>
                    <a:pt x="1072" y="1846"/>
                  </a:cubicBezTo>
                  <a:cubicBezTo>
                    <a:pt x="644" y="1846"/>
                    <a:pt x="287" y="1489"/>
                    <a:pt x="287" y="1060"/>
                  </a:cubicBezTo>
                  <a:cubicBezTo>
                    <a:pt x="287" y="620"/>
                    <a:pt x="644" y="262"/>
                    <a:pt x="1072" y="262"/>
                  </a:cubicBezTo>
                  <a:cubicBezTo>
                    <a:pt x="1144" y="262"/>
                    <a:pt x="1203" y="215"/>
                    <a:pt x="1203" y="131"/>
                  </a:cubicBezTo>
                  <a:cubicBezTo>
                    <a:pt x="1203" y="60"/>
                    <a:pt x="1144" y="0"/>
                    <a:pt x="1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7" name="Google Shape;13447;p64"/>
            <p:cNvSpPr/>
            <p:nvPr/>
          </p:nvSpPr>
          <p:spPr>
            <a:xfrm>
              <a:off x="7225297" y="2595904"/>
              <a:ext cx="20880" cy="20880"/>
            </a:xfrm>
            <a:custGeom>
              <a:avLst/>
              <a:gdLst/>
              <a:ahLst/>
              <a:cxnLst/>
              <a:rect l="l" t="t" r="r" b="b"/>
              <a:pathLst>
                <a:path w="656" h="656" extrusionOk="0">
                  <a:moveTo>
                    <a:pt x="322" y="1"/>
                  </a:moveTo>
                  <a:cubicBezTo>
                    <a:pt x="143" y="1"/>
                    <a:pt x="1" y="156"/>
                    <a:pt x="1" y="334"/>
                  </a:cubicBezTo>
                  <a:cubicBezTo>
                    <a:pt x="1" y="513"/>
                    <a:pt x="143" y="656"/>
                    <a:pt x="322" y="656"/>
                  </a:cubicBezTo>
                  <a:cubicBezTo>
                    <a:pt x="501" y="656"/>
                    <a:pt x="655" y="513"/>
                    <a:pt x="655" y="334"/>
                  </a:cubicBezTo>
                  <a:cubicBezTo>
                    <a:pt x="655" y="132"/>
                    <a:pt x="501" y="1"/>
                    <a:pt x="3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48" name="Google Shape;13448;p64"/>
          <p:cNvGrpSpPr/>
          <p:nvPr/>
        </p:nvGrpSpPr>
        <p:grpSpPr>
          <a:xfrm>
            <a:off x="3725461" y="2444712"/>
            <a:ext cx="334279" cy="334661"/>
            <a:chOff x="3725461" y="2444712"/>
            <a:chExt cx="334279" cy="334661"/>
          </a:xfrm>
        </p:grpSpPr>
        <p:sp>
          <p:nvSpPr>
            <p:cNvPr id="13449" name="Google Shape;13449;p64"/>
            <p:cNvSpPr/>
            <p:nvPr/>
          </p:nvSpPr>
          <p:spPr>
            <a:xfrm>
              <a:off x="3939200"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48" y="334"/>
                    <a:pt x="834" y="334"/>
                  </a:cubicBezTo>
                  <a:close/>
                  <a:moveTo>
                    <a:pt x="834" y="0"/>
                  </a:moveTo>
                  <a:cubicBezTo>
                    <a:pt x="370" y="0"/>
                    <a:pt x="0" y="369"/>
                    <a:pt x="0" y="834"/>
                  </a:cubicBezTo>
                  <a:cubicBezTo>
                    <a:pt x="0"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0" name="Google Shape;13450;p64"/>
            <p:cNvSpPr/>
            <p:nvPr/>
          </p:nvSpPr>
          <p:spPr>
            <a:xfrm>
              <a:off x="3941078" y="2618281"/>
              <a:ext cx="68625" cy="49305"/>
            </a:xfrm>
            <a:custGeom>
              <a:avLst/>
              <a:gdLst/>
              <a:ahLst/>
              <a:cxnLst/>
              <a:rect l="l" t="t" r="r" b="b"/>
              <a:pathLst>
                <a:path w="2156" h="1549" extrusionOk="0">
                  <a:moveTo>
                    <a:pt x="775" y="0"/>
                  </a:moveTo>
                  <a:cubicBezTo>
                    <a:pt x="549" y="0"/>
                    <a:pt x="311" y="60"/>
                    <a:pt x="120" y="167"/>
                  </a:cubicBezTo>
                  <a:cubicBezTo>
                    <a:pt x="37" y="203"/>
                    <a:pt x="1" y="310"/>
                    <a:pt x="37" y="381"/>
                  </a:cubicBezTo>
                  <a:cubicBezTo>
                    <a:pt x="72" y="443"/>
                    <a:pt x="140" y="479"/>
                    <a:pt x="201" y="479"/>
                  </a:cubicBezTo>
                  <a:cubicBezTo>
                    <a:pt x="223" y="479"/>
                    <a:pt x="244" y="474"/>
                    <a:pt x="263" y="465"/>
                  </a:cubicBezTo>
                  <a:cubicBezTo>
                    <a:pt x="418" y="381"/>
                    <a:pt x="596" y="346"/>
                    <a:pt x="751" y="346"/>
                  </a:cubicBezTo>
                  <a:cubicBezTo>
                    <a:pt x="1275" y="346"/>
                    <a:pt x="1704" y="727"/>
                    <a:pt x="1799" y="1215"/>
                  </a:cubicBezTo>
                  <a:lnTo>
                    <a:pt x="751" y="1215"/>
                  </a:lnTo>
                  <a:cubicBezTo>
                    <a:pt x="668" y="1215"/>
                    <a:pt x="584" y="1298"/>
                    <a:pt x="584" y="1382"/>
                  </a:cubicBezTo>
                  <a:cubicBezTo>
                    <a:pt x="584" y="1477"/>
                    <a:pt x="668" y="1548"/>
                    <a:pt x="751" y="1548"/>
                  </a:cubicBezTo>
                  <a:lnTo>
                    <a:pt x="1977" y="1548"/>
                  </a:lnTo>
                  <a:cubicBezTo>
                    <a:pt x="2061" y="1548"/>
                    <a:pt x="2144" y="1477"/>
                    <a:pt x="2144" y="1382"/>
                  </a:cubicBezTo>
                  <a:cubicBezTo>
                    <a:pt x="2156" y="620"/>
                    <a:pt x="1525" y="0"/>
                    <a:pt x="7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1" name="Google Shape;13451;p64"/>
            <p:cNvSpPr/>
            <p:nvPr/>
          </p:nvSpPr>
          <p:spPr>
            <a:xfrm>
              <a:off x="3775116" y="2618281"/>
              <a:ext cx="68625" cy="49305"/>
            </a:xfrm>
            <a:custGeom>
              <a:avLst/>
              <a:gdLst/>
              <a:ahLst/>
              <a:cxnLst/>
              <a:rect l="l" t="t" r="r" b="b"/>
              <a:pathLst>
                <a:path w="2156" h="1549" extrusionOk="0">
                  <a:moveTo>
                    <a:pt x="1381" y="0"/>
                  </a:moveTo>
                  <a:cubicBezTo>
                    <a:pt x="631" y="0"/>
                    <a:pt x="0" y="620"/>
                    <a:pt x="0" y="1382"/>
                  </a:cubicBezTo>
                  <a:cubicBezTo>
                    <a:pt x="0" y="1477"/>
                    <a:pt x="71" y="1548"/>
                    <a:pt x="167" y="1548"/>
                  </a:cubicBezTo>
                  <a:lnTo>
                    <a:pt x="1405" y="1548"/>
                  </a:lnTo>
                  <a:cubicBezTo>
                    <a:pt x="1488" y="1548"/>
                    <a:pt x="1560" y="1477"/>
                    <a:pt x="1560" y="1382"/>
                  </a:cubicBezTo>
                  <a:cubicBezTo>
                    <a:pt x="1560" y="1298"/>
                    <a:pt x="1500" y="1215"/>
                    <a:pt x="1417" y="1215"/>
                  </a:cubicBezTo>
                  <a:lnTo>
                    <a:pt x="357" y="1215"/>
                  </a:lnTo>
                  <a:cubicBezTo>
                    <a:pt x="429" y="715"/>
                    <a:pt x="881" y="346"/>
                    <a:pt x="1405" y="346"/>
                  </a:cubicBezTo>
                  <a:cubicBezTo>
                    <a:pt x="1584" y="346"/>
                    <a:pt x="1738" y="381"/>
                    <a:pt x="1893" y="465"/>
                  </a:cubicBezTo>
                  <a:cubicBezTo>
                    <a:pt x="1914" y="475"/>
                    <a:pt x="1938" y="481"/>
                    <a:pt x="1962" y="481"/>
                  </a:cubicBezTo>
                  <a:cubicBezTo>
                    <a:pt x="2022" y="481"/>
                    <a:pt x="2086" y="449"/>
                    <a:pt x="2119" y="381"/>
                  </a:cubicBezTo>
                  <a:cubicBezTo>
                    <a:pt x="2155" y="310"/>
                    <a:pt x="2131" y="203"/>
                    <a:pt x="2036" y="167"/>
                  </a:cubicBezTo>
                  <a:cubicBezTo>
                    <a:pt x="1846" y="60"/>
                    <a:pt x="1607" y="0"/>
                    <a:pt x="13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2" name="Google Shape;13452;p64"/>
            <p:cNvSpPr/>
            <p:nvPr/>
          </p:nvSpPr>
          <p:spPr>
            <a:xfrm>
              <a:off x="3793291" y="2554239"/>
              <a:ext cx="53092" cy="53092"/>
            </a:xfrm>
            <a:custGeom>
              <a:avLst/>
              <a:gdLst/>
              <a:ahLst/>
              <a:cxnLst/>
              <a:rect l="l" t="t" r="r" b="b"/>
              <a:pathLst>
                <a:path w="1668" h="1668" extrusionOk="0">
                  <a:moveTo>
                    <a:pt x="834" y="334"/>
                  </a:moveTo>
                  <a:cubicBezTo>
                    <a:pt x="1108" y="334"/>
                    <a:pt x="1334" y="548"/>
                    <a:pt x="1334" y="834"/>
                  </a:cubicBezTo>
                  <a:cubicBezTo>
                    <a:pt x="1334" y="1119"/>
                    <a:pt x="1108" y="1346"/>
                    <a:pt x="834" y="1346"/>
                  </a:cubicBezTo>
                  <a:cubicBezTo>
                    <a:pt x="548" y="1346"/>
                    <a:pt x="322" y="1119"/>
                    <a:pt x="322" y="834"/>
                  </a:cubicBezTo>
                  <a:cubicBezTo>
                    <a:pt x="322" y="548"/>
                    <a:pt x="560" y="334"/>
                    <a:pt x="834" y="334"/>
                  </a:cubicBezTo>
                  <a:close/>
                  <a:moveTo>
                    <a:pt x="834" y="0"/>
                  </a:moveTo>
                  <a:cubicBezTo>
                    <a:pt x="370" y="0"/>
                    <a:pt x="1" y="369"/>
                    <a:pt x="1" y="834"/>
                  </a:cubicBezTo>
                  <a:cubicBezTo>
                    <a:pt x="1" y="1298"/>
                    <a:pt x="370" y="1667"/>
                    <a:pt x="834" y="1667"/>
                  </a:cubicBezTo>
                  <a:cubicBezTo>
                    <a:pt x="1286" y="1667"/>
                    <a:pt x="1667" y="1298"/>
                    <a:pt x="1667"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3" name="Google Shape;13453;p64"/>
            <p:cNvSpPr/>
            <p:nvPr/>
          </p:nvSpPr>
          <p:spPr>
            <a:xfrm>
              <a:off x="3858097" y="2540584"/>
              <a:ext cx="69007" cy="69007"/>
            </a:xfrm>
            <a:custGeom>
              <a:avLst/>
              <a:gdLst/>
              <a:ahLst/>
              <a:cxnLst/>
              <a:rect l="l" t="t" r="r" b="b"/>
              <a:pathLst>
                <a:path w="2168" h="2168" extrusionOk="0">
                  <a:moveTo>
                    <a:pt x="1084" y="346"/>
                  </a:moveTo>
                  <a:cubicBezTo>
                    <a:pt x="1501" y="346"/>
                    <a:pt x="1834" y="667"/>
                    <a:pt x="1834" y="1084"/>
                  </a:cubicBezTo>
                  <a:cubicBezTo>
                    <a:pt x="1834" y="1501"/>
                    <a:pt x="1501" y="1834"/>
                    <a:pt x="1084" y="1834"/>
                  </a:cubicBezTo>
                  <a:cubicBezTo>
                    <a:pt x="667" y="1834"/>
                    <a:pt x="346" y="1501"/>
                    <a:pt x="346" y="1084"/>
                  </a:cubicBezTo>
                  <a:cubicBezTo>
                    <a:pt x="346" y="667"/>
                    <a:pt x="667" y="346"/>
                    <a:pt x="1084" y="346"/>
                  </a:cubicBezTo>
                  <a:close/>
                  <a:moveTo>
                    <a:pt x="1084" y="1"/>
                  </a:moveTo>
                  <a:cubicBezTo>
                    <a:pt x="489" y="1"/>
                    <a:pt x="1" y="489"/>
                    <a:pt x="1" y="1084"/>
                  </a:cubicBezTo>
                  <a:cubicBezTo>
                    <a:pt x="1" y="1679"/>
                    <a:pt x="489" y="2168"/>
                    <a:pt x="1084" y="2168"/>
                  </a:cubicBezTo>
                  <a:cubicBezTo>
                    <a:pt x="1679" y="2168"/>
                    <a:pt x="2167" y="1679"/>
                    <a:pt x="2167" y="1084"/>
                  </a:cubicBezTo>
                  <a:cubicBezTo>
                    <a:pt x="2167" y="489"/>
                    <a:pt x="1679" y="1"/>
                    <a:pt x="10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4" name="Google Shape;13454;p64"/>
            <p:cNvSpPr/>
            <p:nvPr/>
          </p:nvSpPr>
          <p:spPr>
            <a:xfrm>
              <a:off x="3834224" y="2620159"/>
              <a:ext cx="116752" cy="63342"/>
            </a:xfrm>
            <a:custGeom>
              <a:avLst/>
              <a:gdLst/>
              <a:ahLst/>
              <a:cxnLst/>
              <a:rect l="l" t="t" r="r" b="b"/>
              <a:pathLst>
                <a:path w="3668" h="1990" extrusionOk="0">
                  <a:moveTo>
                    <a:pt x="1834" y="322"/>
                  </a:moveTo>
                  <a:cubicBezTo>
                    <a:pt x="2596" y="322"/>
                    <a:pt x="3239" y="906"/>
                    <a:pt x="3310" y="1656"/>
                  </a:cubicBezTo>
                  <a:lnTo>
                    <a:pt x="358" y="1656"/>
                  </a:lnTo>
                  <a:cubicBezTo>
                    <a:pt x="453" y="906"/>
                    <a:pt x="1072" y="322"/>
                    <a:pt x="1834" y="322"/>
                  </a:cubicBezTo>
                  <a:close/>
                  <a:moveTo>
                    <a:pt x="1834" y="1"/>
                  </a:moveTo>
                  <a:cubicBezTo>
                    <a:pt x="822" y="1"/>
                    <a:pt x="0" y="823"/>
                    <a:pt x="0" y="1835"/>
                  </a:cubicBezTo>
                  <a:cubicBezTo>
                    <a:pt x="0" y="1918"/>
                    <a:pt x="84" y="1989"/>
                    <a:pt x="167" y="1989"/>
                  </a:cubicBezTo>
                  <a:lnTo>
                    <a:pt x="3489" y="1989"/>
                  </a:lnTo>
                  <a:cubicBezTo>
                    <a:pt x="3572" y="1989"/>
                    <a:pt x="3656" y="1918"/>
                    <a:pt x="3656" y="1835"/>
                  </a:cubicBezTo>
                  <a:cubicBezTo>
                    <a:pt x="3668" y="823"/>
                    <a:pt x="2846" y="1"/>
                    <a:pt x="18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5" name="Google Shape;13455;p64"/>
            <p:cNvSpPr/>
            <p:nvPr/>
          </p:nvSpPr>
          <p:spPr>
            <a:xfrm>
              <a:off x="3725461" y="2444712"/>
              <a:ext cx="334279" cy="334661"/>
            </a:xfrm>
            <a:custGeom>
              <a:avLst/>
              <a:gdLst/>
              <a:ahLst/>
              <a:cxnLst/>
              <a:rect l="l" t="t" r="r" b="b"/>
              <a:pathLst>
                <a:path w="10502" h="10514" extrusionOk="0">
                  <a:moveTo>
                    <a:pt x="5418" y="905"/>
                  </a:moveTo>
                  <a:cubicBezTo>
                    <a:pt x="7680" y="1001"/>
                    <a:pt x="9513" y="2834"/>
                    <a:pt x="9597" y="5096"/>
                  </a:cubicBezTo>
                  <a:lnTo>
                    <a:pt x="9192" y="5096"/>
                  </a:lnTo>
                  <a:cubicBezTo>
                    <a:pt x="9109" y="5096"/>
                    <a:pt x="9037" y="5168"/>
                    <a:pt x="9037" y="5263"/>
                  </a:cubicBezTo>
                  <a:cubicBezTo>
                    <a:pt x="9037" y="5346"/>
                    <a:pt x="9109" y="5418"/>
                    <a:pt x="9192" y="5418"/>
                  </a:cubicBezTo>
                  <a:lnTo>
                    <a:pt x="9597" y="5418"/>
                  </a:lnTo>
                  <a:cubicBezTo>
                    <a:pt x="9513" y="7704"/>
                    <a:pt x="7692" y="9525"/>
                    <a:pt x="5418" y="9609"/>
                  </a:cubicBezTo>
                  <a:lnTo>
                    <a:pt x="5418" y="9204"/>
                  </a:lnTo>
                  <a:cubicBezTo>
                    <a:pt x="5418" y="9109"/>
                    <a:pt x="5346" y="9037"/>
                    <a:pt x="5251" y="9037"/>
                  </a:cubicBezTo>
                  <a:cubicBezTo>
                    <a:pt x="5168" y="9037"/>
                    <a:pt x="5084" y="9109"/>
                    <a:pt x="5084" y="9204"/>
                  </a:cubicBezTo>
                  <a:lnTo>
                    <a:pt x="5084" y="9609"/>
                  </a:lnTo>
                  <a:cubicBezTo>
                    <a:pt x="2822" y="9513"/>
                    <a:pt x="1000" y="7680"/>
                    <a:pt x="905" y="5418"/>
                  </a:cubicBezTo>
                  <a:lnTo>
                    <a:pt x="1310" y="5418"/>
                  </a:lnTo>
                  <a:cubicBezTo>
                    <a:pt x="1393" y="5418"/>
                    <a:pt x="1477" y="5346"/>
                    <a:pt x="1477" y="5263"/>
                  </a:cubicBezTo>
                  <a:cubicBezTo>
                    <a:pt x="1477" y="5168"/>
                    <a:pt x="1393" y="5096"/>
                    <a:pt x="1310" y="5096"/>
                  </a:cubicBezTo>
                  <a:lnTo>
                    <a:pt x="905" y="5096"/>
                  </a:lnTo>
                  <a:cubicBezTo>
                    <a:pt x="1000" y="2834"/>
                    <a:pt x="2822" y="1001"/>
                    <a:pt x="5084" y="905"/>
                  </a:cubicBezTo>
                  <a:lnTo>
                    <a:pt x="5084" y="1310"/>
                  </a:lnTo>
                  <a:cubicBezTo>
                    <a:pt x="5084" y="1405"/>
                    <a:pt x="5168" y="1477"/>
                    <a:pt x="5251" y="1477"/>
                  </a:cubicBezTo>
                  <a:cubicBezTo>
                    <a:pt x="5346" y="1477"/>
                    <a:pt x="5418" y="1405"/>
                    <a:pt x="5418" y="1310"/>
                  </a:cubicBezTo>
                  <a:lnTo>
                    <a:pt x="5418" y="905"/>
                  </a:lnTo>
                  <a:close/>
                  <a:moveTo>
                    <a:pt x="5251" y="0"/>
                  </a:moveTo>
                  <a:cubicBezTo>
                    <a:pt x="5168" y="0"/>
                    <a:pt x="5084" y="84"/>
                    <a:pt x="5084" y="167"/>
                  </a:cubicBezTo>
                  <a:lnTo>
                    <a:pt x="5084" y="572"/>
                  </a:lnTo>
                  <a:cubicBezTo>
                    <a:pt x="2632" y="655"/>
                    <a:pt x="655" y="2644"/>
                    <a:pt x="560" y="5096"/>
                  </a:cubicBezTo>
                  <a:lnTo>
                    <a:pt x="167" y="5096"/>
                  </a:lnTo>
                  <a:cubicBezTo>
                    <a:pt x="72" y="5096"/>
                    <a:pt x="0" y="5168"/>
                    <a:pt x="0" y="5263"/>
                  </a:cubicBezTo>
                  <a:cubicBezTo>
                    <a:pt x="0" y="5346"/>
                    <a:pt x="72" y="5418"/>
                    <a:pt x="167" y="5418"/>
                  </a:cubicBezTo>
                  <a:lnTo>
                    <a:pt x="560" y="5418"/>
                  </a:lnTo>
                  <a:cubicBezTo>
                    <a:pt x="655" y="7882"/>
                    <a:pt x="2632" y="9859"/>
                    <a:pt x="5084" y="9942"/>
                  </a:cubicBezTo>
                  <a:lnTo>
                    <a:pt x="5084" y="10347"/>
                  </a:lnTo>
                  <a:cubicBezTo>
                    <a:pt x="5084" y="10442"/>
                    <a:pt x="5168" y="10514"/>
                    <a:pt x="5251" y="10514"/>
                  </a:cubicBezTo>
                  <a:cubicBezTo>
                    <a:pt x="5346" y="10514"/>
                    <a:pt x="5418" y="10442"/>
                    <a:pt x="5418" y="10347"/>
                  </a:cubicBezTo>
                  <a:lnTo>
                    <a:pt x="5418" y="9942"/>
                  </a:lnTo>
                  <a:cubicBezTo>
                    <a:pt x="7870" y="9859"/>
                    <a:pt x="9847" y="7882"/>
                    <a:pt x="9942" y="5418"/>
                  </a:cubicBezTo>
                  <a:lnTo>
                    <a:pt x="10347" y="5418"/>
                  </a:lnTo>
                  <a:cubicBezTo>
                    <a:pt x="10430" y="5418"/>
                    <a:pt x="10502" y="5346"/>
                    <a:pt x="10502" y="5263"/>
                  </a:cubicBezTo>
                  <a:cubicBezTo>
                    <a:pt x="10502" y="5168"/>
                    <a:pt x="10442" y="5096"/>
                    <a:pt x="10347" y="5096"/>
                  </a:cubicBezTo>
                  <a:lnTo>
                    <a:pt x="9942" y="5096"/>
                  </a:lnTo>
                  <a:cubicBezTo>
                    <a:pt x="9847" y="2644"/>
                    <a:pt x="7870" y="655"/>
                    <a:pt x="5418" y="572"/>
                  </a:cubicBezTo>
                  <a:lnTo>
                    <a:pt x="5418" y="167"/>
                  </a:lnTo>
                  <a:cubicBezTo>
                    <a:pt x="5418" y="84"/>
                    <a:pt x="5346" y="0"/>
                    <a:pt x="525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56" name="Google Shape;13456;p64"/>
          <p:cNvGrpSpPr/>
          <p:nvPr/>
        </p:nvGrpSpPr>
        <p:grpSpPr>
          <a:xfrm>
            <a:off x="6577238" y="2457221"/>
            <a:ext cx="332019" cy="310788"/>
            <a:chOff x="6577238" y="2457221"/>
            <a:chExt cx="332019" cy="310788"/>
          </a:xfrm>
        </p:grpSpPr>
        <p:sp>
          <p:nvSpPr>
            <p:cNvPr id="13457" name="Google Shape;13457;p64"/>
            <p:cNvSpPr/>
            <p:nvPr/>
          </p:nvSpPr>
          <p:spPr>
            <a:xfrm>
              <a:off x="6577238" y="2457221"/>
              <a:ext cx="332019" cy="310788"/>
            </a:xfrm>
            <a:custGeom>
              <a:avLst/>
              <a:gdLst/>
              <a:ahLst/>
              <a:cxnLst/>
              <a:rect l="l" t="t" r="r" b="b"/>
              <a:pathLst>
                <a:path w="10431" h="9764" extrusionOk="0">
                  <a:moveTo>
                    <a:pt x="5478" y="346"/>
                  </a:moveTo>
                  <a:cubicBezTo>
                    <a:pt x="5823" y="346"/>
                    <a:pt x="6097" y="619"/>
                    <a:pt x="6097" y="965"/>
                  </a:cubicBezTo>
                  <a:lnTo>
                    <a:pt x="6097" y="1334"/>
                  </a:lnTo>
                  <a:cubicBezTo>
                    <a:pt x="6097" y="1620"/>
                    <a:pt x="6335" y="1858"/>
                    <a:pt x="6621" y="1858"/>
                  </a:cubicBezTo>
                  <a:lnTo>
                    <a:pt x="6776" y="1858"/>
                  </a:lnTo>
                  <a:cubicBezTo>
                    <a:pt x="6871" y="1858"/>
                    <a:pt x="6966" y="1953"/>
                    <a:pt x="6966" y="2048"/>
                  </a:cubicBezTo>
                  <a:lnTo>
                    <a:pt x="6966" y="3084"/>
                  </a:lnTo>
                  <a:cubicBezTo>
                    <a:pt x="6966" y="3179"/>
                    <a:pt x="6871" y="3275"/>
                    <a:pt x="6776" y="3275"/>
                  </a:cubicBezTo>
                  <a:lnTo>
                    <a:pt x="3537" y="3275"/>
                  </a:lnTo>
                  <a:cubicBezTo>
                    <a:pt x="3442" y="3275"/>
                    <a:pt x="3347" y="3179"/>
                    <a:pt x="3347" y="3084"/>
                  </a:cubicBezTo>
                  <a:lnTo>
                    <a:pt x="3394" y="2048"/>
                  </a:lnTo>
                  <a:cubicBezTo>
                    <a:pt x="3394" y="1953"/>
                    <a:pt x="3477" y="1858"/>
                    <a:pt x="3585" y="1858"/>
                  </a:cubicBezTo>
                  <a:lnTo>
                    <a:pt x="3739" y="1858"/>
                  </a:lnTo>
                  <a:cubicBezTo>
                    <a:pt x="4013" y="1858"/>
                    <a:pt x="4251" y="1620"/>
                    <a:pt x="4251" y="1334"/>
                  </a:cubicBezTo>
                  <a:lnTo>
                    <a:pt x="4251" y="965"/>
                  </a:lnTo>
                  <a:cubicBezTo>
                    <a:pt x="4251" y="619"/>
                    <a:pt x="4537" y="346"/>
                    <a:pt x="4882" y="346"/>
                  </a:cubicBezTo>
                  <a:close/>
                  <a:moveTo>
                    <a:pt x="9538" y="2286"/>
                  </a:moveTo>
                  <a:cubicBezTo>
                    <a:pt x="9871" y="2286"/>
                    <a:pt x="10121" y="2560"/>
                    <a:pt x="10121" y="2870"/>
                  </a:cubicBezTo>
                  <a:lnTo>
                    <a:pt x="10121" y="8823"/>
                  </a:lnTo>
                  <a:lnTo>
                    <a:pt x="10085" y="8823"/>
                  </a:lnTo>
                  <a:cubicBezTo>
                    <a:pt x="10085" y="9156"/>
                    <a:pt x="9824" y="9406"/>
                    <a:pt x="9514" y="9406"/>
                  </a:cubicBezTo>
                  <a:lnTo>
                    <a:pt x="918" y="9406"/>
                  </a:lnTo>
                  <a:cubicBezTo>
                    <a:pt x="596" y="9406"/>
                    <a:pt x="346" y="9132"/>
                    <a:pt x="346" y="8823"/>
                  </a:cubicBezTo>
                  <a:lnTo>
                    <a:pt x="346" y="2870"/>
                  </a:lnTo>
                  <a:cubicBezTo>
                    <a:pt x="346" y="2548"/>
                    <a:pt x="608" y="2286"/>
                    <a:pt x="918" y="2286"/>
                  </a:cubicBezTo>
                  <a:lnTo>
                    <a:pt x="3085" y="2286"/>
                  </a:lnTo>
                  <a:lnTo>
                    <a:pt x="3085" y="2846"/>
                  </a:lnTo>
                  <a:lnTo>
                    <a:pt x="1061" y="2846"/>
                  </a:lnTo>
                  <a:cubicBezTo>
                    <a:pt x="965" y="2846"/>
                    <a:pt x="894" y="2917"/>
                    <a:pt x="894" y="3001"/>
                  </a:cubicBezTo>
                  <a:lnTo>
                    <a:pt x="894" y="8704"/>
                  </a:lnTo>
                  <a:cubicBezTo>
                    <a:pt x="894" y="8799"/>
                    <a:pt x="965" y="8870"/>
                    <a:pt x="1061" y="8870"/>
                  </a:cubicBezTo>
                  <a:lnTo>
                    <a:pt x="6609" y="8870"/>
                  </a:lnTo>
                  <a:cubicBezTo>
                    <a:pt x="6692" y="8870"/>
                    <a:pt x="6776" y="8799"/>
                    <a:pt x="6776" y="8704"/>
                  </a:cubicBezTo>
                  <a:cubicBezTo>
                    <a:pt x="6776" y="8620"/>
                    <a:pt x="6692" y="8537"/>
                    <a:pt x="6609" y="8537"/>
                  </a:cubicBezTo>
                  <a:lnTo>
                    <a:pt x="1215" y="8537"/>
                  </a:lnTo>
                  <a:lnTo>
                    <a:pt x="1215" y="3167"/>
                  </a:lnTo>
                  <a:lnTo>
                    <a:pt x="3096" y="3167"/>
                  </a:lnTo>
                  <a:cubicBezTo>
                    <a:pt x="3132" y="3417"/>
                    <a:pt x="3347" y="3596"/>
                    <a:pt x="3620" y="3596"/>
                  </a:cubicBezTo>
                  <a:lnTo>
                    <a:pt x="6847" y="3596"/>
                  </a:lnTo>
                  <a:cubicBezTo>
                    <a:pt x="7097" y="3596"/>
                    <a:pt x="7323" y="3405"/>
                    <a:pt x="7371" y="3167"/>
                  </a:cubicBezTo>
                  <a:lnTo>
                    <a:pt x="9240" y="3167"/>
                  </a:lnTo>
                  <a:lnTo>
                    <a:pt x="9240" y="8537"/>
                  </a:lnTo>
                  <a:lnTo>
                    <a:pt x="7418" y="8537"/>
                  </a:lnTo>
                  <a:cubicBezTo>
                    <a:pt x="7335" y="8537"/>
                    <a:pt x="7264" y="8620"/>
                    <a:pt x="7264" y="8704"/>
                  </a:cubicBezTo>
                  <a:cubicBezTo>
                    <a:pt x="7264" y="8799"/>
                    <a:pt x="7335" y="8870"/>
                    <a:pt x="7418" y="8870"/>
                  </a:cubicBezTo>
                  <a:lnTo>
                    <a:pt x="9407" y="8870"/>
                  </a:lnTo>
                  <a:cubicBezTo>
                    <a:pt x="9490" y="8870"/>
                    <a:pt x="9562" y="8799"/>
                    <a:pt x="9562" y="8704"/>
                  </a:cubicBezTo>
                  <a:lnTo>
                    <a:pt x="9562" y="3001"/>
                  </a:lnTo>
                  <a:cubicBezTo>
                    <a:pt x="9562" y="2917"/>
                    <a:pt x="9490" y="2846"/>
                    <a:pt x="9407" y="2846"/>
                  </a:cubicBezTo>
                  <a:lnTo>
                    <a:pt x="7383" y="2846"/>
                  </a:lnTo>
                  <a:lnTo>
                    <a:pt x="7383" y="2286"/>
                  </a:lnTo>
                  <a:close/>
                  <a:moveTo>
                    <a:pt x="4906" y="0"/>
                  </a:moveTo>
                  <a:cubicBezTo>
                    <a:pt x="4370" y="0"/>
                    <a:pt x="3942" y="429"/>
                    <a:pt x="3942" y="965"/>
                  </a:cubicBezTo>
                  <a:lnTo>
                    <a:pt x="3942" y="1334"/>
                  </a:lnTo>
                  <a:cubicBezTo>
                    <a:pt x="3942" y="1441"/>
                    <a:pt x="3858" y="1536"/>
                    <a:pt x="3751" y="1536"/>
                  </a:cubicBezTo>
                  <a:lnTo>
                    <a:pt x="3597" y="1536"/>
                  </a:lnTo>
                  <a:cubicBezTo>
                    <a:pt x="3347" y="1536"/>
                    <a:pt x="3120" y="1727"/>
                    <a:pt x="3085" y="1965"/>
                  </a:cubicBezTo>
                  <a:lnTo>
                    <a:pt x="918" y="1965"/>
                  </a:lnTo>
                  <a:cubicBezTo>
                    <a:pt x="418" y="1965"/>
                    <a:pt x="1" y="2382"/>
                    <a:pt x="1" y="2882"/>
                  </a:cubicBezTo>
                  <a:lnTo>
                    <a:pt x="1" y="8835"/>
                  </a:lnTo>
                  <a:cubicBezTo>
                    <a:pt x="1" y="9347"/>
                    <a:pt x="418" y="9763"/>
                    <a:pt x="918" y="9763"/>
                  </a:cubicBezTo>
                  <a:lnTo>
                    <a:pt x="9514" y="9763"/>
                  </a:lnTo>
                  <a:cubicBezTo>
                    <a:pt x="10014" y="9763"/>
                    <a:pt x="10431" y="9347"/>
                    <a:pt x="10431" y="8835"/>
                  </a:cubicBezTo>
                  <a:lnTo>
                    <a:pt x="10431" y="2882"/>
                  </a:lnTo>
                  <a:cubicBezTo>
                    <a:pt x="10419" y="2370"/>
                    <a:pt x="10002" y="1965"/>
                    <a:pt x="9490" y="1965"/>
                  </a:cubicBezTo>
                  <a:lnTo>
                    <a:pt x="7335" y="1965"/>
                  </a:lnTo>
                  <a:cubicBezTo>
                    <a:pt x="7287" y="1715"/>
                    <a:pt x="7085" y="1536"/>
                    <a:pt x="6811" y="1536"/>
                  </a:cubicBezTo>
                  <a:lnTo>
                    <a:pt x="6668" y="1536"/>
                  </a:lnTo>
                  <a:cubicBezTo>
                    <a:pt x="6561" y="1536"/>
                    <a:pt x="6478" y="1441"/>
                    <a:pt x="6478" y="1334"/>
                  </a:cubicBezTo>
                  <a:lnTo>
                    <a:pt x="6478" y="965"/>
                  </a:lnTo>
                  <a:cubicBezTo>
                    <a:pt x="6478" y="429"/>
                    <a:pt x="6037" y="0"/>
                    <a:pt x="5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8" name="Google Shape;13458;p64"/>
            <p:cNvSpPr/>
            <p:nvPr/>
          </p:nvSpPr>
          <p:spPr>
            <a:xfrm>
              <a:off x="6723529" y="2512542"/>
              <a:ext cx="38705" cy="39055"/>
            </a:xfrm>
            <a:custGeom>
              <a:avLst/>
              <a:gdLst/>
              <a:ahLst/>
              <a:cxnLst/>
              <a:rect l="l" t="t" r="r" b="b"/>
              <a:pathLst>
                <a:path w="1216" h="1227" extrusionOk="0">
                  <a:moveTo>
                    <a:pt x="608" y="346"/>
                  </a:moveTo>
                  <a:cubicBezTo>
                    <a:pt x="763" y="346"/>
                    <a:pt x="882" y="465"/>
                    <a:pt x="882" y="608"/>
                  </a:cubicBezTo>
                  <a:cubicBezTo>
                    <a:pt x="882" y="763"/>
                    <a:pt x="763" y="882"/>
                    <a:pt x="608" y="882"/>
                  </a:cubicBezTo>
                  <a:cubicBezTo>
                    <a:pt x="465" y="882"/>
                    <a:pt x="346" y="763"/>
                    <a:pt x="346" y="608"/>
                  </a:cubicBezTo>
                  <a:cubicBezTo>
                    <a:pt x="346" y="465"/>
                    <a:pt x="465" y="346"/>
                    <a:pt x="608" y="346"/>
                  </a:cubicBezTo>
                  <a:close/>
                  <a:moveTo>
                    <a:pt x="608" y="1"/>
                  </a:moveTo>
                  <a:cubicBezTo>
                    <a:pt x="286" y="1"/>
                    <a:pt x="1" y="274"/>
                    <a:pt x="1" y="608"/>
                  </a:cubicBezTo>
                  <a:cubicBezTo>
                    <a:pt x="1" y="941"/>
                    <a:pt x="275" y="1227"/>
                    <a:pt x="608" y="1227"/>
                  </a:cubicBezTo>
                  <a:cubicBezTo>
                    <a:pt x="941" y="1227"/>
                    <a:pt x="1215" y="953"/>
                    <a:pt x="1215" y="608"/>
                  </a:cubicBezTo>
                  <a:cubicBezTo>
                    <a:pt x="1203" y="274"/>
                    <a:pt x="941" y="1"/>
                    <a:pt x="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9" name="Google Shape;13459;p64"/>
            <p:cNvSpPr/>
            <p:nvPr/>
          </p:nvSpPr>
          <p:spPr>
            <a:xfrm>
              <a:off x="6662893" y="2597050"/>
              <a:ext cx="169813" cy="108031"/>
            </a:xfrm>
            <a:custGeom>
              <a:avLst/>
              <a:gdLst/>
              <a:ahLst/>
              <a:cxnLst/>
              <a:rect l="l" t="t" r="r" b="b"/>
              <a:pathLst>
                <a:path w="5335" h="3394" extrusionOk="0">
                  <a:moveTo>
                    <a:pt x="763" y="2060"/>
                  </a:moveTo>
                  <a:cubicBezTo>
                    <a:pt x="1025" y="2060"/>
                    <a:pt x="1251" y="2287"/>
                    <a:pt x="1251" y="2561"/>
                  </a:cubicBezTo>
                  <a:cubicBezTo>
                    <a:pt x="1251" y="2822"/>
                    <a:pt x="1025" y="3049"/>
                    <a:pt x="763" y="3049"/>
                  </a:cubicBezTo>
                  <a:cubicBezTo>
                    <a:pt x="489" y="3049"/>
                    <a:pt x="275" y="2822"/>
                    <a:pt x="275" y="2561"/>
                  </a:cubicBezTo>
                  <a:cubicBezTo>
                    <a:pt x="275" y="2287"/>
                    <a:pt x="489" y="2060"/>
                    <a:pt x="763" y="2060"/>
                  </a:cubicBezTo>
                  <a:close/>
                  <a:moveTo>
                    <a:pt x="4918" y="1"/>
                  </a:moveTo>
                  <a:cubicBezTo>
                    <a:pt x="4918" y="1"/>
                    <a:pt x="4894" y="1"/>
                    <a:pt x="4894" y="13"/>
                  </a:cubicBezTo>
                  <a:lnTo>
                    <a:pt x="4466" y="239"/>
                  </a:lnTo>
                  <a:cubicBezTo>
                    <a:pt x="4394" y="275"/>
                    <a:pt x="4346" y="370"/>
                    <a:pt x="4394" y="453"/>
                  </a:cubicBezTo>
                  <a:cubicBezTo>
                    <a:pt x="4429" y="515"/>
                    <a:pt x="4484" y="550"/>
                    <a:pt x="4548" y="550"/>
                  </a:cubicBezTo>
                  <a:cubicBezTo>
                    <a:pt x="4571" y="550"/>
                    <a:pt x="4595" y="546"/>
                    <a:pt x="4620" y="536"/>
                  </a:cubicBezTo>
                  <a:lnTo>
                    <a:pt x="4739" y="477"/>
                  </a:lnTo>
                  <a:lnTo>
                    <a:pt x="4739" y="477"/>
                  </a:lnTo>
                  <a:cubicBezTo>
                    <a:pt x="4525" y="1191"/>
                    <a:pt x="4144" y="1727"/>
                    <a:pt x="3620" y="2060"/>
                  </a:cubicBezTo>
                  <a:cubicBezTo>
                    <a:pt x="3098" y="2398"/>
                    <a:pt x="2516" y="2470"/>
                    <a:pt x="2094" y="2470"/>
                  </a:cubicBezTo>
                  <a:cubicBezTo>
                    <a:pt x="1891" y="2470"/>
                    <a:pt x="1724" y="2453"/>
                    <a:pt x="1620" y="2441"/>
                  </a:cubicBezTo>
                  <a:cubicBezTo>
                    <a:pt x="1560" y="2049"/>
                    <a:pt x="1227" y="1751"/>
                    <a:pt x="822" y="1751"/>
                  </a:cubicBezTo>
                  <a:cubicBezTo>
                    <a:pt x="370" y="1751"/>
                    <a:pt x="1" y="2120"/>
                    <a:pt x="1" y="2572"/>
                  </a:cubicBezTo>
                  <a:cubicBezTo>
                    <a:pt x="1" y="3013"/>
                    <a:pt x="370" y="3394"/>
                    <a:pt x="822" y="3394"/>
                  </a:cubicBezTo>
                  <a:cubicBezTo>
                    <a:pt x="1203" y="3394"/>
                    <a:pt x="1537" y="3120"/>
                    <a:pt x="1620" y="2763"/>
                  </a:cubicBezTo>
                  <a:cubicBezTo>
                    <a:pt x="1739" y="2775"/>
                    <a:pt x="1906" y="2799"/>
                    <a:pt x="2120" y="2799"/>
                  </a:cubicBezTo>
                  <a:cubicBezTo>
                    <a:pt x="2572" y="2799"/>
                    <a:pt x="3215" y="2703"/>
                    <a:pt x="3799" y="2334"/>
                  </a:cubicBezTo>
                  <a:cubicBezTo>
                    <a:pt x="4382" y="1965"/>
                    <a:pt x="4799" y="1394"/>
                    <a:pt x="5037" y="620"/>
                  </a:cubicBezTo>
                  <a:lnTo>
                    <a:pt x="5061" y="667"/>
                  </a:lnTo>
                  <a:cubicBezTo>
                    <a:pt x="5097" y="727"/>
                    <a:pt x="5156" y="751"/>
                    <a:pt x="5216" y="751"/>
                  </a:cubicBezTo>
                  <a:cubicBezTo>
                    <a:pt x="5239" y="751"/>
                    <a:pt x="5251" y="751"/>
                    <a:pt x="5287" y="739"/>
                  </a:cubicBezTo>
                  <a:cubicBezTo>
                    <a:pt x="5299" y="691"/>
                    <a:pt x="5335" y="596"/>
                    <a:pt x="5287" y="501"/>
                  </a:cubicBezTo>
                  <a:lnTo>
                    <a:pt x="5061" y="72"/>
                  </a:lnTo>
                  <a:cubicBezTo>
                    <a:pt x="5061" y="72"/>
                    <a:pt x="5061" y="60"/>
                    <a:pt x="5049" y="60"/>
                  </a:cubicBezTo>
                  <a:lnTo>
                    <a:pt x="5013" y="25"/>
                  </a:lnTo>
                  <a:lnTo>
                    <a:pt x="5001" y="13"/>
                  </a:lnTo>
                  <a:cubicBezTo>
                    <a:pt x="5001" y="13"/>
                    <a:pt x="4989" y="13"/>
                    <a:pt x="49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0" name="Google Shape;13460;p64"/>
            <p:cNvSpPr/>
            <p:nvPr/>
          </p:nvSpPr>
          <p:spPr>
            <a:xfrm>
              <a:off x="6639402" y="2589188"/>
              <a:ext cx="32244" cy="31384"/>
            </a:xfrm>
            <a:custGeom>
              <a:avLst/>
              <a:gdLst/>
              <a:ahLst/>
              <a:cxnLst/>
              <a:rect l="l" t="t" r="r" b="b"/>
              <a:pathLst>
                <a:path w="1013" h="986" extrusionOk="0">
                  <a:moveTo>
                    <a:pt x="184" y="1"/>
                  </a:moveTo>
                  <a:cubicBezTo>
                    <a:pt x="140" y="1"/>
                    <a:pt x="96" y="16"/>
                    <a:pt x="60" y="45"/>
                  </a:cubicBezTo>
                  <a:cubicBezTo>
                    <a:pt x="0" y="105"/>
                    <a:pt x="0" y="212"/>
                    <a:pt x="60" y="283"/>
                  </a:cubicBezTo>
                  <a:lnTo>
                    <a:pt x="262" y="498"/>
                  </a:lnTo>
                  <a:lnTo>
                    <a:pt x="60" y="700"/>
                  </a:lnTo>
                  <a:cubicBezTo>
                    <a:pt x="0" y="760"/>
                    <a:pt x="0" y="867"/>
                    <a:pt x="60" y="938"/>
                  </a:cubicBezTo>
                  <a:cubicBezTo>
                    <a:pt x="84" y="974"/>
                    <a:pt x="131" y="986"/>
                    <a:pt x="179" y="986"/>
                  </a:cubicBezTo>
                  <a:cubicBezTo>
                    <a:pt x="215" y="986"/>
                    <a:pt x="262" y="974"/>
                    <a:pt x="298" y="938"/>
                  </a:cubicBezTo>
                  <a:lnTo>
                    <a:pt x="501" y="736"/>
                  </a:lnTo>
                  <a:lnTo>
                    <a:pt x="715" y="938"/>
                  </a:lnTo>
                  <a:cubicBezTo>
                    <a:pt x="739" y="974"/>
                    <a:pt x="786" y="986"/>
                    <a:pt x="834" y="986"/>
                  </a:cubicBezTo>
                  <a:cubicBezTo>
                    <a:pt x="870" y="986"/>
                    <a:pt x="917" y="974"/>
                    <a:pt x="953" y="938"/>
                  </a:cubicBezTo>
                  <a:cubicBezTo>
                    <a:pt x="1013" y="879"/>
                    <a:pt x="1013" y="783"/>
                    <a:pt x="953" y="700"/>
                  </a:cubicBezTo>
                  <a:lnTo>
                    <a:pt x="739" y="498"/>
                  </a:lnTo>
                  <a:lnTo>
                    <a:pt x="953" y="283"/>
                  </a:lnTo>
                  <a:cubicBezTo>
                    <a:pt x="1013" y="224"/>
                    <a:pt x="1013" y="129"/>
                    <a:pt x="953" y="45"/>
                  </a:cubicBezTo>
                  <a:cubicBezTo>
                    <a:pt x="923" y="16"/>
                    <a:pt x="882" y="1"/>
                    <a:pt x="838" y="1"/>
                  </a:cubicBezTo>
                  <a:cubicBezTo>
                    <a:pt x="795" y="1"/>
                    <a:pt x="751" y="16"/>
                    <a:pt x="715" y="45"/>
                  </a:cubicBezTo>
                  <a:lnTo>
                    <a:pt x="501" y="260"/>
                  </a:lnTo>
                  <a:lnTo>
                    <a:pt x="298" y="45"/>
                  </a:lnTo>
                  <a:cubicBezTo>
                    <a:pt x="268" y="16"/>
                    <a:pt x="227" y="1"/>
                    <a:pt x="18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1" name="Google Shape;13461;p64"/>
            <p:cNvSpPr/>
            <p:nvPr/>
          </p:nvSpPr>
          <p:spPr>
            <a:xfrm>
              <a:off x="6820547" y="2673315"/>
              <a:ext cx="32244" cy="31034"/>
            </a:xfrm>
            <a:custGeom>
              <a:avLst/>
              <a:gdLst/>
              <a:ahLst/>
              <a:cxnLst/>
              <a:rect l="l" t="t" r="r" b="b"/>
              <a:pathLst>
                <a:path w="1013" h="975" extrusionOk="0">
                  <a:moveTo>
                    <a:pt x="188" y="1"/>
                  </a:moveTo>
                  <a:cubicBezTo>
                    <a:pt x="147" y="1"/>
                    <a:pt x="102" y="16"/>
                    <a:pt x="60" y="45"/>
                  </a:cubicBezTo>
                  <a:cubicBezTo>
                    <a:pt x="1" y="105"/>
                    <a:pt x="1" y="200"/>
                    <a:pt x="60" y="284"/>
                  </a:cubicBezTo>
                  <a:lnTo>
                    <a:pt x="275" y="486"/>
                  </a:lnTo>
                  <a:lnTo>
                    <a:pt x="60" y="700"/>
                  </a:lnTo>
                  <a:cubicBezTo>
                    <a:pt x="1" y="760"/>
                    <a:pt x="1" y="855"/>
                    <a:pt x="60" y="938"/>
                  </a:cubicBezTo>
                  <a:cubicBezTo>
                    <a:pt x="96" y="962"/>
                    <a:pt x="144" y="974"/>
                    <a:pt x="179" y="974"/>
                  </a:cubicBezTo>
                  <a:cubicBezTo>
                    <a:pt x="227" y="974"/>
                    <a:pt x="275" y="962"/>
                    <a:pt x="298" y="938"/>
                  </a:cubicBezTo>
                  <a:lnTo>
                    <a:pt x="513" y="724"/>
                  </a:lnTo>
                  <a:lnTo>
                    <a:pt x="715" y="938"/>
                  </a:lnTo>
                  <a:cubicBezTo>
                    <a:pt x="751" y="962"/>
                    <a:pt x="798" y="974"/>
                    <a:pt x="834" y="974"/>
                  </a:cubicBezTo>
                  <a:cubicBezTo>
                    <a:pt x="882" y="974"/>
                    <a:pt x="929" y="962"/>
                    <a:pt x="953" y="938"/>
                  </a:cubicBezTo>
                  <a:cubicBezTo>
                    <a:pt x="1013" y="879"/>
                    <a:pt x="1013" y="772"/>
                    <a:pt x="953" y="700"/>
                  </a:cubicBezTo>
                  <a:lnTo>
                    <a:pt x="751" y="486"/>
                  </a:lnTo>
                  <a:lnTo>
                    <a:pt x="953" y="284"/>
                  </a:lnTo>
                  <a:cubicBezTo>
                    <a:pt x="1013" y="224"/>
                    <a:pt x="1013" y="117"/>
                    <a:pt x="953" y="45"/>
                  </a:cubicBezTo>
                  <a:cubicBezTo>
                    <a:pt x="923" y="16"/>
                    <a:pt x="885" y="1"/>
                    <a:pt x="843" y="1"/>
                  </a:cubicBezTo>
                  <a:cubicBezTo>
                    <a:pt x="801" y="1"/>
                    <a:pt x="757" y="16"/>
                    <a:pt x="715" y="45"/>
                  </a:cubicBezTo>
                  <a:lnTo>
                    <a:pt x="513" y="248"/>
                  </a:lnTo>
                  <a:lnTo>
                    <a:pt x="298" y="45"/>
                  </a:lnTo>
                  <a:cubicBezTo>
                    <a:pt x="269" y="16"/>
                    <a:pt x="230" y="1"/>
                    <a:pt x="18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2" name="Google Shape;13462;p64"/>
            <p:cNvSpPr/>
            <p:nvPr/>
          </p:nvSpPr>
          <p:spPr>
            <a:xfrm>
              <a:off x="6730341" y="2603607"/>
              <a:ext cx="32244" cy="31384"/>
            </a:xfrm>
            <a:custGeom>
              <a:avLst/>
              <a:gdLst/>
              <a:ahLst/>
              <a:cxnLst/>
              <a:rect l="l" t="t" r="r" b="b"/>
              <a:pathLst>
                <a:path w="1013" h="986" extrusionOk="0">
                  <a:moveTo>
                    <a:pt x="184" y="0"/>
                  </a:moveTo>
                  <a:cubicBezTo>
                    <a:pt x="141" y="0"/>
                    <a:pt x="96" y="15"/>
                    <a:pt x="61" y="45"/>
                  </a:cubicBezTo>
                  <a:cubicBezTo>
                    <a:pt x="1" y="104"/>
                    <a:pt x="1" y="211"/>
                    <a:pt x="61" y="283"/>
                  </a:cubicBezTo>
                  <a:lnTo>
                    <a:pt x="263" y="485"/>
                  </a:lnTo>
                  <a:lnTo>
                    <a:pt x="61" y="700"/>
                  </a:lnTo>
                  <a:cubicBezTo>
                    <a:pt x="1" y="759"/>
                    <a:pt x="1" y="866"/>
                    <a:pt x="61" y="938"/>
                  </a:cubicBezTo>
                  <a:cubicBezTo>
                    <a:pt x="84" y="962"/>
                    <a:pt x="132" y="985"/>
                    <a:pt x="180" y="985"/>
                  </a:cubicBezTo>
                  <a:cubicBezTo>
                    <a:pt x="215" y="985"/>
                    <a:pt x="263" y="962"/>
                    <a:pt x="299" y="938"/>
                  </a:cubicBezTo>
                  <a:lnTo>
                    <a:pt x="501" y="723"/>
                  </a:lnTo>
                  <a:lnTo>
                    <a:pt x="715" y="938"/>
                  </a:lnTo>
                  <a:cubicBezTo>
                    <a:pt x="739" y="962"/>
                    <a:pt x="787" y="985"/>
                    <a:pt x="834" y="985"/>
                  </a:cubicBezTo>
                  <a:cubicBezTo>
                    <a:pt x="870" y="985"/>
                    <a:pt x="918" y="962"/>
                    <a:pt x="953" y="938"/>
                  </a:cubicBezTo>
                  <a:cubicBezTo>
                    <a:pt x="1013" y="878"/>
                    <a:pt x="1013" y="771"/>
                    <a:pt x="953" y="700"/>
                  </a:cubicBezTo>
                  <a:lnTo>
                    <a:pt x="739" y="485"/>
                  </a:lnTo>
                  <a:lnTo>
                    <a:pt x="953" y="283"/>
                  </a:lnTo>
                  <a:cubicBezTo>
                    <a:pt x="1013" y="223"/>
                    <a:pt x="1013" y="116"/>
                    <a:pt x="953" y="45"/>
                  </a:cubicBezTo>
                  <a:cubicBezTo>
                    <a:pt x="924" y="15"/>
                    <a:pt x="882" y="0"/>
                    <a:pt x="839" y="0"/>
                  </a:cubicBezTo>
                  <a:cubicBezTo>
                    <a:pt x="796" y="0"/>
                    <a:pt x="751" y="15"/>
                    <a:pt x="715" y="45"/>
                  </a:cubicBezTo>
                  <a:lnTo>
                    <a:pt x="501" y="247"/>
                  </a:lnTo>
                  <a:lnTo>
                    <a:pt x="299" y="45"/>
                  </a:lnTo>
                  <a:cubicBezTo>
                    <a:pt x="269" y="15"/>
                    <a:pt x="227"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63" name="Google Shape;13463;p64"/>
          <p:cNvGrpSpPr/>
          <p:nvPr/>
        </p:nvGrpSpPr>
        <p:grpSpPr>
          <a:xfrm>
            <a:off x="2818561" y="2439778"/>
            <a:ext cx="247892" cy="346024"/>
            <a:chOff x="2818561" y="2439778"/>
            <a:chExt cx="247892" cy="346024"/>
          </a:xfrm>
        </p:grpSpPr>
        <p:sp>
          <p:nvSpPr>
            <p:cNvPr id="13464" name="Google Shape;13464;p64"/>
            <p:cNvSpPr/>
            <p:nvPr/>
          </p:nvSpPr>
          <p:spPr>
            <a:xfrm>
              <a:off x="2818561" y="2439778"/>
              <a:ext cx="247892" cy="346024"/>
            </a:xfrm>
            <a:custGeom>
              <a:avLst/>
              <a:gdLst/>
              <a:ahLst/>
              <a:cxnLst/>
              <a:rect l="l" t="t" r="r" b="b"/>
              <a:pathLst>
                <a:path w="7788" h="10871" extrusionOk="0">
                  <a:moveTo>
                    <a:pt x="5882" y="9716"/>
                  </a:moveTo>
                  <a:lnTo>
                    <a:pt x="5882" y="9966"/>
                  </a:lnTo>
                  <a:lnTo>
                    <a:pt x="5894" y="9966"/>
                  </a:lnTo>
                  <a:cubicBezTo>
                    <a:pt x="5894" y="10276"/>
                    <a:pt x="5644" y="10550"/>
                    <a:pt x="5323" y="10550"/>
                  </a:cubicBezTo>
                  <a:lnTo>
                    <a:pt x="894" y="10550"/>
                  </a:lnTo>
                  <a:cubicBezTo>
                    <a:pt x="584" y="10550"/>
                    <a:pt x="310" y="10299"/>
                    <a:pt x="310" y="9966"/>
                  </a:cubicBezTo>
                  <a:lnTo>
                    <a:pt x="310" y="9716"/>
                  </a:lnTo>
                  <a:close/>
                  <a:moveTo>
                    <a:pt x="894" y="1"/>
                  </a:moveTo>
                  <a:cubicBezTo>
                    <a:pt x="405" y="1"/>
                    <a:pt x="1" y="394"/>
                    <a:pt x="1" y="894"/>
                  </a:cubicBezTo>
                  <a:lnTo>
                    <a:pt x="1" y="7835"/>
                  </a:lnTo>
                  <a:cubicBezTo>
                    <a:pt x="1" y="7930"/>
                    <a:pt x="72" y="8002"/>
                    <a:pt x="167" y="8002"/>
                  </a:cubicBezTo>
                  <a:cubicBezTo>
                    <a:pt x="263" y="8002"/>
                    <a:pt x="334" y="7930"/>
                    <a:pt x="334" y="7835"/>
                  </a:cubicBezTo>
                  <a:lnTo>
                    <a:pt x="334" y="1346"/>
                  </a:lnTo>
                  <a:lnTo>
                    <a:pt x="3382" y="1346"/>
                  </a:lnTo>
                  <a:cubicBezTo>
                    <a:pt x="3477" y="1346"/>
                    <a:pt x="3549" y="1275"/>
                    <a:pt x="3549" y="1179"/>
                  </a:cubicBezTo>
                  <a:cubicBezTo>
                    <a:pt x="3549" y="1096"/>
                    <a:pt x="3477" y="1025"/>
                    <a:pt x="3382" y="1025"/>
                  </a:cubicBezTo>
                  <a:lnTo>
                    <a:pt x="334" y="1025"/>
                  </a:lnTo>
                  <a:lnTo>
                    <a:pt x="334" y="882"/>
                  </a:lnTo>
                  <a:cubicBezTo>
                    <a:pt x="334" y="572"/>
                    <a:pt x="584" y="310"/>
                    <a:pt x="906" y="310"/>
                  </a:cubicBezTo>
                  <a:lnTo>
                    <a:pt x="5335" y="310"/>
                  </a:lnTo>
                  <a:cubicBezTo>
                    <a:pt x="5644" y="310"/>
                    <a:pt x="5918" y="560"/>
                    <a:pt x="5918" y="882"/>
                  </a:cubicBezTo>
                  <a:lnTo>
                    <a:pt x="5918" y="1025"/>
                  </a:lnTo>
                  <a:lnTo>
                    <a:pt x="4073" y="1025"/>
                  </a:lnTo>
                  <a:cubicBezTo>
                    <a:pt x="3977" y="1025"/>
                    <a:pt x="3906" y="1096"/>
                    <a:pt x="3906" y="1179"/>
                  </a:cubicBezTo>
                  <a:cubicBezTo>
                    <a:pt x="3906" y="1275"/>
                    <a:pt x="3977" y="1346"/>
                    <a:pt x="4073" y="1346"/>
                  </a:cubicBezTo>
                  <a:lnTo>
                    <a:pt x="5894" y="1346"/>
                  </a:lnTo>
                  <a:lnTo>
                    <a:pt x="5894" y="3287"/>
                  </a:lnTo>
                  <a:cubicBezTo>
                    <a:pt x="5751" y="3251"/>
                    <a:pt x="5597" y="3239"/>
                    <a:pt x="5454" y="3239"/>
                  </a:cubicBezTo>
                  <a:cubicBezTo>
                    <a:pt x="4811" y="3239"/>
                    <a:pt x="4215" y="3501"/>
                    <a:pt x="3799" y="3930"/>
                  </a:cubicBezTo>
                  <a:lnTo>
                    <a:pt x="989" y="3930"/>
                  </a:lnTo>
                  <a:cubicBezTo>
                    <a:pt x="894" y="3930"/>
                    <a:pt x="822" y="4001"/>
                    <a:pt x="822" y="4084"/>
                  </a:cubicBezTo>
                  <a:cubicBezTo>
                    <a:pt x="822" y="4180"/>
                    <a:pt x="894" y="4251"/>
                    <a:pt x="989" y="4251"/>
                  </a:cubicBezTo>
                  <a:lnTo>
                    <a:pt x="3537" y="4251"/>
                  </a:lnTo>
                  <a:cubicBezTo>
                    <a:pt x="3477" y="4346"/>
                    <a:pt x="3418" y="4430"/>
                    <a:pt x="3370" y="4537"/>
                  </a:cubicBezTo>
                  <a:lnTo>
                    <a:pt x="1787" y="4537"/>
                  </a:lnTo>
                  <a:cubicBezTo>
                    <a:pt x="1703" y="4537"/>
                    <a:pt x="1620" y="4608"/>
                    <a:pt x="1620" y="4704"/>
                  </a:cubicBezTo>
                  <a:cubicBezTo>
                    <a:pt x="1620" y="4787"/>
                    <a:pt x="1703" y="4858"/>
                    <a:pt x="1787" y="4858"/>
                  </a:cubicBezTo>
                  <a:lnTo>
                    <a:pt x="3239" y="4858"/>
                  </a:lnTo>
                  <a:cubicBezTo>
                    <a:pt x="3156" y="5085"/>
                    <a:pt x="3132" y="5323"/>
                    <a:pt x="3132" y="5573"/>
                  </a:cubicBezTo>
                  <a:lnTo>
                    <a:pt x="3132" y="5739"/>
                  </a:lnTo>
                  <a:lnTo>
                    <a:pt x="1418" y="5739"/>
                  </a:lnTo>
                  <a:cubicBezTo>
                    <a:pt x="1322" y="5739"/>
                    <a:pt x="1251" y="5811"/>
                    <a:pt x="1251" y="5906"/>
                  </a:cubicBezTo>
                  <a:cubicBezTo>
                    <a:pt x="1251" y="5989"/>
                    <a:pt x="1322" y="6073"/>
                    <a:pt x="1418" y="6073"/>
                  </a:cubicBezTo>
                  <a:lnTo>
                    <a:pt x="3180" y="6073"/>
                  </a:lnTo>
                  <a:cubicBezTo>
                    <a:pt x="3192" y="6132"/>
                    <a:pt x="3203" y="6168"/>
                    <a:pt x="3215" y="6216"/>
                  </a:cubicBezTo>
                  <a:lnTo>
                    <a:pt x="2382" y="6216"/>
                  </a:lnTo>
                  <a:cubicBezTo>
                    <a:pt x="2299" y="6216"/>
                    <a:pt x="2215" y="6287"/>
                    <a:pt x="2215" y="6382"/>
                  </a:cubicBezTo>
                  <a:cubicBezTo>
                    <a:pt x="2215" y="6466"/>
                    <a:pt x="2299" y="6549"/>
                    <a:pt x="2382" y="6549"/>
                  </a:cubicBezTo>
                  <a:lnTo>
                    <a:pt x="3334" y="6549"/>
                  </a:lnTo>
                  <a:cubicBezTo>
                    <a:pt x="3704" y="7347"/>
                    <a:pt x="4513" y="7894"/>
                    <a:pt x="5454" y="7894"/>
                  </a:cubicBezTo>
                  <a:cubicBezTo>
                    <a:pt x="5597" y="7894"/>
                    <a:pt x="5751" y="7883"/>
                    <a:pt x="5894" y="7859"/>
                  </a:cubicBezTo>
                  <a:lnTo>
                    <a:pt x="5894" y="9407"/>
                  </a:lnTo>
                  <a:lnTo>
                    <a:pt x="334" y="9407"/>
                  </a:lnTo>
                  <a:lnTo>
                    <a:pt x="334" y="8514"/>
                  </a:lnTo>
                  <a:cubicBezTo>
                    <a:pt x="334" y="8418"/>
                    <a:pt x="263" y="8347"/>
                    <a:pt x="167" y="8347"/>
                  </a:cubicBezTo>
                  <a:cubicBezTo>
                    <a:pt x="72" y="8347"/>
                    <a:pt x="1" y="8418"/>
                    <a:pt x="1" y="8514"/>
                  </a:cubicBezTo>
                  <a:lnTo>
                    <a:pt x="1" y="9978"/>
                  </a:lnTo>
                  <a:cubicBezTo>
                    <a:pt x="1" y="10478"/>
                    <a:pt x="405" y="10871"/>
                    <a:pt x="894" y="10871"/>
                  </a:cubicBezTo>
                  <a:lnTo>
                    <a:pt x="5323" y="10871"/>
                  </a:lnTo>
                  <a:cubicBezTo>
                    <a:pt x="5811" y="10871"/>
                    <a:pt x="6216" y="10478"/>
                    <a:pt x="6216" y="9978"/>
                  </a:cubicBezTo>
                  <a:lnTo>
                    <a:pt x="6216" y="9561"/>
                  </a:lnTo>
                  <a:lnTo>
                    <a:pt x="6216" y="7763"/>
                  </a:lnTo>
                  <a:cubicBezTo>
                    <a:pt x="7121" y="7454"/>
                    <a:pt x="7775" y="6573"/>
                    <a:pt x="7775" y="5561"/>
                  </a:cubicBezTo>
                  <a:cubicBezTo>
                    <a:pt x="7787" y="5204"/>
                    <a:pt x="7716" y="4858"/>
                    <a:pt x="7549" y="4537"/>
                  </a:cubicBezTo>
                  <a:cubicBezTo>
                    <a:pt x="7515" y="4485"/>
                    <a:pt x="7462" y="4446"/>
                    <a:pt x="7399" y="4446"/>
                  </a:cubicBezTo>
                  <a:cubicBezTo>
                    <a:pt x="7375" y="4446"/>
                    <a:pt x="7350" y="4452"/>
                    <a:pt x="7323" y="4465"/>
                  </a:cubicBezTo>
                  <a:cubicBezTo>
                    <a:pt x="7252" y="4501"/>
                    <a:pt x="7204" y="4596"/>
                    <a:pt x="7252" y="4680"/>
                  </a:cubicBezTo>
                  <a:cubicBezTo>
                    <a:pt x="7383" y="4954"/>
                    <a:pt x="7442" y="5251"/>
                    <a:pt x="7442" y="5561"/>
                  </a:cubicBezTo>
                  <a:cubicBezTo>
                    <a:pt x="7442" y="6656"/>
                    <a:pt x="6549" y="7573"/>
                    <a:pt x="5430" y="7573"/>
                  </a:cubicBezTo>
                  <a:cubicBezTo>
                    <a:pt x="4335" y="7573"/>
                    <a:pt x="3430" y="6680"/>
                    <a:pt x="3430" y="5561"/>
                  </a:cubicBezTo>
                  <a:cubicBezTo>
                    <a:pt x="3430" y="4442"/>
                    <a:pt x="4323" y="3549"/>
                    <a:pt x="5430" y="3549"/>
                  </a:cubicBezTo>
                  <a:cubicBezTo>
                    <a:pt x="5990" y="3549"/>
                    <a:pt x="6525" y="3787"/>
                    <a:pt x="6906" y="4192"/>
                  </a:cubicBezTo>
                  <a:cubicBezTo>
                    <a:pt x="6939" y="4224"/>
                    <a:pt x="6986" y="4243"/>
                    <a:pt x="7032" y="4243"/>
                  </a:cubicBezTo>
                  <a:cubicBezTo>
                    <a:pt x="7069" y="4243"/>
                    <a:pt x="7106" y="4230"/>
                    <a:pt x="7133" y="4204"/>
                  </a:cubicBezTo>
                  <a:cubicBezTo>
                    <a:pt x="7192" y="4144"/>
                    <a:pt x="7204" y="4049"/>
                    <a:pt x="7144" y="3989"/>
                  </a:cubicBezTo>
                  <a:cubicBezTo>
                    <a:pt x="6882" y="3703"/>
                    <a:pt x="6561" y="3489"/>
                    <a:pt x="6216" y="3370"/>
                  </a:cubicBezTo>
                  <a:lnTo>
                    <a:pt x="6216" y="1191"/>
                  </a:lnTo>
                  <a:lnTo>
                    <a:pt x="6216" y="894"/>
                  </a:lnTo>
                  <a:cubicBezTo>
                    <a:pt x="6216" y="394"/>
                    <a:pt x="5811" y="1"/>
                    <a:pt x="5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5" name="Google Shape;13465;p64"/>
            <p:cNvSpPr/>
            <p:nvPr/>
          </p:nvSpPr>
          <p:spPr>
            <a:xfrm>
              <a:off x="2939833" y="2603066"/>
              <a:ext cx="11395" cy="18652"/>
            </a:xfrm>
            <a:custGeom>
              <a:avLst/>
              <a:gdLst/>
              <a:ahLst/>
              <a:cxnLst/>
              <a:rect l="l" t="t" r="r" b="b"/>
              <a:pathLst>
                <a:path w="358" h="586" extrusionOk="0">
                  <a:moveTo>
                    <a:pt x="203" y="1"/>
                  </a:moveTo>
                  <a:cubicBezTo>
                    <a:pt x="118" y="1"/>
                    <a:pt x="47" y="57"/>
                    <a:pt x="36" y="133"/>
                  </a:cubicBezTo>
                  <a:cubicBezTo>
                    <a:pt x="24" y="228"/>
                    <a:pt x="1" y="324"/>
                    <a:pt x="1" y="419"/>
                  </a:cubicBezTo>
                  <a:cubicBezTo>
                    <a:pt x="1" y="502"/>
                    <a:pt x="72" y="586"/>
                    <a:pt x="167" y="586"/>
                  </a:cubicBezTo>
                  <a:cubicBezTo>
                    <a:pt x="263" y="586"/>
                    <a:pt x="334" y="502"/>
                    <a:pt x="334" y="419"/>
                  </a:cubicBezTo>
                  <a:cubicBezTo>
                    <a:pt x="334" y="336"/>
                    <a:pt x="334" y="252"/>
                    <a:pt x="346" y="181"/>
                  </a:cubicBezTo>
                  <a:cubicBezTo>
                    <a:pt x="358" y="109"/>
                    <a:pt x="322" y="14"/>
                    <a:pt x="227" y="2"/>
                  </a:cubicBezTo>
                  <a:cubicBezTo>
                    <a:pt x="219" y="1"/>
                    <a:pt x="211" y="1"/>
                    <a:pt x="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6" name="Google Shape;13466;p64"/>
            <p:cNvSpPr/>
            <p:nvPr/>
          </p:nvSpPr>
          <p:spPr>
            <a:xfrm>
              <a:off x="2963706" y="2653103"/>
              <a:ext cx="19735" cy="14101"/>
            </a:xfrm>
            <a:custGeom>
              <a:avLst/>
              <a:gdLst/>
              <a:ahLst/>
              <a:cxnLst/>
              <a:rect l="l" t="t" r="r" b="b"/>
              <a:pathLst>
                <a:path w="620" h="443" extrusionOk="0">
                  <a:moveTo>
                    <a:pt x="178" y="1"/>
                  </a:moveTo>
                  <a:cubicBezTo>
                    <a:pt x="124" y="1"/>
                    <a:pt x="71" y="27"/>
                    <a:pt x="48" y="73"/>
                  </a:cubicBezTo>
                  <a:cubicBezTo>
                    <a:pt x="1" y="157"/>
                    <a:pt x="25" y="252"/>
                    <a:pt x="108" y="299"/>
                  </a:cubicBezTo>
                  <a:cubicBezTo>
                    <a:pt x="191" y="347"/>
                    <a:pt x="287" y="395"/>
                    <a:pt x="370" y="419"/>
                  </a:cubicBezTo>
                  <a:cubicBezTo>
                    <a:pt x="382" y="419"/>
                    <a:pt x="406" y="442"/>
                    <a:pt x="417" y="442"/>
                  </a:cubicBezTo>
                  <a:cubicBezTo>
                    <a:pt x="489" y="442"/>
                    <a:pt x="548" y="395"/>
                    <a:pt x="560" y="323"/>
                  </a:cubicBezTo>
                  <a:cubicBezTo>
                    <a:pt x="620" y="228"/>
                    <a:pt x="584" y="121"/>
                    <a:pt x="489" y="109"/>
                  </a:cubicBezTo>
                  <a:lnTo>
                    <a:pt x="263" y="26"/>
                  </a:lnTo>
                  <a:cubicBezTo>
                    <a:pt x="237" y="9"/>
                    <a:pt x="208" y="1"/>
                    <a:pt x="1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7" name="Google Shape;13467;p64"/>
            <p:cNvSpPr/>
            <p:nvPr/>
          </p:nvSpPr>
          <p:spPr>
            <a:xfrm>
              <a:off x="2948555" y="2577443"/>
              <a:ext cx="17093" cy="16615"/>
            </a:xfrm>
            <a:custGeom>
              <a:avLst/>
              <a:gdLst/>
              <a:ahLst/>
              <a:cxnLst/>
              <a:rect l="l" t="t" r="r" b="b"/>
              <a:pathLst>
                <a:path w="537" h="522" extrusionOk="0">
                  <a:moveTo>
                    <a:pt x="364" y="1"/>
                  </a:moveTo>
                  <a:cubicBezTo>
                    <a:pt x="322" y="1"/>
                    <a:pt x="280" y="15"/>
                    <a:pt x="251" y="45"/>
                  </a:cubicBezTo>
                  <a:cubicBezTo>
                    <a:pt x="179" y="117"/>
                    <a:pt x="120" y="200"/>
                    <a:pt x="60" y="271"/>
                  </a:cubicBezTo>
                  <a:cubicBezTo>
                    <a:pt x="1" y="343"/>
                    <a:pt x="24" y="450"/>
                    <a:pt x="84" y="498"/>
                  </a:cubicBezTo>
                  <a:cubicBezTo>
                    <a:pt x="120" y="510"/>
                    <a:pt x="143" y="521"/>
                    <a:pt x="179" y="521"/>
                  </a:cubicBezTo>
                  <a:cubicBezTo>
                    <a:pt x="227" y="521"/>
                    <a:pt x="286" y="498"/>
                    <a:pt x="310" y="462"/>
                  </a:cubicBezTo>
                  <a:cubicBezTo>
                    <a:pt x="358" y="402"/>
                    <a:pt x="417" y="343"/>
                    <a:pt x="465" y="283"/>
                  </a:cubicBezTo>
                  <a:cubicBezTo>
                    <a:pt x="536" y="224"/>
                    <a:pt x="536" y="117"/>
                    <a:pt x="477" y="45"/>
                  </a:cubicBezTo>
                  <a:cubicBezTo>
                    <a:pt x="447" y="15"/>
                    <a:pt x="405" y="1"/>
                    <a:pt x="36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8" name="Google Shape;13468;p64"/>
            <p:cNvSpPr/>
            <p:nvPr/>
          </p:nvSpPr>
          <p:spPr>
            <a:xfrm>
              <a:off x="2943621" y="2631299"/>
              <a:ext cx="16329" cy="17697"/>
            </a:xfrm>
            <a:custGeom>
              <a:avLst/>
              <a:gdLst/>
              <a:ahLst/>
              <a:cxnLst/>
              <a:rect l="l" t="t" r="r" b="b"/>
              <a:pathLst>
                <a:path w="513" h="556" extrusionOk="0">
                  <a:moveTo>
                    <a:pt x="196" y="1"/>
                  </a:moveTo>
                  <a:cubicBezTo>
                    <a:pt x="172" y="1"/>
                    <a:pt x="146" y="7"/>
                    <a:pt x="120" y="20"/>
                  </a:cubicBezTo>
                  <a:cubicBezTo>
                    <a:pt x="48" y="68"/>
                    <a:pt x="1" y="151"/>
                    <a:pt x="48" y="246"/>
                  </a:cubicBezTo>
                  <a:cubicBezTo>
                    <a:pt x="96" y="330"/>
                    <a:pt x="144" y="425"/>
                    <a:pt x="203" y="496"/>
                  </a:cubicBezTo>
                  <a:cubicBezTo>
                    <a:pt x="227" y="544"/>
                    <a:pt x="275" y="556"/>
                    <a:pt x="334" y="556"/>
                  </a:cubicBezTo>
                  <a:cubicBezTo>
                    <a:pt x="358" y="556"/>
                    <a:pt x="394" y="544"/>
                    <a:pt x="417" y="532"/>
                  </a:cubicBezTo>
                  <a:cubicBezTo>
                    <a:pt x="501" y="484"/>
                    <a:pt x="513" y="377"/>
                    <a:pt x="465" y="306"/>
                  </a:cubicBezTo>
                  <a:cubicBezTo>
                    <a:pt x="417" y="246"/>
                    <a:pt x="382" y="175"/>
                    <a:pt x="346" y="92"/>
                  </a:cubicBezTo>
                  <a:cubicBezTo>
                    <a:pt x="312" y="40"/>
                    <a:pt x="259" y="1"/>
                    <a:pt x="19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9" name="Google Shape;13469;p64"/>
            <p:cNvSpPr/>
            <p:nvPr/>
          </p:nvSpPr>
          <p:spPr>
            <a:xfrm>
              <a:off x="3019408" y="2638907"/>
              <a:ext cx="16711" cy="16170"/>
            </a:xfrm>
            <a:custGeom>
              <a:avLst/>
              <a:gdLst/>
              <a:ahLst/>
              <a:cxnLst/>
              <a:rect l="l" t="t" r="r" b="b"/>
              <a:pathLst>
                <a:path w="525" h="508" extrusionOk="0">
                  <a:moveTo>
                    <a:pt x="346" y="1"/>
                  </a:moveTo>
                  <a:cubicBezTo>
                    <a:pt x="290" y="1"/>
                    <a:pt x="238" y="29"/>
                    <a:pt x="215" y="67"/>
                  </a:cubicBezTo>
                  <a:cubicBezTo>
                    <a:pt x="168" y="126"/>
                    <a:pt x="108" y="186"/>
                    <a:pt x="61" y="245"/>
                  </a:cubicBezTo>
                  <a:cubicBezTo>
                    <a:pt x="1" y="305"/>
                    <a:pt x="1" y="412"/>
                    <a:pt x="61" y="472"/>
                  </a:cubicBezTo>
                  <a:cubicBezTo>
                    <a:pt x="96" y="495"/>
                    <a:pt x="144" y="507"/>
                    <a:pt x="180" y="507"/>
                  </a:cubicBezTo>
                  <a:cubicBezTo>
                    <a:pt x="227" y="507"/>
                    <a:pt x="251" y="495"/>
                    <a:pt x="299" y="472"/>
                  </a:cubicBezTo>
                  <a:cubicBezTo>
                    <a:pt x="370" y="388"/>
                    <a:pt x="430" y="317"/>
                    <a:pt x="489" y="245"/>
                  </a:cubicBezTo>
                  <a:cubicBezTo>
                    <a:pt x="525" y="186"/>
                    <a:pt x="513" y="79"/>
                    <a:pt x="442" y="31"/>
                  </a:cubicBezTo>
                  <a:cubicBezTo>
                    <a:pt x="411" y="10"/>
                    <a:pt x="378" y="1"/>
                    <a:pt x="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0" name="Google Shape;13470;p64"/>
            <p:cNvSpPr/>
            <p:nvPr/>
          </p:nvSpPr>
          <p:spPr>
            <a:xfrm>
              <a:off x="3033063" y="2611087"/>
              <a:ext cx="12159" cy="18971"/>
            </a:xfrm>
            <a:custGeom>
              <a:avLst/>
              <a:gdLst/>
              <a:ahLst/>
              <a:cxnLst/>
              <a:rect l="l" t="t" r="r" b="b"/>
              <a:pathLst>
                <a:path w="382" h="596" extrusionOk="0">
                  <a:moveTo>
                    <a:pt x="203" y="0"/>
                  </a:moveTo>
                  <a:cubicBezTo>
                    <a:pt x="108" y="0"/>
                    <a:pt x="36" y="72"/>
                    <a:pt x="36" y="167"/>
                  </a:cubicBezTo>
                  <a:cubicBezTo>
                    <a:pt x="36" y="238"/>
                    <a:pt x="36" y="334"/>
                    <a:pt x="24" y="405"/>
                  </a:cubicBezTo>
                  <a:cubicBezTo>
                    <a:pt x="1" y="488"/>
                    <a:pt x="60" y="584"/>
                    <a:pt x="155" y="596"/>
                  </a:cubicBezTo>
                  <a:lnTo>
                    <a:pt x="179" y="596"/>
                  </a:lnTo>
                  <a:cubicBezTo>
                    <a:pt x="263" y="596"/>
                    <a:pt x="334" y="536"/>
                    <a:pt x="346" y="465"/>
                  </a:cubicBezTo>
                  <a:cubicBezTo>
                    <a:pt x="370" y="369"/>
                    <a:pt x="382" y="274"/>
                    <a:pt x="382" y="167"/>
                  </a:cubicBezTo>
                  <a:cubicBezTo>
                    <a:pt x="346" y="72"/>
                    <a:pt x="286"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1" name="Google Shape;13471;p64"/>
            <p:cNvSpPr/>
            <p:nvPr/>
          </p:nvSpPr>
          <p:spPr>
            <a:xfrm>
              <a:off x="3024342" y="2583363"/>
              <a:ext cx="15947" cy="17888"/>
            </a:xfrm>
            <a:custGeom>
              <a:avLst/>
              <a:gdLst/>
              <a:ahLst/>
              <a:cxnLst/>
              <a:rect l="l" t="t" r="r" b="b"/>
              <a:pathLst>
                <a:path w="501" h="562" extrusionOk="0">
                  <a:moveTo>
                    <a:pt x="187" y="1"/>
                  </a:moveTo>
                  <a:cubicBezTo>
                    <a:pt x="154" y="1"/>
                    <a:pt x="119" y="13"/>
                    <a:pt x="84" y="38"/>
                  </a:cubicBezTo>
                  <a:cubicBezTo>
                    <a:pt x="13" y="97"/>
                    <a:pt x="1" y="193"/>
                    <a:pt x="60" y="264"/>
                  </a:cubicBezTo>
                  <a:cubicBezTo>
                    <a:pt x="96" y="324"/>
                    <a:pt x="144" y="395"/>
                    <a:pt x="179" y="466"/>
                  </a:cubicBezTo>
                  <a:cubicBezTo>
                    <a:pt x="203" y="526"/>
                    <a:pt x="263" y="562"/>
                    <a:pt x="322" y="562"/>
                  </a:cubicBezTo>
                  <a:cubicBezTo>
                    <a:pt x="358" y="562"/>
                    <a:pt x="370" y="562"/>
                    <a:pt x="394" y="550"/>
                  </a:cubicBezTo>
                  <a:cubicBezTo>
                    <a:pt x="477" y="502"/>
                    <a:pt x="501" y="407"/>
                    <a:pt x="465" y="324"/>
                  </a:cubicBezTo>
                  <a:cubicBezTo>
                    <a:pt x="417" y="228"/>
                    <a:pt x="370" y="145"/>
                    <a:pt x="310" y="74"/>
                  </a:cubicBezTo>
                  <a:cubicBezTo>
                    <a:pt x="276" y="25"/>
                    <a:pt x="233" y="1"/>
                    <a:pt x="1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2" name="Google Shape;13472;p64"/>
            <p:cNvSpPr/>
            <p:nvPr/>
          </p:nvSpPr>
          <p:spPr>
            <a:xfrm>
              <a:off x="2992894" y="2655808"/>
              <a:ext cx="19735" cy="12159"/>
            </a:xfrm>
            <a:custGeom>
              <a:avLst/>
              <a:gdLst/>
              <a:ahLst/>
              <a:cxnLst/>
              <a:rect l="l" t="t" r="r" b="b"/>
              <a:pathLst>
                <a:path w="620" h="382" extrusionOk="0">
                  <a:moveTo>
                    <a:pt x="437" y="0"/>
                  </a:moveTo>
                  <a:cubicBezTo>
                    <a:pt x="419" y="0"/>
                    <a:pt x="400" y="4"/>
                    <a:pt x="382" y="12"/>
                  </a:cubicBezTo>
                  <a:cubicBezTo>
                    <a:pt x="298" y="36"/>
                    <a:pt x="227" y="60"/>
                    <a:pt x="155" y="72"/>
                  </a:cubicBezTo>
                  <a:cubicBezTo>
                    <a:pt x="60" y="84"/>
                    <a:pt x="1" y="155"/>
                    <a:pt x="24" y="250"/>
                  </a:cubicBezTo>
                  <a:cubicBezTo>
                    <a:pt x="36" y="322"/>
                    <a:pt x="96" y="381"/>
                    <a:pt x="179" y="381"/>
                  </a:cubicBezTo>
                  <a:lnTo>
                    <a:pt x="203" y="381"/>
                  </a:lnTo>
                  <a:cubicBezTo>
                    <a:pt x="298" y="369"/>
                    <a:pt x="393" y="357"/>
                    <a:pt x="477" y="322"/>
                  </a:cubicBezTo>
                  <a:cubicBezTo>
                    <a:pt x="572" y="298"/>
                    <a:pt x="620" y="203"/>
                    <a:pt x="584" y="119"/>
                  </a:cubicBezTo>
                  <a:cubicBezTo>
                    <a:pt x="556" y="45"/>
                    <a:pt x="500" y="0"/>
                    <a:pt x="43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3" name="Google Shape;13473;p64"/>
            <p:cNvSpPr/>
            <p:nvPr/>
          </p:nvSpPr>
          <p:spPr>
            <a:xfrm>
              <a:off x="3000469" y="2566366"/>
              <a:ext cx="20117" cy="13655"/>
            </a:xfrm>
            <a:custGeom>
              <a:avLst/>
              <a:gdLst/>
              <a:ahLst/>
              <a:cxnLst/>
              <a:rect l="l" t="t" r="r" b="b"/>
              <a:pathLst>
                <a:path w="632" h="429" extrusionOk="0">
                  <a:moveTo>
                    <a:pt x="181" y="0"/>
                  </a:moveTo>
                  <a:cubicBezTo>
                    <a:pt x="116" y="0"/>
                    <a:pt x="55" y="43"/>
                    <a:pt x="36" y="107"/>
                  </a:cubicBezTo>
                  <a:cubicBezTo>
                    <a:pt x="1" y="203"/>
                    <a:pt x="48" y="286"/>
                    <a:pt x="144" y="322"/>
                  </a:cubicBezTo>
                  <a:lnTo>
                    <a:pt x="358" y="405"/>
                  </a:lnTo>
                  <a:cubicBezTo>
                    <a:pt x="394" y="429"/>
                    <a:pt x="405" y="429"/>
                    <a:pt x="441" y="429"/>
                  </a:cubicBezTo>
                  <a:cubicBezTo>
                    <a:pt x="501" y="429"/>
                    <a:pt x="560" y="393"/>
                    <a:pt x="584" y="334"/>
                  </a:cubicBezTo>
                  <a:cubicBezTo>
                    <a:pt x="632" y="274"/>
                    <a:pt x="596" y="167"/>
                    <a:pt x="513" y="131"/>
                  </a:cubicBezTo>
                  <a:cubicBezTo>
                    <a:pt x="417" y="84"/>
                    <a:pt x="334" y="36"/>
                    <a:pt x="239" y="12"/>
                  </a:cubicBezTo>
                  <a:cubicBezTo>
                    <a:pt x="220" y="4"/>
                    <a:pt x="200" y="0"/>
                    <a:pt x="1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4" name="Google Shape;13474;p64"/>
            <p:cNvSpPr/>
            <p:nvPr/>
          </p:nvSpPr>
          <p:spPr>
            <a:xfrm>
              <a:off x="2972045" y="2565188"/>
              <a:ext cx="18971" cy="12191"/>
            </a:xfrm>
            <a:custGeom>
              <a:avLst/>
              <a:gdLst/>
              <a:ahLst/>
              <a:cxnLst/>
              <a:rect l="l" t="t" r="r" b="b"/>
              <a:pathLst>
                <a:path w="596" h="383" extrusionOk="0">
                  <a:moveTo>
                    <a:pt x="441" y="0"/>
                  </a:moveTo>
                  <a:cubicBezTo>
                    <a:pt x="434" y="0"/>
                    <a:pt x="426" y="1"/>
                    <a:pt x="417" y="2"/>
                  </a:cubicBezTo>
                  <a:cubicBezTo>
                    <a:pt x="310" y="13"/>
                    <a:pt x="227" y="25"/>
                    <a:pt x="144" y="61"/>
                  </a:cubicBezTo>
                  <a:cubicBezTo>
                    <a:pt x="48" y="85"/>
                    <a:pt x="1" y="180"/>
                    <a:pt x="36" y="264"/>
                  </a:cubicBezTo>
                  <a:cubicBezTo>
                    <a:pt x="60" y="347"/>
                    <a:pt x="120" y="383"/>
                    <a:pt x="179" y="383"/>
                  </a:cubicBezTo>
                  <a:cubicBezTo>
                    <a:pt x="203" y="383"/>
                    <a:pt x="215" y="383"/>
                    <a:pt x="227" y="371"/>
                  </a:cubicBezTo>
                  <a:cubicBezTo>
                    <a:pt x="298" y="347"/>
                    <a:pt x="370" y="323"/>
                    <a:pt x="453" y="311"/>
                  </a:cubicBezTo>
                  <a:cubicBezTo>
                    <a:pt x="536" y="299"/>
                    <a:pt x="596" y="228"/>
                    <a:pt x="596" y="133"/>
                  </a:cubicBezTo>
                  <a:cubicBezTo>
                    <a:pt x="585" y="56"/>
                    <a:pt x="524" y="0"/>
                    <a:pt x="4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5" name="Google Shape;13475;p64"/>
            <p:cNvSpPr/>
            <p:nvPr/>
          </p:nvSpPr>
          <p:spPr>
            <a:xfrm>
              <a:off x="2976597" y="2586451"/>
              <a:ext cx="32244" cy="61814"/>
            </a:xfrm>
            <a:custGeom>
              <a:avLst/>
              <a:gdLst/>
              <a:ahLst/>
              <a:cxnLst/>
              <a:rect l="l" t="t" r="r" b="b"/>
              <a:pathLst>
                <a:path w="1013" h="1942" extrusionOk="0">
                  <a:moveTo>
                    <a:pt x="501" y="0"/>
                  </a:moveTo>
                  <a:cubicBezTo>
                    <a:pt x="417" y="0"/>
                    <a:pt x="334" y="72"/>
                    <a:pt x="334" y="167"/>
                  </a:cubicBezTo>
                  <a:lnTo>
                    <a:pt x="334" y="310"/>
                  </a:lnTo>
                  <a:cubicBezTo>
                    <a:pt x="143" y="346"/>
                    <a:pt x="1" y="524"/>
                    <a:pt x="1" y="715"/>
                  </a:cubicBezTo>
                  <a:cubicBezTo>
                    <a:pt x="1" y="941"/>
                    <a:pt x="179" y="1131"/>
                    <a:pt x="417" y="1131"/>
                  </a:cubicBezTo>
                  <a:lnTo>
                    <a:pt x="608" y="1131"/>
                  </a:lnTo>
                  <a:cubicBezTo>
                    <a:pt x="655" y="1131"/>
                    <a:pt x="691" y="1179"/>
                    <a:pt x="691" y="1227"/>
                  </a:cubicBezTo>
                  <a:cubicBezTo>
                    <a:pt x="691" y="1262"/>
                    <a:pt x="655" y="1310"/>
                    <a:pt x="608" y="1310"/>
                  </a:cubicBezTo>
                  <a:lnTo>
                    <a:pt x="322" y="1310"/>
                  </a:lnTo>
                  <a:cubicBezTo>
                    <a:pt x="310" y="1239"/>
                    <a:pt x="251" y="1179"/>
                    <a:pt x="155" y="1179"/>
                  </a:cubicBezTo>
                  <a:cubicBezTo>
                    <a:pt x="72" y="1179"/>
                    <a:pt x="1" y="1250"/>
                    <a:pt x="1" y="1346"/>
                  </a:cubicBezTo>
                  <a:cubicBezTo>
                    <a:pt x="1" y="1501"/>
                    <a:pt x="132" y="1643"/>
                    <a:pt x="298" y="1643"/>
                  </a:cubicBezTo>
                  <a:lnTo>
                    <a:pt x="334" y="1643"/>
                  </a:lnTo>
                  <a:lnTo>
                    <a:pt x="334" y="1774"/>
                  </a:lnTo>
                  <a:cubicBezTo>
                    <a:pt x="334" y="1858"/>
                    <a:pt x="405" y="1941"/>
                    <a:pt x="501" y="1941"/>
                  </a:cubicBezTo>
                  <a:cubicBezTo>
                    <a:pt x="596" y="1941"/>
                    <a:pt x="667" y="1858"/>
                    <a:pt x="667" y="1774"/>
                  </a:cubicBezTo>
                  <a:lnTo>
                    <a:pt x="667" y="1620"/>
                  </a:lnTo>
                  <a:cubicBezTo>
                    <a:pt x="858" y="1596"/>
                    <a:pt x="1001" y="1417"/>
                    <a:pt x="1001" y="1227"/>
                  </a:cubicBezTo>
                  <a:cubicBezTo>
                    <a:pt x="1001" y="1000"/>
                    <a:pt x="834" y="810"/>
                    <a:pt x="596" y="810"/>
                  </a:cubicBezTo>
                  <a:lnTo>
                    <a:pt x="393" y="810"/>
                  </a:lnTo>
                  <a:cubicBezTo>
                    <a:pt x="358" y="810"/>
                    <a:pt x="310" y="762"/>
                    <a:pt x="310" y="715"/>
                  </a:cubicBezTo>
                  <a:cubicBezTo>
                    <a:pt x="310" y="667"/>
                    <a:pt x="358" y="631"/>
                    <a:pt x="393" y="631"/>
                  </a:cubicBezTo>
                  <a:lnTo>
                    <a:pt x="679" y="631"/>
                  </a:lnTo>
                  <a:cubicBezTo>
                    <a:pt x="691" y="703"/>
                    <a:pt x="751" y="762"/>
                    <a:pt x="846" y="762"/>
                  </a:cubicBezTo>
                  <a:cubicBezTo>
                    <a:pt x="929" y="762"/>
                    <a:pt x="1013" y="679"/>
                    <a:pt x="1013" y="596"/>
                  </a:cubicBezTo>
                  <a:cubicBezTo>
                    <a:pt x="1013" y="429"/>
                    <a:pt x="870" y="298"/>
                    <a:pt x="715" y="298"/>
                  </a:cubicBezTo>
                  <a:lnTo>
                    <a:pt x="667" y="298"/>
                  </a:lnTo>
                  <a:lnTo>
                    <a:pt x="667" y="167"/>
                  </a:lnTo>
                  <a:cubicBezTo>
                    <a:pt x="667" y="72"/>
                    <a:pt x="596" y="0"/>
                    <a:pt x="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76" name="Google Shape;13476;p64"/>
          <p:cNvGrpSpPr/>
          <p:nvPr/>
        </p:nvGrpSpPr>
        <p:grpSpPr>
          <a:xfrm>
            <a:off x="3207778" y="2474632"/>
            <a:ext cx="419933" cy="275170"/>
            <a:chOff x="3207778" y="2474632"/>
            <a:chExt cx="419933" cy="275170"/>
          </a:xfrm>
        </p:grpSpPr>
        <p:sp>
          <p:nvSpPr>
            <p:cNvPr id="13477" name="Google Shape;13477;p64"/>
            <p:cNvSpPr/>
            <p:nvPr/>
          </p:nvSpPr>
          <p:spPr>
            <a:xfrm>
              <a:off x="3207778" y="2474632"/>
              <a:ext cx="419933" cy="275170"/>
            </a:xfrm>
            <a:custGeom>
              <a:avLst/>
              <a:gdLst/>
              <a:ahLst/>
              <a:cxnLst/>
              <a:rect l="l" t="t" r="r" b="b"/>
              <a:pathLst>
                <a:path w="13193" h="8645" extrusionOk="0">
                  <a:moveTo>
                    <a:pt x="9906" y="370"/>
                  </a:moveTo>
                  <a:lnTo>
                    <a:pt x="9906" y="3918"/>
                  </a:lnTo>
                  <a:lnTo>
                    <a:pt x="381" y="3918"/>
                  </a:lnTo>
                  <a:lnTo>
                    <a:pt x="381" y="370"/>
                  </a:lnTo>
                  <a:close/>
                  <a:moveTo>
                    <a:pt x="9906" y="4323"/>
                  </a:moveTo>
                  <a:lnTo>
                    <a:pt x="9906" y="7014"/>
                  </a:lnTo>
                  <a:cubicBezTo>
                    <a:pt x="9906" y="7514"/>
                    <a:pt x="10133" y="7966"/>
                    <a:pt x="10490" y="8264"/>
                  </a:cubicBezTo>
                  <a:lnTo>
                    <a:pt x="1632" y="8264"/>
                  </a:lnTo>
                  <a:cubicBezTo>
                    <a:pt x="953" y="8264"/>
                    <a:pt x="381" y="7692"/>
                    <a:pt x="381" y="7014"/>
                  </a:cubicBezTo>
                  <a:lnTo>
                    <a:pt x="381" y="4323"/>
                  </a:lnTo>
                  <a:close/>
                  <a:moveTo>
                    <a:pt x="12169" y="1620"/>
                  </a:moveTo>
                  <a:cubicBezTo>
                    <a:pt x="12514" y="1620"/>
                    <a:pt x="12812" y="1906"/>
                    <a:pt x="12812" y="2263"/>
                  </a:cubicBezTo>
                  <a:lnTo>
                    <a:pt x="12812" y="7014"/>
                  </a:lnTo>
                  <a:cubicBezTo>
                    <a:pt x="12812" y="7692"/>
                    <a:pt x="12240" y="8264"/>
                    <a:pt x="11561" y="8264"/>
                  </a:cubicBezTo>
                  <a:cubicBezTo>
                    <a:pt x="10871" y="8264"/>
                    <a:pt x="10311" y="7692"/>
                    <a:pt x="10311" y="7014"/>
                  </a:cubicBezTo>
                  <a:lnTo>
                    <a:pt x="10311" y="6371"/>
                  </a:lnTo>
                  <a:lnTo>
                    <a:pt x="11347" y="6371"/>
                  </a:lnTo>
                  <a:cubicBezTo>
                    <a:pt x="11454" y="6371"/>
                    <a:pt x="11549" y="6276"/>
                    <a:pt x="11549" y="6180"/>
                  </a:cubicBezTo>
                  <a:lnTo>
                    <a:pt x="11549" y="3799"/>
                  </a:lnTo>
                  <a:cubicBezTo>
                    <a:pt x="11549" y="3692"/>
                    <a:pt x="11454" y="3597"/>
                    <a:pt x="11347" y="3597"/>
                  </a:cubicBezTo>
                  <a:cubicBezTo>
                    <a:pt x="11252" y="3597"/>
                    <a:pt x="11157" y="3692"/>
                    <a:pt x="11157" y="3799"/>
                  </a:cubicBezTo>
                  <a:lnTo>
                    <a:pt x="11157" y="5978"/>
                  </a:lnTo>
                  <a:lnTo>
                    <a:pt x="10299" y="5978"/>
                  </a:lnTo>
                  <a:lnTo>
                    <a:pt x="10299" y="1620"/>
                  </a:lnTo>
                  <a:lnTo>
                    <a:pt x="11371" y="1620"/>
                  </a:lnTo>
                  <a:cubicBezTo>
                    <a:pt x="11228" y="1799"/>
                    <a:pt x="11145" y="2013"/>
                    <a:pt x="11145" y="2263"/>
                  </a:cubicBezTo>
                  <a:lnTo>
                    <a:pt x="11145" y="2906"/>
                  </a:lnTo>
                  <a:cubicBezTo>
                    <a:pt x="11145" y="3001"/>
                    <a:pt x="11228" y="3097"/>
                    <a:pt x="11335" y="3097"/>
                  </a:cubicBezTo>
                  <a:cubicBezTo>
                    <a:pt x="11442" y="3097"/>
                    <a:pt x="11526" y="3001"/>
                    <a:pt x="11526" y="2906"/>
                  </a:cubicBezTo>
                  <a:lnTo>
                    <a:pt x="11526" y="2263"/>
                  </a:lnTo>
                  <a:cubicBezTo>
                    <a:pt x="11526" y="1918"/>
                    <a:pt x="11811" y="1620"/>
                    <a:pt x="12169" y="1620"/>
                  </a:cubicBezTo>
                  <a:close/>
                  <a:moveTo>
                    <a:pt x="191" y="1"/>
                  </a:moveTo>
                  <a:cubicBezTo>
                    <a:pt x="84" y="1"/>
                    <a:pt x="0" y="96"/>
                    <a:pt x="0" y="191"/>
                  </a:cubicBezTo>
                  <a:lnTo>
                    <a:pt x="0" y="7014"/>
                  </a:lnTo>
                  <a:cubicBezTo>
                    <a:pt x="0" y="7919"/>
                    <a:pt x="727" y="8645"/>
                    <a:pt x="1632" y="8645"/>
                  </a:cubicBezTo>
                  <a:lnTo>
                    <a:pt x="11549" y="8645"/>
                  </a:lnTo>
                  <a:cubicBezTo>
                    <a:pt x="12454" y="8645"/>
                    <a:pt x="13181" y="7919"/>
                    <a:pt x="13181" y="7014"/>
                  </a:cubicBezTo>
                  <a:lnTo>
                    <a:pt x="13181" y="2263"/>
                  </a:lnTo>
                  <a:cubicBezTo>
                    <a:pt x="13193" y="1680"/>
                    <a:pt x="12740" y="1239"/>
                    <a:pt x="12169" y="1239"/>
                  </a:cubicBezTo>
                  <a:lnTo>
                    <a:pt x="10299" y="1239"/>
                  </a:lnTo>
                  <a:lnTo>
                    <a:pt x="10299" y="191"/>
                  </a:lnTo>
                  <a:cubicBezTo>
                    <a:pt x="10299" y="96"/>
                    <a:pt x="10204" y="1"/>
                    <a:pt x="10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8" name="Google Shape;13478;p64"/>
            <p:cNvSpPr/>
            <p:nvPr/>
          </p:nvSpPr>
          <p:spPr>
            <a:xfrm>
              <a:off x="3449559" y="2493985"/>
              <a:ext cx="46663" cy="98546"/>
            </a:xfrm>
            <a:custGeom>
              <a:avLst/>
              <a:gdLst/>
              <a:ahLst/>
              <a:cxnLst/>
              <a:rect l="l" t="t" r="r" b="b"/>
              <a:pathLst>
                <a:path w="1466" h="3096" extrusionOk="0">
                  <a:moveTo>
                    <a:pt x="739" y="0"/>
                  </a:moveTo>
                  <a:cubicBezTo>
                    <a:pt x="632" y="0"/>
                    <a:pt x="536" y="95"/>
                    <a:pt x="536" y="203"/>
                  </a:cubicBezTo>
                  <a:lnTo>
                    <a:pt x="536" y="417"/>
                  </a:lnTo>
                  <a:cubicBezTo>
                    <a:pt x="227" y="476"/>
                    <a:pt x="1" y="750"/>
                    <a:pt x="1" y="1072"/>
                  </a:cubicBezTo>
                  <a:cubicBezTo>
                    <a:pt x="1" y="1453"/>
                    <a:pt x="298" y="1750"/>
                    <a:pt x="679" y="1750"/>
                  </a:cubicBezTo>
                  <a:lnTo>
                    <a:pt x="810" y="1750"/>
                  </a:lnTo>
                  <a:cubicBezTo>
                    <a:pt x="953" y="1750"/>
                    <a:pt x="1096" y="1869"/>
                    <a:pt x="1096" y="2024"/>
                  </a:cubicBezTo>
                  <a:cubicBezTo>
                    <a:pt x="1096" y="2191"/>
                    <a:pt x="977" y="2310"/>
                    <a:pt x="810" y="2310"/>
                  </a:cubicBezTo>
                  <a:lnTo>
                    <a:pt x="596" y="2310"/>
                  </a:lnTo>
                  <a:cubicBezTo>
                    <a:pt x="477" y="2310"/>
                    <a:pt x="393" y="2215"/>
                    <a:pt x="393" y="2096"/>
                  </a:cubicBezTo>
                  <a:cubicBezTo>
                    <a:pt x="393" y="2000"/>
                    <a:pt x="298" y="1905"/>
                    <a:pt x="203" y="1905"/>
                  </a:cubicBezTo>
                  <a:cubicBezTo>
                    <a:pt x="96" y="1905"/>
                    <a:pt x="1" y="2000"/>
                    <a:pt x="1" y="2096"/>
                  </a:cubicBezTo>
                  <a:cubicBezTo>
                    <a:pt x="1" y="2417"/>
                    <a:pt x="239" y="2667"/>
                    <a:pt x="536" y="2691"/>
                  </a:cubicBezTo>
                  <a:lnTo>
                    <a:pt x="536" y="2905"/>
                  </a:lnTo>
                  <a:cubicBezTo>
                    <a:pt x="536" y="3012"/>
                    <a:pt x="632" y="3096"/>
                    <a:pt x="739" y="3096"/>
                  </a:cubicBezTo>
                  <a:cubicBezTo>
                    <a:pt x="834" y="3096"/>
                    <a:pt x="929" y="3012"/>
                    <a:pt x="929" y="2905"/>
                  </a:cubicBezTo>
                  <a:lnTo>
                    <a:pt x="929" y="2679"/>
                  </a:lnTo>
                  <a:cubicBezTo>
                    <a:pt x="1239" y="2620"/>
                    <a:pt x="1465" y="2358"/>
                    <a:pt x="1465" y="2024"/>
                  </a:cubicBezTo>
                  <a:cubicBezTo>
                    <a:pt x="1465" y="1655"/>
                    <a:pt x="1167" y="1358"/>
                    <a:pt x="798" y="1358"/>
                  </a:cubicBezTo>
                  <a:lnTo>
                    <a:pt x="655" y="1358"/>
                  </a:lnTo>
                  <a:cubicBezTo>
                    <a:pt x="513" y="1358"/>
                    <a:pt x="382" y="1238"/>
                    <a:pt x="382" y="1072"/>
                  </a:cubicBezTo>
                  <a:cubicBezTo>
                    <a:pt x="382" y="929"/>
                    <a:pt x="501" y="798"/>
                    <a:pt x="655" y="798"/>
                  </a:cubicBezTo>
                  <a:lnTo>
                    <a:pt x="870" y="798"/>
                  </a:lnTo>
                  <a:cubicBezTo>
                    <a:pt x="989" y="798"/>
                    <a:pt x="1072" y="881"/>
                    <a:pt x="1072" y="1000"/>
                  </a:cubicBezTo>
                  <a:lnTo>
                    <a:pt x="1072" y="1131"/>
                  </a:lnTo>
                  <a:cubicBezTo>
                    <a:pt x="1072" y="1238"/>
                    <a:pt x="1167" y="1334"/>
                    <a:pt x="1275" y="1334"/>
                  </a:cubicBezTo>
                  <a:cubicBezTo>
                    <a:pt x="1370" y="1334"/>
                    <a:pt x="1465" y="1238"/>
                    <a:pt x="1465" y="1131"/>
                  </a:cubicBezTo>
                  <a:lnTo>
                    <a:pt x="1465" y="1000"/>
                  </a:lnTo>
                  <a:cubicBezTo>
                    <a:pt x="1465" y="691"/>
                    <a:pt x="1227" y="441"/>
                    <a:pt x="929" y="405"/>
                  </a:cubicBezTo>
                  <a:lnTo>
                    <a:pt x="929" y="203"/>
                  </a:lnTo>
                  <a:cubicBezTo>
                    <a:pt x="929" y="95"/>
                    <a:pt x="834" y="0"/>
                    <a:pt x="73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9" name="Google Shape;13479;p64"/>
            <p:cNvSpPr/>
            <p:nvPr/>
          </p:nvSpPr>
          <p:spPr>
            <a:xfrm>
              <a:off x="3247566" y="2507226"/>
              <a:ext cx="51565" cy="71681"/>
            </a:xfrm>
            <a:custGeom>
              <a:avLst/>
              <a:gdLst/>
              <a:ahLst/>
              <a:cxnLst/>
              <a:rect l="l" t="t" r="r" b="b"/>
              <a:pathLst>
                <a:path w="1620" h="2252" extrusionOk="0">
                  <a:moveTo>
                    <a:pt x="1429" y="1"/>
                  </a:moveTo>
                  <a:cubicBezTo>
                    <a:pt x="1322" y="1"/>
                    <a:pt x="1227" y="96"/>
                    <a:pt x="1227" y="203"/>
                  </a:cubicBezTo>
                  <a:lnTo>
                    <a:pt x="1227" y="1418"/>
                  </a:lnTo>
                  <a:lnTo>
                    <a:pt x="358" y="96"/>
                  </a:lnTo>
                  <a:cubicBezTo>
                    <a:pt x="323" y="44"/>
                    <a:pt x="256" y="11"/>
                    <a:pt x="195" y="11"/>
                  </a:cubicBezTo>
                  <a:cubicBezTo>
                    <a:pt x="172" y="11"/>
                    <a:pt x="151" y="15"/>
                    <a:pt x="132" y="25"/>
                  </a:cubicBezTo>
                  <a:cubicBezTo>
                    <a:pt x="60" y="49"/>
                    <a:pt x="1" y="120"/>
                    <a:pt x="1" y="203"/>
                  </a:cubicBezTo>
                  <a:lnTo>
                    <a:pt x="1" y="2061"/>
                  </a:lnTo>
                  <a:cubicBezTo>
                    <a:pt x="1" y="2168"/>
                    <a:pt x="84" y="2251"/>
                    <a:pt x="191" y="2251"/>
                  </a:cubicBezTo>
                  <a:cubicBezTo>
                    <a:pt x="298" y="2251"/>
                    <a:pt x="382" y="2168"/>
                    <a:pt x="382" y="2061"/>
                  </a:cubicBezTo>
                  <a:lnTo>
                    <a:pt x="382" y="834"/>
                  </a:lnTo>
                  <a:lnTo>
                    <a:pt x="1263" y="2168"/>
                  </a:lnTo>
                  <a:cubicBezTo>
                    <a:pt x="1289" y="2221"/>
                    <a:pt x="1356" y="2248"/>
                    <a:pt x="1428" y="2248"/>
                  </a:cubicBezTo>
                  <a:cubicBezTo>
                    <a:pt x="1452" y="2248"/>
                    <a:pt x="1477" y="2245"/>
                    <a:pt x="1501" y="2239"/>
                  </a:cubicBezTo>
                  <a:cubicBezTo>
                    <a:pt x="1572" y="2204"/>
                    <a:pt x="1620" y="2132"/>
                    <a:pt x="1620" y="2061"/>
                  </a:cubicBezTo>
                  <a:lnTo>
                    <a:pt x="1620" y="203"/>
                  </a:lnTo>
                  <a:cubicBezTo>
                    <a:pt x="1620" y="96"/>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0" name="Google Shape;13480;p64"/>
            <p:cNvSpPr/>
            <p:nvPr/>
          </p:nvSpPr>
          <p:spPr>
            <a:xfrm>
              <a:off x="3312754" y="2507990"/>
              <a:ext cx="45135" cy="71299"/>
            </a:xfrm>
            <a:custGeom>
              <a:avLst/>
              <a:gdLst/>
              <a:ahLst/>
              <a:cxnLst/>
              <a:rect l="l" t="t" r="r" b="b"/>
              <a:pathLst>
                <a:path w="1418" h="2240" extrusionOk="0">
                  <a:moveTo>
                    <a:pt x="191" y="1"/>
                  </a:moveTo>
                  <a:cubicBezTo>
                    <a:pt x="96" y="1"/>
                    <a:pt x="0" y="84"/>
                    <a:pt x="0" y="191"/>
                  </a:cubicBezTo>
                  <a:lnTo>
                    <a:pt x="0" y="2049"/>
                  </a:lnTo>
                  <a:cubicBezTo>
                    <a:pt x="0" y="2156"/>
                    <a:pt x="96" y="2239"/>
                    <a:pt x="191" y="2239"/>
                  </a:cubicBezTo>
                  <a:lnTo>
                    <a:pt x="1227" y="2239"/>
                  </a:lnTo>
                  <a:cubicBezTo>
                    <a:pt x="1322" y="2239"/>
                    <a:pt x="1417" y="2156"/>
                    <a:pt x="1417" y="2049"/>
                  </a:cubicBezTo>
                  <a:cubicBezTo>
                    <a:pt x="1417" y="1930"/>
                    <a:pt x="1346" y="1846"/>
                    <a:pt x="1227" y="1846"/>
                  </a:cubicBezTo>
                  <a:lnTo>
                    <a:pt x="393" y="1846"/>
                  </a:lnTo>
                  <a:lnTo>
                    <a:pt x="393" y="1203"/>
                  </a:lnTo>
                  <a:lnTo>
                    <a:pt x="1024" y="1203"/>
                  </a:lnTo>
                  <a:cubicBezTo>
                    <a:pt x="1132" y="1203"/>
                    <a:pt x="1227" y="1108"/>
                    <a:pt x="1227" y="1013"/>
                  </a:cubicBezTo>
                  <a:cubicBezTo>
                    <a:pt x="1227" y="906"/>
                    <a:pt x="1132" y="810"/>
                    <a:pt x="1024" y="810"/>
                  </a:cubicBezTo>
                  <a:lnTo>
                    <a:pt x="393" y="810"/>
                  </a:lnTo>
                  <a:lnTo>
                    <a:pt x="393" y="382"/>
                  </a:lnTo>
                  <a:lnTo>
                    <a:pt x="1227" y="382"/>
                  </a:lnTo>
                  <a:cubicBezTo>
                    <a:pt x="1322" y="382"/>
                    <a:pt x="1417" y="298"/>
                    <a:pt x="1417" y="191"/>
                  </a:cubicBezTo>
                  <a:cubicBezTo>
                    <a:pt x="1417" y="84"/>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1" name="Google Shape;13481;p64"/>
            <p:cNvSpPr/>
            <p:nvPr/>
          </p:nvSpPr>
          <p:spPr>
            <a:xfrm>
              <a:off x="3372626" y="2507194"/>
              <a:ext cx="65602" cy="71395"/>
            </a:xfrm>
            <a:custGeom>
              <a:avLst/>
              <a:gdLst/>
              <a:ahLst/>
              <a:cxnLst/>
              <a:rect l="l" t="t" r="r" b="b"/>
              <a:pathLst>
                <a:path w="2061" h="2243" extrusionOk="0">
                  <a:moveTo>
                    <a:pt x="200" y="1"/>
                  </a:moveTo>
                  <a:cubicBezTo>
                    <a:pt x="193" y="1"/>
                    <a:pt x="186" y="1"/>
                    <a:pt x="179" y="2"/>
                  </a:cubicBezTo>
                  <a:cubicBezTo>
                    <a:pt x="72" y="26"/>
                    <a:pt x="1" y="109"/>
                    <a:pt x="13" y="216"/>
                  </a:cubicBezTo>
                  <a:lnTo>
                    <a:pt x="215" y="2074"/>
                  </a:lnTo>
                  <a:cubicBezTo>
                    <a:pt x="239" y="2169"/>
                    <a:pt x="298" y="2228"/>
                    <a:pt x="382" y="2240"/>
                  </a:cubicBezTo>
                  <a:cubicBezTo>
                    <a:pt x="391" y="2242"/>
                    <a:pt x="401" y="2242"/>
                    <a:pt x="410" y="2242"/>
                  </a:cubicBezTo>
                  <a:cubicBezTo>
                    <a:pt x="493" y="2242"/>
                    <a:pt x="564" y="2196"/>
                    <a:pt x="596" y="2121"/>
                  </a:cubicBezTo>
                  <a:lnTo>
                    <a:pt x="1036" y="1097"/>
                  </a:lnTo>
                  <a:lnTo>
                    <a:pt x="1489" y="2121"/>
                  </a:lnTo>
                  <a:cubicBezTo>
                    <a:pt x="1510" y="2196"/>
                    <a:pt x="1589" y="2242"/>
                    <a:pt x="1665" y="2242"/>
                  </a:cubicBezTo>
                  <a:cubicBezTo>
                    <a:pt x="1674" y="2242"/>
                    <a:pt x="1683" y="2242"/>
                    <a:pt x="1691" y="2240"/>
                  </a:cubicBezTo>
                  <a:cubicBezTo>
                    <a:pt x="1787" y="2228"/>
                    <a:pt x="1846" y="2145"/>
                    <a:pt x="1858" y="2074"/>
                  </a:cubicBezTo>
                  <a:lnTo>
                    <a:pt x="2060" y="216"/>
                  </a:lnTo>
                  <a:cubicBezTo>
                    <a:pt x="2037" y="109"/>
                    <a:pt x="1965" y="26"/>
                    <a:pt x="1846" y="2"/>
                  </a:cubicBezTo>
                  <a:cubicBezTo>
                    <a:pt x="1838" y="1"/>
                    <a:pt x="1830" y="1"/>
                    <a:pt x="1823" y="1"/>
                  </a:cubicBezTo>
                  <a:cubicBezTo>
                    <a:pt x="1724" y="1"/>
                    <a:pt x="1632" y="69"/>
                    <a:pt x="1632" y="169"/>
                  </a:cubicBezTo>
                  <a:lnTo>
                    <a:pt x="1513" y="1300"/>
                  </a:lnTo>
                  <a:lnTo>
                    <a:pt x="1191" y="526"/>
                  </a:lnTo>
                  <a:cubicBezTo>
                    <a:pt x="1161" y="454"/>
                    <a:pt x="1087" y="419"/>
                    <a:pt x="1013" y="419"/>
                  </a:cubicBezTo>
                  <a:cubicBezTo>
                    <a:pt x="938" y="419"/>
                    <a:pt x="864" y="454"/>
                    <a:pt x="834" y="526"/>
                  </a:cubicBezTo>
                  <a:lnTo>
                    <a:pt x="501" y="1300"/>
                  </a:lnTo>
                  <a:lnTo>
                    <a:pt x="382" y="169"/>
                  </a:lnTo>
                  <a:cubicBezTo>
                    <a:pt x="371" y="69"/>
                    <a:pt x="288" y="1"/>
                    <a:pt x="2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2" name="Google Shape;13482;p64"/>
            <p:cNvSpPr/>
            <p:nvPr/>
          </p:nvSpPr>
          <p:spPr>
            <a:xfrm>
              <a:off x="3247566" y="2632286"/>
              <a:ext cx="97432" cy="12541"/>
            </a:xfrm>
            <a:custGeom>
              <a:avLst/>
              <a:gdLst/>
              <a:ahLst/>
              <a:cxnLst/>
              <a:rect l="l" t="t" r="r" b="b"/>
              <a:pathLst>
                <a:path w="3061" h="394" extrusionOk="0">
                  <a:moveTo>
                    <a:pt x="191" y="1"/>
                  </a:moveTo>
                  <a:cubicBezTo>
                    <a:pt x="84" y="1"/>
                    <a:pt x="1" y="96"/>
                    <a:pt x="1" y="203"/>
                  </a:cubicBezTo>
                  <a:cubicBezTo>
                    <a:pt x="1" y="299"/>
                    <a:pt x="84" y="394"/>
                    <a:pt x="191" y="394"/>
                  </a:cubicBezTo>
                  <a:lnTo>
                    <a:pt x="2870" y="394"/>
                  </a:lnTo>
                  <a:cubicBezTo>
                    <a:pt x="2977" y="394"/>
                    <a:pt x="3060" y="299"/>
                    <a:pt x="3060" y="203"/>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3" name="Google Shape;13483;p64"/>
            <p:cNvSpPr/>
            <p:nvPr/>
          </p:nvSpPr>
          <p:spPr>
            <a:xfrm>
              <a:off x="3371862" y="2632286"/>
              <a:ext cx="124360" cy="12541"/>
            </a:xfrm>
            <a:custGeom>
              <a:avLst/>
              <a:gdLst/>
              <a:ahLst/>
              <a:cxnLst/>
              <a:rect l="l" t="t" r="r" b="b"/>
              <a:pathLst>
                <a:path w="3907" h="394" extrusionOk="0">
                  <a:moveTo>
                    <a:pt x="203" y="1"/>
                  </a:moveTo>
                  <a:cubicBezTo>
                    <a:pt x="96" y="1"/>
                    <a:pt x="1" y="96"/>
                    <a:pt x="1" y="203"/>
                  </a:cubicBezTo>
                  <a:cubicBezTo>
                    <a:pt x="1" y="299"/>
                    <a:pt x="96" y="394"/>
                    <a:pt x="203" y="394"/>
                  </a:cubicBezTo>
                  <a:lnTo>
                    <a:pt x="3716" y="394"/>
                  </a:lnTo>
                  <a:cubicBezTo>
                    <a:pt x="3811" y="394"/>
                    <a:pt x="3906" y="299"/>
                    <a:pt x="3906" y="203"/>
                  </a:cubicBezTo>
                  <a:cubicBezTo>
                    <a:pt x="3906" y="84"/>
                    <a:pt x="3811" y="1"/>
                    <a:pt x="37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4" name="Google Shape;13484;p64"/>
            <p:cNvSpPr/>
            <p:nvPr/>
          </p:nvSpPr>
          <p:spPr>
            <a:xfrm>
              <a:off x="3247566" y="2665262"/>
              <a:ext cx="51565" cy="12159"/>
            </a:xfrm>
            <a:custGeom>
              <a:avLst/>
              <a:gdLst/>
              <a:ahLst/>
              <a:cxnLst/>
              <a:rect l="l" t="t" r="r" b="b"/>
              <a:pathLst>
                <a:path w="1620" h="382" extrusionOk="0">
                  <a:moveTo>
                    <a:pt x="191" y="1"/>
                  </a:moveTo>
                  <a:cubicBezTo>
                    <a:pt x="84" y="1"/>
                    <a:pt x="1" y="84"/>
                    <a:pt x="1" y="191"/>
                  </a:cubicBezTo>
                  <a:cubicBezTo>
                    <a:pt x="1" y="298"/>
                    <a:pt x="84" y="382"/>
                    <a:pt x="191" y="382"/>
                  </a:cubicBezTo>
                  <a:lnTo>
                    <a:pt x="1429" y="382"/>
                  </a:lnTo>
                  <a:cubicBezTo>
                    <a:pt x="1525" y="382"/>
                    <a:pt x="1620" y="298"/>
                    <a:pt x="1620" y="191"/>
                  </a:cubicBezTo>
                  <a:cubicBezTo>
                    <a:pt x="1620" y="84"/>
                    <a:pt x="1525" y="1"/>
                    <a:pt x="1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5" name="Google Shape;13485;p64"/>
            <p:cNvSpPr/>
            <p:nvPr/>
          </p:nvSpPr>
          <p:spPr>
            <a:xfrm>
              <a:off x="3247566" y="2697856"/>
              <a:ext cx="97432" cy="12159"/>
            </a:xfrm>
            <a:custGeom>
              <a:avLst/>
              <a:gdLst/>
              <a:ahLst/>
              <a:cxnLst/>
              <a:rect l="l" t="t" r="r" b="b"/>
              <a:pathLst>
                <a:path w="3061" h="382" extrusionOk="0">
                  <a:moveTo>
                    <a:pt x="191" y="1"/>
                  </a:moveTo>
                  <a:cubicBezTo>
                    <a:pt x="84" y="1"/>
                    <a:pt x="1" y="84"/>
                    <a:pt x="1" y="191"/>
                  </a:cubicBezTo>
                  <a:cubicBezTo>
                    <a:pt x="1" y="298"/>
                    <a:pt x="84" y="382"/>
                    <a:pt x="191" y="382"/>
                  </a:cubicBezTo>
                  <a:lnTo>
                    <a:pt x="2870" y="382"/>
                  </a:lnTo>
                  <a:cubicBezTo>
                    <a:pt x="2977" y="382"/>
                    <a:pt x="3060" y="298"/>
                    <a:pt x="3060" y="191"/>
                  </a:cubicBezTo>
                  <a:cubicBezTo>
                    <a:pt x="3060" y="84"/>
                    <a:pt x="2977" y="1"/>
                    <a:pt x="2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6" name="Google Shape;13486;p64"/>
            <p:cNvSpPr/>
            <p:nvPr/>
          </p:nvSpPr>
          <p:spPr>
            <a:xfrm>
              <a:off x="3312754" y="2665262"/>
              <a:ext cx="32244" cy="12159"/>
            </a:xfrm>
            <a:custGeom>
              <a:avLst/>
              <a:gdLst/>
              <a:ahLst/>
              <a:cxnLst/>
              <a:rect l="l" t="t" r="r" b="b"/>
              <a:pathLst>
                <a:path w="1013" h="382" extrusionOk="0">
                  <a:moveTo>
                    <a:pt x="191" y="1"/>
                  </a:moveTo>
                  <a:cubicBezTo>
                    <a:pt x="84" y="1"/>
                    <a:pt x="0" y="84"/>
                    <a:pt x="0" y="191"/>
                  </a:cubicBezTo>
                  <a:cubicBezTo>
                    <a:pt x="0" y="298"/>
                    <a:pt x="96" y="382"/>
                    <a:pt x="191" y="382"/>
                  </a:cubicBezTo>
                  <a:lnTo>
                    <a:pt x="822" y="382"/>
                  </a:lnTo>
                  <a:cubicBezTo>
                    <a:pt x="929" y="382"/>
                    <a:pt x="1012" y="298"/>
                    <a:pt x="1012" y="191"/>
                  </a:cubicBezTo>
                  <a:cubicBezTo>
                    <a:pt x="1012" y="84"/>
                    <a:pt x="929" y="1"/>
                    <a:pt x="82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7" name="Google Shape;13487;p64"/>
            <p:cNvSpPr/>
            <p:nvPr/>
          </p:nvSpPr>
          <p:spPr>
            <a:xfrm>
              <a:off x="3371862" y="2665262"/>
              <a:ext cx="58408" cy="12159"/>
            </a:xfrm>
            <a:custGeom>
              <a:avLst/>
              <a:gdLst/>
              <a:ahLst/>
              <a:cxnLst/>
              <a:rect l="l" t="t" r="r" b="b"/>
              <a:pathLst>
                <a:path w="1835" h="382" extrusionOk="0">
                  <a:moveTo>
                    <a:pt x="203" y="1"/>
                  </a:moveTo>
                  <a:cubicBezTo>
                    <a:pt x="96" y="1"/>
                    <a:pt x="1" y="84"/>
                    <a:pt x="1" y="191"/>
                  </a:cubicBezTo>
                  <a:cubicBezTo>
                    <a:pt x="1" y="298"/>
                    <a:pt x="96" y="382"/>
                    <a:pt x="203" y="382"/>
                  </a:cubicBezTo>
                  <a:lnTo>
                    <a:pt x="1644" y="382"/>
                  </a:lnTo>
                  <a:cubicBezTo>
                    <a:pt x="1751" y="382"/>
                    <a:pt x="1834" y="298"/>
                    <a:pt x="1834" y="191"/>
                  </a:cubicBezTo>
                  <a:cubicBezTo>
                    <a:pt x="1834" y="84"/>
                    <a:pt x="1751" y="1"/>
                    <a:pt x="1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8" name="Google Shape;13488;p64"/>
            <p:cNvSpPr/>
            <p:nvPr/>
          </p:nvSpPr>
          <p:spPr>
            <a:xfrm>
              <a:off x="3444625" y="2665262"/>
              <a:ext cx="51596" cy="12159"/>
            </a:xfrm>
            <a:custGeom>
              <a:avLst/>
              <a:gdLst/>
              <a:ahLst/>
              <a:cxnLst/>
              <a:rect l="l" t="t" r="r" b="b"/>
              <a:pathLst>
                <a:path w="1621" h="382" extrusionOk="0">
                  <a:moveTo>
                    <a:pt x="191" y="1"/>
                  </a:moveTo>
                  <a:cubicBezTo>
                    <a:pt x="84" y="1"/>
                    <a:pt x="1" y="84"/>
                    <a:pt x="1" y="191"/>
                  </a:cubicBezTo>
                  <a:cubicBezTo>
                    <a:pt x="1" y="298"/>
                    <a:pt x="84" y="382"/>
                    <a:pt x="191" y="382"/>
                  </a:cubicBezTo>
                  <a:lnTo>
                    <a:pt x="1430" y="382"/>
                  </a:lnTo>
                  <a:cubicBezTo>
                    <a:pt x="1525" y="382"/>
                    <a:pt x="1620" y="298"/>
                    <a:pt x="1620" y="191"/>
                  </a:cubicBezTo>
                  <a:cubicBezTo>
                    <a:pt x="1620" y="84"/>
                    <a:pt x="1525" y="1"/>
                    <a:pt x="1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9" name="Google Shape;13489;p64"/>
            <p:cNvSpPr/>
            <p:nvPr/>
          </p:nvSpPr>
          <p:spPr>
            <a:xfrm>
              <a:off x="3371862" y="2697856"/>
              <a:ext cx="84922" cy="12159"/>
            </a:xfrm>
            <a:custGeom>
              <a:avLst/>
              <a:gdLst/>
              <a:ahLst/>
              <a:cxnLst/>
              <a:rect l="l" t="t" r="r" b="b"/>
              <a:pathLst>
                <a:path w="2668" h="382" extrusionOk="0">
                  <a:moveTo>
                    <a:pt x="203" y="1"/>
                  </a:moveTo>
                  <a:cubicBezTo>
                    <a:pt x="96" y="1"/>
                    <a:pt x="1" y="84"/>
                    <a:pt x="1" y="191"/>
                  </a:cubicBezTo>
                  <a:cubicBezTo>
                    <a:pt x="1" y="298"/>
                    <a:pt x="96" y="382"/>
                    <a:pt x="203" y="382"/>
                  </a:cubicBezTo>
                  <a:lnTo>
                    <a:pt x="2477" y="382"/>
                  </a:lnTo>
                  <a:cubicBezTo>
                    <a:pt x="2584" y="382"/>
                    <a:pt x="2668" y="298"/>
                    <a:pt x="2668" y="191"/>
                  </a:cubicBezTo>
                  <a:cubicBezTo>
                    <a:pt x="2668" y="84"/>
                    <a:pt x="2584"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0" name="Google Shape;13490;p64"/>
            <p:cNvSpPr/>
            <p:nvPr/>
          </p:nvSpPr>
          <p:spPr>
            <a:xfrm>
              <a:off x="3470408" y="2697856"/>
              <a:ext cx="25814" cy="12159"/>
            </a:xfrm>
            <a:custGeom>
              <a:avLst/>
              <a:gdLst/>
              <a:ahLst/>
              <a:cxnLst/>
              <a:rect l="l" t="t" r="r" b="b"/>
              <a:pathLst>
                <a:path w="811" h="382" extrusionOk="0">
                  <a:moveTo>
                    <a:pt x="203" y="1"/>
                  </a:moveTo>
                  <a:cubicBezTo>
                    <a:pt x="96" y="1"/>
                    <a:pt x="0" y="84"/>
                    <a:pt x="0" y="191"/>
                  </a:cubicBezTo>
                  <a:cubicBezTo>
                    <a:pt x="0" y="298"/>
                    <a:pt x="96" y="382"/>
                    <a:pt x="203" y="382"/>
                  </a:cubicBezTo>
                  <a:lnTo>
                    <a:pt x="620" y="382"/>
                  </a:lnTo>
                  <a:cubicBezTo>
                    <a:pt x="715" y="382"/>
                    <a:pt x="810" y="298"/>
                    <a:pt x="810" y="191"/>
                  </a:cubicBezTo>
                  <a:cubicBezTo>
                    <a:pt x="810" y="84"/>
                    <a:pt x="715" y="1"/>
                    <a:pt x="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1" name="Google Shape;13491;p64"/>
          <p:cNvGrpSpPr/>
          <p:nvPr/>
        </p:nvGrpSpPr>
        <p:grpSpPr>
          <a:xfrm>
            <a:off x="6099375" y="2456075"/>
            <a:ext cx="337684" cy="314194"/>
            <a:chOff x="6099375" y="2456075"/>
            <a:chExt cx="337684" cy="314194"/>
          </a:xfrm>
        </p:grpSpPr>
        <p:sp>
          <p:nvSpPr>
            <p:cNvPr id="13492" name="Google Shape;13492;p64"/>
            <p:cNvSpPr/>
            <p:nvPr/>
          </p:nvSpPr>
          <p:spPr>
            <a:xfrm>
              <a:off x="6099375" y="2456075"/>
              <a:ext cx="337684" cy="314194"/>
            </a:xfrm>
            <a:custGeom>
              <a:avLst/>
              <a:gdLst/>
              <a:ahLst/>
              <a:cxnLst/>
              <a:rect l="l" t="t" r="r" b="b"/>
              <a:pathLst>
                <a:path w="10609" h="9871" extrusionOk="0">
                  <a:moveTo>
                    <a:pt x="322" y="5025"/>
                  </a:moveTo>
                  <a:cubicBezTo>
                    <a:pt x="536" y="5227"/>
                    <a:pt x="857" y="5418"/>
                    <a:pt x="1274" y="5585"/>
                  </a:cubicBezTo>
                  <a:cubicBezTo>
                    <a:pt x="2048" y="5882"/>
                    <a:pt x="3060" y="6049"/>
                    <a:pt x="4143" y="6049"/>
                  </a:cubicBezTo>
                  <a:lnTo>
                    <a:pt x="4417" y="6049"/>
                  </a:lnTo>
                  <a:cubicBezTo>
                    <a:pt x="4429" y="6061"/>
                    <a:pt x="4465" y="6073"/>
                    <a:pt x="4477" y="6097"/>
                  </a:cubicBezTo>
                  <a:lnTo>
                    <a:pt x="4905" y="6347"/>
                  </a:lnTo>
                  <a:cubicBezTo>
                    <a:pt x="4894" y="6466"/>
                    <a:pt x="4882" y="6585"/>
                    <a:pt x="4882" y="6692"/>
                  </a:cubicBezTo>
                  <a:cubicBezTo>
                    <a:pt x="4882" y="6811"/>
                    <a:pt x="4894" y="6930"/>
                    <a:pt x="4905" y="7025"/>
                  </a:cubicBezTo>
                  <a:lnTo>
                    <a:pt x="4477" y="7287"/>
                  </a:lnTo>
                  <a:cubicBezTo>
                    <a:pt x="4405" y="7323"/>
                    <a:pt x="4358" y="7382"/>
                    <a:pt x="4346" y="7466"/>
                  </a:cubicBezTo>
                  <a:cubicBezTo>
                    <a:pt x="4322" y="7537"/>
                    <a:pt x="4322" y="7609"/>
                    <a:pt x="4370" y="7680"/>
                  </a:cubicBezTo>
                  <a:lnTo>
                    <a:pt x="4608" y="8085"/>
                  </a:lnTo>
                  <a:cubicBezTo>
                    <a:pt x="4564" y="8081"/>
                    <a:pt x="4517" y="8080"/>
                    <a:pt x="4467" y="8080"/>
                  </a:cubicBezTo>
                  <a:cubicBezTo>
                    <a:pt x="4368" y="8080"/>
                    <a:pt x="4263" y="8085"/>
                    <a:pt x="4167" y="8085"/>
                  </a:cubicBezTo>
                  <a:cubicBezTo>
                    <a:pt x="3120" y="8085"/>
                    <a:pt x="2143" y="7942"/>
                    <a:pt x="1393" y="7656"/>
                  </a:cubicBezTo>
                  <a:cubicBezTo>
                    <a:pt x="714" y="7406"/>
                    <a:pt x="322" y="7061"/>
                    <a:pt x="322" y="6728"/>
                  </a:cubicBezTo>
                  <a:lnTo>
                    <a:pt x="322" y="5025"/>
                  </a:lnTo>
                  <a:close/>
                  <a:moveTo>
                    <a:pt x="4132" y="1"/>
                  </a:moveTo>
                  <a:cubicBezTo>
                    <a:pt x="3048" y="1"/>
                    <a:pt x="2036" y="167"/>
                    <a:pt x="1262" y="465"/>
                  </a:cubicBezTo>
                  <a:cubicBezTo>
                    <a:pt x="441" y="774"/>
                    <a:pt x="0" y="1215"/>
                    <a:pt x="0" y="1691"/>
                  </a:cubicBezTo>
                  <a:lnTo>
                    <a:pt x="0" y="6751"/>
                  </a:lnTo>
                  <a:cubicBezTo>
                    <a:pt x="0" y="7228"/>
                    <a:pt x="441" y="7656"/>
                    <a:pt x="1262" y="7966"/>
                  </a:cubicBezTo>
                  <a:cubicBezTo>
                    <a:pt x="2036" y="8264"/>
                    <a:pt x="3048" y="8430"/>
                    <a:pt x="4132" y="8430"/>
                  </a:cubicBezTo>
                  <a:cubicBezTo>
                    <a:pt x="4346" y="8430"/>
                    <a:pt x="4548" y="8430"/>
                    <a:pt x="4763" y="8418"/>
                  </a:cubicBezTo>
                  <a:lnTo>
                    <a:pt x="5025" y="8871"/>
                  </a:lnTo>
                  <a:cubicBezTo>
                    <a:pt x="5072" y="8954"/>
                    <a:pt x="5132" y="8990"/>
                    <a:pt x="5203" y="9014"/>
                  </a:cubicBezTo>
                  <a:cubicBezTo>
                    <a:pt x="5227" y="9018"/>
                    <a:pt x="5252" y="9020"/>
                    <a:pt x="5278" y="9020"/>
                  </a:cubicBezTo>
                  <a:cubicBezTo>
                    <a:pt x="5329" y="9020"/>
                    <a:pt x="5382" y="9010"/>
                    <a:pt x="5429" y="8978"/>
                  </a:cubicBezTo>
                  <a:lnTo>
                    <a:pt x="5858" y="8728"/>
                  </a:lnTo>
                  <a:cubicBezTo>
                    <a:pt x="6037" y="8871"/>
                    <a:pt x="6251" y="8990"/>
                    <a:pt x="6465" y="9085"/>
                  </a:cubicBezTo>
                  <a:lnTo>
                    <a:pt x="6465" y="9573"/>
                  </a:lnTo>
                  <a:cubicBezTo>
                    <a:pt x="6465" y="9740"/>
                    <a:pt x="6608" y="9871"/>
                    <a:pt x="6763" y="9871"/>
                  </a:cubicBezTo>
                  <a:lnTo>
                    <a:pt x="8108" y="9871"/>
                  </a:lnTo>
                  <a:cubicBezTo>
                    <a:pt x="8275" y="9871"/>
                    <a:pt x="8406" y="9740"/>
                    <a:pt x="8406" y="9573"/>
                  </a:cubicBezTo>
                  <a:lnTo>
                    <a:pt x="8406" y="9085"/>
                  </a:lnTo>
                  <a:cubicBezTo>
                    <a:pt x="8632" y="8990"/>
                    <a:pt x="8823" y="8871"/>
                    <a:pt x="9013" y="8728"/>
                  </a:cubicBezTo>
                  <a:lnTo>
                    <a:pt x="9442" y="8978"/>
                  </a:lnTo>
                  <a:cubicBezTo>
                    <a:pt x="9497" y="9010"/>
                    <a:pt x="9548" y="9020"/>
                    <a:pt x="9596" y="9020"/>
                  </a:cubicBezTo>
                  <a:cubicBezTo>
                    <a:pt x="9620" y="9020"/>
                    <a:pt x="9644" y="9018"/>
                    <a:pt x="9668" y="9014"/>
                  </a:cubicBezTo>
                  <a:cubicBezTo>
                    <a:pt x="9739" y="8990"/>
                    <a:pt x="9799" y="8930"/>
                    <a:pt x="9847" y="8871"/>
                  </a:cubicBezTo>
                  <a:lnTo>
                    <a:pt x="10513" y="7716"/>
                  </a:lnTo>
                  <a:cubicBezTo>
                    <a:pt x="10561" y="7597"/>
                    <a:pt x="10561" y="7525"/>
                    <a:pt x="10549" y="7442"/>
                  </a:cubicBezTo>
                  <a:cubicBezTo>
                    <a:pt x="10537" y="7371"/>
                    <a:pt x="10478" y="7311"/>
                    <a:pt x="10406" y="7263"/>
                  </a:cubicBezTo>
                  <a:lnTo>
                    <a:pt x="9978" y="7013"/>
                  </a:lnTo>
                  <a:cubicBezTo>
                    <a:pt x="9989" y="6894"/>
                    <a:pt x="10013" y="6775"/>
                    <a:pt x="10013" y="6668"/>
                  </a:cubicBezTo>
                  <a:cubicBezTo>
                    <a:pt x="10013" y="6549"/>
                    <a:pt x="10001" y="6430"/>
                    <a:pt x="9978" y="6335"/>
                  </a:cubicBezTo>
                  <a:lnTo>
                    <a:pt x="10406" y="6073"/>
                  </a:lnTo>
                  <a:cubicBezTo>
                    <a:pt x="10549" y="6001"/>
                    <a:pt x="10609" y="5823"/>
                    <a:pt x="10513" y="5680"/>
                  </a:cubicBezTo>
                  <a:lnTo>
                    <a:pt x="10311" y="5323"/>
                  </a:lnTo>
                  <a:cubicBezTo>
                    <a:pt x="10280" y="5268"/>
                    <a:pt x="10228" y="5239"/>
                    <a:pt x="10176" y="5239"/>
                  </a:cubicBezTo>
                  <a:cubicBezTo>
                    <a:pt x="10148" y="5239"/>
                    <a:pt x="10121" y="5247"/>
                    <a:pt x="10097" y="5263"/>
                  </a:cubicBezTo>
                  <a:cubicBezTo>
                    <a:pt x="10025" y="5299"/>
                    <a:pt x="9989" y="5394"/>
                    <a:pt x="10037" y="5466"/>
                  </a:cubicBezTo>
                  <a:lnTo>
                    <a:pt x="10228" y="5811"/>
                  </a:lnTo>
                  <a:lnTo>
                    <a:pt x="9727" y="6108"/>
                  </a:lnTo>
                  <a:cubicBezTo>
                    <a:pt x="9668" y="6132"/>
                    <a:pt x="9632" y="6216"/>
                    <a:pt x="9656" y="6275"/>
                  </a:cubicBezTo>
                  <a:cubicBezTo>
                    <a:pt x="9680" y="6406"/>
                    <a:pt x="9680" y="6537"/>
                    <a:pt x="9680" y="6668"/>
                  </a:cubicBezTo>
                  <a:cubicBezTo>
                    <a:pt x="9680" y="6811"/>
                    <a:pt x="9668" y="6942"/>
                    <a:pt x="9656" y="7073"/>
                  </a:cubicBezTo>
                  <a:cubicBezTo>
                    <a:pt x="9632" y="7132"/>
                    <a:pt x="9668" y="7204"/>
                    <a:pt x="9727" y="7240"/>
                  </a:cubicBezTo>
                  <a:lnTo>
                    <a:pt x="10228" y="7537"/>
                  </a:lnTo>
                  <a:lnTo>
                    <a:pt x="9573" y="8668"/>
                  </a:lnTo>
                  <a:lnTo>
                    <a:pt x="9073" y="8371"/>
                  </a:lnTo>
                  <a:cubicBezTo>
                    <a:pt x="9045" y="8354"/>
                    <a:pt x="9015" y="8345"/>
                    <a:pt x="8986" y="8345"/>
                  </a:cubicBezTo>
                  <a:cubicBezTo>
                    <a:pt x="8952" y="8345"/>
                    <a:pt x="8920" y="8357"/>
                    <a:pt x="8894" y="8383"/>
                  </a:cubicBezTo>
                  <a:cubicBezTo>
                    <a:pt x="8680" y="8561"/>
                    <a:pt x="8442" y="8692"/>
                    <a:pt x="8192" y="8787"/>
                  </a:cubicBezTo>
                  <a:cubicBezTo>
                    <a:pt x="8132" y="8799"/>
                    <a:pt x="8084" y="8859"/>
                    <a:pt x="8084" y="8930"/>
                  </a:cubicBezTo>
                  <a:lnTo>
                    <a:pt x="8084" y="9514"/>
                  </a:lnTo>
                  <a:lnTo>
                    <a:pt x="6775" y="9514"/>
                  </a:lnTo>
                  <a:lnTo>
                    <a:pt x="6775" y="8930"/>
                  </a:lnTo>
                  <a:cubicBezTo>
                    <a:pt x="6775" y="8871"/>
                    <a:pt x="6739" y="8811"/>
                    <a:pt x="6679" y="8787"/>
                  </a:cubicBezTo>
                  <a:cubicBezTo>
                    <a:pt x="6418" y="8692"/>
                    <a:pt x="6179" y="8561"/>
                    <a:pt x="5977" y="8383"/>
                  </a:cubicBezTo>
                  <a:cubicBezTo>
                    <a:pt x="5951" y="8357"/>
                    <a:pt x="5919" y="8345"/>
                    <a:pt x="5885" y="8345"/>
                  </a:cubicBezTo>
                  <a:cubicBezTo>
                    <a:pt x="5856" y="8345"/>
                    <a:pt x="5826" y="8354"/>
                    <a:pt x="5798" y="8371"/>
                  </a:cubicBezTo>
                  <a:lnTo>
                    <a:pt x="5286" y="8668"/>
                  </a:lnTo>
                  <a:lnTo>
                    <a:pt x="4632" y="7537"/>
                  </a:lnTo>
                  <a:lnTo>
                    <a:pt x="5144" y="7240"/>
                  </a:lnTo>
                  <a:cubicBezTo>
                    <a:pt x="5203" y="7204"/>
                    <a:pt x="5227" y="7132"/>
                    <a:pt x="5215" y="7073"/>
                  </a:cubicBezTo>
                  <a:cubicBezTo>
                    <a:pt x="5191" y="6942"/>
                    <a:pt x="5191" y="6811"/>
                    <a:pt x="5191" y="6668"/>
                  </a:cubicBezTo>
                  <a:cubicBezTo>
                    <a:pt x="5191" y="6537"/>
                    <a:pt x="5203" y="6406"/>
                    <a:pt x="5215" y="6275"/>
                  </a:cubicBezTo>
                  <a:cubicBezTo>
                    <a:pt x="5227" y="6216"/>
                    <a:pt x="5203" y="6132"/>
                    <a:pt x="5144" y="6108"/>
                  </a:cubicBezTo>
                  <a:lnTo>
                    <a:pt x="4632" y="5811"/>
                  </a:lnTo>
                  <a:lnTo>
                    <a:pt x="5286" y="4680"/>
                  </a:lnTo>
                  <a:lnTo>
                    <a:pt x="5798" y="4977"/>
                  </a:lnTo>
                  <a:cubicBezTo>
                    <a:pt x="5825" y="4988"/>
                    <a:pt x="5854" y="4994"/>
                    <a:pt x="5883" y="4994"/>
                  </a:cubicBezTo>
                  <a:cubicBezTo>
                    <a:pt x="5917" y="4994"/>
                    <a:pt x="5951" y="4985"/>
                    <a:pt x="5977" y="4965"/>
                  </a:cubicBezTo>
                  <a:cubicBezTo>
                    <a:pt x="6179" y="4787"/>
                    <a:pt x="6418" y="4644"/>
                    <a:pt x="6679" y="4561"/>
                  </a:cubicBezTo>
                  <a:cubicBezTo>
                    <a:pt x="6739" y="4549"/>
                    <a:pt x="6775" y="4489"/>
                    <a:pt x="6775" y="4406"/>
                  </a:cubicBezTo>
                  <a:lnTo>
                    <a:pt x="6775" y="3834"/>
                  </a:lnTo>
                  <a:lnTo>
                    <a:pt x="8084" y="3834"/>
                  </a:lnTo>
                  <a:lnTo>
                    <a:pt x="8084" y="4406"/>
                  </a:lnTo>
                  <a:cubicBezTo>
                    <a:pt x="8084" y="4465"/>
                    <a:pt x="8132" y="4525"/>
                    <a:pt x="8192" y="4561"/>
                  </a:cubicBezTo>
                  <a:cubicBezTo>
                    <a:pt x="8442" y="4644"/>
                    <a:pt x="8680" y="4787"/>
                    <a:pt x="8894" y="4965"/>
                  </a:cubicBezTo>
                  <a:cubicBezTo>
                    <a:pt x="8920" y="4985"/>
                    <a:pt x="8954" y="4994"/>
                    <a:pt x="8988" y="4994"/>
                  </a:cubicBezTo>
                  <a:cubicBezTo>
                    <a:pt x="9017" y="4994"/>
                    <a:pt x="9046" y="4988"/>
                    <a:pt x="9073" y="4977"/>
                  </a:cubicBezTo>
                  <a:lnTo>
                    <a:pt x="9573" y="4680"/>
                  </a:lnTo>
                  <a:lnTo>
                    <a:pt x="9716" y="4906"/>
                  </a:lnTo>
                  <a:cubicBezTo>
                    <a:pt x="9740" y="4955"/>
                    <a:pt x="9793" y="4982"/>
                    <a:pt x="9847" y="4982"/>
                  </a:cubicBezTo>
                  <a:cubicBezTo>
                    <a:pt x="9871" y="4982"/>
                    <a:pt x="9896" y="4977"/>
                    <a:pt x="9918" y="4965"/>
                  </a:cubicBezTo>
                  <a:cubicBezTo>
                    <a:pt x="9989" y="4918"/>
                    <a:pt x="10025" y="4823"/>
                    <a:pt x="9978" y="4751"/>
                  </a:cubicBezTo>
                  <a:lnTo>
                    <a:pt x="9847" y="4513"/>
                  </a:lnTo>
                  <a:cubicBezTo>
                    <a:pt x="9798" y="4424"/>
                    <a:pt x="9699" y="4367"/>
                    <a:pt x="9592" y="4367"/>
                  </a:cubicBezTo>
                  <a:cubicBezTo>
                    <a:pt x="9542" y="4367"/>
                    <a:pt x="9491" y="4379"/>
                    <a:pt x="9442" y="4406"/>
                  </a:cubicBezTo>
                  <a:lnTo>
                    <a:pt x="9013" y="4668"/>
                  </a:lnTo>
                  <a:cubicBezTo>
                    <a:pt x="8835" y="4513"/>
                    <a:pt x="8620" y="4394"/>
                    <a:pt x="8406" y="4311"/>
                  </a:cubicBezTo>
                  <a:lnTo>
                    <a:pt x="8406" y="3811"/>
                  </a:lnTo>
                  <a:cubicBezTo>
                    <a:pt x="8406" y="3727"/>
                    <a:pt x="8358" y="3632"/>
                    <a:pt x="8299" y="3596"/>
                  </a:cubicBezTo>
                  <a:lnTo>
                    <a:pt x="8299" y="1656"/>
                  </a:lnTo>
                  <a:cubicBezTo>
                    <a:pt x="8299" y="1060"/>
                    <a:pt x="7596" y="536"/>
                    <a:pt x="6394" y="239"/>
                  </a:cubicBezTo>
                  <a:cubicBezTo>
                    <a:pt x="6384" y="237"/>
                    <a:pt x="6375" y="237"/>
                    <a:pt x="6365" y="237"/>
                  </a:cubicBezTo>
                  <a:cubicBezTo>
                    <a:pt x="6284" y="237"/>
                    <a:pt x="6225" y="283"/>
                    <a:pt x="6203" y="358"/>
                  </a:cubicBezTo>
                  <a:cubicBezTo>
                    <a:pt x="6179" y="453"/>
                    <a:pt x="6227" y="524"/>
                    <a:pt x="6322" y="560"/>
                  </a:cubicBezTo>
                  <a:cubicBezTo>
                    <a:pt x="7346" y="810"/>
                    <a:pt x="7989" y="1239"/>
                    <a:pt x="7989" y="1667"/>
                  </a:cubicBezTo>
                  <a:cubicBezTo>
                    <a:pt x="7989" y="2001"/>
                    <a:pt x="7596" y="2346"/>
                    <a:pt x="6918" y="2596"/>
                  </a:cubicBezTo>
                  <a:cubicBezTo>
                    <a:pt x="6179" y="2882"/>
                    <a:pt x="5203" y="3025"/>
                    <a:pt x="4143" y="3025"/>
                  </a:cubicBezTo>
                  <a:cubicBezTo>
                    <a:pt x="3703" y="3025"/>
                    <a:pt x="3262" y="3001"/>
                    <a:pt x="2846" y="2941"/>
                  </a:cubicBezTo>
                  <a:cubicBezTo>
                    <a:pt x="2833" y="2938"/>
                    <a:pt x="2821" y="2936"/>
                    <a:pt x="2809" y="2936"/>
                  </a:cubicBezTo>
                  <a:cubicBezTo>
                    <a:pt x="2742" y="2936"/>
                    <a:pt x="2687" y="2991"/>
                    <a:pt x="2667" y="3072"/>
                  </a:cubicBezTo>
                  <a:cubicBezTo>
                    <a:pt x="2655" y="3156"/>
                    <a:pt x="2715" y="3239"/>
                    <a:pt x="2810" y="3251"/>
                  </a:cubicBezTo>
                  <a:cubicBezTo>
                    <a:pt x="3239" y="3311"/>
                    <a:pt x="3679" y="3334"/>
                    <a:pt x="4143" y="3334"/>
                  </a:cubicBezTo>
                  <a:cubicBezTo>
                    <a:pt x="5227" y="3334"/>
                    <a:pt x="6239" y="3168"/>
                    <a:pt x="7013" y="2870"/>
                  </a:cubicBezTo>
                  <a:cubicBezTo>
                    <a:pt x="7430" y="2715"/>
                    <a:pt x="7763" y="2525"/>
                    <a:pt x="7965" y="2310"/>
                  </a:cubicBezTo>
                  <a:lnTo>
                    <a:pt x="7965" y="3525"/>
                  </a:lnTo>
                  <a:lnTo>
                    <a:pt x="6751" y="3525"/>
                  </a:lnTo>
                  <a:cubicBezTo>
                    <a:pt x="6584" y="3525"/>
                    <a:pt x="6453" y="3668"/>
                    <a:pt x="6453" y="3822"/>
                  </a:cubicBezTo>
                  <a:lnTo>
                    <a:pt x="6453" y="4323"/>
                  </a:lnTo>
                  <a:cubicBezTo>
                    <a:pt x="6227" y="4406"/>
                    <a:pt x="6037" y="4525"/>
                    <a:pt x="5846" y="4680"/>
                  </a:cubicBezTo>
                  <a:lnTo>
                    <a:pt x="5406" y="4418"/>
                  </a:lnTo>
                  <a:cubicBezTo>
                    <a:pt x="5360" y="4395"/>
                    <a:pt x="5315" y="4387"/>
                    <a:pt x="5270" y="4387"/>
                  </a:cubicBezTo>
                  <a:cubicBezTo>
                    <a:pt x="5243" y="4387"/>
                    <a:pt x="5217" y="4390"/>
                    <a:pt x="5191" y="4394"/>
                  </a:cubicBezTo>
                  <a:cubicBezTo>
                    <a:pt x="5108" y="4406"/>
                    <a:pt x="5048" y="4465"/>
                    <a:pt x="5013" y="4525"/>
                  </a:cubicBezTo>
                  <a:lnTo>
                    <a:pt x="4334" y="5692"/>
                  </a:lnTo>
                  <a:cubicBezTo>
                    <a:pt x="4322" y="5704"/>
                    <a:pt x="4322" y="5716"/>
                    <a:pt x="4322" y="5727"/>
                  </a:cubicBezTo>
                  <a:lnTo>
                    <a:pt x="4132" y="5727"/>
                  </a:lnTo>
                  <a:cubicBezTo>
                    <a:pt x="3084" y="5727"/>
                    <a:pt x="2107" y="5585"/>
                    <a:pt x="1357" y="5299"/>
                  </a:cubicBezTo>
                  <a:cubicBezTo>
                    <a:pt x="679" y="5049"/>
                    <a:pt x="286" y="4704"/>
                    <a:pt x="286" y="4382"/>
                  </a:cubicBezTo>
                  <a:lnTo>
                    <a:pt x="286" y="2322"/>
                  </a:lnTo>
                  <a:cubicBezTo>
                    <a:pt x="643" y="2668"/>
                    <a:pt x="1274" y="2965"/>
                    <a:pt x="2131" y="3144"/>
                  </a:cubicBezTo>
                  <a:lnTo>
                    <a:pt x="2167" y="3144"/>
                  </a:lnTo>
                  <a:cubicBezTo>
                    <a:pt x="2238" y="3144"/>
                    <a:pt x="2298" y="3096"/>
                    <a:pt x="2322" y="3025"/>
                  </a:cubicBezTo>
                  <a:cubicBezTo>
                    <a:pt x="2334" y="2930"/>
                    <a:pt x="2286" y="2858"/>
                    <a:pt x="2203" y="2846"/>
                  </a:cubicBezTo>
                  <a:cubicBezTo>
                    <a:pt x="1036" y="2596"/>
                    <a:pt x="298" y="2132"/>
                    <a:pt x="298" y="1667"/>
                  </a:cubicBezTo>
                  <a:cubicBezTo>
                    <a:pt x="298" y="1346"/>
                    <a:pt x="679" y="1001"/>
                    <a:pt x="1369" y="751"/>
                  </a:cubicBezTo>
                  <a:cubicBezTo>
                    <a:pt x="2096" y="465"/>
                    <a:pt x="3072" y="322"/>
                    <a:pt x="4132" y="322"/>
                  </a:cubicBezTo>
                  <a:cubicBezTo>
                    <a:pt x="4667" y="322"/>
                    <a:pt x="5191" y="358"/>
                    <a:pt x="5679" y="441"/>
                  </a:cubicBezTo>
                  <a:cubicBezTo>
                    <a:pt x="5687" y="442"/>
                    <a:pt x="5695" y="443"/>
                    <a:pt x="5703" y="443"/>
                  </a:cubicBezTo>
                  <a:cubicBezTo>
                    <a:pt x="5786" y="443"/>
                    <a:pt x="5847" y="385"/>
                    <a:pt x="5858" y="298"/>
                  </a:cubicBezTo>
                  <a:cubicBezTo>
                    <a:pt x="5870" y="215"/>
                    <a:pt x="5810" y="143"/>
                    <a:pt x="5727" y="120"/>
                  </a:cubicBezTo>
                  <a:cubicBezTo>
                    <a:pt x="5215" y="36"/>
                    <a:pt x="4679" y="1"/>
                    <a:pt x="413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3" name="Google Shape;13493;p64"/>
            <p:cNvSpPr/>
            <p:nvPr/>
          </p:nvSpPr>
          <p:spPr>
            <a:xfrm>
              <a:off x="6306652" y="2638748"/>
              <a:ext cx="59904" cy="59522"/>
            </a:xfrm>
            <a:custGeom>
              <a:avLst/>
              <a:gdLst/>
              <a:ahLst/>
              <a:cxnLst/>
              <a:rect l="l" t="t" r="r" b="b"/>
              <a:pathLst>
                <a:path w="1882" h="1870" extrusionOk="0">
                  <a:moveTo>
                    <a:pt x="941" y="310"/>
                  </a:moveTo>
                  <a:cubicBezTo>
                    <a:pt x="1287" y="310"/>
                    <a:pt x="1561" y="596"/>
                    <a:pt x="1561" y="929"/>
                  </a:cubicBezTo>
                  <a:cubicBezTo>
                    <a:pt x="1561" y="1274"/>
                    <a:pt x="1287" y="1560"/>
                    <a:pt x="941" y="1560"/>
                  </a:cubicBezTo>
                  <a:cubicBezTo>
                    <a:pt x="596" y="1560"/>
                    <a:pt x="310" y="1274"/>
                    <a:pt x="310" y="929"/>
                  </a:cubicBezTo>
                  <a:cubicBezTo>
                    <a:pt x="310" y="596"/>
                    <a:pt x="596" y="310"/>
                    <a:pt x="941" y="310"/>
                  </a:cubicBezTo>
                  <a:close/>
                  <a:moveTo>
                    <a:pt x="941" y="0"/>
                  </a:moveTo>
                  <a:cubicBezTo>
                    <a:pt x="418" y="0"/>
                    <a:pt x="1" y="417"/>
                    <a:pt x="1" y="929"/>
                  </a:cubicBezTo>
                  <a:cubicBezTo>
                    <a:pt x="1" y="1453"/>
                    <a:pt x="418" y="1870"/>
                    <a:pt x="941" y="1870"/>
                  </a:cubicBezTo>
                  <a:cubicBezTo>
                    <a:pt x="1465" y="1870"/>
                    <a:pt x="1882" y="1453"/>
                    <a:pt x="1882" y="929"/>
                  </a:cubicBezTo>
                  <a:cubicBezTo>
                    <a:pt x="1882" y="417"/>
                    <a:pt x="1465" y="0"/>
                    <a:pt x="94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4" name="Google Shape;13494;p64"/>
          <p:cNvGrpSpPr/>
          <p:nvPr/>
        </p:nvGrpSpPr>
        <p:grpSpPr>
          <a:xfrm>
            <a:off x="2312623" y="2468584"/>
            <a:ext cx="312698" cy="286534"/>
            <a:chOff x="2312623" y="2468584"/>
            <a:chExt cx="312698" cy="286534"/>
          </a:xfrm>
        </p:grpSpPr>
        <p:sp>
          <p:nvSpPr>
            <p:cNvPr id="13495" name="Google Shape;13495;p64"/>
            <p:cNvSpPr/>
            <p:nvPr/>
          </p:nvSpPr>
          <p:spPr>
            <a:xfrm>
              <a:off x="2416866" y="2706195"/>
              <a:ext cx="34122" cy="34154"/>
            </a:xfrm>
            <a:custGeom>
              <a:avLst/>
              <a:gdLst/>
              <a:ahLst/>
              <a:cxnLst/>
              <a:rect l="l" t="t" r="r" b="b"/>
              <a:pathLst>
                <a:path w="1072" h="1073" extrusionOk="0">
                  <a:moveTo>
                    <a:pt x="536" y="275"/>
                  </a:moveTo>
                  <a:cubicBezTo>
                    <a:pt x="679" y="275"/>
                    <a:pt x="798" y="394"/>
                    <a:pt x="798" y="525"/>
                  </a:cubicBezTo>
                  <a:cubicBezTo>
                    <a:pt x="798" y="656"/>
                    <a:pt x="679" y="775"/>
                    <a:pt x="536" y="775"/>
                  </a:cubicBezTo>
                  <a:cubicBezTo>
                    <a:pt x="405" y="775"/>
                    <a:pt x="286" y="656"/>
                    <a:pt x="286" y="525"/>
                  </a:cubicBezTo>
                  <a:cubicBezTo>
                    <a:pt x="286" y="394"/>
                    <a:pt x="393" y="275"/>
                    <a:pt x="536" y="275"/>
                  </a:cubicBezTo>
                  <a:close/>
                  <a:moveTo>
                    <a:pt x="536" y="1"/>
                  </a:moveTo>
                  <a:cubicBezTo>
                    <a:pt x="238" y="1"/>
                    <a:pt x="0" y="239"/>
                    <a:pt x="0" y="536"/>
                  </a:cubicBezTo>
                  <a:cubicBezTo>
                    <a:pt x="0" y="834"/>
                    <a:pt x="238" y="1072"/>
                    <a:pt x="536" y="1072"/>
                  </a:cubicBezTo>
                  <a:cubicBezTo>
                    <a:pt x="833" y="1072"/>
                    <a:pt x="1072" y="834"/>
                    <a:pt x="1072" y="536"/>
                  </a:cubicBezTo>
                  <a:cubicBezTo>
                    <a:pt x="1072" y="239"/>
                    <a:pt x="833" y="1"/>
                    <a:pt x="53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6" name="Google Shape;13496;p64"/>
            <p:cNvSpPr/>
            <p:nvPr/>
          </p:nvSpPr>
          <p:spPr>
            <a:xfrm>
              <a:off x="2527126" y="2706195"/>
              <a:ext cx="34536" cy="34154"/>
            </a:xfrm>
            <a:custGeom>
              <a:avLst/>
              <a:gdLst/>
              <a:ahLst/>
              <a:cxnLst/>
              <a:rect l="l" t="t" r="r" b="b"/>
              <a:pathLst>
                <a:path w="1085" h="1073" extrusionOk="0">
                  <a:moveTo>
                    <a:pt x="537" y="275"/>
                  </a:moveTo>
                  <a:cubicBezTo>
                    <a:pt x="679" y="275"/>
                    <a:pt x="798" y="394"/>
                    <a:pt x="798" y="525"/>
                  </a:cubicBezTo>
                  <a:cubicBezTo>
                    <a:pt x="798" y="656"/>
                    <a:pt x="679" y="775"/>
                    <a:pt x="537" y="775"/>
                  </a:cubicBezTo>
                  <a:cubicBezTo>
                    <a:pt x="406" y="775"/>
                    <a:pt x="287" y="656"/>
                    <a:pt x="287" y="525"/>
                  </a:cubicBezTo>
                  <a:cubicBezTo>
                    <a:pt x="287" y="394"/>
                    <a:pt x="406" y="275"/>
                    <a:pt x="537" y="275"/>
                  </a:cubicBezTo>
                  <a:close/>
                  <a:moveTo>
                    <a:pt x="537" y="1"/>
                  </a:moveTo>
                  <a:cubicBezTo>
                    <a:pt x="239" y="1"/>
                    <a:pt x="1" y="239"/>
                    <a:pt x="1" y="536"/>
                  </a:cubicBezTo>
                  <a:cubicBezTo>
                    <a:pt x="1" y="834"/>
                    <a:pt x="239" y="1072"/>
                    <a:pt x="537" y="1072"/>
                  </a:cubicBezTo>
                  <a:cubicBezTo>
                    <a:pt x="834" y="1072"/>
                    <a:pt x="1084" y="834"/>
                    <a:pt x="1084" y="536"/>
                  </a:cubicBezTo>
                  <a:cubicBezTo>
                    <a:pt x="1084" y="239"/>
                    <a:pt x="834" y="1"/>
                    <a:pt x="5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7" name="Google Shape;13497;p64"/>
            <p:cNvSpPr/>
            <p:nvPr/>
          </p:nvSpPr>
          <p:spPr>
            <a:xfrm>
              <a:off x="2312623" y="2468584"/>
              <a:ext cx="312698" cy="286534"/>
            </a:xfrm>
            <a:custGeom>
              <a:avLst/>
              <a:gdLst/>
              <a:ahLst/>
              <a:cxnLst/>
              <a:rect l="l" t="t" r="r" b="b"/>
              <a:pathLst>
                <a:path w="9824" h="9002" extrusionOk="0">
                  <a:moveTo>
                    <a:pt x="3370" y="1679"/>
                  </a:moveTo>
                  <a:lnTo>
                    <a:pt x="3370" y="2513"/>
                  </a:lnTo>
                  <a:lnTo>
                    <a:pt x="2799" y="2513"/>
                  </a:lnTo>
                  <a:lnTo>
                    <a:pt x="2501" y="1679"/>
                  </a:lnTo>
                  <a:close/>
                  <a:moveTo>
                    <a:pt x="4513" y="1679"/>
                  </a:moveTo>
                  <a:lnTo>
                    <a:pt x="4513" y="2513"/>
                  </a:lnTo>
                  <a:lnTo>
                    <a:pt x="3656" y="2513"/>
                  </a:lnTo>
                  <a:lnTo>
                    <a:pt x="3656" y="1679"/>
                  </a:lnTo>
                  <a:close/>
                  <a:moveTo>
                    <a:pt x="5656" y="1679"/>
                  </a:moveTo>
                  <a:lnTo>
                    <a:pt x="5656" y="2513"/>
                  </a:lnTo>
                  <a:lnTo>
                    <a:pt x="4799" y="2513"/>
                  </a:lnTo>
                  <a:lnTo>
                    <a:pt x="4799" y="1679"/>
                  </a:lnTo>
                  <a:close/>
                  <a:moveTo>
                    <a:pt x="6811" y="1679"/>
                  </a:moveTo>
                  <a:lnTo>
                    <a:pt x="6811" y="2513"/>
                  </a:lnTo>
                  <a:lnTo>
                    <a:pt x="5942" y="2513"/>
                  </a:lnTo>
                  <a:lnTo>
                    <a:pt x="5942" y="1679"/>
                  </a:lnTo>
                  <a:close/>
                  <a:moveTo>
                    <a:pt x="7954" y="1679"/>
                  </a:moveTo>
                  <a:lnTo>
                    <a:pt x="7954" y="2513"/>
                  </a:lnTo>
                  <a:lnTo>
                    <a:pt x="7085" y="2513"/>
                  </a:lnTo>
                  <a:lnTo>
                    <a:pt x="7085" y="1679"/>
                  </a:lnTo>
                  <a:close/>
                  <a:moveTo>
                    <a:pt x="8633" y="1679"/>
                  </a:moveTo>
                  <a:lnTo>
                    <a:pt x="8442" y="2513"/>
                  </a:lnTo>
                  <a:lnTo>
                    <a:pt x="8240" y="2513"/>
                  </a:lnTo>
                  <a:lnTo>
                    <a:pt x="8240" y="1679"/>
                  </a:lnTo>
                  <a:close/>
                  <a:moveTo>
                    <a:pt x="8383" y="2810"/>
                  </a:moveTo>
                  <a:lnTo>
                    <a:pt x="8252" y="3406"/>
                  </a:lnTo>
                  <a:lnTo>
                    <a:pt x="8252" y="2810"/>
                  </a:lnTo>
                  <a:close/>
                  <a:moveTo>
                    <a:pt x="3370" y="2810"/>
                  </a:moveTo>
                  <a:lnTo>
                    <a:pt x="3370" y="3680"/>
                  </a:lnTo>
                  <a:lnTo>
                    <a:pt x="3204" y="3680"/>
                  </a:lnTo>
                  <a:lnTo>
                    <a:pt x="2894" y="2810"/>
                  </a:lnTo>
                  <a:close/>
                  <a:moveTo>
                    <a:pt x="4513" y="2810"/>
                  </a:moveTo>
                  <a:lnTo>
                    <a:pt x="4513" y="3680"/>
                  </a:lnTo>
                  <a:lnTo>
                    <a:pt x="3656" y="3680"/>
                  </a:lnTo>
                  <a:lnTo>
                    <a:pt x="3656" y="2810"/>
                  </a:lnTo>
                  <a:close/>
                  <a:moveTo>
                    <a:pt x="5656" y="2810"/>
                  </a:moveTo>
                  <a:lnTo>
                    <a:pt x="5656" y="3680"/>
                  </a:lnTo>
                  <a:lnTo>
                    <a:pt x="4799" y="3680"/>
                  </a:lnTo>
                  <a:lnTo>
                    <a:pt x="4799" y="2810"/>
                  </a:lnTo>
                  <a:close/>
                  <a:moveTo>
                    <a:pt x="6811" y="2810"/>
                  </a:moveTo>
                  <a:lnTo>
                    <a:pt x="6811" y="3680"/>
                  </a:lnTo>
                  <a:lnTo>
                    <a:pt x="5942" y="3680"/>
                  </a:lnTo>
                  <a:lnTo>
                    <a:pt x="5942" y="2810"/>
                  </a:lnTo>
                  <a:close/>
                  <a:moveTo>
                    <a:pt x="7954" y="2810"/>
                  </a:moveTo>
                  <a:lnTo>
                    <a:pt x="7954" y="3680"/>
                  </a:lnTo>
                  <a:lnTo>
                    <a:pt x="7085" y="3680"/>
                  </a:lnTo>
                  <a:lnTo>
                    <a:pt x="7085" y="2810"/>
                  </a:lnTo>
                  <a:close/>
                  <a:moveTo>
                    <a:pt x="3370" y="3953"/>
                  </a:moveTo>
                  <a:lnTo>
                    <a:pt x="3370" y="4132"/>
                  </a:lnTo>
                  <a:lnTo>
                    <a:pt x="3311" y="3953"/>
                  </a:lnTo>
                  <a:close/>
                  <a:moveTo>
                    <a:pt x="4513" y="3941"/>
                  </a:moveTo>
                  <a:lnTo>
                    <a:pt x="4513" y="4608"/>
                  </a:lnTo>
                  <a:cubicBezTo>
                    <a:pt x="4305" y="4608"/>
                    <a:pt x="4153" y="4629"/>
                    <a:pt x="4022" y="4629"/>
                  </a:cubicBezTo>
                  <a:cubicBezTo>
                    <a:pt x="3891" y="4629"/>
                    <a:pt x="3781" y="4608"/>
                    <a:pt x="3656" y="4525"/>
                  </a:cubicBezTo>
                  <a:lnTo>
                    <a:pt x="3656" y="3941"/>
                  </a:lnTo>
                  <a:close/>
                  <a:moveTo>
                    <a:pt x="5656" y="3953"/>
                  </a:moveTo>
                  <a:lnTo>
                    <a:pt x="5656" y="4632"/>
                  </a:lnTo>
                  <a:lnTo>
                    <a:pt x="4799" y="4632"/>
                  </a:lnTo>
                  <a:lnTo>
                    <a:pt x="4799" y="3953"/>
                  </a:lnTo>
                  <a:close/>
                  <a:moveTo>
                    <a:pt x="6799" y="3953"/>
                  </a:moveTo>
                  <a:lnTo>
                    <a:pt x="6799" y="4632"/>
                  </a:lnTo>
                  <a:lnTo>
                    <a:pt x="5942" y="4632"/>
                  </a:lnTo>
                  <a:lnTo>
                    <a:pt x="5942" y="3953"/>
                  </a:lnTo>
                  <a:close/>
                  <a:moveTo>
                    <a:pt x="7954" y="3953"/>
                  </a:moveTo>
                  <a:lnTo>
                    <a:pt x="7954" y="4632"/>
                  </a:lnTo>
                  <a:lnTo>
                    <a:pt x="7085" y="4632"/>
                  </a:lnTo>
                  <a:lnTo>
                    <a:pt x="7085" y="3953"/>
                  </a:lnTo>
                  <a:close/>
                  <a:moveTo>
                    <a:pt x="3811" y="7263"/>
                  </a:moveTo>
                  <a:cubicBezTo>
                    <a:pt x="4216" y="7263"/>
                    <a:pt x="4549" y="7585"/>
                    <a:pt x="4549" y="7990"/>
                  </a:cubicBezTo>
                  <a:cubicBezTo>
                    <a:pt x="4549" y="8394"/>
                    <a:pt x="4216" y="8716"/>
                    <a:pt x="3811" y="8716"/>
                  </a:cubicBezTo>
                  <a:cubicBezTo>
                    <a:pt x="3418" y="8716"/>
                    <a:pt x="3085" y="8394"/>
                    <a:pt x="3085" y="7990"/>
                  </a:cubicBezTo>
                  <a:cubicBezTo>
                    <a:pt x="3085" y="7585"/>
                    <a:pt x="3418" y="7263"/>
                    <a:pt x="3811" y="7263"/>
                  </a:cubicBezTo>
                  <a:close/>
                  <a:moveTo>
                    <a:pt x="7287" y="7263"/>
                  </a:moveTo>
                  <a:cubicBezTo>
                    <a:pt x="7680" y="7263"/>
                    <a:pt x="8014" y="7585"/>
                    <a:pt x="8014" y="7990"/>
                  </a:cubicBezTo>
                  <a:cubicBezTo>
                    <a:pt x="8014" y="8394"/>
                    <a:pt x="7680" y="8716"/>
                    <a:pt x="7287" y="8716"/>
                  </a:cubicBezTo>
                  <a:cubicBezTo>
                    <a:pt x="6883" y="8716"/>
                    <a:pt x="6549" y="8394"/>
                    <a:pt x="6549" y="7990"/>
                  </a:cubicBezTo>
                  <a:cubicBezTo>
                    <a:pt x="6549" y="7585"/>
                    <a:pt x="6883" y="7263"/>
                    <a:pt x="7287" y="7263"/>
                  </a:cubicBezTo>
                  <a:close/>
                  <a:moveTo>
                    <a:pt x="525" y="0"/>
                  </a:moveTo>
                  <a:cubicBezTo>
                    <a:pt x="239" y="0"/>
                    <a:pt x="1" y="239"/>
                    <a:pt x="1" y="512"/>
                  </a:cubicBezTo>
                  <a:cubicBezTo>
                    <a:pt x="1" y="798"/>
                    <a:pt x="239" y="1036"/>
                    <a:pt x="525" y="1036"/>
                  </a:cubicBezTo>
                  <a:lnTo>
                    <a:pt x="1168" y="1036"/>
                  </a:lnTo>
                  <a:lnTo>
                    <a:pt x="1965" y="3299"/>
                  </a:lnTo>
                  <a:cubicBezTo>
                    <a:pt x="1995" y="3357"/>
                    <a:pt x="2048" y="3400"/>
                    <a:pt x="2106" y="3400"/>
                  </a:cubicBezTo>
                  <a:cubicBezTo>
                    <a:pt x="2119" y="3400"/>
                    <a:pt x="2131" y="3398"/>
                    <a:pt x="2144" y="3394"/>
                  </a:cubicBezTo>
                  <a:cubicBezTo>
                    <a:pt x="2227" y="3358"/>
                    <a:pt x="2263" y="3287"/>
                    <a:pt x="2239" y="3215"/>
                  </a:cubicBezTo>
                  <a:cubicBezTo>
                    <a:pt x="1453" y="1001"/>
                    <a:pt x="1418" y="905"/>
                    <a:pt x="1418" y="893"/>
                  </a:cubicBezTo>
                  <a:cubicBezTo>
                    <a:pt x="1394" y="798"/>
                    <a:pt x="1299" y="762"/>
                    <a:pt x="1215" y="762"/>
                  </a:cubicBezTo>
                  <a:lnTo>
                    <a:pt x="525" y="762"/>
                  </a:lnTo>
                  <a:cubicBezTo>
                    <a:pt x="394" y="762"/>
                    <a:pt x="287" y="655"/>
                    <a:pt x="287" y="512"/>
                  </a:cubicBezTo>
                  <a:cubicBezTo>
                    <a:pt x="287" y="381"/>
                    <a:pt x="394" y="274"/>
                    <a:pt x="525" y="274"/>
                  </a:cubicBezTo>
                  <a:lnTo>
                    <a:pt x="1215" y="274"/>
                  </a:lnTo>
                  <a:cubicBezTo>
                    <a:pt x="1489" y="274"/>
                    <a:pt x="1751" y="441"/>
                    <a:pt x="1846" y="691"/>
                  </a:cubicBezTo>
                  <a:cubicBezTo>
                    <a:pt x="2013" y="1167"/>
                    <a:pt x="3001" y="3918"/>
                    <a:pt x="3132" y="4322"/>
                  </a:cubicBezTo>
                  <a:cubicBezTo>
                    <a:pt x="3239" y="4620"/>
                    <a:pt x="3573" y="4906"/>
                    <a:pt x="3989" y="4906"/>
                  </a:cubicBezTo>
                  <a:lnTo>
                    <a:pt x="9192" y="4906"/>
                  </a:lnTo>
                  <a:cubicBezTo>
                    <a:pt x="9323" y="4906"/>
                    <a:pt x="9431" y="5013"/>
                    <a:pt x="9431" y="5144"/>
                  </a:cubicBezTo>
                  <a:cubicBezTo>
                    <a:pt x="9431" y="5275"/>
                    <a:pt x="9323" y="5382"/>
                    <a:pt x="9192" y="5382"/>
                  </a:cubicBezTo>
                  <a:lnTo>
                    <a:pt x="3989" y="5382"/>
                  </a:lnTo>
                  <a:cubicBezTo>
                    <a:pt x="3430" y="5382"/>
                    <a:pt x="2918" y="5061"/>
                    <a:pt x="2704" y="4537"/>
                  </a:cubicBezTo>
                  <a:lnTo>
                    <a:pt x="2418" y="3715"/>
                  </a:lnTo>
                  <a:cubicBezTo>
                    <a:pt x="2390" y="3660"/>
                    <a:pt x="2342" y="3620"/>
                    <a:pt x="2289" y="3620"/>
                  </a:cubicBezTo>
                  <a:cubicBezTo>
                    <a:pt x="2273" y="3620"/>
                    <a:pt x="2256" y="3624"/>
                    <a:pt x="2239" y="3632"/>
                  </a:cubicBezTo>
                  <a:cubicBezTo>
                    <a:pt x="2168" y="3656"/>
                    <a:pt x="2120" y="3727"/>
                    <a:pt x="2144" y="3810"/>
                  </a:cubicBezTo>
                  <a:cubicBezTo>
                    <a:pt x="2370" y="4406"/>
                    <a:pt x="2382" y="4656"/>
                    <a:pt x="2668" y="5013"/>
                  </a:cubicBezTo>
                  <a:lnTo>
                    <a:pt x="2346" y="5477"/>
                  </a:lnTo>
                  <a:cubicBezTo>
                    <a:pt x="1870" y="6168"/>
                    <a:pt x="2287" y="7132"/>
                    <a:pt x="3120" y="7239"/>
                  </a:cubicBezTo>
                  <a:cubicBezTo>
                    <a:pt x="2442" y="7871"/>
                    <a:pt x="2882" y="9002"/>
                    <a:pt x="3811" y="9002"/>
                  </a:cubicBezTo>
                  <a:cubicBezTo>
                    <a:pt x="4740" y="9002"/>
                    <a:pt x="5168" y="7882"/>
                    <a:pt x="4513" y="7263"/>
                  </a:cubicBezTo>
                  <a:lnTo>
                    <a:pt x="6585" y="7263"/>
                  </a:lnTo>
                  <a:cubicBezTo>
                    <a:pt x="5930" y="7882"/>
                    <a:pt x="6371" y="9002"/>
                    <a:pt x="7287" y="9002"/>
                  </a:cubicBezTo>
                  <a:cubicBezTo>
                    <a:pt x="8204" y="9002"/>
                    <a:pt x="8633" y="7882"/>
                    <a:pt x="7978" y="7263"/>
                  </a:cubicBezTo>
                  <a:lnTo>
                    <a:pt x="8180" y="7263"/>
                  </a:lnTo>
                  <a:cubicBezTo>
                    <a:pt x="8454" y="7263"/>
                    <a:pt x="8692" y="7025"/>
                    <a:pt x="8692" y="6739"/>
                  </a:cubicBezTo>
                  <a:cubicBezTo>
                    <a:pt x="8692" y="6454"/>
                    <a:pt x="8454" y="6216"/>
                    <a:pt x="8180" y="6216"/>
                  </a:cubicBezTo>
                  <a:lnTo>
                    <a:pt x="6883" y="6216"/>
                  </a:lnTo>
                  <a:cubicBezTo>
                    <a:pt x="6811" y="6216"/>
                    <a:pt x="6728" y="6275"/>
                    <a:pt x="6728" y="6370"/>
                  </a:cubicBezTo>
                  <a:cubicBezTo>
                    <a:pt x="6728" y="6442"/>
                    <a:pt x="6787" y="6513"/>
                    <a:pt x="6883" y="6513"/>
                  </a:cubicBezTo>
                  <a:lnTo>
                    <a:pt x="8180" y="6513"/>
                  </a:lnTo>
                  <a:cubicBezTo>
                    <a:pt x="8311" y="6513"/>
                    <a:pt x="8419" y="6620"/>
                    <a:pt x="8419" y="6751"/>
                  </a:cubicBezTo>
                  <a:cubicBezTo>
                    <a:pt x="8419" y="6894"/>
                    <a:pt x="8311" y="6989"/>
                    <a:pt x="8180" y="6989"/>
                  </a:cubicBezTo>
                  <a:lnTo>
                    <a:pt x="3275" y="6989"/>
                  </a:lnTo>
                  <a:cubicBezTo>
                    <a:pt x="2596" y="6989"/>
                    <a:pt x="2192" y="6216"/>
                    <a:pt x="2584" y="5656"/>
                  </a:cubicBezTo>
                  <a:lnTo>
                    <a:pt x="2858" y="5239"/>
                  </a:lnTo>
                  <a:cubicBezTo>
                    <a:pt x="2977" y="5346"/>
                    <a:pt x="3120" y="5430"/>
                    <a:pt x="3251" y="5501"/>
                  </a:cubicBezTo>
                  <a:lnTo>
                    <a:pt x="2965" y="5918"/>
                  </a:lnTo>
                  <a:cubicBezTo>
                    <a:pt x="2787" y="6180"/>
                    <a:pt x="2965" y="6513"/>
                    <a:pt x="3275" y="6513"/>
                  </a:cubicBezTo>
                  <a:lnTo>
                    <a:pt x="6347" y="6513"/>
                  </a:lnTo>
                  <a:cubicBezTo>
                    <a:pt x="6418" y="6513"/>
                    <a:pt x="6490" y="6454"/>
                    <a:pt x="6490" y="6370"/>
                  </a:cubicBezTo>
                  <a:cubicBezTo>
                    <a:pt x="6490" y="6299"/>
                    <a:pt x="6430" y="6216"/>
                    <a:pt x="6347" y="6216"/>
                  </a:cubicBezTo>
                  <a:lnTo>
                    <a:pt x="3275" y="6216"/>
                  </a:lnTo>
                  <a:cubicBezTo>
                    <a:pt x="3204" y="6216"/>
                    <a:pt x="3156" y="6132"/>
                    <a:pt x="3204" y="6073"/>
                  </a:cubicBezTo>
                  <a:lnTo>
                    <a:pt x="3537" y="5596"/>
                  </a:lnTo>
                  <a:cubicBezTo>
                    <a:pt x="3723" y="5653"/>
                    <a:pt x="3776" y="5666"/>
                    <a:pt x="4361" y="5666"/>
                  </a:cubicBezTo>
                  <a:cubicBezTo>
                    <a:pt x="4909" y="5666"/>
                    <a:pt x="5923" y="5655"/>
                    <a:pt x="7950" y="5655"/>
                  </a:cubicBezTo>
                  <a:cubicBezTo>
                    <a:pt x="8328" y="5655"/>
                    <a:pt x="8741" y="5655"/>
                    <a:pt x="9192" y="5656"/>
                  </a:cubicBezTo>
                  <a:cubicBezTo>
                    <a:pt x="9466" y="5656"/>
                    <a:pt x="9704" y="5418"/>
                    <a:pt x="9704" y="5132"/>
                  </a:cubicBezTo>
                  <a:cubicBezTo>
                    <a:pt x="9704" y="4870"/>
                    <a:pt x="9466" y="4632"/>
                    <a:pt x="9192" y="4632"/>
                  </a:cubicBezTo>
                  <a:lnTo>
                    <a:pt x="9038" y="4632"/>
                  </a:lnTo>
                  <a:lnTo>
                    <a:pt x="9704" y="1703"/>
                  </a:lnTo>
                  <a:cubicBezTo>
                    <a:pt x="9823" y="1155"/>
                    <a:pt x="9407" y="643"/>
                    <a:pt x="8859" y="643"/>
                  </a:cubicBezTo>
                  <a:lnTo>
                    <a:pt x="6085" y="643"/>
                  </a:lnTo>
                  <a:cubicBezTo>
                    <a:pt x="6013" y="643"/>
                    <a:pt x="5942" y="691"/>
                    <a:pt x="5942" y="786"/>
                  </a:cubicBezTo>
                  <a:cubicBezTo>
                    <a:pt x="5942" y="858"/>
                    <a:pt x="6002" y="941"/>
                    <a:pt x="6085" y="941"/>
                  </a:cubicBezTo>
                  <a:lnTo>
                    <a:pt x="8859" y="941"/>
                  </a:lnTo>
                  <a:cubicBezTo>
                    <a:pt x="9252" y="941"/>
                    <a:pt x="9526" y="1286"/>
                    <a:pt x="9442" y="1667"/>
                  </a:cubicBezTo>
                  <a:lnTo>
                    <a:pt x="8752" y="4644"/>
                  </a:lnTo>
                  <a:lnTo>
                    <a:pt x="8264" y="4644"/>
                  </a:lnTo>
                  <a:cubicBezTo>
                    <a:pt x="8335" y="4322"/>
                    <a:pt x="8871" y="2001"/>
                    <a:pt x="8966" y="1584"/>
                  </a:cubicBezTo>
                  <a:cubicBezTo>
                    <a:pt x="8978" y="1501"/>
                    <a:pt x="8919" y="1405"/>
                    <a:pt x="8835" y="1405"/>
                  </a:cubicBezTo>
                  <a:lnTo>
                    <a:pt x="2406" y="1405"/>
                  </a:lnTo>
                  <a:lnTo>
                    <a:pt x="2239" y="941"/>
                  </a:lnTo>
                  <a:lnTo>
                    <a:pt x="5537" y="941"/>
                  </a:lnTo>
                  <a:cubicBezTo>
                    <a:pt x="5621" y="941"/>
                    <a:pt x="5692" y="882"/>
                    <a:pt x="5692" y="786"/>
                  </a:cubicBezTo>
                  <a:cubicBezTo>
                    <a:pt x="5692" y="715"/>
                    <a:pt x="5632" y="643"/>
                    <a:pt x="5537" y="643"/>
                  </a:cubicBezTo>
                  <a:lnTo>
                    <a:pt x="2132" y="643"/>
                  </a:lnTo>
                  <a:cubicBezTo>
                    <a:pt x="2001" y="286"/>
                    <a:pt x="1644" y="0"/>
                    <a:pt x="121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98" name="Google Shape;13498;p64"/>
          <p:cNvGrpSpPr/>
          <p:nvPr/>
        </p:nvGrpSpPr>
        <p:grpSpPr>
          <a:xfrm>
            <a:off x="5618805" y="2440924"/>
            <a:ext cx="345292" cy="342618"/>
            <a:chOff x="5618805" y="2440924"/>
            <a:chExt cx="345292" cy="342618"/>
          </a:xfrm>
        </p:grpSpPr>
        <p:sp>
          <p:nvSpPr>
            <p:cNvPr id="13499" name="Google Shape;13499;p64"/>
            <p:cNvSpPr/>
            <p:nvPr/>
          </p:nvSpPr>
          <p:spPr>
            <a:xfrm>
              <a:off x="5742751" y="2440924"/>
              <a:ext cx="221346" cy="222110"/>
            </a:xfrm>
            <a:custGeom>
              <a:avLst/>
              <a:gdLst/>
              <a:ahLst/>
              <a:cxnLst/>
              <a:rect l="l" t="t" r="r" b="b"/>
              <a:pathLst>
                <a:path w="6954" h="6978" extrusionOk="0">
                  <a:moveTo>
                    <a:pt x="3477" y="346"/>
                  </a:moveTo>
                  <a:cubicBezTo>
                    <a:pt x="5203" y="346"/>
                    <a:pt x="6596" y="1453"/>
                    <a:pt x="6596" y="2798"/>
                  </a:cubicBezTo>
                  <a:cubicBezTo>
                    <a:pt x="6596" y="3989"/>
                    <a:pt x="5513" y="5001"/>
                    <a:pt x="4025" y="5215"/>
                  </a:cubicBezTo>
                  <a:cubicBezTo>
                    <a:pt x="3941" y="5227"/>
                    <a:pt x="3882" y="5299"/>
                    <a:pt x="3882" y="5394"/>
                  </a:cubicBezTo>
                  <a:cubicBezTo>
                    <a:pt x="3786" y="5953"/>
                    <a:pt x="3370" y="6418"/>
                    <a:pt x="2846" y="6573"/>
                  </a:cubicBezTo>
                  <a:cubicBezTo>
                    <a:pt x="3060" y="6227"/>
                    <a:pt x="3144" y="5811"/>
                    <a:pt x="3084" y="5394"/>
                  </a:cubicBezTo>
                  <a:cubicBezTo>
                    <a:pt x="3084" y="5299"/>
                    <a:pt x="3024" y="5215"/>
                    <a:pt x="2941" y="5215"/>
                  </a:cubicBezTo>
                  <a:cubicBezTo>
                    <a:pt x="1429" y="5001"/>
                    <a:pt x="346" y="3989"/>
                    <a:pt x="346" y="2798"/>
                  </a:cubicBezTo>
                  <a:cubicBezTo>
                    <a:pt x="346" y="1453"/>
                    <a:pt x="1751" y="346"/>
                    <a:pt x="3477" y="346"/>
                  </a:cubicBezTo>
                  <a:close/>
                  <a:moveTo>
                    <a:pt x="3477" y="0"/>
                  </a:moveTo>
                  <a:cubicBezTo>
                    <a:pt x="2548" y="0"/>
                    <a:pt x="1691" y="286"/>
                    <a:pt x="1036" y="810"/>
                  </a:cubicBezTo>
                  <a:cubicBezTo>
                    <a:pt x="357" y="1346"/>
                    <a:pt x="0" y="2048"/>
                    <a:pt x="0" y="2798"/>
                  </a:cubicBezTo>
                  <a:cubicBezTo>
                    <a:pt x="0" y="4120"/>
                    <a:pt x="1155" y="5251"/>
                    <a:pt x="2739" y="5537"/>
                  </a:cubicBezTo>
                  <a:cubicBezTo>
                    <a:pt x="2774" y="5953"/>
                    <a:pt x="2620" y="6382"/>
                    <a:pt x="2322" y="6680"/>
                  </a:cubicBezTo>
                  <a:cubicBezTo>
                    <a:pt x="2286" y="6727"/>
                    <a:pt x="2262" y="6799"/>
                    <a:pt x="2298" y="6882"/>
                  </a:cubicBezTo>
                  <a:cubicBezTo>
                    <a:pt x="2322" y="6942"/>
                    <a:pt x="2382" y="6977"/>
                    <a:pt x="2465" y="6977"/>
                  </a:cubicBezTo>
                  <a:cubicBezTo>
                    <a:pt x="3310" y="6977"/>
                    <a:pt x="4037" y="6370"/>
                    <a:pt x="4215" y="5537"/>
                  </a:cubicBezTo>
                  <a:cubicBezTo>
                    <a:pt x="4965" y="5418"/>
                    <a:pt x="5632" y="5096"/>
                    <a:pt x="6120" y="4632"/>
                  </a:cubicBezTo>
                  <a:cubicBezTo>
                    <a:pt x="6656" y="4120"/>
                    <a:pt x="6954" y="3465"/>
                    <a:pt x="6954" y="2798"/>
                  </a:cubicBezTo>
                  <a:cubicBezTo>
                    <a:pt x="6942" y="2048"/>
                    <a:pt x="6584" y="1334"/>
                    <a:pt x="5918" y="810"/>
                  </a:cubicBezTo>
                  <a:cubicBezTo>
                    <a:pt x="5263" y="286"/>
                    <a:pt x="4394" y="0"/>
                    <a:pt x="3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0" name="Google Shape;13500;p64"/>
            <p:cNvSpPr/>
            <p:nvPr/>
          </p:nvSpPr>
          <p:spPr>
            <a:xfrm>
              <a:off x="5810581" y="2523905"/>
              <a:ext cx="11395" cy="11395"/>
            </a:xfrm>
            <a:custGeom>
              <a:avLst/>
              <a:gdLst/>
              <a:ahLst/>
              <a:cxnLst/>
              <a:rect l="l" t="t" r="r" b="b"/>
              <a:pathLst>
                <a:path w="358" h="358" extrusionOk="0">
                  <a:moveTo>
                    <a:pt x="179" y="1"/>
                  </a:moveTo>
                  <a:cubicBezTo>
                    <a:pt x="84" y="1"/>
                    <a:pt x="1" y="96"/>
                    <a:pt x="1" y="179"/>
                  </a:cubicBezTo>
                  <a:cubicBezTo>
                    <a:pt x="1" y="263"/>
                    <a:pt x="96"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1" name="Google Shape;13501;p64"/>
            <p:cNvSpPr/>
            <p:nvPr/>
          </p:nvSpPr>
          <p:spPr>
            <a:xfrm>
              <a:off x="5884490" y="2523905"/>
              <a:ext cx="11395" cy="11395"/>
            </a:xfrm>
            <a:custGeom>
              <a:avLst/>
              <a:gdLst/>
              <a:ahLst/>
              <a:cxnLst/>
              <a:rect l="l" t="t" r="r" b="b"/>
              <a:pathLst>
                <a:path w="358" h="358" extrusionOk="0">
                  <a:moveTo>
                    <a:pt x="179" y="1"/>
                  </a:moveTo>
                  <a:cubicBezTo>
                    <a:pt x="72" y="1"/>
                    <a:pt x="0" y="96"/>
                    <a:pt x="0" y="179"/>
                  </a:cubicBezTo>
                  <a:cubicBezTo>
                    <a:pt x="0" y="263"/>
                    <a:pt x="95" y="358"/>
                    <a:pt x="179" y="358"/>
                  </a:cubicBezTo>
                  <a:cubicBezTo>
                    <a:pt x="286" y="358"/>
                    <a:pt x="357" y="263"/>
                    <a:pt x="357" y="179"/>
                  </a:cubicBezTo>
                  <a:cubicBezTo>
                    <a:pt x="357"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2" name="Google Shape;13502;p64"/>
            <p:cNvSpPr/>
            <p:nvPr/>
          </p:nvSpPr>
          <p:spPr>
            <a:xfrm>
              <a:off x="5847727" y="2523905"/>
              <a:ext cx="11395" cy="11395"/>
            </a:xfrm>
            <a:custGeom>
              <a:avLst/>
              <a:gdLst/>
              <a:ahLst/>
              <a:cxnLst/>
              <a:rect l="l" t="t" r="r" b="b"/>
              <a:pathLst>
                <a:path w="358" h="358" extrusionOk="0">
                  <a:moveTo>
                    <a:pt x="179" y="1"/>
                  </a:moveTo>
                  <a:cubicBezTo>
                    <a:pt x="72" y="1"/>
                    <a:pt x="0" y="96"/>
                    <a:pt x="0" y="179"/>
                  </a:cubicBezTo>
                  <a:cubicBezTo>
                    <a:pt x="0" y="263"/>
                    <a:pt x="84" y="358"/>
                    <a:pt x="179" y="358"/>
                  </a:cubicBezTo>
                  <a:cubicBezTo>
                    <a:pt x="286" y="358"/>
                    <a:pt x="358" y="263"/>
                    <a:pt x="358" y="179"/>
                  </a:cubicBezTo>
                  <a:cubicBezTo>
                    <a:pt x="358" y="96"/>
                    <a:pt x="286"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3" name="Google Shape;13503;p64"/>
            <p:cNvSpPr/>
            <p:nvPr/>
          </p:nvSpPr>
          <p:spPr>
            <a:xfrm>
              <a:off x="5618805" y="2516616"/>
              <a:ext cx="270269" cy="266926"/>
            </a:xfrm>
            <a:custGeom>
              <a:avLst/>
              <a:gdLst/>
              <a:ahLst/>
              <a:cxnLst/>
              <a:rect l="l" t="t" r="r" b="b"/>
              <a:pathLst>
                <a:path w="8491" h="8386" extrusionOk="0">
                  <a:moveTo>
                    <a:pt x="1269" y="0"/>
                  </a:moveTo>
                  <a:cubicBezTo>
                    <a:pt x="1224" y="0"/>
                    <a:pt x="1177" y="18"/>
                    <a:pt x="1144" y="51"/>
                  </a:cubicBezTo>
                  <a:cubicBezTo>
                    <a:pt x="1108" y="87"/>
                    <a:pt x="168" y="956"/>
                    <a:pt x="96" y="1706"/>
                  </a:cubicBezTo>
                  <a:cubicBezTo>
                    <a:pt x="1" y="2671"/>
                    <a:pt x="989" y="4385"/>
                    <a:pt x="2549" y="5933"/>
                  </a:cubicBezTo>
                  <a:cubicBezTo>
                    <a:pt x="4037" y="7421"/>
                    <a:pt x="5656" y="8386"/>
                    <a:pt x="6645" y="8386"/>
                  </a:cubicBezTo>
                  <a:lnTo>
                    <a:pt x="6776" y="8386"/>
                  </a:lnTo>
                  <a:cubicBezTo>
                    <a:pt x="7514" y="8314"/>
                    <a:pt x="8395" y="7374"/>
                    <a:pt x="8431" y="7326"/>
                  </a:cubicBezTo>
                  <a:cubicBezTo>
                    <a:pt x="8490" y="7266"/>
                    <a:pt x="8490" y="7159"/>
                    <a:pt x="8442" y="7100"/>
                  </a:cubicBezTo>
                  <a:cubicBezTo>
                    <a:pt x="8407" y="7076"/>
                    <a:pt x="7990" y="6540"/>
                    <a:pt x="7502" y="6052"/>
                  </a:cubicBezTo>
                  <a:cubicBezTo>
                    <a:pt x="7002" y="5540"/>
                    <a:pt x="6478" y="5123"/>
                    <a:pt x="6442" y="5111"/>
                  </a:cubicBezTo>
                  <a:cubicBezTo>
                    <a:pt x="6410" y="5085"/>
                    <a:pt x="6375" y="5072"/>
                    <a:pt x="6342" y="5072"/>
                  </a:cubicBezTo>
                  <a:cubicBezTo>
                    <a:pt x="6301" y="5072"/>
                    <a:pt x="6261" y="5091"/>
                    <a:pt x="6228" y="5123"/>
                  </a:cubicBezTo>
                  <a:lnTo>
                    <a:pt x="5573" y="5778"/>
                  </a:lnTo>
                  <a:lnTo>
                    <a:pt x="3442" y="3659"/>
                  </a:lnTo>
                  <a:cubicBezTo>
                    <a:pt x="3406" y="3617"/>
                    <a:pt x="3361" y="3596"/>
                    <a:pt x="3318" y="3596"/>
                  </a:cubicBezTo>
                  <a:cubicBezTo>
                    <a:pt x="3275" y="3596"/>
                    <a:pt x="3233" y="3617"/>
                    <a:pt x="3204" y="3659"/>
                  </a:cubicBezTo>
                  <a:cubicBezTo>
                    <a:pt x="3132" y="3730"/>
                    <a:pt x="3132" y="3837"/>
                    <a:pt x="3204" y="3897"/>
                  </a:cubicBezTo>
                  <a:lnTo>
                    <a:pt x="5466" y="6159"/>
                  </a:lnTo>
                  <a:cubicBezTo>
                    <a:pt x="5490" y="6183"/>
                    <a:pt x="5537" y="6195"/>
                    <a:pt x="5585" y="6195"/>
                  </a:cubicBezTo>
                  <a:cubicBezTo>
                    <a:pt x="5633" y="6195"/>
                    <a:pt x="5668" y="6183"/>
                    <a:pt x="5704" y="6159"/>
                  </a:cubicBezTo>
                  <a:lnTo>
                    <a:pt x="6371" y="5480"/>
                  </a:lnTo>
                  <a:cubicBezTo>
                    <a:pt x="6549" y="5635"/>
                    <a:pt x="6918" y="5945"/>
                    <a:pt x="7264" y="6290"/>
                  </a:cubicBezTo>
                  <a:cubicBezTo>
                    <a:pt x="7609" y="6635"/>
                    <a:pt x="7919" y="7004"/>
                    <a:pt x="8085" y="7195"/>
                  </a:cubicBezTo>
                  <a:cubicBezTo>
                    <a:pt x="7788" y="7481"/>
                    <a:pt x="7204" y="7981"/>
                    <a:pt x="6764" y="8028"/>
                  </a:cubicBezTo>
                  <a:cubicBezTo>
                    <a:pt x="6733" y="8031"/>
                    <a:pt x="6702" y="8032"/>
                    <a:pt x="6670" y="8032"/>
                  </a:cubicBezTo>
                  <a:cubicBezTo>
                    <a:pt x="5782" y="8032"/>
                    <a:pt x="4224" y="7085"/>
                    <a:pt x="2811" y="5683"/>
                  </a:cubicBezTo>
                  <a:cubicBezTo>
                    <a:pt x="1358" y="4218"/>
                    <a:pt x="394" y="2599"/>
                    <a:pt x="465" y="1730"/>
                  </a:cubicBezTo>
                  <a:cubicBezTo>
                    <a:pt x="513" y="1289"/>
                    <a:pt x="1013" y="706"/>
                    <a:pt x="1299" y="408"/>
                  </a:cubicBezTo>
                  <a:cubicBezTo>
                    <a:pt x="1477" y="563"/>
                    <a:pt x="1846" y="873"/>
                    <a:pt x="2204" y="1230"/>
                  </a:cubicBezTo>
                  <a:cubicBezTo>
                    <a:pt x="2549" y="1575"/>
                    <a:pt x="2858" y="1944"/>
                    <a:pt x="3013" y="2123"/>
                  </a:cubicBezTo>
                  <a:lnTo>
                    <a:pt x="2335" y="2790"/>
                  </a:lnTo>
                  <a:cubicBezTo>
                    <a:pt x="2263" y="2861"/>
                    <a:pt x="2263" y="2968"/>
                    <a:pt x="2335" y="3028"/>
                  </a:cubicBezTo>
                  <a:lnTo>
                    <a:pt x="2716" y="3397"/>
                  </a:lnTo>
                  <a:cubicBezTo>
                    <a:pt x="2751" y="3439"/>
                    <a:pt x="2796" y="3459"/>
                    <a:pt x="2838" y="3459"/>
                  </a:cubicBezTo>
                  <a:cubicBezTo>
                    <a:pt x="2879" y="3459"/>
                    <a:pt x="2918" y="3439"/>
                    <a:pt x="2942" y="3397"/>
                  </a:cubicBezTo>
                  <a:cubicBezTo>
                    <a:pt x="3025" y="3325"/>
                    <a:pt x="3025" y="3218"/>
                    <a:pt x="2942" y="3159"/>
                  </a:cubicBezTo>
                  <a:lnTo>
                    <a:pt x="2692" y="2909"/>
                  </a:lnTo>
                  <a:lnTo>
                    <a:pt x="3347" y="2254"/>
                  </a:lnTo>
                  <a:cubicBezTo>
                    <a:pt x="3406" y="2194"/>
                    <a:pt x="3430" y="2087"/>
                    <a:pt x="3359" y="2028"/>
                  </a:cubicBezTo>
                  <a:cubicBezTo>
                    <a:pt x="3347" y="2016"/>
                    <a:pt x="2930" y="1480"/>
                    <a:pt x="2430" y="980"/>
                  </a:cubicBezTo>
                  <a:cubicBezTo>
                    <a:pt x="1918" y="468"/>
                    <a:pt x="1394" y="51"/>
                    <a:pt x="1370" y="39"/>
                  </a:cubicBezTo>
                  <a:cubicBezTo>
                    <a:pt x="1343" y="12"/>
                    <a:pt x="1307" y="0"/>
                    <a:pt x="12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4" name="Google Shape;13504;p64"/>
          <p:cNvGrpSpPr/>
          <p:nvPr/>
        </p:nvGrpSpPr>
        <p:grpSpPr>
          <a:xfrm>
            <a:off x="4653179" y="2446590"/>
            <a:ext cx="377886" cy="331255"/>
            <a:chOff x="4653179" y="2446590"/>
            <a:chExt cx="377886" cy="331255"/>
          </a:xfrm>
        </p:grpSpPr>
        <p:sp>
          <p:nvSpPr>
            <p:cNvPr id="13505" name="Google Shape;13505;p64"/>
            <p:cNvSpPr/>
            <p:nvPr/>
          </p:nvSpPr>
          <p:spPr>
            <a:xfrm>
              <a:off x="4767639" y="2584541"/>
              <a:ext cx="145941" cy="109177"/>
            </a:xfrm>
            <a:custGeom>
              <a:avLst/>
              <a:gdLst/>
              <a:ahLst/>
              <a:cxnLst/>
              <a:rect l="l" t="t" r="r" b="b"/>
              <a:pathLst>
                <a:path w="4585" h="3430" extrusionOk="0">
                  <a:moveTo>
                    <a:pt x="2370" y="310"/>
                  </a:moveTo>
                  <a:cubicBezTo>
                    <a:pt x="2560" y="310"/>
                    <a:pt x="2739" y="429"/>
                    <a:pt x="2810" y="608"/>
                  </a:cubicBezTo>
                  <a:lnTo>
                    <a:pt x="1929" y="608"/>
                  </a:lnTo>
                  <a:cubicBezTo>
                    <a:pt x="1989" y="453"/>
                    <a:pt x="2156" y="310"/>
                    <a:pt x="2370" y="310"/>
                  </a:cubicBezTo>
                  <a:close/>
                  <a:moveTo>
                    <a:pt x="3049" y="965"/>
                  </a:moveTo>
                  <a:cubicBezTo>
                    <a:pt x="3168" y="965"/>
                    <a:pt x="3275" y="1072"/>
                    <a:pt x="3275" y="1191"/>
                  </a:cubicBezTo>
                  <a:lnTo>
                    <a:pt x="3275" y="2192"/>
                  </a:lnTo>
                  <a:cubicBezTo>
                    <a:pt x="3275" y="2323"/>
                    <a:pt x="3239" y="2442"/>
                    <a:pt x="3203" y="2561"/>
                  </a:cubicBezTo>
                  <a:cubicBezTo>
                    <a:pt x="3203" y="2561"/>
                    <a:pt x="3203" y="2573"/>
                    <a:pt x="3179" y="2573"/>
                  </a:cubicBezTo>
                  <a:cubicBezTo>
                    <a:pt x="3037" y="2870"/>
                    <a:pt x="2727" y="3085"/>
                    <a:pt x="2382" y="3085"/>
                  </a:cubicBezTo>
                  <a:cubicBezTo>
                    <a:pt x="1894" y="3085"/>
                    <a:pt x="1489" y="2680"/>
                    <a:pt x="1489" y="2192"/>
                  </a:cubicBezTo>
                  <a:lnTo>
                    <a:pt x="1453" y="1191"/>
                  </a:lnTo>
                  <a:cubicBezTo>
                    <a:pt x="1453" y="1072"/>
                    <a:pt x="1560" y="965"/>
                    <a:pt x="1679" y="965"/>
                  </a:cubicBezTo>
                  <a:close/>
                  <a:moveTo>
                    <a:pt x="2275" y="1"/>
                  </a:moveTo>
                  <a:cubicBezTo>
                    <a:pt x="1870" y="1"/>
                    <a:pt x="1548" y="298"/>
                    <a:pt x="1465" y="668"/>
                  </a:cubicBezTo>
                  <a:cubicBezTo>
                    <a:pt x="1286" y="715"/>
                    <a:pt x="1144" y="834"/>
                    <a:pt x="1072" y="1013"/>
                  </a:cubicBezTo>
                  <a:lnTo>
                    <a:pt x="751" y="1013"/>
                  </a:lnTo>
                  <a:cubicBezTo>
                    <a:pt x="715" y="1013"/>
                    <a:pt x="667" y="1025"/>
                    <a:pt x="620" y="1072"/>
                  </a:cubicBezTo>
                  <a:lnTo>
                    <a:pt x="72" y="1632"/>
                  </a:lnTo>
                  <a:cubicBezTo>
                    <a:pt x="12" y="1715"/>
                    <a:pt x="12" y="1811"/>
                    <a:pt x="72" y="1870"/>
                  </a:cubicBezTo>
                  <a:cubicBezTo>
                    <a:pt x="96" y="1906"/>
                    <a:pt x="143" y="1918"/>
                    <a:pt x="191" y="1918"/>
                  </a:cubicBezTo>
                  <a:cubicBezTo>
                    <a:pt x="239" y="1918"/>
                    <a:pt x="274" y="1906"/>
                    <a:pt x="310" y="1858"/>
                  </a:cubicBezTo>
                  <a:lnTo>
                    <a:pt x="798" y="1334"/>
                  </a:lnTo>
                  <a:lnTo>
                    <a:pt x="1013" y="1334"/>
                  </a:lnTo>
                  <a:lnTo>
                    <a:pt x="1013" y="1739"/>
                  </a:lnTo>
                  <a:lnTo>
                    <a:pt x="739" y="1739"/>
                  </a:lnTo>
                  <a:cubicBezTo>
                    <a:pt x="691" y="1739"/>
                    <a:pt x="655" y="1763"/>
                    <a:pt x="608" y="1799"/>
                  </a:cubicBezTo>
                  <a:lnTo>
                    <a:pt x="60" y="2370"/>
                  </a:lnTo>
                  <a:cubicBezTo>
                    <a:pt x="1" y="2442"/>
                    <a:pt x="1" y="2549"/>
                    <a:pt x="60" y="2608"/>
                  </a:cubicBezTo>
                  <a:cubicBezTo>
                    <a:pt x="84" y="2632"/>
                    <a:pt x="131" y="2656"/>
                    <a:pt x="179" y="2656"/>
                  </a:cubicBezTo>
                  <a:cubicBezTo>
                    <a:pt x="215" y="2656"/>
                    <a:pt x="262" y="2632"/>
                    <a:pt x="298" y="2596"/>
                  </a:cubicBezTo>
                  <a:lnTo>
                    <a:pt x="786" y="2072"/>
                  </a:lnTo>
                  <a:lnTo>
                    <a:pt x="989" y="2072"/>
                  </a:lnTo>
                  <a:lnTo>
                    <a:pt x="989" y="2192"/>
                  </a:lnTo>
                  <a:cubicBezTo>
                    <a:pt x="989" y="2275"/>
                    <a:pt x="1013" y="2382"/>
                    <a:pt x="1024" y="2477"/>
                  </a:cubicBezTo>
                  <a:lnTo>
                    <a:pt x="846" y="2477"/>
                  </a:lnTo>
                  <a:cubicBezTo>
                    <a:pt x="798" y="2477"/>
                    <a:pt x="763" y="2489"/>
                    <a:pt x="727" y="2525"/>
                  </a:cubicBezTo>
                  <a:lnTo>
                    <a:pt x="179" y="3096"/>
                  </a:lnTo>
                  <a:cubicBezTo>
                    <a:pt x="120" y="3168"/>
                    <a:pt x="120" y="3275"/>
                    <a:pt x="179" y="3335"/>
                  </a:cubicBezTo>
                  <a:cubicBezTo>
                    <a:pt x="203" y="3370"/>
                    <a:pt x="251" y="3382"/>
                    <a:pt x="298" y="3382"/>
                  </a:cubicBezTo>
                  <a:cubicBezTo>
                    <a:pt x="334" y="3382"/>
                    <a:pt x="382" y="3370"/>
                    <a:pt x="417" y="3323"/>
                  </a:cubicBezTo>
                  <a:lnTo>
                    <a:pt x="905" y="2799"/>
                  </a:lnTo>
                  <a:lnTo>
                    <a:pt x="1274" y="2799"/>
                  </a:lnTo>
                  <a:cubicBezTo>
                    <a:pt x="1501" y="3168"/>
                    <a:pt x="1906" y="3430"/>
                    <a:pt x="2346" y="3430"/>
                  </a:cubicBezTo>
                  <a:cubicBezTo>
                    <a:pt x="2810" y="3430"/>
                    <a:pt x="3215" y="3168"/>
                    <a:pt x="3418" y="2799"/>
                  </a:cubicBezTo>
                  <a:lnTo>
                    <a:pt x="3775" y="2799"/>
                  </a:lnTo>
                  <a:lnTo>
                    <a:pt x="4275" y="3323"/>
                  </a:lnTo>
                  <a:cubicBezTo>
                    <a:pt x="4299" y="3346"/>
                    <a:pt x="4346" y="3382"/>
                    <a:pt x="4382" y="3382"/>
                  </a:cubicBezTo>
                  <a:cubicBezTo>
                    <a:pt x="4430" y="3382"/>
                    <a:pt x="4477" y="3370"/>
                    <a:pt x="4501" y="3335"/>
                  </a:cubicBezTo>
                  <a:cubicBezTo>
                    <a:pt x="4584" y="3275"/>
                    <a:pt x="4584" y="3156"/>
                    <a:pt x="4501" y="3096"/>
                  </a:cubicBezTo>
                  <a:lnTo>
                    <a:pt x="3953" y="2525"/>
                  </a:lnTo>
                  <a:cubicBezTo>
                    <a:pt x="3930" y="2501"/>
                    <a:pt x="3882" y="2477"/>
                    <a:pt x="3834" y="2477"/>
                  </a:cubicBezTo>
                  <a:lnTo>
                    <a:pt x="3537" y="2477"/>
                  </a:lnTo>
                  <a:cubicBezTo>
                    <a:pt x="3549" y="2382"/>
                    <a:pt x="3572" y="2299"/>
                    <a:pt x="3572" y="2192"/>
                  </a:cubicBezTo>
                  <a:lnTo>
                    <a:pt x="3572" y="2072"/>
                  </a:lnTo>
                  <a:lnTo>
                    <a:pt x="3763" y="2072"/>
                  </a:lnTo>
                  <a:lnTo>
                    <a:pt x="4251" y="2596"/>
                  </a:lnTo>
                  <a:cubicBezTo>
                    <a:pt x="4287" y="2620"/>
                    <a:pt x="4322" y="2656"/>
                    <a:pt x="4370" y="2656"/>
                  </a:cubicBezTo>
                  <a:cubicBezTo>
                    <a:pt x="4418" y="2656"/>
                    <a:pt x="4465" y="2632"/>
                    <a:pt x="4489" y="2608"/>
                  </a:cubicBezTo>
                  <a:cubicBezTo>
                    <a:pt x="4561" y="2549"/>
                    <a:pt x="4561" y="2430"/>
                    <a:pt x="4489" y="2370"/>
                  </a:cubicBezTo>
                  <a:lnTo>
                    <a:pt x="3941" y="1799"/>
                  </a:lnTo>
                  <a:cubicBezTo>
                    <a:pt x="3906" y="1775"/>
                    <a:pt x="3870" y="1739"/>
                    <a:pt x="3822" y="1739"/>
                  </a:cubicBezTo>
                  <a:lnTo>
                    <a:pt x="3549" y="1739"/>
                  </a:lnTo>
                  <a:lnTo>
                    <a:pt x="3549" y="1334"/>
                  </a:lnTo>
                  <a:lnTo>
                    <a:pt x="3751" y="1334"/>
                  </a:lnTo>
                  <a:lnTo>
                    <a:pt x="4239" y="1858"/>
                  </a:lnTo>
                  <a:cubicBezTo>
                    <a:pt x="4263" y="1894"/>
                    <a:pt x="4311" y="1918"/>
                    <a:pt x="4358" y="1918"/>
                  </a:cubicBezTo>
                  <a:cubicBezTo>
                    <a:pt x="4406" y="1918"/>
                    <a:pt x="4442" y="1906"/>
                    <a:pt x="4477" y="1870"/>
                  </a:cubicBezTo>
                  <a:cubicBezTo>
                    <a:pt x="4549" y="1811"/>
                    <a:pt x="4549" y="1691"/>
                    <a:pt x="4477" y="1632"/>
                  </a:cubicBezTo>
                  <a:lnTo>
                    <a:pt x="3930" y="1072"/>
                  </a:lnTo>
                  <a:cubicBezTo>
                    <a:pt x="3894" y="1037"/>
                    <a:pt x="3846" y="1013"/>
                    <a:pt x="3787" y="1013"/>
                  </a:cubicBezTo>
                  <a:lnTo>
                    <a:pt x="3477" y="1013"/>
                  </a:lnTo>
                  <a:cubicBezTo>
                    <a:pt x="3406" y="846"/>
                    <a:pt x="3251" y="715"/>
                    <a:pt x="3072" y="668"/>
                  </a:cubicBezTo>
                  <a:cubicBezTo>
                    <a:pt x="3001" y="287"/>
                    <a:pt x="2679" y="1"/>
                    <a:pt x="2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6" name="Google Shape;13506;p64"/>
            <p:cNvSpPr/>
            <p:nvPr/>
          </p:nvSpPr>
          <p:spPr>
            <a:xfrm>
              <a:off x="4794918" y="2446590"/>
              <a:ext cx="96286" cy="53856"/>
            </a:xfrm>
            <a:custGeom>
              <a:avLst/>
              <a:gdLst/>
              <a:ahLst/>
              <a:cxnLst/>
              <a:rect l="l" t="t" r="r" b="b"/>
              <a:pathLst>
                <a:path w="3025" h="1692" extrusionOk="0">
                  <a:moveTo>
                    <a:pt x="1525" y="1"/>
                  </a:moveTo>
                  <a:cubicBezTo>
                    <a:pt x="691" y="1"/>
                    <a:pt x="25" y="680"/>
                    <a:pt x="25" y="1513"/>
                  </a:cubicBezTo>
                  <a:cubicBezTo>
                    <a:pt x="1" y="1596"/>
                    <a:pt x="84" y="1692"/>
                    <a:pt x="167" y="1692"/>
                  </a:cubicBezTo>
                  <a:cubicBezTo>
                    <a:pt x="263" y="1692"/>
                    <a:pt x="346" y="1608"/>
                    <a:pt x="346" y="1513"/>
                  </a:cubicBezTo>
                  <a:cubicBezTo>
                    <a:pt x="346" y="870"/>
                    <a:pt x="870" y="346"/>
                    <a:pt x="1513" y="346"/>
                  </a:cubicBezTo>
                  <a:cubicBezTo>
                    <a:pt x="2144" y="346"/>
                    <a:pt x="2668" y="870"/>
                    <a:pt x="2668" y="1513"/>
                  </a:cubicBezTo>
                  <a:cubicBezTo>
                    <a:pt x="2668" y="1596"/>
                    <a:pt x="2739" y="1692"/>
                    <a:pt x="2846" y="1692"/>
                  </a:cubicBezTo>
                  <a:cubicBezTo>
                    <a:pt x="2954" y="1692"/>
                    <a:pt x="3025" y="1608"/>
                    <a:pt x="3025" y="1513"/>
                  </a:cubicBezTo>
                  <a:cubicBezTo>
                    <a:pt x="3025" y="680"/>
                    <a:pt x="2358" y="1"/>
                    <a:pt x="152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7" name="Google Shape;13507;p64"/>
            <p:cNvSpPr/>
            <p:nvPr/>
          </p:nvSpPr>
          <p:spPr>
            <a:xfrm>
              <a:off x="4816530" y="2465179"/>
              <a:ext cx="53856" cy="32244"/>
            </a:xfrm>
            <a:custGeom>
              <a:avLst/>
              <a:gdLst/>
              <a:ahLst/>
              <a:cxnLst/>
              <a:rect l="l" t="t" r="r" b="b"/>
              <a:pathLst>
                <a:path w="1692" h="1013" extrusionOk="0">
                  <a:moveTo>
                    <a:pt x="834" y="0"/>
                  </a:moveTo>
                  <a:cubicBezTo>
                    <a:pt x="370" y="0"/>
                    <a:pt x="0" y="369"/>
                    <a:pt x="0" y="834"/>
                  </a:cubicBezTo>
                  <a:cubicBezTo>
                    <a:pt x="0" y="929"/>
                    <a:pt x="72" y="1012"/>
                    <a:pt x="179" y="1012"/>
                  </a:cubicBezTo>
                  <a:cubicBezTo>
                    <a:pt x="274" y="1012"/>
                    <a:pt x="358" y="941"/>
                    <a:pt x="358" y="834"/>
                  </a:cubicBezTo>
                  <a:cubicBezTo>
                    <a:pt x="358" y="572"/>
                    <a:pt x="572" y="346"/>
                    <a:pt x="846" y="346"/>
                  </a:cubicBezTo>
                  <a:cubicBezTo>
                    <a:pt x="1108" y="346"/>
                    <a:pt x="1334" y="572"/>
                    <a:pt x="1334" y="834"/>
                  </a:cubicBezTo>
                  <a:cubicBezTo>
                    <a:pt x="1334" y="929"/>
                    <a:pt x="1405" y="1012"/>
                    <a:pt x="1513" y="1012"/>
                  </a:cubicBezTo>
                  <a:cubicBezTo>
                    <a:pt x="1620" y="1012"/>
                    <a:pt x="1691" y="941"/>
                    <a:pt x="1691" y="834"/>
                  </a:cubicBezTo>
                  <a:cubicBezTo>
                    <a:pt x="1667" y="369"/>
                    <a:pt x="1286" y="0"/>
                    <a:pt x="8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8" name="Google Shape;13508;p64"/>
            <p:cNvSpPr/>
            <p:nvPr/>
          </p:nvSpPr>
          <p:spPr>
            <a:xfrm>
              <a:off x="4653179" y="2522409"/>
              <a:ext cx="377886" cy="255436"/>
            </a:xfrm>
            <a:custGeom>
              <a:avLst/>
              <a:gdLst/>
              <a:ahLst/>
              <a:cxnLst/>
              <a:rect l="l" t="t" r="r" b="b"/>
              <a:pathLst>
                <a:path w="11872" h="8025" extrusionOk="0">
                  <a:moveTo>
                    <a:pt x="11526" y="6822"/>
                  </a:moveTo>
                  <a:lnTo>
                    <a:pt x="11526" y="7025"/>
                  </a:lnTo>
                  <a:cubicBezTo>
                    <a:pt x="11526" y="7382"/>
                    <a:pt x="11228" y="7680"/>
                    <a:pt x="10871" y="7680"/>
                  </a:cubicBezTo>
                  <a:lnTo>
                    <a:pt x="1025" y="7680"/>
                  </a:lnTo>
                  <a:cubicBezTo>
                    <a:pt x="668" y="7680"/>
                    <a:pt x="370" y="7382"/>
                    <a:pt x="370" y="7025"/>
                  </a:cubicBezTo>
                  <a:lnTo>
                    <a:pt x="370" y="6822"/>
                  </a:lnTo>
                  <a:lnTo>
                    <a:pt x="4537" y="6822"/>
                  </a:lnTo>
                  <a:lnTo>
                    <a:pt x="4728" y="6953"/>
                  </a:lnTo>
                  <a:cubicBezTo>
                    <a:pt x="4751" y="6965"/>
                    <a:pt x="4787" y="6989"/>
                    <a:pt x="4835" y="6989"/>
                  </a:cubicBezTo>
                  <a:lnTo>
                    <a:pt x="7073" y="6989"/>
                  </a:lnTo>
                  <a:cubicBezTo>
                    <a:pt x="7109" y="6989"/>
                    <a:pt x="7156" y="6965"/>
                    <a:pt x="7180" y="6953"/>
                  </a:cubicBezTo>
                  <a:lnTo>
                    <a:pt x="7371" y="6822"/>
                  </a:lnTo>
                  <a:close/>
                  <a:moveTo>
                    <a:pt x="1537" y="0"/>
                  </a:moveTo>
                  <a:cubicBezTo>
                    <a:pt x="977" y="0"/>
                    <a:pt x="513" y="465"/>
                    <a:pt x="513" y="1036"/>
                  </a:cubicBezTo>
                  <a:lnTo>
                    <a:pt x="513" y="6477"/>
                  </a:lnTo>
                  <a:lnTo>
                    <a:pt x="179" y="6477"/>
                  </a:lnTo>
                  <a:cubicBezTo>
                    <a:pt x="96" y="6477"/>
                    <a:pt x="1" y="6549"/>
                    <a:pt x="1" y="6656"/>
                  </a:cubicBezTo>
                  <a:lnTo>
                    <a:pt x="1" y="7025"/>
                  </a:lnTo>
                  <a:cubicBezTo>
                    <a:pt x="1" y="7584"/>
                    <a:pt x="453" y="8025"/>
                    <a:pt x="1001" y="8025"/>
                  </a:cubicBezTo>
                  <a:lnTo>
                    <a:pt x="10859" y="8025"/>
                  </a:lnTo>
                  <a:cubicBezTo>
                    <a:pt x="11407" y="8025"/>
                    <a:pt x="11848" y="7584"/>
                    <a:pt x="11848" y="7025"/>
                  </a:cubicBezTo>
                  <a:lnTo>
                    <a:pt x="11848" y="6656"/>
                  </a:lnTo>
                  <a:cubicBezTo>
                    <a:pt x="11871" y="6549"/>
                    <a:pt x="11800" y="6477"/>
                    <a:pt x="11705" y="6477"/>
                  </a:cubicBezTo>
                  <a:lnTo>
                    <a:pt x="11371" y="6477"/>
                  </a:lnTo>
                  <a:lnTo>
                    <a:pt x="11371" y="1036"/>
                  </a:lnTo>
                  <a:cubicBezTo>
                    <a:pt x="11371" y="465"/>
                    <a:pt x="10919" y="0"/>
                    <a:pt x="10347" y="0"/>
                  </a:cubicBezTo>
                  <a:lnTo>
                    <a:pt x="9609" y="0"/>
                  </a:lnTo>
                  <a:cubicBezTo>
                    <a:pt x="9514" y="0"/>
                    <a:pt x="9431" y="84"/>
                    <a:pt x="9431" y="179"/>
                  </a:cubicBezTo>
                  <a:cubicBezTo>
                    <a:pt x="9431" y="274"/>
                    <a:pt x="9502" y="357"/>
                    <a:pt x="9609" y="357"/>
                  </a:cubicBezTo>
                  <a:lnTo>
                    <a:pt x="10347" y="357"/>
                  </a:lnTo>
                  <a:cubicBezTo>
                    <a:pt x="10716" y="357"/>
                    <a:pt x="11038" y="679"/>
                    <a:pt x="11038" y="1048"/>
                  </a:cubicBezTo>
                  <a:lnTo>
                    <a:pt x="11038" y="6489"/>
                  </a:lnTo>
                  <a:lnTo>
                    <a:pt x="10645" y="6489"/>
                  </a:lnTo>
                  <a:lnTo>
                    <a:pt x="10645" y="1048"/>
                  </a:lnTo>
                  <a:cubicBezTo>
                    <a:pt x="10645" y="881"/>
                    <a:pt x="10514" y="750"/>
                    <a:pt x="10347" y="750"/>
                  </a:cubicBezTo>
                  <a:lnTo>
                    <a:pt x="1572" y="750"/>
                  </a:lnTo>
                  <a:cubicBezTo>
                    <a:pt x="1406" y="750"/>
                    <a:pt x="1275" y="881"/>
                    <a:pt x="1275" y="1048"/>
                  </a:cubicBezTo>
                  <a:lnTo>
                    <a:pt x="1275" y="3298"/>
                  </a:lnTo>
                  <a:cubicBezTo>
                    <a:pt x="1275" y="3382"/>
                    <a:pt x="1346" y="3477"/>
                    <a:pt x="1453" y="3477"/>
                  </a:cubicBezTo>
                  <a:cubicBezTo>
                    <a:pt x="1537" y="3477"/>
                    <a:pt x="1632" y="3393"/>
                    <a:pt x="1632" y="3298"/>
                  </a:cubicBezTo>
                  <a:lnTo>
                    <a:pt x="1632" y="1096"/>
                  </a:lnTo>
                  <a:lnTo>
                    <a:pt x="10300" y="1096"/>
                  </a:lnTo>
                  <a:lnTo>
                    <a:pt x="10300" y="6489"/>
                  </a:lnTo>
                  <a:lnTo>
                    <a:pt x="7323" y="6489"/>
                  </a:lnTo>
                  <a:cubicBezTo>
                    <a:pt x="7299" y="6489"/>
                    <a:pt x="7252" y="6513"/>
                    <a:pt x="7228" y="6525"/>
                  </a:cubicBezTo>
                  <a:lnTo>
                    <a:pt x="7026" y="6656"/>
                  </a:lnTo>
                  <a:lnTo>
                    <a:pt x="4882" y="6656"/>
                  </a:lnTo>
                  <a:lnTo>
                    <a:pt x="4692" y="6525"/>
                  </a:lnTo>
                  <a:cubicBezTo>
                    <a:pt x="4668" y="6513"/>
                    <a:pt x="4632" y="6489"/>
                    <a:pt x="4585" y="6489"/>
                  </a:cubicBezTo>
                  <a:lnTo>
                    <a:pt x="1596" y="6489"/>
                  </a:lnTo>
                  <a:lnTo>
                    <a:pt x="1596" y="4155"/>
                  </a:lnTo>
                  <a:cubicBezTo>
                    <a:pt x="1596" y="4072"/>
                    <a:pt x="1525" y="3977"/>
                    <a:pt x="1418" y="3977"/>
                  </a:cubicBezTo>
                  <a:cubicBezTo>
                    <a:pt x="1311" y="3977"/>
                    <a:pt x="1239" y="4048"/>
                    <a:pt x="1239" y="4155"/>
                  </a:cubicBezTo>
                  <a:lnTo>
                    <a:pt x="1239" y="6489"/>
                  </a:lnTo>
                  <a:lnTo>
                    <a:pt x="858" y="6489"/>
                  </a:lnTo>
                  <a:lnTo>
                    <a:pt x="858" y="1048"/>
                  </a:lnTo>
                  <a:cubicBezTo>
                    <a:pt x="858" y="679"/>
                    <a:pt x="1168" y="357"/>
                    <a:pt x="1537" y="357"/>
                  </a:cubicBezTo>
                  <a:lnTo>
                    <a:pt x="8871" y="357"/>
                  </a:lnTo>
                  <a:cubicBezTo>
                    <a:pt x="8966" y="357"/>
                    <a:pt x="9050" y="286"/>
                    <a:pt x="9050" y="179"/>
                  </a:cubicBezTo>
                  <a:cubicBezTo>
                    <a:pt x="9050" y="95"/>
                    <a:pt x="8978" y="0"/>
                    <a:pt x="88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09" name="Google Shape;13509;p64"/>
          <p:cNvGrpSpPr/>
          <p:nvPr/>
        </p:nvGrpSpPr>
        <p:grpSpPr>
          <a:xfrm>
            <a:off x="5184517" y="2459481"/>
            <a:ext cx="252062" cy="305122"/>
            <a:chOff x="5184517" y="2459481"/>
            <a:chExt cx="252062" cy="305122"/>
          </a:xfrm>
        </p:grpSpPr>
        <p:sp>
          <p:nvSpPr>
            <p:cNvPr id="13510" name="Google Shape;13510;p64"/>
            <p:cNvSpPr/>
            <p:nvPr/>
          </p:nvSpPr>
          <p:spPr>
            <a:xfrm>
              <a:off x="5383486" y="2674747"/>
              <a:ext cx="13273" cy="13305"/>
            </a:xfrm>
            <a:custGeom>
              <a:avLst/>
              <a:gdLst/>
              <a:ahLst/>
              <a:cxnLst/>
              <a:rect l="l" t="t" r="r" b="b"/>
              <a:pathLst>
                <a:path w="417" h="418" extrusionOk="0">
                  <a:moveTo>
                    <a:pt x="203" y="0"/>
                  </a:moveTo>
                  <a:cubicBezTo>
                    <a:pt x="107" y="0"/>
                    <a:pt x="0" y="84"/>
                    <a:pt x="0" y="203"/>
                  </a:cubicBezTo>
                  <a:cubicBezTo>
                    <a:pt x="0" y="322"/>
                    <a:pt x="84" y="417"/>
                    <a:pt x="203" y="417"/>
                  </a:cubicBezTo>
                  <a:cubicBezTo>
                    <a:pt x="322" y="417"/>
                    <a:pt x="417" y="322"/>
                    <a:pt x="417" y="203"/>
                  </a:cubicBezTo>
                  <a:cubicBezTo>
                    <a:pt x="417" y="84"/>
                    <a:pt x="322" y="0"/>
                    <a:pt x="2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1" name="Google Shape;13511;p64"/>
            <p:cNvSpPr/>
            <p:nvPr/>
          </p:nvSpPr>
          <p:spPr>
            <a:xfrm>
              <a:off x="5350128" y="2724402"/>
              <a:ext cx="11395" cy="11395"/>
            </a:xfrm>
            <a:custGeom>
              <a:avLst/>
              <a:gdLst/>
              <a:ahLst/>
              <a:cxnLst/>
              <a:rect l="l" t="t" r="r" b="b"/>
              <a:pathLst>
                <a:path w="358" h="358" extrusionOk="0">
                  <a:moveTo>
                    <a:pt x="179" y="0"/>
                  </a:moveTo>
                  <a:cubicBezTo>
                    <a:pt x="96" y="0"/>
                    <a:pt x="0" y="84"/>
                    <a:pt x="0" y="179"/>
                  </a:cubicBezTo>
                  <a:cubicBezTo>
                    <a:pt x="0" y="262"/>
                    <a:pt x="96" y="357"/>
                    <a:pt x="179" y="357"/>
                  </a:cubicBezTo>
                  <a:cubicBezTo>
                    <a:pt x="274" y="357"/>
                    <a:pt x="358" y="286"/>
                    <a:pt x="358" y="179"/>
                  </a:cubicBezTo>
                  <a:cubicBezTo>
                    <a:pt x="358"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2" name="Google Shape;13512;p64"/>
            <p:cNvSpPr/>
            <p:nvPr/>
          </p:nvSpPr>
          <p:spPr>
            <a:xfrm>
              <a:off x="5254638" y="2666376"/>
              <a:ext cx="11395" cy="11427"/>
            </a:xfrm>
            <a:custGeom>
              <a:avLst/>
              <a:gdLst/>
              <a:ahLst/>
              <a:cxnLst/>
              <a:rect l="l" t="t" r="r" b="b"/>
              <a:pathLst>
                <a:path w="358" h="359" extrusionOk="0">
                  <a:moveTo>
                    <a:pt x="193" y="1"/>
                  </a:moveTo>
                  <a:cubicBezTo>
                    <a:pt x="188" y="1"/>
                    <a:pt x="183" y="1"/>
                    <a:pt x="179" y="2"/>
                  </a:cubicBezTo>
                  <a:cubicBezTo>
                    <a:pt x="83" y="2"/>
                    <a:pt x="0" y="97"/>
                    <a:pt x="0" y="180"/>
                  </a:cubicBezTo>
                  <a:cubicBezTo>
                    <a:pt x="0" y="275"/>
                    <a:pt x="71" y="359"/>
                    <a:pt x="179" y="359"/>
                  </a:cubicBezTo>
                  <a:cubicBezTo>
                    <a:pt x="262" y="359"/>
                    <a:pt x="357" y="287"/>
                    <a:pt x="357" y="180"/>
                  </a:cubicBezTo>
                  <a:cubicBezTo>
                    <a:pt x="357" y="90"/>
                    <a:pt x="273"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3" name="Google Shape;13513;p64"/>
            <p:cNvSpPr/>
            <p:nvPr/>
          </p:nvSpPr>
          <p:spPr>
            <a:xfrm>
              <a:off x="5273959" y="2724402"/>
              <a:ext cx="11395" cy="11395"/>
            </a:xfrm>
            <a:custGeom>
              <a:avLst/>
              <a:gdLst/>
              <a:ahLst/>
              <a:cxnLst/>
              <a:rect l="l" t="t" r="r" b="b"/>
              <a:pathLst>
                <a:path w="358" h="358" extrusionOk="0">
                  <a:moveTo>
                    <a:pt x="179" y="0"/>
                  </a:moveTo>
                  <a:cubicBezTo>
                    <a:pt x="84" y="0"/>
                    <a:pt x="0" y="84"/>
                    <a:pt x="0" y="179"/>
                  </a:cubicBezTo>
                  <a:cubicBezTo>
                    <a:pt x="0" y="262"/>
                    <a:pt x="84" y="357"/>
                    <a:pt x="179" y="357"/>
                  </a:cubicBezTo>
                  <a:cubicBezTo>
                    <a:pt x="274" y="357"/>
                    <a:pt x="357" y="286"/>
                    <a:pt x="357" y="179"/>
                  </a:cubicBezTo>
                  <a:cubicBezTo>
                    <a:pt x="357" y="84"/>
                    <a:pt x="274"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4" name="Google Shape;13514;p64"/>
            <p:cNvSpPr/>
            <p:nvPr/>
          </p:nvSpPr>
          <p:spPr>
            <a:xfrm>
              <a:off x="5308049" y="2678917"/>
              <a:ext cx="14451" cy="14037"/>
            </a:xfrm>
            <a:custGeom>
              <a:avLst/>
              <a:gdLst/>
              <a:ahLst/>
              <a:cxnLst/>
              <a:rect l="l" t="t" r="r" b="b"/>
              <a:pathLst>
                <a:path w="454" h="441" extrusionOk="0">
                  <a:moveTo>
                    <a:pt x="227" y="0"/>
                  </a:moveTo>
                  <a:cubicBezTo>
                    <a:pt x="108" y="0"/>
                    <a:pt x="1" y="108"/>
                    <a:pt x="1" y="227"/>
                  </a:cubicBezTo>
                  <a:cubicBezTo>
                    <a:pt x="1" y="346"/>
                    <a:pt x="108" y="441"/>
                    <a:pt x="227" y="441"/>
                  </a:cubicBezTo>
                  <a:cubicBezTo>
                    <a:pt x="346" y="441"/>
                    <a:pt x="453" y="346"/>
                    <a:pt x="453" y="227"/>
                  </a:cubicBezTo>
                  <a:cubicBezTo>
                    <a:pt x="453" y="84"/>
                    <a:pt x="358" y="0"/>
                    <a:pt x="2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5" name="Google Shape;13515;p64"/>
            <p:cNvSpPr/>
            <p:nvPr/>
          </p:nvSpPr>
          <p:spPr>
            <a:xfrm>
              <a:off x="5184517" y="2459481"/>
              <a:ext cx="252062" cy="305122"/>
            </a:xfrm>
            <a:custGeom>
              <a:avLst/>
              <a:gdLst/>
              <a:ahLst/>
              <a:cxnLst/>
              <a:rect l="l" t="t" r="r" b="b"/>
              <a:pathLst>
                <a:path w="7919" h="9586" extrusionOk="0">
                  <a:moveTo>
                    <a:pt x="2597" y="5657"/>
                  </a:moveTo>
                  <a:cubicBezTo>
                    <a:pt x="3126" y="5657"/>
                    <a:pt x="3630" y="5793"/>
                    <a:pt x="4096" y="6061"/>
                  </a:cubicBezTo>
                  <a:cubicBezTo>
                    <a:pt x="4607" y="6347"/>
                    <a:pt x="5099" y="6442"/>
                    <a:pt x="5531" y="6442"/>
                  </a:cubicBezTo>
                  <a:cubicBezTo>
                    <a:pt x="5853" y="6442"/>
                    <a:pt x="6143" y="6389"/>
                    <a:pt x="6382" y="6323"/>
                  </a:cubicBezTo>
                  <a:cubicBezTo>
                    <a:pt x="6751" y="6228"/>
                    <a:pt x="7037" y="6061"/>
                    <a:pt x="7204" y="5954"/>
                  </a:cubicBezTo>
                  <a:lnTo>
                    <a:pt x="7204" y="5954"/>
                  </a:lnTo>
                  <a:cubicBezTo>
                    <a:pt x="7525" y="7037"/>
                    <a:pt x="7263" y="8204"/>
                    <a:pt x="6442" y="9038"/>
                  </a:cubicBezTo>
                  <a:cubicBezTo>
                    <a:pt x="6275" y="9204"/>
                    <a:pt x="6037" y="9299"/>
                    <a:pt x="5799" y="9299"/>
                  </a:cubicBezTo>
                  <a:lnTo>
                    <a:pt x="2560" y="9299"/>
                  </a:lnTo>
                  <a:cubicBezTo>
                    <a:pt x="2322" y="9299"/>
                    <a:pt x="2084" y="9204"/>
                    <a:pt x="1917" y="9038"/>
                  </a:cubicBezTo>
                  <a:cubicBezTo>
                    <a:pt x="1179" y="8276"/>
                    <a:pt x="834" y="7180"/>
                    <a:pt x="1120" y="6025"/>
                  </a:cubicBezTo>
                  <a:cubicBezTo>
                    <a:pt x="1239" y="5966"/>
                    <a:pt x="1560" y="5811"/>
                    <a:pt x="1989" y="5716"/>
                  </a:cubicBezTo>
                  <a:cubicBezTo>
                    <a:pt x="2195" y="5677"/>
                    <a:pt x="2398" y="5657"/>
                    <a:pt x="2597" y="5657"/>
                  </a:cubicBezTo>
                  <a:close/>
                  <a:moveTo>
                    <a:pt x="2834" y="1"/>
                  </a:moveTo>
                  <a:cubicBezTo>
                    <a:pt x="2632" y="1"/>
                    <a:pt x="2465" y="167"/>
                    <a:pt x="2465" y="370"/>
                  </a:cubicBezTo>
                  <a:lnTo>
                    <a:pt x="2465" y="703"/>
                  </a:lnTo>
                  <a:cubicBezTo>
                    <a:pt x="2465" y="906"/>
                    <a:pt x="2632" y="1072"/>
                    <a:pt x="2834" y="1072"/>
                  </a:cubicBezTo>
                  <a:lnTo>
                    <a:pt x="3036" y="1072"/>
                  </a:lnTo>
                  <a:lnTo>
                    <a:pt x="3036" y="2239"/>
                  </a:lnTo>
                  <a:cubicBezTo>
                    <a:pt x="3036" y="2311"/>
                    <a:pt x="3096" y="2370"/>
                    <a:pt x="3167" y="2370"/>
                  </a:cubicBezTo>
                  <a:cubicBezTo>
                    <a:pt x="3239" y="2370"/>
                    <a:pt x="3298" y="2311"/>
                    <a:pt x="3298" y="2239"/>
                  </a:cubicBezTo>
                  <a:lnTo>
                    <a:pt x="3298" y="1072"/>
                  </a:lnTo>
                  <a:lnTo>
                    <a:pt x="4977" y="1072"/>
                  </a:lnTo>
                  <a:lnTo>
                    <a:pt x="4977" y="3406"/>
                  </a:lnTo>
                  <a:cubicBezTo>
                    <a:pt x="4977" y="3620"/>
                    <a:pt x="5096" y="3799"/>
                    <a:pt x="5311" y="3882"/>
                  </a:cubicBezTo>
                  <a:cubicBezTo>
                    <a:pt x="6144" y="4216"/>
                    <a:pt x="6763" y="4882"/>
                    <a:pt x="7097" y="5692"/>
                  </a:cubicBezTo>
                  <a:cubicBezTo>
                    <a:pt x="6966" y="5775"/>
                    <a:pt x="6668" y="5954"/>
                    <a:pt x="6275" y="6061"/>
                  </a:cubicBezTo>
                  <a:cubicBezTo>
                    <a:pt x="6015" y="6135"/>
                    <a:pt x="5758" y="6172"/>
                    <a:pt x="5506" y="6172"/>
                  </a:cubicBezTo>
                  <a:cubicBezTo>
                    <a:pt x="5064" y="6172"/>
                    <a:pt x="4636" y="6058"/>
                    <a:pt x="4227" y="5823"/>
                  </a:cubicBezTo>
                  <a:cubicBezTo>
                    <a:pt x="3710" y="5528"/>
                    <a:pt x="3145" y="5385"/>
                    <a:pt x="2580" y="5385"/>
                  </a:cubicBezTo>
                  <a:cubicBezTo>
                    <a:pt x="2117" y="5385"/>
                    <a:pt x="1654" y="5481"/>
                    <a:pt x="1215" y="5668"/>
                  </a:cubicBezTo>
                  <a:cubicBezTo>
                    <a:pt x="1524" y="4870"/>
                    <a:pt x="2155" y="4216"/>
                    <a:pt x="2989" y="3882"/>
                  </a:cubicBezTo>
                  <a:cubicBezTo>
                    <a:pt x="3179" y="3811"/>
                    <a:pt x="3322" y="3620"/>
                    <a:pt x="3322" y="3406"/>
                  </a:cubicBezTo>
                  <a:lnTo>
                    <a:pt x="3322" y="2930"/>
                  </a:lnTo>
                  <a:cubicBezTo>
                    <a:pt x="3322" y="2858"/>
                    <a:pt x="3263" y="2799"/>
                    <a:pt x="3179" y="2799"/>
                  </a:cubicBezTo>
                  <a:cubicBezTo>
                    <a:pt x="3108" y="2799"/>
                    <a:pt x="3048" y="2858"/>
                    <a:pt x="3048" y="2930"/>
                  </a:cubicBezTo>
                  <a:lnTo>
                    <a:pt x="3048" y="3406"/>
                  </a:lnTo>
                  <a:cubicBezTo>
                    <a:pt x="3048" y="3501"/>
                    <a:pt x="2989" y="3585"/>
                    <a:pt x="2894" y="3620"/>
                  </a:cubicBezTo>
                  <a:cubicBezTo>
                    <a:pt x="608" y="4525"/>
                    <a:pt x="0" y="7490"/>
                    <a:pt x="1703" y="9228"/>
                  </a:cubicBezTo>
                  <a:cubicBezTo>
                    <a:pt x="1929" y="9454"/>
                    <a:pt x="2227" y="9585"/>
                    <a:pt x="2560" y="9585"/>
                  </a:cubicBezTo>
                  <a:lnTo>
                    <a:pt x="5799" y="9585"/>
                  </a:lnTo>
                  <a:cubicBezTo>
                    <a:pt x="6108" y="9585"/>
                    <a:pt x="6430" y="9454"/>
                    <a:pt x="6656" y="9228"/>
                  </a:cubicBezTo>
                  <a:cubicBezTo>
                    <a:pt x="7870" y="7990"/>
                    <a:pt x="7918" y="6132"/>
                    <a:pt x="6989" y="4835"/>
                  </a:cubicBezTo>
                  <a:cubicBezTo>
                    <a:pt x="6608" y="4287"/>
                    <a:pt x="6073" y="3870"/>
                    <a:pt x="5442" y="3620"/>
                  </a:cubicBezTo>
                  <a:cubicBezTo>
                    <a:pt x="5358" y="3585"/>
                    <a:pt x="5299" y="3501"/>
                    <a:pt x="5299" y="3406"/>
                  </a:cubicBezTo>
                  <a:lnTo>
                    <a:pt x="5299" y="1072"/>
                  </a:lnTo>
                  <a:lnTo>
                    <a:pt x="5489" y="1072"/>
                  </a:lnTo>
                  <a:cubicBezTo>
                    <a:pt x="5692" y="1072"/>
                    <a:pt x="5858" y="906"/>
                    <a:pt x="5858" y="703"/>
                  </a:cubicBezTo>
                  <a:lnTo>
                    <a:pt x="5858" y="370"/>
                  </a:lnTo>
                  <a:cubicBezTo>
                    <a:pt x="5858" y="167"/>
                    <a:pt x="5692" y="1"/>
                    <a:pt x="5489" y="1"/>
                  </a:cubicBezTo>
                  <a:lnTo>
                    <a:pt x="4739" y="1"/>
                  </a:lnTo>
                  <a:cubicBezTo>
                    <a:pt x="4668" y="1"/>
                    <a:pt x="4608" y="60"/>
                    <a:pt x="4608" y="132"/>
                  </a:cubicBezTo>
                  <a:cubicBezTo>
                    <a:pt x="4608" y="215"/>
                    <a:pt x="4668" y="275"/>
                    <a:pt x="4739" y="275"/>
                  </a:cubicBezTo>
                  <a:lnTo>
                    <a:pt x="5489" y="275"/>
                  </a:lnTo>
                  <a:cubicBezTo>
                    <a:pt x="5537" y="275"/>
                    <a:pt x="5573" y="310"/>
                    <a:pt x="5573" y="358"/>
                  </a:cubicBezTo>
                  <a:lnTo>
                    <a:pt x="5573" y="691"/>
                  </a:lnTo>
                  <a:cubicBezTo>
                    <a:pt x="5573" y="727"/>
                    <a:pt x="5537" y="775"/>
                    <a:pt x="5489" y="775"/>
                  </a:cubicBezTo>
                  <a:lnTo>
                    <a:pt x="2834" y="775"/>
                  </a:lnTo>
                  <a:cubicBezTo>
                    <a:pt x="2798" y="775"/>
                    <a:pt x="2751" y="727"/>
                    <a:pt x="2751" y="691"/>
                  </a:cubicBezTo>
                  <a:lnTo>
                    <a:pt x="2751" y="358"/>
                  </a:lnTo>
                  <a:cubicBezTo>
                    <a:pt x="2751" y="310"/>
                    <a:pt x="2798" y="275"/>
                    <a:pt x="2834" y="275"/>
                  </a:cubicBezTo>
                  <a:lnTo>
                    <a:pt x="4060" y="275"/>
                  </a:lnTo>
                  <a:cubicBezTo>
                    <a:pt x="4132" y="275"/>
                    <a:pt x="4191" y="215"/>
                    <a:pt x="4191" y="132"/>
                  </a:cubicBezTo>
                  <a:cubicBezTo>
                    <a:pt x="4191" y="60"/>
                    <a:pt x="4132" y="1"/>
                    <a:pt x="406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6" name="Google Shape;13516;p64"/>
          <p:cNvSpPr/>
          <p:nvPr/>
        </p:nvSpPr>
        <p:spPr>
          <a:xfrm>
            <a:off x="1801020" y="1970604"/>
            <a:ext cx="354363" cy="354395"/>
          </a:xfrm>
          <a:custGeom>
            <a:avLst/>
            <a:gdLst/>
            <a:ahLst/>
            <a:cxnLst/>
            <a:rect l="l" t="t" r="r" b="b"/>
            <a:pathLst>
              <a:path w="11133" h="11134" extrusionOk="0">
                <a:moveTo>
                  <a:pt x="2876" y="2961"/>
                </a:moveTo>
                <a:cubicBezTo>
                  <a:pt x="2929" y="2961"/>
                  <a:pt x="2983" y="2967"/>
                  <a:pt x="3036" y="2977"/>
                </a:cubicBezTo>
                <a:cubicBezTo>
                  <a:pt x="3358" y="3037"/>
                  <a:pt x="3584" y="3287"/>
                  <a:pt x="3656" y="3596"/>
                </a:cubicBezTo>
                <a:cubicBezTo>
                  <a:pt x="3703" y="3882"/>
                  <a:pt x="3608" y="4180"/>
                  <a:pt x="3382" y="4358"/>
                </a:cubicBezTo>
                <a:cubicBezTo>
                  <a:pt x="3239" y="4489"/>
                  <a:pt x="3144" y="4680"/>
                  <a:pt x="3144" y="4882"/>
                </a:cubicBezTo>
                <a:lnTo>
                  <a:pt x="3144" y="5239"/>
                </a:lnTo>
                <a:cubicBezTo>
                  <a:pt x="3144" y="5525"/>
                  <a:pt x="3370" y="5740"/>
                  <a:pt x="3644" y="5740"/>
                </a:cubicBezTo>
                <a:lnTo>
                  <a:pt x="5406" y="5740"/>
                </a:lnTo>
                <a:lnTo>
                  <a:pt x="5406" y="7502"/>
                </a:lnTo>
                <a:cubicBezTo>
                  <a:pt x="5406" y="7609"/>
                  <a:pt x="5311" y="7680"/>
                  <a:pt x="5227" y="7680"/>
                </a:cubicBezTo>
                <a:lnTo>
                  <a:pt x="4870" y="7680"/>
                </a:lnTo>
                <a:cubicBezTo>
                  <a:pt x="4763" y="7680"/>
                  <a:pt x="4668" y="7633"/>
                  <a:pt x="4596" y="7561"/>
                </a:cubicBezTo>
                <a:cubicBezTo>
                  <a:pt x="4386" y="7313"/>
                  <a:pt x="4084" y="7164"/>
                  <a:pt x="3770" y="7164"/>
                </a:cubicBezTo>
                <a:cubicBezTo>
                  <a:pt x="3693" y="7164"/>
                  <a:pt x="3614" y="7173"/>
                  <a:pt x="3537" y="7192"/>
                </a:cubicBezTo>
                <a:cubicBezTo>
                  <a:pt x="3096" y="7264"/>
                  <a:pt x="2739" y="7621"/>
                  <a:pt x="2655" y="8049"/>
                </a:cubicBezTo>
                <a:cubicBezTo>
                  <a:pt x="2584" y="8395"/>
                  <a:pt x="2667" y="8740"/>
                  <a:pt x="2882" y="9002"/>
                </a:cubicBezTo>
                <a:cubicBezTo>
                  <a:pt x="3084" y="9276"/>
                  <a:pt x="3417" y="9419"/>
                  <a:pt x="3739" y="9419"/>
                </a:cubicBezTo>
                <a:cubicBezTo>
                  <a:pt x="4084" y="9419"/>
                  <a:pt x="4394" y="9276"/>
                  <a:pt x="4608" y="9014"/>
                </a:cubicBezTo>
                <a:cubicBezTo>
                  <a:pt x="4668" y="8942"/>
                  <a:pt x="4763" y="8895"/>
                  <a:pt x="4870" y="8895"/>
                </a:cubicBezTo>
                <a:lnTo>
                  <a:pt x="5215" y="8895"/>
                </a:lnTo>
                <a:cubicBezTo>
                  <a:pt x="5322" y="8895"/>
                  <a:pt x="5394" y="8990"/>
                  <a:pt x="5394" y="9073"/>
                </a:cubicBezTo>
                <a:lnTo>
                  <a:pt x="5394" y="10812"/>
                </a:lnTo>
                <a:lnTo>
                  <a:pt x="870" y="10812"/>
                </a:lnTo>
                <a:cubicBezTo>
                  <a:pt x="572" y="10812"/>
                  <a:pt x="334" y="10573"/>
                  <a:pt x="334" y="10276"/>
                </a:cubicBezTo>
                <a:lnTo>
                  <a:pt x="334" y="5728"/>
                </a:lnTo>
                <a:lnTo>
                  <a:pt x="2084" y="5728"/>
                </a:lnTo>
                <a:cubicBezTo>
                  <a:pt x="2370" y="5728"/>
                  <a:pt x="2596" y="5513"/>
                  <a:pt x="2596" y="5228"/>
                </a:cubicBezTo>
                <a:lnTo>
                  <a:pt x="2596" y="4882"/>
                </a:lnTo>
                <a:cubicBezTo>
                  <a:pt x="2596" y="4680"/>
                  <a:pt x="2501" y="4477"/>
                  <a:pt x="2358" y="4358"/>
                </a:cubicBezTo>
                <a:cubicBezTo>
                  <a:pt x="2179" y="4216"/>
                  <a:pt x="2072" y="3989"/>
                  <a:pt x="2072" y="3751"/>
                </a:cubicBezTo>
                <a:cubicBezTo>
                  <a:pt x="2072" y="3513"/>
                  <a:pt x="2179" y="3287"/>
                  <a:pt x="2370" y="3144"/>
                </a:cubicBezTo>
                <a:cubicBezTo>
                  <a:pt x="2517" y="3024"/>
                  <a:pt x="2694" y="2961"/>
                  <a:pt x="2876" y="2961"/>
                </a:cubicBezTo>
                <a:close/>
                <a:moveTo>
                  <a:pt x="10287" y="334"/>
                </a:moveTo>
                <a:cubicBezTo>
                  <a:pt x="10585" y="334"/>
                  <a:pt x="10823" y="572"/>
                  <a:pt x="10823" y="870"/>
                </a:cubicBezTo>
                <a:lnTo>
                  <a:pt x="10823" y="5406"/>
                </a:lnTo>
                <a:lnTo>
                  <a:pt x="10633" y="5406"/>
                </a:lnTo>
                <a:cubicBezTo>
                  <a:pt x="10537" y="5406"/>
                  <a:pt x="10466" y="5478"/>
                  <a:pt x="10466" y="5573"/>
                </a:cubicBezTo>
                <a:cubicBezTo>
                  <a:pt x="10466" y="5656"/>
                  <a:pt x="10537" y="5728"/>
                  <a:pt x="10633" y="5728"/>
                </a:cubicBezTo>
                <a:lnTo>
                  <a:pt x="10811" y="5728"/>
                </a:lnTo>
                <a:lnTo>
                  <a:pt x="10811" y="10276"/>
                </a:lnTo>
                <a:cubicBezTo>
                  <a:pt x="10811" y="10573"/>
                  <a:pt x="10573" y="10812"/>
                  <a:pt x="10275" y="10812"/>
                </a:cubicBezTo>
                <a:lnTo>
                  <a:pt x="5739" y="10812"/>
                </a:lnTo>
                <a:lnTo>
                  <a:pt x="5739" y="9049"/>
                </a:lnTo>
                <a:cubicBezTo>
                  <a:pt x="5739" y="8764"/>
                  <a:pt x="5513" y="8549"/>
                  <a:pt x="5227" y="8549"/>
                </a:cubicBezTo>
                <a:lnTo>
                  <a:pt x="4882" y="8549"/>
                </a:lnTo>
                <a:cubicBezTo>
                  <a:pt x="4680" y="8549"/>
                  <a:pt x="4489" y="8633"/>
                  <a:pt x="4370" y="8788"/>
                </a:cubicBezTo>
                <a:cubicBezTo>
                  <a:pt x="4215" y="8966"/>
                  <a:pt x="3989" y="9061"/>
                  <a:pt x="3751" y="9061"/>
                </a:cubicBezTo>
                <a:cubicBezTo>
                  <a:pt x="3513" y="9061"/>
                  <a:pt x="3287" y="8966"/>
                  <a:pt x="3144" y="8764"/>
                </a:cubicBezTo>
                <a:cubicBezTo>
                  <a:pt x="2989" y="8573"/>
                  <a:pt x="2941" y="8335"/>
                  <a:pt x="2977" y="8097"/>
                </a:cubicBezTo>
                <a:cubicBezTo>
                  <a:pt x="3036" y="7787"/>
                  <a:pt x="3287" y="7549"/>
                  <a:pt x="3608" y="7490"/>
                </a:cubicBezTo>
                <a:cubicBezTo>
                  <a:pt x="3659" y="7479"/>
                  <a:pt x="3710" y="7473"/>
                  <a:pt x="3761" y="7473"/>
                </a:cubicBezTo>
                <a:cubicBezTo>
                  <a:pt x="3988" y="7473"/>
                  <a:pt x="4212" y="7577"/>
                  <a:pt x="4358" y="7752"/>
                </a:cubicBezTo>
                <a:cubicBezTo>
                  <a:pt x="4501" y="7906"/>
                  <a:pt x="4680" y="7990"/>
                  <a:pt x="4882" y="7990"/>
                </a:cubicBezTo>
                <a:lnTo>
                  <a:pt x="5239" y="7990"/>
                </a:lnTo>
                <a:cubicBezTo>
                  <a:pt x="5525" y="7990"/>
                  <a:pt x="5751" y="7775"/>
                  <a:pt x="5751" y="7490"/>
                </a:cubicBezTo>
                <a:lnTo>
                  <a:pt x="5751" y="5728"/>
                </a:lnTo>
                <a:lnTo>
                  <a:pt x="7501" y="5728"/>
                </a:lnTo>
                <a:cubicBezTo>
                  <a:pt x="7608" y="5728"/>
                  <a:pt x="7680" y="5823"/>
                  <a:pt x="7680" y="5906"/>
                </a:cubicBezTo>
                <a:lnTo>
                  <a:pt x="7680" y="6263"/>
                </a:lnTo>
                <a:cubicBezTo>
                  <a:pt x="7680" y="6371"/>
                  <a:pt x="7632" y="6478"/>
                  <a:pt x="7561" y="6537"/>
                </a:cubicBezTo>
                <a:cubicBezTo>
                  <a:pt x="7251" y="6799"/>
                  <a:pt x="7097" y="7204"/>
                  <a:pt x="7192" y="7609"/>
                </a:cubicBezTo>
                <a:cubicBezTo>
                  <a:pt x="7263" y="8037"/>
                  <a:pt x="7620" y="8395"/>
                  <a:pt x="8049" y="8490"/>
                </a:cubicBezTo>
                <a:cubicBezTo>
                  <a:pt x="8132" y="8502"/>
                  <a:pt x="8216" y="8514"/>
                  <a:pt x="8287" y="8514"/>
                </a:cubicBezTo>
                <a:cubicBezTo>
                  <a:pt x="8549" y="8514"/>
                  <a:pt x="8799" y="8418"/>
                  <a:pt x="9002" y="8264"/>
                </a:cubicBezTo>
                <a:cubicBezTo>
                  <a:pt x="9275" y="8049"/>
                  <a:pt x="9418" y="7728"/>
                  <a:pt x="9418" y="7394"/>
                </a:cubicBezTo>
                <a:cubicBezTo>
                  <a:pt x="9418" y="7061"/>
                  <a:pt x="9275" y="6740"/>
                  <a:pt x="9025" y="6537"/>
                </a:cubicBezTo>
                <a:cubicBezTo>
                  <a:pt x="8942" y="6478"/>
                  <a:pt x="8906" y="6371"/>
                  <a:pt x="8906" y="6263"/>
                </a:cubicBezTo>
                <a:lnTo>
                  <a:pt x="8906" y="5930"/>
                </a:lnTo>
                <a:cubicBezTo>
                  <a:pt x="8906" y="5823"/>
                  <a:pt x="8990" y="5751"/>
                  <a:pt x="9085" y="5751"/>
                </a:cubicBezTo>
                <a:lnTo>
                  <a:pt x="9954" y="5751"/>
                </a:lnTo>
                <a:cubicBezTo>
                  <a:pt x="10049" y="5751"/>
                  <a:pt x="10121" y="5668"/>
                  <a:pt x="10121" y="5585"/>
                </a:cubicBezTo>
                <a:cubicBezTo>
                  <a:pt x="10121" y="5489"/>
                  <a:pt x="10049" y="5418"/>
                  <a:pt x="9954" y="5418"/>
                </a:cubicBezTo>
                <a:lnTo>
                  <a:pt x="9085" y="5418"/>
                </a:lnTo>
                <a:cubicBezTo>
                  <a:pt x="8799" y="5418"/>
                  <a:pt x="8573" y="5644"/>
                  <a:pt x="8573" y="5918"/>
                </a:cubicBezTo>
                <a:lnTo>
                  <a:pt x="8573" y="6263"/>
                </a:lnTo>
                <a:cubicBezTo>
                  <a:pt x="8573" y="6478"/>
                  <a:pt x="8668" y="6668"/>
                  <a:pt x="8811" y="6787"/>
                </a:cubicBezTo>
                <a:cubicBezTo>
                  <a:pt x="8990" y="6930"/>
                  <a:pt x="9097" y="7156"/>
                  <a:pt x="9097" y="7394"/>
                </a:cubicBezTo>
                <a:cubicBezTo>
                  <a:pt x="9097" y="7633"/>
                  <a:pt x="8990" y="7859"/>
                  <a:pt x="8799" y="8014"/>
                </a:cubicBezTo>
                <a:cubicBezTo>
                  <a:pt x="8652" y="8124"/>
                  <a:pt x="8477" y="8185"/>
                  <a:pt x="8295" y="8185"/>
                </a:cubicBezTo>
                <a:cubicBezTo>
                  <a:pt x="8241" y="8185"/>
                  <a:pt x="8187" y="8179"/>
                  <a:pt x="8132" y="8168"/>
                </a:cubicBezTo>
                <a:cubicBezTo>
                  <a:pt x="7811" y="8109"/>
                  <a:pt x="7573" y="7859"/>
                  <a:pt x="7513" y="7549"/>
                </a:cubicBezTo>
                <a:cubicBezTo>
                  <a:pt x="7454" y="7264"/>
                  <a:pt x="7561" y="6966"/>
                  <a:pt x="7787" y="6787"/>
                </a:cubicBezTo>
                <a:cubicBezTo>
                  <a:pt x="7930" y="6656"/>
                  <a:pt x="8025" y="6478"/>
                  <a:pt x="8025" y="6263"/>
                </a:cubicBezTo>
                <a:lnTo>
                  <a:pt x="8025" y="5930"/>
                </a:lnTo>
                <a:cubicBezTo>
                  <a:pt x="8025" y="5644"/>
                  <a:pt x="7799" y="5418"/>
                  <a:pt x="7525" y="5418"/>
                </a:cubicBezTo>
                <a:lnTo>
                  <a:pt x="5763" y="5418"/>
                </a:lnTo>
                <a:lnTo>
                  <a:pt x="5763" y="3668"/>
                </a:lnTo>
                <a:cubicBezTo>
                  <a:pt x="5763" y="3561"/>
                  <a:pt x="5858" y="3489"/>
                  <a:pt x="5942" y="3489"/>
                </a:cubicBezTo>
                <a:lnTo>
                  <a:pt x="6299" y="3489"/>
                </a:lnTo>
                <a:cubicBezTo>
                  <a:pt x="6406" y="3489"/>
                  <a:pt x="6501" y="3525"/>
                  <a:pt x="6561" y="3608"/>
                </a:cubicBezTo>
                <a:cubicBezTo>
                  <a:pt x="6783" y="3859"/>
                  <a:pt x="7091" y="4001"/>
                  <a:pt x="7409" y="4001"/>
                </a:cubicBezTo>
                <a:cubicBezTo>
                  <a:pt x="7483" y="4001"/>
                  <a:pt x="7558" y="3993"/>
                  <a:pt x="7632" y="3977"/>
                </a:cubicBezTo>
                <a:cubicBezTo>
                  <a:pt x="8073" y="3906"/>
                  <a:pt x="8430" y="3549"/>
                  <a:pt x="8513" y="3108"/>
                </a:cubicBezTo>
                <a:cubicBezTo>
                  <a:pt x="8585" y="2775"/>
                  <a:pt x="8501" y="2430"/>
                  <a:pt x="8287" y="2156"/>
                </a:cubicBezTo>
                <a:cubicBezTo>
                  <a:pt x="8085" y="1894"/>
                  <a:pt x="7751" y="1739"/>
                  <a:pt x="7430" y="1739"/>
                </a:cubicBezTo>
                <a:cubicBezTo>
                  <a:pt x="7085" y="1739"/>
                  <a:pt x="6775" y="1894"/>
                  <a:pt x="6561" y="2144"/>
                </a:cubicBezTo>
                <a:cubicBezTo>
                  <a:pt x="6501" y="2215"/>
                  <a:pt x="6406" y="2263"/>
                  <a:pt x="6299" y="2263"/>
                </a:cubicBezTo>
                <a:lnTo>
                  <a:pt x="5954" y="2263"/>
                </a:lnTo>
                <a:cubicBezTo>
                  <a:pt x="5846" y="2263"/>
                  <a:pt x="5775" y="2180"/>
                  <a:pt x="5775" y="2084"/>
                </a:cubicBezTo>
                <a:lnTo>
                  <a:pt x="5775" y="1203"/>
                </a:lnTo>
                <a:cubicBezTo>
                  <a:pt x="5775" y="1120"/>
                  <a:pt x="5703" y="1048"/>
                  <a:pt x="5608" y="1048"/>
                </a:cubicBezTo>
                <a:cubicBezTo>
                  <a:pt x="5525" y="1048"/>
                  <a:pt x="5453" y="1120"/>
                  <a:pt x="5453" y="1203"/>
                </a:cubicBezTo>
                <a:lnTo>
                  <a:pt x="5453" y="2084"/>
                </a:lnTo>
                <a:cubicBezTo>
                  <a:pt x="5453" y="2370"/>
                  <a:pt x="5668" y="2596"/>
                  <a:pt x="5954" y="2596"/>
                </a:cubicBezTo>
                <a:lnTo>
                  <a:pt x="6299" y="2596"/>
                </a:lnTo>
                <a:cubicBezTo>
                  <a:pt x="6501" y="2596"/>
                  <a:pt x="6704" y="2501"/>
                  <a:pt x="6823" y="2358"/>
                </a:cubicBezTo>
                <a:cubicBezTo>
                  <a:pt x="6966" y="2180"/>
                  <a:pt x="7192" y="2072"/>
                  <a:pt x="7430" y="2072"/>
                </a:cubicBezTo>
                <a:cubicBezTo>
                  <a:pt x="7668" y="2072"/>
                  <a:pt x="7894" y="2180"/>
                  <a:pt x="8037" y="2370"/>
                </a:cubicBezTo>
                <a:cubicBezTo>
                  <a:pt x="8192" y="2561"/>
                  <a:pt x="8251" y="2799"/>
                  <a:pt x="8204" y="3037"/>
                </a:cubicBezTo>
                <a:cubicBezTo>
                  <a:pt x="8144" y="3346"/>
                  <a:pt x="7894" y="3584"/>
                  <a:pt x="7573" y="3644"/>
                </a:cubicBezTo>
                <a:cubicBezTo>
                  <a:pt x="7519" y="3656"/>
                  <a:pt x="7465" y="3661"/>
                  <a:pt x="7411" y="3661"/>
                </a:cubicBezTo>
                <a:cubicBezTo>
                  <a:pt x="7187" y="3661"/>
                  <a:pt x="6966" y="3564"/>
                  <a:pt x="6823" y="3382"/>
                </a:cubicBezTo>
                <a:cubicBezTo>
                  <a:pt x="6680" y="3227"/>
                  <a:pt x="6501" y="3144"/>
                  <a:pt x="6299" y="3144"/>
                </a:cubicBezTo>
                <a:lnTo>
                  <a:pt x="5942" y="3144"/>
                </a:lnTo>
                <a:cubicBezTo>
                  <a:pt x="5656" y="3144"/>
                  <a:pt x="5430" y="3370"/>
                  <a:pt x="5430" y="3644"/>
                </a:cubicBezTo>
                <a:lnTo>
                  <a:pt x="5430" y="5406"/>
                </a:lnTo>
                <a:lnTo>
                  <a:pt x="3679" y="5406"/>
                </a:lnTo>
                <a:cubicBezTo>
                  <a:pt x="3572" y="5406"/>
                  <a:pt x="3501" y="5311"/>
                  <a:pt x="3501" y="5228"/>
                </a:cubicBezTo>
                <a:lnTo>
                  <a:pt x="3501" y="4870"/>
                </a:lnTo>
                <a:cubicBezTo>
                  <a:pt x="3501" y="4763"/>
                  <a:pt x="3548" y="4656"/>
                  <a:pt x="3620" y="4597"/>
                </a:cubicBezTo>
                <a:cubicBezTo>
                  <a:pt x="3929" y="4335"/>
                  <a:pt x="4084" y="3930"/>
                  <a:pt x="3989" y="3525"/>
                </a:cubicBezTo>
                <a:cubicBezTo>
                  <a:pt x="3918" y="3096"/>
                  <a:pt x="3560" y="2739"/>
                  <a:pt x="3132" y="2656"/>
                </a:cubicBezTo>
                <a:cubicBezTo>
                  <a:pt x="3047" y="2635"/>
                  <a:pt x="2962" y="2626"/>
                  <a:pt x="2879" y="2626"/>
                </a:cubicBezTo>
                <a:cubicBezTo>
                  <a:pt x="2622" y="2626"/>
                  <a:pt x="2377" y="2717"/>
                  <a:pt x="2179" y="2870"/>
                </a:cubicBezTo>
                <a:cubicBezTo>
                  <a:pt x="1905" y="3084"/>
                  <a:pt x="1763" y="3406"/>
                  <a:pt x="1763" y="3739"/>
                </a:cubicBezTo>
                <a:cubicBezTo>
                  <a:pt x="1763" y="4085"/>
                  <a:pt x="1905" y="4394"/>
                  <a:pt x="2155" y="4597"/>
                </a:cubicBezTo>
                <a:cubicBezTo>
                  <a:pt x="2239" y="4656"/>
                  <a:pt x="2274" y="4763"/>
                  <a:pt x="2274" y="4870"/>
                </a:cubicBezTo>
                <a:lnTo>
                  <a:pt x="2274" y="5216"/>
                </a:lnTo>
                <a:cubicBezTo>
                  <a:pt x="2274" y="5311"/>
                  <a:pt x="2191" y="5394"/>
                  <a:pt x="2096" y="5394"/>
                </a:cubicBezTo>
                <a:lnTo>
                  <a:pt x="346" y="5394"/>
                </a:lnTo>
                <a:lnTo>
                  <a:pt x="346" y="870"/>
                </a:lnTo>
                <a:cubicBezTo>
                  <a:pt x="346" y="572"/>
                  <a:pt x="584" y="334"/>
                  <a:pt x="881" y="334"/>
                </a:cubicBezTo>
                <a:lnTo>
                  <a:pt x="5418" y="334"/>
                </a:lnTo>
                <a:lnTo>
                  <a:pt x="5418" y="513"/>
                </a:lnTo>
                <a:cubicBezTo>
                  <a:pt x="5418" y="596"/>
                  <a:pt x="5489" y="667"/>
                  <a:pt x="5584" y="667"/>
                </a:cubicBezTo>
                <a:cubicBezTo>
                  <a:pt x="5680" y="667"/>
                  <a:pt x="5751" y="596"/>
                  <a:pt x="5751" y="513"/>
                </a:cubicBezTo>
                <a:lnTo>
                  <a:pt x="5751" y="334"/>
                </a:lnTo>
                <a:close/>
                <a:moveTo>
                  <a:pt x="870" y="1"/>
                </a:moveTo>
                <a:cubicBezTo>
                  <a:pt x="393" y="1"/>
                  <a:pt x="0" y="394"/>
                  <a:pt x="0" y="870"/>
                </a:cubicBezTo>
                <a:lnTo>
                  <a:pt x="0" y="10276"/>
                </a:lnTo>
                <a:cubicBezTo>
                  <a:pt x="0" y="10752"/>
                  <a:pt x="393" y="11133"/>
                  <a:pt x="870" y="11133"/>
                </a:cubicBezTo>
                <a:lnTo>
                  <a:pt x="10275" y="11133"/>
                </a:lnTo>
                <a:cubicBezTo>
                  <a:pt x="10752" y="11133"/>
                  <a:pt x="11133" y="10752"/>
                  <a:pt x="11133" y="10276"/>
                </a:cubicBezTo>
                <a:lnTo>
                  <a:pt x="11133" y="870"/>
                </a:lnTo>
                <a:cubicBezTo>
                  <a:pt x="11133" y="394"/>
                  <a:pt x="10752" y="1"/>
                  <a:pt x="10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517" name="Google Shape;13517;p64"/>
          <p:cNvGrpSpPr/>
          <p:nvPr/>
        </p:nvGrpSpPr>
        <p:grpSpPr>
          <a:xfrm>
            <a:off x="6155459" y="1969108"/>
            <a:ext cx="249770" cy="363849"/>
            <a:chOff x="6155459" y="1969108"/>
            <a:chExt cx="249770" cy="363849"/>
          </a:xfrm>
        </p:grpSpPr>
        <p:sp>
          <p:nvSpPr>
            <p:cNvPr id="13518" name="Google Shape;13518;p64"/>
            <p:cNvSpPr/>
            <p:nvPr/>
          </p:nvSpPr>
          <p:spPr>
            <a:xfrm>
              <a:off x="6195628" y="1969108"/>
              <a:ext cx="169813" cy="227012"/>
            </a:xfrm>
            <a:custGeom>
              <a:avLst/>
              <a:gdLst/>
              <a:ahLst/>
              <a:cxnLst/>
              <a:rect l="l" t="t" r="r" b="b"/>
              <a:pathLst>
                <a:path w="5335" h="7132" extrusionOk="0">
                  <a:moveTo>
                    <a:pt x="4120" y="333"/>
                  </a:moveTo>
                  <a:lnTo>
                    <a:pt x="4120" y="1750"/>
                  </a:lnTo>
                  <a:cubicBezTo>
                    <a:pt x="4120" y="1869"/>
                    <a:pt x="4084" y="1965"/>
                    <a:pt x="4036" y="2072"/>
                  </a:cubicBezTo>
                  <a:lnTo>
                    <a:pt x="3953" y="2238"/>
                  </a:lnTo>
                  <a:cubicBezTo>
                    <a:pt x="3941" y="2262"/>
                    <a:pt x="3941" y="2286"/>
                    <a:pt x="3941" y="2310"/>
                  </a:cubicBezTo>
                  <a:lnTo>
                    <a:pt x="3941" y="2667"/>
                  </a:lnTo>
                  <a:cubicBezTo>
                    <a:pt x="3941" y="3024"/>
                    <a:pt x="3786" y="3358"/>
                    <a:pt x="3536" y="3584"/>
                  </a:cubicBezTo>
                  <a:cubicBezTo>
                    <a:pt x="3292" y="3807"/>
                    <a:pt x="3011" y="3935"/>
                    <a:pt x="2699" y="3935"/>
                  </a:cubicBezTo>
                  <a:cubicBezTo>
                    <a:pt x="2661" y="3935"/>
                    <a:pt x="2623" y="3933"/>
                    <a:pt x="2584" y="3929"/>
                  </a:cubicBezTo>
                  <a:cubicBezTo>
                    <a:pt x="1917" y="3893"/>
                    <a:pt x="1405" y="3310"/>
                    <a:pt x="1405" y="2619"/>
                  </a:cubicBezTo>
                  <a:lnTo>
                    <a:pt x="1405" y="2310"/>
                  </a:lnTo>
                  <a:cubicBezTo>
                    <a:pt x="1405" y="2286"/>
                    <a:pt x="1405" y="2262"/>
                    <a:pt x="1393" y="2238"/>
                  </a:cubicBezTo>
                  <a:lnTo>
                    <a:pt x="1298" y="2072"/>
                  </a:lnTo>
                  <a:cubicBezTo>
                    <a:pt x="1262" y="1965"/>
                    <a:pt x="1227" y="1869"/>
                    <a:pt x="1227" y="1750"/>
                  </a:cubicBezTo>
                  <a:lnTo>
                    <a:pt x="1227" y="1238"/>
                  </a:lnTo>
                  <a:cubicBezTo>
                    <a:pt x="1227" y="738"/>
                    <a:pt x="1631" y="333"/>
                    <a:pt x="2131" y="333"/>
                  </a:cubicBezTo>
                  <a:close/>
                  <a:moveTo>
                    <a:pt x="3227" y="4155"/>
                  </a:moveTo>
                  <a:lnTo>
                    <a:pt x="3227" y="4346"/>
                  </a:lnTo>
                  <a:cubicBezTo>
                    <a:pt x="3227" y="4405"/>
                    <a:pt x="3239" y="4465"/>
                    <a:pt x="3251" y="4513"/>
                  </a:cubicBezTo>
                  <a:lnTo>
                    <a:pt x="2667" y="4965"/>
                  </a:lnTo>
                  <a:lnTo>
                    <a:pt x="2096" y="4524"/>
                  </a:lnTo>
                  <a:cubicBezTo>
                    <a:pt x="2108" y="4489"/>
                    <a:pt x="2120" y="4429"/>
                    <a:pt x="2120" y="4370"/>
                  </a:cubicBezTo>
                  <a:lnTo>
                    <a:pt x="2120" y="4155"/>
                  </a:lnTo>
                  <a:cubicBezTo>
                    <a:pt x="2251" y="4215"/>
                    <a:pt x="2405" y="4251"/>
                    <a:pt x="2572" y="4251"/>
                  </a:cubicBezTo>
                  <a:lnTo>
                    <a:pt x="2667" y="4251"/>
                  </a:lnTo>
                  <a:cubicBezTo>
                    <a:pt x="2870" y="4251"/>
                    <a:pt x="3048" y="4215"/>
                    <a:pt x="3227" y="4155"/>
                  </a:cubicBezTo>
                  <a:close/>
                  <a:moveTo>
                    <a:pt x="2131" y="0"/>
                  </a:moveTo>
                  <a:cubicBezTo>
                    <a:pt x="1453" y="0"/>
                    <a:pt x="905" y="560"/>
                    <a:pt x="905" y="1238"/>
                  </a:cubicBezTo>
                  <a:lnTo>
                    <a:pt x="905" y="1750"/>
                  </a:lnTo>
                  <a:cubicBezTo>
                    <a:pt x="905" y="1905"/>
                    <a:pt x="941" y="2072"/>
                    <a:pt x="1024" y="2215"/>
                  </a:cubicBezTo>
                  <a:lnTo>
                    <a:pt x="1084" y="2358"/>
                  </a:lnTo>
                  <a:lnTo>
                    <a:pt x="1084" y="2619"/>
                  </a:lnTo>
                  <a:cubicBezTo>
                    <a:pt x="1084" y="3191"/>
                    <a:pt x="1358" y="3703"/>
                    <a:pt x="1798" y="3989"/>
                  </a:cubicBezTo>
                  <a:lnTo>
                    <a:pt x="1798" y="4358"/>
                  </a:lnTo>
                  <a:cubicBezTo>
                    <a:pt x="1798" y="4453"/>
                    <a:pt x="1739" y="4524"/>
                    <a:pt x="1655" y="4536"/>
                  </a:cubicBezTo>
                  <a:lnTo>
                    <a:pt x="631" y="4858"/>
                  </a:lnTo>
                  <a:cubicBezTo>
                    <a:pt x="262" y="4977"/>
                    <a:pt x="0" y="5298"/>
                    <a:pt x="0" y="5703"/>
                  </a:cubicBezTo>
                  <a:lnTo>
                    <a:pt x="0" y="6965"/>
                  </a:lnTo>
                  <a:cubicBezTo>
                    <a:pt x="0" y="7060"/>
                    <a:pt x="84" y="7132"/>
                    <a:pt x="167" y="7132"/>
                  </a:cubicBezTo>
                  <a:cubicBezTo>
                    <a:pt x="262" y="7132"/>
                    <a:pt x="334" y="7060"/>
                    <a:pt x="334" y="6965"/>
                  </a:cubicBezTo>
                  <a:lnTo>
                    <a:pt x="334" y="5703"/>
                  </a:lnTo>
                  <a:cubicBezTo>
                    <a:pt x="334" y="5465"/>
                    <a:pt x="500" y="5239"/>
                    <a:pt x="715" y="5179"/>
                  </a:cubicBezTo>
                  <a:lnTo>
                    <a:pt x="1750" y="4870"/>
                  </a:lnTo>
                  <a:cubicBezTo>
                    <a:pt x="1810" y="4858"/>
                    <a:pt x="1846" y="4822"/>
                    <a:pt x="1893" y="4798"/>
                  </a:cubicBezTo>
                  <a:lnTo>
                    <a:pt x="2465" y="5227"/>
                  </a:lnTo>
                  <a:cubicBezTo>
                    <a:pt x="2524" y="5275"/>
                    <a:pt x="2596" y="5298"/>
                    <a:pt x="2667" y="5298"/>
                  </a:cubicBezTo>
                  <a:cubicBezTo>
                    <a:pt x="2739" y="5298"/>
                    <a:pt x="2822" y="5275"/>
                    <a:pt x="2882" y="5227"/>
                  </a:cubicBezTo>
                  <a:lnTo>
                    <a:pt x="3441" y="4798"/>
                  </a:lnTo>
                  <a:cubicBezTo>
                    <a:pt x="3489" y="4822"/>
                    <a:pt x="3536" y="4858"/>
                    <a:pt x="3596" y="4870"/>
                  </a:cubicBezTo>
                  <a:lnTo>
                    <a:pt x="4620" y="5179"/>
                  </a:lnTo>
                  <a:cubicBezTo>
                    <a:pt x="4858" y="5251"/>
                    <a:pt x="5001" y="5465"/>
                    <a:pt x="5001" y="5703"/>
                  </a:cubicBezTo>
                  <a:lnTo>
                    <a:pt x="5001" y="6965"/>
                  </a:lnTo>
                  <a:cubicBezTo>
                    <a:pt x="5001" y="7060"/>
                    <a:pt x="5084" y="7132"/>
                    <a:pt x="5168" y="7132"/>
                  </a:cubicBezTo>
                  <a:cubicBezTo>
                    <a:pt x="5263" y="7132"/>
                    <a:pt x="5334" y="7060"/>
                    <a:pt x="5334" y="6965"/>
                  </a:cubicBezTo>
                  <a:lnTo>
                    <a:pt x="5334" y="5703"/>
                  </a:lnTo>
                  <a:cubicBezTo>
                    <a:pt x="5334" y="5322"/>
                    <a:pt x="5084" y="4977"/>
                    <a:pt x="4715" y="4870"/>
                  </a:cubicBezTo>
                  <a:lnTo>
                    <a:pt x="3679" y="4560"/>
                  </a:lnTo>
                  <a:cubicBezTo>
                    <a:pt x="3608" y="4524"/>
                    <a:pt x="3548" y="4453"/>
                    <a:pt x="3548" y="4382"/>
                  </a:cubicBezTo>
                  <a:lnTo>
                    <a:pt x="3548" y="4012"/>
                  </a:lnTo>
                  <a:cubicBezTo>
                    <a:pt x="3620" y="3965"/>
                    <a:pt x="3703" y="3905"/>
                    <a:pt x="3763" y="3846"/>
                  </a:cubicBezTo>
                  <a:cubicBezTo>
                    <a:pt x="4084" y="3548"/>
                    <a:pt x="4263" y="3120"/>
                    <a:pt x="4263" y="2679"/>
                  </a:cubicBezTo>
                  <a:lnTo>
                    <a:pt x="4263" y="2369"/>
                  </a:lnTo>
                  <a:lnTo>
                    <a:pt x="4322" y="2238"/>
                  </a:lnTo>
                  <a:cubicBezTo>
                    <a:pt x="4394" y="2084"/>
                    <a:pt x="4441" y="1917"/>
                    <a:pt x="4441" y="1762"/>
                  </a:cubicBezTo>
                  <a:lnTo>
                    <a:pt x="4441" y="167"/>
                  </a:lnTo>
                  <a:cubicBezTo>
                    <a:pt x="4441" y="83"/>
                    <a:pt x="4370" y="0"/>
                    <a:pt x="427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9" name="Google Shape;13519;p64"/>
            <p:cNvSpPr/>
            <p:nvPr/>
          </p:nvSpPr>
          <p:spPr>
            <a:xfrm>
              <a:off x="6275585" y="2146083"/>
              <a:ext cx="10249" cy="50037"/>
            </a:xfrm>
            <a:custGeom>
              <a:avLst/>
              <a:gdLst/>
              <a:ahLst/>
              <a:cxnLst/>
              <a:rect l="l" t="t" r="r" b="b"/>
              <a:pathLst>
                <a:path w="322" h="1572" extrusionOk="0">
                  <a:moveTo>
                    <a:pt x="155" y="0"/>
                  </a:moveTo>
                  <a:cubicBezTo>
                    <a:pt x="72" y="0"/>
                    <a:pt x="0" y="72"/>
                    <a:pt x="0" y="155"/>
                  </a:cubicBezTo>
                  <a:lnTo>
                    <a:pt x="0" y="1405"/>
                  </a:lnTo>
                  <a:cubicBezTo>
                    <a:pt x="0" y="1500"/>
                    <a:pt x="72" y="1572"/>
                    <a:pt x="155" y="1572"/>
                  </a:cubicBezTo>
                  <a:cubicBezTo>
                    <a:pt x="251" y="1572"/>
                    <a:pt x="322" y="1500"/>
                    <a:pt x="322" y="1405"/>
                  </a:cubicBezTo>
                  <a:lnTo>
                    <a:pt x="322" y="155"/>
                  </a:lnTo>
                  <a:cubicBezTo>
                    <a:pt x="322" y="72"/>
                    <a:pt x="251"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0" name="Google Shape;13520;p64"/>
            <p:cNvSpPr/>
            <p:nvPr/>
          </p:nvSpPr>
          <p:spPr>
            <a:xfrm>
              <a:off x="6223671" y="2157446"/>
              <a:ext cx="10631" cy="38673"/>
            </a:xfrm>
            <a:custGeom>
              <a:avLst/>
              <a:gdLst/>
              <a:ahLst/>
              <a:cxnLst/>
              <a:rect l="l" t="t" r="r" b="b"/>
              <a:pathLst>
                <a:path w="334" h="1215" extrusionOk="0">
                  <a:moveTo>
                    <a:pt x="167" y="0"/>
                  </a:moveTo>
                  <a:cubicBezTo>
                    <a:pt x="84" y="0"/>
                    <a:pt x="0" y="72"/>
                    <a:pt x="0" y="155"/>
                  </a:cubicBezTo>
                  <a:lnTo>
                    <a:pt x="0" y="1048"/>
                  </a:lnTo>
                  <a:cubicBezTo>
                    <a:pt x="0" y="1143"/>
                    <a:pt x="84" y="1215"/>
                    <a:pt x="167" y="1215"/>
                  </a:cubicBezTo>
                  <a:cubicBezTo>
                    <a:pt x="250" y="1215"/>
                    <a:pt x="334" y="1143"/>
                    <a:pt x="334" y="1048"/>
                  </a:cubicBezTo>
                  <a:lnTo>
                    <a:pt x="334" y="155"/>
                  </a:lnTo>
                  <a:cubicBezTo>
                    <a:pt x="334" y="72"/>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1" name="Google Shape;13521;p64"/>
            <p:cNvSpPr/>
            <p:nvPr/>
          </p:nvSpPr>
          <p:spPr>
            <a:xfrm>
              <a:off x="6326736" y="2157446"/>
              <a:ext cx="10281" cy="38673"/>
            </a:xfrm>
            <a:custGeom>
              <a:avLst/>
              <a:gdLst/>
              <a:ahLst/>
              <a:cxnLst/>
              <a:rect l="l" t="t" r="r" b="b"/>
              <a:pathLst>
                <a:path w="323" h="1215" extrusionOk="0">
                  <a:moveTo>
                    <a:pt x="156" y="0"/>
                  </a:moveTo>
                  <a:cubicBezTo>
                    <a:pt x="72" y="0"/>
                    <a:pt x="1" y="72"/>
                    <a:pt x="1" y="155"/>
                  </a:cubicBezTo>
                  <a:lnTo>
                    <a:pt x="1" y="1048"/>
                  </a:lnTo>
                  <a:cubicBezTo>
                    <a:pt x="1" y="1143"/>
                    <a:pt x="72" y="1215"/>
                    <a:pt x="156" y="1215"/>
                  </a:cubicBezTo>
                  <a:cubicBezTo>
                    <a:pt x="251" y="1215"/>
                    <a:pt x="322" y="1143"/>
                    <a:pt x="322" y="1048"/>
                  </a:cubicBezTo>
                  <a:lnTo>
                    <a:pt x="322" y="155"/>
                  </a:lnTo>
                  <a:cubicBezTo>
                    <a:pt x="322" y="72"/>
                    <a:pt x="251"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2" name="Google Shape;13522;p64"/>
            <p:cNvSpPr/>
            <p:nvPr/>
          </p:nvSpPr>
          <p:spPr>
            <a:xfrm>
              <a:off x="6264222" y="2299949"/>
              <a:ext cx="33008" cy="33008"/>
            </a:xfrm>
            <a:custGeom>
              <a:avLst/>
              <a:gdLst/>
              <a:ahLst/>
              <a:cxnLst/>
              <a:rect l="l" t="t" r="r" b="b"/>
              <a:pathLst>
                <a:path w="1037" h="1037" extrusionOk="0">
                  <a:moveTo>
                    <a:pt x="512" y="322"/>
                  </a:moveTo>
                  <a:cubicBezTo>
                    <a:pt x="619" y="322"/>
                    <a:pt x="715" y="417"/>
                    <a:pt x="715" y="524"/>
                  </a:cubicBezTo>
                  <a:cubicBezTo>
                    <a:pt x="715" y="619"/>
                    <a:pt x="619" y="715"/>
                    <a:pt x="512" y="715"/>
                  </a:cubicBezTo>
                  <a:cubicBezTo>
                    <a:pt x="417" y="715"/>
                    <a:pt x="322" y="619"/>
                    <a:pt x="322" y="524"/>
                  </a:cubicBezTo>
                  <a:cubicBezTo>
                    <a:pt x="322" y="417"/>
                    <a:pt x="417" y="322"/>
                    <a:pt x="512" y="322"/>
                  </a:cubicBezTo>
                  <a:close/>
                  <a:moveTo>
                    <a:pt x="512" y="0"/>
                  </a:moveTo>
                  <a:cubicBezTo>
                    <a:pt x="238" y="0"/>
                    <a:pt x="0" y="238"/>
                    <a:pt x="0" y="524"/>
                  </a:cubicBezTo>
                  <a:cubicBezTo>
                    <a:pt x="0" y="798"/>
                    <a:pt x="238" y="1036"/>
                    <a:pt x="512" y="1036"/>
                  </a:cubicBezTo>
                  <a:cubicBezTo>
                    <a:pt x="798" y="1036"/>
                    <a:pt x="1036" y="798"/>
                    <a:pt x="1036" y="524"/>
                  </a:cubicBezTo>
                  <a:cubicBezTo>
                    <a:pt x="1036" y="238"/>
                    <a:pt x="798" y="0"/>
                    <a:pt x="51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3" name="Google Shape;13523;p64"/>
            <p:cNvSpPr/>
            <p:nvPr/>
          </p:nvSpPr>
          <p:spPr>
            <a:xfrm>
              <a:off x="6155459" y="2299949"/>
              <a:ext cx="33358" cy="33008"/>
            </a:xfrm>
            <a:custGeom>
              <a:avLst/>
              <a:gdLst/>
              <a:ahLst/>
              <a:cxnLst/>
              <a:rect l="l" t="t" r="r" b="b"/>
              <a:pathLst>
                <a:path w="1048" h="1037" extrusionOk="0">
                  <a:moveTo>
                    <a:pt x="524" y="322"/>
                  </a:moveTo>
                  <a:cubicBezTo>
                    <a:pt x="631" y="322"/>
                    <a:pt x="715" y="417"/>
                    <a:pt x="715" y="524"/>
                  </a:cubicBezTo>
                  <a:cubicBezTo>
                    <a:pt x="715" y="619"/>
                    <a:pt x="631" y="715"/>
                    <a:pt x="524" y="715"/>
                  </a:cubicBezTo>
                  <a:cubicBezTo>
                    <a:pt x="417" y="715"/>
                    <a:pt x="334" y="619"/>
                    <a:pt x="334" y="524"/>
                  </a:cubicBezTo>
                  <a:cubicBezTo>
                    <a:pt x="334" y="417"/>
                    <a:pt x="417" y="322"/>
                    <a:pt x="524" y="322"/>
                  </a:cubicBezTo>
                  <a:close/>
                  <a:moveTo>
                    <a:pt x="524" y="0"/>
                  </a:moveTo>
                  <a:cubicBezTo>
                    <a:pt x="238" y="0"/>
                    <a:pt x="0" y="238"/>
                    <a:pt x="0" y="524"/>
                  </a:cubicBezTo>
                  <a:cubicBezTo>
                    <a:pt x="0" y="798"/>
                    <a:pt x="238" y="1036"/>
                    <a:pt x="524" y="1036"/>
                  </a:cubicBezTo>
                  <a:cubicBezTo>
                    <a:pt x="810" y="1036"/>
                    <a:pt x="1048" y="798"/>
                    <a:pt x="1048" y="524"/>
                  </a:cubicBezTo>
                  <a:cubicBezTo>
                    <a:pt x="1048" y="238"/>
                    <a:pt x="810"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4" name="Google Shape;13524;p64"/>
            <p:cNvSpPr/>
            <p:nvPr/>
          </p:nvSpPr>
          <p:spPr>
            <a:xfrm>
              <a:off x="6372221"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7" y="715"/>
                    <a:pt x="322" y="619"/>
                    <a:pt x="322" y="524"/>
                  </a:cubicBezTo>
                  <a:cubicBezTo>
                    <a:pt x="322" y="417"/>
                    <a:pt x="417" y="322"/>
                    <a:pt x="513" y="322"/>
                  </a:cubicBezTo>
                  <a:close/>
                  <a:moveTo>
                    <a:pt x="513" y="0"/>
                  </a:moveTo>
                  <a:cubicBezTo>
                    <a:pt x="239" y="0"/>
                    <a:pt x="1" y="238"/>
                    <a:pt x="1" y="524"/>
                  </a:cubicBezTo>
                  <a:cubicBezTo>
                    <a:pt x="1" y="798"/>
                    <a:pt x="239" y="1036"/>
                    <a:pt x="513" y="1036"/>
                  </a:cubicBezTo>
                  <a:cubicBezTo>
                    <a:pt x="798" y="1036"/>
                    <a:pt x="1036" y="798"/>
                    <a:pt x="1036" y="524"/>
                  </a:cubicBezTo>
                  <a:cubicBezTo>
                    <a:pt x="1036" y="238"/>
                    <a:pt x="810"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5" name="Google Shape;13525;p64"/>
            <p:cNvSpPr/>
            <p:nvPr/>
          </p:nvSpPr>
          <p:spPr>
            <a:xfrm>
              <a:off x="6185379" y="2208597"/>
              <a:ext cx="189134" cy="84763"/>
            </a:xfrm>
            <a:custGeom>
              <a:avLst/>
              <a:gdLst/>
              <a:ahLst/>
              <a:cxnLst/>
              <a:rect l="l" t="t" r="r" b="b"/>
              <a:pathLst>
                <a:path w="5942" h="2663" extrusionOk="0">
                  <a:moveTo>
                    <a:pt x="2977" y="1"/>
                  </a:moveTo>
                  <a:cubicBezTo>
                    <a:pt x="2894" y="1"/>
                    <a:pt x="2811" y="72"/>
                    <a:pt x="2811" y="156"/>
                  </a:cubicBezTo>
                  <a:lnTo>
                    <a:pt x="2811" y="715"/>
                  </a:lnTo>
                  <a:lnTo>
                    <a:pt x="1644" y="715"/>
                  </a:lnTo>
                  <a:cubicBezTo>
                    <a:pt x="1418" y="715"/>
                    <a:pt x="1191" y="810"/>
                    <a:pt x="1060" y="1013"/>
                  </a:cubicBezTo>
                  <a:lnTo>
                    <a:pt x="60" y="2394"/>
                  </a:lnTo>
                  <a:cubicBezTo>
                    <a:pt x="1" y="2465"/>
                    <a:pt x="25" y="2573"/>
                    <a:pt x="108" y="2632"/>
                  </a:cubicBezTo>
                  <a:cubicBezTo>
                    <a:pt x="133" y="2653"/>
                    <a:pt x="162" y="2662"/>
                    <a:pt x="193" y="2662"/>
                  </a:cubicBezTo>
                  <a:cubicBezTo>
                    <a:pt x="249" y="2662"/>
                    <a:pt x="307" y="2631"/>
                    <a:pt x="346" y="2584"/>
                  </a:cubicBezTo>
                  <a:lnTo>
                    <a:pt x="1334" y="1203"/>
                  </a:lnTo>
                  <a:cubicBezTo>
                    <a:pt x="1418" y="1096"/>
                    <a:pt x="1513" y="1049"/>
                    <a:pt x="1632" y="1049"/>
                  </a:cubicBezTo>
                  <a:lnTo>
                    <a:pt x="2811" y="1049"/>
                  </a:lnTo>
                  <a:lnTo>
                    <a:pt x="2811" y="2323"/>
                  </a:lnTo>
                  <a:cubicBezTo>
                    <a:pt x="2811" y="2406"/>
                    <a:pt x="2894" y="2477"/>
                    <a:pt x="2977" y="2477"/>
                  </a:cubicBezTo>
                  <a:cubicBezTo>
                    <a:pt x="3061" y="2477"/>
                    <a:pt x="3144" y="2406"/>
                    <a:pt x="3144" y="2323"/>
                  </a:cubicBezTo>
                  <a:lnTo>
                    <a:pt x="3144" y="1049"/>
                  </a:lnTo>
                  <a:lnTo>
                    <a:pt x="4323" y="1049"/>
                  </a:lnTo>
                  <a:cubicBezTo>
                    <a:pt x="4430" y="1049"/>
                    <a:pt x="4549" y="1108"/>
                    <a:pt x="4620" y="1203"/>
                  </a:cubicBezTo>
                  <a:lnTo>
                    <a:pt x="5609" y="2584"/>
                  </a:lnTo>
                  <a:cubicBezTo>
                    <a:pt x="5644" y="2632"/>
                    <a:pt x="5704" y="2656"/>
                    <a:pt x="5752" y="2656"/>
                  </a:cubicBezTo>
                  <a:cubicBezTo>
                    <a:pt x="5775" y="2656"/>
                    <a:pt x="5823" y="2644"/>
                    <a:pt x="5847" y="2632"/>
                  </a:cubicBezTo>
                  <a:cubicBezTo>
                    <a:pt x="5930" y="2573"/>
                    <a:pt x="5942" y="2465"/>
                    <a:pt x="5882" y="2394"/>
                  </a:cubicBezTo>
                  <a:lnTo>
                    <a:pt x="4882" y="1013"/>
                  </a:lnTo>
                  <a:cubicBezTo>
                    <a:pt x="4751" y="834"/>
                    <a:pt x="4537" y="715"/>
                    <a:pt x="4299" y="715"/>
                  </a:cubicBezTo>
                  <a:lnTo>
                    <a:pt x="3144" y="715"/>
                  </a:lnTo>
                  <a:lnTo>
                    <a:pt x="3144" y="156"/>
                  </a:lnTo>
                  <a:cubicBezTo>
                    <a:pt x="3144" y="72"/>
                    <a:pt x="3073" y="1"/>
                    <a:pt x="29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6" name="Google Shape;13526;p64"/>
            <p:cNvSpPr/>
            <p:nvPr/>
          </p:nvSpPr>
          <p:spPr>
            <a:xfrm>
              <a:off x="6246397" y="2010773"/>
              <a:ext cx="69007" cy="25814"/>
            </a:xfrm>
            <a:custGeom>
              <a:avLst/>
              <a:gdLst/>
              <a:ahLst/>
              <a:cxnLst/>
              <a:rect l="l" t="t" r="r" b="b"/>
              <a:pathLst>
                <a:path w="2168" h="811" extrusionOk="0">
                  <a:moveTo>
                    <a:pt x="951" y="1"/>
                  </a:moveTo>
                  <a:cubicBezTo>
                    <a:pt x="505" y="1"/>
                    <a:pt x="146" y="113"/>
                    <a:pt x="120" y="120"/>
                  </a:cubicBezTo>
                  <a:cubicBezTo>
                    <a:pt x="48" y="156"/>
                    <a:pt x="1" y="215"/>
                    <a:pt x="1" y="287"/>
                  </a:cubicBezTo>
                  <a:lnTo>
                    <a:pt x="1" y="644"/>
                  </a:lnTo>
                  <a:cubicBezTo>
                    <a:pt x="1" y="739"/>
                    <a:pt x="84" y="810"/>
                    <a:pt x="167" y="810"/>
                  </a:cubicBezTo>
                  <a:cubicBezTo>
                    <a:pt x="263" y="810"/>
                    <a:pt x="334" y="739"/>
                    <a:pt x="334" y="644"/>
                  </a:cubicBezTo>
                  <a:lnTo>
                    <a:pt x="334" y="406"/>
                  </a:lnTo>
                  <a:cubicBezTo>
                    <a:pt x="467" y="372"/>
                    <a:pt x="695" y="329"/>
                    <a:pt x="951" y="329"/>
                  </a:cubicBezTo>
                  <a:cubicBezTo>
                    <a:pt x="1246" y="329"/>
                    <a:pt x="1578" y="387"/>
                    <a:pt x="1846" y="584"/>
                  </a:cubicBezTo>
                  <a:cubicBezTo>
                    <a:pt x="1882" y="610"/>
                    <a:pt x="1920" y="622"/>
                    <a:pt x="1957" y="622"/>
                  </a:cubicBezTo>
                  <a:cubicBezTo>
                    <a:pt x="2005" y="622"/>
                    <a:pt x="2050" y="601"/>
                    <a:pt x="2084" y="560"/>
                  </a:cubicBezTo>
                  <a:cubicBezTo>
                    <a:pt x="2168" y="501"/>
                    <a:pt x="2132" y="394"/>
                    <a:pt x="2072" y="334"/>
                  </a:cubicBezTo>
                  <a:cubicBezTo>
                    <a:pt x="1727" y="74"/>
                    <a:pt x="1311" y="1"/>
                    <a:pt x="9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27" name="Google Shape;13527;p64"/>
          <p:cNvGrpSpPr/>
          <p:nvPr/>
        </p:nvGrpSpPr>
        <p:grpSpPr>
          <a:xfrm>
            <a:off x="2280029" y="1970604"/>
            <a:ext cx="353631" cy="354395"/>
            <a:chOff x="2280029" y="1970604"/>
            <a:chExt cx="353631" cy="354395"/>
          </a:xfrm>
        </p:grpSpPr>
        <p:sp>
          <p:nvSpPr>
            <p:cNvPr id="13528" name="Google Shape;13528;p64"/>
            <p:cNvSpPr/>
            <p:nvPr/>
          </p:nvSpPr>
          <p:spPr>
            <a:xfrm>
              <a:off x="2309981" y="2069086"/>
              <a:ext cx="323679" cy="255913"/>
            </a:xfrm>
            <a:custGeom>
              <a:avLst/>
              <a:gdLst/>
              <a:ahLst/>
              <a:cxnLst/>
              <a:rect l="l" t="t" r="r" b="b"/>
              <a:pathLst>
                <a:path w="10169" h="8040" extrusionOk="0">
                  <a:moveTo>
                    <a:pt x="9473" y="0"/>
                  </a:moveTo>
                  <a:cubicBezTo>
                    <a:pt x="9451" y="0"/>
                    <a:pt x="9428" y="5"/>
                    <a:pt x="9406" y="14"/>
                  </a:cubicBezTo>
                  <a:cubicBezTo>
                    <a:pt x="9335" y="62"/>
                    <a:pt x="9287" y="157"/>
                    <a:pt x="9335" y="240"/>
                  </a:cubicBezTo>
                  <a:cubicBezTo>
                    <a:pt x="9656" y="943"/>
                    <a:pt x="9835" y="1705"/>
                    <a:pt x="9835" y="2491"/>
                  </a:cubicBezTo>
                  <a:cubicBezTo>
                    <a:pt x="9835" y="3884"/>
                    <a:pt x="9287" y="5193"/>
                    <a:pt x="8299" y="6194"/>
                  </a:cubicBezTo>
                  <a:cubicBezTo>
                    <a:pt x="7323" y="7182"/>
                    <a:pt x="6001" y="7729"/>
                    <a:pt x="4596" y="7729"/>
                  </a:cubicBezTo>
                  <a:cubicBezTo>
                    <a:pt x="3763" y="7729"/>
                    <a:pt x="2977" y="7539"/>
                    <a:pt x="2251" y="7158"/>
                  </a:cubicBezTo>
                  <a:cubicBezTo>
                    <a:pt x="1632" y="6848"/>
                    <a:pt x="1084" y="6420"/>
                    <a:pt x="620" y="5896"/>
                  </a:cubicBezTo>
                  <a:lnTo>
                    <a:pt x="620" y="5896"/>
                  </a:lnTo>
                  <a:lnTo>
                    <a:pt x="1263" y="6110"/>
                  </a:lnTo>
                  <a:cubicBezTo>
                    <a:pt x="1279" y="6114"/>
                    <a:pt x="1295" y="6116"/>
                    <a:pt x="1311" y="6116"/>
                  </a:cubicBezTo>
                  <a:cubicBezTo>
                    <a:pt x="1385" y="6116"/>
                    <a:pt x="1447" y="6072"/>
                    <a:pt x="1477" y="6003"/>
                  </a:cubicBezTo>
                  <a:cubicBezTo>
                    <a:pt x="1501" y="5908"/>
                    <a:pt x="1453" y="5824"/>
                    <a:pt x="1370" y="5789"/>
                  </a:cubicBezTo>
                  <a:lnTo>
                    <a:pt x="203" y="5408"/>
                  </a:lnTo>
                  <a:cubicBezTo>
                    <a:pt x="187" y="5405"/>
                    <a:pt x="171" y="5403"/>
                    <a:pt x="156" y="5403"/>
                  </a:cubicBezTo>
                  <a:cubicBezTo>
                    <a:pt x="114" y="5403"/>
                    <a:pt x="77" y="5414"/>
                    <a:pt x="60" y="5432"/>
                  </a:cubicBezTo>
                  <a:cubicBezTo>
                    <a:pt x="12" y="5467"/>
                    <a:pt x="0" y="5527"/>
                    <a:pt x="0" y="5586"/>
                  </a:cubicBezTo>
                  <a:lnTo>
                    <a:pt x="191" y="6944"/>
                  </a:lnTo>
                  <a:cubicBezTo>
                    <a:pt x="203" y="7015"/>
                    <a:pt x="262" y="7075"/>
                    <a:pt x="358" y="7075"/>
                  </a:cubicBezTo>
                  <a:lnTo>
                    <a:pt x="381" y="7075"/>
                  </a:lnTo>
                  <a:cubicBezTo>
                    <a:pt x="477" y="7063"/>
                    <a:pt x="536" y="6979"/>
                    <a:pt x="524" y="6896"/>
                  </a:cubicBezTo>
                  <a:lnTo>
                    <a:pt x="417" y="6134"/>
                  </a:lnTo>
                  <a:lnTo>
                    <a:pt x="417" y="6134"/>
                  </a:lnTo>
                  <a:cubicBezTo>
                    <a:pt x="893" y="6670"/>
                    <a:pt x="1453" y="7122"/>
                    <a:pt x="2096" y="7444"/>
                  </a:cubicBezTo>
                  <a:cubicBezTo>
                    <a:pt x="2870" y="7849"/>
                    <a:pt x="3715" y="8039"/>
                    <a:pt x="4596" y="8039"/>
                  </a:cubicBezTo>
                  <a:cubicBezTo>
                    <a:pt x="6085" y="8039"/>
                    <a:pt x="7490" y="7456"/>
                    <a:pt x="8525" y="6420"/>
                  </a:cubicBezTo>
                  <a:cubicBezTo>
                    <a:pt x="9585" y="5360"/>
                    <a:pt x="10145" y="3979"/>
                    <a:pt x="10145" y="2491"/>
                  </a:cubicBezTo>
                  <a:cubicBezTo>
                    <a:pt x="10168" y="1645"/>
                    <a:pt x="9990" y="836"/>
                    <a:pt x="9633" y="98"/>
                  </a:cubicBezTo>
                  <a:cubicBezTo>
                    <a:pt x="9597" y="36"/>
                    <a:pt x="9536" y="0"/>
                    <a:pt x="94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9" name="Google Shape;13529;p64"/>
            <p:cNvSpPr/>
            <p:nvPr/>
          </p:nvSpPr>
          <p:spPr>
            <a:xfrm>
              <a:off x="2280029" y="1970604"/>
              <a:ext cx="322565" cy="255468"/>
            </a:xfrm>
            <a:custGeom>
              <a:avLst/>
              <a:gdLst/>
              <a:ahLst/>
              <a:cxnLst/>
              <a:rect l="l" t="t" r="r" b="b"/>
              <a:pathLst>
                <a:path w="10134" h="8026" extrusionOk="0">
                  <a:moveTo>
                    <a:pt x="5549" y="1"/>
                  </a:moveTo>
                  <a:cubicBezTo>
                    <a:pt x="4061" y="1"/>
                    <a:pt x="2668" y="584"/>
                    <a:pt x="1620" y="1620"/>
                  </a:cubicBezTo>
                  <a:cubicBezTo>
                    <a:pt x="572" y="2680"/>
                    <a:pt x="1" y="4061"/>
                    <a:pt x="1" y="5549"/>
                  </a:cubicBezTo>
                  <a:cubicBezTo>
                    <a:pt x="1" y="6382"/>
                    <a:pt x="179" y="7192"/>
                    <a:pt x="537" y="7930"/>
                  </a:cubicBezTo>
                  <a:cubicBezTo>
                    <a:pt x="572" y="7990"/>
                    <a:pt x="632" y="8026"/>
                    <a:pt x="691" y="8026"/>
                  </a:cubicBezTo>
                  <a:cubicBezTo>
                    <a:pt x="715" y="8026"/>
                    <a:pt x="727" y="8026"/>
                    <a:pt x="763" y="8002"/>
                  </a:cubicBezTo>
                  <a:cubicBezTo>
                    <a:pt x="834" y="7966"/>
                    <a:pt x="882" y="7871"/>
                    <a:pt x="834" y="7787"/>
                  </a:cubicBezTo>
                  <a:cubicBezTo>
                    <a:pt x="513" y="7085"/>
                    <a:pt x="334" y="6323"/>
                    <a:pt x="334" y="5537"/>
                  </a:cubicBezTo>
                  <a:cubicBezTo>
                    <a:pt x="334" y="4132"/>
                    <a:pt x="882" y="2822"/>
                    <a:pt x="1858" y="1834"/>
                  </a:cubicBezTo>
                  <a:cubicBezTo>
                    <a:pt x="2846" y="834"/>
                    <a:pt x="4168" y="298"/>
                    <a:pt x="5573" y="298"/>
                  </a:cubicBezTo>
                  <a:cubicBezTo>
                    <a:pt x="7097" y="298"/>
                    <a:pt x="8550" y="965"/>
                    <a:pt x="9538" y="2132"/>
                  </a:cubicBezTo>
                  <a:lnTo>
                    <a:pt x="8907" y="1918"/>
                  </a:lnTo>
                  <a:cubicBezTo>
                    <a:pt x="8890" y="1913"/>
                    <a:pt x="8874" y="1911"/>
                    <a:pt x="8858" y="1911"/>
                  </a:cubicBezTo>
                  <a:cubicBezTo>
                    <a:pt x="8784" y="1911"/>
                    <a:pt x="8722" y="1956"/>
                    <a:pt x="8692" y="2025"/>
                  </a:cubicBezTo>
                  <a:cubicBezTo>
                    <a:pt x="8669" y="2120"/>
                    <a:pt x="8704" y="2203"/>
                    <a:pt x="8800" y="2227"/>
                  </a:cubicBezTo>
                  <a:lnTo>
                    <a:pt x="9955" y="2620"/>
                  </a:lnTo>
                  <a:cubicBezTo>
                    <a:pt x="9978" y="2620"/>
                    <a:pt x="9990" y="2632"/>
                    <a:pt x="10002" y="2632"/>
                  </a:cubicBezTo>
                  <a:cubicBezTo>
                    <a:pt x="10050" y="2632"/>
                    <a:pt x="10074" y="2620"/>
                    <a:pt x="10109" y="2596"/>
                  </a:cubicBezTo>
                  <a:cubicBezTo>
                    <a:pt x="10121" y="2572"/>
                    <a:pt x="10133" y="2513"/>
                    <a:pt x="10133" y="2453"/>
                  </a:cubicBezTo>
                  <a:lnTo>
                    <a:pt x="9943" y="1108"/>
                  </a:lnTo>
                  <a:cubicBezTo>
                    <a:pt x="9932" y="1021"/>
                    <a:pt x="9871" y="964"/>
                    <a:pt x="9788" y="964"/>
                  </a:cubicBezTo>
                  <a:cubicBezTo>
                    <a:pt x="9780" y="964"/>
                    <a:pt x="9772" y="964"/>
                    <a:pt x="9764" y="965"/>
                  </a:cubicBezTo>
                  <a:cubicBezTo>
                    <a:pt x="9681" y="989"/>
                    <a:pt x="9621" y="1060"/>
                    <a:pt x="9633" y="1144"/>
                  </a:cubicBezTo>
                  <a:lnTo>
                    <a:pt x="9740" y="1906"/>
                  </a:lnTo>
                  <a:cubicBezTo>
                    <a:pt x="8681" y="703"/>
                    <a:pt x="7157" y="1"/>
                    <a:pt x="55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0" name="Google Shape;13530;p64"/>
            <p:cNvSpPr/>
            <p:nvPr/>
          </p:nvSpPr>
          <p:spPr>
            <a:xfrm>
              <a:off x="2411169" y="2064598"/>
              <a:ext cx="17093" cy="26928"/>
            </a:xfrm>
            <a:custGeom>
              <a:avLst/>
              <a:gdLst/>
              <a:ahLst/>
              <a:cxnLst/>
              <a:rect l="l" t="t" r="r" b="b"/>
              <a:pathLst>
                <a:path w="537" h="846" extrusionOk="0">
                  <a:moveTo>
                    <a:pt x="358" y="0"/>
                  </a:moveTo>
                  <a:cubicBezTo>
                    <a:pt x="274" y="0"/>
                    <a:pt x="191" y="72"/>
                    <a:pt x="191" y="155"/>
                  </a:cubicBezTo>
                  <a:lnTo>
                    <a:pt x="191" y="453"/>
                  </a:lnTo>
                  <a:lnTo>
                    <a:pt x="72" y="572"/>
                  </a:lnTo>
                  <a:cubicBezTo>
                    <a:pt x="12" y="631"/>
                    <a:pt x="0" y="739"/>
                    <a:pt x="72" y="798"/>
                  </a:cubicBezTo>
                  <a:cubicBezTo>
                    <a:pt x="108" y="834"/>
                    <a:pt x="155" y="846"/>
                    <a:pt x="191" y="846"/>
                  </a:cubicBezTo>
                  <a:cubicBezTo>
                    <a:pt x="239" y="846"/>
                    <a:pt x="274" y="834"/>
                    <a:pt x="310" y="798"/>
                  </a:cubicBezTo>
                  <a:lnTo>
                    <a:pt x="489" y="631"/>
                  </a:lnTo>
                  <a:cubicBezTo>
                    <a:pt x="524" y="608"/>
                    <a:pt x="536" y="560"/>
                    <a:pt x="536" y="512"/>
                  </a:cubicBezTo>
                  <a:lnTo>
                    <a:pt x="524" y="155"/>
                  </a:lnTo>
                  <a:cubicBezTo>
                    <a:pt x="524" y="72"/>
                    <a:pt x="453" y="0"/>
                    <a:pt x="35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1" name="Google Shape;13531;p64"/>
            <p:cNvSpPr/>
            <p:nvPr/>
          </p:nvSpPr>
          <p:spPr>
            <a:xfrm>
              <a:off x="2323254" y="2017458"/>
              <a:ext cx="267213" cy="264316"/>
            </a:xfrm>
            <a:custGeom>
              <a:avLst/>
              <a:gdLst/>
              <a:ahLst/>
              <a:cxnLst/>
              <a:rect l="l" t="t" r="r" b="b"/>
              <a:pathLst>
                <a:path w="8395" h="8304" extrusionOk="0">
                  <a:moveTo>
                    <a:pt x="2739" y="3125"/>
                  </a:moveTo>
                  <a:lnTo>
                    <a:pt x="2965" y="3160"/>
                  </a:lnTo>
                  <a:lnTo>
                    <a:pt x="3060" y="3160"/>
                  </a:lnTo>
                  <a:lnTo>
                    <a:pt x="2905" y="3529"/>
                  </a:lnTo>
                  <a:lnTo>
                    <a:pt x="2620" y="3458"/>
                  </a:lnTo>
                  <a:lnTo>
                    <a:pt x="2739" y="3125"/>
                  </a:lnTo>
                  <a:close/>
                  <a:moveTo>
                    <a:pt x="3834" y="3041"/>
                  </a:moveTo>
                  <a:lnTo>
                    <a:pt x="4167" y="3446"/>
                  </a:lnTo>
                  <a:lnTo>
                    <a:pt x="4120" y="3541"/>
                  </a:lnTo>
                  <a:cubicBezTo>
                    <a:pt x="4096" y="3636"/>
                    <a:pt x="4132" y="3720"/>
                    <a:pt x="4227" y="3756"/>
                  </a:cubicBezTo>
                  <a:cubicBezTo>
                    <a:pt x="4239" y="3756"/>
                    <a:pt x="4251" y="3767"/>
                    <a:pt x="4286" y="3767"/>
                  </a:cubicBezTo>
                  <a:cubicBezTo>
                    <a:pt x="4358" y="3767"/>
                    <a:pt x="4417" y="3720"/>
                    <a:pt x="4429" y="3660"/>
                  </a:cubicBezTo>
                  <a:lnTo>
                    <a:pt x="4477" y="3541"/>
                  </a:lnTo>
                  <a:cubicBezTo>
                    <a:pt x="4501" y="3446"/>
                    <a:pt x="4489" y="3339"/>
                    <a:pt x="4429" y="3267"/>
                  </a:cubicBezTo>
                  <a:lnTo>
                    <a:pt x="4346" y="3160"/>
                  </a:lnTo>
                  <a:lnTo>
                    <a:pt x="4620" y="3386"/>
                  </a:lnTo>
                  <a:cubicBezTo>
                    <a:pt x="4649" y="3401"/>
                    <a:pt x="4683" y="3411"/>
                    <a:pt x="4719" y="3411"/>
                  </a:cubicBezTo>
                  <a:cubicBezTo>
                    <a:pt x="4741" y="3411"/>
                    <a:pt x="4764" y="3407"/>
                    <a:pt x="4787" y="3398"/>
                  </a:cubicBezTo>
                  <a:lnTo>
                    <a:pt x="5001" y="3303"/>
                  </a:lnTo>
                  <a:lnTo>
                    <a:pt x="5132" y="3458"/>
                  </a:lnTo>
                  <a:cubicBezTo>
                    <a:pt x="5156" y="3506"/>
                    <a:pt x="5215" y="3517"/>
                    <a:pt x="5263" y="3517"/>
                  </a:cubicBezTo>
                  <a:lnTo>
                    <a:pt x="5668" y="3482"/>
                  </a:lnTo>
                  <a:lnTo>
                    <a:pt x="5679" y="3565"/>
                  </a:lnTo>
                  <a:cubicBezTo>
                    <a:pt x="5703" y="3601"/>
                    <a:pt x="5668" y="3636"/>
                    <a:pt x="5668" y="3648"/>
                  </a:cubicBezTo>
                  <a:cubicBezTo>
                    <a:pt x="5656" y="3660"/>
                    <a:pt x="5620" y="3696"/>
                    <a:pt x="5596" y="3696"/>
                  </a:cubicBezTo>
                  <a:lnTo>
                    <a:pt x="4894" y="3756"/>
                  </a:lnTo>
                  <a:cubicBezTo>
                    <a:pt x="4798" y="3756"/>
                    <a:pt x="4727" y="3815"/>
                    <a:pt x="4679" y="3875"/>
                  </a:cubicBezTo>
                  <a:cubicBezTo>
                    <a:pt x="4656" y="3934"/>
                    <a:pt x="4620" y="3994"/>
                    <a:pt x="4644" y="4053"/>
                  </a:cubicBezTo>
                  <a:lnTo>
                    <a:pt x="4179" y="3898"/>
                  </a:lnTo>
                  <a:cubicBezTo>
                    <a:pt x="4167" y="3898"/>
                    <a:pt x="4167" y="3887"/>
                    <a:pt x="4144" y="3875"/>
                  </a:cubicBezTo>
                  <a:cubicBezTo>
                    <a:pt x="4120" y="3696"/>
                    <a:pt x="3965" y="3577"/>
                    <a:pt x="3798" y="3577"/>
                  </a:cubicBezTo>
                  <a:lnTo>
                    <a:pt x="3774" y="3577"/>
                  </a:lnTo>
                  <a:lnTo>
                    <a:pt x="3274" y="3589"/>
                  </a:lnTo>
                  <a:lnTo>
                    <a:pt x="3393" y="3220"/>
                  </a:lnTo>
                  <a:cubicBezTo>
                    <a:pt x="3405" y="3184"/>
                    <a:pt x="3441" y="3172"/>
                    <a:pt x="3465" y="3160"/>
                  </a:cubicBezTo>
                  <a:lnTo>
                    <a:pt x="3834" y="3041"/>
                  </a:lnTo>
                  <a:close/>
                  <a:moveTo>
                    <a:pt x="7596" y="3601"/>
                  </a:moveTo>
                  <a:cubicBezTo>
                    <a:pt x="7620" y="3601"/>
                    <a:pt x="7656" y="3601"/>
                    <a:pt x="7692" y="3636"/>
                  </a:cubicBezTo>
                  <a:lnTo>
                    <a:pt x="8025" y="3958"/>
                  </a:lnTo>
                  <a:lnTo>
                    <a:pt x="8025" y="4256"/>
                  </a:lnTo>
                  <a:cubicBezTo>
                    <a:pt x="7977" y="5232"/>
                    <a:pt x="7584" y="6137"/>
                    <a:pt x="6906" y="6815"/>
                  </a:cubicBezTo>
                  <a:cubicBezTo>
                    <a:pt x="6799" y="6923"/>
                    <a:pt x="6692" y="7030"/>
                    <a:pt x="6572" y="7113"/>
                  </a:cubicBezTo>
                  <a:cubicBezTo>
                    <a:pt x="6632" y="7030"/>
                    <a:pt x="6680" y="6935"/>
                    <a:pt x="6727" y="6851"/>
                  </a:cubicBezTo>
                  <a:lnTo>
                    <a:pt x="7465" y="5125"/>
                  </a:lnTo>
                  <a:cubicBezTo>
                    <a:pt x="7501" y="5065"/>
                    <a:pt x="7489" y="5006"/>
                    <a:pt x="7454" y="4958"/>
                  </a:cubicBezTo>
                  <a:cubicBezTo>
                    <a:pt x="7418" y="4910"/>
                    <a:pt x="7358" y="4887"/>
                    <a:pt x="7299" y="4887"/>
                  </a:cubicBezTo>
                  <a:lnTo>
                    <a:pt x="7227" y="4887"/>
                  </a:lnTo>
                  <a:lnTo>
                    <a:pt x="7632" y="4077"/>
                  </a:lnTo>
                  <a:cubicBezTo>
                    <a:pt x="7704" y="3946"/>
                    <a:pt x="7668" y="3779"/>
                    <a:pt x="7525" y="3696"/>
                  </a:cubicBezTo>
                  <a:lnTo>
                    <a:pt x="7501" y="3660"/>
                  </a:lnTo>
                  <a:lnTo>
                    <a:pt x="7513" y="3648"/>
                  </a:lnTo>
                  <a:cubicBezTo>
                    <a:pt x="7537" y="3601"/>
                    <a:pt x="7573" y="3601"/>
                    <a:pt x="7596" y="3601"/>
                  </a:cubicBezTo>
                  <a:close/>
                  <a:moveTo>
                    <a:pt x="4239" y="1"/>
                  </a:moveTo>
                  <a:cubicBezTo>
                    <a:pt x="4176" y="1"/>
                    <a:pt x="4112" y="2"/>
                    <a:pt x="4048" y="5"/>
                  </a:cubicBezTo>
                  <a:cubicBezTo>
                    <a:pt x="3001" y="41"/>
                    <a:pt x="2000" y="481"/>
                    <a:pt x="1262" y="1220"/>
                  </a:cubicBezTo>
                  <a:cubicBezTo>
                    <a:pt x="512" y="1970"/>
                    <a:pt x="84" y="2946"/>
                    <a:pt x="36" y="4006"/>
                  </a:cubicBezTo>
                  <a:cubicBezTo>
                    <a:pt x="0" y="5041"/>
                    <a:pt x="334" y="6053"/>
                    <a:pt x="1012" y="6863"/>
                  </a:cubicBezTo>
                  <a:cubicBezTo>
                    <a:pt x="1036" y="6911"/>
                    <a:pt x="1084" y="6923"/>
                    <a:pt x="1131" y="6923"/>
                  </a:cubicBezTo>
                  <a:cubicBezTo>
                    <a:pt x="1155" y="6923"/>
                    <a:pt x="1203" y="6911"/>
                    <a:pt x="1227" y="6875"/>
                  </a:cubicBezTo>
                  <a:cubicBezTo>
                    <a:pt x="1310" y="6815"/>
                    <a:pt x="1310" y="6708"/>
                    <a:pt x="1250" y="6649"/>
                  </a:cubicBezTo>
                  <a:cubicBezTo>
                    <a:pt x="631" y="5922"/>
                    <a:pt x="310" y="4982"/>
                    <a:pt x="357" y="4017"/>
                  </a:cubicBezTo>
                  <a:cubicBezTo>
                    <a:pt x="393" y="3053"/>
                    <a:pt x="786" y="2148"/>
                    <a:pt x="1465" y="1458"/>
                  </a:cubicBezTo>
                  <a:cubicBezTo>
                    <a:pt x="2155" y="779"/>
                    <a:pt x="3060" y="374"/>
                    <a:pt x="4025" y="338"/>
                  </a:cubicBezTo>
                  <a:cubicBezTo>
                    <a:pt x="4081" y="335"/>
                    <a:pt x="4137" y="334"/>
                    <a:pt x="4192" y="334"/>
                  </a:cubicBezTo>
                  <a:cubicBezTo>
                    <a:pt x="4358" y="334"/>
                    <a:pt x="4519" y="347"/>
                    <a:pt x="4679" y="374"/>
                  </a:cubicBezTo>
                  <a:lnTo>
                    <a:pt x="4906" y="636"/>
                  </a:lnTo>
                  <a:lnTo>
                    <a:pt x="4822" y="862"/>
                  </a:lnTo>
                  <a:lnTo>
                    <a:pt x="4679" y="624"/>
                  </a:lnTo>
                  <a:cubicBezTo>
                    <a:pt x="4656" y="577"/>
                    <a:pt x="4596" y="541"/>
                    <a:pt x="4536" y="541"/>
                  </a:cubicBezTo>
                  <a:lnTo>
                    <a:pt x="4001" y="541"/>
                  </a:lnTo>
                  <a:cubicBezTo>
                    <a:pt x="3941" y="541"/>
                    <a:pt x="3882" y="565"/>
                    <a:pt x="3858" y="624"/>
                  </a:cubicBezTo>
                  <a:lnTo>
                    <a:pt x="3477" y="1327"/>
                  </a:lnTo>
                  <a:cubicBezTo>
                    <a:pt x="3441" y="1410"/>
                    <a:pt x="3441" y="1529"/>
                    <a:pt x="3477" y="1624"/>
                  </a:cubicBezTo>
                  <a:cubicBezTo>
                    <a:pt x="3524" y="1708"/>
                    <a:pt x="3632" y="1767"/>
                    <a:pt x="3739" y="1791"/>
                  </a:cubicBezTo>
                  <a:lnTo>
                    <a:pt x="4036" y="1815"/>
                  </a:lnTo>
                  <a:cubicBezTo>
                    <a:pt x="4096" y="1815"/>
                    <a:pt x="4155" y="1803"/>
                    <a:pt x="4179" y="1743"/>
                  </a:cubicBezTo>
                  <a:lnTo>
                    <a:pt x="4286" y="1577"/>
                  </a:lnTo>
                  <a:lnTo>
                    <a:pt x="4346" y="1648"/>
                  </a:lnTo>
                  <a:lnTo>
                    <a:pt x="4298" y="1934"/>
                  </a:lnTo>
                  <a:lnTo>
                    <a:pt x="3798" y="2005"/>
                  </a:lnTo>
                  <a:cubicBezTo>
                    <a:pt x="3763" y="2005"/>
                    <a:pt x="3751" y="2029"/>
                    <a:pt x="3715" y="2041"/>
                  </a:cubicBezTo>
                  <a:lnTo>
                    <a:pt x="3072" y="2517"/>
                  </a:lnTo>
                  <a:cubicBezTo>
                    <a:pt x="3048" y="2541"/>
                    <a:pt x="3024" y="2577"/>
                    <a:pt x="3024" y="2601"/>
                  </a:cubicBezTo>
                  <a:lnTo>
                    <a:pt x="2941" y="2898"/>
                  </a:lnTo>
                  <a:lnTo>
                    <a:pt x="2727" y="2874"/>
                  </a:lnTo>
                  <a:cubicBezTo>
                    <a:pt x="2716" y="2874"/>
                    <a:pt x="2706" y="2873"/>
                    <a:pt x="2696" y="2873"/>
                  </a:cubicBezTo>
                  <a:cubicBezTo>
                    <a:pt x="2565" y="2873"/>
                    <a:pt x="2449" y="2943"/>
                    <a:pt x="2405" y="3065"/>
                  </a:cubicBezTo>
                  <a:lnTo>
                    <a:pt x="2274" y="3422"/>
                  </a:lnTo>
                  <a:cubicBezTo>
                    <a:pt x="2250" y="3494"/>
                    <a:pt x="2250" y="3589"/>
                    <a:pt x="2286" y="3660"/>
                  </a:cubicBezTo>
                  <a:cubicBezTo>
                    <a:pt x="2334" y="3732"/>
                    <a:pt x="2393" y="3791"/>
                    <a:pt x="2465" y="3815"/>
                  </a:cubicBezTo>
                  <a:cubicBezTo>
                    <a:pt x="2322" y="3887"/>
                    <a:pt x="2215" y="4029"/>
                    <a:pt x="2203" y="4196"/>
                  </a:cubicBezTo>
                  <a:lnTo>
                    <a:pt x="2203" y="4268"/>
                  </a:lnTo>
                  <a:lnTo>
                    <a:pt x="1739" y="4791"/>
                  </a:lnTo>
                  <a:cubicBezTo>
                    <a:pt x="1667" y="4863"/>
                    <a:pt x="1631" y="4970"/>
                    <a:pt x="1631" y="5077"/>
                  </a:cubicBezTo>
                  <a:lnTo>
                    <a:pt x="1631" y="5684"/>
                  </a:lnTo>
                  <a:cubicBezTo>
                    <a:pt x="1631" y="5839"/>
                    <a:pt x="1691" y="5994"/>
                    <a:pt x="1810" y="6101"/>
                  </a:cubicBezTo>
                  <a:lnTo>
                    <a:pt x="2239" y="6518"/>
                  </a:lnTo>
                  <a:cubicBezTo>
                    <a:pt x="2334" y="6613"/>
                    <a:pt x="2465" y="6673"/>
                    <a:pt x="2596" y="6684"/>
                  </a:cubicBezTo>
                  <a:lnTo>
                    <a:pt x="3882" y="6792"/>
                  </a:lnTo>
                  <a:lnTo>
                    <a:pt x="3882" y="6827"/>
                  </a:lnTo>
                  <a:cubicBezTo>
                    <a:pt x="3870" y="6994"/>
                    <a:pt x="3929" y="7149"/>
                    <a:pt x="4060" y="7232"/>
                  </a:cubicBezTo>
                  <a:lnTo>
                    <a:pt x="4286" y="7399"/>
                  </a:lnTo>
                  <a:lnTo>
                    <a:pt x="4263" y="7446"/>
                  </a:lnTo>
                  <a:cubicBezTo>
                    <a:pt x="4203" y="7601"/>
                    <a:pt x="4263" y="7804"/>
                    <a:pt x="4406" y="7899"/>
                  </a:cubicBezTo>
                  <a:lnTo>
                    <a:pt x="4465" y="7958"/>
                  </a:lnTo>
                  <a:cubicBezTo>
                    <a:pt x="4406" y="7958"/>
                    <a:pt x="4358" y="7982"/>
                    <a:pt x="4298" y="7982"/>
                  </a:cubicBezTo>
                  <a:cubicBezTo>
                    <a:pt x="4250" y="7984"/>
                    <a:pt x="4202" y="7985"/>
                    <a:pt x="4153" y="7985"/>
                  </a:cubicBezTo>
                  <a:cubicBezTo>
                    <a:pt x="3241" y="7985"/>
                    <a:pt x="2368" y="7666"/>
                    <a:pt x="1667" y="7089"/>
                  </a:cubicBezTo>
                  <a:cubicBezTo>
                    <a:pt x="1630" y="7062"/>
                    <a:pt x="1590" y="7050"/>
                    <a:pt x="1553" y="7050"/>
                  </a:cubicBezTo>
                  <a:cubicBezTo>
                    <a:pt x="1508" y="7050"/>
                    <a:pt x="1467" y="7068"/>
                    <a:pt x="1441" y="7101"/>
                  </a:cubicBezTo>
                  <a:cubicBezTo>
                    <a:pt x="1381" y="7173"/>
                    <a:pt x="1393" y="7280"/>
                    <a:pt x="1453" y="7327"/>
                  </a:cubicBezTo>
                  <a:cubicBezTo>
                    <a:pt x="2215" y="7958"/>
                    <a:pt x="3155" y="8304"/>
                    <a:pt x="4132" y="8304"/>
                  </a:cubicBezTo>
                  <a:lnTo>
                    <a:pt x="4298" y="8304"/>
                  </a:lnTo>
                  <a:cubicBezTo>
                    <a:pt x="5334" y="8256"/>
                    <a:pt x="6334" y="7827"/>
                    <a:pt x="7084" y="7089"/>
                  </a:cubicBezTo>
                  <a:cubicBezTo>
                    <a:pt x="7823" y="6339"/>
                    <a:pt x="8251" y="5363"/>
                    <a:pt x="8299" y="4303"/>
                  </a:cubicBezTo>
                  <a:cubicBezTo>
                    <a:pt x="8394" y="3220"/>
                    <a:pt x="8049" y="2208"/>
                    <a:pt x="7382" y="1422"/>
                  </a:cubicBezTo>
                  <a:cubicBezTo>
                    <a:pt x="7350" y="1377"/>
                    <a:pt x="7304" y="1356"/>
                    <a:pt x="7258" y="1356"/>
                  </a:cubicBezTo>
                  <a:cubicBezTo>
                    <a:pt x="7220" y="1356"/>
                    <a:pt x="7183" y="1371"/>
                    <a:pt x="7156" y="1398"/>
                  </a:cubicBezTo>
                  <a:cubicBezTo>
                    <a:pt x="7084" y="1458"/>
                    <a:pt x="7084" y="1565"/>
                    <a:pt x="7144" y="1624"/>
                  </a:cubicBezTo>
                  <a:cubicBezTo>
                    <a:pt x="7584" y="2148"/>
                    <a:pt x="7870" y="2791"/>
                    <a:pt x="7989" y="3458"/>
                  </a:cubicBezTo>
                  <a:lnTo>
                    <a:pt x="7942" y="3410"/>
                  </a:lnTo>
                  <a:cubicBezTo>
                    <a:pt x="7867" y="3335"/>
                    <a:pt x="7754" y="3289"/>
                    <a:pt x="7628" y="3289"/>
                  </a:cubicBezTo>
                  <a:cubicBezTo>
                    <a:pt x="7614" y="3289"/>
                    <a:pt x="7599" y="3290"/>
                    <a:pt x="7584" y="3291"/>
                  </a:cubicBezTo>
                  <a:cubicBezTo>
                    <a:pt x="7454" y="3303"/>
                    <a:pt x="7334" y="3386"/>
                    <a:pt x="7263" y="3506"/>
                  </a:cubicBezTo>
                  <a:lnTo>
                    <a:pt x="7227" y="3541"/>
                  </a:lnTo>
                  <a:cubicBezTo>
                    <a:pt x="7156" y="3541"/>
                    <a:pt x="7084" y="3577"/>
                    <a:pt x="7025" y="3625"/>
                  </a:cubicBezTo>
                  <a:lnTo>
                    <a:pt x="6811" y="3363"/>
                  </a:lnTo>
                  <a:cubicBezTo>
                    <a:pt x="6779" y="3325"/>
                    <a:pt x="6739" y="3307"/>
                    <a:pt x="6698" y="3307"/>
                  </a:cubicBezTo>
                  <a:cubicBezTo>
                    <a:pt x="6661" y="3307"/>
                    <a:pt x="6625" y="3322"/>
                    <a:pt x="6596" y="3351"/>
                  </a:cubicBezTo>
                  <a:cubicBezTo>
                    <a:pt x="6513" y="3410"/>
                    <a:pt x="6513" y="3517"/>
                    <a:pt x="6572" y="3577"/>
                  </a:cubicBezTo>
                  <a:lnTo>
                    <a:pt x="6906" y="3958"/>
                  </a:lnTo>
                  <a:cubicBezTo>
                    <a:pt x="6930" y="3994"/>
                    <a:pt x="6977" y="4017"/>
                    <a:pt x="7025" y="4017"/>
                  </a:cubicBezTo>
                  <a:cubicBezTo>
                    <a:pt x="7073" y="4017"/>
                    <a:pt x="7108" y="4006"/>
                    <a:pt x="7144" y="3970"/>
                  </a:cubicBezTo>
                  <a:lnTo>
                    <a:pt x="7251" y="3875"/>
                  </a:lnTo>
                  <a:lnTo>
                    <a:pt x="7382" y="3958"/>
                  </a:lnTo>
                  <a:lnTo>
                    <a:pt x="6894" y="4934"/>
                  </a:lnTo>
                  <a:lnTo>
                    <a:pt x="6858" y="4934"/>
                  </a:lnTo>
                  <a:cubicBezTo>
                    <a:pt x="6834" y="4934"/>
                    <a:pt x="6787" y="4910"/>
                    <a:pt x="6775" y="4887"/>
                  </a:cubicBezTo>
                  <a:lnTo>
                    <a:pt x="6132" y="4101"/>
                  </a:lnTo>
                  <a:cubicBezTo>
                    <a:pt x="6098" y="4053"/>
                    <a:pt x="6049" y="4033"/>
                    <a:pt x="6001" y="4033"/>
                  </a:cubicBezTo>
                  <a:cubicBezTo>
                    <a:pt x="5966" y="4033"/>
                    <a:pt x="5931" y="4045"/>
                    <a:pt x="5906" y="4065"/>
                  </a:cubicBezTo>
                  <a:cubicBezTo>
                    <a:pt x="5834" y="4125"/>
                    <a:pt x="5834" y="4232"/>
                    <a:pt x="5882" y="4291"/>
                  </a:cubicBezTo>
                  <a:lnTo>
                    <a:pt x="6513" y="5077"/>
                  </a:lnTo>
                  <a:cubicBezTo>
                    <a:pt x="6608" y="5184"/>
                    <a:pt x="6739" y="5244"/>
                    <a:pt x="6894" y="5244"/>
                  </a:cubicBezTo>
                  <a:lnTo>
                    <a:pt x="7096" y="5232"/>
                  </a:lnTo>
                  <a:lnTo>
                    <a:pt x="6453" y="6720"/>
                  </a:lnTo>
                  <a:cubicBezTo>
                    <a:pt x="6418" y="6815"/>
                    <a:pt x="6346" y="6923"/>
                    <a:pt x="6275" y="7018"/>
                  </a:cubicBezTo>
                  <a:lnTo>
                    <a:pt x="5775" y="7625"/>
                  </a:lnTo>
                  <a:cubicBezTo>
                    <a:pt x="5513" y="7744"/>
                    <a:pt x="5251" y="7816"/>
                    <a:pt x="4965" y="7875"/>
                  </a:cubicBezTo>
                  <a:lnTo>
                    <a:pt x="4691" y="7625"/>
                  </a:lnTo>
                  <a:cubicBezTo>
                    <a:pt x="4656" y="7589"/>
                    <a:pt x="4644" y="7554"/>
                    <a:pt x="4656" y="7506"/>
                  </a:cubicBezTo>
                  <a:lnTo>
                    <a:pt x="4703" y="7339"/>
                  </a:lnTo>
                  <a:cubicBezTo>
                    <a:pt x="4715" y="7280"/>
                    <a:pt x="4703" y="7208"/>
                    <a:pt x="4644" y="7161"/>
                  </a:cubicBezTo>
                  <a:lnTo>
                    <a:pt x="4322" y="6923"/>
                  </a:lnTo>
                  <a:cubicBezTo>
                    <a:pt x="4298" y="6899"/>
                    <a:pt x="4286" y="6863"/>
                    <a:pt x="4286" y="6815"/>
                  </a:cubicBezTo>
                  <a:lnTo>
                    <a:pt x="4310" y="6613"/>
                  </a:lnTo>
                  <a:cubicBezTo>
                    <a:pt x="4310" y="6565"/>
                    <a:pt x="4310" y="6518"/>
                    <a:pt x="4286" y="6494"/>
                  </a:cubicBezTo>
                  <a:cubicBezTo>
                    <a:pt x="4251" y="6458"/>
                    <a:pt x="4203" y="6434"/>
                    <a:pt x="4167" y="6434"/>
                  </a:cubicBezTo>
                  <a:lnTo>
                    <a:pt x="2703" y="6315"/>
                  </a:lnTo>
                  <a:cubicBezTo>
                    <a:pt x="2643" y="6315"/>
                    <a:pt x="2596" y="6280"/>
                    <a:pt x="2560" y="6244"/>
                  </a:cubicBezTo>
                  <a:lnTo>
                    <a:pt x="2120" y="5827"/>
                  </a:lnTo>
                  <a:cubicBezTo>
                    <a:pt x="2084" y="5780"/>
                    <a:pt x="2048" y="5708"/>
                    <a:pt x="2048" y="5649"/>
                  </a:cubicBezTo>
                  <a:lnTo>
                    <a:pt x="2048" y="5030"/>
                  </a:lnTo>
                  <a:cubicBezTo>
                    <a:pt x="2048" y="5006"/>
                    <a:pt x="2060" y="4970"/>
                    <a:pt x="2084" y="4958"/>
                  </a:cubicBezTo>
                  <a:lnTo>
                    <a:pt x="2572" y="4398"/>
                  </a:lnTo>
                  <a:cubicBezTo>
                    <a:pt x="2596" y="4363"/>
                    <a:pt x="2620" y="4339"/>
                    <a:pt x="2620" y="4291"/>
                  </a:cubicBezTo>
                  <a:lnTo>
                    <a:pt x="2620" y="4160"/>
                  </a:lnTo>
                  <a:cubicBezTo>
                    <a:pt x="2620" y="4113"/>
                    <a:pt x="2643" y="4065"/>
                    <a:pt x="2691" y="4053"/>
                  </a:cubicBezTo>
                  <a:lnTo>
                    <a:pt x="3072" y="3887"/>
                  </a:lnTo>
                  <a:lnTo>
                    <a:pt x="3810" y="3875"/>
                  </a:lnTo>
                  <a:cubicBezTo>
                    <a:pt x="3822" y="3875"/>
                    <a:pt x="3834" y="3887"/>
                    <a:pt x="3834" y="3898"/>
                  </a:cubicBezTo>
                  <a:cubicBezTo>
                    <a:pt x="3846" y="4029"/>
                    <a:pt x="3953" y="4137"/>
                    <a:pt x="4072" y="4184"/>
                  </a:cubicBezTo>
                  <a:lnTo>
                    <a:pt x="4596" y="4363"/>
                  </a:lnTo>
                  <a:cubicBezTo>
                    <a:pt x="4628" y="4370"/>
                    <a:pt x="4661" y="4374"/>
                    <a:pt x="4693" y="4374"/>
                  </a:cubicBezTo>
                  <a:cubicBezTo>
                    <a:pt x="4766" y="4374"/>
                    <a:pt x="4836" y="4353"/>
                    <a:pt x="4894" y="4303"/>
                  </a:cubicBezTo>
                  <a:cubicBezTo>
                    <a:pt x="4953" y="4244"/>
                    <a:pt x="5001" y="4148"/>
                    <a:pt x="4989" y="4065"/>
                  </a:cubicBezTo>
                  <a:lnTo>
                    <a:pt x="5644" y="4017"/>
                  </a:lnTo>
                  <a:cubicBezTo>
                    <a:pt x="5751" y="4006"/>
                    <a:pt x="5882" y="3946"/>
                    <a:pt x="5953" y="3839"/>
                  </a:cubicBezTo>
                  <a:cubicBezTo>
                    <a:pt x="6025" y="3732"/>
                    <a:pt x="6060" y="3613"/>
                    <a:pt x="6025" y="3482"/>
                  </a:cubicBezTo>
                  <a:lnTo>
                    <a:pt x="6013" y="3398"/>
                  </a:lnTo>
                  <a:cubicBezTo>
                    <a:pt x="5980" y="3258"/>
                    <a:pt x="5870" y="3157"/>
                    <a:pt x="5725" y="3157"/>
                  </a:cubicBezTo>
                  <a:cubicBezTo>
                    <a:pt x="5710" y="3157"/>
                    <a:pt x="5695" y="3158"/>
                    <a:pt x="5679" y="3160"/>
                  </a:cubicBezTo>
                  <a:lnTo>
                    <a:pt x="5346" y="3184"/>
                  </a:lnTo>
                  <a:lnTo>
                    <a:pt x="5298" y="3125"/>
                  </a:lnTo>
                  <a:lnTo>
                    <a:pt x="5739" y="2684"/>
                  </a:lnTo>
                  <a:cubicBezTo>
                    <a:pt x="5799" y="2624"/>
                    <a:pt x="5799" y="2517"/>
                    <a:pt x="5739" y="2458"/>
                  </a:cubicBezTo>
                  <a:cubicBezTo>
                    <a:pt x="5709" y="2428"/>
                    <a:pt x="5671" y="2413"/>
                    <a:pt x="5632" y="2413"/>
                  </a:cubicBezTo>
                  <a:cubicBezTo>
                    <a:pt x="5593" y="2413"/>
                    <a:pt x="5554" y="2428"/>
                    <a:pt x="5525" y="2458"/>
                  </a:cubicBezTo>
                  <a:lnTo>
                    <a:pt x="4965" y="3005"/>
                  </a:lnTo>
                  <a:lnTo>
                    <a:pt x="4787" y="3077"/>
                  </a:lnTo>
                  <a:lnTo>
                    <a:pt x="4286" y="2696"/>
                  </a:lnTo>
                  <a:cubicBezTo>
                    <a:pt x="4251" y="2669"/>
                    <a:pt x="4208" y="2656"/>
                    <a:pt x="4169" y="2656"/>
                  </a:cubicBezTo>
                  <a:cubicBezTo>
                    <a:pt x="4156" y="2656"/>
                    <a:pt x="4144" y="2657"/>
                    <a:pt x="4132" y="2660"/>
                  </a:cubicBezTo>
                  <a:lnTo>
                    <a:pt x="3417" y="2886"/>
                  </a:lnTo>
                  <a:cubicBezTo>
                    <a:pt x="3405" y="2886"/>
                    <a:pt x="3370" y="2898"/>
                    <a:pt x="3358" y="2922"/>
                  </a:cubicBezTo>
                  <a:lnTo>
                    <a:pt x="3405" y="2708"/>
                  </a:lnTo>
                  <a:lnTo>
                    <a:pt x="3977" y="2291"/>
                  </a:lnTo>
                  <a:lnTo>
                    <a:pt x="4548" y="2208"/>
                  </a:lnTo>
                  <a:cubicBezTo>
                    <a:pt x="4632" y="2184"/>
                    <a:pt x="4691" y="2148"/>
                    <a:pt x="4691" y="2065"/>
                  </a:cubicBezTo>
                  <a:lnTo>
                    <a:pt x="4751" y="1589"/>
                  </a:lnTo>
                  <a:cubicBezTo>
                    <a:pt x="4751" y="1553"/>
                    <a:pt x="4751" y="1505"/>
                    <a:pt x="4715" y="1470"/>
                  </a:cubicBezTo>
                  <a:lnTo>
                    <a:pt x="4477" y="1172"/>
                  </a:lnTo>
                  <a:cubicBezTo>
                    <a:pt x="4441" y="1136"/>
                    <a:pt x="4406" y="1112"/>
                    <a:pt x="4346" y="1112"/>
                  </a:cubicBezTo>
                  <a:cubicBezTo>
                    <a:pt x="4298" y="1112"/>
                    <a:pt x="4239" y="1148"/>
                    <a:pt x="4215" y="1196"/>
                  </a:cubicBezTo>
                  <a:lnTo>
                    <a:pt x="4036" y="1446"/>
                  </a:lnTo>
                  <a:lnTo>
                    <a:pt x="3834" y="1434"/>
                  </a:lnTo>
                  <a:lnTo>
                    <a:pt x="4155" y="815"/>
                  </a:lnTo>
                  <a:lnTo>
                    <a:pt x="4477" y="815"/>
                  </a:lnTo>
                  <a:lnTo>
                    <a:pt x="4727" y="1267"/>
                  </a:lnTo>
                  <a:cubicBezTo>
                    <a:pt x="4763" y="1327"/>
                    <a:pt x="4822" y="1350"/>
                    <a:pt x="4882" y="1350"/>
                  </a:cubicBezTo>
                  <a:cubicBezTo>
                    <a:pt x="4941" y="1350"/>
                    <a:pt x="5001" y="1315"/>
                    <a:pt x="5025" y="1255"/>
                  </a:cubicBezTo>
                  <a:lnTo>
                    <a:pt x="5251" y="719"/>
                  </a:lnTo>
                  <a:cubicBezTo>
                    <a:pt x="5298" y="624"/>
                    <a:pt x="5287" y="505"/>
                    <a:pt x="5215" y="434"/>
                  </a:cubicBezTo>
                  <a:lnTo>
                    <a:pt x="5215" y="434"/>
                  </a:lnTo>
                  <a:cubicBezTo>
                    <a:pt x="5751" y="577"/>
                    <a:pt x="6263" y="839"/>
                    <a:pt x="6692" y="1208"/>
                  </a:cubicBezTo>
                  <a:cubicBezTo>
                    <a:pt x="6724" y="1234"/>
                    <a:pt x="6763" y="1247"/>
                    <a:pt x="6801" y="1247"/>
                  </a:cubicBezTo>
                  <a:cubicBezTo>
                    <a:pt x="6847" y="1247"/>
                    <a:pt x="6892" y="1228"/>
                    <a:pt x="6918" y="1196"/>
                  </a:cubicBezTo>
                  <a:cubicBezTo>
                    <a:pt x="6977" y="1112"/>
                    <a:pt x="6965" y="1017"/>
                    <a:pt x="6906" y="969"/>
                  </a:cubicBezTo>
                  <a:cubicBezTo>
                    <a:pt x="6157" y="343"/>
                    <a:pt x="5219"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2" name="Google Shape;13532;p64"/>
          <p:cNvGrpSpPr/>
          <p:nvPr/>
        </p:nvGrpSpPr>
        <p:grpSpPr>
          <a:xfrm>
            <a:off x="8065100" y="2000174"/>
            <a:ext cx="255086" cy="301685"/>
            <a:chOff x="8065100" y="2000174"/>
            <a:chExt cx="255086" cy="301685"/>
          </a:xfrm>
        </p:grpSpPr>
        <p:sp>
          <p:nvSpPr>
            <p:cNvPr id="13533" name="Google Shape;13533;p64"/>
            <p:cNvSpPr/>
            <p:nvPr/>
          </p:nvSpPr>
          <p:spPr>
            <a:xfrm>
              <a:off x="8085185" y="2151016"/>
              <a:ext cx="65220" cy="150842"/>
            </a:xfrm>
            <a:custGeom>
              <a:avLst/>
              <a:gdLst/>
              <a:ahLst/>
              <a:cxnLst/>
              <a:rect l="l" t="t" r="r" b="b"/>
              <a:pathLst>
                <a:path w="2049" h="4739" extrusionOk="0">
                  <a:moveTo>
                    <a:pt x="1144" y="274"/>
                  </a:moveTo>
                  <a:cubicBezTo>
                    <a:pt x="1299" y="274"/>
                    <a:pt x="1453" y="405"/>
                    <a:pt x="1453" y="583"/>
                  </a:cubicBezTo>
                  <a:lnTo>
                    <a:pt x="1453" y="881"/>
                  </a:lnTo>
                  <a:cubicBezTo>
                    <a:pt x="1453" y="1155"/>
                    <a:pt x="1251" y="1345"/>
                    <a:pt x="989" y="1345"/>
                  </a:cubicBezTo>
                  <a:cubicBezTo>
                    <a:pt x="739" y="1345"/>
                    <a:pt x="537" y="1131"/>
                    <a:pt x="537" y="881"/>
                  </a:cubicBezTo>
                  <a:lnTo>
                    <a:pt x="537" y="583"/>
                  </a:lnTo>
                  <a:cubicBezTo>
                    <a:pt x="537" y="417"/>
                    <a:pt x="668" y="274"/>
                    <a:pt x="846" y="274"/>
                  </a:cubicBezTo>
                  <a:close/>
                  <a:moveTo>
                    <a:pt x="1144" y="1631"/>
                  </a:moveTo>
                  <a:lnTo>
                    <a:pt x="1144" y="1691"/>
                  </a:lnTo>
                  <a:cubicBezTo>
                    <a:pt x="1144" y="1726"/>
                    <a:pt x="1156" y="1786"/>
                    <a:pt x="1180" y="1834"/>
                  </a:cubicBezTo>
                  <a:lnTo>
                    <a:pt x="989" y="2024"/>
                  </a:lnTo>
                  <a:lnTo>
                    <a:pt x="787" y="1834"/>
                  </a:lnTo>
                  <a:cubicBezTo>
                    <a:pt x="810" y="1786"/>
                    <a:pt x="822" y="1738"/>
                    <a:pt x="822" y="1691"/>
                  </a:cubicBezTo>
                  <a:lnTo>
                    <a:pt x="822" y="1631"/>
                  </a:lnTo>
                  <a:close/>
                  <a:moveTo>
                    <a:pt x="858" y="0"/>
                  </a:moveTo>
                  <a:cubicBezTo>
                    <a:pt x="537" y="0"/>
                    <a:pt x="275" y="274"/>
                    <a:pt x="275" y="583"/>
                  </a:cubicBezTo>
                  <a:lnTo>
                    <a:pt x="275" y="881"/>
                  </a:lnTo>
                  <a:cubicBezTo>
                    <a:pt x="275" y="1119"/>
                    <a:pt x="394" y="1345"/>
                    <a:pt x="572" y="1476"/>
                  </a:cubicBezTo>
                  <a:lnTo>
                    <a:pt x="572" y="1691"/>
                  </a:lnTo>
                  <a:lnTo>
                    <a:pt x="572" y="1703"/>
                  </a:lnTo>
                  <a:lnTo>
                    <a:pt x="239" y="1881"/>
                  </a:lnTo>
                  <a:cubicBezTo>
                    <a:pt x="84" y="1953"/>
                    <a:pt x="1" y="2107"/>
                    <a:pt x="1" y="2262"/>
                  </a:cubicBezTo>
                  <a:lnTo>
                    <a:pt x="1" y="3572"/>
                  </a:lnTo>
                  <a:cubicBezTo>
                    <a:pt x="1" y="3691"/>
                    <a:pt x="25" y="3798"/>
                    <a:pt x="96" y="3905"/>
                  </a:cubicBezTo>
                  <a:lnTo>
                    <a:pt x="251" y="4132"/>
                  </a:lnTo>
                  <a:cubicBezTo>
                    <a:pt x="275" y="4167"/>
                    <a:pt x="298" y="4227"/>
                    <a:pt x="298" y="4286"/>
                  </a:cubicBezTo>
                  <a:lnTo>
                    <a:pt x="298" y="4608"/>
                  </a:lnTo>
                  <a:cubicBezTo>
                    <a:pt x="298" y="4679"/>
                    <a:pt x="358" y="4739"/>
                    <a:pt x="429" y="4739"/>
                  </a:cubicBezTo>
                  <a:cubicBezTo>
                    <a:pt x="501" y="4739"/>
                    <a:pt x="560" y="4679"/>
                    <a:pt x="560" y="4608"/>
                  </a:cubicBezTo>
                  <a:lnTo>
                    <a:pt x="560" y="4286"/>
                  </a:lnTo>
                  <a:cubicBezTo>
                    <a:pt x="560" y="4167"/>
                    <a:pt x="537" y="4072"/>
                    <a:pt x="453" y="3965"/>
                  </a:cubicBezTo>
                  <a:lnTo>
                    <a:pt x="310" y="3739"/>
                  </a:lnTo>
                  <a:cubicBezTo>
                    <a:pt x="275" y="3691"/>
                    <a:pt x="263" y="3631"/>
                    <a:pt x="263" y="3572"/>
                  </a:cubicBezTo>
                  <a:lnTo>
                    <a:pt x="263" y="2262"/>
                  </a:lnTo>
                  <a:cubicBezTo>
                    <a:pt x="263" y="2203"/>
                    <a:pt x="298" y="2143"/>
                    <a:pt x="358" y="2119"/>
                  </a:cubicBezTo>
                  <a:lnTo>
                    <a:pt x="596" y="2000"/>
                  </a:lnTo>
                  <a:lnTo>
                    <a:pt x="810" y="2227"/>
                  </a:lnTo>
                  <a:cubicBezTo>
                    <a:pt x="870" y="2286"/>
                    <a:pt x="953" y="2310"/>
                    <a:pt x="1025" y="2310"/>
                  </a:cubicBezTo>
                  <a:cubicBezTo>
                    <a:pt x="1096" y="2310"/>
                    <a:pt x="1168" y="2286"/>
                    <a:pt x="1227" y="2227"/>
                  </a:cubicBezTo>
                  <a:lnTo>
                    <a:pt x="1453" y="2000"/>
                  </a:lnTo>
                  <a:lnTo>
                    <a:pt x="1692" y="2119"/>
                  </a:lnTo>
                  <a:cubicBezTo>
                    <a:pt x="1751" y="2143"/>
                    <a:pt x="1787" y="2191"/>
                    <a:pt x="1787" y="2262"/>
                  </a:cubicBezTo>
                  <a:lnTo>
                    <a:pt x="1787" y="3572"/>
                  </a:lnTo>
                  <a:cubicBezTo>
                    <a:pt x="1787" y="3631"/>
                    <a:pt x="1763" y="3691"/>
                    <a:pt x="1739" y="3739"/>
                  </a:cubicBezTo>
                  <a:lnTo>
                    <a:pt x="1584" y="3965"/>
                  </a:lnTo>
                  <a:cubicBezTo>
                    <a:pt x="1525" y="4048"/>
                    <a:pt x="1489" y="4167"/>
                    <a:pt x="1489" y="4286"/>
                  </a:cubicBezTo>
                  <a:lnTo>
                    <a:pt x="1489" y="4608"/>
                  </a:lnTo>
                  <a:cubicBezTo>
                    <a:pt x="1489" y="4679"/>
                    <a:pt x="1549" y="4739"/>
                    <a:pt x="1620" y="4739"/>
                  </a:cubicBezTo>
                  <a:cubicBezTo>
                    <a:pt x="1692" y="4739"/>
                    <a:pt x="1751" y="4679"/>
                    <a:pt x="1751" y="4608"/>
                  </a:cubicBezTo>
                  <a:lnTo>
                    <a:pt x="1751" y="4286"/>
                  </a:lnTo>
                  <a:cubicBezTo>
                    <a:pt x="1751" y="4227"/>
                    <a:pt x="1763" y="4167"/>
                    <a:pt x="1799" y="4132"/>
                  </a:cubicBezTo>
                  <a:lnTo>
                    <a:pt x="1942" y="3905"/>
                  </a:lnTo>
                  <a:cubicBezTo>
                    <a:pt x="2001" y="3810"/>
                    <a:pt x="2049" y="3691"/>
                    <a:pt x="2049" y="3572"/>
                  </a:cubicBezTo>
                  <a:lnTo>
                    <a:pt x="2049" y="2262"/>
                  </a:lnTo>
                  <a:cubicBezTo>
                    <a:pt x="2025" y="2107"/>
                    <a:pt x="1930" y="1953"/>
                    <a:pt x="1787" y="1881"/>
                  </a:cubicBezTo>
                  <a:lnTo>
                    <a:pt x="1441" y="1703"/>
                  </a:lnTo>
                  <a:lnTo>
                    <a:pt x="1441" y="1691"/>
                  </a:lnTo>
                  <a:lnTo>
                    <a:pt x="1441" y="1476"/>
                  </a:lnTo>
                  <a:cubicBezTo>
                    <a:pt x="1620" y="1345"/>
                    <a:pt x="1739" y="1131"/>
                    <a:pt x="1739" y="881"/>
                  </a:cubicBezTo>
                  <a:lnTo>
                    <a:pt x="1739" y="583"/>
                  </a:lnTo>
                  <a:cubicBezTo>
                    <a:pt x="1739" y="262"/>
                    <a:pt x="1465" y="0"/>
                    <a:pt x="1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4" name="Google Shape;13534;p64"/>
            <p:cNvSpPr/>
            <p:nvPr/>
          </p:nvSpPr>
          <p:spPr>
            <a:xfrm>
              <a:off x="8161004" y="2151016"/>
              <a:ext cx="65188" cy="150842"/>
            </a:xfrm>
            <a:custGeom>
              <a:avLst/>
              <a:gdLst/>
              <a:ahLst/>
              <a:cxnLst/>
              <a:rect l="l" t="t" r="r" b="b"/>
              <a:pathLst>
                <a:path w="2048" h="4739" extrusionOk="0">
                  <a:moveTo>
                    <a:pt x="1143" y="274"/>
                  </a:moveTo>
                  <a:cubicBezTo>
                    <a:pt x="1298" y="274"/>
                    <a:pt x="1453" y="405"/>
                    <a:pt x="1453" y="583"/>
                  </a:cubicBezTo>
                  <a:lnTo>
                    <a:pt x="1453" y="881"/>
                  </a:lnTo>
                  <a:cubicBezTo>
                    <a:pt x="1441" y="1155"/>
                    <a:pt x="1250" y="1345"/>
                    <a:pt x="988" y="1345"/>
                  </a:cubicBezTo>
                  <a:cubicBezTo>
                    <a:pt x="738" y="1345"/>
                    <a:pt x="536" y="1131"/>
                    <a:pt x="536" y="881"/>
                  </a:cubicBezTo>
                  <a:lnTo>
                    <a:pt x="536" y="583"/>
                  </a:lnTo>
                  <a:cubicBezTo>
                    <a:pt x="536" y="417"/>
                    <a:pt x="667" y="274"/>
                    <a:pt x="845" y="274"/>
                  </a:cubicBezTo>
                  <a:close/>
                  <a:moveTo>
                    <a:pt x="1143" y="1631"/>
                  </a:moveTo>
                  <a:lnTo>
                    <a:pt x="1143" y="1691"/>
                  </a:lnTo>
                  <a:cubicBezTo>
                    <a:pt x="1143" y="1726"/>
                    <a:pt x="1155" y="1786"/>
                    <a:pt x="1179" y="1834"/>
                  </a:cubicBezTo>
                  <a:lnTo>
                    <a:pt x="988" y="2024"/>
                  </a:lnTo>
                  <a:lnTo>
                    <a:pt x="786" y="1834"/>
                  </a:lnTo>
                  <a:cubicBezTo>
                    <a:pt x="810" y="1786"/>
                    <a:pt x="822" y="1738"/>
                    <a:pt x="822" y="1691"/>
                  </a:cubicBezTo>
                  <a:lnTo>
                    <a:pt x="822" y="1631"/>
                  </a:lnTo>
                  <a:close/>
                  <a:moveTo>
                    <a:pt x="857" y="0"/>
                  </a:moveTo>
                  <a:cubicBezTo>
                    <a:pt x="536" y="0"/>
                    <a:pt x="274" y="274"/>
                    <a:pt x="274" y="583"/>
                  </a:cubicBezTo>
                  <a:lnTo>
                    <a:pt x="274" y="881"/>
                  </a:lnTo>
                  <a:cubicBezTo>
                    <a:pt x="274" y="1119"/>
                    <a:pt x="393" y="1345"/>
                    <a:pt x="572" y="1476"/>
                  </a:cubicBezTo>
                  <a:lnTo>
                    <a:pt x="572" y="1691"/>
                  </a:lnTo>
                  <a:lnTo>
                    <a:pt x="572" y="1703"/>
                  </a:lnTo>
                  <a:lnTo>
                    <a:pt x="238" y="1881"/>
                  </a:lnTo>
                  <a:cubicBezTo>
                    <a:pt x="83" y="1953"/>
                    <a:pt x="0" y="2107"/>
                    <a:pt x="0" y="2262"/>
                  </a:cubicBezTo>
                  <a:lnTo>
                    <a:pt x="0" y="3572"/>
                  </a:lnTo>
                  <a:cubicBezTo>
                    <a:pt x="0" y="3691"/>
                    <a:pt x="24" y="3798"/>
                    <a:pt x="95" y="3905"/>
                  </a:cubicBezTo>
                  <a:lnTo>
                    <a:pt x="250" y="4132"/>
                  </a:lnTo>
                  <a:cubicBezTo>
                    <a:pt x="274" y="4167"/>
                    <a:pt x="298" y="4227"/>
                    <a:pt x="298" y="4286"/>
                  </a:cubicBezTo>
                  <a:lnTo>
                    <a:pt x="298" y="4608"/>
                  </a:lnTo>
                  <a:cubicBezTo>
                    <a:pt x="298" y="4679"/>
                    <a:pt x="357"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7" y="2119"/>
                  </a:cubicBezTo>
                  <a:lnTo>
                    <a:pt x="595" y="2000"/>
                  </a:lnTo>
                  <a:lnTo>
                    <a:pt x="810" y="2227"/>
                  </a:lnTo>
                  <a:cubicBezTo>
                    <a:pt x="869" y="2286"/>
                    <a:pt x="953" y="2310"/>
                    <a:pt x="1024" y="2310"/>
                  </a:cubicBezTo>
                  <a:cubicBezTo>
                    <a:pt x="1095" y="2310"/>
                    <a:pt x="1167" y="2286"/>
                    <a:pt x="1226" y="2227"/>
                  </a:cubicBezTo>
                  <a:lnTo>
                    <a:pt x="1453" y="2000"/>
                  </a:lnTo>
                  <a:lnTo>
                    <a:pt x="1691" y="2119"/>
                  </a:lnTo>
                  <a:cubicBezTo>
                    <a:pt x="1750" y="2143"/>
                    <a:pt x="1786" y="2191"/>
                    <a:pt x="1786" y="2262"/>
                  </a:cubicBezTo>
                  <a:lnTo>
                    <a:pt x="1786" y="3572"/>
                  </a:lnTo>
                  <a:cubicBezTo>
                    <a:pt x="1786" y="3631"/>
                    <a:pt x="1762" y="3691"/>
                    <a:pt x="1738" y="3739"/>
                  </a:cubicBezTo>
                  <a:lnTo>
                    <a:pt x="1584" y="3965"/>
                  </a:lnTo>
                  <a:cubicBezTo>
                    <a:pt x="1524" y="4048"/>
                    <a:pt x="1488" y="4167"/>
                    <a:pt x="1488" y="4286"/>
                  </a:cubicBezTo>
                  <a:lnTo>
                    <a:pt x="1488" y="4608"/>
                  </a:lnTo>
                  <a:cubicBezTo>
                    <a:pt x="1488" y="4679"/>
                    <a:pt x="1548" y="4739"/>
                    <a:pt x="1619" y="4739"/>
                  </a:cubicBezTo>
                  <a:cubicBezTo>
                    <a:pt x="1691" y="4739"/>
                    <a:pt x="1750" y="4679"/>
                    <a:pt x="1750" y="4608"/>
                  </a:cubicBezTo>
                  <a:lnTo>
                    <a:pt x="1750" y="4286"/>
                  </a:lnTo>
                  <a:cubicBezTo>
                    <a:pt x="1750" y="4227"/>
                    <a:pt x="1762" y="4167"/>
                    <a:pt x="1798" y="4132"/>
                  </a:cubicBezTo>
                  <a:lnTo>
                    <a:pt x="1941" y="3905"/>
                  </a:lnTo>
                  <a:cubicBezTo>
                    <a:pt x="2000" y="3810"/>
                    <a:pt x="2048" y="3691"/>
                    <a:pt x="2048" y="3572"/>
                  </a:cubicBezTo>
                  <a:lnTo>
                    <a:pt x="2048" y="2262"/>
                  </a:lnTo>
                  <a:cubicBezTo>
                    <a:pt x="2024" y="2107"/>
                    <a:pt x="1929" y="1953"/>
                    <a:pt x="1786" y="1881"/>
                  </a:cubicBezTo>
                  <a:lnTo>
                    <a:pt x="1441" y="1703"/>
                  </a:lnTo>
                  <a:lnTo>
                    <a:pt x="1441" y="1691"/>
                  </a:lnTo>
                  <a:lnTo>
                    <a:pt x="1441" y="1476"/>
                  </a:lnTo>
                  <a:cubicBezTo>
                    <a:pt x="1619" y="1345"/>
                    <a:pt x="1738" y="1131"/>
                    <a:pt x="1738" y="881"/>
                  </a:cubicBezTo>
                  <a:lnTo>
                    <a:pt x="1738" y="583"/>
                  </a:lnTo>
                  <a:cubicBezTo>
                    <a:pt x="1738"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5" name="Google Shape;13535;p64"/>
            <p:cNvSpPr/>
            <p:nvPr/>
          </p:nvSpPr>
          <p:spPr>
            <a:xfrm>
              <a:off x="8236791" y="2151016"/>
              <a:ext cx="65220" cy="150842"/>
            </a:xfrm>
            <a:custGeom>
              <a:avLst/>
              <a:gdLst/>
              <a:ahLst/>
              <a:cxnLst/>
              <a:rect l="l" t="t" r="r" b="b"/>
              <a:pathLst>
                <a:path w="2049" h="4739" extrusionOk="0">
                  <a:moveTo>
                    <a:pt x="1143" y="274"/>
                  </a:moveTo>
                  <a:cubicBezTo>
                    <a:pt x="1298" y="274"/>
                    <a:pt x="1453" y="405"/>
                    <a:pt x="1453" y="583"/>
                  </a:cubicBezTo>
                  <a:lnTo>
                    <a:pt x="1453" y="881"/>
                  </a:lnTo>
                  <a:cubicBezTo>
                    <a:pt x="1441" y="1155"/>
                    <a:pt x="1250" y="1345"/>
                    <a:pt x="989" y="1345"/>
                  </a:cubicBezTo>
                  <a:cubicBezTo>
                    <a:pt x="739" y="1345"/>
                    <a:pt x="536" y="1131"/>
                    <a:pt x="536" y="881"/>
                  </a:cubicBezTo>
                  <a:lnTo>
                    <a:pt x="536" y="583"/>
                  </a:lnTo>
                  <a:cubicBezTo>
                    <a:pt x="536" y="417"/>
                    <a:pt x="667" y="274"/>
                    <a:pt x="846" y="274"/>
                  </a:cubicBezTo>
                  <a:close/>
                  <a:moveTo>
                    <a:pt x="1143" y="1631"/>
                  </a:moveTo>
                  <a:lnTo>
                    <a:pt x="1143" y="1691"/>
                  </a:lnTo>
                  <a:cubicBezTo>
                    <a:pt x="1143" y="1726"/>
                    <a:pt x="1155" y="1786"/>
                    <a:pt x="1179" y="1834"/>
                  </a:cubicBezTo>
                  <a:lnTo>
                    <a:pt x="989" y="2024"/>
                  </a:lnTo>
                  <a:lnTo>
                    <a:pt x="786" y="1834"/>
                  </a:lnTo>
                  <a:cubicBezTo>
                    <a:pt x="810" y="1786"/>
                    <a:pt x="822" y="1738"/>
                    <a:pt x="822" y="1691"/>
                  </a:cubicBezTo>
                  <a:lnTo>
                    <a:pt x="822" y="1631"/>
                  </a:lnTo>
                  <a:close/>
                  <a:moveTo>
                    <a:pt x="858" y="0"/>
                  </a:moveTo>
                  <a:cubicBezTo>
                    <a:pt x="536" y="0"/>
                    <a:pt x="274" y="274"/>
                    <a:pt x="274" y="583"/>
                  </a:cubicBezTo>
                  <a:lnTo>
                    <a:pt x="274" y="881"/>
                  </a:lnTo>
                  <a:cubicBezTo>
                    <a:pt x="274" y="1119"/>
                    <a:pt x="393" y="1345"/>
                    <a:pt x="572" y="1476"/>
                  </a:cubicBezTo>
                  <a:lnTo>
                    <a:pt x="572" y="1691"/>
                  </a:lnTo>
                  <a:lnTo>
                    <a:pt x="572" y="1703"/>
                  </a:lnTo>
                  <a:lnTo>
                    <a:pt x="238" y="1881"/>
                  </a:lnTo>
                  <a:cubicBezTo>
                    <a:pt x="84" y="1953"/>
                    <a:pt x="0" y="2107"/>
                    <a:pt x="0" y="2262"/>
                  </a:cubicBezTo>
                  <a:lnTo>
                    <a:pt x="0" y="3572"/>
                  </a:lnTo>
                  <a:cubicBezTo>
                    <a:pt x="0" y="3691"/>
                    <a:pt x="24" y="3798"/>
                    <a:pt x="96" y="3905"/>
                  </a:cubicBezTo>
                  <a:lnTo>
                    <a:pt x="250" y="4132"/>
                  </a:lnTo>
                  <a:cubicBezTo>
                    <a:pt x="274" y="4167"/>
                    <a:pt x="298" y="4227"/>
                    <a:pt x="298" y="4286"/>
                  </a:cubicBezTo>
                  <a:lnTo>
                    <a:pt x="298" y="4608"/>
                  </a:lnTo>
                  <a:cubicBezTo>
                    <a:pt x="298" y="4679"/>
                    <a:pt x="358" y="4739"/>
                    <a:pt x="429" y="4739"/>
                  </a:cubicBezTo>
                  <a:cubicBezTo>
                    <a:pt x="500" y="4739"/>
                    <a:pt x="560" y="4679"/>
                    <a:pt x="560" y="4608"/>
                  </a:cubicBezTo>
                  <a:lnTo>
                    <a:pt x="560" y="4286"/>
                  </a:lnTo>
                  <a:cubicBezTo>
                    <a:pt x="560" y="4167"/>
                    <a:pt x="536" y="4072"/>
                    <a:pt x="453" y="3965"/>
                  </a:cubicBezTo>
                  <a:lnTo>
                    <a:pt x="310" y="3739"/>
                  </a:lnTo>
                  <a:cubicBezTo>
                    <a:pt x="274" y="3691"/>
                    <a:pt x="262" y="3631"/>
                    <a:pt x="262" y="3572"/>
                  </a:cubicBezTo>
                  <a:lnTo>
                    <a:pt x="262" y="2262"/>
                  </a:lnTo>
                  <a:cubicBezTo>
                    <a:pt x="262" y="2203"/>
                    <a:pt x="298" y="2143"/>
                    <a:pt x="358" y="2119"/>
                  </a:cubicBezTo>
                  <a:lnTo>
                    <a:pt x="596" y="2000"/>
                  </a:lnTo>
                  <a:lnTo>
                    <a:pt x="810" y="2227"/>
                  </a:lnTo>
                  <a:cubicBezTo>
                    <a:pt x="869" y="2286"/>
                    <a:pt x="953" y="2310"/>
                    <a:pt x="1024" y="2310"/>
                  </a:cubicBezTo>
                  <a:cubicBezTo>
                    <a:pt x="1096" y="2310"/>
                    <a:pt x="1167" y="2286"/>
                    <a:pt x="1227" y="2227"/>
                  </a:cubicBezTo>
                  <a:lnTo>
                    <a:pt x="1453" y="2000"/>
                  </a:lnTo>
                  <a:lnTo>
                    <a:pt x="1691" y="2119"/>
                  </a:lnTo>
                  <a:cubicBezTo>
                    <a:pt x="1751" y="2143"/>
                    <a:pt x="1786" y="2191"/>
                    <a:pt x="1786" y="2262"/>
                  </a:cubicBezTo>
                  <a:lnTo>
                    <a:pt x="1786" y="3572"/>
                  </a:lnTo>
                  <a:cubicBezTo>
                    <a:pt x="1786" y="3631"/>
                    <a:pt x="1762" y="3691"/>
                    <a:pt x="1739" y="3739"/>
                  </a:cubicBezTo>
                  <a:lnTo>
                    <a:pt x="1584" y="3965"/>
                  </a:lnTo>
                  <a:cubicBezTo>
                    <a:pt x="1524" y="4048"/>
                    <a:pt x="1489" y="4167"/>
                    <a:pt x="1489" y="4286"/>
                  </a:cubicBezTo>
                  <a:lnTo>
                    <a:pt x="1489" y="4608"/>
                  </a:lnTo>
                  <a:cubicBezTo>
                    <a:pt x="1489" y="4679"/>
                    <a:pt x="1548" y="4739"/>
                    <a:pt x="1620" y="4739"/>
                  </a:cubicBezTo>
                  <a:cubicBezTo>
                    <a:pt x="1691" y="4739"/>
                    <a:pt x="1751" y="4679"/>
                    <a:pt x="1751" y="4608"/>
                  </a:cubicBezTo>
                  <a:lnTo>
                    <a:pt x="1751" y="4286"/>
                  </a:lnTo>
                  <a:cubicBezTo>
                    <a:pt x="1751" y="4227"/>
                    <a:pt x="1762" y="4167"/>
                    <a:pt x="1798" y="4132"/>
                  </a:cubicBezTo>
                  <a:lnTo>
                    <a:pt x="1941" y="3905"/>
                  </a:lnTo>
                  <a:cubicBezTo>
                    <a:pt x="2001" y="3810"/>
                    <a:pt x="2048" y="3691"/>
                    <a:pt x="2048" y="3572"/>
                  </a:cubicBezTo>
                  <a:lnTo>
                    <a:pt x="2048" y="2262"/>
                  </a:lnTo>
                  <a:cubicBezTo>
                    <a:pt x="2024" y="2107"/>
                    <a:pt x="1929" y="1953"/>
                    <a:pt x="1786" y="1881"/>
                  </a:cubicBezTo>
                  <a:lnTo>
                    <a:pt x="1441" y="1703"/>
                  </a:lnTo>
                  <a:lnTo>
                    <a:pt x="1441" y="1691"/>
                  </a:lnTo>
                  <a:lnTo>
                    <a:pt x="1441" y="1476"/>
                  </a:lnTo>
                  <a:cubicBezTo>
                    <a:pt x="1620" y="1345"/>
                    <a:pt x="1739" y="1131"/>
                    <a:pt x="1739" y="881"/>
                  </a:cubicBezTo>
                  <a:lnTo>
                    <a:pt x="1739" y="583"/>
                  </a:lnTo>
                  <a:cubicBezTo>
                    <a:pt x="1739" y="262"/>
                    <a:pt x="1465"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6" name="Google Shape;13536;p64"/>
            <p:cNvSpPr/>
            <p:nvPr/>
          </p:nvSpPr>
          <p:spPr>
            <a:xfrm>
              <a:off x="8065100" y="2000174"/>
              <a:ext cx="255086" cy="178916"/>
            </a:xfrm>
            <a:custGeom>
              <a:avLst/>
              <a:gdLst/>
              <a:ahLst/>
              <a:cxnLst/>
              <a:rect l="l" t="t" r="r" b="b"/>
              <a:pathLst>
                <a:path w="8014" h="5621" extrusionOk="0">
                  <a:moveTo>
                    <a:pt x="2680" y="512"/>
                  </a:moveTo>
                  <a:lnTo>
                    <a:pt x="2680" y="512"/>
                  </a:lnTo>
                  <a:cubicBezTo>
                    <a:pt x="2477" y="691"/>
                    <a:pt x="2275" y="917"/>
                    <a:pt x="2096" y="1191"/>
                  </a:cubicBezTo>
                  <a:cubicBezTo>
                    <a:pt x="1977" y="1370"/>
                    <a:pt x="1882" y="1572"/>
                    <a:pt x="1787" y="1786"/>
                  </a:cubicBezTo>
                  <a:lnTo>
                    <a:pt x="1013" y="1786"/>
                  </a:lnTo>
                  <a:cubicBezTo>
                    <a:pt x="1430" y="1215"/>
                    <a:pt x="2013" y="774"/>
                    <a:pt x="2680" y="512"/>
                  </a:cubicBezTo>
                  <a:close/>
                  <a:moveTo>
                    <a:pt x="3870" y="274"/>
                  </a:moveTo>
                  <a:lnTo>
                    <a:pt x="3870" y="1786"/>
                  </a:lnTo>
                  <a:lnTo>
                    <a:pt x="2096" y="1786"/>
                  </a:lnTo>
                  <a:cubicBezTo>
                    <a:pt x="2513" y="917"/>
                    <a:pt x="3156" y="346"/>
                    <a:pt x="3870" y="274"/>
                  </a:cubicBezTo>
                  <a:close/>
                  <a:moveTo>
                    <a:pt x="4144" y="274"/>
                  </a:moveTo>
                  <a:cubicBezTo>
                    <a:pt x="4870" y="334"/>
                    <a:pt x="5513" y="917"/>
                    <a:pt x="5906" y="1786"/>
                  </a:cubicBezTo>
                  <a:lnTo>
                    <a:pt x="4144" y="1786"/>
                  </a:lnTo>
                  <a:lnTo>
                    <a:pt x="4144" y="274"/>
                  </a:lnTo>
                  <a:close/>
                  <a:moveTo>
                    <a:pt x="5335" y="512"/>
                  </a:moveTo>
                  <a:lnTo>
                    <a:pt x="5335" y="512"/>
                  </a:lnTo>
                  <a:cubicBezTo>
                    <a:pt x="6002" y="774"/>
                    <a:pt x="6561" y="1215"/>
                    <a:pt x="7002" y="1786"/>
                  </a:cubicBezTo>
                  <a:lnTo>
                    <a:pt x="6228" y="1786"/>
                  </a:lnTo>
                  <a:cubicBezTo>
                    <a:pt x="6133" y="1572"/>
                    <a:pt x="6025" y="1382"/>
                    <a:pt x="5906" y="1191"/>
                  </a:cubicBezTo>
                  <a:cubicBezTo>
                    <a:pt x="5728" y="917"/>
                    <a:pt x="5537" y="691"/>
                    <a:pt x="5335" y="512"/>
                  </a:cubicBezTo>
                  <a:close/>
                  <a:moveTo>
                    <a:pt x="1680" y="2048"/>
                  </a:moveTo>
                  <a:cubicBezTo>
                    <a:pt x="1465" y="2596"/>
                    <a:pt x="1358" y="3215"/>
                    <a:pt x="1346" y="3846"/>
                  </a:cubicBezTo>
                  <a:lnTo>
                    <a:pt x="287" y="3846"/>
                  </a:lnTo>
                  <a:cubicBezTo>
                    <a:pt x="310" y="3191"/>
                    <a:pt x="513" y="2572"/>
                    <a:pt x="834" y="2048"/>
                  </a:cubicBezTo>
                  <a:close/>
                  <a:moveTo>
                    <a:pt x="3870" y="2048"/>
                  </a:moveTo>
                  <a:lnTo>
                    <a:pt x="3870" y="3846"/>
                  </a:lnTo>
                  <a:lnTo>
                    <a:pt x="1620" y="3846"/>
                  </a:lnTo>
                  <a:cubicBezTo>
                    <a:pt x="1644" y="3191"/>
                    <a:pt x="1763" y="2572"/>
                    <a:pt x="1965" y="2048"/>
                  </a:cubicBezTo>
                  <a:close/>
                  <a:moveTo>
                    <a:pt x="6049" y="2048"/>
                  </a:moveTo>
                  <a:cubicBezTo>
                    <a:pt x="6252" y="2584"/>
                    <a:pt x="6371" y="3191"/>
                    <a:pt x="6383" y="3846"/>
                  </a:cubicBezTo>
                  <a:lnTo>
                    <a:pt x="4144" y="3846"/>
                  </a:lnTo>
                  <a:lnTo>
                    <a:pt x="4144" y="2048"/>
                  </a:lnTo>
                  <a:close/>
                  <a:moveTo>
                    <a:pt x="7192" y="2048"/>
                  </a:moveTo>
                  <a:cubicBezTo>
                    <a:pt x="7514" y="2584"/>
                    <a:pt x="7716" y="3191"/>
                    <a:pt x="7740" y="3846"/>
                  </a:cubicBezTo>
                  <a:lnTo>
                    <a:pt x="6668" y="3846"/>
                  </a:lnTo>
                  <a:cubicBezTo>
                    <a:pt x="6656" y="3215"/>
                    <a:pt x="6537" y="2596"/>
                    <a:pt x="6347" y="2048"/>
                  </a:cubicBezTo>
                  <a:close/>
                  <a:moveTo>
                    <a:pt x="4001" y="0"/>
                  </a:moveTo>
                  <a:cubicBezTo>
                    <a:pt x="2930" y="0"/>
                    <a:pt x="1930" y="417"/>
                    <a:pt x="1180" y="1167"/>
                  </a:cubicBezTo>
                  <a:cubicBezTo>
                    <a:pt x="418" y="1929"/>
                    <a:pt x="1" y="2929"/>
                    <a:pt x="1" y="4001"/>
                  </a:cubicBezTo>
                  <a:cubicBezTo>
                    <a:pt x="1" y="4537"/>
                    <a:pt x="108" y="5061"/>
                    <a:pt x="310" y="5537"/>
                  </a:cubicBezTo>
                  <a:cubicBezTo>
                    <a:pt x="337" y="5590"/>
                    <a:pt x="384" y="5617"/>
                    <a:pt x="436" y="5617"/>
                  </a:cubicBezTo>
                  <a:cubicBezTo>
                    <a:pt x="453" y="5617"/>
                    <a:pt x="471" y="5614"/>
                    <a:pt x="489" y="5608"/>
                  </a:cubicBezTo>
                  <a:cubicBezTo>
                    <a:pt x="560" y="5573"/>
                    <a:pt x="596" y="5501"/>
                    <a:pt x="560" y="5430"/>
                  </a:cubicBezTo>
                  <a:cubicBezTo>
                    <a:pt x="382" y="5013"/>
                    <a:pt x="298" y="4584"/>
                    <a:pt x="287" y="4132"/>
                  </a:cubicBezTo>
                  <a:lnTo>
                    <a:pt x="1334" y="4132"/>
                  </a:lnTo>
                  <a:lnTo>
                    <a:pt x="1334" y="4299"/>
                  </a:lnTo>
                  <a:cubicBezTo>
                    <a:pt x="1334" y="4370"/>
                    <a:pt x="1418" y="4430"/>
                    <a:pt x="1489" y="4430"/>
                  </a:cubicBezTo>
                  <a:cubicBezTo>
                    <a:pt x="1561" y="4430"/>
                    <a:pt x="1620" y="4358"/>
                    <a:pt x="1620" y="4287"/>
                  </a:cubicBezTo>
                  <a:lnTo>
                    <a:pt x="1620" y="4132"/>
                  </a:lnTo>
                  <a:lnTo>
                    <a:pt x="3870" y="4132"/>
                  </a:lnTo>
                  <a:lnTo>
                    <a:pt x="3870" y="4299"/>
                  </a:lnTo>
                  <a:cubicBezTo>
                    <a:pt x="3870" y="4370"/>
                    <a:pt x="3930" y="4430"/>
                    <a:pt x="4001" y="4430"/>
                  </a:cubicBezTo>
                  <a:cubicBezTo>
                    <a:pt x="4073" y="4430"/>
                    <a:pt x="4132" y="4370"/>
                    <a:pt x="4132" y="4299"/>
                  </a:cubicBezTo>
                  <a:lnTo>
                    <a:pt x="4132" y="4132"/>
                  </a:lnTo>
                  <a:lnTo>
                    <a:pt x="6383" y="4132"/>
                  </a:lnTo>
                  <a:lnTo>
                    <a:pt x="6383" y="4287"/>
                  </a:lnTo>
                  <a:cubicBezTo>
                    <a:pt x="6383" y="4358"/>
                    <a:pt x="6442" y="4430"/>
                    <a:pt x="6514" y="4430"/>
                  </a:cubicBezTo>
                  <a:cubicBezTo>
                    <a:pt x="6597" y="4430"/>
                    <a:pt x="6656" y="4370"/>
                    <a:pt x="6656" y="4299"/>
                  </a:cubicBezTo>
                  <a:lnTo>
                    <a:pt x="6656" y="4132"/>
                  </a:lnTo>
                  <a:lnTo>
                    <a:pt x="7704" y="4132"/>
                  </a:lnTo>
                  <a:cubicBezTo>
                    <a:pt x="7692" y="4584"/>
                    <a:pt x="7609" y="5013"/>
                    <a:pt x="7430" y="5430"/>
                  </a:cubicBezTo>
                  <a:cubicBezTo>
                    <a:pt x="7395" y="5501"/>
                    <a:pt x="7430" y="5573"/>
                    <a:pt x="7502" y="5608"/>
                  </a:cubicBezTo>
                  <a:cubicBezTo>
                    <a:pt x="7514" y="5608"/>
                    <a:pt x="7526" y="5620"/>
                    <a:pt x="7561" y="5620"/>
                  </a:cubicBezTo>
                  <a:cubicBezTo>
                    <a:pt x="7621" y="5620"/>
                    <a:pt x="7668" y="5596"/>
                    <a:pt x="7692" y="5537"/>
                  </a:cubicBezTo>
                  <a:cubicBezTo>
                    <a:pt x="7907" y="5037"/>
                    <a:pt x="8002" y="4525"/>
                    <a:pt x="8002" y="4001"/>
                  </a:cubicBezTo>
                  <a:cubicBezTo>
                    <a:pt x="8014" y="2929"/>
                    <a:pt x="7597" y="1917"/>
                    <a:pt x="6835" y="1167"/>
                  </a:cubicBezTo>
                  <a:cubicBezTo>
                    <a:pt x="6073" y="417"/>
                    <a:pt x="5073" y="0"/>
                    <a:pt x="40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37" name="Google Shape;13537;p64"/>
          <p:cNvGrpSpPr/>
          <p:nvPr/>
        </p:nvGrpSpPr>
        <p:grpSpPr>
          <a:xfrm>
            <a:off x="6633705" y="1969108"/>
            <a:ext cx="249420" cy="363849"/>
            <a:chOff x="6633705" y="1969108"/>
            <a:chExt cx="249420" cy="363849"/>
          </a:xfrm>
        </p:grpSpPr>
        <p:sp>
          <p:nvSpPr>
            <p:cNvPr id="13538" name="Google Shape;13538;p64"/>
            <p:cNvSpPr/>
            <p:nvPr/>
          </p:nvSpPr>
          <p:spPr>
            <a:xfrm>
              <a:off x="6678426" y="1969108"/>
              <a:ext cx="159214" cy="238407"/>
            </a:xfrm>
            <a:custGeom>
              <a:avLst/>
              <a:gdLst/>
              <a:ahLst/>
              <a:cxnLst/>
              <a:rect l="l" t="t" r="r" b="b"/>
              <a:pathLst>
                <a:path w="5002" h="7490" extrusionOk="0">
                  <a:moveTo>
                    <a:pt x="2525" y="333"/>
                  </a:moveTo>
                  <a:cubicBezTo>
                    <a:pt x="2906" y="333"/>
                    <a:pt x="3239" y="572"/>
                    <a:pt x="3251" y="857"/>
                  </a:cubicBezTo>
                  <a:cubicBezTo>
                    <a:pt x="3025" y="762"/>
                    <a:pt x="2775" y="714"/>
                    <a:pt x="2525" y="714"/>
                  </a:cubicBezTo>
                  <a:cubicBezTo>
                    <a:pt x="2263" y="714"/>
                    <a:pt x="2013" y="762"/>
                    <a:pt x="1787" y="857"/>
                  </a:cubicBezTo>
                  <a:cubicBezTo>
                    <a:pt x="1811" y="560"/>
                    <a:pt x="2120" y="333"/>
                    <a:pt x="2525" y="333"/>
                  </a:cubicBezTo>
                  <a:close/>
                  <a:moveTo>
                    <a:pt x="2525" y="1036"/>
                  </a:moveTo>
                  <a:cubicBezTo>
                    <a:pt x="3418" y="1036"/>
                    <a:pt x="4144" y="1762"/>
                    <a:pt x="4144" y="2655"/>
                  </a:cubicBezTo>
                  <a:cubicBezTo>
                    <a:pt x="4144" y="2786"/>
                    <a:pt x="4132" y="2905"/>
                    <a:pt x="4097" y="3036"/>
                  </a:cubicBezTo>
                  <a:cubicBezTo>
                    <a:pt x="4073" y="2905"/>
                    <a:pt x="3989" y="2786"/>
                    <a:pt x="3870" y="2679"/>
                  </a:cubicBezTo>
                  <a:cubicBezTo>
                    <a:pt x="3216" y="2107"/>
                    <a:pt x="2049" y="1953"/>
                    <a:pt x="2001" y="1941"/>
                  </a:cubicBezTo>
                  <a:cubicBezTo>
                    <a:pt x="1994" y="1940"/>
                    <a:pt x="1987" y="1939"/>
                    <a:pt x="1980" y="1939"/>
                  </a:cubicBezTo>
                  <a:cubicBezTo>
                    <a:pt x="1894" y="1939"/>
                    <a:pt x="1822" y="2006"/>
                    <a:pt x="1811" y="2084"/>
                  </a:cubicBezTo>
                  <a:cubicBezTo>
                    <a:pt x="1787" y="2179"/>
                    <a:pt x="1870" y="2262"/>
                    <a:pt x="1953" y="2286"/>
                  </a:cubicBezTo>
                  <a:cubicBezTo>
                    <a:pt x="1965" y="2286"/>
                    <a:pt x="3073" y="2429"/>
                    <a:pt x="3656" y="2941"/>
                  </a:cubicBezTo>
                  <a:cubicBezTo>
                    <a:pt x="3727" y="3012"/>
                    <a:pt x="3787" y="3120"/>
                    <a:pt x="3787" y="3215"/>
                  </a:cubicBezTo>
                  <a:lnTo>
                    <a:pt x="3787" y="3370"/>
                  </a:lnTo>
                  <a:cubicBezTo>
                    <a:pt x="3787" y="4084"/>
                    <a:pt x="3216" y="4644"/>
                    <a:pt x="2525" y="4644"/>
                  </a:cubicBezTo>
                  <a:cubicBezTo>
                    <a:pt x="1822" y="4644"/>
                    <a:pt x="1251" y="4084"/>
                    <a:pt x="1251" y="3381"/>
                  </a:cubicBezTo>
                  <a:cubicBezTo>
                    <a:pt x="1251" y="3334"/>
                    <a:pt x="1287" y="3274"/>
                    <a:pt x="1311" y="3250"/>
                  </a:cubicBezTo>
                  <a:cubicBezTo>
                    <a:pt x="1453" y="3143"/>
                    <a:pt x="1644" y="2977"/>
                    <a:pt x="1763" y="2727"/>
                  </a:cubicBezTo>
                  <a:cubicBezTo>
                    <a:pt x="1811" y="2643"/>
                    <a:pt x="1775" y="2548"/>
                    <a:pt x="1692" y="2500"/>
                  </a:cubicBezTo>
                  <a:cubicBezTo>
                    <a:pt x="1664" y="2490"/>
                    <a:pt x="1637" y="2485"/>
                    <a:pt x="1612" y="2485"/>
                  </a:cubicBezTo>
                  <a:cubicBezTo>
                    <a:pt x="1551" y="2485"/>
                    <a:pt x="1499" y="2516"/>
                    <a:pt x="1465" y="2584"/>
                  </a:cubicBezTo>
                  <a:cubicBezTo>
                    <a:pt x="1370" y="2762"/>
                    <a:pt x="1227" y="2893"/>
                    <a:pt x="1120" y="2965"/>
                  </a:cubicBezTo>
                  <a:cubicBezTo>
                    <a:pt x="1060" y="3012"/>
                    <a:pt x="1001" y="3072"/>
                    <a:pt x="977" y="3143"/>
                  </a:cubicBezTo>
                  <a:cubicBezTo>
                    <a:pt x="930" y="2977"/>
                    <a:pt x="894" y="2822"/>
                    <a:pt x="894" y="2655"/>
                  </a:cubicBezTo>
                  <a:cubicBezTo>
                    <a:pt x="894" y="1762"/>
                    <a:pt x="1632" y="1036"/>
                    <a:pt x="2525" y="1036"/>
                  </a:cubicBezTo>
                  <a:close/>
                  <a:moveTo>
                    <a:pt x="3061" y="4882"/>
                  </a:moveTo>
                  <a:lnTo>
                    <a:pt x="3061" y="5120"/>
                  </a:lnTo>
                  <a:cubicBezTo>
                    <a:pt x="3061" y="5167"/>
                    <a:pt x="3061" y="5215"/>
                    <a:pt x="3073" y="5263"/>
                  </a:cubicBezTo>
                  <a:lnTo>
                    <a:pt x="2525" y="5679"/>
                  </a:lnTo>
                  <a:lnTo>
                    <a:pt x="1942" y="5263"/>
                  </a:lnTo>
                  <a:cubicBezTo>
                    <a:pt x="1953" y="5215"/>
                    <a:pt x="1953" y="5167"/>
                    <a:pt x="1953" y="5120"/>
                  </a:cubicBezTo>
                  <a:lnTo>
                    <a:pt x="1953" y="4882"/>
                  </a:lnTo>
                  <a:cubicBezTo>
                    <a:pt x="2132" y="4941"/>
                    <a:pt x="2311" y="4989"/>
                    <a:pt x="2501" y="4989"/>
                  </a:cubicBezTo>
                  <a:cubicBezTo>
                    <a:pt x="2704" y="4989"/>
                    <a:pt x="2882" y="4965"/>
                    <a:pt x="3061" y="4882"/>
                  </a:cubicBezTo>
                  <a:close/>
                  <a:moveTo>
                    <a:pt x="2525" y="5679"/>
                  </a:moveTo>
                  <a:cubicBezTo>
                    <a:pt x="2525" y="5685"/>
                    <a:pt x="2519" y="5688"/>
                    <a:pt x="2516" y="5688"/>
                  </a:cubicBezTo>
                  <a:cubicBezTo>
                    <a:pt x="2513" y="5688"/>
                    <a:pt x="2513" y="5685"/>
                    <a:pt x="2525" y="5679"/>
                  </a:cubicBezTo>
                  <a:close/>
                  <a:moveTo>
                    <a:pt x="2501" y="0"/>
                  </a:moveTo>
                  <a:cubicBezTo>
                    <a:pt x="1930" y="0"/>
                    <a:pt x="1453" y="405"/>
                    <a:pt x="1453" y="881"/>
                  </a:cubicBezTo>
                  <a:cubicBezTo>
                    <a:pt x="1453" y="929"/>
                    <a:pt x="1453" y="976"/>
                    <a:pt x="1465" y="1012"/>
                  </a:cubicBezTo>
                  <a:cubicBezTo>
                    <a:pt x="918" y="1357"/>
                    <a:pt x="560" y="1965"/>
                    <a:pt x="560" y="2667"/>
                  </a:cubicBezTo>
                  <a:cubicBezTo>
                    <a:pt x="560" y="3120"/>
                    <a:pt x="715" y="3560"/>
                    <a:pt x="1001" y="3917"/>
                  </a:cubicBezTo>
                  <a:cubicBezTo>
                    <a:pt x="1120" y="4251"/>
                    <a:pt x="1346" y="4524"/>
                    <a:pt x="1632" y="4727"/>
                  </a:cubicBezTo>
                  <a:lnTo>
                    <a:pt x="1632" y="5120"/>
                  </a:lnTo>
                  <a:cubicBezTo>
                    <a:pt x="1632" y="5203"/>
                    <a:pt x="1584" y="5275"/>
                    <a:pt x="1513" y="5298"/>
                  </a:cubicBezTo>
                  <a:lnTo>
                    <a:pt x="418" y="5775"/>
                  </a:lnTo>
                  <a:cubicBezTo>
                    <a:pt x="168" y="5894"/>
                    <a:pt x="1" y="6156"/>
                    <a:pt x="1" y="6418"/>
                  </a:cubicBezTo>
                  <a:lnTo>
                    <a:pt x="1" y="7322"/>
                  </a:lnTo>
                  <a:cubicBezTo>
                    <a:pt x="1" y="7418"/>
                    <a:pt x="84" y="7489"/>
                    <a:pt x="168" y="7489"/>
                  </a:cubicBezTo>
                  <a:cubicBezTo>
                    <a:pt x="263" y="7489"/>
                    <a:pt x="334" y="7418"/>
                    <a:pt x="334" y="7322"/>
                  </a:cubicBezTo>
                  <a:lnTo>
                    <a:pt x="334" y="6418"/>
                  </a:lnTo>
                  <a:cubicBezTo>
                    <a:pt x="334" y="6275"/>
                    <a:pt x="418" y="6132"/>
                    <a:pt x="560" y="6072"/>
                  </a:cubicBezTo>
                  <a:lnTo>
                    <a:pt x="1644" y="5596"/>
                  </a:lnTo>
                  <a:cubicBezTo>
                    <a:pt x="1692" y="5584"/>
                    <a:pt x="1715" y="5560"/>
                    <a:pt x="1751" y="5536"/>
                  </a:cubicBezTo>
                  <a:lnTo>
                    <a:pt x="2299" y="5941"/>
                  </a:lnTo>
                  <a:cubicBezTo>
                    <a:pt x="2358" y="5989"/>
                    <a:pt x="2430" y="6013"/>
                    <a:pt x="2501" y="6013"/>
                  </a:cubicBezTo>
                  <a:cubicBezTo>
                    <a:pt x="2584" y="6013"/>
                    <a:pt x="2656" y="5989"/>
                    <a:pt x="2715" y="5941"/>
                  </a:cubicBezTo>
                  <a:lnTo>
                    <a:pt x="3263" y="5536"/>
                  </a:lnTo>
                  <a:cubicBezTo>
                    <a:pt x="3299" y="5572"/>
                    <a:pt x="3335" y="5584"/>
                    <a:pt x="3370" y="5596"/>
                  </a:cubicBezTo>
                  <a:lnTo>
                    <a:pt x="4454" y="6072"/>
                  </a:lnTo>
                  <a:cubicBezTo>
                    <a:pt x="4585" y="6132"/>
                    <a:pt x="4680" y="6275"/>
                    <a:pt x="4680" y="6418"/>
                  </a:cubicBezTo>
                  <a:lnTo>
                    <a:pt x="4680" y="7322"/>
                  </a:lnTo>
                  <a:cubicBezTo>
                    <a:pt x="4680" y="7418"/>
                    <a:pt x="4751" y="7489"/>
                    <a:pt x="4847" y="7489"/>
                  </a:cubicBezTo>
                  <a:cubicBezTo>
                    <a:pt x="4930" y="7489"/>
                    <a:pt x="5001" y="7418"/>
                    <a:pt x="5001" y="7322"/>
                  </a:cubicBezTo>
                  <a:lnTo>
                    <a:pt x="5001" y="6418"/>
                  </a:lnTo>
                  <a:cubicBezTo>
                    <a:pt x="5001" y="6156"/>
                    <a:pt x="4847" y="5894"/>
                    <a:pt x="4585" y="5775"/>
                  </a:cubicBezTo>
                  <a:lnTo>
                    <a:pt x="3501" y="5298"/>
                  </a:lnTo>
                  <a:cubicBezTo>
                    <a:pt x="3430" y="5275"/>
                    <a:pt x="3382" y="5203"/>
                    <a:pt x="3382" y="5120"/>
                  </a:cubicBezTo>
                  <a:lnTo>
                    <a:pt x="3382" y="4727"/>
                  </a:lnTo>
                  <a:cubicBezTo>
                    <a:pt x="3668" y="4524"/>
                    <a:pt x="3894" y="4251"/>
                    <a:pt x="4013" y="3917"/>
                  </a:cubicBezTo>
                  <a:cubicBezTo>
                    <a:pt x="4287" y="3560"/>
                    <a:pt x="4454" y="3131"/>
                    <a:pt x="4454" y="2667"/>
                  </a:cubicBezTo>
                  <a:cubicBezTo>
                    <a:pt x="4454" y="1965"/>
                    <a:pt x="4097" y="1357"/>
                    <a:pt x="3549" y="1012"/>
                  </a:cubicBezTo>
                  <a:cubicBezTo>
                    <a:pt x="3561" y="976"/>
                    <a:pt x="3561" y="929"/>
                    <a:pt x="3561" y="881"/>
                  </a:cubicBezTo>
                  <a:cubicBezTo>
                    <a:pt x="3561" y="393"/>
                    <a:pt x="3085" y="0"/>
                    <a:pt x="250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9" name="Google Shape;13539;p64"/>
            <p:cNvSpPr/>
            <p:nvPr/>
          </p:nvSpPr>
          <p:spPr>
            <a:xfrm>
              <a:off x="6753481" y="2168809"/>
              <a:ext cx="10249" cy="38705"/>
            </a:xfrm>
            <a:custGeom>
              <a:avLst/>
              <a:gdLst/>
              <a:ahLst/>
              <a:cxnLst/>
              <a:rect l="l" t="t" r="r" b="b"/>
              <a:pathLst>
                <a:path w="322" h="1216" extrusionOk="0">
                  <a:moveTo>
                    <a:pt x="167" y="1"/>
                  </a:moveTo>
                  <a:cubicBezTo>
                    <a:pt x="72" y="1"/>
                    <a:pt x="0" y="72"/>
                    <a:pt x="0" y="155"/>
                  </a:cubicBezTo>
                  <a:lnTo>
                    <a:pt x="0" y="1048"/>
                  </a:lnTo>
                  <a:cubicBezTo>
                    <a:pt x="0" y="1144"/>
                    <a:pt x="72" y="1215"/>
                    <a:pt x="167" y="1215"/>
                  </a:cubicBezTo>
                  <a:cubicBezTo>
                    <a:pt x="250" y="1215"/>
                    <a:pt x="322" y="1144"/>
                    <a:pt x="322" y="1048"/>
                  </a:cubicBezTo>
                  <a:lnTo>
                    <a:pt x="322" y="155"/>
                  </a:lnTo>
                  <a:cubicBezTo>
                    <a:pt x="322"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0" name="Google Shape;13540;p64"/>
            <p:cNvSpPr/>
            <p:nvPr/>
          </p:nvSpPr>
          <p:spPr>
            <a:xfrm>
              <a:off x="6707614" y="2180173"/>
              <a:ext cx="10631" cy="27342"/>
            </a:xfrm>
            <a:custGeom>
              <a:avLst/>
              <a:gdLst/>
              <a:ahLst/>
              <a:cxnLst/>
              <a:rect l="l" t="t" r="r" b="b"/>
              <a:pathLst>
                <a:path w="334" h="859" extrusionOk="0">
                  <a:moveTo>
                    <a:pt x="155" y="1"/>
                  </a:moveTo>
                  <a:cubicBezTo>
                    <a:pt x="72" y="1"/>
                    <a:pt x="1" y="72"/>
                    <a:pt x="1" y="156"/>
                  </a:cubicBezTo>
                  <a:lnTo>
                    <a:pt x="1" y="691"/>
                  </a:lnTo>
                  <a:cubicBezTo>
                    <a:pt x="1" y="787"/>
                    <a:pt x="72" y="858"/>
                    <a:pt x="155" y="858"/>
                  </a:cubicBezTo>
                  <a:cubicBezTo>
                    <a:pt x="251" y="858"/>
                    <a:pt x="322" y="787"/>
                    <a:pt x="322" y="691"/>
                  </a:cubicBezTo>
                  <a:lnTo>
                    <a:pt x="322" y="156"/>
                  </a:lnTo>
                  <a:cubicBezTo>
                    <a:pt x="334" y="72"/>
                    <a:pt x="263"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1" name="Google Shape;13541;p64"/>
            <p:cNvSpPr/>
            <p:nvPr/>
          </p:nvSpPr>
          <p:spPr>
            <a:xfrm>
              <a:off x="6798966" y="2180173"/>
              <a:ext cx="10249" cy="27342"/>
            </a:xfrm>
            <a:custGeom>
              <a:avLst/>
              <a:gdLst/>
              <a:ahLst/>
              <a:cxnLst/>
              <a:rect l="l" t="t" r="r" b="b"/>
              <a:pathLst>
                <a:path w="322" h="859" extrusionOk="0">
                  <a:moveTo>
                    <a:pt x="167" y="1"/>
                  </a:moveTo>
                  <a:cubicBezTo>
                    <a:pt x="71" y="1"/>
                    <a:pt x="0" y="72"/>
                    <a:pt x="0" y="156"/>
                  </a:cubicBezTo>
                  <a:lnTo>
                    <a:pt x="0" y="691"/>
                  </a:lnTo>
                  <a:cubicBezTo>
                    <a:pt x="0" y="787"/>
                    <a:pt x="71" y="858"/>
                    <a:pt x="167" y="858"/>
                  </a:cubicBezTo>
                  <a:cubicBezTo>
                    <a:pt x="250" y="858"/>
                    <a:pt x="321" y="787"/>
                    <a:pt x="321" y="691"/>
                  </a:cubicBezTo>
                  <a:lnTo>
                    <a:pt x="321" y="156"/>
                  </a:lnTo>
                  <a:cubicBezTo>
                    <a:pt x="321"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2" name="Google Shape;13542;p64"/>
            <p:cNvSpPr/>
            <p:nvPr/>
          </p:nvSpPr>
          <p:spPr>
            <a:xfrm>
              <a:off x="6742118" y="2299949"/>
              <a:ext cx="32976" cy="33008"/>
            </a:xfrm>
            <a:custGeom>
              <a:avLst/>
              <a:gdLst/>
              <a:ahLst/>
              <a:cxnLst/>
              <a:rect l="l" t="t" r="r" b="b"/>
              <a:pathLst>
                <a:path w="1036" h="1037" extrusionOk="0">
                  <a:moveTo>
                    <a:pt x="524" y="322"/>
                  </a:moveTo>
                  <a:cubicBezTo>
                    <a:pt x="619" y="322"/>
                    <a:pt x="714" y="417"/>
                    <a:pt x="714" y="524"/>
                  </a:cubicBezTo>
                  <a:cubicBezTo>
                    <a:pt x="714"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798"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3" name="Google Shape;13543;p64"/>
            <p:cNvSpPr/>
            <p:nvPr/>
          </p:nvSpPr>
          <p:spPr>
            <a:xfrm>
              <a:off x="6633705" y="2299949"/>
              <a:ext cx="33008" cy="33008"/>
            </a:xfrm>
            <a:custGeom>
              <a:avLst/>
              <a:gdLst/>
              <a:ahLst/>
              <a:cxnLst/>
              <a:rect l="l" t="t" r="r" b="b"/>
              <a:pathLst>
                <a:path w="1037" h="1037" extrusionOk="0">
                  <a:moveTo>
                    <a:pt x="513" y="322"/>
                  </a:moveTo>
                  <a:cubicBezTo>
                    <a:pt x="620" y="322"/>
                    <a:pt x="715" y="417"/>
                    <a:pt x="715" y="524"/>
                  </a:cubicBezTo>
                  <a:cubicBezTo>
                    <a:pt x="715" y="619"/>
                    <a:pt x="620" y="715"/>
                    <a:pt x="513" y="715"/>
                  </a:cubicBezTo>
                  <a:cubicBezTo>
                    <a:pt x="418" y="715"/>
                    <a:pt x="322" y="619"/>
                    <a:pt x="322" y="524"/>
                  </a:cubicBezTo>
                  <a:cubicBezTo>
                    <a:pt x="322" y="417"/>
                    <a:pt x="418" y="322"/>
                    <a:pt x="513" y="322"/>
                  </a:cubicBezTo>
                  <a:close/>
                  <a:moveTo>
                    <a:pt x="513" y="0"/>
                  </a:moveTo>
                  <a:cubicBezTo>
                    <a:pt x="239" y="0"/>
                    <a:pt x="1" y="238"/>
                    <a:pt x="1" y="524"/>
                  </a:cubicBezTo>
                  <a:cubicBezTo>
                    <a:pt x="1" y="798"/>
                    <a:pt x="239" y="1036"/>
                    <a:pt x="513" y="1036"/>
                  </a:cubicBezTo>
                  <a:cubicBezTo>
                    <a:pt x="799" y="1036"/>
                    <a:pt x="1037" y="798"/>
                    <a:pt x="1037" y="524"/>
                  </a:cubicBezTo>
                  <a:cubicBezTo>
                    <a:pt x="1037" y="238"/>
                    <a:pt x="799" y="0"/>
                    <a:pt x="51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4" name="Google Shape;13544;p64"/>
            <p:cNvSpPr/>
            <p:nvPr/>
          </p:nvSpPr>
          <p:spPr>
            <a:xfrm>
              <a:off x="6850117" y="2299949"/>
              <a:ext cx="33008" cy="33008"/>
            </a:xfrm>
            <a:custGeom>
              <a:avLst/>
              <a:gdLst/>
              <a:ahLst/>
              <a:cxnLst/>
              <a:rect l="l" t="t" r="r" b="b"/>
              <a:pathLst>
                <a:path w="1037" h="1037" extrusionOk="0">
                  <a:moveTo>
                    <a:pt x="524" y="322"/>
                  </a:moveTo>
                  <a:cubicBezTo>
                    <a:pt x="619" y="322"/>
                    <a:pt x="715" y="417"/>
                    <a:pt x="715" y="524"/>
                  </a:cubicBezTo>
                  <a:cubicBezTo>
                    <a:pt x="715" y="619"/>
                    <a:pt x="619" y="715"/>
                    <a:pt x="524" y="715"/>
                  </a:cubicBezTo>
                  <a:cubicBezTo>
                    <a:pt x="417" y="715"/>
                    <a:pt x="322" y="619"/>
                    <a:pt x="322" y="524"/>
                  </a:cubicBezTo>
                  <a:cubicBezTo>
                    <a:pt x="322" y="417"/>
                    <a:pt x="417" y="322"/>
                    <a:pt x="524" y="322"/>
                  </a:cubicBezTo>
                  <a:close/>
                  <a:moveTo>
                    <a:pt x="524" y="0"/>
                  </a:moveTo>
                  <a:cubicBezTo>
                    <a:pt x="238" y="0"/>
                    <a:pt x="0" y="238"/>
                    <a:pt x="0" y="524"/>
                  </a:cubicBezTo>
                  <a:cubicBezTo>
                    <a:pt x="0" y="798"/>
                    <a:pt x="238" y="1036"/>
                    <a:pt x="524" y="1036"/>
                  </a:cubicBezTo>
                  <a:cubicBezTo>
                    <a:pt x="798" y="1036"/>
                    <a:pt x="1036" y="798"/>
                    <a:pt x="1036" y="524"/>
                  </a:cubicBezTo>
                  <a:cubicBezTo>
                    <a:pt x="1036" y="238"/>
                    <a:pt x="822" y="0"/>
                    <a:pt x="52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5" name="Google Shape;13545;p64"/>
            <p:cNvSpPr/>
            <p:nvPr/>
          </p:nvSpPr>
          <p:spPr>
            <a:xfrm>
              <a:off x="6664039" y="2219610"/>
              <a:ext cx="188370" cy="73750"/>
            </a:xfrm>
            <a:custGeom>
              <a:avLst/>
              <a:gdLst/>
              <a:ahLst/>
              <a:cxnLst/>
              <a:rect l="l" t="t" r="r" b="b"/>
              <a:pathLst>
                <a:path w="5918" h="2317" extrusionOk="0">
                  <a:moveTo>
                    <a:pt x="2977" y="0"/>
                  </a:moveTo>
                  <a:cubicBezTo>
                    <a:pt x="2882" y="0"/>
                    <a:pt x="2810" y="83"/>
                    <a:pt x="2810" y="167"/>
                  </a:cubicBezTo>
                  <a:lnTo>
                    <a:pt x="2810" y="369"/>
                  </a:lnTo>
                  <a:lnTo>
                    <a:pt x="1632" y="369"/>
                  </a:lnTo>
                  <a:cubicBezTo>
                    <a:pt x="1405" y="369"/>
                    <a:pt x="1191" y="464"/>
                    <a:pt x="1048" y="667"/>
                  </a:cubicBezTo>
                  <a:lnTo>
                    <a:pt x="60" y="2048"/>
                  </a:lnTo>
                  <a:cubicBezTo>
                    <a:pt x="0" y="2119"/>
                    <a:pt x="24" y="2227"/>
                    <a:pt x="96" y="2286"/>
                  </a:cubicBezTo>
                  <a:cubicBezTo>
                    <a:pt x="125" y="2307"/>
                    <a:pt x="156" y="2316"/>
                    <a:pt x="186" y="2316"/>
                  </a:cubicBezTo>
                  <a:cubicBezTo>
                    <a:pt x="241" y="2316"/>
                    <a:pt x="295" y="2285"/>
                    <a:pt x="334" y="2238"/>
                  </a:cubicBezTo>
                  <a:lnTo>
                    <a:pt x="1334" y="857"/>
                  </a:lnTo>
                  <a:cubicBezTo>
                    <a:pt x="1405" y="750"/>
                    <a:pt x="1512" y="703"/>
                    <a:pt x="1632" y="703"/>
                  </a:cubicBezTo>
                  <a:lnTo>
                    <a:pt x="2810" y="703"/>
                  </a:lnTo>
                  <a:lnTo>
                    <a:pt x="2810" y="1977"/>
                  </a:lnTo>
                  <a:cubicBezTo>
                    <a:pt x="2810" y="2060"/>
                    <a:pt x="2882" y="2131"/>
                    <a:pt x="2977" y="2131"/>
                  </a:cubicBezTo>
                  <a:cubicBezTo>
                    <a:pt x="3060" y="2131"/>
                    <a:pt x="3132" y="2060"/>
                    <a:pt x="3132" y="1977"/>
                  </a:cubicBezTo>
                  <a:lnTo>
                    <a:pt x="3132" y="703"/>
                  </a:lnTo>
                  <a:lnTo>
                    <a:pt x="4310" y="703"/>
                  </a:lnTo>
                  <a:cubicBezTo>
                    <a:pt x="4430" y="703"/>
                    <a:pt x="4549" y="762"/>
                    <a:pt x="4608" y="857"/>
                  </a:cubicBezTo>
                  <a:lnTo>
                    <a:pt x="5608" y="2238"/>
                  </a:lnTo>
                  <a:cubicBezTo>
                    <a:pt x="5632" y="2286"/>
                    <a:pt x="5692" y="2310"/>
                    <a:pt x="5739" y="2310"/>
                  </a:cubicBezTo>
                  <a:cubicBezTo>
                    <a:pt x="5775" y="2310"/>
                    <a:pt x="5811" y="2298"/>
                    <a:pt x="5846" y="2286"/>
                  </a:cubicBezTo>
                  <a:cubicBezTo>
                    <a:pt x="5906" y="2227"/>
                    <a:pt x="5918" y="2119"/>
                    <a:pt x="5870" y="2048"/>
                  </a:cubicBezTo>
                  <a:lnTo>
                    <a:pt x="4882" y="667"/>
                  </a:lnTo>
                  <a:cubicBezTo>
                    <a:pt x="4739" y="488"/>
                    <a:pt x="4537" y="369"/>
                    <a:pt x="4299" y="369"/>
                  </a:cubicBezTo>
                  <a:lnTo>
                    <a:pt x="3132" y="369"/>
                  </a:lnTo>
                  <a:lnTo>
                    <a:pt x="3132" y="167"/>
                  </a:lnTo>
                  <a:cubicBezTo>
                    <a:pt x="3132" y="83"/>
                    <a:pt x="3060" y="0"/>
                    <a:pt x="29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6" name="Google Shape;13546;p64"/>
          <p:cNvGrpSpPr/>
          <p:nvPr/>
        </p:nvGrpSpPr>
        <p:grpSpPr>
          <a:xfrm>
            <a:off x="5211031" y="1969108"/>
            <a:ext cx="226661" cy="363467"/>
            <a:chOff x="5211031" y="1969108"/>
            <a:chExt cx="226661" cy="363467"/>
          </a:xfrm>
        </p:grpSpPr>
        <p:sp>
          <p:nvSpPr>
            <p:cNvPr id="13547" name="Google Shape;13547;p64"/>
            <p:cNvSpPr/>
            <p:nvPr/>
          </p:nvSpPr>
          <p:spPr>
            <a:xfrm>
              <a:off x="5211031" y="1969108"/>
              <a:ext cx="226661" cy="363467"/>
            </a:xfrm>
            <a:custGeom>
              <a:avLst/>
              <a:gdLst/>
              <a:ahLst/>
              <a:cxnLst/>
              <a:rect l="l" t="t" r="r" b="b"/>
              <a:pathLst>
                <a:path w="7121" h="11419" extrusionOk="0">
                  <a:moveTo>
                    <a:pt x="6787" y="869"/>
                  </a:moveTo>
                  <a:cubicBezTo>
                    <a:pt x="6787" y="869"/>
                    <a:pt x="6799" y="869"/>
                    <a:pt x="6799" y="881"/>
                  </a:cubicBezTo>
                  <a:lnTo>
                    <a:pt x="6799" y="1238"/>
                  </a:lnTo>
                  <a:lnTo>
                    <a:pt x="6252" y="1250"/>
                  </a:lnTo>
                  <a:cubicBezTo>
                    <a:pt x="6156" y="1250"/>
                    <a:pt x="6085" y="1334"/>
                    <a:pt x="6085" y="1417"/>
                  </a:cubicBezTo>
                  <a:cubicBezTo>
                    <a:pt x="6085" y="1512"/>
                    <a:pt x="6156" y="1584"/>
                    <a:pt x="6252" y="1584"/>
                  </a:cubicBezTo>
                  <a:lnTo>
                    <a:pt x="6442" y="1584"/>
                  </a:lnTo>
                  <a:lnTo>
                    <a:pt x="6442" y="7501"/>
                  </a:lnTo>
                  <a:cubicBezTo>
                    <a:pt x="6442" y="7501"/>
                    <a:pt x="6442" y="7525"/>
                    <a:pt x="6430" y="7525"/>
                  </a:cubicBezTo>
                  <a:lnTo>
                    <a:pt x="703" y="7525"/>
                  </a:lnTo>
                  <a:cubicBezTo>
                    <a:pt x="703" y="7525"/>
                    <a:pt x="679" y="7525"/>
                    <a:pt x="679" y="7501"/>
                  </a:cubicBezTo>
                  <a:lnTo>
                    <a:pt x="679" y="1584"/>
                  </a:lnTo>
                  <a:lnTo>
                    <a:pt x="5537" y="1584"/>
                  </a:lnTo>
                  <a:cubicBezTo>
                    <a:pt x="5621" y="1584"/>
                    <a:pt x="5704" y="1512"/>
                    <a:pt x="5704" y="1417"/>
                  </a:cubicBezTo>
                  <a:cubicBezTo>
                    <a:pt x="5704" y="1334"/>
                    <a:pt x="5621" y="1250"/>
                    <a:pt x="5537" y="1250"/>
                  </a:cubicBezTo>
                  <a:lnTo>
                    <a:pt x="346" y="1250"/>
                  </a:lnTo>
                  <a:cubicBezTo>
                    <a:pt x="346" y="1250"/>
                    <a:pt x="322" y="1250"/>
                    <a:pt x="322" y="1238"/>
                  </a:cubicBezTo>
                  <a:lnTo>
                    <a:pt x="322" y="881"/>
                  </a:lnTo>
                  <a:cubicBezTo>
                    <a:pt x="322" y="881"/>
                    <a:pt x="322" y="869"/>
                    <a:pt x="346" y="869"/>
                  </a:cubicBezTo>
                  <a:close/>
                  <a:moveTo>
                    <a:pt x="5406" y="7858"/>
                  </a:moveTo>
                  <a:lnTo>
                    <a:pt x="5906" y="10394"/>
                  </a:lnTo>
                  <a:lnTo>
                    <a:pt x="3739" y="10394"/>
                  </a:lnTo>
                  <a:lnTo>
                    <a:pt x="3739" y="8418"/>
                  </a:lnTo>
                  <a:cubicBezTo>
                    <a:pt x="3739" y="8323"/>
                    <a:pt x="3656" y="8251"/>
                    <a:pt x="3573" y="8251"/>
                  </a:cubicBezTo>
                  <a:cubicBezTo>
                    <a:pt x="3477" y="8251"/>
                    <a:pt x="3406" y="8323"/>
                    <a:pt x="3406" y="8418"/>
                  </a:cubicBezTo>
                  <a:lnTo>
                    <a:pt x="3406" y="10394"/>
                  </a:lnTo>
                  <a:lnTo>
                    <a:pt x="1239" y="10394"/>
                  </a:lnTo>
                  <a:lnTo>
                    <a:pt x="1739" y="7858"/>
                  </a:lnTo>
                  <a:close/>
                  <a:moveTo>
                    <a:pt x="3573" y="0"/>
                  </a:moveTo>
                  <a:cubicBezTo>
                    <a:pt x="3477" y="0"/>
                    <a:pt x="3406" y="83"/>
                    <a:pt x="3406" y="167"/>
                  </a:cubicBezTo>
                  <a:lnTo>
                    <a:pt x="3406" y="536"/>
                  </a:lnTo>
                  <a:lnTo>
                    <a:pt x="346" y="536"/>
                  </a:lnTo>
                  <a:cubicBezTo>
                    <a:pt x="144" y="536"/>
                    <a:pt x="1" y="691"/>
                    <a:pt x="1" y="881"/>
                  </a:cubicBezTo>
                  <a:lnTo>
                    <a:pt x="1" y="1238"/>
                  </a:lnTo>
                  <a:cubicBezTo>
                    <a:pt x="1" y="1429"/>
                    <a:pt x="144" y="1584"/>
                    <a:pt x="346" y="1584"/>
                  </a:cubicBezTo>
                  <a:lnTo>
                    <a:pt x="358" y="1584"/>
                  </a:lnTo>
                  <a:lnTo>
                    <a:pt x="358" y="7501"/>
                  </a:lnTo>
                  <a:cubicBezTo>
                    <a:pt x="358" y="7703"/>
                    <a:pt x="501" y="7846"/>
                    <a:pt x="691" y="7846"/>
                  </a:cubicBezTo>
                  <a:lnTo>
                    <a:pt x="1382" y="7846"/>
                  </a:lnTo>
                  <a:lnTo>
                    <a:pt x="715" y="11228"/>
                  </a:lnTo>
                  <a:cubicBezTo>
                    <a:pt x="691" y="11311"/>
                    <a:pt x="751" y="11406"/>
                    <a:pt x="846" y="11418"/>
                  </a:cubicBezTo>
                  <a:lnTo>
                    <a:pt x="870" y="11418"/>
                  </a:lnTo>
                  <a:cubicBezTo>
                    <a:pt x="953" y="11418"/>
                    <a:pt x="1025" y="11359"/>
                    <a:pt x="1037" y="11287"/>
                  </a:cubicBezTo>
                  <a:lnTo>
                    <a:pt x="1156" y="10704"/>
                  </a:lnTo>
                  <a:lnTo>
                    <a:pt x="3394" y="10704"/>
                  </a:lnTo>
                  <a:lnTo>
                    <a:pt x="3394" y="11251"/>
                  </a:lnTo>
                  <a:cubicBezTo>
                    <a:pt x="3394" y="11347"/>
                    <a:pt x="3466" y="11418"/>
                    <a:pt x="3549" y="11418"/>
                  </a:cubicBezTo>
                  <a:cubicBezTo>
                    <a:pt x="3644" y="11418"/>
                    <a:pt x="3716" y="11347"/>
                    <a:pt x="3716" y="11251"/>
                  </a:cubicBezTo>
                  <a:lnTo>
                    <a:pt x="3716" y="10704"/>
                  </a:lnTo>
                  <a:lnTo>
                    <a:pt x="5954" y="10704"/>
                  </a:lnTo>
                  <a:lnTo>
                    <a:pt x="6073" y="11287"/>
                  </a:lnTo>
                  <a:cubicBezTo>
                    <a:pt x="6085" y="11359"/>
                    <a:pt x="6156" y="11418"/>
                    <a:pt x="6228" y="11418"/>
                  </a:cubicBezTo>
                  <a:lnTo>
                    <a:pt x="6264" y="11418"/>
                  </a:lnTo>
                  <a:cubicBezTo>
                    <a:pt x="6347" y="11406"/>
                    <a:pt x="6406" y="11311"/>
                    <a:pt x="6394" y="11228"/>
                  </a:cubicBezTo>
                  <a:lnTo>
                    <a:pt x="5728" y="7846"/>
                  </a:lnTo>
                  <a:lnTo>
                    <a:pt x="6406" y="7846"/>
                  </a:lnTo>
                  <a:cubicBezTo>
                    <a:pt x="6609" y="7846"/>
                    <a:pt x="6752" y="7703"/>
                    <a:pt x="6752" y="7501"/>
                  </a:cubicBezTo>
                  <a:lnTo>
                    <a:pt x="6752" y="1584"/>
                  </a:lnTo>
                  <a:lnTo>
                    <a:pt x="6764" y="1584"/>
                  </a:lnTo>
                  <a:cubicBezTo>
                    <a:pt x="6966" y="1584"/>
                    <a:pt x="7109" y="1429"/>
                    <a:pt x="7109" y="1238"/>
                  </a:cubicBezTo>
                  <a:lnTo>
                    <a:pt x="7109" y="881"/>
                  </a:lnTo>
                  <a:cubicBezTo>
                    <a:pt x="7121" y="691"/>
                    <a:pt x="6978" y="524"/>
                    <a:pt x="6787" y="524"/>
                  </a:cubicBezTo>
                  <a:lnTo>
                    <a:pt x="3739" y="524"/>
                  </a:lnTo>
                  <a:lnTo>
                    <a:pt x="3739" y="167"/>
                  </a:lnTo>
                  <a:cubicBezTo>
                    <a:pt x="3739" y="83"/>
                    <a:pt x="3656" y="0"/>
                    <a:pt x="35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8" name="Google Shape;13548;p64"/>
            <p:cNvSpPr/>
            <p:nvPr/>
          </p:nvSpPr>
          <p:spPr>
            <a:xfrm>
              <a:off x="5250468" y="2060046"/>
              <a:ext cx="147819" cy="107649"/>
            </a:xfrm>
            <a:custGeom>
              <a:avLst/>
              <a:gdLst/>
              <a:ahLst/>
              <a:cxnLst/>
              <a:rect l="l" t="t" r="r" b="b"/>
              <a:pathLst>
                <a:path w="4644" h="3382" extrusionOk="0">
                  <a:moveTo>
                    <a:pt x="3584" y="1"/>
                  </a:moveTo>
                  <a:cubicBezTo>
                    <a:pt x="3489" y="1"/>
                    <a:pt x="3417" y="84"/>
                    <a:pt x="3417" y="167"/>
                  </a:cubicBezTo>
                  <a:cubicBezTo>
                    <a:pt x="3417" y="263"/>
                    <a:pt x="3489" y="334"/>
                    <a:pt x="3584" y="334"/>
                  </a:cubicBezTo>
                  <a:lnTo>
                    <a:pt x="4072" y="334"/>
                  </a:lnTo>
                  <a:lnTo>
                    <a:pt x="2417" y="1989"/>
                  </a:lnTo>
                  <a:lnTo>
                    <a:pt x="2405" y="1989"/>
                  </a:lnTo>
                  <a:lnTo>
                    <a:pt x="2036" y="1608"/>
                  </a:lnTo>
                  <a:cubicBezTo>
                    <a:pt x="1971" y="1542"/>
                    <a:pt x="1881" y="1510"/>
                    <a:pt x="1792" y="1510"/>
                  </a:cubicBezTo>
                  <a:cubicBezTo>
                    <a:pt x="1703" y="1510"/>
                    <a:pt x="1613" y="1542"/>
                    <a:pt x="1548" y="1608"/>
                  </a:cubicBezTo>
                  <a:lnTo>
                    <a:pt x="60" y="3096"/>
                  </a:lnTo>
                  <a:cubicBezTo>
                    <a:pt x="0" y="3156"/>
                    <a:pt x="0" y="3275"/>
                    <a:pt x="60" y="3334"/>
                  </a:cubicBezTo>
                  <a:cubicBezTo>
                    <a:pt x="83" y="3370"/>
                    <a:pt x="131" y="3382"/>
                    <a:pt x="179" y="3382"/>
                  </a:cubicBezTo>
                  <a:cubicBezTo>
                    <a:pt x="214" y="3382"/>
                    <a:pt x="262" y="3370"/>
                    <a:pt x="298" y="3334"/>
                  </a:cubicBezTo>
                  <a:lnTo>
                    <a:pt x="1786" y="1846"/>
                  </a:lnTo>
                  <a:lnTo>
                    <a:pt x="1798" y="1846"/>
                  </a:lnTo>
                  <a:lnTo>
                    <a:pt x="2167" y="2227"/>
                  </a:lnTo>
                  <a:cubicBezTo>
                    <a:pt x="2227" y="2287"/>
                    <a:pt x="2310" y="2322"/>
                    <a:pt x="2405" y="2322"/>
                  </a:cubicBezTo>
                  <a:cubicBezTo>
                    <a:pt x="2488" y="2322"/>
                    <a:pt x="2584" y="2298"/>
                    <a:pt x="2643" y="2227"/>
                  </a:cubicBezTo>
                  <a:lnTo>
                    <a:pt x="4298" y="572"/>
                  </a:lnTo>
                  <a:lnTo>
                    <a:pt x="4298" y="1060"/>
                  </a:lnTo>
                  <a:cubicBezTo>
                    <a:pt x="4298" y="1155"/>
                    <a:pt x="4370" y="1227"/>
                    <a:pt x="4453" y="1227"/>
                  </a:cubicBezTo>
                  <a:cubicBezTo>
                    <a:pt x="4548" y="1227"/>
                    <a:pt x="4620" y="1155"/>
                    <a:pt x="4620" y="1060"/>
                  </a:cubicBezTo>
                  <a:lnTo>
                    <a:pt x="4620" y="167"/>
                  </a:lnTo>
                  <a:cubicBezTo>
                    <a:pt x="4644" y="84"/>
                    <a:pt x="4560" y="1"/>
                    <a:pt x="4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49" name="Google Shape;13549;p64"/>
          <p:cNvGrpSpPr/>
          <p:nvPr/>
        </p:nvGrpSpPr>
        <p:grpSpPr>
          <a:xfrm>
            <a:off x="3712952" y="1970604"/>
            <a:ext cx="354363" cy="354395"/>
            <a:chOff x="3712952" y="1970604"/>
            <a:chExt cx="354363" cy="354395"/>
          </a:xfrm>
        </p:grpSpPr>
        <p:sp>
          <p:nvSpPr>
            <p:cNvPr id="13550" name="Google Shape;13550;p64"/>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1" name="Google Shape;13551;p64"/>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2" name="Google Shape;13552;p64"/>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3" name="Google Shape;13553;p64"/>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4" name="Google Shape;13554;p64"/>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5" name="Google Shape;13555;p64"/>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6" name="Google Shape;13556;p64"/>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7" name="Google Shape;13557;p64"/>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8" name="Google Shape;13558;p64"/>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59" name="Google Shape;13559;p64"/>
          <p:cNvGrpSpPr/>
          <p:nvPr/>
        </p:nvGrpSpPr>
        <p:grpSpPr>
          <a:xfrm>
            <a:off x="3235438" y="1970604"/>
            <a:ext cx="354363" cy="354745"/>
            <a:chOff x="3235438" y="1970604"/>
            <a:chExt cx="354363" cy="354745"/>
          </a:xfrm>
        </p:grpSpPr>
        <p:sp>
          <p:nvSpPr>
            <p:cNvPr id="13560" name="Google Shape;13560;p64"/>
            <p:cNvSpPr/>
            <p:nvPr/>
          </p:nvSpPr>
          <p:spPr>
            <a:xfrm>
              <a:off x="3235438" y="2125712"/>
              <a:ext cx="132667" cy="199288"/>
            </a:xfrm>
            <a:custGeom>
              <a:avLst/>
              <a:gdLst/>
              <a:ahLst/>
              <a:cxnLst/>
              <a:rect l="l" t="t" r="r" b="b"/>
              <a:pathLst>
                <a:path w="4168" h="6261" extrusionOk="0">
                  <a:moveTo>
                    <a:pt x="2102" y="325"/>
                  </a:moveTo>
                  <a:cubicBezTo>
                    <a:pt x="2147" y="325"/>
                    <a:pt x="2191" y="331"/>
                    <a:pt x="2239" y="343"/>
                  </a:cubicBezTo>
                  <a:cubicBezTo>
                    <a:pt x="2953" y="402"/>
                    <a:pt x="3501" y="1021"/>
                    <a:pt x="3501" y="1748"/>
                  </a:cubicBezTo>
                  <a:cubicBezTo>
                    <a:pt x="3501" y="2438"/>
                    <a:pt x="3668" y="3081"/>
                    <a:pt x="3811" y="3414"/>
                  </a:cubicBezTo>
                  <a:lnTo>
                    <a:pt x="3811" y="3438"/>
                  </a:lnTo>
                  <a:cubicBezTo>
                    <a:pt x="3632" y="3534"/>
                    <a:pt x="3310" y="3736"/>
                    <a:pt x="2775" y="3831"/>
                  </a:cubicBezTo>
                  <a:lnTo>
                    <a:pt x="2775" y="3795"/>
                  </a:lnTo>
                  <a:lnTo>
                    <a:pt x="2775" y="3462"/>
                  </a:lnTo>
                  <a:cubicBezTo>
                    <a:pt x="2977" y="3343"/>
                    <a:pt x="3156" y="3164"/>
                    <a:pt x="3299" y="2938"/>
                  </a:cubicBezTo>
                  <a:cubicBezTo>
                    <a:pt x="3513" y="2545"/>
                    <a:pt x="3441" y="2021"/>
                    <a:pt x="3096" y="1712"/>
                  </a:cubicBezTo>
                  <a:cubicBezTo>
                    <a:pt x="2858" y="1486"/>
                    <a:pt x="2429" y="1236"/>
                    <a:pt x="1751" y="1236"/>
                  </a:cubicBezTo>
                  <a:cubicBezTo>
                    <a:pt x="1703" y="1236"/>
                    <a:pt x="1656" y="1248"/>
                    <a:pt x="1632" y="1271"/>
                  </a:cubicBezTo>
                  <a:lnTo>
                    <a:pt x="1286" y="1617"/>
                  </a:lnTo>
                  <a:cubicBezTo>
                    <a:pt x="1227" y="1676"/>
                    <a:pt x="1227" y="1783"/>
                    <a:pt x="1286" y="1843"/>
                  </a:cubicBezTo>
                  <a:cubicBezTo>
                    <a:pt x="1316" y="1873"/>
                    <a:pt x="1358" y="1887"/>
                    <a:pt x="1400" y="1887"/>
                  </a:cubicBezTo>
                  <a:cubicBezTo>
                    <a:pt x="1441" y="1887"/>
                    <a:pt x="1483" y="1873"/>
                    <a:pt x="1513" y="1843"/>
                  </a:cubicBezTo>
                  <a:lnTo>
                    <a:pt x="1810" y="1545"/>
                  </a:lnTo>
                  <a:cubicBezTo>
                    <a:pt x="2239" y="1557"/>
                    <a:pt x="2596" y="1688"/>
                    <a:pt x="2882" y="1950"/>
                  </a:cubicBezTo>
                  <a:cubicBezTo>
                    <a:pt x="3120" y="2152"/>
                    <a:pt x="3156" y="2510"/>
                    <a:pt x="3013" y="2783"/>
                  </a:cubicBezTo>
                  <a:cubicBezTo>
                    <a:pt x="2822" y="3105"/>
                    <a:pt x="2477" y="3319"/>
                    <a:pt x="2084" y="3319"/>
                  </a:cubicBezTo>
                  <a:cubicBezTo>
                    <a:pt x="1513" y="3319"/>
                    <a:pt x="1036" y="2843"/>
                    <a:pt x="1036" y="2260"/>
                  </a:cubicBezTo>
                  <a:cubicBezTo>
                    <a:pt x="1036" y="2164"/>
                    <a:pt x="953" y="2093"/>
                    <a:pt x="870" y="2093"/>
                  </a:cubicBezTo>
                  <a:cubicBezTo>
                    <a:pt x="774" y="2093"/>
                    <a:pt x="703" y="2164"/>
                    <a:pt x="703" y="2260"/>
                  </a:cubicBezTo>
                  <a:cubicBezTo>
                    <a:pt x="703" y="2760"/>
                    <a:pt x="989" y="3224"/>
                    <a:pt x="1405" y="3462"/>
                  </a:cubicBezTo>
                  <a:lnTo>
                    <a:pt x="1405" y="3795"/>
                  </a:lnTo>
                  <a:lnTo>
                    <a:pt x="1405" y="3831"/>
                  </a:lnTo>
                  <a:cubicBezTo>
                    <a:pt x="858" y="3712"/>
                    <a:pt x="524" y="3534"/>
                    <a:pt x="393" y="3438"/>
                  </a:cubicBezTo>
                  <a:cubicBezTo>
                    <a:pt x="393" y="3438"/>
                    <a:pt x="382" y="3438"/>
                    <a:pt x="393" y="3414"/>
                  </a:cubicBezTo>
                  <a:cubicBezTo>
                    <a:pt x="524" y="3081"/>
                    <a:pt x="691" y="2438"/>
                    <a:pt x="703" y="1748"/>
                  </a:cubicBezTo>
                  <a:cubicBezTo>
                    <a:pt x="703" y="1021"/>
                    <a:pt x="1275" y="402"/>
                    <a:pt x="1965" y="343"/>
                  </a:cubicBezTo>
                  <a:cubicBezTo>
                    <a:pt x="2013" y="331"/>
                    <a:pt x="2057" y="325"/>
                    <a:pt x="2102" y="325"/>
                  </a:cubicBezTo>
                  <a:close/>
                  <a:moveTo>
                    <a:pt x="2429" y="3581"/>
                  </a:moveTo>
                  <a:lnTo>
                    <a:pt x="2429" y="3772"/>
                  </a:lnTo>
                  <a:cubicBezTo>
                    <a:pt x="2429" y="3974"/>
                    <a:pt x="2537" y="4153"/>
                    <a:pt x="2715" y="4236"/>
                  </a:cubicBezTo>
                  <a:lnTo>
                    <a:pt x="2822" y="4296"/>
                  </a:lnTo>
                  <a:cubicBezTo>
                    <a:pt x="2668" y="4546"/>
                    <a:pt x="2382" y="4712"/>
                    <a:pt x="2072" y="4712"/>
                  </a:cubicBezTo>
                  <a:cubicBezTo>
                    <a:pt x="1775" y="4712"/>
                    <a:pt x="1489" y="4546"/>
                    <a:pt x="1334" y="4296"/>
                  </a:cubicBezTo>
                  <a:lnTo>
                    <a:pt x="1429" y="4236"/>
                  </a:lnTo>
                  <a:cubicBezTo>
                    <a:pt x="1608" y="4153"/>
                    <a:pt x="1715" y="3974"/>
                    <a:pt x="1715" y="3772"/>
                  </a:cubicBezTo>
                  <a:lnTo>
                    <a:pt x="1715" y="3581"/>
                  </a:lnTo>
                  <a:cubicBezTo>
                    <a:pt x="1834" y="3617"/>
                    <a:pt x="1953" y="3629"/>
                    <a:pt x="2072" y="3629"/>
                  </a:cubicBezTo>
                  <a:cubicBezTo>
                    <a:pt x="2191" y="3629"/>
                    <a:pt x="2310" y="3617"/>
                    <a:pt x="2429" y="3581"/>
                  </a:cubicBezTo>
                  <a:close/>
                  <a:moveTo>
                    <a:pt x="2072" y="0"/>
                  </a:moveTo>
                  <a:cubicBezTo>
                    <a:pt x="2016" y="0"/>
                    <a:pt x="1959" y="3"/>
                    <a:pt x="1906" y="9"/>
                  </a:cubicBezTo>
                  <a:cubicBezTo>
                    <a:pt x="1036" y="81"/>
                    <a:pt x="346" y="855"/>
                    <a:pt x="346" y="1748"/>
                  </a:cubicBezTo>
                  <a:cubicBezTo>
                    <a:pt x="346" y="2391"/>
                    <a:pt x="203" y="2986"/>
                    <a:pt x="60" y="3295"/>
                  </a:cubicBezTo>
                  <a:cubicBezTo>
                    <a:pt x="1" y="3450"/>
                    <a:pt x="48" y="3617"/>
                    <a:pt x="179" y="3700"/>
                  </a:cubicBezTo>
                  <a:cubicBezTo>
                    <a:pt x="322" y="3795"/>
                    <a:pt x="584" y="3950"/>
                    <a:pt x="1036" y="4093"/>
                  </a:cubicBezTo>
                  <a:lnTo>
                    <a:pt x="382" y="4415"/>
                  </a:lnTo>
                  <a:cubicBezTo>
                    <a:pt x="143" y="4534"/>
                    <a:pt x="1" y="4772"/>
                    <a:pt x="1" y="5022"/>
                  </a:cubicBezTo>
                  <a:lnTo>
                    <a:pt x="1" y="6093"/>
                  </a:lnTo>
                  <a:cubicBezTo>
                    <a:pt x="1" y="6189"/>
                    <a:pt x="84" y="6260"/>
                    <a:pt x="167" y="6260"/>
                  </a:cubicBezTo>
                  <a:cubicBezTo>
                    <a:pt x="262" y="6260"/>
                    <a:pt x="334" y="6189"/>
                    <a:pt x="334" y="6093"/>
                  </a:cubicBezTo>
                  <a:lnTo>
                    <a:pt x="334" y="5022"/>
                  </a:lnTo>
                  <a:cubicBezTo>
                    <a:pt x="334" y="4891"/>
                    <a:pt x="405" y="4772"/>
                    <a:pt x="524" y="4700"/>
                  </a:cubicBezTo>
                  <a:lnTo>
                    <a:pt x="1048" y="4450"/>
                  </a:lnTo>
                  <a:cubicBezTo>
                    <a:pt x="1275" y="4807"/>
                    <a:pt x="1656" y="5046"/>
                    <a:pt x="2084" y="5046"/>
                  </a:cubicBezTo>
                  <a:cubicBezTo>
                    <a:pt x="2525" y="5046"/>
                    <a:pt x="2906" y="4819"/>
                    <a:pt x="3132" y="4450"/>
                  </a:cubicBezTo>
                  <a:lnTo>
                    <a:pt x="3656" y="4700"/>
                  </a:lnTo>
                  <a:cubicBezTo>
                    <a:pt x="3775" y="4760"/>
                    <a:pt x="3846" y="4879"/>
                    <a:pt x="3846" y="5022"/>
                  </a:cubicBezTo>
                  <a:lnTo>
                    <a:pt x="3846" y="6093"/>
                  </a:lnTo>
                  <a:cubicBezTo>
                    <a:pt x="3846" y="6189"/>
                    <a:pt x="3918" y="6260"/>
                    <a:pt x="4013" y="6260"/>
                  </a:cubicBezTo>
                  <a:cubicBezTo>
                    <a:pt x="4096" y="6260"/>
                    <a:pt x="4168" y="6189"/>
                    <a:pt x="4168" y="6093"/>
                  </a:cubicBezTo>
                  <a:lnTo>
                    <a:pt x="4168" y="5022"/>
                  </a:lnTo>
                  <a:cubicBezTo>
                    <a:pt x="4156" y="4772"/>
                    <a:pt x="4013" y="4534"/>
                    <a:pt x="3775" y="4415"/>
                  </a:cubicBezTo>
                  <a:lnTo>
                    <a:pt x="3120" y="4093"/>
                  </a:lnTo>
                  <a:cubicBezTo>
                    <a:pt x="3549" y="3974"/>
                    <a:pt x="3834" y="3807"/>
                    <a:pt x="3965" y="3700"/>
                  </a:cubicBezTo>
                  <a:cubicBezTo>
                    <a:pt x="4096" y="3617"/>
                    <a:pt x="4144" y="3450"/>
                    <a:pt x="4084" y="3295"/>
                  </a:cubicBezTo>
                  <a:cubicBezTo>
                    <a:pt x="3953" y="2986"/>
                    <a:pt x="3799" y="2391"/>
                    <a:pt x="3799" y="1748"/>
                  </a:cubicBezTo>
                  <a:cubicBezTo>
                    <a:pt x="3799" y="855"/>
                    <a:pt x="3096" y="81"/>
                    <a:pt x="2239" y="9"/>
                  </a:cubicBezTo>
                  <a:cubicBezTo>
                    <a:pt x="2185" y="3"/>
                    <a:pt x="2129" y="0"/>
                    <a:pt x="2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1" name="Google Shape;13561;p64"/>
            <p:cNvSpPr/>
            <p:nvPr/>
          </p:nvSpPr>
          <p:spPr>
            <a:xfrm>
              <a:off x="3257433" y="2292373"/>
              <a:ext cx="10249" cy="32626"/>
            </a:xfrm>
            <a:custGeom>
              <a:avLst/>
              <a:gdLst/>
              <a:ahLst/>
              <a:cxnLst/>
              <a:rect l="l" t="t" r="r" b="b"/>
              <a:pathLst>
                <a:path w="322" h="1025" extrusionOk="0">
                  <a:moveTo>
                    <a:pt x="167" y="0"/>
                  </a:moveTo>
                  <a:cubicBezTo>
                    <a:pt x="72" y="0"/>
                    <a:pt x="0" y="72"/>
                    <a:pt x="0" y="167"/>
                  </a:cubicBezTo>
                  <a:lnTo>
                    <a:pt x="0" y="857"/>
                  </a:lnTo>
                  <a:cubicBezTo>
                    <a:pt x="0" y="953"/>
                    <a:pt x="72" y="1024"/>
                    <a:pt x="167" y="1024"/>
                  </a:cubicBezTo>
                  <a:cubicBezTo>
                    <a:pt x="250" y="1024"/>
                    <a:pt x="322" y="953"/>
                    <a:pt x="322" y="857"/>
                  </a:cubicBezTo>
                  <a:lnTo>
                    <a:pt x="322" y="167"/>
                  </a:lnTo>
                  <a:cubicBezTo>
                    <a:pt x="322" y="72"/>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2" name="Google Shape;13562;p64"/>
            <p:cNvSpPr/>
            <p:nvPr/>
          </p:nvSpPr>
          <p:spPr>
            <a:xfrm>
              <a:off x="3335098" y="2292373"/>
              <a:ext cx="10281" cy="32626"/>
            </a:xfrm>
            <a:custGeom>
              <a:avLst/>
              <a:gdLst/>
              <a:ahLst/>
              <a:cxnLst/>
              <a:rect l="l" t="t" r="r" b="b"/>
              <a:pathLst>
                <a:path w="323" h="1025" extrusionOk="0">
                  <a:moveTo>
                    <a:pt x="168" y="0"/>
                  </a:moveTo>
                  <a:cubicBezTo>
                    <a:pt x="72" y="0"/>
                    <a:pt x="1" y="72"/>
                    <a:pt x="1" y="167"/>
                  </a:cubicBezTo>
                  <a:lnTo>
                    <a:pt x="1" y="857"/>
                  </a:lnTo>
                  <a:cubicBezTo>
                    <a:pt x="1" y="953"/>
                    <a:pt x="72" y="1024"/>
                    <a:pt x="168" y="1024"/>
                  </a:cubicBezTo>
                  <a:cubicBezTo>
                    <a:pt x="251" y="1024"/>
                    <a:pt x="322" y="953"/>
                    <a:pt x="322" y="857"/>
                  </a:cubicBezTo>
                  <a:lnTo>
                    <a:pt x="322" y="167"/>
                  </a:lnTo>
                  <a:cubicBezTo>
                    <a:pt x="322"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3" name="Google Shape;13563;p64"/>
            <p:cNvSpPr/>
            <p:nvPr/>
          </p:nvSpPr>
          <p:spPr>
            <a:xfrm>
              <a:off x="3490110" y="2163685"/>
              <a:ext cx="55734" cy="18430"/>
            </a:xfrm>
            <a:custGeom>
              <a:avLst/>
              <a:gdLst/>
              <a:ahLst/>
              <a:cxnLst/>
              <a:rect l="l" t="t" r="r" b="b"/>
              <a:pathLst>
                <a:path w="1751" h="579" extrusionOk="0">
                  <a:moveTo>
                    <a:pt x="649" y="0"/>
                  </a:moveTo>
                  <a:cubicBezTo>
                    <a:pt x="492" y="0"/>
                    <a:pt x="319" y="16"/>
                    <a:pt x="132" y="55"/>
                  </a:cubicBezTo>
                  <a:cubicBezTo>
                    <a:pt x="60" y="66"/>
                    <a:pt x="1" y="138"/>
                    <a:pt x="1" y="221"/>
                  </a:cubicBezTo>
                  <a:lnTo>
                    <a:pt x="1" y="400"/>
                  </a:lnTo>
                  <a:cubicBezTo>
                    <a:pt x="1" y="483"/>
                    <a:pt x="72" y="555"/>
                    <a:pt x="155" y="555"/>
                  </a:cubicBezTo>
                  <a:cubicBezTo>
                    <a:pt x="251" y="555"/>
                    <a:pt x="322" y="483"/>
                    <a:pt x="322" y="400"/>
                  </a:cubicBezTo>
                  <a:lnTo>
                    <a:pt x="322" y="364"/>
                  </a:lnTo>
                  <a:cubicBezTo>
                    <a:pt x="434" y="349"/>
                    <a:pt x="539" y="342"/>
                    <a:pt x="636" y="342"/>
                  </a:cubicBezTo>
                  <a:cubicBezTo>
                    <a:pt x="841" y="342"/>
                    <a:pt x="1011" y="371"/>
                    <a:pt x="1132" y="412"/>
                  </a:cubicBezTo>
                  <a:cubicBezTo>
                    <a:pt x="1334" y="471"/>
                    <a:pt x="1453" y="543"/>
                    <a:pt x="1465" y="543"/>
                  </a:cubicBezTo>
                  <a:cubicBezTo>
                    <a:pt x="1501" y="555"/>
                    <a:pt x="1525" y="578"/>
                    <a:pt x="1560" y="578"/>
                  </a:cubicBezTo>
                  <a:cubicBezTo>
                    <a:pt x="1620" y="578"/>
                    <a:pt x="1667" y="543"/>
                    <a:pt x="1691" y="495"/>
                  </a:cubicBezTo>
                  <a:cubicBezTo>
                    <a:pt x="1751" y="400"/>
                    <a:pt x="1727" y="293"/>
                    <a:pt x="1644" y="245"/>
                  </a:cubicBezTo>
                  <a:cubicBezTo>
                    <a:pt x="1625" y="236"/>
                    <a:pt x="1259" y="0"/>
                    <a:pt x="6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4" name="Google Shape;13564;p64"/>
            <p:cNvSpPr/>
            <p:nvPr/>
          </p:nvSpPr>
          <p:spPr>
            <a:xfrm>
              <a:off x="3445771" y="2131664"/>
              <a:ext cx="144031" cy="192953"/>
            </a:xfrm>
            <a:custGeom>
              <a:avLst/>
              <a:gdLst/>
              <a:ahLst/>
              <a:cxnLst/>
              <a:rect l="l" t="t" r="r" b="b"/>
              <a:pathLst>
                <a:path w="4525" h="6062" extrusionOk="0">
                  <a:moveTo>
                    <a:pt x="3489" y="310"/>
                  </a:moveTo>
                  <a:lnTo>
                    <a:pt x="3489" y="1120"/>
                  </a:lnTo>
                  <a:cubicBezTo>
                    <a:pt x="3489" y="1251"/>
                    <a:pt x="3453" y="1382"/>
                    <a:pt x="3394" y="1525"/>
                  </a:cubicBezTo>
                  <a:lnTo>
                    <a:pt x="3334" y="1656"/>
                  </a:lnTo>
                  <a:cubicBezTo>
                    <a:pt x="3322" y="1680"/>
                    <a:pt x="3322" y="1703"/>
                    <a:pt x="3322" y="1727"/>
                  </a:cubicBezTo>
                  <a:lnTo>
                    <a:pt x="3322" y="2073"/>
                  </a:lnTo>
                  <a:cubicBezTo>
                    <a:pt x="3322" y="2370"/>
                    <a:pt x="3203" y="2632"/>
                    <a:pt x="3001" y="2835"/>
                  </a:cubicBezTo>
                  <a:cubicBezTo>
                    <a:pt x="2796" y="3016"/>
                    <a:pt x="2549" y="3133"/>
                    <a:pt x="2268" y="3133"/>
                  </a:cubicBezTo>
                  <a:cubicBezTo>
                    <a:pt x="2254" y="3133"/>
                    <a:pt x="2241" y="3133"/>
                    <a:pt x="2227" y="3132"/>
                  </a:cubicBezTo>
                  <a:cubicBezTo>
                    <a:pt x="1655" y="3108"/>
                    <a:pt x="1191" y="2608"/>
                    <a:pt x="1191" y="2025"/>
                  </a:cubicBezTo>
                  <a:lnTo>
                    <a:pt x="1191" y="1727"/>
                  </a:lnTo>
                  <a:cubicBezTo>
                    <a:pt x="1191" y="1703"/>
                    <a:pt x="1191" y="1680"/>
                    <a:pt x="1179" y="1656"/>
                  </a:cubicBezTo>
                  <a:lnTo>
                    <a:pt x="1120" y="1525"/>
                  </a:lnTo>
                  <a:cubicBezTo>
                    <a:pt x="1060" y="1406"/>
                    <a:pt x="1036" y="1263"/>
                    <a:pt x="1036" y="1120"/>
                  </a:cubicBezTo>
                  <a:cubicBezTo>
                    <a:pt x="1036" y="668"/>
                    <a:pt x="1394" y="310"/>
                    <a:pt x="1834" y="310"/>
                  </a:cubicBezTo>
                  <a:close/>
                  <a:moveTo>
                    <a:pt x="1727" y="3335"/>
                  </a:moveTo>
                  <a:cubicBezTo>
                    <a:pt x="1882" y="3406"/>
                    <a:pt x="2048" y="3442"/>
                    <a:pt x="2215" y="3454"/>
                  </a:cubicBezTo>
                  <a:lnTo>
                    <a:pt x="2263" y="3454"/>
                  </a:lnTo>
                  <a:cubicBezTo>
                    <a:pt x="2453" y="3454"/>
                    <a:pt x="2632" y="3430"/>
                    <a:pt x="2798" y="3347"/>
                  </a:cubicBezTo>
                  <a:lnTo>
                    <a:pt x="2798" y="3573"/>
                  </a:lnTo>
                  <a:cubicBezTo>
                    <a:pt x="2798" y="3620"/>
                    <a:pt x="2810" y="3680"/>
                    <a:pt x="2810" y="3728"/>
                  </a:cubicBezTo>
                  <a:lnTo>
                    <a:pt x="2263" y="4144"/>
                  </a:lnTo>
                  <a:lnTo>
                    <a:pt x="1715" y="3728"/>
                  </a:lnTo>
                  <a:cubicBezTo>
                    <a:pt x="1727" y="3680"/>
                    <a:pt x="1727" y="3632"/>
                    <a:pt x="1727" y="3573"/>
                  </a:cubicBezTo>
                  <a:lnTo>
                    <a:pt x="1727" y="3335"/>
                  </a:lnTo>
                  <a:close/>
                  <a:moveTo>
                    <a:pt x="1834" y="1"/>
                  </a:moveTo>
                  <a:cubicBezTo>
                    <a:pt x="1203" y="1"/>
                    <a:pt x="703" y="501"/>
                    <a:pt x="703" y="1132"/>
                  </a:cubicBezTo>
                  <a:cubicBezTo>
                    <a:pt x="703" y="1322"/>
                    <a:pt x="751" y="1501"/>
                    <a:pt x="834" y="1668"/>
                  </a:cubicBezTo>
                  <a:lnTo>
                    <a:pt x="882" y="1751"/>
                  </a:lnTo>
                  <a:lnTo>
                    <a:pt x="882" y="2013"/>
                  </a:lnTo>
                  <a:cubicBezTo>
                    <a:pt x="882" y="2454"/>
                    <a:pt x="1084" y="2858"/>
                    <a:pt x="1405" y="3120"/>
                  </a:cubicBezTo>
                  <a:lnTo>
                    <a:pt x="1405" y="3561"/>
                  </a:lnTo>
                  <a:cubicBezTo>
                    <a:pt x="1405" y="3632"/>
                    <a:pt x="1358" y="3704"/>
                    <a:pt x="1286" y="3739"/>
                  </a:cubicBezTo>
                  <a:lnTo>
                    <a:pt x="453" y="4049"/>
                  </a:lnTo>
                  <a:cubicBezTo>
                    <a:pt x="179" y="4156"/>
                    <a:pt x="1" y="4406"/>
                    <a:pt x="1" y="4692"/>
                  </a:cubicBezTo>
                  <a:lnTo>
                    <a:pt x="1" y="5894"/>
                  </a:lnTo>
                  <a:cubicBezTo>
                    <a:pt x="1" y="5990"/>
                    <a:pt x="72" y="6061"/>
                    <a:pt x="167" y="6061"/>
                  </a:cubicBezTo>
                  <a:cubicBezTo>
                    <a:pt x="251" y="6061"/>
                    <a:pt x="334" y="5990"/>
                    <a:pt x="334" y="5894"/>
                  </a:cubicBezTo>
                  <a:lnTo>
                    <a:pt x="334" y="4692"/>
                  </a:lnTo>
                  <a:cubicBezTo>
                    <a:pt x="334" y="4537"/>
                    <a:pt x="417" y="4406"/>
                    <a:pt x="572" y="4347"/>
                  </a:cubicBezTo>
                  <a:lnTo>
                    <a:pt x="1405" y="4037"/>
                  </a:lnTo>
                  <a:cubicBezTo>
                    <a:pt x="1441" y="4013"/>
                    <a:pt x="1489" y="3989"/>
                    <a:pt x="1525" y="3954"/>
                  </a:cubicBezTo>
                  <a:lnTo>
                    <a:pt x="2096" y="4394"/>
                  </a:lnTo>
                  <a:lnTo>
                    <a:pt x="2096" y="5883"/>
                  </a:lnTo>
                  <a:cubicBezTo>
                    <a:pt x="2096" y="5966"/>
                    <a:pt x="2179" y="6037"/>
                    <a:pt x="2263" y="6037"/>
                  </a:cubicBezTo>
                  <a:cubicBezTo>
                    <a:pt x="2358" y="6037"/>
                    <a:pt x="2429" y="5966"/>
                    <a:pt x="2429" y="5883"/>
                  </a:cubicBezTo>
                  <a:lnTo>
                    <a:pt x="2429" y="4394"/>
                  </a:lnTo>
                  <a:lnTo>
                    <a:pt x="3013" y="3954"/>
                  </a:lnTo>
                  <a:cubicBezTo>
                    <a:pt x="3049" y="3989"/>
                    <a:pt x="3084" y="4001"/>
                    <a:pt x="3132" y="4037"/>
                  </a:cubicBezTo>
                  <a:lnTo>
                    <a:pt x="3965" y="4347"/>
                  </a:lnTo>
                  <a:cubicBezTo>
                    <a:pt x="4096" y="4406"/>
                    <a:pt x="4203" y="4537"/>
                    <a:pt x="4203" y="4692"/>
                  </a:cubicBezTo>
                  <a:lnTo>
                    <a:pt x="4203" y="5894"/>
                  </a:lnTo>
                  <a:cubicBezTo>
                    <a:pt x="4203" y="5990"/>
                    <a:pt x="4275" y="6061"/>
                    <a:pt x="4358" y="6061"/>
                  </a:cubicBezTo>
                  <a:cubicBezTo>
                    <a:pt x="4453" y="6061"/>
                    <a:pt x="4525" y="5990"/>
                    <a:pt x="4525" y="5894"/>
                  </a:cubicBezTo>
                  <a:lnTo>
                    <a:pt x="4525" y="4692"/>
                  </a:lnTo>
                  <a:cubicBezTo>
                    <a:pt x="4513" y="4418"/>
                    <a:pt x="4334" y="4168"/>
                    <a:pt x="4072" y="4061"/>
                  </a:cubicBezTo>
                  <a:lnTo>
                    <a:pt x="3239" y="3751"/>
                  </a:lnTo>
                  <a:cubicBezTo>
                    <a:pt x="3156" y="3728"/>
                    <a:pt x="3120" y="3644"/>
                    <a:pt x="3120" y="3573"/>
                  </a:cubicBezTo>
                  <a:lnTo>
                    <a:pt x="3120" y="3156"/>
                  </a:lnTo>
                  <a:cubicBezTo>
                    <a:pt x="3144" y="3132"/>
                    <a:pt x="3191" y="3096"/>
                    <a:pt x="3215" y="3061"/>
                  </a:cubicBezTo>
                  <a:cubicBezTo>
                    <a:pt x="3489" y="2799"/>
                    <a:pt x="3632" y="2454"/>
                    <a:pt x="3632" y="2073"/>
                  </a:cubicBezTo>
                  <a:lnTo>
                    <a:pt x="3632" y="1751"/>
                  </a:lnTo>
                  <a:lnTo>
                    <a:pt x="3680" y="1668"/>
                  </a:lnTo>
                  <a:cubicBezTo>
                    <a:pt x="3775" y="1501"/>
                    <a:pt x="3811" y="1311"/>
                    <a:pt x="3811" y="1132"/>
                  </a:cubicBezTo>
                  <a:lnTo>
                    <a:pt x="3811" y="168"/>
                  </a:lnTo>
                  <a:cubicBezTo>
                    <a:pt x="3811" y="72"/>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5" name="Google Shape;13565;p64"/>
            <p:cNvSpPr/>
            <p:nvPr/>
          </p:nvSpPr>
          <p:spPr>
            <a:xfrm>
              <a:off x="3473813" y="2287058"/>
              <a:ext cx="10631" cy="38291"/>
            </a:xfrm>
            <a:custGeom>
              <a:avLst/>
              <a:gdLst/>
              <a:ahLst/>
              <a:cxnLst/>
              <a:rect l="l" t="t" r="r" b="b"/>
              <a:pathLst>
                <a:path w="334" h="1203" extrusionOk="0">
                  <a:moveTo>
                    <a:pt x="167" y="0"/>
                  </a:moveTo>
                  <a:cubicBezTo>
                    <a:pt x="72" y="0"/>
                    <a:pt x="1" y="72"/>
                    <a:pt x="1" y="167"/>
                  </a:cubicBezTo>
                  <a:lnTo>
                    <a:pt x="1" y="1048"/>
                  </a:lnTo>
                  <a:cubicBezTo>
                    <a:pt x="1" y="1131"/>
                    <a:pt x="72" y="1203"/>
                    <a:pt x="167" y="1203"/>
                  </a:cubicBezTo>
                  <a:cubicBezTo>
                    <a:pt x="251" y="1203"/>
                    <a:pt x="334" y="1131"/>
                    <a:pt x="334" y="1048"/>
                  </a:cubicBezTo>
                  <a:lnTo>
                    <a:pt x="334" y="155"/>
                  </a:lnTo>
                  <a:cubicBezTo>
                    <a:pt x="334" y="60"/>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6" name="Google Shape;13566;p64"/>
            <p:cNvSpPr/>
            <p:nvPr/>
          </p:nvSpPr>
          <p:spPr>
            <a:xfrm>
              <a:off x="3551128" y="2287058"/>
              <a:ext cx="10249" cy="38291"/>
            </a:xfrm>
            <a:custGeom>
              <a:avLst/>
              <a:gdLst/>
              <a:ahLst/>
              <a:cxnLst/>
              <a:rect l="l" t="t" r="r" b="b"/>
              <a:pathLst>
                <a:path w="322" h="1203" extrusionOk="0">
                  <a:moveTo>
                    <a:pt x="167" y="0"/>
                  </a:moveTo>
                  <a:cubicBezTo>
                    <a:pt x="72" y="0"/>
                    <a:pt x="0" y="72"/>
                    <a:pt x="0" y="167"/>
                  </a:cubicBezTo>
                  <a:lnTo>
                    <a:pt x="0" y="1048"/>
                  </a:lnTo>
                  <a:cubicBezTo>
                    <a:pt x="0" y="1131"/>
                    <a:pt x="72" y="1203"/>
                    <a:pt x="167" y="1203"/>
                  </a:cubicBezTo>
                  <a:cubicBezTo>
                    <a:pt x="250" y="1203"/>
                    <a:pt x="322" y="1131"/>
                    <a:pt x="322" y="1048"/>
                  </a:cubicBezTo>
                  <a:lnTo>
                    <a:pt x="322" y="155"/>
                  </a:lnTo>
                  <a:cubicBezTo>
                    <a:pt x="322" y="60"/>
                    <a:pt x="262"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7" name="Google Shape;13567;p64"/>
            <p:cNvSpPr/>
            <p:nvPr/>
          </p:nvSpPr>
          <p:spPr>
            <a:xfrm>
              <a:off x="3290377" y="1970604"/>
              <a:ext cx="221378" cy="185346"/>
            </a:xfrm>
            <a:custGeom>
              <a:avLst/>
              <a:gdLst/>
              <a:ahLst/>
              <a:cxnLst/>
              <a:rect l="l" t="t" r="r" b="b"/>
              <a:pathLst>
                <a:path w="6955" h="5823" extrusionOk="0">
                  <a:moveTo>
                    <a:pt x="2406" y="4168"/>
                  </a:moveTo>
                  <a:lnTo>
                    <a:pt x="2311" y="4537"/>
                  </a:lnTo>
                  <a:lnTo>
                    <a:pt x="2085" y="4537"/>
                  </a:lnTo>
                  <a:cubicBezTo>
                    <a:pt x="1894" y="4537"/>
                    <a:pt x="1727" y="4382"/>
                    <a:pt x="1727" y="4180"/>
                  </a:cubicBezTo>
                  <a:lnTo>
                    <a:pt x="1727" y="4168"/>
                  </a:lnTo>
                  <a:close/>
                  <a:moveTo>
                    <a:pt x="5573" y="358"/>
                  </a:moveTo>
                  <a:cubicBezTo>
                    <a:pt x="5764" y="358"/>
                    <a:pt x="5930" y="525"/>
                    <a:pt x="5930" y="715"/>
                  </a:cubicBezTo>
                  <a:lnTo>
                    <a:pt x="5930" y="3501"/>
                  </a:lnTo>
                  <a:cubicBezTo>
                    <a:pt x="5930" y="3692"/>
                    <a:pt x="5764" y="3858"/>
                    <a:pt x="5573" y="3858"/>
                  </a:cubicBezTo>
                  <a:lnTo>
                    <a:pt x="4168" y="3858"/>
                  </a:lnTo>
                  <a:cubicBezTo>
                    <a:pt x="4144" y="3858"/>
                    <a:pt x="4097" y="3870"/>
                    <a:pt x="4085" y="3882"/>
                  </a:cubicBezTo>
                  <a:lnTo>
                    <a:pt x="2537" y="5001"/>
                  </a:lnTo>
                  <a:lnTo>
                    <a:pt x="2537" y="5001"/>
                  </a:lnTo>
                  <a:lnTo>
                    <a:pt x="2775" y="4049"/>
                  </a:lnTo>
                  <a:cubicBezTo>
                    <a:pt x="2787" y="4001"/>
                    <a:pt x="2775" y="3942"/>
                    <a:pt x="2739" y="3918"/>
                  </a:cubicBezTo>
                  <a:cubicBezTo>
                    <a:pt x="2716" y="3870"/>
                    <a:pt x="2668" y="3858"/>
                    <a:pt x="2608" y="3858"/>
                  </a:cubicBezTo>
                  <a:lnTo>
                    <a:pt x="692" y="3858"/>
                  </a:lnTo>
                  <a:cubicBezTo>
                    <a:pt x="501" y="3858"/>
                    <a:pt x="334" y="3692"/>
                    <a:pt x="334" y="3501"/>
                  </a:cubicBezTo>
                  <a:lnTo>
                    <a:pt x="334" y="715"/>
                  </a:lnTo>
                  <a:cubicBezTo>
                    <a:pt x="334" y="525"/>
                    <a:pt x="501" y="358"/>
                    <a:pt x="692" y="358"/>
                  </a:cubicBezTo>
                  <a:close/>
                  <a:moveTo>
                    <a:pt x="6287" y="1025"/>
                  </a:moveTo>
                  <a:cubicBezTo>
                    <a:pt x="6478" y="1025"/>
                    <a:pt x="6645" y="1191"/>
                    <a:pt x="6645" y="1382"/>
                  </a:cubicBezTo>
                  <a:lnTo>
                    <a:pt x="6645" y="4180"/>
                  </a:lnTo>
                  <a:lnTo>
                    <a:pt x="6633" y="4180"/>
                  </a:lnTo>
                  <a:cubicBezTo>
                    <a:pt x="6633" y="4382"/>
                    <a:pt x="6466" y="4537"/>
                    <a:pt x="6276" y="4537"/>
                  </a:cubicBezTo>
                  <a:lnTo>
                    <a:pt x="4871" y="4537"/>
                  </a:lnTo>
                  <a:cubicBezTo>
                    <a:pt x="4823" y="4537"/>
                    <a:pt x="4787" y="4561"/>
                    <a:pt x="4752" y="4597"/>
                  </a:cubicBezTo>
                  <a:cubicBezTo>
                    <a:pt x="4728" y="4632"/>
                    <a:pt x="4704" y="4692"/>
                    <a:pt x="4728" y="4727"/>
                  </a:cubicBezTo>
                  <a:lnTo>
                    <a:pt x="4847" y="5406"/>
                  </a:lnTo>
                  <a:lnTo>
                    <a:pt x="4847" y="5406"/>
                  </a:lnTo>
                  <a:lnTo>
                    <a:pt x="3656" y="4597"/>
                  </a:lnTo>
                  <a:lnTo>
                    <a:pt x="4251" y="4168"/>
                  </a:lnTo>
                  <a:lnTo>
                    <a:pt x="5585" y="4168"/>
                  </a:lnTo>
                  <a:cubicBezTo>
                    <a:pt x="5954" y="4168"/>
                    <a:pt x="6276" y="3858"/>
                    <a:pt x="6276" y="3489"/>
                  </a:cubicBezTo>
                  <a:lnTo>
                    <a:pt x="6276" y="1025"/>
                  </a:lnTo>
                  <a:close/>
                  <a:moveTo>
                    <a:pt x="692" y="1"/>
                  </a:moveTo>
                  <a:cubicBezTo>
                    <a:pt x="322" y="1"/>
                    <a:pt x="1" y="310"/>
                    <a:pt x="1" y="691"/>
                  </a:cubicBezTo>
                  <a:lnTo>
                    <a:pt x="1" y="3465"/>
                  </a:lnTo>
                  <a:cubicBezTo>
                    <a:pt x="1" y="3846"/>
                    <a:pt x="322" y="4156"/>
                    <a:pt x="692" y="4156"/>
                  </a:cubicBezTo>
                  <a:lnTo>
                    <a:pt x="1406" y="4156"/>
                  </a:lnTo>
                  <a:lnTo>
                    <a:pt x="1406" y="4168"/>
                  </a:lnTo>
                  <a:cubicBezTo>
                    <a:pt x="1406" y="4537"/>
                    <a:pt x="1715" y="4858"/>
                    <a:pt x="2085" y="4858"/>
                  </a:cubicBezTo>
                  <a:lnTo>
                    <a:pt x="2227" y="4858"/>
                  </a:lnTo>
                  <a:lnTo>
                    <a:pt x="2168" y="5120"/>
                  </a:lnTo>
                  <a:cubicBezTo>
                    <a:pt x="2132" y="5228"/>
                    <a:pt x="2180" y="5335"/>
                    <a:pt x="2263" y="5394"/>
                  </a:cubicBezTo>
                  <a:cubicBezTo>
                    <a:pt x="2311" y="5418"/>
                    <a:pt x="2358" y="5430"/>
                    <a:pt x="2406" y="5430"/>
                  </a:cubicBezTo>
                  <a:cubicBezTo>
                    <a:pt x="2442" y="5430"/>
                    <a:pt x="2501" y="5418"/>
                    <a:pt x="2549" y="5394"/>
                  </a:cubicBezTo>
                  <a:lnTo>
                    <a:pt x="3263" y="4870"/>
                  </a:lnTo>
                  <a:lnTo>
                    <a:pt x="3430" y="4870"/>
                  </a:lnTo>
                  <a:lnTo>
                    <a:pt x="4787" y="5775"/>
                  </a:lnTo>
                  <a:cubicBezTo>
                    <a:pt x="4823" y="5811"/>
                    <a:pt x="4871" y="5823"/>
                    <a:pt x="4918" y="5823"/>
                  </a:cubicBezTo>
                  <a:cubicBezTo>
                    <a:pt x="4954" y="5823"/>
                    <a:pt x="5002" y="5811"/>
                    <a:pt x="5049" y="5775"/>
                  </a:cubicBezTo>
                  <a:cubicBezTo>
                    <a:pt x="5144" y="5716"/>
                    <a:pt x="5180" y="5632"/>
                    <a:pt x="5156" y="5525"/>
                  </a:cubicBezTo>
                  <a:lnTo>
                    <a:pt x="5049" y="4870"/>
                  </a:lnTo>
                  <a:lnTo>
                    <a:pt x="6252" y="4870"/>
                  </a:lnTo>
                  <a:cubicBezTo>
                    <a:pt x="6633" y="4870"/>
                    <a:pt x="6942" y="4561"/>
                    <a:pt x="6942" y="4180"/>
                  </a:cubicBezTo>
                  <a:lnTo>
                    <a:pt x="6942" y="1406"/>
                  </a:lnTo>
                  <a:cubicBezTo>
                    <a:pt x="6954" y="1013"/>
                    <a:pt x="6645" y="703"/>
                    <a:pt x="6276" y="703"/>
                  </a:cubicBezTo>
                  <a:cubicBezTo>
                    <a:pt x="6252" y="310"/>
                    <a:pt x="5954" y="1"/>
                    <a:pt x="557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8" name="Google Shape;13568;p64"/>
            <p:cNvSpPr/>
            <p:nvPr/>
          </p:nvSpPr>
          <p:spPr>
            <a:xfrm>
              <a:off x="3329432" y="2004344"/>
              <a:ext cx="26928" cy="10249"/>
            </a:xfrm>
            <a:custGeom>
              <a:avLst/>
              <a:gdLst/>
              <a:ahLst/>
              <a:cxnLst/>
              <a:rect l="l" t="t" r="r" b="b"/>
              <a:pathLst>
                <a:path w="846" h="322" extrusionOk="0">
                  <a:moveTo>
                    <a:pt x="167" y="0"/>
                  </a:moveTo>
                  <a:cubicBezTo>
                    <a:pt x="72" y="0"/>
                    <a:pt x="0" y="72"/>
                    <a:pt x="0" y="167"/>
                  </a:cubicBezTo>
                  <a:cubicBezTo>
                    <a:pt x="0" y="250"/>
                    <a:pt x="72" y="322"/>
                    <a:pt x="167" y="322"/>
                  </a:cubicBezTo>
                  <a:lnTo>
                    <a:pt x="679" y="322"/>
                  </a:lnTo>
                  <a:cubicBezTo>
                    <a:pt x="774" y="322"/>
                    <a:pt x="846" y="250"/>
                    <a:pt x="846" y="167"/>
                  </a:cubicBezTo>
                  <a:cubicBezTo>
                    <a:pt x="846" y="72"/>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9" name="Google Shape;13569;p64"/>
            <p:cNvSpPr/>
            <p:nvPr/>
          </p:nvSpPr>
          <p:spPr>
            <a:xfrm>
              <a:off x="3368074" y="2004344"/>
              <a:ext cx="82663" cy="10249"/>
            </a:xfrm>
            <a:custGeom>
              <a:avLst/>
              <a:gdLst/>
              <a:ahLst/>
              <a:cxnLst/>
              <a:rect l="l" t="t" r="r" b="b"/>
              <a:pathLst>
                <a:path w="2597" h="322" extrusionOk="0">
                  <a:moveTo>
                    <a:pt x="167" y="0"/>
                  </a:moveTo>
                  <a:cubicBezTo>
                    <a:pt x="84" y="0"/>
                    <a:pt x="1" y="72"/>
                    <a:pt x="1" y="167"/>
                  </a:cubicBezTo>
                  <a:cubicBezTo>
                    <a:pt x="1" y="250"/>
                    <a:pt x="84" y="322"/>
                    <a:pt x="167" y="322"/>
                  </a:cubicBezTo>
                  <a:lnTo>
                    <a:pt x="2430" y="322"/>
                  </a:lnTo>
                  <a:cubicBezTo>
                    <a:pt x="2525" y="322"/>
                    <a:pt x="2596" y="250"/>
                    <a:pt x="2596" y="167"/>
                  </a:cubicBezTo>
                  <a:cubicBezTo>
                    <a:pt x="2596" y="72"/>
                    <a:pt x="2525" y="0"/>
                    <a:pt x="243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0" name="Google Shape;13570;p64"/>
            <p:cNvSpPr/>
            <p:nvPr/>
          </p:nvSpPr>
          <p:spPr>
            <a:xfrm>
              <a:off x="3329432" y="2031622"/>
              <a:ext cx="121304" cy="10631"/>
            </a:xfrm>
            <a:custGeom>
              <a:avLst/>
              <a:gdLst/>
              <a:ahLst/>
              <a:cxnLst/>
              <a:rect l="l" t="t" r="r" b="b"/>
              <a:pathLst>
                <a:path w="3811" h="334" extrusionOk="0">
                  <a:moveTo>
                    <a:pt x="167" y="1"/>
                  </a:moveTo>
                  <a:cubicBezTo>
                    <a:pt x="72" y="1"/>
                    <a:pt x="0" y="84"/>
                    <a:pt x="0" y="167"/>
                  </a:cubicBezTo>
                  <a:cubicBezTo>
                    <a:pt x="0" y="263"/>
                    <a:pt x="72" y="334"/>
                    <a:pt x="167" y="334"/>
                  </a:cubicBezTo>
                  <a:lnTo>
                    <a:pt x="3644" y="334"/>
                  </a:lnTo>
                  <a:cubicBezTo>
                    <a:pt x="3739" y="334"/>
                    <a:pt x="3810" y="263"/>
                    <a:pt x="3810" y="167"/>
                  </a:cubicBezTo>
                  <a:cubicBezTo>
                    <a:pt x="3810" y="84"/>
                    <a:pt x="3739" y="1"/>
                    <a:pt x="36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1" name="Google Shape;13571;p64"/>
            <p:cNvSpPr/>
            <p:nvPr/>
          </p:nvSpPr>
          <p:spPr>
            <a:xfrm>
              <a:off x="3329432" y="2059664"/>
              <a:ext cx="82249" cy="10663"/>
            </a:xfrm>
            <a:custGeom>
              <a:avLst/>
              <a:gdLst/>
              <a:ahLst/>
              <a:cxnLst/>
              <a:rect l="l" t="t" r="r" b="b"/>
              <a:pathLst>
                <a:path w="2584" h="335" extrusionOk="0">
                  <a:moveTo>
                    <a:pt x="155" y="1"/>
                  </a:moveTo>
                  <a:cubicBezTo>
                    <a:pt x="72" y="1"/>
                    <a:pt x="0" y="72"/>
                    <a:pt x="0" y="167"/>
                  </a:cubicBezTo>
                  <a:cubicBezTo>
                    <a:pt x="0" y="251"/>
                    <a:pt x="72" y="334"/>
                    <a:pt x="155" y="334"/>
                  </a:cubicBezTo>
                  <a:lnTo>
                    <a:pt x="2429" y="334"/>
                  </a:lnTo>
                  <a:cubicBezTo>
                    <a:pt x="2513" y="334"/>
                    <a:pt x="2584" y="251"/>
                    <a:pt x="2584" y="167"/>
                  </a:cubicBezTo>
                  <a:cubicBezTo>
                    <a:pt x="2584" y="72"/>
                    <a:pt x="2513" y="1"/>
                    <a:pt x="24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2" name="Google Shape;13572;p64"/>
            <p:cNvSpPr/>
            <p:nvPr/>
          </p:nvSpPr>
          <p:spPr>
            <a:xfrm>
              <a:off x="3423777" y="2059664"/>
              <a:ext cx="26960" cy="10663"/>
            </a:xfrm>
            <a:custGeom>
              <a:avLst/>
              <a:gdLst/>
              <a:ahLst/>
              <a:cxnLst/>
              <a:rect l="l" t="t" r="r" b="b"/>
              <a:pathLst>
                <a:path w="847" h="335" extrusionOk="0">
                  <a:moveTo>
                    <a:pt x="156" y="1"/>
                  </a:moveTo>
                  <a:cubicBezTo>
                    <a:pt x="72" y="1"/>
                    <a:pt x="1" y="72"/>
                    <a:pt x="1" y="167"/>
                  </a:cubicBezTo>
                  <a:cubicBezTo>
                    <a:pt x="1" y="251"/>
                    <a:pt x="72" y="334"/>
                    <a:pt x="156" y="334"/>
                  </a:cubicBezTo>
                  <a:lnTo>
                    <a:pt x="680" y="334"/>
                  </a:lnTo>
                  <a:cubicBezTo>
                    <a:pt x="775" y="334"/>
                    <a:pt x="846" y="251"/>
                    <a:pt x="846" y="167"/>
                  </a:cubicBezTo>
                  <a:cubicBezTo>
                    <a:pt x="846" y="72"/>
                    <a:pt x="775" y="1"/>
                    <a:pt x="68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3" name="Google Shape;13573;p64"/>
          <p:cNvGrpSpPr/>
          <p:nvPr/>
        </p:nvGrpSpPr>
        <p:grpSpPr>
          <a:xfrm>
            <a:off x="1329585" y="1989925"/>
            <a:ext cx="341472" cy="335074"/>
            <a:chOff x="1329585" y="1989925"/>
            <a:chExt cx="341472" cy="335074"/>
          </a:xfrm>
        </p:grpSpPr>
        <p:sp>
          <p:nvSpPr>
            <p:cNvPr id="13574" name="Google Shape;13574;p64"/>
            <p:cNvSpPr/>
            <p:nvPr/>
          </p:nvSpPr>
          <p:spPr>
            <a:xfrm>
              <a:off x="1562263" y="2097956"/>
              <a:ext cx="108795" cy="226661"/>
            </a:xfrm>
            <a:custGeom>
              <a:avLst/>
              <a:gdLst/>
              <a:ahLst/>
              <a:cxnLst/>
              <a:rect l="l" t="t" r="r" b="b"/>
              <a:pathLst>
                <a:path w="3418" h="7121" extrusionOk="0">
                  <a:moveTo>
                    <a:pt x="1155" y="345"/>
                  </a:moveTo>
                  <a:cubicBezTo>
                    <a:pt x="1215" y="345"/>
                    <a:pt x="1274" y="405"/>
                    <a:pt x="1274" y="465"/>
                  </a:cubicBezTo>
                  <a:lnTo>
                    <a:pt x="1274" y="536"/>
                  </a:lnTo>
                  <a:lnTo>
                    <a:pt x="1274" y="1107"/>
                  </a:lnTo>
                  <a:cubicBezTo>
                    <a:pt x="1274" y="1191"/>
                    <a:pt x="1346" y="1274"/>
                    <a:pt x="1429" y="1274"/>
                  </a:cubicBezTo>
                  <a:cubicBezTo>
                    <a:pt x="1524" y="1274"/>
                    <a:pt x="1596" y="1191"/>
                    <a:pt x="1596" y="1107"/>
                  </a:cubicBezTo>
                  <a:lnTo>
                    <a:pt x="1596" y="584"/>
                  </a:lnTo>
                  <a:cubicBezTo>
                    <a:pt x="1608" y="536"/>
                    <a:pt x="1655" y="524"/>
                    <a:pt x="1703" y="524"/>
                  </a:cubicBezTo>
                  <a:lnTo>
                    <a:pt x="1715" y="524"/>
                  </a:lnTo>
                  <a:cubicBezTo>
                    <a:pt x="1774" y="524"/>
                    <a:pt x="1834" y="584"/>
                    <a:pt x="1834" y="643"/>
                  </a:cubicBezTo>
                  <a:lnTo>
                    <a:pt x="1834" y="679"/>
                  </a:lnTo>
                  <a:lnTo>
                    <a:pt x="1834" y="1131"/>
                  </a:lnTo>
                  <a:cubicBezTo>
                    <a:pt x="1834" y="1227"/>
                    <a:pt x="1905" y="1298"/>
                    <a:pt x="2001" y="1298"/>
                  </a:cubicBezTo>
                  <a:cubicBezTo>
                    <a:pt x="2084" y="1298"/>
                    <a:pt x="2167" y="1227"/>
                    <a:pt x="2167" y="1131"/>
                  </a:cubicBezTo>
                  <a:lnTo>
                    <a:pt x="2167" y="715"/>
                  </a:lnTo>
                  <a:cubicBezTo>
                    <a:pt x="2179" y="679"/>
                    <a:pt x="2227" y="655"/>
                    <a:pt x="2263" y="655"/>
                  </a:cubicBezTo>
                  <a:lnTo>
                    <a:pt x="2286" y="655"/>
                  </a:lnTo>
                  <a:cubicBezTo>
                    <a:pt x="2346" y="655"/>
                    <a:pt x="2406" y="715"/>
                    <a:pt x="2406" y="774"/>
                  </a:cubicBezTo>
                  <a:lnTo>
                    <a:pt x="2406" y="893"/>
                  </a:lnTo>
                  <a:lnTo>
                    <a:pt x="2406" y="1238"/>
                  </a:lnTo>
                  <a:cubicBezTo>
                    <a:pt x="2406" y="1334"/>
                    <a:pt x="2477" y="1405"/>
                    <a:pt x="2560" y="1405"/>
                  </a:cubicBezTo>
                  <a:cubicBezTo>
                    <a:pt x="2656" y="1405"/>
                    <a:pt x="2727" y="1334"/>
                    <a:pt x="2727" y="1238"/>
                  </a:cubicBezTo>
                  <a:lnTo>
                    <a:pt x="2727" y="893"/>
                  </a:lnTo>
                  <a:cubicBezTo>
                    <a:pt x="2727" y="834"/>
                    <a:pt x="2787" y="774"/>
                    <a:pt x="2846" y="774"/>
                  </a:cubicBezTo>
                  <a:lnTo>
                    <a:pt x="2858" y="774"/>
                  </a:lnTo>
                  <a:cubicBezTo>
                    <a:pt x="2917" y="774"/>
                    <a:pt x="2977" y="834"/>
                    <a:pt x="2977" y="893"/>
                  </a:cubicBezTo>
                  <a:lnTo>
                    <a:pt x="2977" y="1691"/>
                  </a:lnTo>
                  <a:lnTo>
                    <a:pt x="2977" y="1703"/>
                  </a:lnTo>
                  <a:cubicBezTo>
                    <a:pt x="3001" y="1893"/>
                    <a:pt x="2977" y="2477"/>
                    <a:pt x="2679" y="2727"/>
                  </a:cubicBezTo>
                  <a:cubicBezTo>
                    <a:pt x="2644" y="2762"/>
                    <a:pt x="2620" y="2798"/>
                    <a:pt x="2620" y="2858"/>
                  </a:cubicBezTo>
                  <a:lnTo>
                    <a:pt x="2620" y="3393"/>
                  </a:lnTo>
                  <a:lnTo>
                    <a:pt x="1012" y="3393"/>
                  </a:lnTo>
                  <a:lnTo>
                    <a:pt x="1012" y="3024"/>
                  </a:lnTo>
                  <a:cubicBezTo>
                    <a:pt x="1012" y="2965"/>
                    <a:pt x="989" y="2917"/>
                    <a:pt x="941" y="2893"/>
                  </a:cubicBezTo>
                  <a:cubicBezTo>
                    <a:pt x="989" y="2846"/>
                    <a:pt x="417" y="2417"/>
                    <a:pt x="393" y="1953"/>
                  </a:cubicBezTo>
                  <a:cubicBezTo>
                    <a:pt x="381" y="1691"/>
                    <a:pt x="358" y="1358"/>
                    <a:pt x="465" y="1274"/>
                  </a:cubicBezTo>
                  <a:cubicBezTo>
                    <a:pt x="501" y="1247"/>
                    <a:pt x="550" y="1234"/>
                    <a:pt x="617" y="1234"/>
                  </a:cubicBezTo>
                  <a:cubicBezTo>
                    <a:pt x="640" y="1234"/>
                    <a:pt x="664" y="1235"/>
                    <a:pt x="691" y="1238"/>
                  </a:cubicBezTo>
                  <a:lnTo>
                    <a:pt x="691" y="1465"/>
                  </a:lnTo>
                  <a:cubicBezTo>
                    <a:pt x="691" y="1548"/>
                    <a:pt x="762" y="1631"/>
                    <a:pt x="858" y="1631"/>
                  </a:cubicBezTo>
                  <a:cubicBezTo>
                    <a:pt x="941" y="1631"/>
                    <a:pt x="1012" y="1548"/>
                    <a:pt x="1012" y="1465"/>
                  </a:cubicBezTo>
                  <a:lnTo>
                    <a:pt x="1012" y="465"/>
                  </a:lnTo>
                  <a:cubicBezTo>
                    <a:pt x="1012" y="405"/>
                    <a:pt x="1072" y="345"/>
                    <a:pt x="1132" y="345"/>
                  </a:cubicBezTo>
                  <a:close/>
                  <a:moveTo>
                    <a:pt x="2941" y="3691"/>
                  </a:moveTo>
                  <a:lnTo>
                    <a:pt x="2941" y="4215"/>
                  </a:lnTo>
                  <a:lnTo>
                    <a:pt x="810" y="4215"/>
                  </a:lnTo>
                  <a:lnTo>
                    <a:pt x="810" y="3691"/>
                  </a:lnTo>
                  <a:close/>
                  <a:moveTo>
                    <a:pt x="2941" y="4548"/>
                  </a:moveTo>
                  <a:lnTo>
                    <a:pt x="2941" y="6787"/>
                  </a:lnTo>
                  <a:lnTo>
                    <a:pt x="810" y="6787"/>
                  </a:lnTo>
                  <a:lnTo>
                    <a:pt x="810" y="4548"/>
                  </a:lnTo>
                  <a:close/>
                  <a:moveTo>
                    <a:pt x="1132" y="0"/>
                  </a:moveTo>
                  <a:cubicBezTo>
                    <a:pt x="882" y="0"/>
                    <a:pt x="667" y="215"/>
                    <a:pt x="667" y="465"/>
                  </a:cubicBezTo>
                  <a:lnTo>
                    <a:pt x="667" y="893"/>
                  </a:lnTo>
                  <a:cubicBezTo>
                    <a:pt x="645" y="892"/>
                    <a:pt x="623" y="891"/>
                    <a:pt x="602" y="891"/>
                  </a:cubicBezTo>
                  <a:cubicBezTo>
                    <a:pt x="453" y="891"/>
                    <a:pt x="332" y="927"/>
                    <a:pt x="239" y="1000"/>
                  </a:cubicBezTo>
                  <a:cubicBezTo>
                    <a:pt x="0" y="1191"/>
                    <a:pt x="36" y="1584"/>
                    <a:pt x="48" y="1965"/>
                  </a:cubicBezTo>
                  <a:cubicBezTo>
                    <a:pt x="72" y="2489"/>
                    <a:pt x="536" y="2905"/>
                    <a:pt x="715" y="3060"/>
                  </a:cubicBezTo>
                  <a:lnTo>
                    <a:pt x="715" y="3334"/>
                  </a:lnTo>
                  <a:lnTo>
                    <a:pt x="631" y="3334"/>
                  </a:lnTo>
                  <a:cubicBezTo>
                    <a:pt x="536" y="3334"/>
                    <a:pt x="465" y="3405"/>
                    <a:pt x="465" y="3501"/>
                  </a:cubicBezTo>
                  <a:lnTo>
                    <a:pt x="465" y="4370"/>
                  </a:lnTo>
                  <a:lnTo>
                    <a:pt x="465" y="6953"/>
                  </a:lnTo>
                  <a:cubicBezTo>
                    <a:pt x="465" y="7049"/>
                    <a:pt x="536" y="7120"/>
                    <a:pt x="631" y="7120"/>
                  </a:cubicBezTo>
                  <a:lnTo>
                    <a:pt x="3096" y="7120"/>
                  </a:lnTo>
                  <a:cubicBezTo>
                    <a:pt x="3191" y="7120"/>
                    <a:pt x="3263" y="7049"/>
                    <a:pt x="3263" y="6953"/>
                  </a:cubicBezTo>
                  <a:lnTo>
                    <a:pt x="3263" y="4370"/>
                  </a:lnTo>
                  <a:lnTo>
                    <a:pt x="3263" y="3501"/>
                  </a:lnTo>
                  <a:cubicBezTo>
                    <a:pt x="3263" y="3429"/>
                    <a:pt x="3191" y="3358"/>
                    <a:pt x="3096" y="3358"/>
                  </a:cubicBezTo>
                  <a:lnTo>
                    <a:pt x="3001" y="3358"/>
                  </a:lnTo>
                  <a:lnTo>
                    <a:pt x="3001" y="2893"/>
                  </a:lnTo>
                  <a:cubicBezTo>
                    <a:pt x="3418" y="2477"/>
                    <a:pt x="3370" y="1727"/>
                    <a:pt x="3358" y="1643"/>
                  </a:cubicBezTo>
                  <a:lnTo>
                    <a:pt x="3358" y="869"/>
                  </a:lnTo>
                  <a:cubicBezTo>
                    <a:pt x="3358" y="619"/>
                    <a:pt x="3144" y="405"/>
                    <a:pt x="2894" y="405"/>
                  </a:cubicBezTo>
                  <a:lnTo>
                    <a:pt x="2870" y="405"/>
                  </a:lnTo>
                  <a:cubicBezTo>
                    <a:pt x="2798" y="405"/>
                    <a:pt x="2727" y="417"/>
                    <a:pt x="2656" y="465"/>
                  </a:cubicBezTo>
                  <a:cubicBezTo>
                    <a:pt x="2560" y="357"/>
                    <a:pt x="2441" y="286"/>
                    <a:pt x="2298" y="286"/>
                  </a:cubicBezTo>
                  <a:lnTo>
                    <a:pt x="2275" y="286"/>
                  </a:lnTo>
                  <a:cubicBezTo>
                    <a:pt x="2203" y="286"/>
                    <a:pt x="2132" y="298"/>
                    <a:pt x="2072" y="345"/>
                  </a:cubicBezTo>
                  <a:cubicBezTo>
                    <a:pt x="1977" y="238"/>
                    <a:pt x="1870" y="179"/>
                    <a:pt x="1727" y="179"/>
                  </a:cubicBezTo>
                  <a:lnTo>
                    <a:pt x="1715" y="179"/>
                  </a:lnTo>
                  <a:cubicBezTo>
                    <a:pt x="1655" y="179"/>
                    <a:pt x="1596" y="203"/>
                    <a:pt x="1536" y="215"/>
                  </a:cubicBezTo>
                  <a:cubicBezTo>
                    <a:pt x="1465" y="95"/>
                    <a:pt x="1310" y="0"/>
                    <a:pt x="1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5" name="Google Shape;13575;p64"/>
            <p:cNvSpPr/>
            <p:nvPr/>
          </p:nvSpPr>
          <p:spPr>
            <a:xfrm>
              <a:off x="1406137" y="1989925"/>
              <a:ext cx="198587" cy="335074"/>
            </a:xfrm>
            <a:custGeom>
              <a:avLst/>
              <a:gdLst/>
              <a:ahLst/>
              <a:cxnLst/>
              <a:rect l="l" t="t" r="r" b="b"/>
              <a:pathLst>
                <a:path w="6239" h="10527" extrusionOk="0">
                  <a:moveTo>
                    <a:pt x="643" y="346"/>
                  </a:moveTo>
                  <a:lnTo>
                    <a:pt x="1060" y="382"/>
                  </a:lnTo>
                  <a:lnTo>
                    <a:pt x="941" y="644"/>
                  </a:lnTo>
                  <a:lnTo>
                    <a:pt x="643" y="346"/>
                  </a:lnTo>
                  <a:close/>
                  <a:moveTo>
                    <a:pt x="1393" y="453"/>
                  </a:moveTo>
                  <a:lnTo>
                    <a:pt x="2465" y="894"/>
                  </a:lnTo>
                  <a:lnTo>
                    <a:pt x="2346" y="1334"/>
                  </a:lnTo>
                  <a:lnTo>
                    <a:pt x="1203" y="858"/>
                  </a:lnTo>
                  <a:lnTo>
                    <a:pt x="1393" y="453"/>
                  </a:lnTo>
                  <a:close/>
                  <a:moveTo>
                    <a:pt x="4965" y="1942"/>
                  </a:moveTo>
                  <a:lnTo>
                    <a:pt x="5346" y="2108"/>
                  </a:lnTo>
                  <a:lnTo>
                    <a:pt x="5144" y="2525"/>
                  </a:lnTo>
                  <a:lnTo>
                    <a:pt x="4834" y="2382"/>
                  </a:lnTo>
                  <a:cubicBezTo>
                    <a:pt x="4846" y="2370"/>
                    <a:pt x="4846" y="2370"/>
                    <a:pt x="4846" y="2358"/>
                  </a:cubicBezTo>
                  <a:lnTo>
                    <a:pt x="4965" y="1942"/>
                  </a:lnTo>
                  <a:close/>
                  <a:moveTo>
                    <a:pt x="5656" y="2239"/>
                  </a:moveTo>
                  <a:lnTo>
                    <a:pt x="5834" y="2311"/>
                  </a:lnTo>
                  <a:cubicBezTo>
                    <a:pt x="5858" y="2323"/>
                    <a:pt x="5882" y="2346"/>
                    <a:pt x="5894" y="2370"/>
                  </a:cubicBezTo>
                  <a:cubicBezTo>
                    <a:pt x="5906" y="2406"/>
                    <a:pt x="5906" y="2430"/>
                    <a:pt x="5894" y="2442"/>
                  </a:cubicBezTo>
                  <a:lnTo>
                    <a:pt x="5798" y="2668"/>
                  </a:lnTo>
                  <a:cubicBezTo>
                    <a:pt x="5787" y="2704"/>
                    <a:pt x="5775" y="2716"/>
                    <a:pt x="5739" y="2727"/>
                  </a:cubicBezTo>
                  <a:cubicBezTo>
                    <a:pt x="5727" y="2733"/>
                    <a:pt x="5712" y="2736"/>
                    <a:pt x="5699" y="2736"/>
                  </a:cubicBezTo>
                  <a:cubicBezTo>
                    <a:pt x="5685" y="2736"/>
                    <a:pt x="5673" y="2733"/>
                    <a:pt x="5667" y="2727"/>
                  </a:cubicBezTo>
                  <a:lnTo>
                    <a:pt x="5477" y="2632"/>
                  </a:lnTo>
                  <a:lnTo>
                    <a:pt x="5656" y="2239"/>
                  </a:lnTo>
                  <a:close/>
                  <a:moveTo>
                    <a:pt x="3060" y="453"/>
                  </a:moveTo>
                  <a:cubicBezTo>
                    <a:pt x="3096" y="453"/>
                    <a:pt x="3120" y="477"/>
                    <a:pt x="3143" y="513"/>
                  </a:cubicBezTo>
                  <a:cubicBezTo>
                    <a:pt x="3155" y="537"/>
                    <a:pt x="3155" y="572"/>
                    <a:pt x="3155" y="596"/>
                  </a:cubicBezTo>
                  <a:lnTo>
                    <a:pt x="3143" y="668"/>
                  </a:lnTo>
                  <a:lnTo>
                    <a:pt x="2941" y="1358"/>
                  </a:lnTo>
                  <a:cubicBezTo>
                    <a:pt x="2917" y="1453"/>
                    <a:pt x="2977" y="1537"/>
                    <a:pt x="3060" y="1561"/>
                  </a:cubicBezTo>
                  <a:lnTo>
                    <a:pt x="3108" y="1561"/>
                  </a:lnTo>
                  <a:cubicBezTo>
                    <a:pt x="3179" y="1561"/>
                    <a:pt x="3239" y="1525"/>
                    <a:pt x="3274" y="1442"/>
                  </a:cubicBezTo>
                  <a:lnTo>
                    <a:pt x="3465" y="799"/>
                  </a:lnTo>
                  <a:cubicBezTo>
                    <a:pt x="3501" y="763"/>
                    <a:pt x="3536" y="751"/>
                    <a:pt x="3584" y="751"/>
                  </a:cubicBezTo>
                  <a:lnTo>
                    <a:pt x="3596" y="751"/>
                  </a:lnTo>
                  <a:cubicBezTo>
                    <a:pt x="3631" y="751"/>
                    <a:pt x="3655" y="775"/>
                    <a:pt x="3679" y="811"/>
                  </a:cubicBezTo>
                  <a:cubicBezTo>
                    <a:pt x="3691" y="834"/>
                    <a:pt x="3691" y="870"/>
                    <a:pt x="3691" y="894"/>
                  </a:cubicBezTo>
                  <a:lnTo>
                    <a:pt x="3512" y="1489"/>
                  </a:lnTo>
                  <a:cubicBezTo>
                    <a:pt x="3477" y="1584"/>
                    <a:pt x="3536" y="1668"/>
                    <a:pt x="3631" y="1704"/>
                  </a:cubicBezTo>
                  <a:lnTo>
                    <a:pt x="3679" y="1704"/>
                  </a:lnTo>
                  <a:cubicBezTo>
                    <a:pt x="3751" y="1704"/>
                    <a:pt x="3810" y="1656"/>
                    <a:pt x="3834" y="1584"/>
                  </a:cubicBezTo>
                  <a:lnTo>
                    <a:pt x="4001" y="1025"/>
                  </a:lnTo>
                  <a:cubicBezTo>
                    <a:pt x="4026" y="999"/>
                    <a:pt x="4052" y="980"/>
                    <a:pt x="4082" y="980"/>
                  </a:cubicBezTo>
                  <a:cubicBezTo>
                    <a:pt x="4094" y="980"/>
                    <a:pt x="4106" y="982"/>
                    <a:pt x="4120" y="989"/>
                  </a:cubicBezTo>
                  <a:lnTo>
                    <a:pt x="4132" y="989"/>
                  </a:lnTo>
                  <a:cubicBezTo>
                    <a:pt x="4191" y="1001"/>
                    <a:pt x="4239" y="1061"/>
                    <a:pt x="4227" y="1132"/>
                  </a:cubicBezTo>
                  <a:lnTo>
                    <a:pt x="4191" y="1239"/>
                  </a:lnTo>
                  <a:lnTo>
                    <a:pt x="4048" y="1704"/>
                  </a:lnTo>
                  <a:cubicBezTo>
                    <a:pt x="4012" y="1787"/>
                    <a:pt x="4060" y="1882"/>
                    <a:pt x="4155" y="1906"/>
                  </a:cubicBezTo>
                  <a:cubicBezTo>
                    <a:pt x="4167" y="1906"/>
                    <a:pt x="4179" y="1918"/>
                    <a:pt x="4191" y="1918"/>
                  </a:cubicBezTo>
                  <a:cubicBezTo>
                    <a:pt x="4274" y="1918"/>
                    <a:pt x="4334" y="1882"/>
                    <a:pt x="4358" y="1799"/>
                  </a:cubicBezTo>
                  <a:lnTo>
                    <a:pt x="4513" y="1346"/>
                  </a:lnTo>
                  <a:cubicBezTo>
                    <a:pt x="4523" y="1293"/>
                    <a:pt x="4572" y="1249"/>
                    <a:pt x="4633" y="1249"/>
                  </a:cubicBezTo>
                  <a:cubicBezTo>
                    <a:pt x="4641" y="1249"/>
                    <a:pt x="4648" y="1250"/>
                    <a:pt x="4655" y="1251"/>
                  </a:cubicBezTo>
                  <a:lnTo>
                    <a:pt x="4667" y="1251"/>
                  </a:lnTo>
                  <a:cubicBezTo>
                    <a:pt x="4727" y="1263"/>
                    <a:pt x="4774" y="1323"/>
                    <a:pt x="4763" y="1406"/>
                  </a:cubicBezTo>
                  <a:lnTo>
                    <a:pt x="4513" y="2299"/>
                  </a:lnTo>
                  <a:lnTo>
                    <a:pt x="4513" y="2311"/>
                  </a:lnTo>
                  <a:cubicBezTo>
                    <a:pt x="4524" y="2311"/>
                    <a:pt x="4417" y="3025"/>
                    <a:pt x="3989" y="3239"/>
                  </a:cubicBezTo>
                  <a:cubicBezTo>
                    <a:pt x="3929" y="3263"/>
                    <a:pt x="3893" y="3323"/>
                    <a:pt x="3893" y="3382"/>
                  </a:cubicBezTo>
                  <a:lnTo>
                    <a:pt x="3893" y="3894"/>
                  </a:lnTo>
                  <a:lnTo>
                    <a:pt x="2310" y="3894"/>
                  </a:lnTo>
                  <a:lnTo>
                    <a:pt x="2310" y="3085"/>
                  </a:lnTo>
                  <a:cubicBezTo>
                    <a:pt x="2310" y="3037"/>
                    <a:pt x="2286" y="3013"/>
                    <a:pt x="2262" y="2977"/>
                  </a:cubicBezTo>
                  <a:cubicBezTo>
                    <a:pt x="2262" y="2977"/>
                    <a:pt x="1798" y="2430"/>
                    <a:pt x="1893" y="1965"/>
                  </a:cubicBezTo>
                  <a:cubicBezTo>
                    <a:pt x="1917" y="1823"/>
                    <a:pt x="1941" y="1656"/>
                    <a:pt x="1977" y="1537"/>
                  </a:cubicBezTo>
                  <a:lnTo>
                    <a:pt x="2274" y="1668"/>
                  </a:lnTo>
                  <a:cubicBezTo>
                    <a:pt x="2286" y="1715"/>
                    <a:pt x="2334" y="1763"/>
                    <a:pt x="2393" y="1775"/>
                  </a:cubicBezTo>
                  <a:cubicBezTo>
                    <a:pt x="2412" y="1782"/>
                    <a:pt x="2431" y="1785"/>
                    <a:pt x="2449" y="1785"/>
                  </a:cubicBezTo>
                  <a:cubicBezTo>
                    <a:pt x="2520" y="1785"/>
                    <a:pt x="2579" y="1732"/>
                    <a:pt x="2608" y="1656"/>
                  </a:cubicBezTo>
                  <a:lnTo>
                    <a:pt x="2905" y="537"/>
                  </a:lnTo>
                  <a:cubicBezTo>
                    <a:pt x="2905" y="513"/>
                    <a:pt x="2929" y="477"/>
                    <a:pt x="2953" y="465"/>
                  </a:cubicBezTo>
                  <a:cubicBezTo>
                    <a:pt x="2989" y="453"/>
                    <a:pt x="3012" y="453"/>
                    <a:pt x="3048" y="453"/>
                  </a:cubicBezTo>
                  <a:close/>
                  <a:moveTo>
                    <a:pt x="4132" y="4263"/>
                  </a:moveTo>
                  <a:lnTo>
                    <a:pt x="4132" y="4787"/>
                  </a:lnTo>
                  <a:lnTo>
                    <a:pt x="2012" y="4787"/>
                  </a:lnTo>
                  <a:lnTo>
                    <a:pt x="2012" y="4263"/>
                  </a:lnTo>
                  <a:close/>
                  <a:moveTo>
                    <a:pt x="191" y="1"/>
                  </a:moveTo>
                  <a:cubicBezTo>
                    <a:pt x="119" y="1"/>
                    <a:pt x="60" y="37"/>
                    <a:pt x="24" y="108"/>
                  </a:cubicBezTo>
                  <a:cubicBezTo>
                    <a:pt x="0" y="168"/>
                    <a:pt x="12" y="239"/>
                    <a:pt x="60" y="299"/>
                  </a:cubicBezTo>
                  <a:lnTo>
                    <a:pt x="845" y="1072"/>
                  </a:lnTo>
                  <a:lnTo>
                    <a:pt x="857" y="1084"/>
                  </a:lnTo>
                  <a:lnTo>
                    <a:pt x="869" y="1084"/>
                  </a:lnTo>
                  <a:cubicBezTo>
                    <a:pt x="893" y="1108"/>
                    <a:pt x="917" y="1120"/>
                    <a:pt x="953" y="1120"/>
                  </a:cubicBezTo>
                  <a:lnTo>
                    <a:pt x="1667" y="1418"/>
                  </a:lnTo>
                  <a:cubicBezTo>
                    <a:pt x="1607" y="1561"/>
                    <a:pt x="1572" y="1763"/>
                    <a:pt x="1548" y="1918"/>
                  </a:cubicBezTo>
                  <a:cubicBezTo>
                    <a:pt x="1453" y="2442"/>
                    <a:pt x="1822" y="2989"/>
                    <a:pt x="1941" y="3156"/>
                  </a:cubicBezTo>
                  <a:lnTo>
                    <a:pt x="1941" y="3918"/>
                  </a:lnTo>
                  <a:lnTo>
                    <a:pt x="1810" y="3918"/>
                  </a:lnTo>
                  <a:cubicBezTo>
                    <a:pt x="1726" y="3918"/>
                    <a:pt x="1643" y="3990"/>
                    <a:pt x="1643" y="4085"/>
                  </a:cubicBezTo>
                  <a:lnTo>
                    <a:pt x="1643" y="4942"/>
                  </a:lnTo>
                  <a:lnTo>
                    <a:pt x="1643" y="10359"/>
                  </a:lnTo>
                  <a:cubicBezTo>
                    <a:pt x="1643" y="10455"/>
                    <a:pt x="1726" y="10526"/>
                    <a:pt x="1810" y="10526"/>
                  </a:cubicBezTo>
                  <a:lnTo>
                    <a:pt x="4286" y="10526"/>
                  </a:lnTo>
                  <a:cubicBezTo>
                    <a:pt x="4370" y="10526"/>
                    <a:pt x="4453" y="10455"/>
                    <a:pt x="4453" y="10359"/>
                  </a:cubicBezTo>
                  <a:lnTo>
                    <a:pt x="4453" y="6168"/>
                  </a:lnTo>
                  <a:cubicBezTo>
                    <a:pt x="4453" y="6073"/>
                    <a:pt x="4370" y="6002"/>
                    <a:pt x="4286" y="6002"/>
                  </a:cubicBezTo>
                  <a:cubicBezTo>
                    <a:pt x="4191" y="6002"/>
                    <a:pt x="4120" y="6073"/>
                    <a:pt x="4120" y="6168"/>
                  </a:cubicBezTo>
                  <a:lnTo>
                    <a:pt x="4120" y="10181"/>
                  </a:lnTo>
                  <a:lnTo>
                    <a:pt x="2012" y="10181"/>
                  </a:lnTo>
                  <a:lnTo>
                    <a:pt x="2012" y="5109"/>
                  </a:lnTo>
                  <a:lnTo>
                    <a:pt x="4132" y="5109"/>
                  </a:lnTo>
                  <a:lnTo>
                    <a:pt x="4132" y="5394"/>
                  </a:lnTo>
                  <a:lnTo>
                    <a:pt x="4132" y="5585"/>
                  </a:lnTo>
                  <a:cubicBezTo>
                    <a:pt x="4132" y="5668"/>
                    <a:pt x="4215" y="5752"/>
                    <a:pt x="4298" y="5752"/>
                  </a:cubicBezTo>
                  <a:cubicBezTo>
                    <a:pt x="4393" y="5752"/>
                    <a:pt x="4465" y="5668"/>
                    <a:pt x="4465" y="5585"/>
                  </a:cubicBezTo>
                  <a:lnTo>
                    <a:pt x="4465" y="5394"/>
                  </a:lnTo>
                  <a:lnTo>
                    <a:pt x="4465" y="4942"/>
                  </a:lnTo>
                  <a:lnTo>
                    <a:pt x="4465" y="4085"/>
                  </a:lnTo>
                  <a:cubicBezTo>
                    <a:pt x="4465" y="3990"/>
                    <a:pt x="4393" y="3918"/>
                    <a:pt x="4298" y="3918"/>
                  </a:cubicBezTo>
                  <a:lnTo>
                    <a:pt x="4239" y="3918"/>
                  </a:lnTo>
                  <a:lnTo>
                    <a:pt x="4239" y="3489"/>
                  </a:lnTo>
                  <a:cubicBezTo>
                    <a:pt x="4524" y="3299"/>
                    <a:pt x="4667" y="2966"/>
                    <a:pt x="4763" y="2716"/>
                  </a:cubicBezTo>
                  <a:lnTo>
                    <a:pt x="5525" y="3037"/>
                  </a:lnTo>
                  <a:cubicBezTo>
                    <a:pt x="5584" y="3073"/>
                    <a:pt x="5644" y="3073"/>
                    <a:pt x="5703" y="3073"/>
                  </a:cubicBezTo>
                  <a:cubicBezTo>
                    <a:pt x="5763" y="3073"/>
                    <a:pt x="5822" y="3049"/>
                    <a:pt x="5858" y="3037"/>
                  </a:cubicBezTo>
                  <a:cubicBezTo>
                    <a:pt x="5965" y="3001"/>
                    <a:pt x="6060" y="2906"/>
                    <a:pt x="6096" y="2799"/>
                  </a:cubicBezTo>
                  <a:lnTo>
                    <a:pt x="6191" y="2585"/>
                  </a:lnTo>
                  <a:cubicBezTo>
                    <a:pt x="6239" y="2477"/>
                    <a:pt x="6239" y="2358"/>
                    <a:pt x="6191" y="2239"/>
                  </a:cubicBezTo>
                  <a:cubicBezTo>
                    <a:pt x="6144" y="2132"/>
                    <a:pt x="6060" y="2037"/>
                    <a:pt x="5953" y="2001"/>
                  </a:cubicBezTo>
                  <a:lnTo>
                    <a:pt x="5048" y="1608"/>
                  </a:lnTo>
                  <a:lnTo>
                    <a:pt x="5084" y="1465"/>
                  </a:lnTo>
                  <a:cubicBezTo>
                    <a:pt x="5120" y="1346"/>
                    <a:pt x="5108" y="1227"/>
                    <a:pt x="5025" y="1120"/>
                  </a:cubicBezTo>
                  <a:cubicBezTo>
                    <a:pt x="4965" y="1013"/>
                    <a:pt x="4870" y="942"/>
                    <a:pt x="4751" y="906"/>
                  </a:cubicBezTo>
                  <a:lnTo>
                    <a:pt x="4727" y="906"/>
                  </a:lnTo>
                  <a:cubicBezTo>
                    <a:pt x="4691" y="900"/>
                    <a:pt x="4655" y="897"/>
                    <a:pt x="4620" y="897"/>
                  </a:cubicBezTo>
                  <a:cubicBezTo>
                    <a:pt x="4584" y="897"/>
                    <a:pt x="4548" y="900"/>
                    <a:pt x="4513" y="906"/>
                  </a:cubicBezTo>
                  <a:cubicBezTo>
                    <a:pt x="4453" y="787"/>
                    <a:pt x="4346" y="691"/>
                    <a:pt x="4191" y="656"/>
                  </a:cubicBezTo>
                  <a:lnTo>
                    <a:pt x="4179" y="656"/>
                  </a:lnTo>
                  <a:cubicBezTo>
                    <a:pt x="4143" y="650"/>
                    <a:pt x="4108" y="647"/>
                    <a:pt x="4071" y="647"/>
                  </a:cubicBezTo>
                  <a:cubicBezTo>
                    <a:pt x="4033" y="647"/>
                    <a:pt x="3995" y="650"/>
                    <a:pt x="3953" y="656"/>
                  </a:cubicBezTo>
                  <a:cubicBezTo>
                    <a:pt x="3953" y="644"/>
                    <a:pt x="3941" y="632"/>
                    <a:pt x="3941" y="632"/>
                  </a:cubicBezTo>
                  <a:cubicBezTo>
                    <a:pt x="3882" y="525"/>
                    <a:pt x="3774" y="453"/>
                    <a:pt x="3655" y="418"/>
                  </a:cubicBezTo>
                  <a:lnTo>
                    <a:pt x="3643" y="418"/>
                  </a:lnTo>
                  <a:cubicBezTo>
                    <a:pt x="3614" y="412"/>
                    <a:pt x="3584" y="409"/>
                    <a:pt x="3554" y="409"/>
                  </a:cubicBezTo>
                  <a:cubicBezTo>
                    <a:pt x="3524" y="409"/>
                    <a:pt x="3495" y="412"/>
                    <a:pt x="3465" y="418"/>
                  </a:cubicBezTo>
                  <a:lnTo>
                    <a:pt x="3417" y="334"/>
                  </a:lnTo>
                  <a:cubicBezTo>
                    <a:pt x="3358" y="227"/>
                    <a:pt x="3250" y="156"/>
                    <a:pt x="3143" y="120"/>
                  </a:cubicBezTo>
                  <a:lnTo>
                    <a:pt x="3120" y="120"/>
                  </a:lnTo>
                  <a:cubicBezTo>
                    <a:pt x="3083" y="113"/>
                    <a:pt x="3047" y="109"/>
                    <a:pt x="3012" y="109"/>
                  </a:cubicBezTo>
                  <a:cubicBezTo>
                    <a:pt x="2931" y="109"/>
                    <a:pt x="2853" y="130"/>
                    <a:pt x="2786" y="180"/>
                  </a:cubicBezTo>
                  <a:cubicBezTo>
                    <a:pt x="2679" y="239"/>
                    <a:pt x="2608" y="346"/>
                    <a:pt x="2572" y="465"/>
                  </a:cubicBezTo>
                  <a:lnTo>
                    <a:pt x="2548" y="572"/>
                  </a:lnTo>
                  <a:lnTo>
                    <a:pt x="1369" y="72"/>
                  </a:lnTo>
                  <a:lnTo>
                    <a:pt x="1310" y="72"/>
                  </a:lnTo>
                  <a:lnTo>
                    <a:pt x="191" y="1"/>
                  </a:ln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6" name="Google Shape;13576;p64"/>
            <p:cNvSpPr/>
            <p:nvPr/>
          </p:nvSpPr>
          <p:spPr>
            <a:xfrm>
              <a:off x="1329585" y="2127494"/>
              <a:ext cx="108795" cy="197123"/>
            </a:xfrm>
            <a:custGeom>
              <a:avLst/>
              <a:gdLst/>
              <a:ahLst/>
              <a:cxnLst/>
              <a:rect l="l" t="t" r="r" b="b"/>
              <a:pathLst>
                <a:path w="3418" h="6193" extrusionOk="0">
                  <a:moveTo>
                    <a:pt x="1155" y="358"/>
                  </a:moveTo>
                  <a:cubicBezTo>
                    <a:pt x="1214" y="358"/>
                    <a:pt x="1274" y="418"/>
                    <a:pt x="1274" y="477"/>
                  </a:cubicBezTo>
                  <a:lnTo>
                    <a:pt x="1274" y="549"/>
                  </a:lnTo>
                  <a:lnTo>
                    <a:pt x="1274" y="1120"/>
                  </a:lnTo>
                  <a:cubicBezTo>
                    <a:pt x="1274" y="1203"/>
                    <a:pt x="1345" y="1275"/>
                    <a:pt x="1441" y="1275"/>
                  </a:cubicBezTo>
                  <a:cubicBezTo>
                    <a:pt x="1524" y="1275"/>
                    <a:pt x="1595" y="1203"/>
                    <a:pt x="1595" y="1120"/>
                  </a:cubicBezTo>
                  <a:lnTo>
                    <a:pt x="1595" y="584"/>
                  </a:lnTo>
                  <a:cubicBezTo>
                    <a:pt x="1619" y="537"/>
                    <a:pt x="1655" y="525"/>
                    <a:pt x="1703" y="525"/>
                  </a:cubicBezTo>
                  <a:lnTo>
                    <a:pt x="1715" y="525"/>
                  </a:lnTo>
                  <a:cubicBezTo>
                    <a:pt x="1774" y="525"/>
                    <a:pt x="1834" y="584"/>
                    <a:pt x="1834" y="644"/>
                  </a:cubicBezTo>
                  <a:lnTo>
                    <a:pt x="1834" y="668"/>
                  </a:lnTo>
                  <a:lnTo>
                    <a:pt x="1834" y="1132"/>
                  </a:lnTo>
                  <a:cubicBezTo>
                    <a:pt x="1834" y="1215"/>
                    <a:pt x="1917" y="1299"/>
                    <a:pt x="2000" y="1299"/>
                  </a:cubicBezTo>
                  <a:cubicBezTo>
                    <a:pt x="2096" y="1299"/>
                    <a:pt x="2167" y="1215"/>
                    <a:pt x="2167" y="1132"/>
                  </a:cubicBezTo>
                  <a:lnTo>
                    <a:pt x="2167" y="715"/>
                  </a:lnTo>
                  <a:cubicBezTo>
                    <a:pt x="2179" y="668"/>
                    <a:pt x="2226" y="656"/>
                    <a:pt x="2274" y="656"/>
                  </a:cubicBezTo>
                  <a:lnTo>
                    <a:pt x="2286" y="656"/>
                  </a:lnTo>
                  <a:cubicBezTo>
                    <a:pt x="2346" y="656"/>
                    <a:pt x="2405" y="715"/>
                    <a:pt x="2405" y="775"/>
                  </a:cubicBezTo>
                  <a:lnTo>
                    <a:pt x="2405" y="894"/>
                  </a:lnTo>
                  <a:lnTo>
                    <a:pt x="2405" y="1239"/>
                  </a:lnTo>
                  <a:cubicBezTo>
                    <a:pt x="2405" y="1322"/>
                    <a:pt x="2477" y="1394"/>
                    <a:pt x="2572" y="1394"/>
                  </a:cubicBezTo>
                  <a:cubicBezTo>
                    <a:pt x="2655" y="1394"/>
                    <a:pt x="2727" y="1322"/>
                    <a:pt x="2727" y="1239"/>
                  </a:cubicBezTo>
                  <a:lnTo>
                    <a:pt x="2727" y="894"/>
                  </a:lnTo>
                  <a:cubicBezTo>
                    <a:pt x="2727" y="834"/>
                    <a:pt x="2786" y="775"/>
                    <a:pt x="2846" y="775"/>
                  </a:cubicBezTo>
                  <a:lnTo>
                    <a:pt x="2869" y="775"/>
                  </a:lnTo>
                  <a:cubicBezTo>
                    <a:pt x="2929" y="775"/>
                    <a:pt x="2988" y="834"/>
                    <a:pt x="2988" y="894"/>
                  </a:cubicBezTo>
                  <a:lnTo>
                    <a:pt x="2988" y="1680"/>
                  </a:lnTo>
                  <a:lnTo>
                    <a:pt x="2988" y="1692"/>
                  </a:lnTo>
                  <a:cubicBezTo>
                    <a:pt x="3060" y="1858"/>
                    <a:pt x="3048" y="2442"/>
                    <a:pt x="2727" y="2692"/>
                  </a:cubicBezTo>
                  <a:cubicBezTo>
                    <a:pt x="2679" y="2727"/>
                    <a:pt x="2667" y="2763"/>
                    <a:pt x="2667" y="2823"/>
                  </a:cubicBezTo>
                  <a:lnTo>
                    <a:pt x="2667" y="3358"/>
                  </a:lnTo>
                  <a:lnTo>
                    <a:pt x="1060" y="3358"/>
                  </a:lnTo>
                  <a:lnTo>
                    <a:pt x="1060" y="2989"/>
                  </a:lnTo>
                  <a:cubicBezTo>
                    <a:pt x="1060" y="2930"/>
                    <a:pt x="1036" y="2882"/>
                    <a:pt x="988" y="2858"/>
                  </a:cubicBezTo>
                  <a:cubicBezTo>
                    <a:pt x="822" y="2739"/>
                    <a:pt x="405" y="2346"/>
                    <a:pt x="393" y="1965"/>
                  </a:cubicBezTo>
                  <a:cubicBezTo>
                    <a:pt x="381" y="1692"/>
                    <a:pt x="369" y="1370"/>
                    <a:pt x="464" y="1275"/>
                  </a:cubicBezTo>
                  <a:cubicBezTo>
                    <a:pt x="499" y="1257"/>
                    <a:pt x="547" y="1246"/>
                    <a:pt x="612" y="1246"/>
                  </a:cubicBezTo>
                  <a:cubicBezTo>
                    <a:pt x="636" y="1246"/>
                    <a:pt x="662" y="1248"/>
                    <a:pt x="691" y="1251"/>
                  </a:cubicBezTo>
                  <a:lnTo>
                    <a:pt x="691" y="1477"/>
                  </a:lnTo>
                  <a:cubicBezTo>
                    <a:pt x="691" y="1561"/>
                    <a:pt x="762" y="1632"/>
                    <a:pt x="857" y="1632"/>
                  </a:cubicBezTo>
                  <a:cubicBezTo>
                    <a:pt x="941" y="1632"/>
                    <a:pt x="1024" y="1561"/>
                    <a:pt x="1024" y="1477"/>
                  </a:cubicBezTo>
                  <a:lnTo>
                    <a:pt x="1024" y="477"/>
                  </a:lnTo>
                  <a:cubicBezTo>
                    <a:pt x="1024" y="418"/>
                    <a:pt x="1083" y="358"/>
                    <a:pt x="1143" y="358"/>
                  </a:cubicBezTo>
                  <a:close/>
                  <a:moveTo>
                    <a:pt x="2941" y="3692"/>
                  </a:moveTo>
                  <a:lnTo>
                    <a:pt x="2941" y="4216"/>
                  </a:lnTo>
                  <a:lnTo>
                    <a:pt x="810" y="4216"/>
                  </a:lnTo>
                  <a:lnTo>
                    <a:pt x="810" y="3692"/>
                  </a:lnTo>
                  <a:close/>
                  <a:moveTo>
                    <a:pt x="2941" y="4537"/>
                  </a:moveTo>
                  <a:lnTo>
                    <a:pt x="2941" y="5859"/>
                  </a:lnTo>
                  <a:lnTo>
                    <a:pt x="810" y="5859"/>
                  </a:lnTo>
                  <a:lnTo>
                    <a:pt x="810" y="4537"/>
                  </a:lnTo>
                  <a:close/>
                  <a:moveTo>
                    <a:pt x="1143" y="1"/>
                  </a:moveTo>
                  <a:cubicBezTo>
                    <a:pt x="881" y="1"/>
                    <a:pt x="679" y="203"/>
                    <a:pt x="679" y="465"/>
                  </a:cubicBezTo>
                  <a:lnTo>
                    <a:pt x="679" y="894"/>
                  </a:lnTo>
                  <a:cubicBezTo>
                    <a:pt x="642" y="889"/>
                    <a:pt x="607" y="887"/>
                    <a:pt x="573" y="887"/>
                  </a:cubicBezTo>
                  <a:cubicBezTo>
                    <a:pt x="439" y="887"/>
                    <a:pt x="326" y="923"/>
                    <a:pt x="250" y="989"/>
                  </a:cubicBezTo>
                  <a:cubicBezTo>
                    <a:pt x="0" y="1192"/>
                    <a:pt x="36" y="1573"/>
                    <a:pt x="48" y="1965"/>
                  </a:cubicBezTo>
                  <a:cubicBezTo>
                    <a:pt x="83" y="2477"/>
                    <a:pt x="548" y="2894"/>
                    <a:pt x="726" y="3049"/>
                  </a:cubicBezTo>
                  <a:lnTo>
                    <a:pt x="726" y="3335"/>
                  </a:lnTo>
                  <a:lnTo>
                    <a:pt x="631" y="3335"/>
                  </a:lnTo>
                  <a:cubicBezTo>
                    <a:pt x="536" y="3335"/>
                    <a:pt x="464" y="3406"/>
                    <a:pt x="464" y="3489"/>
                  </a:cubicBezTo>
                  <a:lnTo>
                    <a:pt x="464" y="4359"/>
                  </a:lnTo>
                  <a:lnTo>
                    <a:pt x="464" y="6025"/>
                  </a:lnTo>
                  <a:cubicBezTo>
                    <a:pt x="464" y="6121"/>
                    <a:pt x="536" y="6192"/>
                    <a:pt x="631" y="6192"/>
                  </a:cubicBezTo>
                  <a:lnTo>
                    <a:pt x="3108" y="6192"/>
                  </a:lnTo>
                  <a:cubicBezTo>
                    <a:pt x="3191" y="6192"/>
                    <a:pt x="3262" y="6121"/>
                    <a:pt x="3262" y="6025"/>
                  </a:cubicBezTo>
                  <a:lnTo>
                    <a:pt x="3262" y="4359"/>
                  </a:lnTo>
                  <a:lnTo>
                    <a:pt x="3262" y="3489"/>
                  </a:lnTo>
                  <a:cubicBezTo>
                    <a:pt x="3262" y="3406"/>
                    <a:pt x="3191" y="3335"/>
                    <a:pt x="3108" y="3335"/>
                  </a:cubicBezTo>
                  <a:lnTo>
                    <a:pt x="3000" y="3335"/>
                  </a:lnTo>
                  <a:lnTo>
                    <a:pt x="3000" y="2870"/>
                  </a:lnTo>
                  <a:cubicBezTo>
                    <a:pt x="3417" y="2465"/>
                    <a:pt x="3369" y="1727"/>
                    <a:pt x="3369" y="1632"/>
                  </a:cubicBezTo>
                  <a:lnTo>
                    <a:pt x="3369" y="858"/>
                  </a:lnTo>
                  <a:cubicBezTo>
                    <a:pt x="3369" y="608"/>
                    <a:pt x="3167" y="406"/>
                    <a:pt x="2905" y="406"/>
                  </a:cubicBezTo>
                  <a:lnTo>
                    <a:pt x="2893" y="406"/>
                  </a:lnTo>
                  <a:cubicBezTo>
                    <a:pt x="2822" y="406"/>
                    <a:pt x="2738" y="418"/>
                    <a:pt x="2667" y="465"/>
                  </a:cubicBezTo>
                  <a:cubicBezTo>
                    <a:pt x="2584" y="358"/>
                    <a:pt x="2465" y="287"/>
                    <a:pt x="2310" y="287"/>
                  </a:cubicBezTo>
                  <a:lnTo>
                    <a:pt x="2298" y="287"/>
                  </a:lnTo>
                  <a:cubicBezTo>
                    <a:pt x="2226" y="287"/>
                    <a:pt x="2143" y="299"/>
                    <a:pt x="2084" y="346"/>
                  </a:cubicBezTo>
                  <a:cubicBezTo>
                    <a:pt x="2000" y="239"/>
                    <a:pt x="1881" y="179"/>
                    <a:pt x="1750" y="179"/>
                  </a:cubicBezTo>
                  <a:lnTo>
                    <a:pt x="1726" y="179"/>
                  </a:lnTo>
                  <a:cubicBezTo>
                    <a:pt x="1667" y="179"/>
                    <a:pt x="1607" y="191"/>
                    <a:pt x="1548" y="203"/>
                  </a:cubicBezTo>
                  <a:cubicBezTo>
                    <a:pt x="1476" y="84"/>
                    <a:pt x="1334" y="1"/>
                    <a:pt x="1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77" name="Google Shape;13577;p64"/>
          <p:cNvGrpSpPr/>
          <p:nvPr/>
        </p:nvGrpSpPr>
        <p:grpSpPr>
          <a:xfrm>
            <a:off x="5591871" y="1989906"/>
            <a:ext cx="416649" cy="325597"/>
            <a:chOff x="5626763" y="2013829"/>
            <a:chExt cx="351722" cy="274788"/>
          </a:xfrm>
        </p:grpSpPr>
        <p:sp>
          <p:nvSpPr>
            <p:cNvPr id="13578" name="Google Shape;13578;p64"/>
            <p:cNvSpPr/>
            <p:nvPr/>
          </p:nvSpPr>
          <p:spPr>
            <a:xfrm>
              <a:off x="5626763" y="2013829"/>
              <a:ext cx="351722" cy="274788"/>
            </a:xfrm>
            <a:custGeom>
              <a:avLst/>
              <a:gdLst/>
              <a:ahLst/>
              <a:cxnLst/>
              <a:rect l="l" t="t" r="r" b="b"/>
              <a:pathLst>
                <a:path w="11050" h="8633" extrusionOk="0">
                  <a:moveTo>
                    <a:pt x="10657" y="345"/>
                  </a:moveTo>
                  <a:lnTo>
                    <a:pt x="10681" y="714"/>
                  </a:lnTo>
                  <a:lnTo>
                    <a:pt x="9395" y="714"/>
                  </a:lnTo>
                  <a:cubicBezTo>
                    <a:pt x="9312" y="714"/>
                    <a:pt x="9216" y="786"/>
                    <a:pt x="9216" y="893"/>
                  </a:cubicBezTo>
                  <a:cubicBezTo>
                    <a:pt x="9216" y="1000"/>
                    <a:pt x="9288" y="1072"/>
                    <a:pt x="9395" y="1072"/>
                  </a:cubicBezTo>
                  <a:lnTo>
                    <a:pt x="10383" y="1072"/>
                  </a:lnTo>
                  <a:lnTo>
                    <a:pt x="10383" y="6191"/>
                  </a:lnTo>
                  <a:lnTo>
                    <a:pt x="4466" y="6191"/>
                  </a:lnTo>
                  <a:lnTo>
                    <a:pt x="4466" y="6025"/>
                  </a:lnTo>
                  <a:cubicBezTo>
                    <a:pt x="4466" y="5929"/>
                    <a:pt x="4394" y="5846"/>
                    <a:pt x="4287" y="5846"/>
                  </a:cubicBezTo>
                  <a:lnTo>
                    <a:pt x="4001" y="5846"/>
                  </a:lnTo>
                  <a:cubicBezTo>
                    <a:pt x="3978" y="5739"/>
                    <a:pt x="3930" y="5644"/>
                    <a:pt x="3871" y="5536"/>
                  </a:cubicBezTo>
                  <a:lnTo>
                    <a:pt x="4085" y="5322"/>
                  </a:lnTo>
                  <a:cubicBezTo>
                    <a:pt x="4156" y="5251"/>
                    <a:pt x="4156" y="5144"/>
                    <a:pt x="4085" y="5072"/>
                  </a:cubicBezTo>
                  <a:lnTo>
                    <a:pt x="3549" y="4536"/>
                  </a:lnTo>
                  <a:cubicBezTo>
                    <a:pt x="3513" y="4512"/>
                    <a:pt x="3478" y="4489"/>
                    <a:pt x="3430" y="4489"/>
                  </a:cubicBezTo>
                  <a:cubicBezTo>
                    <a:pt x="3382" y="4489"/>
                    <a:pt x="3335" y="4512"/>
                    <a:pt x="3311" y="4536"/>
                  </a:cubicBezTo>
                  <a:lnTo>
                    <a:pt x="3097" y="4739"/>
                  </a:lnTo>
                  <a:cubicBezTo>
                    <a:pt x="2989" y="4679"/>
                    <a:pt x="2894" y="4643"/>
                    <a:pt x="2787" y="4608"/>
                  </a:cubicBezTo>
                  <a:lnTo>
                    <a:pt x="2787" y="4334"/>
                  </a:lnTo>
                  <a:cubicBezTo>
                    <a:pt x="2787" y="4239"/>
                    <a:pt x="2716" y="4155"/>
                    <a:pt x="2608" y="4155"/>
                  </a:cubicBezTo>
                  <a:lnTo>
                    <a:pt x="2180" y="4155"/>
                  </a:lnTo>
                  <a:lnTo>
                    <a:pt x="2180" y="1060"/>
                  </a:lnTo>
                  <a:lnTo>
                    <a:pt x="8788" y="1060"/>
                  </a:lnTo>
                  <a:cubicBezTo>
                    <a:pt x="8871" y="1060"/>
                    <a:pt x="8966" y="976"/>
                    <a:pt x="8966" y="881"/>
                  </a:cubicBezTo>
                  <a:cubicBezTo>
                    <a:pt x="8966" y="786"/>
                    <a:pt x="8895" y="702"/>
                    <a:pt x="8788" y="702"/>
                  </a:cubicBezTo>
                  <a:lnTo>
                    <a:pt x="1894" y="702"/>
                  </a:lnTo>
                  <a:lnTo>
                    <a:pt x="1894" y="345"/>
                  </a:lnTo>
                  <a:close/>
                  <a:moveTo>
                    <a:pt x="10681" y="6537"/>
                  </a:moveTo>
                  <a:lnTo>
                    <a:pt x="10681" y="6870"/>
                  </a:lnTo>
                  <a:lnTo>
                    <a:pt x="4430" y="6870"/>
                  </a:lnTo>
                  <a:cubicBezTo>
                    <a:pt x="4454" y="6846"/>
                    <a:pt x="4466" y="6798"/>
                    <a:pt x="4466" y="6751"/>
                  </a:cubicBezTo>
                  <a:lnTo>
                    <a:pt x="4466" y="6560"/>
                  </a:lnTo>
                  <a:lnTo>
                    <a:pt x="10562" y="6560"/>
                  </a:lnTo>
                  <a:cubicBezTo>
                    <a:pt x="10598" y="6560"/>
                    <a:pt x="10633" y="6548"/>
                    <a:pt x="10657" y="6537"/>
                  </a:cubicBezTo>
                  <a:close/>
                  <a:moveTo>
                    <a:pt x="2477" y="4524"/>
                  </a:moveTo>
                  <a:lnTo>
                    <a:pt x="2477" y="4763"/>
                  </a:lnTo>
                  <a:cubicBezTo>
                    <a:pt x="2477" y="4834"/>
                    <a:pt x="2537" y="4905"/>
                    <a:pt x="2608" y="4929"/>
                  </a:cubicBezTo>
                  <a:cubicBezTo>
                    <a:pt x="2775" y="4965"/>
                    <a:pt x="2942" y="5024"/>
                    <a:pt x="3073" y="5120"/>
                  </a:cubicBezTo>
                  <a:cubicBezTo>
                    <a:pt x="3099" y="5137"/>
                    <a:pt x="3128" y="5145"/>
                    <a:pt x="3157" y="5145"/>
                  </a:cubicBezTo>
                  <a:cubicBezTo>
                    <a:pt x="3206" y="5145"/>
                    <a:pt x="3253" y="5122"/>
                    <a:pt x="3275" y="5084"/>
                  </a:cubicBezTo>
                  <a:lnTo>
                    <a:pt x="3454" y="4905"/>
                  </a:lnTo>
                  <a:lnTo>
                    <a:pt x="3740" y="5191"/>
                  </a:lnTo>
                  <a:lnTo>
                    <a:pt x="3561" y="5370"/>
                  </a:lnTo>
                  <a:cubicBezTo>
                    <a:pt x="3501" y="5429"/>
                    <a:pt x="3490" y="5525"/>
                    <a:pt x="3537" y="5584"/>
                  </a:cubicBezTo>
                  <a:cubicBezTo>
                    <a:pt x="3620" y="5727"/>
                    <a:pt x="3680" y="5882"/>
                    <a:pt x="3728" y="6036"/>
                  </a:cubicBezTo>
                  <a:cubicBezTo>
                    <a:pt x="3740" y="6120"/>
                    <a:pt x="3811" y="6179"/>
                    <a:pt x="3894" y="6179"/>
                  </a:cubicBezTo>
                  <a:lnTo>
                    <a:pt x="4132" y="6179"/>
                  </a:lnTo>
                  <a:lnTo>
                    <a:pt x="4132" y="6572"/>
                  </a:lnTo>
                  <a:lnTo>
                    <a:pt x="3894" y="6572"/>
                  </a:lnTo>
                  <a:cubicBezTo>
                    <a:pt x="3811" y="6572"/>
                    <a:pt x="3740" y="6632"/>
                    <a:pt x="3728" y="6715"/>
                  </a:cubicBezTo>
                  <a:cubicBezTo>
                    <a:pt x="3680" y="6870"/>
                    <a:pt x="3620" y="7037"/>
                    <a:pt x="3537" y="7168"/>
                  </a:cubicBezTo>
                  <a:cubicBezTo>
                    <a:pt x="3490" y="7251"/>
                    <a:pt x="3501" y="7334"/>
                    <a:pt x="3561" y="7382"/>
                  </a:cubicBezTo>
                  <a:lnTo>
                    <a:pt x="3740" y="7560"/>
                  </a:lnTo>
                  <a:lnTo>
                    <a:pt x="3454" y="7834"/>
                  </a:lnTo>
                  <a:lnTo>
                    <a:pt x="3275" y="7656"/>
                  </a:lnTo>
                  <a:cubicBezTo>
                    <a:pt x="3238" y="7626"/>
                    <a:pt x="3193" y="7606"/>
                    <a:pt x="3149" y="7606"/>
                  </a:cubicBezTo>
                  <a:cubicBezTo>
                    <a:pt x="3122" y="7606"/>
                    <a:pt x="3096" y="7614"/>
                    <a:pt x="3073" y="7632"/>
                  </a:cubicBezTo>
                  <a:cubicBezTo>
                    <a:pt x="2918" y="7727"/>
                    <a:pt x="2775" y="7787"/>
                    <a:pt x="2608" y="7822"/>
                  </a:cubicBezTo>
                  <a:cubicBezTo>
                    <a:pt x="2537" y="7846"/>
                    <a:pt x="2477" y="7918"/>
                    <a:pt x="2477" y="7989"/>
                  </a:cubicBezTo>
                  <a:lnTo>
                    <a:pt x="2477" y="8227"/>
                  </a:lnTo>
                  <a:lnTo>
                    <a:pt x="2073" y="8227"/>
                  </a:lnTo>
                  <a:lnTo>
                    <a:pt x="2073" y="7989"/>
                  </a:lnTo>
                  <a:cubicBezTo>
                    <a:pt x="2073" y="7918"/>
                    <a:pt x="2013" y="7846"/>
                    <a:pt x="1942" y="7822"/>
                  </a:cubicBezTo>
                  <a:cubicBezTo>
                    <a:pt x="1775" y="7787"/>
                    <a:pt x="1608" y="7727"/>
                    <a:pt x="1477" y="7632"/>
                  </a:cubicBezTo>
                  <a:cubicBezTo>
                    <a:pt x="1450" y="7614"/>
                    <a:pt x="1419" y="7606"/>
                    <a:pt x="1390" y="7606"/>
                  </a:cubicBezTo>
                  <a:cubicBezTo>
                    <a:pt x="1342" y="7606"/>
                    <a:pt x="1297" y="7626"/>
                    <a:pt x="1275" y="7656"/>
                  </a:cubicBezTo>
                  <a:lnTo>
                    <a:pt x="1096" y="7834"/>
                  </a:lnTo>
                  <a:lnTo>
                    <a:pt x="811" y="7560"/>
                  </a:lnTo>
                  <a:lnTo>
                    <a:pt x="989" y="7382"/>
                  </a:lnTo>
                  <a:cubicBezTo>
                    <a:pt x="1049" y="7322"/>
                    <a:pt x="1061" y="7227"/>
                    <a:pt x="1013" y="7168"/>
                  </a:cubicBezTo>
                  <a:cubicBezTo>
                    <a:pt x="930" y="7025"/>
                    <a:pt x="870" y="6870"/>
                    <a:pt x="823" y="6715"/>
                  </a:cubicBezTo>
                  <a:cubicBezTo>
                    <a:pt x="811" y="6632"/>
                    <a:pt x="739" y="6572"/>
                    <a:pt x="656" y="6572"/>
                  </a:cubicBezTo>
                  <a:lnTo>
                    <a:pt x="418" y="6572"/>
                  </a:lnTo>
                  <a:lnTo>
                    <a:pt x="418" y="6179"/>
                  </a:lnTo>
                  <a:lnTo>
                    <a:pt x="656" y="6179"/>
                  </a:lnTo>
                  <a:cubicBezTo>
                    <a:pt x="739" y="6179"/>
                    <a:pt x="811" y="6120"/>
                    <a:pt x="823" y="6036"/>
                  </a:cubicBezTo>
                  <a:cubicBezTo>
                    <a:pt x="870" y="5882"/>
                    <a:pt x="930" y="5715"/>
                    <a:pt x="1013" y="5584"/>
                  </a:cubicBezTo>
                  <a:cubicBezTo>
                    <a:pt x="1061" y="5501"/>
                    <a:pt x="1049" y="5417"/>
                    <a:pt x="989" y="5370"/>
                  </a:cubicBezTo>
                  <a:lnTo>
                    <a:pt x="811" y="5191"/>
                  </a:lnTo>
                  <a:lnTo>
                    <a:pt x="1096" y="4905"/>
                  </a:lnTo>
                  <a:lnTo>
                    <a:pt x="1275" y="5084"/>
                  </a:lnTo>
                  <a:cubicBezTo>
                    <a:pt x="1313" y="5122"/>
                    <a:pt x="1360" y="5145"/>
                    <a:pt x="1405" y="5145"/>
                  </a:cubicBezTo>
                  <a:cubicBezTo>
                    <a:pt x="1430" y="5145"/>
                    <a:pt x="1456" y="5137"/>
                    <a:pt x="1477" y="5120"/>
                  </a:cubicBezTo>
                  <a:cubicBezTo>
                    <a:pt x="1632" y="5024"/>
                    <a:pt x="1775" y="4965"/>
                    <a:pt x="1942" y="4929"/>
                  </a:cubicBezTo>
                  <a:cubicBezTo>
                    <a:pt x="2013" y="4905"/>
                    <a:pt x="2073" y="4834"/>
                    <a:pt x="2073" y="4763"/>
                  </a:cubicBezTo>
                  <a:lnTo>
                    <a:pt x="2073" y="4524"/>
                  </a:lnTo>
                  <a:close/>
                  <a:moveTo>
                    <a:pt x="1715" y="0"/>
                  </a:moveTo>
                  <a:cubicBezTo>
                    <a:pt x="1632" y="0"/>
                    <a:pt x="1537" y="71"/>
                    <a:pt x="1537" y="179"/>
                  </a:cubicBezTo>
                  <a:lnTo>
                    <a:pt x="1537" y="881"/>
                  </a:lnTo>
                  <a:cubicBezTo>
                    <a:pt x="1537" y="964"/>
                    <a:pt x="1608" y="1060"/>
                    <a:pt x="1715" y="1060"/>
                  </a:cubicBezTo>
                  <a:lnTo>
                    <a:pt x="1835" y="1060"/>
                  </a:lnTo>
                  <a:lnTo>
                    <a:pt x="1835" y="4155"/>
                  </a:lnTo>
                  <a:cubicBezTo>
                    <a:pt x="1751" y="4167"/>
                    <a:pt x="1692" y="4239"/>
                    <a:pt x="1692" y="4310"/>
                  </a:cubicBezTo>
                  <a:lnTo>
                    <a:pt x="1692" y="4596"/>
                  </a:lnTo>
                  <a:cubicBezTo>
                    <a:pt x="1585" y="4632"/>
                    <a:pt x="1477" y="4667"/>
                    <a:pt x="1370" y="4727"/>
                  </a:cubicBezTo>
                  <a:lnTo>
                    <a:pt x="1168" y="4524"/>
                  </a:lnTo>
                  <a:cubicBezTo>
                    <a:pt x="1132" y="4489"/>
                    <a:pt x="1096" y="4477"/>
                    <a:pt x="1049" y="4477"/>
                  </a:cubicBezTo>
                  <a:cubicBezTo>
                    <a:pt x="1001" y="4477"/>
                    <a:pt x="953" y="4489"/>
                    <a:pt x="930" y="4524"/>
                  </a:cubicBezTo>
                  <a:lnTo>
                    <a:pt x="394" y="5060"/>
                  </a:lnTo>
                  <a:cubicBezTo>
                    <a:pt x="322" y="5132"/>
                    <a:pt x="322" y="5239"/>
                    <a:pt x="394" y="5310"/>
                  </a:cubicBezTo>
                  <a:lnTo>
                    <a:pt x="596" y="5525"/>
                  </a:lnTo>
                  <a:cubicBezTo>
                    <a:pt x="537" y="5620"/>
                    <a:pt x="501" y="5727"/>
                    <a:pt x="465" y="5834"/>
                  </a:cubicBezTo>
                  <a:lnTo>
                    <a:pt x="180" y="5834"/>
                  </a:lnTo>
                  <a:cubicBezTo>
                    <a:pt x="96" y="5834"/>
                    <a:pt x="1" y="5906"/>
                    <a:pt x="1" y="6013"/>
                  </a:cubicBezTo>
                  <a:lnTo>
                    <a:pt x="1" y="6751"/>
                  </a:lnTo>
                  <a:cubicBezTo>
                    <a:pt x="1" y="6846"/>
                    <a:pt x="84" y="6929"/>
                    <a:pt x="180" y="6929"/>
                  </a:cubicBezTo>
                  <a:lnTo>
                    <a:pt x="465" y="6929"/>
                  </a:lnTo>
                  <a:cubicBezTo>
                    <a:pt x="501" y="7037"/>
                    <a:pt x="537" y="7144"/>
                    <a:pt x="596" y="7251"/>
                  </a:cubicBezTo>
                  <a:lnTo>
                    <a:pt x="394" y="7453"/>
                  </a:lnTo>
                  <a:cubicBezTo>
                    <a:pt x="322" y="7525"/>
                    <a:pt x="322" y="7632"/>
                    <a:pt x="394" y="7703"/>
                  </a:cubicBezTo>
                  <a:lnTo>
                    <a:pt x="930" y="8239"/>
                  </a:lnTo>
                  <a:cubicBezTo>
                    <a:pt x="965" y="8281"/>
                    <a:pt x="1010" y="8302"/>
                    <a:pt x="1055" y="8302"/>
                  </a:cubicBezTo>
                  <a:cubicBezTo>
                    <a:pt x="1099" y="8302"/>
                    <a:pt x="1144" y="8281"/>
                    <a:pt x="1180" y="8239"/>
                  </a:cubicBezTo>
                  <a:lnTo>
                    <a:pt x="1394" y="8037"/>
                  </a:lnTo>
                  <a:cubicBezTo>
                    <a:pt x="1489" y="8096"/>
                    <a:pt x="1596" y="8144"/>
                    <a:pt x="1704" y="8168"/>
                  </a:cubicBezTo>
                  <a:lnTo>
                    <a:pt x="1704" y="8453"/>
                  </a:lnTo>
                  <a:cubicBezTo>
                    <a:pt x="1704" y="8537"/>
                    <a:pt x="1775" y="8632"/>
                    <a:pt x="1882" y="8632"/>
                  </a:cubicBezTo>
                  <a:lnTo>
                    <a:pt x="2620" y="8632"/>
                  </a:lnTo>
                  <a:cubicBezTo>
                    <a:pt x="2716" y="8632"/>
                    <a:pt x="2799" y="8549"/>
                    <a:pt x="2799" y="8453"/>
                  </a:cubicBezTo>
                  <a:lnTo>
                    <a:pt x="2799" y="8168"/>
                  </a:lnTo>
                  <a:cubicBezTo>
                    <a:pt x="2906" y="8144"/>
                    <a:pt x="3013" y="8096"/>
                    <a:pt x="3120" y="8037"/>
                  </a:cubicBezTo>
                  <a:lnTo>
                    <a:pt x="3323" y="8239"/>
                  </a:lnTo>
                  <a:cubicBezTo>
                    <a:pt x="3359" y="8281"/>
                    <a:pt x="3403" y="8302"/>
                    <a:pt x="3448" y="8302"/>
                  </a:cubicBezTo>
                  <a:cubicBezTo>
                    <a:pt x="3492" y="8302"/>
                    <a:pt x="3537" y="8281"/>
                    <a:pt x="3573" y="8239"/>
                  </a:cubicBezTo>
                  <a:lnTo>
                    <a:pt x="4109" y="7703"/>
                  </a:lnTo>
                  <a:cubicBezTo>
                    <a:pt x="4192" y="7632"/>
                    <a:pt x="4192" y="7525"/>
                    <a:pt x="4109" y="7453"/>
                  </a:cubicBezTo>
                  <a:lnTo>
                    <a:pt x="3906" y="7251"/>
                  </a:lnTo>
                  <a:cubicBezTo>
                    <a:pt x="3906" y="7227"/>
                    <a:pt x="3918" y="7227"/>
                    <a:pt x="3918" y="7215"/>
                  </a:cubicBezTo>
                  <a:lnTo>
                    <a:pt x="10871" y="7215"/>
                  </a:lnTo>
                  <a:cubicBezTo>
                    <a:pt x="10955" y="7215"/>
                    <a:pt x="11050" y="7144"/>
                    <a:pt x="11050" y="7037"/>
                  </a:cubicBezTo>
                  <a:lnTo>
                    <a:pt x="11050" y="6358"/>
                  </a:lnTo>
                  <a:cubicBezTo>
                    <a:pt x="11050" y="6263"/>
                    <a:pt x="10979" y="6179"/>
                    <a:pt x="10871" y="6179"/>
                  </a:cubicBezTo>
                  <a:lnTo>
                    <a:pt x="10752" y="6179"/>
                  </a:lnTo>
                  <a:lnTo>
                    <a:pt x="10752" y="1060"/>
                  </a:lnTo>
                  <a:lnTo>
                    <a:pt x="10836" y="1060"/>
                  </a:lnTo>
                  <a:cubicBezTo>
                    <a:pt x="10931" y="1060"/>
                    <a:pt x="11014" y="976"/>
                    <a:pt x="11014" y="881"/>
                  </a:cubicBezTo>
                  <a:lnTo>
                    <a:pt x="11014" y="179"/>
                  </a:lnTo>
                  <a:cubicBezTo>
                    <a:pt x="11014" y="83"/>
                    <a:pt x="10943" y="0"/>
                    <a:pt x="1083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9" name="Google Shape;13579;p64"/>
            <p:cNvSpPr/>
            <p:nvPr/>
          </p:nvSpPr>
          <p:spPr>
            <a:xfrm>
              <a:off x="5784799" y="2125234"/>
              <a:ext cx="33390" cy="70503"/>
            </a:xfrm>
            <a:custGeom>
              <a:avLst/>
              <a:gdLst/>
              <a:ahLst/>
              <a:cxnLst/>
              <a:rect l="l" t="t" r="r" b="b"/>
              <a:pathLst>
                <a:path w="1049" h="2215" extrusionOk="0">
                  <a:moveTo>
                    <a:pt x="691" y="334"/>
                  </a:moveTo>
                  <a:lnTo>
                    <a:pt x="691" y="1858"/>
                  </a:lnTo>
                  <a:lnTo>
                    <a:pt x="334" y="1858"/>
                  </a:lnTo>
                  <a:lnTo>
                    <a:pt x="334" y="334"/>
                  </a:lnTo>
                  <a:close/>
                  <a:moveTo>
                    <a:pt x="179" y="0"/>
                  </a:moveTo>
                  <a:cubicBezTo>
                    <a:pt x="84" y="0"/>
                    <a:pt x="1" y="72"/>
                    <a:pt x="1" y="179"/>
                  </a:cubicBezTo>
                  <a:lnTo>
                    <a:pt x="1" y="2036"/>
                  </a:lnTo>
                  <a:cubicBezTo>
                    <a:pt x="1" y="2120"/>
                    <a:pt x="72" y="2215"/>
                    <a:pt x="179" y="2215"/>
                  </a:cubicBezTo>
                  <a:lnTo>
                    <a:pt x="870" y="2215"/>
                  </a:lnTo>
                  <a:cubicBezTo>
                    <a:pt x="965" y="2215"/>
                    <a:pt x="1049" y="2144"/>
                    <a:pt x="1049" y="2036"/>
                  </a:cubicBezTo>
                  <a:lnTo>
                    <a:pt x="1049" y="179"/>
                  </a:lnTo>
                  <a:cubicBezTo>
                    <a:pt x="1049" y="72"/>
                    <a:pt x="965"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0" name="Google Shape;13580;p64"/>
            <p:cNvSpPr/>
            <p:nvPr/>
          </p:nvSpPr>
          <p:spPr>
            <a:xfrm>
              <a:off x="5824236" y="2097956"/>
              <a:ext cx="33740" cy="97782"/>
            </a:xfrm>
            <a:custGeom>
              <a:avLst/>
              <a:gdLst/>
              <a:ahLst/>
              <a:cxnLst/>
              <a:rect l="l" t="t" r="r" b="b"/>
              <a:pathLst>
                <a:path w="1060" h="3072" extrusionOk="0">
                  <a:moveTo>
                    <a:pt x="703" y="345"/>
                  </a:moveTo>
                  <a:lnTo>
                    <a:pt x="703" y="2715"/>
                  </a:lnTo>
                  <a:lnTo>
                    <a:pt x="345" y="2715"/>
                  </a:lnTo>
                  <a:lnTo>
                    <a:pt x="345" y="345"/>
                  </a:lnTo>
                  <a:close/>
                  <a:moveTo>
                    <a:pt x="179" y="0"/>
                  </a:moveTo>
                  <a:cubicBezTo>
                    <a:pt x="95" y="0"/>
                    <a:pt x="0" y="84"/>
                    <a:pt x="0" y="179"/>
                  </a:cubicBezTo>
                  <a:lnTo>
                    <a:pt x="0" y="2893"/>
                  </a:lnTo>
                  <a:cubicBezTo>
                    <a:pt x="0" y="2977"/>
                    <a:pt x="83" y="3072"/>
                    <a:pt x="179" y="3072"/>
                  </a:cubicBezTo>
                  <a:lnTo>
                    <a:pt x="881" y="3072"/>
                  </a:lnTo>
                  <a:cubicBezTo>
                    <a:pt x="976" y="3072"/>
                    <a:pt x="1060" y="3001"/>
                    <a:pt x="1060" y="2893"/>
                  </a:cubicBezTo>
                  <a:lnTo>
                    <a:pt x="1060" y="179"/>
                  </a:lnTo>
                  <a:cubicBezTo>
                    <a:pt x="1048" y="84"/>
                    <a:pt x="976" y="0"/>
                    <a:pt x="88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1" name="Google Shape;13581;p64"/>
            <p:cNvSpPr/>
            <p:nvPr/>
          </p:nvSpPr>
          <p:spPr>
            <a:xfrm>
              <a:off x="5864024" y="2111961"/>
              <a:ext cx="33740" cy="83426"/>
            </a:xfrm>
            <a:custGeom>
              <a:avLst/>
              <a:gdLst/>
              <a:ahLst/>
              <a:cxnLst/>
              <a:rect l="l" t="t" r="r" b="b"/>
              <a:pathLst>
                <a:path w="1060" h="2621" extrusionOk="0">
                  <a:moveTo>
                    <a:pt x="703" y="358"/>
                  </a:moveTo>
                  <a:lnTo>
                    <a:pt x="703" y="2275"/>
                  </a:lnTo>
                  <a:lnTo>
                    <a:pt x="346" y="2275"/>
                  </a:lnTo>
                  <a:lnTo>
                    <a:pt x="346" y="358"/>
                  </a:lnTo>
                  <a:close/>
                  <a:moveTo>
                    <a:pt x="191" y="1"/>
                  </a:moveTo>
                  <a:cubicBezTo>
                    <a:pt x="96" y="1"/>
                    <a:pt x="0" y="72"/>
                    <a:pt x="0" y="179"/>
                  </a:cubicBezTo>
                  <a:lnTo>
                    <a:pt x="0" y="2442"/>
                  </a:lnTo>
                  <a:cubicBezTo>
                    <a:pt x="0" y="2525"/>
                    <a:pt x="84" y="2620"/>
                    <a:pt x="191" y="2620"/>
                  </a:cubicBezTo>
                  <a:lnTo>
                    <a:pt x="881" y="2620"/>
                  </a:lnTo>
                  <a:cubicBezTo>
                    <a:pt x="977" y="2620"/>
                    <a:pt x="1060" y="2537"/>
                    <a:pt x="1060" y="2442"/>
                  </a:cubicBezTo>
                  <a:lnTo>
                    <a:pt x="1060" y="179"/>
                  </a:lnTo>
                  <a:cubicBezTo>
                    <a:pt x="1048" y="84"/>
                    <a:pt x="977" y="1"/>
                    <a:pt x="88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2" name="Google Shape;13582;p64"/>
            <p:cNvSpPr/>
            <p:nvPr/>
          </p:nvSpPr>
          <p:spPr>
            <a:xfrm>
              <a:off x="5904193" y="2065744"/>
              <a:ext cx="33390" cy="129644"/>
            </a:xfrm>
            <a:custGeom>
              <a:avLst/>
              <a:gdLst/>
              <a:ahLst/>
              <a:cxnLst/>
              <a:rect l="l" t="t" r="r" b="b"/>
              <a:pathLst>
                <a:path w="1049" h="4073" extrusionOk="0">
                  <a:moveTo>
                    <a:pt x="691" y="357"/>
                  </a:moveTo>
                  <a:lnTo>
                    <a:pt x="691" y="3727"/>
                  </a:lnTo>
                  <a:lnTo>
                    <a:pt x="334" y="3727"/>
                  </a:lnTo>
                  <a:lnTo>
                    <a:pt x="334" y="357"/>
                  </a:lnTo>
                  <a:close/>
                  <a:moveTo>
                    <a:pt x="179" y="0"/>
                  </a:moveTo>
                  <a:cubicBezTo>
                    <a:pt x="72" y="24"/>
                    <a:pt x="0" y="95"/>
                    <a:pt x="0" y="179"/>
                  </a:cubicBezTo>
                  <a:lnTo>
                    <a:pt x="0" y="3894"/>
                  </a:lnTo>
                  <a:cubicBezTo>
                    <a:pt x="0" y="3977"/>
                    <a:pt x="72" y="4072"/>
                    <a:pt x="179" y="4072"/>
                  </a:cubicBezTo>
                  <a:lnTo>
                    <a:pt x="870" y="4072"/>
                  </a:lnTo>
                  <a:cubicBezTo>
                    <a:pt x="965" y="4072"/>
                    <a:pt x="1048" y="3989"/>
                    <a:pt x="1048" y="3894"/>
                  </a:cubicBezTo>
                  <a:lnTo>
                    <a:pt x="1048" y="179"/>
                  </a:lnTo>
                  <a:cubicBezTo>
                    <a:pt x="1048" y="95"/>
                    <a:pt x="977" y="0"/>
                    <a:pt x="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3" name="Google Shape;13583;p64"/>
            <p:cNvSpPr/>
            <p:nvPr/>
          </p:nvSpPr>
          <p:spPr>
            <a:xfrm>
              <a:off x="5713563" y="2080131"/>
              <a:ext cx="40965" cy="11395"/>
            </a:xfrm>
            <a:custGeom>
              <a:avLst/>
              <a:gdLst/>
              <a:ahLst/>
              <a:cxnLst/>
              <a:rect l="l" t="t" r="r" b="b"/>
              <a:pathLst>
                <a:path w="1287" h="358" extrusionOk="0">
                  <a:moveTo>
                    <a:pt x="179" y="1"/>
                  </a:moveTo>
                  <a:cubicBezTo>
                    <a:pt x="96" y="1"/>
                    <a:pt x="1" y="72"/>
                    <a:pt x="1" y="179"/>
                  </a:cubicBezTo>
                  <a:cubicBezTo>
                    <a:pt x="12" y="263"/>
                    <a:pt x="96" y="358"/>
                    <a:pt x="179" y="358"/>
                  </a:cubicBezTo>
                  <a:lnTo>
                    <a:pt x="1108" y="358"/>
                  </a:lnTo>
                  <a:cubicBezTo>
                    <a:pt x="1191" y="358"/>
                    <a:pt x="1286" y="286"/>
                    <a:pt x="1286" y="179"/>
                  </a:cubicBezTo>
                  <a:cubicBezTo>
                    <a:pt x="1286" y="72"/>
                    <a:pt x="1203" y="1"/>
                    <a:pt x="11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4" name="Google Shape;13584;p64"/>
            <p:cNvSpPr/>
            <p:nvPr/>
          </p:nvSpPr>
          <p:spPr>
            <a:xfrm>
              <a:off x="5713945" y="2097574"/>
              <a:ext cx="56880" cy="11395"/>
            </a:xfrm>
            <a:custGeom>
              <a:avLst/>
              <a:gdLst/>
              <a:ahLst/>
              <a:cxnLst/>
              <a:rect l="l" t="t" r="r" b="b"/>
              <a:pathLst>
                <a:path w="1787" h="358" extrusionOk="0">
                  <a:moveTo>
                    <a:pt x="179" y="0"/>
                  </a:moveTo>
                  <a:cubicBezTo>
                    <a:pt x="96" y="0"/>
                    <a:pt x="0" y="72"/>
                    <a:pt x="0" y="179"/>
                  </a:cubicBezTo>
                  <a:cubicBezTo>
                    <a:pt x="0" y="274"/>
                    <a:pt x="84" y="357"/>
                    <a:pt x="179" y="357"/>
                  </a:cubicBezTo>
                  <a:lnTo>
                    <a:pt x="1608" y="357"/>
                  </a:lnTo>
                  <a:cubicBezTo>
                    <a:pt x="1703" y="357"/>
                    <a:pt x="1786" y="286"/>
                    <a:pt x="1786" y="179"/>
                  </a:cubicBezTo>
                  <a:cubicBezTo>
                    <a:pt x="1774" y="72"/>
                    <a:pt x="1703" y="0"/>
                    <a:pt x="160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5" name="Google Shape;13585;p64"/>
            <p:cNvSpPr/>
            <p:nvPr/>
          </p:nvSpPr>
          <p:spPr>
            <a:xfrm>
              <a:off x="5713945" y="2114985"/>
              <a:ext cx="56880" cy="11427"/>
            </a:xfrm>
            <a:custGeom>
              <a:avLst/>
              <a:gdLst/>
              <a:ahLst/>
              <a:cxnLst/>
              <a:rect l="l" t="t" r="r" b="b"/>
              <a:pathLst>
                <a:path w="1787" h="359" extrusionOk="0">
                  <a:moveTo>
                    <a:pt x="179" y="1"/>
                  </a:moveTo>
                  <a:cubicBezTo>
                    <a:pt x="96" y="1"/>
                    <a:pt x="0" y="84"/>
                    <a:pt x="0" y="180"/>
                  </a:cubicBezTo>
                  <a:cubicBezTo>
                    <a:pt x="0" y="275"/>
                    <a:pt x="84" y="358"/>
                    <a:pt x="179" y="358"/>
                  </a:cubicBezTo>
                  <a:lnTo>
                    <a:pt x="1608" y="358"/>
                  </a:lnTo>
                  <a:cubicBezTo>
                    <a:pt x="1703" y="358"/>
                    <a:pt x="1786" y="287"/>
                    <a:pt x="1786" y="180"/>
                  </a:cubicBezTo>
                  <a:cubicBezTo>
                    <a:pt x="1774" y="84"/>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6" name="Google Shape;13586;p64"/>
            <p:cNvSpPr/>
            <p:nvPr/>
          </p:nvSpPr>
          <p:spPr>
            <a:xfrm>
              <a:off x="5713945" y="2132810"/>
              <a:ext cx="56880" cy="11013"/>
            </a:xfrm>
            <a:custGeom>
              <a:avLst/>
              <a:gdLst/>
              <a:ahLst/>
              <a:cxnLst/>
              <a:rect l="l" t="t" r="r" b="b"/>
              <a:pathLst>
                <a:path w="1787" h="346" extrusionOk="0">
                  <a:moveTo>
                    <a:pt x="179" y="1"/>
                  </a:moveTo>
                  <a:cubicBezTo>
                    <a:pt x="96" y="1"/>
                    <a:pt x="0" y="72"/>
                    <a:pt x="0" y="179"/>
                  </a:cubicBezTo>
                  <a:cubicBezTo>
                    <a:pt x="0" y="263"/>
                    <a:pt x="84" y="346"/>
                    <a:pt x="179" y="346"/>
                  </a:cubicBezTo>
                  <a:lnTo>
                    <a:pt x="1608" y="346"/>
                  </a:lnTo>
                  <a:cubicBezTo>
                    <a:pt x="1703" y="346"/>
                    <a:pt x="1786" y="274"/>
                    <a:pt x="1786" y="179"/>
                  </a:cubicBezTo>
                  <a:cubicBezTo>
                    <a:pt x="1774" y="72"/>
                    <a:pt x="1703" y="1"/>
                    <a:pt x="160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7" name="Google Shape;13587;p64"/>
            <p:cNvSpPr/>
            <p:nvPr/>
          </p:nvSpPr>
          <p:spPr>
            <a:xfrm>
              <a:off x="5663526" y="2182464"/>
              <a:ext cx="69389" cy="68625"/>
            </a:xfrm>
            <a:custGeom>
              <a:avLst/>
              <a:gdLst/>
              <a:ahLst/>
              <a:cxnLst/>
              <a:rect l="l" t="t" r="r" b="b"/>
              <a:pathLst>
                <a:path w="2180" h="2156" extrusionOk="0">
                  <a:moveTo>
                    <a:pt x="1084" y="0"/>
                  </a:moveTo>
                  <a:cubicBezTo>
                    <a:pt x="489" y="0"/>
                    <a:pt x="1" y="488"/>
                    <a:pt x="1" y="1084"/>
                  </a:cubicBezTo>
                  <a:cubicBezTo>
                    <a:pt x="1" y="1322"/>
                    <a:pt x="72" y="1548"/>
                    <a:pt x="215" y="1739"/>
                  </a:cubicBezTo>
                  <a:cubicBezTo>
                    <a:pt x="250" y="1780"/>
                    <a:pt x="300" y="1806"/>
                    <a:pt x="351" y="1806"/>
                  </a:cubicBezTo>
                  <a:cubicBezTo>
                    <a:pt x="387" y="1806"/>
                    <a:pt x="423" y="1792"/>
                    <a:pt x="453" y="1762"/>
                  </a:cubicBezTo>
                  <a:cubicBezTo>
                    <a:pt x="537" y="1715"/>
                    <a:pt x="549" y="1608"/>
                    <a:pt x="489" y="1524"/>
                  </a:cubicBezTo>
                  <a:cubicBezTo>
                    <a:pt x="382" y="1393"/>
                    <a:pt x="334" y="1250"/>
                    <a:pt x="334" y="1084"/>
                  </a:cubicBezTo>
                  <a:cubicBezTo>
                    <a:pt x="334" y="679"/>
                    <a:pt x="668" y="334"/>
                    <a:pt x="1084" y="334"/>
                  </a:cubicBezTo>
                  <a:cubicBezTo>
                    <a:pt x="1489" y="334"/>
                    <a:pt x="1823" y="667"/>
                    <a:pt x="1823" y="1084"/>
                  </a:cubicBezTo>
                  <a:cubicBezTo>
                    <a:pt x="1823" y="1334"/>
                    <a:pt x="1703" y="1560"/>
                    <a:pt x="1501" y="1691"/>
                  </a:cubicBezTo>
                  <a:cubicBezTo>
                    <a:pt x="1489" y="1691"/>
                    <a:pt x="1489" y="1715"/>
                    <a:pt x="1465" y="1715"/>
                  </a:cubicBezTo>
                  <a:lnTo>
                    <a:pt x="1453" y="1715"/>
                  </a:lnTo>
                  <a:lnTo>
                    <a:pt x="1442" y="1727"/>
                  </a:lnTo>
                  <a:lnTo>
                    <a:pt x="1430" y="1727"/>
                  </a:lnTo>
                  <a:cubicBezTo>
                    <a:pt x="1406" y="1727"/>
                    <a:pt x="1406" y="1739"/>
                    <a:pt x="1394" y="1739"/>
                  </a:cubicBezTo>
                  <a:cubicBezTo>
                    <a:pt x="1382" y="1739"/>
                    <a:pt x="1382" y="1751"/>
                    <a:pt x="1370" y="1751"/>
                  </a:cubicBezTo>
                  <a:lnTo>
                    <a:pt x="1346" y="1751"/>
                  </a:lnTo>
                  <a:cubicBezTo>
                    <a:pt x="1346" y="1751"/>
                    <a:pt x="1334" y="1751"/>
                    <a:pt x="1334" y="1774"/>
                  </a:cubicBezTo>
                  <a:lnTo>
                    <a:pt x="1322" y="1774"/>
                  </a:lnTo>
                  <a:cubicBezTo>
                    <a:pt x="1311" y="1774"/>
                    <a:pt x="1311" y="1774"/>
                    <a:pt x="1287" y="1786"/>
                  </a:cubicBezTo>
                  <a:cubicBezTo>
                    <a:pt x="1275" y="1786"/>
                    <a:pt x="1275" y="1786"/>
                    <a:pt x="1263" y="1798"/>
                  </a:cubicBezTo>
                  <a:lnTo>
                    <a:pt x="834" y="1798"/>
                  </a:lnTo>
                  <a:cubicBezTo>
                    <a:pt x="811" y="1798"/>
                    <a:pt x="811" y="1798"/>
                    <a:pt x="799" y="1786"/>
                  </a:cubicBezTo>
                  <a:cubicBezTo>
                    <a:pt x="787" y="1786"/>
                    <a:pt x="787" y="1786"/>
                    <a:pt x="775" y="1774"/>
                  </a:cubicBezTo>
                  <a:lnTo>
                    <a:pt x="751" y="1774"/>
                  </a:lnTo>
                  <a:cubicBezTo>
                    <a:pt x="732" y="1766"/>
                    <a:pt x="712" y="1762"/>
                    <a:pt x="691" y="1762"/>
                  </a:cubicBezTo>
                  <a:cubicBezTo>
                    <a:pt x="623" y="1762"/>
                    <a:pt x="555" y="1805"/>
                    <a:pt x="537" y="1870"/>
                  </a:cubicBezTo>
                  <a:cubicBezTo>
                    <a:pt x="501" y="1965"/>
                    <a:pt x="549" y="2072"/>
                    <a:pt x="632" y="2096"/>
                  </a:cubicBezTo>
                  <a:lnTo>
                    <a:pt x="656" y="2096"/>
                  </a:lnTo>
                  <a:cubicBezTo>
                    <a:pt x="668" y="2096"/>
                    <a:pt x="680" y="2108"/>
                    <a:pt x="691" y="2108"/>
                  </a:cubicBezTo>
                  <a:cubicBezTo>
                    <a:pt x="715" y="2108"/>
                    <a:pt x="727" y="2132"/>
                    <a:pt x="739" y="2132"/>
                  </a:cubicBezTo>
                  <a:lnTo>
                    <a:pt x="751" y="2132"/>
                  </a:lnTo>
                  <a:cubicBezTo>
                    <a:pt x="775" y="2132"/>
                    <a:pt x="787" y="2132"/>
                    <a:pt x="787" y="2143"/>
                  </a:cubicBezTo>
                  <a:lnTo>
                    <a:pt x="799" y="2143"/>
                  </a:lnTo>
                  <a:cubicBezTo>
                    <a:pt x="811" y="2143"/>
                    <a:pt x="834" y="2143"/>
                    <a:pt x="846" y="2155"/>
                  </a:cubicBezTo>
                  <a:lnTo>
                    <a:pt x="1156" y="2155"/>
                  </a:lnTo>
                  <a:cubicBezTo>
                    <a:pt x="1168" y="2155"/>
                    <a:pt x="1180" y="2155"/>
                    <a:pt x="1203" y="2143"/>
                  </a:cubicBezTo>
                  <a:lnTo>
                    <a:pt x="1215" y="2143"/>
                  </a:lnTo>
                  <a:cubicBezTo>
                    <a:pt x="1227" y="2143"/>
                    <a:pt x="1239" y="2143"/>
                    <a:pt x="1239" y="2132"/>
                  </a:cubicBezTo>
                  <a:lnTo>
                    <a:pt x="1263" y="2132"/>
                  </a:lnTo>
                  <a:cubicBezTo>
                    <a:pt x="1275" y="2132"/>
                    <a:pt x="1287" y="2108"/>
                    <a:pt x="1299" y="2108"/>
                  </a:cubicBezTo>
                  <a:cubicBezTo>
                    <a:pt x="1322" y="2108"/>
                    <a:pt x="1334" y="2096"/>
                    <a:pt x="1346" y="2096"/>
                  </a:cubicBezTo>
                  <a:lnTo>
                    <a:pt x="1358" y="2096"/>
                  </a:lnTo>
                  <a:cubicBezTo>
                    <a:pt x="1382" y="2096"/>
                    <a:pt x="1382" y="2084"/>
                    <a:pt x="1394" y="2084"/>
                  </a:cubicBezTo>
                  <a:lnTo>
                    <a:pt x="1406" y="2084"/>
                  </a:lnTo>
                  <a:cubicBezTo>
                    <a:pt x="1418" y="2084"/>
                    <a:pt x="1442" y="2072"/>
                    <a:pt x="1453" y="2072"/>
                  </a:cubicBezTo>
                  <a:cubicBezTo>
                    <a:pt x="1465" y="2072"/>
                    <a:pt x="1477" y="2048"/>
                    <a:pt x="1501" y="2048"/>
                  </a:cubicBezTo>
                  <a:lnTo>
                    <a:pt x="1513" y="2048"/>
                  </a:lnTo>
                  <a:cubicBezTo>
                    <a:pt x="1525" y="2048"/>
                    <a:pt x="1525" y="2036"/>
                    <a:pt x="1537" y="2036"/>
                  </a:cubicBezTo>
                  <a:lnTo>
                    <a:pt x="1561" y="2036"/>
                  </a:lnTo>
                  <a:cubicBezTo>
                    <a:pt x="1573" y="2024"/>
                    <a:pt x="1584" y="2024"/>
                    <a:pt x="1596" y="2012"/>
                  </a:cubicBezTo>
                  <a:cubicBezTo>
                    <a:pt x="1894" y="1798"/>
                    <a:pt x="2073" y="1465"/>
                    <a:pt x="2073" y="1096"/>
                  </a:cubicBezTo>
                  <a:cubicBezTo>
                    <a:pt x="2180" y="488"/>
                    <a:pt x="1692" y="0"/>
                    <a:pt x="10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88" name="Google Shape;13588;p64"/>
          <p:cNvGrpSpPr/>
          <p:nvPr/>
        </p:nvGrpSpPr>
        <p:grpSpPr>
          <a:xfrm>
            <a:off x="7576605" y="1983877"/>
            <a:ext cx="276698" cy="333133"/>
            <a:chOff x="7576605" y="1983877"/>
            <a:chExt cx="276698" cy="333133"/>
          </a:xfrm>
        </p:grpSpPr>
        <p:sp>
          <p:nvSpPr>
            <p:cNvPr id="13589" name="Google Shape;13589;p64"/>
            <p:cNvSpPr/>
            <p:nvPr/>
          </p:nvSpPr>
          <p:spPr>
            <a:xfrm>
              <a:off x="7576605" y="1983877"/>
              <a:ext cx="276698" cy="333133"/>
            </a:xfrm>
            <a:custGeom>
              <a:avLst/>
              <a:gdLst/>
              <a:ahLst/>
              <a:cxnLst/>
              <a:rect l="l" t="t" r="r" b="b"/>
              <a:pathLst>
                <a:path w="8693" h="10466" extrusionOk="0">
                  <a:moveTo>
                    <a:pt x="417" y="1024"/>
                  </a:moveTo>
                  <a:cubicBezTo>
                    <a:pt x="655" y="1024"/>
                    <a:pt x="894" y="1143"/>
                    <a:pt x="1036" y="1358"/>
                  </a:cubicBezTo>
                  <a:lnTo>
                    <a:pt x="1156" y="1536"/>
                  </a:lnTo>
                  <a:cubicBezTo>
                    <a:pt x="1275" y="1715"/>
                    <a:pt x="1477" y="1822"/>
                    <a:pt x="1703" y="1822"/>
                  </a:cubicBezTo>
                  <a:lnTo>
                    <a:pt x="1703" y="2477"/>
                  </a:lnTo>
                  <a:cubicBezTo>
                    <a:pt x="1703" y="2941"/>
                    <a:pt x="1775" y="3406"/>
                    <a:pt x="1906" y="3834"/>
                  </a:cubicBezTo>
                  <a:cubicBezTo>
                    <a:pt x="1810" y="3763"/>
                    <a:pt x="1656" y="3703"/>
                    <a:pt x="1513" y="3644"/>
                  </a:cubicBezTo>
                  <a:cubicBezTo>
                    <a:pt x="1215" y="3525"/>
                    <a:pt x="894" y="3394"/>
                    <a:pt x="655" y="3144"/>
                  </a:cubicBezTo>
                  <a:cubicBezTo>
                    <a:pt x="394" y="2846"/>
                    <a:pt x="274" y="2417"/>
                    <a:pt x="274" y="1822"/>
                  </a:cubicBezTo>
                  <a:lnTo>
                    <a:pt x="274" y="1179"/>
                  </a:lnTo>
                  <a:cubicBezTo>
                    <a:pt x="274" y="1132"/>
                    <a:pt x="286" y="1108"/>
                    <a:pt x="322" y="1072"/>
                  </a:cubicBezTo>
                  <a:cubicBezTo>
                    <a:pt x="346" y="1048"/>
                    <a:pt x="394" y="1024"/>
                    <a:pt x="417" y="1024"/>
                  </a:cubicBezTo>
                  <a:close/>
                  <a:moveTo>
                    <a:pt x="8204" y="1024"/>
                  </a:moveTo>
                  <a:cubicBezTo>
                    <a:pt x="8252" y="1024"/>
                    <a:pt x="8275" y="1048"/>
                    <a:pt x="8311" y="1072"/>
                  </a:cubicBezTo>
                  <a:cubicBezTo>
                    <a:pt x="8335" y="1108"/>
                    <a:pt x="8359" y="1143"/>
                    <a:pt x="8359" y="1179"/>
                  </a:cubicBezTo>
                  <a:lnTo>
                    <a:pt x="8359" y="1822"/>
                  </a:lnTo>
                  <a:lnTo>
                    <a:pt x="8383" y="1822"/>
                  </a:lnTo>
                  <a:cubicBezTo>
                    <a:pt x="8383" y="2417"/>
                    <a:pt x="8252" y="2858"/>
                    <a:pt x="8002" y="3144"/>
                  </a:cubicBezTo>
                  <a:cubicBezTo>
                    <a:pt x="7775" y="3394"/>
                    <a:pt x="7466" y="3525"/>
                    <a:pt x="7144" y="3644"/>
                  </a:cubicBezTo>
                  <a:cubicBezTo>
                    <a:pt x="7002" y="3703"/>
                    <a:pt x="6871" y="3763"/>
                    <a:pt x="6716" y="3834"/>
                  </a:cubicBezTo>
                  <a:cubicBezTo>
                    <a:pt x="6847" y="3394"/>
                    <a:pt x="6930" y="2929"/>
                    <a:pt x="6930" y="2477"/>
                  </a:cubicBezTo>
                  <a:lnTo>
                    <a:pt x="6930" y="1822"/>
                  </a:lnTo>
                  <a:cubicBezTo>
                    <a:pt x="7144" y="1822"/>
                    <a:pt x="7359" y="1715"/>
                    <a:pt x="7478" y="1536"/>
                  </a:cubicBezTo>
                  <a:lnTo>
                    <a:pt x="7597" y="1358"/>
                  </a:lnTo>
                  <a:cubicBezTo>
                    <a:pt x="7728" y="1167"/>
                    <a:pt x="7966" y="1024"/>
                    <a:pt x="8204" y="1024"/>
                  </a:cubicBezTo>
                  <a:close/>
                  <a:moveTo>
                    <a:pt x="6954" y="334"/>
                  </a:moveTo>
                  <a:lnTo>
                    <a:pt x="6954" y="703"/>
                  </a:lnTo>
                  <a:lnTo>
                    <a:pt x="5632" y="703"/>
                  </a:lnTo>
                  <a:cubicBezTo>
                    <a:pt x="5537" y="703"/>
                    <a:pt x="5478" y="774"/>
                    <a:pt x="5478" y="846"/>
                  </a:cubicBezTo>
                  <a:cubicBezTo>
                    <a:pt x="5478" y="929"/>
                    <a:pt x="5561" y="1001"/>
                    <a:pt x="5632" y="1001"/>
                  </a:cubicBezTo>
                  <a:lnTo>
                    <a:pt x="6632" y="1001"/>
                  </a:lnTo>
                  <a:lnTo>
                    <a:pt x="6632" y="2477"/>
                  </a:lnTo>
                  <a:cubicBezTo>
                    <a:pt x="6632" y="3810"/>
                    <a:pt x="5989" y="5072"/>
                    <a:pt x="4906" y="5882"/>
                  </a:cubicBezTo>
                  <a:lnTo>
                    <a:pt x="4799" y="5954"/>
                  </a:lnTo>
                  <a:cubicBezTo>
                    <a:pt x="4763" y="5954"/>
                    <a:pt x="4739" y="5942"/>
                    <a:pt x="4704" y="5942"/>
                  </a:cubicBezTo>
                  <a:lnTo>
                    <a:pt x="3954" y="5942"/>
                  </a:lnTo>
                  <a:cubicBezTo>
                    <a:pt x="3918" y="5942"/>
                    <a:pt x="3894" y="5942"/>
                    <a:pt x="3858" y="5954"/>
                  </a:cubicBezTo>
                  <a:lnTo>
                    <a:pt x="3751" y="5882"/>
                  </a:lnTo>
                  <a:cubicBezTo>
                    <a:pt x="2668" y="5096"/>
                    <a:pt x="2025" y="3810"/>
                    <a:pt x="2025" y="2477"/>
                  </a:cubicBezTo>
                  <a:lnTo>
                    <a:pt x="2025" y="1001"/>
                  </a:lnTo>
                  <a:lnTo>
                    <a:pt x="4918" y="1001"/>
                  </a:lnTo>
                  <a:cubicBezTo>
                    <a:pt x="5001" y="1001"/>
                    <a:pt x="5061" y="929"/>
                    <a:pt x="5061" y="846"/>
                  </a:cubicBezTo>
                  <a:cubicBezTo>
                    <a:pt x="5061" y="774"/>
                    <a:pt x="4989" y="703"/>
                    <a:pt x="4918" y="703"/>
                  </a:cubicBezTo>
                  <a:lnTo>
                    <a:pt x="1715" y="703"/>
                  </a:lnTo>
                  <a:lnTo>
                    <a:pt x="1715" y="334"/>
                  </a:lnTo>
                  <a:close/>
                  <a:moveTo>
                    <a:pt x="4704" y="6263"/>
                  </a:moveTo>
                  <a:cubicBezTo>
                    <a:pt x="4763" y="6263"/>
                    <a:pt x="4811" y="6311"/>
                    <a:pt x="4811" y="6370"/>
                  </a:cubicBezTo>
                  <a:lnTo>
                    <a:pt x="4811" y="6477"/>
                  </a:lnTo>
                  <a:cubicBezTo>
                    <a:pt x="4811" y="6537"/>
                    <a:pt x="4763" y="6585"/>
                    <a:pt x="4704" y="6585"/>
                  </a:cubicBezTo>
                  <a:lnTo>
                    <a:pt x="3954" y="6585"/>
                  </a:lnTo>
                  <a:cubicBezTo>
                    <a:pt x="3882" y="6585"/>
                    <a:pt x="3846" y="6537"/>
                    <a:pt x="3846" y="6477"/>
                  </a:cubicBezTo>
                  <a:lnTo>
                    <a:pt x="3846" y="6370"/>
                  </a:lnTo>
                  <a:cubicBezTo>
                    <a:pt x="3846" y="6311"/>
                    <a:pt x="3882" y="6263"/>
                    <a:pt x="3954" y="6263"/>
                  </a:cubicBezTo>
                  <a:close/>
                  <a:moveTo>
                    <a:pt x="4513" y="6882"/>
                  </a:moveTo>
                  <a:lnTo>
                    <a:pt x="4513" y="8382"/>
                  </a:lnTo>
                  <a:lnTo>
                    <a:pt x="4156" y="8382"/>
                  </a:lnTo>
                  <a:lnTo>
                    <a:pt x="4156" y="6882"/>
                  </a:lnTo>
                  <a:close/>
                  <a:moveTo>
                    <a:pt x="5287" y="8692"/>
                  </a:moveTo>
                  <a:cubicBezTo>
                    <a:pt x="5394" y="8692"/>
                    <a:pt x="5478" y="8787"/>
                    <a:pt x="5478" y="8882"/>
                  </a:cubicBezTo>
                  <a:lnTo>
                    <a:pt x="5478" y="9061"/>
                  </a:lnTo>
                  <a:lnTo>
                    <a:pt x="4108" y="9061"/>
                  </a:lnTo>
                  <a:cubicBezTo>
                    <a:pt x="4025" y="9061"/>
                    <a:pt x="3965" y="9144"/>
                    <a:pt x="3965" y="9216"/>
                  </a:cubicBezTo>
                  <a:cubicBezTo>
                    <a:pt x="3965" y="9287"/>
                    <a:pt x="4037" y="9359"/>
                    <a:pt x="4108" y="9359"/>
                  </a:cubicBezTo>
                  <a:lnTo>
                    <a:pt x="6204" y="9359"/>
                  </a:lnTo>
                  <a:cubicBezTo>
                    <a:pt x="6228" y="9359"/>
                    <a:pt x="6240" y="9383"/>
                    <a:pt x="6251" y="9394"/>
                  </a:cubicBezTo>
                  <a:lnTo>
                    <a:pt x="6406" y="10133"/>
                  </a:lnTo>
                  <a:cubicBezTo>
                    <a:pt x="6406" y="10156"/>
                    <a:pt x="6406" y="10168"/>
                    <a:pt x="6382" y="10168"/>
                  </a:cubicBezTo>
                  <a:cubicBezTo>
                    <a:pt x="6382" y="10168"/>
                    <a:pt x="6370" y="10180"/>
                    <a:pt x="6359" y="10180"/>
                  </a:cubicBezTo>
                  <a:lnTo>
                    <a:pt x="2299" y="10180"/>
                  </a:lnTo>
                  <a:cubicBezTo>
                    <a:pt x="2287" y="10180"/>
                    <a:pt x="2263" y="10168"/>
                    <a:pt x="2263" y="10168"/>
                  </a:cubicBezTo>
                  <a:cubicBezTo>
                    <a:pt x="2263" y="10168"/>
                    <a:pt x="2251" y="10145"/>
                    <a:pt x="2251" y="10133"/>
                  </a:cubicBezTo>
                  <a:lnTo>
                    <a:pt x="2394" y="9394"/>
                  </a:lnTo>
                  <a:cubicBezTo>
                    <a:pt x="2394" y="9371"/>
                    <a:pt x="2418" y="9359"/>
                    <a:pt x="2441" y="9359"/>
                  </a:cubicBezTo>
                  <a:lnTo>
                    <a:pt x="3394" y="9359"/>
                  </a:lnTo>
                  <a:cubicBezTo>
                    <a:pt x="3489" y="9359"/>
                    <a:pt x="3549" y="9287"/>
                    <a:pt x="3549" y="9216"/>
                  </a:cubicBezTo>
                  <a:cubicBezTo>
                    <a:pt x="3549" y="9144"/>
                    <a:pt x="3477" y="9061"/>
                    <a:pt x="3394" y="9061"/>
                  </a:cubicBezTo>
                  <a:lnTo>
                    <a:pt x="3192" y="9061"/>
                  </a:lnTo>
                  <a:lnTo>
                    <a:pt x="3192" y="8882"/>
                  </a:lnTo>
                  <a:cubicBezTo>
                    <a:pt x="3192" y="8787"/>
                    <a:pt x="3275" y="8692"/>
                    <a:pt x="3382" y="8692"/>
                  </a:cubicBezTo>
                  <a:close/>
                  <a:moveTo>
                    <a:pt x="1715" y="0"/>
                  </a:moveTo>
                  <a:cubicBezTo>
                    <a:pt x="1548" y="0"/>
                    <a:pt x="1417" y="131"/>
                    <a:pt x="1417" y="298"/>
                  </a:cubicBezTo>
                  <a:lnTo>
                    <a:pt x="1417" y="703"/>
                  </a:lnTo>
                  <a:cubicBezTo>
                    <a:pt x="1417" y="870"/>
                    <a:pt x="1548" y="1001"/>
                    <a:pt x="1715" y="1001"/>
                  </a:cubicBezTo>
                  <a:lnTo>
                    <a:pt x="1751" y="1001"/>
                  </a:lnTo>
                  <a:lnTo>
                    <a:pt x="1751" y="1501"/>
                  </a:lnTo>
                  <a:cubicBezTo>
                    <a:pt x="1632" y="1501"/>
                    <a:pt x="1525" y="1441"/>
                    <a:pt x="1453" y="1334"/>
                  </a:cubicBezTo>
                  <a:lnTo>
                    <a:pt x="1334" y="1155"/>
                  </a:lnTo>
                  <a:cubicBezTo>
                    <a:pt x="1132" y="881"/>
                    <a:pt x="810" y="715"/>
                    <a:pt x="465" y="703"/>
                  </a:cubicBezTo>
                  <a:cubicBezTo>
                    <a:pt x="346" y="703"/>
                    <a:pt x="227" y="739"/>
                    <a:pt x="144" y="834"/>
                  </a:cubicBezTo>
                  <a:cubicBezTo>
                    <a:pt x="48" y="917"/>
                    <a:pt x="1" y="1036"/>
                    <a:pt x="1" y="1155"/>
                  </a:cubicBezTo>
                  <a:lnTo>
                    <a:pt x="1" y="1798"/>
                  </a:lnTo>
                  <a:cubicBezTo>
                    <a:pt x="1" y="3334"/>
                    <a:pt x="798" y="3656"/>
                    <a:pt x="1429" y="3918"/>
                  </a:cubicBezTo>
                  <a:cubicBezTo>
                    <a:pt x="1787" y="4060"/>
                    <a:pt x="2096" y="4180"/>
                    <a:pt x="2251" y="4489"/>
                  </a:cubicBezTo>
                  <a:cubicBezTo>
                    <a:pt x="2299" y="4584"/>
                    <a:pt x="2287" y="4656"/>
                    <a:pt x="2215" y="4715"/>
                  </a:cubicBezTo>
                  <a:cubicBezTo>
                    <a:pt x="2164" y="4767"/>
                    <a:pt x="2075" y="4806"/>
                    <a:pt x="1994" y="4806"/>
                  </a:cubicBezTo>
                  <a:cubicBezTo>
                    <a:pt x="1963" y="4806"/>
                    <a:pt x="1932" y="4800"/>
                    <a:pt x="1906" y="4787"/>
                  </a:cubicBezTo>
                  <a:cubicBezTo>
                    <a:pt x="1798" y="4751"/>
                    <a:pt x="1775" y="4608"/>
                    <a:pt x="1787" y="4489"/>
                  </a:cubicBezTo>
                  <a:cubicBezTo>
                    <a:pt x="1787" y="4406"/>
                    <a:pt x="1727" y="4334"/>
                    <a:pt x="1644" y="4334"/>
                  </a:cubicBezTo>
                  <a:cubicBezTo>
                    <a:pt x="1548" y="4334"/>
                    <a:pt x="1477" y="4394"/>
                    <a:pt x="1477" y="4477"/>
                  </a:cubicBezTo>
                  <a:cubicBezTo>
                    <a:pt x="1477" y="4608"/>
                    <a:pt x="1489" y="4942"/>
                    <a:pt x="1787" y="5072"/>
                  </a:cubicBezTo>
                  <a:cubicBezTo>
                    <a:pt x="1846" y="5108"/>
                    <a:pt x="1929" y="5120"/>
                    <a:pt x="2001" y="5120"/>
                  </a:cubicBezTo>
                  <a:cubicBezTo>
                    <a:pt x="2168" y="5120"/>
                    <a:pt x="2322" y="5061"/>
                    <a:pt x="2441" y="4930"/>
                  </a:cubicBezTo>
                  <a:cubicBezTo>
                    <a:pt x="2465" y="4906"/>
                    <a:pt x="2477" y="4894"/>
                    <a:pt x="2477" y="4882"/>
                  </a:cubicBezTo>
                  <a:cubicBezTo>
                    <a:pt x="2775" y="5346"/>
                    <a:pt x="3156" y="5763"/>
                    <a:pt x="3608" y="6096"/>
                  </a:cubicBezTo>
                  <a:lnTo>
                    <a:pt x="3632" y="6120"/>
                  </a:lnTo>
                  <a:cubicBezTo>
                    <a:pt x="3596" y="6180"/>
                    <a:pt x="3573" y="6251"/>
                    <a:pt x="3573" y="6323"/>
                  </a:cubicBezTo>
                  <a:lnTo>
                    <a:pt x="3573" y="6430"/>
                  </a:lnTo>
                  <a:cubicBezTo>
                    <a:pt x="3573" y="6620"/>
                    <a:pt x="3715" y="6775"/>
                    <a:pt x="3870" y="6835"/>
                  </a:cubicBezTo>
                  <a:lnTo>
                    <a:pt x="3870" y="8347"/>
                  </a:lnTo>
                  <a:lnTo>
                    <a:pt x="3394" y="8347"/>
                  </a:lnTo>
                  <a:cubicBezTo>
                    <a:pt x="3108" y="8347"/>
                    <a:pt x="2894" y="8573"/>
                    <a:pt x="2894" y="8859"/>
                  </a:cubicBezTo>
                  <a:lnTo>
                    <a:pt x="2894" y="9037"/>
                  </a:lnTo>
                  <a:lnTo>
                    <a:pt x="2453" y="9037"/>
                  </a:lnTo>
                  <a:cubicBezTo>
                    <a:pt x="2299" y="9037"/>
                    <a:pt x="2144" y="9156"/>
                    <a:pt x="2120" y="9311"/>
                  </a:cubicBezTo>
                  <a:lnTo>
                    <a:pt x="1965" y="10061"/>
                  </a:lnTo>
                  <a:cubicBezTo>
                    <a:pt x="1953" y="10168"/>
                    <a:pt x="1965" y="10264"/>
                    <a:pt x="2037" y="10347"/>
                  </a:cubicBezTo>
                  <a:cubicBezTo>
                    <a:pt x="2096" y="10418"/>
                    <a:pt x="2203" y="10466"/>
                    <a:pt x="2310" y="10466"/>
                  </a:cubicBezTo>
                  <a:lnTo>
                    <a:pt x="6370" y="10466"/>
                  </a:lnTo>
                  <a:cubicBezTo>
                    <a:pt x="6478" y="10466"/>
                    <a:pt x="6585" y="10418"/>
                    <a:pt x="6644" y="10347"/>
                  </a:cubicBezTo>
                  <a:cubicBezTo>
                    <a:pt x="6704" y="10264"/>
                    <a:pt x="6728" y="10168"/>
                    <a:pt x="6716" y="10061"/>
                  </a:cubicBezTo>
                  <a:lnTo>
                    <a:pt x="6561" y="9311"/>
                  </a:lnTo>
                  <a:cubicBezTo>
                    <a:pt x="6537" y="9156"/>
                    <a:pt x="6382" y="9037"/>
                    <a:pt x="6228" y="9037"/>
                  </a:cubicBezTo>
                  <a:lnTo>
                    <a:pt x="5787" y="9037"/>
                  </a:lnTo>
                  <a:lnTo>
                    <a:pt x="5787" y="8859"/>
                  </a:lnTo>
                  <a:cubicBezTo>
                    <a:pt x="5787" y="8573"/>
                    <a:pt x="5573" y="8347"/>
                    <a:pt x="5287" y="8347"/>
                  </a:cubicBezTo>
                  <a:lnTo>
                    <a:pt x="4811" y="8347"/>
                  </a:lnTo>
                  <a:lnTo>
                    <a:pt x="4811" y="6835"/>
                  </a:lnTo>
                  <a:cubicBezTo>
                    <a:pt x="4989" y="6787"/>
                    <a:pt x="5108" y="6620"/>
                    <a:pt x="5108" y="6430"/>
                  </a:cubicBezTo>
                  <a:lnTo>
                    <a:pt x="5108" y="6323"/>
                  </a:lnTo>
                  <a:cubicBezTo>
                    <a:pt x="5108" y="6251"/>
                    <a:pt x="5073" y="6180"/>
                    <a:pt x="5049" y="6120"/>
                  </a:cubicBezTo>
                  <a:lnTo>
                    <a:pt x="5073" y="6096"/>
                  </a:lnTo>
                  <a:cubicBezTo>
                    <a:pt x="5537" y="5763"/>
                    <a:pt x="5906" y="5358"/>
                    <a:pt x="6204" y="4882"/>
                  </a:cubicBezTo>
                  <a:cubicBezTo>
                    <a:pt x="6228" y="4894"/>
                    <a:pt x="6228" y="4906"/>
                    <a:pt x="6240" y="4930"/>
                  </a:cubicBezTo>
                  <a:cubicBezTo>
                    <a:pt x="6359" y="5049"/>
                    <a:pt x="6525" y="5120"/>
                    <a:pt x="6680" y="5120"/>
                  </a:cubicBezTo>
                  <a:cubicBezTo>
                    <a:pt x="6763" y="5120"/>
                    <a:pt x="6835" y="5108"/>
                    <a:pt x="6894" y="5072"/>
                  </a:cubicBezTo>
                  <a:cubicBezTo>
                    <a:pt x="7192" y="4942"/>
                    <a:pt x="7204" y="4608"/>
                    <a:pt x="7204" y="4477"/>
                  </a:cubicBezTo>
                  <a:cubicBezTo>
                    <a:pt x="7204" y="4394"/>
                    <a:pt x="7132" y="4334"/>
                    <a:pt x="7037" y="4334"/>
                  </a:cubicBezTo>
                  <a:cubicBezTo>
                    <a:pt x="6954" y="4334"/>
                    <a:pt x="6894" y="4406"/>
                    <a:pt x="6894" y="4489"/>
                  </a:cubicBezTo>
                  <a:cubicBezTo>
                    <a:pt x="6894" y="4596"/>
                    <a:pt x="6882" y="4727"/>
                    <a:pt x="6775" y="4787"/>
                  </a:cubicBezTo>
                  <a:cubicBezTo>
                    <a:pt x="6749" y="4800"/>
                    <a:pt x="6718" y="4806"/>
                    <a:pt x="6687" y="4806"/>
                  </a:cubicBezTo>
                  <a:cubicBezTo>
                    <a:pt x="6606" y="4806"/>
                    <a:pt x="6517" y="4767"/>
                    <a:pt x="6466" y="4715"/>
                  </a:cubicBezTo>
                  <a:cubicBezTo>
                    <a:pt x="6406" y="4656"/>
                    <a:pt x="6382" y="4584"/>
                    <a:pt x="6430" y="4489"/>
                  </a:cubicBezTo>
                  <a:cubicBezTo>
                    <a:pt x="6585" y="4191"/>
                    <a:pt x="6894" y="4060"/>
                    <a:pt x="7252" y="3918"/>
                  </a:cubicBezTo>
                  <a:cubicBezTo>
                    <a:pt x="7894" y="3656"/>
                    <a:pt x="8680" y="3334"/>
                    <a:pt x="8680" y="1798"/>
                  </a:cubicBezTo>
                  <a:lnTo>
                    <a:pt x="8680" y="1155"/>
                  </a:lnTo>
                  <a:cubicBezTo>
                    <a:pt x="8692" y="1048"/>
                    <a:pt x="8633" y="941"/>
                    <a:pt x="8561" y="846"/>
                  </a:cubicBezTo>
                  <a:cubicBezTo>
                    <a:pt x="8478" y="762"/>
                    <a:pt x="8347" y="715"/>
                    <a:pt x="8240" y="715"/>
                  </a:cubicBezTo>
                  <a:cubicBezTo>
                    <a:pt x="7894" y="715"/>
                    <a:pt x="7561" y="881"/>
                    <a:pt x="7371" y="1179"/>
                  </a:cubicBezTo>
                  <a:lnTo>
                    <a:pt x="7252" y="1358"/>
                  </a:lnTo>
                  <a:cubicBezTo>
                    <a:pt x="7180" y="1465"/>
                    <a:pt x="7073" y="1524"/>
                    <a:pt x="6954" y="1524"/>
                  </a:cubicBezTo>
                  <a:lnTo>
                    <a:pt x="6954" y="1012"/>
                  </a:lnTo>
                  <a:lnTo>
                    <a:pt x="6990" y="1012"/>
                  </a:lnTo>
                  <a:cubicBezTo>
                    <a:pt x="7144" y="1012"/>
                    <a:pt x="7287" y="881"/>
                    <a:pt x="7287" y="715"/>
                  </a:cubicBezTo>
                  <a:lnTo>
                    <a:pt x="7287" y="298"/>
                  </a:lnTo>
                  <a:cubicBezTo>
                    <a:pt x="7287" y="131"/>
                    <a:pt x="7144" y="0"/>
                    <a:pt x="69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0" name="Google Shape;13590;p64"/>
            <p:cNvSpPr/>
            <p:nvPr/>
          </p:nvSpPr>
          <p:spPr>
            <a:xfrm>
              <a:off x="7670981" y="2041871"/>
              <a:ext cx="87182" cy="83076"/>
            </a:xfrm>
            <a:custGeom>
              <a:avLst/>
              <a:gdLst/>
              <a:ahLst/>
              <a:cxnLst/>
              <a:rect l="l" t="t" r="r" b="b"/>
              <a:pathLst>
                <a:path w="2739" h="2610" extrusionOk="0">
                  <a:moveTo>
                    <a:pt x="1334" y="476"/>
                  </a:moveTo>
                  <a:lnTo>
                    <a:pt x="1572" y="953"/>
                  </a:lnTo>
                  <a:cubicBezTo>
                    <a:pt x="1608" y="1012"/>
                    <a:pt x="1655" y="1036"/>
                    <a:pt x="1715" y="1048"/>
                  </a:cubicBezTo>
                  <a:lnTo>
                    <a:pt x="2251" y="1131"/>
                  </a:lnTo>
                  <a:lnTo>
                    <a:pt x="1893" y="1500"/>
                  </a:lnTo>
                  <a:cubicBezTo>
                    <a:pt x="1846" y="1548"/>
                    <a:pt x="1834" y="1607"/>
                    <a:pt x="1834" y="1667"/>
                  </a:cubicBezTo>
                  <a:lnTo>
                    <a:pt x="1917" y="2203"/>
                  </a:lnTo>
                  <a:lnTo>
                    <a:pt x="1441" y="1941"/>
                  </a:lnTo>
                  <a:cubicBezTo>
                    <a:pt x="1417" y="1929"/>
                    <a:pt x="1381" y="1929"/>
                    <a:pt x="1358" y="1929"/>
                  </a:cubicBezTo>
                  <a:cubicBezTo>
                    <a:pt x="1322" y="1929"/>
                    <a:pt x="1298" y="1929"/>
                    <a:pt x="1262" y="1941"/>
                  </a:cubicBezTo>
                  <a:lnTo>
                    <a:pt x="786" y="2203"/>
                  </a:lnTo>
                  <a:lnTo>
                    <a:pt x="786" y="2203"/>
                  </a:lnTo>
                  <a:lnTo>
                    <a:pt x="881" y="1667"/>
                  </a:lnTo>
                  <a:cubicBezTo>
                    <a:pt x="893" y="1607"/>
                    <a:pt x="869" y="1548"/>
                    <a:pt x="822" y="1500"/>
                  </a:cubicBezTo>
                  <a:lnTo>
                    <a:pt x="429" y="1131"/>
                  </a:lnTo>
                  <a:lnTo>
                    <a:pt x="965" y="1048"/>
                  </a:lnTo>
                  <a:cubicBezTo>
                    <a:pt x="1024" y="1036"/>
                    <a:pt x="1084" y="1012"/>
                    <a:pt x="1108" y="953"/>
                  </a:cubicBezTo>
                  <a:lnTo>
                    <a:pt x="1334" y="476"/>
                  </a:lnTo>
                  <a:close/>
                  <a:moveTo>
                    <a:pt x="1370" y="0"/>
                  </a:moveTo>
                  <a:cubicBezTo>
                    <a:pt x="1298" y="0"/>
                    <a:pt x="1239" y="36"/>
                    <a:pt x="1203" y="95"/>
                  </a:cubicBezTo>
                  <a:lnTo>
                    <a:pt x="881" y="750"/>
                  </a:lnTo>
                  <a:lnTo>
                    <a:pt x="167" y="857"/>
                  </a:lnTo>
                  <a:cubicBezTo>
                    <a:pt x="96" y="869"/>
                    <a:pt x="36" y="917"/>
                    <a:pt x="12" y="976"/>
                  </a:cubicBezTo>
                  <a:cubicBezTo>
                    <a:pt x="0" y="1048"/>
                    <a:pt x="12" y="1107"/>
                    <a:pt x="60" y="1167"/>
                  </a:cubicBezTo>
                  <a:lnTo>
                    <a:pt x="584" y="1679"/>
                  </a:lnTo>
                  <a:lnTo>
                    <a:pt x="465" y="2393"/>
                  </a:lnTo>
                  <a:cubicBezTo>
                    <a:pt x="453" y="2465"/>
                    <a:pt x="477" y="2524"/>
                    <a:pt x="536" y="2572"/>
                  </a:cubicBezTo>
                  <a:cubicBezTo>
                    <a:pt x="568" y="2597"/>
                    <a:pt x="603" y="2609"/>
                    <a:pt x="638" y="2609"/>
                  </a:cubicBezTo>
                  <a:cubicBezTo>
                    <a:pt x="669" y="2609"/>
                    <a:pt x="699" y="2600"/>
                    <a:pt x="727" y="2584"/>
                  </a:cubicBezTo>
                  <a:lnTo>
                    <a:pt x="1370" y="2238"/>
                  </a:lnTo>
                  <a:lnTo>
                    <a:pt x="2012" y="2584"/>
                  </a:lnTo>
                  <a:cubicBezTo>
                    <a:pt x="2036" y="2596"/>
                    <a:pt x="2072" y="2596"/>
                    <a:pt x="2096" y="2596"/>
                  </a:cubicBezTo>
                  <a:cubicBezTo>
                    <a:pt x="2143" y="2596"/>
                    <a:pt x="2179" y="2584"/>
                    <a:pt x="2203" y="2572"/>
                  </a:cubicBezTo>
                  <a:cubicBezTo>
                    <a:pt x="2262" y="2524"/>
                    <a:pt x="2298" y="2465"/>
                    <a:pt x="2274" y="2393"/>
                  </a:cubicBezTo>
                  <a:lnTo>
                    <a:pt x="2155" y="1679"/>
                  </a:lnTo>
                  <a:lnTo>
                    <a:pt x="2679" y="1167"/>
                  </a:lnTo>
                  <a:cubicBezTo>
                    <a:pt x="2727" y="1107"/>
                    <a:pt x="2739" y="1048"/>
                    <a:pt x="2727" y="976"/>
                  </a:cubicBezTo>
                  <a:cubicBezTo>
                    <a:pt x="2715" y="905"/>
                    <a:pt x="2655" y="857"/>
                    <a:pt x="2572" y="857"/>
                  </a:cubicBezTo>
                  <a:lnTo>
                    <a:pt x="1858" y="750"/>
                  </a:lnTo>
                  <a:lnTo>
                    <a:pt x="1536" y="95"/>
                  </a:lnTo>
                  <a:cubicBezTo>
                    <a:pt x="1500" y="36"/>
                    <a:pt x="1441" y="0"/>
                    <a:pt x="13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1" name="Google Shape;13591;p64"/>
          <p:cNvGrpSpPr/>
          <p:nvPr/>
        </p:nvGrpSpPr>
        <p:grpSpPr>
          <a:xfrm>
            <a:off x="853568" y="1975538"/>
            <a:ext cx="337334" cy="353599"/>
            <a:chOff x="853568" y="1975538"/>
            <a:chExt cx="337334" cy="353599"/>
          </a:xfrm>
        </p:grpSpPr>
        <p:sp>
          <p:nvSpPr>
            <p:cNvPr id="13592" name="Google Shape;13592;p64"/>
            <p:cNvSpPr/>
            <p:nvPr/>
          </p:nvSpPr>
          <p:spPr>
            <a:xfrm>
              <a:off x="853568" y="1975538"/>
              <a:ext cx="337334" cy="353599"/>
            </a:xfrm>
            <a:custGeom>
              <a:avLst/>
              <a:gdLst/>
              <a:ahLst/>
              <a:cxnLst/>
              <a:rect l="l" t="t" r="r" b="b"/>
              <a:pathLst>
                <a:path w="10598" h="11109" extrusionOk="0">
                  <a:moveTo>
                    <a:pt x="8180" y="322"/>
                  </a:moveTo>
                  <a:lnTo>
                    <a:pt x="5823" y="3596"/>
                  </a:lnTo>
                  <a:lnTo>
                    <a:pt x="5501" y="3132"/>
                  </a:lnTo>
                  <a:lnTo>
                    <a:pt x="7502" y="322"/>
                  </a:lnTo>
                  <a:close/>
                  <a:moveTo>
                    <a:pt x="9252" y="322"/>
                  </a:moveTo>
                  <a:lnTo>
                    <a:pt x="6371" y="4346"/>
                  </a:lnTo>
                  <a:lnTo>
                    <a:pt x="6049" y="3882"/>
                  </a:lnTo>
                  <a:lnTo>
                    <a:pt x="8597" y="322"/>
                  </a:lnTo>
                  <a:close/>
                  <a:moveTo>
                    <a:pt x="2072" y="322"/>
                  </a:moveTo>
                  <a:lnTo>
                    <a:pt x="4966" y="4358"/>
                  </a:lnTo>
                  <a:cubicBezTo>
                    <a:pt x="4906" y="4382"/>
                    <a:pt x="4859" y="4430"/>
                    <a:pt x="4811" y="4477"/>
                  </a:cubicBezTo>
                  <a:cubicBezTo>
                    <a:pt x="4750" y="4538"/>
                    <a:pt x="4652" y="4579"/>
                    <a:pt x="4557" y="4579"/>
                  </a:cubicBezTo>
                  <a:cubicBezTo>
                    <a:pt x="4521" y="4579"/>
                    <a:pt x="4486" y="4574"/>
                    <a:pt x="4454" y="4561"/>
                  </a:cubicBezTo>
                  <a:lnTo>
                    <a:pt x="1418" y="322"/>
                  </a:lnTo>
                  <a:close/>
                  <a:moveTo>
                    <a:pt x="3084" y="322"/>
                  </a:moveTo>
                  <a:lnTo>
                    <a:pt x="6121" y="4584"/>
                  </a:lnTo>
                  <a:cubicBezTo>
                    <a:pt x="6100" y="4589"/>
                    <a:pt x="6079" y="4591"/>
                    <a:pt x="6057" y="4591"/>
                  </a:cubicBezTo>
                  <a:cubicBezTo>
                    <a:pt x="5957" y="4591"/>
                    <a:pt x="5854" y="4546"/>
                    <a:pt x="5775" y="4477"/>
                  </a:cubicBezTo>
                  <a:cubicBezTo>
                    <a:pt x="5644" y="4346"/>
                    <a:pt x="5466" y="4287"/>
                    <a:pt x="5287" y="4287"/>
                  </a:cubicBezTo>
                  <a:lnTo>
                    <a:pt x="2453" y="334"/>
                  </a:lnTo>
                  <a:lnTo>
                    <a:pt x="3084" y="334"/>
                  </a:lnTo>
                  <a:lnTo>
                    <a:pt x="3084" y="322"/>
                  </a:lnTo>
                  <a:close/>
                  <a:moveTo>
                    <a:pt x="1013" y="322"/>
                  </a:moveTo>
                  <a:lnTo>
                    <a:pt x="4025" y="4537"/>
                  </a:lnTo>
                  <a:cubicBezTo>
                    <a:pt x="3858" y="4584"/>
                    <a:pt x="3716" y="4668"/>
                    <a:pt x="3608" y="4823"/>
                  </a:cubicBezTo>
                  <a:lnTo>
                    <a:pt x="394" y="322"/>
                  </a:lnTo>
                  <a:close/>
                  <a:moveTo>
                    <a:pt x="10216" y="322"/>
                  </a:moveTo>
                  <a:lnTo>
                    <a:pt x="7002" y="4823"/>
                  </a:lnTo>
                  <a:cubicBezTo>
                    <a:pt x="6906" y="4680"/>
                    <a:pt x="6775" y="4596"/>
                    <a:pt x="6633" y="4549"/>
                  </a:cubicBezTo>
                  <a:lnTo>
                    <a:pt x="9645" y="322"/>
                  </a:lnTo>
                  <a:close/>
                  <a:moveTo>
                    <a:pt x="5268" y="4599"/>
                  </a:moveTo>
                  <a:cubicBezTo>
                    <a:pt x="5362" y="4599"/>
                    <a:pt x="5454" y="4638"/>
                    <a:pt x="5525" y="4715"/>
                  </a:cubicBezTo>
                  <a:cubicBezTo>
                    <a:pt x="5652" y="4842"/>
                    <a:pt x="5822" y="4911"/>
                    <a:pt x="5994" y="4911"/>
                  </a:cubicBezTo>
                  <a:cubicBezTo>
                    <a:pt x="6081" y="4911"/>
                    <a:pt x="6168" y="4894"/>
                    <a:pt x="6252" y="4858"/>
                  </a:cubicBezTo>
                  <a:cubicBezTo>
                    <a:pt x="6295" y="4843"/>
                    <a:pt x="6338" y="4836"/>
                    <a:pt x="6380" y="4836"/>
                  </a:cubicBezTo>
                  <a:cubicBezTo>
                    <a:pt x="6534" y="4836"/>
                    <a:pt x="6672" y="4932"/>
                    <a:pt x="6728" y="5073"/>
                  </a:cubicBezTo>
                  <a:cubicBezTo>
                    <a:pt x="6728" y="5084"/>
                    <a:pt x="6752" y="5096"/>
                    <a:pt x="6752" y="5120"/>
                  </a:cubicBezTo>
                  <a:cubicBezTo>
                    <a:pt x="6823" y="5311"/>
                    <a:pt x="6954" y="5382"/>
                    <a:pt x="6954" y="5382"/>
                  </a:cubicBezTo>
                  <a:cubicBezTo>
                    <a:pt x="7109" y="5454"/>
                    <a:pt x="7240" y="5513"/>
                    <a:pt x="7371" y="5513"/>
                  </a:cubicBezTo>
                  <a:cubicBezTo>
                    <a:pt x="7561" y="5537"/>
                    <a:pt x="7728" y="5692"/>
                    <a:pt x="7716" y="5906"/>
                  </a:cubicBezTo>
                  <a:cubicBezTo>
                    <a:pt x="7704" y="6168"/>
                    <a:pt x="7847" y="6430"/>
                    <a:pt x="8085" y="6561"/>
                  </a:cubicBezTo>
                  <a:cubicBezTo>
                    <a:pt x="8264" y="6644"/>
                    <a:pt x="8335" y="6870"/>
                    <a:pt x="8252" y="7049"/>
                  </a:cubicBezTo>
                  <a:cubicBezTo>
                    <a:pt x="8133" y="7287"/>
                    <a:pt x="8157" y="7585"/>
                    <a:pt x="8323" y="7799"/>
                  </a:cubicBezTo>
                  <a:cubicBezTo>
                    <a:pt x="8442" y="7954"/>
                    <a:pt x="8430" y="8180"/>
                    <a:pt x="8264" y="8311"/>
                  </a:cubicBezTo>
                  <a:cubicBezTo>
                    <a:pt x="8061" y="8490"/>
                    <a:pt x="7966" y="8763"/>
                    <a:pt x="8026" y="9025"/>
                  </a:cubicBezTo>
                  <a:cubicBezTo>
                    <a:pt x="8073" y="9228"/>
                    <a:pt x="7966" y="9430"/>
                    <a:pt x="7776" y="9478"/>
                  </a:cubicBezTo>
                  <a:cubicBezTo>
                    <a:pt x="7502" y="9549"/>
                    <a:pt x="7311" y="9775"/>
                    <a:pt x="7264" y="10026"/>
                  </a:cubicBezTo>
                  <a:cubicBezTo>
                    <a:pt x="7242" y="10196"/>
                    <a:pt x="7087" y="10329"/>
                    <a:pt x="6909" y="10329"/>
                  </a:cubicBezTo>
                  <a:cubicBezTo>
                    <a:pt x="6889" y="10329"/>
                    <a:pt x="6868" y="10327"/>
                    <a:pt x="6847" y="10323"/>
                  </a:cubicBezTo>
                  <a:cubicBezTo>
                    <a:pt x="6809" y="10316"/>
                    <a:pt x="6770" y="10313"/>
                    <a:pt x="6732" y="10313"/>
                  </a:cubicBezTo>
                  <a:cubicBezTo>
                    <a:pt x="6508" y="10313"/>
                    <a:pt x="6290" y="10429"/>
                    <a:pt x="6168" y="10633"/>
                  </a:cubicBezTo>
                  <a:cubicBezTo>
                    <a:pt x="6100" y="10740"/>
                    <a:pt x="5977" y="10802"/>
                    <a:pt x="5854" y="10802"/>
                  </a:cubicBezTo>
                  <a:cubicBezTo>
                    <a:pt x="5785" y="10802"/>
                    <a:pt x="5716" y="10783"/>
                    <a:pt x="5656" y="10740"/>
                  </a:cubicBezTo>
                  <a:cubicBezTo>
                    <a:pt x="5537" y="10668"/>
                    <a:pt x="5418" y="10633"/>
                    <a:pt x="5287" y="10633"/>
                  </a:cubicBezTo>
                  <a:cubicBezTo>
                    <a:pt x="5156" y="10633"/>
                    <a:pt x="5025" y="10668"/>
                    <a:pt x="4918" y="10740"/>
                  </a:cubicBezTo>
                  <a:cubicBezTo>
                    <a:pt x="4858" y="10779"/>
                    <a:pt x="4788" y="10797"/>
                    <a:pt x="4719" y="10797"/>
                  </a:cubicBezTo>
                  <a:cubicBezTo>
                    <a:pt x="4596" y="10797"/>
                    <a:pt x="4475" y="10739"/>
                    <a:pt x="4406" y="10633"/>
                  </a:cubicBezTo>
                  <a:cubicBezTo>
                    <a:pt x="4275" y="10437"/>
                    <a:pt x="4035" y="10320"/>
                    <a:pt x="3794" y="10320"/>
                  </a:cubicBezTo>
                  <a:cubicBezTo>
                    <a:pt x="3772" y="10320"/>
                    <a:pt x="3750" y="10321"/>
                    <a:pt x="3727" y="10323"/>
                  </a:cubicBezTo>
                  <a:cubicBezTo>
                    <a:pt x="3708" y="10327"/>
                    <a:pt x="3688" y="10329"/>
                    <a:pt x="3668" y="10329"/>
                  </a:cubicBezTo>
                  <a:cubicBezTo>
                    <a:pt x="3497" y="10329"/>
                    <a:pt x="3332" y="10196"/>
                    <a:pt x="3311" y="10026"/>
                  </a:cubicBezTo>
                  <a:cubicBezTo>
                    <a:pt x="3263" y="9764"/>
                    <a:pt x="3073" y="9537"/>
                    <a:pt x="2799" y="9478"/>
                  </a:cubicBezTo>
                  <a:cubicBezTo>
                    <a:pt x="2608" y="9418"/>
                    <a:pt x="2489" y="9228"/>
                    <a:pt x="2549" y="9025"/>
                  </a:cubicBezTo>
                  <a:cubicBezTo>
                    <a:pt x="2620" y="8763"/>
                    <a:pt x="2537" y="8490"/>
                    <a:pt x="2311" y="8311"/>
                  </a:cubicBezTo>
                  <a:cubicBezTo>
                    <a:pt x="2168" y="8180"/>
                    <a:pt x="2132" y="7954"/>
                    <a:pt x="2251" y="7799"/>
                  </a:cubicBezTo>
                  <a:cubicBezTo>
                    <a:pt x="2418" y="7585"/>
                    <a:pt x="2442" y="7287"/>
                    <a:pt x="2322" y="7049"/>
                  </a:cubicBezTo>
                  <a:cubicBezTo>
                    <a:pt x="2239" y="6870"/>
                    <a:pt x="2311" y="6644"/>
                    <a:pt x="2489" y="6561"/>
                  </a:cubicBezTo>
                  <a:cubicBezTo>
                    <a:pt x="2727" y="6442"/>
                    <a:pt x="2882" y="6192"/>
                    <a:pt x="2858" y="5906"/>
                  </a:cubicBezTo>
                  <a:cubicBezTo>
                    <a:pt x="2846" y="5715"/>
                    <a:pt x="3013" y="5537"/>
                    <a:pt x="3204" y="5513"/>
                  </a:cubicBezTo>
                  <a:cubicBezTo>
                    <a:pt x="3418" y="5501"/>
                    <a:pt x="3608" y="5394"/>
                    <a:pt x="3727" y="5215"/>
                  </a:cubicBezTo>
                  <a:lnTo>
                    <a:pt x="3727" y="5204"/>
                  </a:lnTo>
                  <a:cubicBezTo>
                    <a:pt x="3751" y="5156"/>
                    <a:pt x="3787" y="5120"/>
                    <a:pt x="3799" y="5073"/>
                  </a:cubicBezTo>
                  <a:cubicBezTo>
                    <a:pt x="3854" y="4925"/>
                    <a:pt x="3995" y="4835"/>
                    <a:pt x="4145" y="4835"/>
                  </a:cubicBezTo>
                  <a:cubicBezTo>
                    <a:pt x="4188" y="4835"/>
                    <a:pt x="4232" y="4842"/>
                    <a:pt x="4275" y="4858"/>
                  </a:cubicBezTo>
                  <a:cubicBezTo>
                    <a:pt x="4355" y="4889"/>
                    <a:pt x="4438" y="4903"/>
                    <a:pt x="4521" y="4903"/>
                  </a:cubicBezTo>
                  <a:cubicBezTo>
                    <a:pt x="4698" y="4903"/>
                    <a:pt x="4872" y="4837"/>
                    <a:pt x="5001" y="4715"/>
                  </a:cubicBezTo>
                  <a:cubicBezTo>
                    <a:pt x="5079" y="4638"/>
                    <a:pt x="5174" y="4599"/>
                    <a:pt x="5268" y="4599"/>
                  </a:cubicBezTo>
                  <a:close/>
                  <a:moveTo>
                    <a:pt x="298" y="0"/>
                  </a:moveTo>
                  <a:cubicBezTo>
                    <a:pt x="203" y="0"/>
                    <a:pt x="108" y="60"/>
                    <a:pt x="48" y="143"/>
                  </a:cubicBezTo>
                  <a:cubicBezTo>
                    <a:pt x="1" y="239"/>
                    <a:pt x="1" y="358"/>
                    <a:pt x="60" y="429"/>
                  </a:cubicBezTo>
                  <a:lnTo>
                    <a:pt x="3418" y="5096"/>
                  </a:lnTo>
                  <a:cubicBezTo>
                    <a:pt x="3358" y="5144"/>
                    <a:pt x="3275" y="5168"/>
                    <a:pt x="3204" y="5168"/>
                  </a:cubicBezTo>
                  <a:cubicBezTo>
                    <a:pt x="2834" y="5192"/>
                    <a:pt x="2537" y="5513"/>
                    <a:pt x="2549" y="5906"/>
                  </a:cubicBezTo>
                  <a:cubicBezTo>
                    <a:pt x="2549" y="6049"/>
                    <a:pt x="2477" y="6180"/>
                    <a:pt x="2358" y="6239"/>
                  </a:cubicBezTo>
                  <a:cubicBezTo>
                    <a:pt x="2013" y="6418"/>
                    <a:pt x="1882" y="6835"/>
                    <a:pt x="2061" y="7168"/>
                  </a:cubicBezTo>
                  <a:cubicBezTo>
                    <a:pt x="2120" y="7299"/>
                    <a:pt x="2108" y="7454"/>
                    <a:pt x="2013" y="7573"/>
                  </a:cubicBezTo>
                  <a:cubicBezTo>
                    <a:pt x="1775" y="7871"/>
                    <a:pt x="1822" y="8299"/>
                    <a:pt x="2120" y="8537"/>
                  </a:cubicBezTo>
                  <a:cubicBezTo>
                    <a:pt x="2215" y="8621"/>
                    <a:pt x="2275" y="8775"/>
                    <a:pt x="2239" y="8906"/>
                  </a:cubicBezTo>
                  <a:cubicBezTo>
                    <a:pt x="2132" y="9275"/>
                    <a:pt x="2358" y="9656"/>
                    <a:pt x="2727" y="9752"/>
                  </a:cubicBezTo>
                  <a:cubicBezTo>
                    <a:pt x="2858" y="9799"/>
                    <a:pt x="2965" y="9906"/>
                    <a:pt x="3001" y="10049"/>
                  </a:cubicBezTo>
                  <a:cubicBezTo>
                    <a:pt x="3056" y="10399"/>
                    <a:pt x="3361" y="10639"/>
                    <a:pt x="3697" y="10639"/>
                  </a:cubicBezTo>
                  <a:cubicBezTo>
                    <a:pt x="3727" y="10639"/>
                    <a:pt x="3757" y="10637"/>
                    <a:pt x="3787" y="10633"/>
                  </a:cubicBezTo>
                  <a:cubicBezTo>
                    <a:pt x="3799" y="10632"/>
                    <a:pt x="3811" y="10631"/>
                    <a:pt x="3823" y="10631"/>
                  </a:cubicBezTo>
                  <a:cubicBezTo>
                    <a:pt x="3953" y="10631"/>
                    <a:pt x="4079" y="10690"/>
                    <a:pt x="4144" y="10799"/>
                  </a:cubicBezTo>
                  <a:cubicBezTo>
                    <a:pt x="4274" y="10998"/>
                    <a:pt x="4502" y="11109"/>
                    <a:pt x="4731" y="11109"/>
                  </a:cubicBezTo>
                  <a:cubicBezTo>
                    <a:pt x="4858" y="11109"/>
                    <a:pt x="4986" y="11074"/>
                    <a:pt x="5097" y="11002"/>
                  </a:cubicBezTo>
                  <a:cubicBezTo>
                    <a:pt x="5156" y="10966"/>
                    <a:pt x="5228" y="10948"/>
                    <a:pt x="5299" y="10948"/>
                  </a:cubicBezTo>
                  <a:cubicBezTo>
                    <a:pt x="5370" y="10948"/>
                    <a:pt x="5442" y="10966"/>
                    <a:pt x="5501" y="11002"/>
                  </a:cubicBezTo>
                  <a:cubicBezTo>
                    <a:pt x="5621" y="11085"/>
                    <a:pt x="5740" y="11109"/>
                    <a:pt x="5871" y="11109"/>
                  </a:cubicBezTo>
                  <a:cubicBezTo>
                    <a:pt x="6097" y="11109"/>
                    <a:pt x="6311" y="11002"/>
                    <a:pt x="6454" y="10799"/>
                  </a:cubicBezTo>
                  <a:cubicBezTo>
                    <a:pt x="6519" y="10690"/>
                    <a:pt x="6645" y="10631"/>
                    <a:pt x="6775" y="10631"/>
                  </a:cubicBezTo>
                  <a:cubicBezTo>
                    <a:pt x="6787" y="10631"/>
                    <a:pt x="6799" y="10632"/>
                    <a:pt x="6811" y="10633"/>
                  </a:cubicBezTo>
                  <a:cubicBezTo>
                    <a:pt x="6848" y="10639"/>
                    <a:pt x="6884" y="10641"/>
                    <a:pt x="6920" y="10641"/>
                  </a:cubicBezTo>
                  <a:cubicBezTo>
                    <a:pt x="7248" y="10641"/>
                    <a:pt x="7543" y="10403"/>
                    <a:pt x="7597" y="10049"/>
                  </a:cubicBezTo>
                  <a:cubicBezTo>
                    <a:pt x="7621" y="9906"/>
                    <a:pt x="7728" y="9799"/>
                    <a:pt x="7859" y="9752"/>
                  </a:cubicBezTo>
                  <a:cubicBezTo>
                    <a:pt x="8240" y="9656"/>
                    <a:pt x="8442" y="9275"/>
                    <a:pt x="8359" y="8906"/>
                  </a:cubicBezTo>
                  <a:cubicBezTo>
                    <a:pt x="8323" y="8775"/>
                    <a:pt x="8371" y="8621"/>
                    <a:pt x="8478" y="8537"/>
                  </a:cubicBezTo>
                  <a:cubicBezTo>
                    <a:pt x="8776" y="8299"/>
                    <a:pt x="8811" y="7871"/>
                    <a:pt x="8573" y="7573"/>
                  </a:cubicBezTo>
                  <a:cubicBezTo>
                    <a:pt x="8490" y="7454"/>
                    <a:pt x="8478" y="7299"/>
                    <a:pt x="8538" y="7168"/>
                  </a:cubicBezTo>
                  <a:cubicBezTo>
                    <a:pt x="8692" y="6823"/>
                    <a:pt x="8561" y="6406"/>
                    <a:pt x="8240" y="6239"/>
                  </a:cubicBezTo>
                  <a:cubicBezTo>
                    <a:pt x="8097" y="6180"/>
                    <a:pt x="8026" y="6037"/>
                    <a:pt x="8037" y="5906"/>
                  </a:cubicBezTo>
                  <a:cubicBezTo>
                    <a:pt x="8061" y="5525"/>
                    <a:pt x="7776" y="5204"/>
                    <a:pt x="7383" y="5168"/>
                  </a:cubicBezTo>
                  <a:cubicBezTo>
                    <a:pt x="7311" y="5168"/>
                    <a:pt x="7240" y="5144"/>
                    <a:pt x="7180" y="5096"/>
                  </a:cubicBezTo>
                  <a:lnTo>
                    <a:pt x="10526" y="429"/>
                  </a:lnTo>
                  <a:cubicBezTo>
                    <a:pt x="10585" y="358"/>
                    <a:pt x="10597" y="251"/>
                    <a:pt x="10538" y="143"/>
                  </a:cubicBezTo>
                  <a:cubicBezTo>
                    <a:pt x="10490" y="60"/>
                    <a:pt x="10395" y="0"/>
                    <a:pt x="10288" y="0"/>
                  </a:cubicBezTo>
                  <a:lnTo>
                    <a:pt x="7478" y="0"/>
                  </a:lnTo>
                  <a:cubicBezTo>
                    <a:pt x="7383" y="0"/>
                    <a:pt x="7299" y="36"/>
                    <a:pt x="7252" y="120"/>
                  </a:cubicBezTo>
                  <a:lnTo>
                    <a:pt x="5287" y="2858"/>
                  </a:lnTo>
                  <a:lnTo>
                    <a:pt x="3335" y="120"/>
                  </a:lnTo>
                  <a:cubicBezTo>
                    <a:pt x="3299" y="36"/>
                    <a:pt x="3204" y="0"/>
                    <a:pt x="3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3" name="Google Shape;13593;p64"/>
            <p:cNvSpPr/>
            <p:nvPr/>
          </p:nvSpPr>
          <p:spPr>
            <a:xfrm>
              <a:off x="938458" y="2136979"/>
              <a:ext cx="166789" cy="76742"/>
            </a:xfrm>
            <a:custGeom>
              <a:avLst/>
              <a:gdLst/>
              <a:ahLst/>
              <a:cxnLst/>
              <a:rect l="l" t="t" r="r" b="b"/>
              <a:pathLst>
                <a:path w="5240" h="2411" extrusionOk="0">
                  <a:moveTo>
                    <a:pt x="2620" y="1"/>
                  </a:moveTo>
                  <a:cubicBezTo>
                    <a:pt x="2001" y="1"/>
                    <a:pt x="1370" y="227"/>
                    <a:pt x="894" y="643"/>
                  </a:cubicBezTo>
                  <a:cubicBezTo>
                    <a:pt x="417" y="1036"/>
                    <a:pt x="108" y="1608"/>
                    <a:pt x="13" y="2227"/>
                  </a:cubicBezTo>
                  <a:cubicBezTo>
                    <a:pt x="1" y="2322"/>
                    <a:pt x="60" y="2406"/>
                    <a:pt x="156" y="2406"/>
                  </a:cubicBezTo>
                  <a:lnTo>
                    <a:pt x="179" y="2406"/>
                  </a:lnTo>
                  <a:cubicBezTo>
                    <a:pt x="251" y="2406"/>
                    <a:pt x="334" y="2346"/>
                    <a:pt x="346" y="2275"/>
                  </a:cubicBezTo>
                  <a:cubicBezTo>
                    <a:pt x="429" y="1739"/>
                    <a:pt x="703" y="1251"/>
                    <a:pt x="1120" y="894"/>
                  </a:cubicBezTo>
                  <a:cubicBezTo>
                    <a:pt x="1537" y="536"/>
                    <a:pt x="2072" y="322"/>
                    <a:pt x="2620" y="322"/>
                  </a:cubicBezTo>
                  <a:cubicBezTo>
                    <a:pt x="3168" y="322"/>
                    <a:pt x="3704" y="524"/>
                    <a:pt x="4120" y="894"/>
                  </a:cubicBezTo>
                  <a:cubicBezTo>
                    <a:pt x="4537" y="1251"/>
                    <a:pt x="4811" y="1739"/>
                    <a:pt x="4894" y="2275"/>
                  </a:cubicBezTo>
                  <a:cubicBezTo>
                    <a:pt x="4904" y="2356"/>
                    <a:pt x="4975" y="2411"/>
                    <a:pt x="5040" y="2411"/>
                  </a:cubicBezTo>
                  <a:cubicBezTo>
                    <a:pt x="5051" y="2411"/>
                    <a:pt x="5062" y="2409"/>
                    <a:pt x="5073" y="2406"/>
                  </a:cubicBezTo>
                  <a:cubicBezTo>
                    <a:pt x="5180" y="2394"/>
                    <a:pt x="5240" y="2322"/>
                    <a:pt x="5228" y="2227"/>
                  </a:cubicBezTo>
                  <a:cubicBezTo>
                    <a:pt x="5132" y="1620"/>
                    <a:pt x="4823" y="1060"/>
                    <a:pt x="4347" y="643"/>
                  </a:cubicBezTo>
                  <a:cubicBezTo>
                    <a:pt x="3870" y="227"/>
                    <a:pt x="3263" y="1"/>
                    <a:pt x="26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4" name="Google Shape;13594;p64"/>
            <p:cNvSpPr/>
            <p:nvPr/>
          </p:nvSpPr>
          <p:spPr>
            <a:xfrm>
              <a:off x="938840" y="2227377"/>
              <a:ext cx="166407" cy="76774"/>
            </a:xfrm>
            <a:custGeom>
              <a:avLst/>
              <a:gdLst/>
              <a:ahLst/>
              <a:cxnLst/>
              <a:rect l="l" t="t" r="r" b="b"/>
              <a:pathLst>
                <a:path w="5228" h="2412" extrusionOk="0">
                  <a:moveTo>
                    <a:pt x="193" y="1"/>
                  </a:moveTo>
                  <a:cubicBezTo>
                    <a:pt x="181" y="1"/>
                    <a:pt x="168" y="3"/>
                    <a:pt x="155" y="6"/>
                  </a:cubicBezTo>
                  <a:cubicBezTo>
                    <a:pt x="60" y="18"/>
                    <a:pt x="1" y="101"/>
                    <a:pt x="24" y="197"/>
                  </a:cubicBezTo>
                  <a:cubicBezTo>
                    <a:pt x="108" y="804"/>
                    <a:pt x="417" y="1375"/>
                    <a:pt x="894" y="1768"/>
                  </a:cubicBezTo>
                  <a:cubicBezTo>
                    <a:pt x="1370" y="2185"/>
                    <a:pt x="1989" y="2411"/>
                    <a:pt x="2608" y="2411"/>
                  </a:cubicBezTo>
                  <a:cubicBezTo>
                    <a:pt x="3239" y="2411"/>
                    <a:pt x="3858" y="2185"/>
                    <a:pt x="4335" y="1768"/>
                  </a:cubicBezTo>
                  <a:cubicBezTo>
                    <a:pt x="4811" y="1375"/>
                    <a:pt x="5120" y="804"/>
                    <a:pt x="5216" y="185"/>
                  </a:cubicBezTo>
                  <a:cubicBezTo>
                    <a:pt x="5228" y="101"/>
                    <a:pt x="5168" y="18"/>
                    <a:pt x="5085" y="6"/>
                  </a:cubicBezTo>
                  <a:cubicBezTo>
                    <a:pt x="5070" y="3"/>
                    <a:pt x="5056" y="1"/>
                    <a:pt x="5043" y="1"/>
                  </a:cubicBezTo>
                  <a:cubicBezTo>
                    <a:pt x="4966" y="1"/>
                    <a:pt x="4906" y="56"/>
                    <a:pt x="4906" y="137"/>
                  </a:cubicBezTo>
                  <a:cubicBezTo>
                    <a:pt x="4811" y="673"/>
                    <a:pt x="4549" y="1161"/>
                    <a:pt x="4132" y="1518"/>
                  </a:cubicBezTo>
                  <a:cubicBezTo>
                    <a:pt x="3715" y="1875"/>
                    <a:pt x="3180" y="2090"/>
                    <a:pt x="2620" y="2090"/>
                  </a:cubicBezTo>
                  <a:cubicBezTo>
                    <a:pt x="2072" y="2090"/>
                    <a:pt x="1537" y="1887"/>
                    <a:pt x="1120" y="1518"/>
                  </a:cubicBezTo>
                  <a:cubicBezTo>
                    <a:pt x="703" y="1161"/>
                    <a:pt x="441" y="673"/>
                    <a:pt x="346" y="137"/>
                  </a:cubicBezTo>
                  <a:cubicBezTo>
                    <a:pt x="336" y="56"/>
                    <a:pt x="265" y="1"/>
                    <a:pt x="19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5" name="Google Shape;13595;p64"/>
            <p:cNvSpPr/>
            <p:nvPr/>
          </p:nvSpPr>
          <p:spPr>
            <a:xfrm>
              <a:off x="1007052" y="2185106"/>
              <a:ext cx="19003" cy="70153"/>
            </a:xfrm>
            <a:custGeom>
              <a:avLst/>
              <a:gdLst/>
              <a:ahLst/>
              <a:cxnLst/>
              <a:rect l="l" t="t" r="r" b="b"/>
              <a:pathLst>
                <a:path w="597" h="2204" extrusionOk="0">
                  <a:moveTo>
                    <a:pt x="453" y="1"/>
                  </a:moveTo>
                  <a:cubicBezTo>
                    <a:pt x="418" y="1"/>
                    <a:pt x="394" y="24"/>
                    <a:pt x="382" y="36"/>
                  </a:cubicBezTo>
                  <a:lnTo>
                    <a:pt x="60" y="334"/>
                  </a:lnTo>
                  <a:cubicBezTo>
                    <a:pt x="25" y="358"/>
                    <a:pt x="1" y="405"/>
                    <a:pt x="1" y="453"/>
                  </a:cubicBezTo>
                  <a:cubicBezTo>
                    <a:pt x="1" y="513"/>
                    <a:pt x="48" y="584"/>
                    <a:pt x="108" y="584"/>
                  </a:cubicBezTo>
                  <a:cubicBezTo>
                    <a:pt x="120" y="584"/>
                    <a:pt x="156" y="572"/>
                    <a:pt x="167" y="560"/>
                  </a:cubicBezTo>
                  <a:lnTo>
                    <a:pt x="275" y="417"/>
                  </a:lnTo>
                  <a:lnTo>
                    <a:pt x="275" y="2108"/>
                  </a:lnTo>
                  <a:cubicBezTo>
                    <a:pt x="275" y="2179"/>
                    <a:pt x="346" y="2203"/>
                    <a:pt x="441" y="2203"/>
                  </a:cubicBezTo>
                  <a:cubicBezTo>
                    <a:pt x="513" y="2203"/>
                    <a:pt x="596" y="2179"/>
                    <a:pt x="596" y="2108"/>
                  </a:cubicBezTo>
                  <a:lnTo>
                    <a:pt x="596" y="96"/>
                  </a:lnTo>
                  <a:cubicBezTo>
                    <a:pt x="584" y="48"/>
                    <a:pt x="513"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96" name="Google Shape;13596;p64"/>
          <p:cNvGrpSpPr/>
          <p:nvPr/>
        </p:nvGrpSpPr>
        <p:grpSpPr>
          <a:xfrm>
            <a:off x="2770052" y="2009628"/>
            <a:ext cx="327085" cy="277080"/>
            <a:chOff x="2770052" y="2009628"/>
            <a:chExt cx="327085" cy="277080"/>
          </a:xfrm>
        </p:grpSpPr>
        <p:sp>
          <p:nvSpPr>
            <p:cNvPr id="13597" name="Google Shape;13597;p64"/>
            <p:cNvSpPr/>
            <p:nvPr/>
          </p:nvSpPr>
          <p:spPr>
            <a:xfrm>
              <a:off x="2770052" y="2023537"/>
              <a:ext cx="327085" cy="263170"/>
            </a:xfrm>
            <a:custGeom>
              <a:avLst/>
              <a:gdLst/>
              <a:ahLst/>
              <a:cxnLst/>
              <a:rect l="l" t="t" r="r" b="b"/>
              <a:pathLst>
                <a:path w="10276" h="8268" extrusionOk="0">
                  <a:moveTo>
                    <a:pt x="6251" y="2267"/>
                  </a:moveTo>
                  <a:lnTo>
                    <a:pt x="7061" y="2541"/>
                  </a:lnTo>
                  <a:cubicBezTo>
                    <a:pt x="7073" y="2544"/>
                    <a:pt x="7086" y="2545"/>
                    <a:pt x="7098" y="2545"/>
                  </a:cubicBezTo>
                  <a:cubicBezTo>
                    <a:pt x="7136" y="2545"/>
                    <a:pt x="7174" y="2532"/>
                    <a:pt x="7192" y="2505"/>
                  </a:cubicBezTo>
                  <a:lnTo>
                    <a:pt x="7454" y="2314"/>
                  </a:lnTo>
                  <a:lnTo>
                    <a:pt x="9240" y="4660"/>
                  </a:lnTo>
                  <a:lnTo>
                    <a:pt x="8978" y="4874"/>
                  </a:lnTo>
                  <a:cubicBezTo>
                    <a:pt x="8966" y="4862"/>
                    <a:pt x="8942" y="4839"/>
                    <a:pt x="8930" y="4839"/>
                  </a:cubicBezTo>
                  <a:lnTo>
                    <a:pt x="5811" y="3148"/>
                  </a:lnTo>
                  <a:lnTo>
                    <a:pt x="5930" y="2969"/>
                  </a:lnTo>
                  <a:cubicBezTo>
                    <a:pt x="5978" y="2898"/>
                    <a:pt x="5966" y="2803"/>
                    <a:pt x="5894" y="2755"/>
                  </a:cubicBezTo>
                  <a:cubicBezTo>
                    <a:pt x="5864" y="2742"/>
                    <a:pt x="5834" y="2735"/>
                    <a:pt x="5806" y="2735"/>
                  </a:cubicBezTo>
                  <a:cubicBezTo>
                    <a:pt x="5756" y="2735"/>
                    <a:pt x="5710" y="2757"/>
                    <a:pt x="5680" y="2803"/>
                  </a:cubicBezTo>
                  <a:lnTo>
                    <a:pt x="5358" y="3326"/>
                  </a:lnTo>
                  <a:cubicBezTo>
                    <a:pt x="5335" y="3350"/>
                    <a:pt x="5323" y="3374"/>
                    <a:pt x="5323" y="3398"/>
                  </a:cubicBezTo>
                  <a:lnTo>
                    <a:pt x="5323" y="4684"/>
                  </a:lnTo>
                  <a:cubicBezTo>
                    <a:pt x="5323" y="4946"/>
                    <a:pt x="5097" y="5172"/>
                    <a:pt x="4835" y="5172"/>
                  </a:cubicBezTo>
                  <a:cubicBezTo>
                    <a:pt x="4561" y="5172"/>
                    <a:pt x="4346" y="4946"/>
                    <a:pt x="4346" y="4684"/>
                  </a:cubicBezTo>
                  <a:lnTo>
                    <a:pt x="4346" y="3410"/>
                  </a:lnTo>
                  <a:lnTo>
                    <a:pt x="4620" y="2267"/>
                  </a:lnTo>
                  <a:close/>
                  <a:moveTo>
                    <a:pt x="2680" y="1767"/>
                  </a:moveTo>
                  <a:lnTo>
                    <a:pt x="2918" y="1898"/>
                  </a:lnTo>
                  <a:lnTo>
                    <a:pt x="941" y="5303"/>
                  </a:lnTo>
                  <a:lnTo>
                    <a:pt x="703" y="5172"/>
                  </a:lnTo>
                  <a:lnTo>
                    <a:pt x="2680" y="1767"/>
                  </a:lnTo>
                  <a:close/>
                  <a:moveTo>
                    <a:pt x="3180" y="4743"/>
                  </a:moveTo>
                  <a:cubicBezTo>
                    <a:pt x="3287" y="4743"/>
                    <a:pt x="3370" y="4779"/>
                    <a:pt x="3442" y="4874"/>
                  </a:cubicBezTo>
                  <a:cubicBezTo>
                    <a:pt x="3561" y="5017"/>
                    <a:pt x="3525" y="5231"/>
                    <a:pt x="3370" y="5339"/>
                  </a:cubicBezTo>
                  <a:lnTo>
                    <a:pt x="2322" y="6112"/>
                  </a:lnTo>
                  <a:cubicBezTo>
                    <a:pt x="2262" y="6150"/>
                    <a:pt x="2194" y="6169"/>
                    <a:pt x="2127" y="6169"/>
                  </a:cubicBezTo>
                  <a:cubicBezTo>
                    <a:pt x="2023" y="6169"/>
                    <a:pt x="1923" y="6123"/>
                    <a:pt x="1858" y="6029"/>
                  </a:cubicBezTo>
                  <a:cubicBezTo>
                    <a:pt x="1751" y="5886"/>
                    <a:pt x="1787" y="5672"/>
                    <a:pt x="1929" y="5565"/>
                  </a:cubicBezTo>
                  <a:lnTo>
                    <a:pt x="2989" y="4803"/>
                  </a:lnTo>
                  <a:cubicBezTo>
                    <a:pt x="3049" y="4755"/>
                    <a:pt x="3120" y="4743"/>
                    <a:pt x="3180" y="4743"/>
                  </a:cubicBezTo>
                  <a:close/>
                  <a:moveTo>
                    <a:pt x="3775" y="5493"/>
                  </a:moveTo>
                  <a:cubicBezTo>
                    <a:pt x="3870" y="5493"/>
                    <a:pt x="3954" y="5553"/>
                    <a:pt x="4013" y="5636"/>
                  </a:cubicBezTo>
                  <a:cubicBezTo>
                    <a:pt x="4132" y="5779"/>
                    <a:pt x="4085" y="5993"/>
                    <a:pt x="3942" y="6089"/>
                  </a:cubicBezTo>
                  <a:lnTo>
                    <a:pt x="3132" y="6708"/>
                  </a:lnTo>
                  <a:cubicBezTo>
                    <a:pt x="3076" y="6745"/>
                    <a:pt x="3013" y="6764"/>
                    <a:pt x="2949" y="6764"/>
                  </a:cubicBezTo>
                  <a:cubicBezTo>
                    <a:pt x="2851" y="6764"/>
                    <a:pt x="2752" y="6718"/>
                    <a:pt x="2680" y="6624"/>
                  </a:cubicBezTo>
                  <a:cubicBezTo>
                    <a:pt x="2572" y="6482"/>
                    <a:pt x="2596" y="6255"/>
                    <a:pt x="2751" y="6148"/>
                  </a:cubicBezTo>
                  <a:lnTo>
                    <a:pt x="3537" y="5589"/>
                  </a:lnTo>
                  <a:cubicBezTo>
                    <a:pt x="3573" y="5565"/>
                    <a:pt x="3596" y="5541"/>
                    <a:pt x="3620" y="5529"/>
                  </a:cubicBezTo>
                  <a:cubicBezTo>
                    <a:pt x="3668" y="5517"/>
                    <a:pt x="3715" y="5493"/>
                    <a:pt x="3775" y="5493"/>
                  </a:cubicBezTo>
                  <a:close/>
                  <a:moveTo>
                    <a:pt x="4359" y="6281"/>
                  </a:moveTo>
                  <a:cubicBezTo>
                    <a:pt x="4454" y="6281"/>
                    <a:pt x="4550" y="6321"/>
                    <a:pt x="4620" y="6398"/>
                  </a:cubicBezTo>
                  <a:cubicBezTo>
                    <a:pt x="4739" y="6553"/>
                    <a:pt x="4704" y="6755"/>
                    <a:pt x="4549" y="6863"/>
                  </a:cubicBezTo>
                  <a:lnTo>
                    <a:pt x="3954" y="7303"/>
                  </a:lnTo>
                  <a:cubicBezTo>
                    <a:pt x="3898" y="7331"/>
                    <a:pt x="3829" y="7358"/>
                    <a:pt x="3767" y="7358"/>
                  </a:cubicBezTo>
                  <a:cubicBezTo>
                    <a:pt x="3749" y="7358"/>
                    <a:pt x="3732" y="7356"/>
                    <a:pt x="3715" y="7351"/>
                  </a:cubicBezTo>
                  <a:cubicBezTo>
                    <a:pt x="3620" y="7339"/>
                    <a:pt x="3549" y="7303"/>
                    <a:pt x="3513" y="7220"/>
                  </a:cubicBezTo>
                  <a:cubicBezTo>
                    <a:pt x="3406" y="7077"/>
                    <a:pt x="3430" y="6863"/>
                    <a:pt x="3584" y="6755"/>
                  </a:cubicBezTo>
                  <a:lnTo>
                    <a:pt x="4144" y="6363"/>
                  </a:lnTo>
                  <a:lnTo>
                    <a:pt x="4168" y="6339"/>
                  </a:lnTo>
                  <a:cubicBezTo>
                    <a:pt x="4226" y="6300"/>
                    <a:pt x="4292" y="6281"/>
                    <a:pt x="4359" y="6281"/>
                  </a:cubicBezTo>
                  <a:close/>
                  <a:moveTo>
                    <a:pt x="2870" y="2553"/>
                  </a:moveTo>
                  <a:lnTo>
                    <a:pt x="3156" y="2707"/>
                  </a:lnTo>
                  <a:cubicBezTo>
                    <a:pt x="3173" y="2725"/>
                    <a:pt x="3197" y="2736"/>
                    <a:pt x="3218" y="2736"/>
                  </a:cubicBezTo>
                  <a:cubicBezTo>
                    <a:pt x="3226" y="2736"/>
                    <a:pt x="3233" y="2734"/>
                    <a:pt x="3239" y="2731"/>
                  </a:cubicBezTo>
                  <a:lnTo>
                    <a:pt x="3942" y="2636"/>
                  </a:lnTo>
                  <a:lnTo>
                    <a:pt x="4192" y="2743"/>
                  </a:lnTo>
                  <a:lnTo>
                    <a:pt x="4049" y="3338"/>
                  </a:lnTo>
                  <a:lnTo>
                    <a:pt x="4049" y="3362"/>
                  </a:lnTo>
                  <a:lnTo>
                    <a:pt x="4049" y="4648"/>
                  </a:lnTo>
                  <a:cubicBezTo>
                    <a:pt x="4049" y="5077"/>
                    <a:pt x="4406" y="5434"/>
                    <a:pt x="4835" y="5434"/>
                  </a:cubicBezTo>
                  <a:cubicBezTo>
                    <a:pt x="5263" y="5434"/>
                    <a:pt x="5620" y="5077"/>
                    <a:pt x="5620" y="4648"/>
                  </a:cubicBezTo>
                  <a:lnTo>
                    <a:pt x="5620" y="3410"/>
                  </a:lnTo>
                  <a:lnTo>
                    <a:pt x="5656" y="3362"/>
                  </a:lnTo>
                  <a:lnTo>
                    <a:pt x="8776" y="5065"/>
                  </a:lnTo>
                  <a:cubicBezTo>
                    <a:pt x="8942" y="5184"/>
                    <a:pt x="9002" y="5374"/>
                    <a:pt x="8907" y="5541"/>
                  </a:cubicBezTo>
                  <a:cubicBezTo>
                    <a:pt x="8850" y="5654"/>
                    <a:pt x="8745" y="5717"/>
                    <a:pt x="8631" y="5717"/>
                  </a:cubicBezTo>
                  <a:cubicBezTo>
                    <a:pt x="8576" y="5717"/>
                    <a:pt x="8520" y="5703"/>
                    <a:pt x="8466" y="5672"/>
                  </a:cubicBezTo>
                  <a:lnTo>
                    <a:pt x="6740" y="4743"/>
                  </a:lnTo>
                  <a:cubicBezTo>
                    <a:pt x="6711" y="4727"/>
                    <a:pt x="6682" y="4719"/>
                    <a:pt x="6655" y="4719"/>
                  </a:cubicBezTo>
                  <a:cubicBezTo>
                    <a:pt x="6603" y="4719"/>
                    <a:pt x="6557" y="4748"/>
                    <a:pt x="6525" y="4803"/>
                  </a:cubicBezTo>
                  <a:cubicBezTo>
                    <a:pt x="6490" y="4874"/>
                    <a:pt x="6513" y="4958"/>
                    <a:pt x="6585" y="5005"/>
                  </a:cubicBezTo>
                  <a:lnTo>
                    <a:pt x="8037" y="5791"/>
                  </a:lnTo>
                  <a:cubicBezTo>
                    <a:pt x="8192" y="5886"/>
                    <a:pt x="8252" y="6077"/>
                    <a:pt x="8168" y="6243"/>
                  </a:cubicBezTo>
                  <a:cubicBezTo>
                    <a:pt x="8104" y="6356"/>
                    <a:pt x="7996" y="6415"/>
                    <a:pt x="7881" y="6415"/>
                  </a:cubicBezTo>
                  <a:cubicBezTo>
                    <a:pt x="7826" y="6415"/>
                    <a:pt x="7770" y="6401"/>
                    <a:pt x="7716" y="6374"/>
                  </a:cubicBezTo>
                  <a:lnTo>
                    <a:pt x="6251" y="5565"/>
                  </a:lnTo>
                  <a:cubicBezTo>
                    <a:pt x="6226" y="5554"/>
                    <a:pt x="6200" y="5548"/>
                    <a:pt x="6175" y="5548"/>
                  </a:cubicBezTo>
                  <a:cubicBezTo>
                    <a:pt x="6120" y="5548"/>
                    <a:pt x="6070" y="5575"/>
                    <a:pt x="6037" y="5624"/>
                  </a:cubicBezTo>
                  <a:cubicBezTo>
                    <a:pt x="5990" y="5708"/>
                    <a:pt x="6025" y="5791"/>
                    <a:pt x="6097" y="5839"/>
                  </a:cubicBezTo>
                  <a:lnTo>
                    <a:pt x="7287" y="6493"/>
                  </a:lnTo>
                  <a:cubicBezTo>
                    <a:pt x="7454" y="6577"/>
                    <a:pt x="7514" y="6779"/>
                    <a:pt x="7418" y="6934"/>
                  </a:cubicBezTo>
                  <a:cubicBezTo>
                    <a:pt x="7360" y="7050"/>
                    <a:pt x="7250" y="7114"/>
                    <a:pt x="7132" y="7114"/>
                  </a:cubicBezTo>
                  <a:cubicBezTo>
                    <a:pt x="7081" y="7114"/>
                    <a:pt x="7028" y="7102"/>
                    <a:pt x="6978" y="7077"/>
                  </a:cubicBezTo>
                  <a:lnTo>
                    <a:pt x="5728" y="6386"/>
                  </a:lnTo>
                  <a:cubicBezTo>
                    <a:pt x="5705" y="6371"/>
                    <a:pt x="5680" y="6365"/>
                    <a:pt x="5655" y="6365"/>
                  </a:cubicBezTo>
                  <a:cubicBezTo>
                    <a:pt x="5601" y="6365"/>
                    <a:pt x="5546" y="6397"/>
                    <a:pt x="5513" y="6446"/>
                  </a:cubicBezTo>
                  <a:cubicBezTo>
                    <a:pt x="5478" y="6517"/>
                    <a:pt x="5501" y="6613"/>
                    <a:pt x="5573" y="6660"/>
                  </a:cubicBezTo>
                  <a:lnTo>
                    <a:pt x="6549" y="7172"/>
                  </a:lnTo>
                  <a:cubicBezTo>
                    <a:pt x="6704" y="7267"/>
                    <a:pt x="6763" y="7458"/>
                    <a:pt x="6680" y="7625"/>
                  </a:cubicBezTo>
                  <a:cubicBezTo>
                    <a:pt x="6616" y="7737"/>
                    <a:pt x="6508" y="7801"/>
                    <a:pt x="6393" y="7801"/>
                  </a:cubicBezTo>
                  <a:cubicBezTo>
                    <a:pt x="6338" y="7801"/>
                    <a:pt x="6282" y="7786"/>
                    <a:pt x="6228" y="7756"/>
                  </a:cubicBezTo>
                  <a:lnTo>
                    <a:pt x="5549" y="7386"/>
                  </a:lnTo>
                  <a:cubicBezTo>
                    <a:pt x="5549" y="7255"/>
                    <a:pt x="5501" y="7101"/>
                    <a:pt x="5406" y="6994"/>
                  </a:cubicBezTo>
                  <a:cubicBezTo>
                    <a:pt x="5299" y="6851"/>
                    <a:pt x="5132" y="6755"/>
                    <a:pt x="4954" y="6744"/>
                  </a:cubicBezTo>
                  <a:lnTo>
                    <a:pt x="4954" y="6696"/>
                  </a:lnTo>
                  <a:cubicBezTo>
                    <a:pt x="4977" y="6541"/>
                    <a:pt x="4930" y="6363"/>
                    <a:pt x="4835" y="6220"/>
                  </a:cubicBezTo>
                  <a:cubicBezTo>
                    <a:pt x="4716" y="6077"/>
                    <a:pt x="4549" y="5982"/>
                    <a:pt x="4370" y="5970"/>
                  </a:cubicBezTo>
                  <a:lnTo>
                    <a:pt x="4370" y="5922"/>
                  </a:lnTo>
                  <a:cubicBezTo>
                    <a:pt x="4406" y="5767"/>
                    <a:pt x="4358" y="5589"/>
                    <a:pt x="4251" y="5446"/>
                  </a:cubicBezTo>
                  <a:cubicBezTo>
                    <a:pt x="4132" y="5303"/>
                    <a:pt x="3965" y="5208"/>
                    <a:pt x="3787" y="5196"/>
                  </a:cubicBezTo>
                  <a:lnTo>
                    <a:pt x="3787" y="5148"/>
                  </a:lnTo>
                  <a:cubicBezTo>
                    <a:pt x="3823" y="4993"/>
                    <a:pt x="3775" y="4815"/>
                    <a:pt x="3668" y="4672"/>
                  </a:cubicBezTo>
                  <a:cubicBezTo>
                    <a:pt x="3547" y="4516"/>
                    <a:pt x="3359" y="4432"/>
                    <a:pt x="3172" y="4432"/>
                  </a:cubicBezTo>
                  <a:cubicBezTo>
                    <a:pt x="3044" y="4432"/>
                    <a:pt x="2917" y="4471"/>
                    <a:pt x="2811" y="4553"/>
                  </a:cubicBezTo>
                  <a:lnTo>
                    <a:pt x="1763" y="5315"/>
                  </a:lnTo>
                  <a:lnTo>
                    <a:pt x="1394" y="5112"/>
                  </a:lnTo>
                  <a:lnTo>
                    <a:pt x="2870" y="2553"/>
                  </a:lnTo>
                  <a:close/>
                  <a:moveTo>
                    <a:pt x="4936" y="7026"/>
                  </a:moveTo>
                  <a:cubicBezTo>
                    <a:pt x="5036" y="7026"/>
                    <a:pt x="5132" y="7070"/>
                    <a:pt x="5204" y="7148"/>
                  </a:cubicBezTo>
                  <a:cubicBezTo>
                    <a:pt x="5251" y="7244"/>
                    <a:pt x="5275" y="7315"/>
                    <a:pt x="5263" y="7398"/>
                  </a:cubicBezTo>
                  <a:cubicBezTo>
                    <a:pt x="5251" y="7494"/>
                    <a:pt x="5204" y="7565"/>
                    <a:pt x="5132" y="7625"/>
                  </a:cubicBezTo>
                  <a:lnTo>
                    <a:pt x="4787" y="7875"/>
                  </a:lnTo>
                  <a:cubicBezTo>
                    <a:pt x="4729" y="7918"/>
                    <a:pt x="4658" y="7940"/>
                    <a:pt x="4588" y="7940"/>
                  </a:cubicBezTo>
                  <a:cubicBezTo>
                    <a:pt x="4487" y="7940"/>
                    <a:pt x="4386" y="7895"/>
                    <a:pt x="4323" y="7803"/>
                  </a:cubicBezTo>
                  <a:cubicBezTo>
                    <a:pt x="4215" y="7660"/>
                    <a:pt x="4251" y="7446"/>
                    <a:pt x="4406" y="7339"/>
                  </a:cubicBezTo>
                  <a:lnTo>
                    <a:pt x="4727" y="7101"/>
                  </a:lnTo>
                  <a:lnTo>
                    <a:pt x="4739" y="7089"/>
                  </a:lnTo>
                  <a:cubicBezTo>
                    <a:pt x="4802" y="7046"/>
                    <a:pt x="4870" y="7026"/>
                    <a:pt x="4936" y="7026"/>
                  </a:cubicBezTo>
                  <a:close/>
                  <a:moveTo>
                    <a:pt x="180" y="0"/>
                  </a:moveTo>
                  <a:cubicBezTo>
                    <a:pt x="125" y="0"/>
                    <a:pt x="69" y="27"/>
                    <a:pt x="36" y="76"/>
                  </a:cubicBezTo>
                  <a:cubicBezTo>
                    <a:pt x="1" y="159"/>
                    <a:pt x="24" y="243"/>
                    <a:pt x="96" y="290"/>
                  </a:cubicBezTo>
                  <a:lnTo>
                    <a:pt x="2382" y="1600"/>
                  </a:lnTo>
                  <a:lnTo>
                    <a:pt x="405" y="5005"/>
                  </a:lnTo>
                  <a:lnTo>
                    <a:pt x="251" y="4922"/>
                  </a:lnTo>
                  <a:cubicBezTo>
                    <a:pt x="221" y="4905"/>
                    <a:pt x="192" y="4897"/>
                    <a:pt x="164" y="4897"/>
                  </a:cubicBezTo>
                  <a:cubicBezTo>
                    <a:pt x="113" y="4897"/>
                    <a:pt x="67" y="4923"/>
                    <a:pt x="36" y="4969"/>
                  </a:cubicBezTo>
                  <a:cubicBezTo>
                    <a:pt x="1" y="5053"/>
                    <a:pt x="24" y="5136"/>
                    <a:pt x="96" y="5184"/>
                  </a:cubicBezTo>
                  <a:lnTo>
                    <a:pt x="882" y="5648"/>
                  </a:lnTo>
                  <a:cubicBezTo>
                    <a:pt x="908" y="5663"/>
                    <a:pt x="934" y="5670"/>
                    <a:pt x="959" y="5670"/>
                  </a:cubicBezTo>
                  <a:cubicBezTo>
                    <a:pt x="1014" y="5670"/>
                    <a:pt x="1063" y="5638"/>
                    <a:pt x="1096" y="5589"/>
                  </a:cubicBezTo>
                  <a:lnTo>
                    <a:pt x="1215" y="5398"/>
                  </a:lnTo>
                  <a:lnTo>
                    <a:pt x="1537" y="5565"/>
                  </a:lnTo>
                  <a:cubicBezTo>
                    <a:pt x="1441" y="5779"/>
                    <a:pt x="1453" y="6029"/>
                    <a:pt x="1584" y="6220"/>
                  </a:cubicBezTo>
                  <a:cubicBezTo>
                    <a:pt x="1703" y="6386"/>
                    <a:pt x="1894" y="6482"/>
                    <a:pt x="2096" y="6482"/>
                  </a:cubicBezTo>
                  <a:cubicBezTo>
                    <a:pt x="2156" y="6482"/>
                    <a:pt x="2227" y="6458"/>
                    <a:pt x="2287" y="6446"/>
                  </a:cubicBezTo>
                  <a:cubicBezTo>
                    <a:pt x="2287" y="6577"/>
                    <a:pt x="2334" y="6720"/>
                    <a:pt x="2406" y="6815"/>
                  </a:cubicBezTo>
                  <a:cubicBezTo>
                    <a:pt x="2525" y="6982"/>
                    <a:pt x="2715" y="7077"/>
                    <a:pt x="2906" y="7077"/>
                  </a:cubicBezTo>
                  <a:cubicBezTo>
                    <a:pt x="2965" y="7077"/>
                    <a:pt x="3049" y="7053"/>
                    <a:pt x="3108" y="7041"/>
                  </a:cubicBezTo>
                  <a:cubicBezTo>
                    <a:pt x="3108" y="7160"/>
                    <a:pt x="3144" y="7291"/>
                    <a:pt x="3227" y="7398"/>
                  </a:cubicBezTo>
                  <a:cubicBezTo>
                    <a:pt x="3323" y="7529"/>
                    <a:pt x="3465" y="7625"/>
                    <a:pt x="3644" y="7648"/>
                  </a:cubicBezTo>
                  <a:cubicBezTo>
                    <a:pt x="3668" y="7648"/>
                    <a:pt x="3715" y="7672"/>
                    <a:pt x="3739" y="7672"/>
                  </a:cubicBezTo>
                  <a:cubicBezTo>
                    <a:pt x="3799" y="7672"/>
                    <a:pt x="3882" y="7648"/>
                    <a:pt x="3942" y="7636"/>
                  </a:cubicBezTo>
                  <a:cubicBezTo>
                    <a:pt x="3942" y="7767"/>
                    <a:pt x="3977" y="7886"/>
                    <a:pt x="4061" y="7994"/>
                  </a:cubicBezTo>
                  <a:cubicBezTo>
                    <a:pt x="4156" y="8125"/>
                    <a:pt x="4299" y="8220"/>
                    <a:pt x="4477" y="8244"/>
                  </a:cubicBezTo>
                  <a:cubicBezTo>
                    <a:pt x="4501" y="8244"/>
                    <a:pt x="4549" y="8267"/>
                    <a:pt x="4573" y="8267"/>
                  </a:cubicBezTo>
                  <a:cubicBezTo>
                    <a:pt x="4716" y="8267"/>
                    <a:pt x="4835" y="8220"/>
                    <a:pt x="4954" y="8148"/>
                  </a:cubicBezTo>
                  <a:lnTo>
                    <a:pt x="5287" y="7886"/>
                  </a:lnTo>
                  <a:cubicBezTo>
                    <a:pt x="5370" y="7827"/>
                    <a:pt x="5430" y="7767"/>
                    <a:pt x="5466" y="7684"/>
                  </a:cubicBezTo>
                  <a:lnTo>
                    <a:pt x="6085" y="8029"/>
                  </a:lnTo>
                  <a:cubicBezTo>
                    <a:pt x="6168" y="8077"/>
                    <a:pt x="6275" y="8101"/>
                    <a:pt x="6382" y="8101"/>
                  </a:cubicBezTo>
                  <a:cubicBezTo>
                    <a:pt x="6442" y="8101"/>
                    <a:pt x="6501" y="8089"/>
                    <a:pt x="6561" y="8077"/>
                  </a:cubicBezTo>
                  <a:cubicBezTo>
                    <a:pt x="6716" y="8029"/>
                    <a:pt x="6859" y="7922"/>
                    <a:pt x="6930" y="7779"/>
                  </a:cubicBezTo>
                  <a:cubicBezTo>
                    <a:pt x="6990" y="7648"/>
                    <a:pt x="7013" y="7529"/>
                    <a:pt x="7002" y="7398"/>
                  </a:cubicBezTo>
                  <a:cubicBezTo>
                    <a:pt x="7049" y="7398"/>
                    <a:pt x="7073" y="7422"/>
                    <a:pt x="7121" y="7422"/>
                  </a:cubicBezTo>
                  <a:cubicBezTo>
                    <a:pt x="7347" y="7422"/>
                    <a:pt x="7573" y="7303"/>
                    <a:pt x="7668" y="7089"/>
                  </a:cubicBezTo>
                  <a:cubicBezTo>
                    <a:pt x="7728" y="6970"/>
                    <a:pt x="7764" y="6839"/>
                    <a:pt x="7752" y="6720"/>
                  </a:cubicBezTo>
                  <a:cubicBezTo>
                    <a:pt x="7787" y="6720"/>
                    <a:pt x="7823" y="6732"/>
                    <a:pt x="7871" y="6732"/>
                  </a:cubicBezTo>
                  <a:cubicBezTo>
                    <a:pt x="8085" y="6732"/>
                    <a:pt x="8311" y="6613"/>
                    <a:pt x="8418" y="6410"/>
                  </a:cubicBezTo>
                  <a:cubicBezTo>
                    <a:pt x="8478" y="6291"/>
                    <a:pt x="8502" y="6172"/>
                    <a:pt x="8490" y="6029"/>
                  </a:cubicBezTo>
                  <a:cubicBezTo>
                    <a:pt x="8537" y="6029"/>
                    <a:pt x="8561" y="6053"/>
                    <a:pt x="8609" y="6053"/>
                  </a:cubicBezTo>
                  <a:cubicBezTo>
                    <a:pt x="8668" y="6053"/>
                    <a:pt x="8728" y="6029"/>
                    <a:pt x="8787" y="6017"/>
                  </a:cubicBezTo>
                  <a:cubicBezTo>
                    <a:pt x="8954" y="5970"/>
                    <a:pt x="9085" y="5874"/>
                    <a:pt x="9157" y="5720"/>
                  </a:cubicBezTo>
                  <a:cubicBezTo>
                    <a:pt x="9240" y="5577"/>
                    <a:pt x="9264" y="5410"/>
                    <a:pt x="9204" y="5243"/>
                  </a:cubicBezTo>
                  <a:cubicBezTo>
                    <a:pt x="9192" y="5196"/>
                    <a:pt x="9180" y="5172"/>
                    <a:pt x="9157" y="5136"/>
                  </a:cubicBezTo>
                  <a:lnTo>
                    <a:pt x="9430" y="4946"/>
                  </a:lnTo>
                  <a:lnTo>
                    <a:pt x="9561" y="5124"/>
                  </a:lnTo>
                  <a:cubicBezTo>
                    <a:pt x="9591" y="5161"/>
                    <a:pt x="9644" y="5180"/>
                    <a:pt x="9694" y="5180"/>
                  </a:cubicBezTo>
                  <a:cubicBezTo>
                    <a:pt x="9724" y="5180"/>
                    <a:pt x="9753" y="5173"/>
                    <a:pt x="9776" y="5160"/>
                  </a:cubicBezTo>
                  <a:lnTo>
                    <a:pt x="10192" y="4827"/>
                  </a:lnTo>
                  <a:cubicBezTo>
                    <a:pt x="10264" y="4743"/>
                    <a:pt x="10276" y="4648"/>
                    <a:pt x="10240" y="4577"/>
                  </a:cubicBezTo>
                  <a:cubicBezTo>
                    <a:pt x="10210" y="4539"/>
                    <a:pt x="10157" y="4521"/>
                    <a:pt x="10107" y="4521"/>
                  </a:cubicBezTo>
                  <a:cubicBezTo>
                    <a:pt x="10077" y="4521"/>
                    <a:pt x="10048" y="4527"/>
                    <a:pt x="10026" y="4541"/>
                  </a:cubicBezTo>
                  <a:lnTo>
                    <a:pt x="9728" y="4779"/>
                  </a:lnTo>
                  <a:lnTo>
                    <a:pt x="7347" y="1671"/>
                  </a:lnTo>
                  <a:lnTo>
                    <a:pt x="8704" y="790"/>
                  </a:lnTo>
                  <a:cubicBezTo>
                    <a:pt x="8776" y="755"/>
                    <a:pt x="8787" y="659"/>
                    <a:pt x="8752" y="588"/>
                  </a:cubicBezTo>
                  <a:cubicBezTo>
                    <a:pt x="8721" y="542"/>
                    <a:pt x="8670" y="516"/>
                    <a:pt x="8619" y="516"/>
                  </a:cubicBezTo>
                  <a:cubicBezTo>
                    <a:pt x="8591" y="516"/>
                    <a:pt x="8563" y="523"/>
                    <a:pt x="8537" y="540"/>
                  </a:cubicBezTo>
                  <a:lnTo>
                    <a:pt x="7049" y="1493"/>
                  </a:lnTo>
                  <a:cubicBezTo>
                    <a:pt x="6978" y="1540"/>
                    <a:pt x="6966" y="1648"/>
                    <a:pt x="7002" y="1719"/>
                  </a:cubicBezTo>
                  <a:lnTo>
                    <a:pt x="7275" y="2076"/>
                  </a:lnTo>
                  <a:lnTo>
                    <a:pt x="7085" y="2219"/>
                  </a:lnTo>
                  <a:lnTo>
                    <a:pt x="6311" y="1969"/>
                  </a:lnTo>
                  <a:cubicBezTo>
                    <a:pt x="6287" y="1969"/>
                    <a:pt x="6275" y="1957"/>
                    <a:pt x="6263" y="1957"/>
                  </a:cubicBezTo>
                  <a:lnTo>
                    <a:pt x="4501" y="1957"/>
                  </a:lnTo>
                  <a:cubicBezTo>
                    <a:pt x="4430" y="1957"/>
                    <a:pt x="4370" y="2005"/>
                    <a:pt x="4358" y="2076"/>
                  </a:cubicBezTo>
                  <a:lnTo>
                    <a:pt x="4251" y="2481"/>
                  </a:lnTo>
                  <a:lnTo>
                    <a:pt x="4001" y="2374"/>
                  </a:lnTo>
                  <a:cubicBezTo>
                    <a:pt x="3965" y="2362"/>
                    <a:pt x="3954" y="2362"/>
                    <a:pt x="3930" y="2362"/>
                  </a:cubicBezTo>
                  <a:lnTo>
                    <a:pt x="3227" y="2433"/>
                  </a:lnTo>
                  <a:lnTo>
                    <a:pt x="2989" y="2302"/>
                  </a:lnTo>
                  <a:lnTo>
                    <a:pt x="3215" y="1910"/>
                  </a:lnTo>
                  <a:cubicBezTo>
                    <a:pt x="3251" y="1838"/>
                    <a:pt x="3227" y="1743"/>
                    <a:pt x="3156" y="1707"/>
                  </a:cubicBezTo>
                  <a:lnTo>
                    <a:pt x="251" y="16"/>
                  </a:lnTo>
                  <a:cubicBezTo>
                    <a:pt x="229" y="5"/>
                    <a:pt x="204" y="0"/>
                    <a:pt x="18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8" name="Google Shape;13598;p64"/>
            <p:cNvSpPr/>
            <p:nvPr/>
          </p:nvSpPr>
          <p:spPr>
            <a:xfrm>
              <a:off x="3059960" y="2009628"/>
              <a:ext cx="37177" cy="26960"/>
            </a:xfrm>
            <a:custGeom>
              <a:avLst/>
              <a:gdLst/>
              <a:ahLst/>
              <a:cxnLst/>
              <a:rect l="l" t="t" r="r" b="b"/>
              <a:pathLst>
                <a:path w="1168" h="847" extrusionOk="0">
                  <a:moveTo>
                    <a:pt x="999" y="0"/>
                  </a:moveTo>
                  <a:cubicBezTo>
                    <a:pt x="971" y="0"/>
                    <a:pt x="943" y="8"/>
                    <a:pt x="918" y="25"/>
                  </a:cubicBezTo>
                  <a:lnTo>
                    <a:pt x="84" y="561"/>
                  </a:lnTo>
                  <a:cubicBezTo>
                    <a:pt x="13" y="608"/>
                    <a:pt x="1" y="692"/>
                    <a:pt x="37" y="775"/>
                  </a:cubicBezTo>
                  <a:cubicBezTo>
                    <a:pt x="72" y="811"/>
                    <a:pt x="120" y="846"/>
                    <a:pt x="156" y="846"/>
                  </a:cubicBezTo>
                  <a:cubicBezTo>
                    <a:pt x="191" y="846"/>
                    <a:pt x="215" y="823"/>
                    <a:pt x="239" y="811"/>
                  </a:cubicBezTo>
                  <a:lnTo>
                    <a:pt x="1073" y="275"/>
                  </a:lnTo>
                  <a:cubicBezTo>
                    <a:pt x="1156" y="239"/>
                    <a:pt x="1168" y="144"/>
                    <a:pt x="1132" y="72"/>
                  </a:cubicBezTo>
                  <a:cubicBezTo>
                    <a:pt x="1101" y="26"/>
                    <a:pt x="1051" y="0"/>
                    <a:pt x="9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99" name="Google Shape;13599;p64"/>
          <p:cNvSpPr/>
          <p:nvPr/>
        </p:nvSpPr>
        <p:spPr>
          <a:xfrm>
            <a:off x="7060068" y="1989129"/>
            <a:ext cx="354363" cy="324093"/>
          </a:xfrm>
          <a:custGeom>
            <a:avLst/>
            <a:gdLst/>
            <a:ahLst/>
            <a:cxnLst/>
            <a:rect l="l" t="t" r="r" b="b"/>
            <a:pathLst>
              <a:path w="11133" h="10182" extrusionOk="0">
                <a:moveTo>
                  <a:pt x="4132" y="3622"/>
                </a:moveTo>
                <a:cubicBezTo>
                  <a:pt x="4299" y="3622"/>
                  <a:pt x="4430" y="3753"/>
                  <a:pt x="4430" y="3919"/>
                </a:cubicBezTo>
                <a:cubicBezTo>
                  <a:pt x="4430" y="4074"/>
                  <a:pt x="4299" y="4217"/>
                  <a:pt x="4132" y="4217"/>
                </a:cubicBezTo>
                <a:cubicBezTo>
                  <a:pt x="3965" y="4217"/>
                  <a:pt x="3834" y="4074"/>
                  <a:pt x="3834" y="3919"/>
                </a:cubicBezTo>
                <a:cubicBezTo>
                  <a:pt x="3846" y="3753"/>
                  <a:pt x="3965" y="3622"/>
                  <a:pt x="4132" y="3622"/>
                </a:cubicBezTo>
                <a:close/>
                <a:moveTo>
                  <a:pt x="5334" y="1252"/>
                </a:moveTo>
                <a:lnTo>
                  <a:pt x="5334" y="1776"/>
                </a:lnTo>
                <a:lnTo>
                  <a:pt x="5358" y="3645"/>
                </a:lnTo>
                <a:lnTo>
                  <a:pt x="5370" y="5300"/>
                </a:lnTo>
                <a:lnTo>
                  <a:pt x="1405" y="4419"/>
                </a:lnTo>
                <a:cubicBezTo>
                  <a:pt x="1679" y="3455"/>
                  <a:pt x="2322" y="2574"/>
                  <a:pt x="3156" y="2014"/>
                </a:cubicBezTo>
                <a:lnTo>
                  <a:pt x="3870" y="3324"/>
                </a:lnTo>
                <a:cubicBezTo>
                  <a:pt x="3644" y="3419"/>
                  <a:pt x="3489" y="3645"/>
                  <a:pt x="3489" y="3895"/>
                </a:cubicBezTo>
                <a:cubicBezTo>
                  <a:pt x="3489" y="4253"/>
                  <a:pt x="3775" y="4538"/>
                  <a:pt x="4132" y="4538"/>
                </a:cubicBezTo>
                <a:cubicBezTo>
                  <a:pt x="4489" y="4538"/>
                  <a:pt x="4775" y="4253"/>
                  <a:pt x="4775" y="3895"/>
                </a:cubicBezTo>
                <a:cubicBezTo>
                  <a:pt x="4775" y="3586"/>
                  <a:pt x="4537" y="3324"/>
                  <a:pt x="4239" y="3264"/>
                </a:cubicBezTo>
                <a:lnTo>
                  <a:pt x="3453" y="1800"/>
                </a:lnTo>
                <a:cubicBezTo>
                  <a:pt x="4013" y="1490"/>
                  <a:pt x="4656" y="1300"/>
                  <a:pt x="5334" y="1252"/>
                </a:cubicBezTo>
                <a:close/>
                <a:moveTo>
                  <a:pt x="5715" y="3860"/>
                </a:moveTo>
                <a:cubicBezTo>
                  <a:pt x="6573" y="3943"/>
                  <a:pt x="7239" y="4657"/>
                  <a:pt x="7239" y="5550"/>
                </a:cubicBezTo>
                <a:cubicBezTo>
                  <a:pt x="7239" y="5896"/>
                  <a:pt x="7144" y="6217"/>
                  <a:pt x="6942" y="6503"/>
                </a:cubicBezTo>
                <a:lnTo>
                  <a:pt x="5715" y="5455"/>
                </a:lnTo>
                <a:lnTo>
                  <a:pt x="5715" y="3860"/>
                </a:lnTo>
                <a:close/>
                <a:moveTo>
                  <a:pt x="5846" y="347"/>
                </a:moveTo>
                <a:cubicBezTo>
                  <a:pt x="8597" y="502"/>
                  <a:pt x="10752" y="2776"/>
                  <a:pt x="10752" y="5550"/>
                </a:cubicBezTo>
                <a:cubicBezTo>
                  <a:pt x="10752" y="6682"/>
                  <a:pt x="10395" y="7741"/>
                  <a:pt x="9728" y="8646"/>
                </a:cubicBezTo>
                <a:cubicBezTo>
                  <a:pt x="9704" y="8682"/>
                  <a:pt x="9656" y="8706"/>
                  <a:pt x="9609" y="8706"/>
                </a:cubicBezTo>
                <a:cubicBezTo>
                  <a:pt x="9561" y="8706"/>
                  <a:pt x="9537" y="8694"/>
                  <a:pt x="9502" y="8658"/>
                </a:cubicBezTo>
                <a:lnTo>
                  <a:pt x="8644" y="7932"/>
                </a:lnTo>
                <a:cubicBezTo>
                  <a:pt x="9073" y="7372"/>
                  <a:pt x="9347" y="6717"/>
                  <a:pt x="9430" y="6015"/>
                </a:cubicBezTo>
                <a:cubicBezTo>
                  <a:pt x="9442" y="5908"/>
                  <a:pt x="9359" y="5824"/>
                  <a:pt x="9252" y="5824"/>
                </a:cubicBezTo>
                <a:cubicBezTo>
                  <a:pt x="9168" y="5824"/>
                  <a:pt x="9085" y="5884"/>
                  <a:pt x="9073" y="5967"/>
                </a:cubicBezTo>
                <a:cubicBezTo>
                  <a:pt x="9002" y="6562"/>
                  <a:pt x="8775" y="7146"/>
                  <a:pt x="8418" y="7634"/>
                </a:cubicBezTo>
                <a:cubicBezTo>
                  <a:pt x="8406" y="7646"/>
                  <a:pt x="8394" y="7682"/>
                  <a:pt x="8371" y="7694"/>
                </a:cubicBezTo>
                <a:cubicBezTo>
                  <a:pt x="8371" y="7694"/>
                  <a:pt x="8371" y="7705"/>
                  <a:pt x="8359" y="7705"/>
                </a:cubicBezTo>
                <a:lnTo>
                  <a:pt x="7204" y="6729"/>
                </a:lnTo>
                <a:cubicBezTo>
                  <a:pt x="7442" y="6384"/>
                  <a:pt x="7573" y="5967"/>
                  <a:pt x="7573" y="5550"/>
                </a:cubicBezTo>
                <a:cubicBezTo>
                  <a:pt x="7573" y="4479"/>
                  <a:pt x="6739" y="3586"/>
                  <a:pt x="5680" y="3514"/>
                </a:cubicBezTo>
                <a:lnTo>
                  <a:pt x="5680" y="1979"/>
                </a:lnTo>
                <a:lnTo>
                  <a:pt x="5787" y="1979"/>
                </a:lnTo>
                <a:cubicBezTo>
                  <a:pt x="5811" y="1979"/>
                  <a:pt x="5846" y="1979"/>
                  <a:pt x="5894" y="1990"/>
                </a:cubicBezTo>
                <a:cubicBezTo>
                  <a:pt x="7561" y="2169"/>
                  <a:pt x="8894" y="3503"/>
                  <a:pt x="9073" y="5169"/>
                </a:cubicBezTo>
                <a:cubicBezTo>
                  <a:pt x="9085" y="5253"/>
                  <a:pt x="9168" y="5312"/>
                  <a:pt x="9252" y="5312"/>
                </a:cubicBezTo>
                <a:cubicBezTo>
                  <a:pt x="9359" y="5312"/>
                  <a:pt x="9430" y="5229"/>
                  <a:pt x="9430" y="5122"/>
                </a:cubicBezTo>
                <a:cubicBezTo>
                  <a:pt x="9228" y="3205"/>
                  <a:pt x="7632" y="1693"/>
                  <a:pt x="5680" y="1621"/>
                </a:cubicBezTo>
                <a:lnTo>
                  <a:pt x="5680" y="490"/>
                </a:lnTo>
                <a:cubicBezTo>
                  <a:pt x="5680" y="443"/>
                  <a:pt x="5692" y="419"/>
                  <a:pt x="5727" y="383"/>
                </a:cubicBezTo>
                <a:cubicBezTo>
                  <a:pt x="5751" y="359"/>
                  <a:pt x="5799" y="347"/>
                  <a:pt x="5846" y="347"/>
                </a:cubicBezTo>
                <a:close/>
                <a:moveTo>
                  <a:pt x="1334" y="4788"/>
                </a:moveTo>
                <a:lnTo>
                  <a:pt x="5323" y="5681"/>
                </a:lnTo>
                <a:lnTo>
                  <a:pt x="4239" y="9622"/>
                </a:lnTo>
                <a:cubicBezTo>
                  <a:pt x="2513" y="9063"/>
                  <a:pt x="1262" y="7455"/>
                  <a:pt x="1262" y="5550"/>
                </a:cubicBezTo>
                <a:cubicBezTo>
                  <a:pt x="1262" y="5300"/>
                  <a:pt x="1286" y="5050"/>
                  <a:pt x="1334" y="4788"/>
                </a:cubicBezTo>
                <a:close/>
                <a:moveTo>
                  <a:pt x="5656" y="5848"/>
                </a:moveTo>
                <a:lnTo>
                  <a:pt x="6870" y="6872"/>
                </a:lnTo>
                <a:lnTo>
                  <a:pt x="8299" y="8086"/>
                </a:lnTo>
                <a:lnTo>
                  <a:pt x="8704" y="8420"/>
                </a:lnTo>
                <a:cubicBezTo>
                  <a:pt x="7882" y="9313"/>
                  <a:pt x="6751" y="9825"/>
                  <a:pt x="5549" y="9825"/>
                </a:cubicBezTo>
                <a:cubicBezTo>
                  <a:pt x="5203" y="9825"/>
                  <a:pt x="4894" y="9777"/>
                  <a:pt x="4584" y="9706"/>
                </a:cubicBezTo>
                <a:lnTo>
                  <a:pt x="5656" y="5848"/>
                </a:lnTo>
                <a:close/>
                <a:moveTo>
                  <a:pt x="5837" y="1"/>
                </a:moveTo>
                <a:cubicBezTo>
                  <a:pt x="5717" y="1"/>
                  <a:pt x="5599" y="57"/>
                  <a:pt x="5501" y="133"/>
                </a:cubicBezTo>
                <a:cubicBezTo>
                  <a:pt x="5394" y="228"/>
                  <a:pt x="5334" y="359"/>
                  <a:pt x="5358" y="502"/>
                </a:cubicBezTo>
                <a:lnTo>
                  <a:pt x="5358" y="943"/>
                </a:lnTo>
                <a:cubicBezTo>
                  <a:pt x="4620" y="967"/>
                  <a:pt x="3929" y="1181"/>
                  <a:pt x="3298" y="1514"/>
                </a:cubicBezTo>
                <a:lnTo>
                  <a:pt x="2894" y="788"/>
                </a:lnTo>
                <a:cubicBezTo>
                  <a:pt x="2870" y="728"/>
                  <a:pt x="2810" y="693"/>
                  <a:pt x="2751" y="693"/>
                </a:cubicBezTo>
                <a:lnTo>
                  <a:pt x="358" y="693"/>
                </a:lnTo>
                <a:lnTo>
                  <a:pt x="358" y="395"/>
                </a:lnTo>
                <a:cubicBezTo>
                  <a:pt x="358" y="300"/>
                  <a:pt x="274" y="228"/>
                  <a:pt x="179" y="228"/>
                </a:cubicBezTo>
                <a:cubicBezTo>
                  <a:pt x="72" y="228"/>
                  <a:pt x="0" y="300"/>
                  <a:pt x="0" y="395"/>
                </a:cubicBezTo>
                <a:lnTo>
                  <a:pt x="0" y="1336"/>
                </a:lnTo>
                <a:cubicBezTo>
                  <a:pt x="0" y="1443"/>
                  <a:pt x="72" y="1514"/>
                  <a:pt x="179" y="1514"/>
                </a:cubicBezTo>
                <a:cubicBezTo>
                  <a:pt x="274" y="1514"/>
                  <a:pt x="358" y="1443"/>
                  <a:pt x="358" y="1336"/>
                </a:cubicBezTo>
                <a:lnTo>
                  <a:pt x="358" y="1038"/>
                </a:lnTo>
                <a:lnTo>
                  <a:pt x="2644" y="1038"/>
                </a:lnTo>
                <a:lnTo>
                  <a:pt x="3001" y="1693"/>
                </a:lnTo>
                <a:cubicBezTo>
                  <a:pt x="2751" y="1871"/>
                  <a:pt x="2501" y="2062"/>
                  <a:pt x="2275" y="2288"/>
                </a:cubicBezTo>
                <a:cubicBezTo>
                  <a:pt x="1405" y="3169"/>
                  <a:pt x="929" y="4312"/>
                  <a:pt x="929" y="5550"/>
                </a:cubicBezTo>
                <a:cubicBezTo>
                  <a:pt x="929" y="8098"/>
                  <a:pt x="3001" y="10182"/>
                  <a:pt x="5561" y="10182"/>
                </a:cubicBezTo>
                <a:cubicBezTo>
                  <a:pt x="6870" y="10182"/>
                  <a:pt x="8109" y="9622"/>
                  <a:pt x="8990" y="8658"/>
                </a:cubicBezTo>
                <a:lnTo>
                  <a:pt x="9311" y="8944"/>
                </a:lnTo>
                <a:cubicBezTo>
                  <a:pt x="9406" y="9015"/>
                  <a:pt x="9525" y="9063"/>
                  <a:pt x="9644" y="9063"/>
                </a:cubicBezTo>
                <a:lnTo>
                  <a:pt x="9704" y="9063"/>
                </a:lnTo>
                <a:cubicBezTo>
                  <a:pt x="9835" y="9051"/>
                  <a:pt x="9966" y="8967"/>
                  <a:pt x="10037" y="8872"/>
                </a:cubicBezTo>
                <a:cubicBezTo>
                  <a:pt x="10752" y="7896"/>
                  <a:pt x="11133" y="6765"/>
                  <a:pt x="11133" y="5562"/>
                </a:cubicBezTo>
                <a:cubicBezTo>
                  <a:pt x="11109" y="2610"/>
                  <a:pt x="8811" y="169"/>
                  <a:pt x="5870" y="2"/>
                </a:cubicBezTo>
                <a:cubicBezTo>
                  <a:pt x="5859" y="1"/>
                  <a:pt x="5848" y="1"/>
                  <a:pt x="58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600" name="Google Shape;13600;p64"/>
          <p:cNvGrpSpPr/>
          <p:nvPr/>
        </p:nvGrpSpPr>
        <p:grpSpPr>
          <a:xfrm>
            <a:off x="4195399" y="1970604"/>
            <a:ext cx="344878" cy="343573"/>
            <a:chOff x="4195399" y="1970604"/>
            <a:chExt cx="344878" cy="343573"/>
          </a:xfrm>
        </p:grpSpPr>
        <p:sp>
          <p:nvSpPr>
            <p:cNvPr id="13601" name="Google Shape;13601;p64"/>
            <p:cNvSpPr/>
            <p:nvPr/>
          </p:nvSpPr>
          <p:spPr>
            <a:xfrm>
              <a:off x="4195399" y="1970604"/>
              <a:ext cx="344878" cy="343573"/>
            </a:xfrm>
            <a:custGeom>
              <a:avLst/>
              <a:gdLst/>
              <a:ahLst/>
              <a:cxnLst/>
              <a:rect l="l" t="t" r="r" b="b"/>
              <a:pathLst>
                <a:path w="10835" h="10794" extrusionOk="0">
                  <a:moveTo>
                    <a:pt x="4155" y="6287"/>
                  </a:moveTo>
                  <a:cubicBezTo>
                    <a:pt x="4274" y="6418"/>
                    <a:pt x="4417" y="6561"/>
                    <a:pt x="4572" y="6704"/>
                  </a:cubicBezTo>
                  <a:lnTo>
                    <a:pt x="3977" y="7299"/>
                  </a:lnTo>
                  <a:lnTo>
                    <a:pt x="3929" y="7252"/>
                  </a:lnTo>
                  <a:lnTo>
                    <a:pt x="3596" y="6918"/>
                  </a:lnTo>
                  <a:lnTo>
                    <a:pt x="3560" y="6883"/>
                  </a:lnTo>
                  <a:lnTo>
                    <a:pt x="4155" y="6287"/>
                  </a:lnTo>
                  <a:close/>
                  <a:moveTo>
                    <a:pt x="3203" y="7064"/>
                  </a:moveTo>
                  <a:cubicBezTo>
                    <a:pt x="3271" y="7064"/>
                    <a:pt x="3340" y="7091"/>
                    <a:pt x="3393" y="7144"/>
                  </a:cubicBezTo>
                  <a:lnTo>
                    <a:pt x="3715" y="7478"/>
                  </a:lnTo>
                  <a:cubicBezTo>
                    <a:pt x="3810" y="7573"/>
                    <a:pt x="3822" y="7740"/>
                    <a:pt x="3715" y="7847"/>
                  </a:cubicBezTo>
                  <a:lnTo>
                    <a:pt x="3524" y="8037"/>
                  </a:lnTo>
                  <a:lnTo>
                    <a:pt x="2822" y="7335"/>
                  </a:lnTo>
                  <a:lnTo>
                    <a:pt x="3012" y="7144"/>
                  </a:lnTo>
                  <a:cubicBezTo>
                    <a:pt x="3066" y="7091"/>
                    <a:pt x="3134" y="7064"/>
                    <a:pt x="3203" y="7064"/>
                  </a:cubicBezTo>
                  <a:close/>
                  <a:moveTo>
                    <a:pt x="2608" y="7549"/>
                  </a:moveTo>
                  <a:lnTo>
                    <a:pt x="3298" y="8252"/>
                  </a:lnTo>
                  <a:lnTo>
                    <a:pt x="1143" y="10407"/>
                  </a:lnTo>
                  <a:cubicBezTo>
                    <a:pt x="1089" y="10460"/>
                    <a:pt x="1024" y="10487"/>
                    <a:pt x="959" y="10487"/>
                  </a:cubicBezTo>
                  <a:cubicBezTo>
                    <a:pt x="893" y="10487"/>
                    <a:pt x="828" y="10460"/>
                    <a:pt x="774" y="10407"/>
                  </a:cubicBezTo>
                  <a:lnTo>
                    <a:pt x="441" y="10073"/>
                  </a:lnTo>
                  <a:cubicBezTo>
                    <a:pt x="345" y="9978"/>
                    <a:pt x="345" y="9811"/>
                    <a:pt x="441" y="9704"/>
                  </a:cubicBezTo>
                  <a:lnTo>
                    <a:pt x="2608" y="7549"/>
                  </a:lnTo>
                  <a:close/>
                  <a:moveTo>
                    <a:pt x="7037" y="1"/>
                  </a:moveTo>
                  <a:cubicBezTo>
                    <a:pt x="3941" y="1"/>
                    <a:pt x="2155" y="3513"/>
                    <a:pt x="3953" y="6013"/>
                  </a:cubicBezTo>
                  <a:lnTo>
                    <a:pt x="3239" y="6728"/>
                  </a:lnTo>
                  <a:cubicBezTo>
                    <a:pt x="3224" y="6727"/>
                    <a:pt x="3209" y="6726"/>
                    <a:pt x="3194" y="6726"/>
                  </a:cubicBezTo>
                  <a:cubicBezTo>
                    <a:pt x="3036" y="6726"/>
                    <a:pt x="2907" y="6785"/>
                    <a:pt x="2798" y="6894"/>
                  </a:cubicBezTo>
                  <a:lnTo>
                    <a:pt x="226" y="9466"/>
                  </a:lnTo>
                  <a:cubicBezTo>
                    <a:pt x="0" y="9692"/>
                    <a:pt x="0" y="10061"/>
                    <a:pt x="226" y="10288"/>
                  </a:cubicBezTo>
                  <a:lnTo>
                    <a:pt x="548" y="10633"/>
                  </a:lnTo>
                  <a:cubicBezTo>
                    <a:pt x="661" y="10740"/>
                    <a:pt x="810" y="10794"/>
                    <a:pt x="959" y="10794"/>
                  </a:cubicBezTo>
                  <a:cubicBezTo>
                    <a:pt x="1107" y="10794"/>
                    <a:pt x="1256" y="10740"/>
                    <a:pt x="1369" y="10633"/>
                  </a:cubicBezTo>
                  <a:lnTo>
                    <a:pt x="3631" y="8371"/>
                  </a:lnTo>
                  <a:lnTo>
                    <a:pt x="3941" y="8049"/>
                  </a:lnTo>
                  <a:cubicBezTo>
                    <a:pt x="4060" y="7930"/>
                    <a:pt x="4120" y="7775"/>
                    <a:pt x="4108" y="7609"/>
                  </a:cubicBezTo>
                  <a:lnTo>
                    <a:pt x="4822" y="6894"/>
                  </a:lnTo>
                  <a:cubicBezTo>
                    <a:pt x="5358" y="7275"/>
                    <a:pt x="6001" y="7514"/>
                    <a:pt x="6656" y="7597"/>
                  </a:cubicBezTo>
                  <a:lnTo>
                    <a:pt x="6668" y="7597"/>
                  </a:lnTo>
                  <a:cubicBezTo>
                    <a:pt x="6739" y="7597"/>
                    <a:pt x="6810" y="7537"/>
                    <a:pt x="6834" y="7442"/>
                  </a:cubicBezTo>
                  <a:cubicBezTo>
                    <a:pt x="6846" y="7359"/>
                    <a:pt x="6775" y="7275"/>
                    <a:pt x="6691" y="7264"/>
                  </a:cubicBezTo>
                  <a:cubicBezTo>
                    <a:pt x="6013" y="7192"/>
                    <a:pt x="5370" y="6918"/>
                    <a:pt x="4846" y="6502"/>
                  </a:cubicBezTo>
                  <a:cubicBezTo>
                    <a:pt x="2286" y="4442"/>
                    <a:pt x="3798" y="334"/>
                    <a:pt x="7037" y="334"/>
                  </a:cubicBezTo>
                  <a:cubicBezTo>
                    <a:pt x="8870" y="334"/>
                    <a:pt x="10323" y="1715"/>
                    <a:pt x="10501" y="3454"/>
                  </a:cubicBezTo>
                  <a:cubicBezTo>
                    <a:pt x="10522" y="3535"/>
                    <a:pt x="10576" y="3590"/>
                    <a:pt x="10644" y="3590"/>
                  </a:cubicBezTo>
                  <a:cubicBezTo>
                    <a:pt x="10655" y="3590"/>
                    <a:pt x="10668" y="3588"/>
                    <a:pt x="10680" y="3584"/>
                  </a:cubicBezTo>
                  <a:cubicBezTo>
                    <a:pt x="10775" y="3573"/>
                    <a:pt x="10835" y="3501"/>
                    <a:pt x="10823" y="3406"/>
                  </a:cubicBezTo>
                  <a:cubicBezTo>
                    <a:pt x="10620" y="1525"/>
                    <a:pt x="9037" y="1"/>
                    <a:pt x="7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2" name="Google Shape;13602;p64"/>
            <p:cNvSpPr/>
            <p:nvPr/>
          </p:nvSpPr>
          <p:spPr>
            <a:xfrm>
              <a:off x="4311356" y="1993458"/>
              <a:ext cx="206959" cy="197378"/>
            </a:xfrm>
            <a:custGeom>
              <a:avLst/>
              <a:gdLst/>
              <a:ahLst/>
              <a:cxnLst/>
              <a:rect l="l" t="t" r="r" b="b"/>
              <a:pathLst>
                <a:path w="6502" h="6201" extrusionOk="0">
                  <a:moveTo>
                    <a:pt x="3394" y="295"/>
                  </a:moveTo>
                  <a:cubicBezTo>
                    <a:pt x="4930" y="295"/>
                    <a:pt x="6180" y="1533"/>
                    <a:pt x="6180" y="3081"/>
                  </a:cubicBezTo>
                  <a:cubicBezTo>
                    <a:pt x="6180" y="4641"/>
                    <a:pt x="4930" y="5879"/>
                    <a:pt x="3394" y="5879"/>
                  </a:cubicBezTo>
                  <a:cubicBezTo>
                    <a:pt x="2679" y="5879"/>
                    <a:pt x="1965" y="5605"/>
                    <a:pt x="1429" y="5057"/>
                  </a:cubicBezTo>
                  <a:cubicBezTo>
                    <a:pt x="346" y="3974"/>
                    <a:pt x="346" y="2200"/>
                    <a:pt x="1429" y="1116"/>
                  </a:cubicBezTo>
                  <a:cubicBezTo>
                    <a:pt x="1977" y="569"/>
                    <a:pt x="2679" y="295"/>
                    <a:pt x="3394" y="295"/>
                  </a:cubicBezTo>
                  <a:close/>
                  <a:moveTo>
                    <a:pt x="3404" y="0"/>
                  </a:moveTo>
                  <a:cubicBezTo>
                    <a:pt x="2608" y="0"/>
                    <a:pt x="1810" y="301"/>
                    <a:pt x="1203" y="902"/>
                  </a:cubicBezTo>
                  <a:cubicBezTo>
                    <a:pt x="0" y="2116"/>
                    <a:pt x="0" y="4093"/>
                    <a:pt x="1203" y="5295"/>
                  </a:cubicBezTo>
                  <a:cubicBezTo>
                    <a:pt x="1822" y="5903"/>
                    <a:pt x="2608" y="6200"/>
                    <a:pt x="3394" y="6200"/>
                  </a:cubicBezTo>
                  <a:cubicBezTo>
                    <a:pt x="5108" y="6188"/>
                    <a:pt x="6501" y="4819"/>
                    <a:pt x="6501" y="3093"/>
                  </a:cubicBezTo>
                  <a:cubicBezTo>
                    <a:pt x="6501" y="2259"/>
                    <a:pt x="6180" y="1485"/>
                    <a:pt x="5596" y="902"/>
                  </a:cubicBezTo>
                  <a:cubicBezTo>
                    <a:pt x="4995" y="301"/>
                    <a:pt x="4200" y="0"/>
                    <a:pt x="340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3" name="Google Shape;13603;p64"/>
            <p:cNvSpPr/>
            <p:nvPr/>
          </p:nvSpPr>
          <p:spPr>
            <a:xfrm>
              <a:off x="4372374" y="2030476"/>
              <a:ext cx="94026" cy="114493"/>
            </a:xfrm>
            <a:custGeom>
              <a:avLst/>
              <a:gdLst/>
              <a:ahLst/>
              <a:cxnLst/>
              <a:rect l="l" t="t" r="r" b="b"/>
              <a:pathLst>
                <a:path w="2954" h="3597" extrusionOk="0">
                  <a:moveTo>
                    <a:pt x="1477" y="310"/>
                  </a:moveTo>
                  <a:cubicBezTo>
                    <a:pt x="1834" y="310"/>
                    <a:pt x="2120" y="584"/>
                    <a:pt x="2120" y="953"/>
                  </a:cubicBezTo>
                  <a:cubicBezTo>
                    <a:pt x="2120" y="1311"/>
                    <a:pt x="1834" y="1584"/>
                    <a:pt x="1477" y="1584"/>
                  </a:cubicBezTo>
                  <a:cubicBezTo>
                    <a:pt x="1119" y="1584"/>
                    <a:pt x="834" y="1311"/>
                    <a:pt x="834" y="953"/>
                  </a:cubicBezTo>
                  <a:cubicBezTo>
                    <a:pt x="834" y="596"/>
                    <a:pt x="1119" y="310"/>
                    <a:pt x="1477" y="310"/>
                  </a:cubicBezTo>
                  <a:close/>
                  <a:moveTo>
                    <a:pt x="1905" y="1918"/>
                  </a:moveTo>
                  <a:cubicBezTo>
                    <a:pt x="2298" y="1918"/>
                    <a:pt x="2608" y="2227"/>
                    <a:pt x="2608" y="2620"/>
                  </a:cubicBezTo>
                  <a:lnTo>
                    <a:pt x="2608" y="3287"/>
                  </a:lnTo>
                  <a:lnTo>
                    <a:pt x="2298" y="3287"/>
                  </a:lnTo>
                  <a:lnTo>
                    <a:pt x="2298" y="2585"/>
                  </a:lnTo>
                  <a:cubicBezTo>
                    <a:pt x="2298" y="2501"/>
                    <a:pt x="2227" y="2418"/>
                    <a:pt x="2132" y="2418"/>
                  </a:cubicBezTo>
                  <a:cubicBezTo>
                    <a:pt x="2048" y="2418"/>
                    <a:pt x="1965" y="2501"/>
                    <a:pt x="1965" y="2585"/>
                  </a:cubicBezTo>
                  <a:lnTo>
                    <a:pt x="1965" y="3287"/>
                  </a:lnTo>
                  <a:lnTo>
                    <a:pt x="977" y="3287"/>
                  </a:lnTo>
                  <a:lnTo>
                    <a:pt x="977" y="2585"/>
                  </a:lnTo>
                  <a:cubicBezTo>
                    <a:pt x="977" y="2501"/>
                    <a:pt x="893" y="2418"/>
                    <a:pt x="810" y="2418"/>
                  </a:cubicBezTo>
                  <a:cubicBezTo>
                    <a:pt x="715" y="2418"/>
                    <a:pt x="643" y="2501"/>
                    <a:pt x="643" y="2585"/>
                  </a:cubicBezTo>
                  <a:lnTo>
                    <a:pt x="643" y="3287"/>
                  </a:lnTo>
                  <a:lnTo>
                    <a:pt x="298" y="3287"/>
                  </a:lnTo>
                  <a:lnTo>
                    <a:pt x="298" y="2620"/>
                  </a:lnTo>
                  <a:cubicBezTo>
                    <a:pt x="298" y="2227"/>
                    <a:pt x="619" y="1918"/>
                    <a:pt x="1000" y="1918"/>
                  </a:cubicBezTo>
                  <a:close/>
                  <a:moveTo>
                    <a:pt x="1477" y="1"/>
                  </a:moveTo>
                  <a:cubicBezTo>
                    <a:pt x="941" y="1"/>
                    <a:pt x="512" y="430"/>
                    <a:pt x="512" y="965"/>
                  </a:cubicBezTo>
                  <a:cubicBezTo>
                    <a:pt x="512" y="1227"/>
                    <a:pt x="619" y="1465"/>
                    <a:pt x="798" y="1632"/>
                  </a:cubicBezTo>
                  <a:cubicBezTo>
                    <a:pt x="346" y="1739"/>
                    <a:pt x="0" y="2144"/>
                    <a:pt x="0" y="2632"/>
                  </a:cubicBezTo>
                  <a:lnTo>
                    <a:pt x="0" y="3299"/>
                  </a:lnTo>
                  <a:cubicBezTo>
                    <a:pt x="0" y="3466"/>
                    <a:pt x="143" y="3597"/>
                    <a:pt x="298" y="3597"/>
                  </a:cubicBezTo>
                  <a:lnTo>
                    <a:pt x="2643" y="3597"/>
                  </a:lnTo>
                  <a:cubicBezTo>
                    <a:pt x="2798" y="3597"/>
                    <a:pt x="2941" y="3466"/>
                    <a:pt x="2941" y="3299"/>
                  </a:cubicBezTo>
                  <a:lnTo>
                    <a:pt x="2941" y="2632"/>
                  </a:lnTo>
                  <a:cubicBezTo>
                    <a:pt x="2953" y="2144"/>
                    <a:pt x="2620" y="1739"/>
                    <a:pt x="2167" y="1632"/>
                  </a:cubicBezTo>
                  <a:cubicBezTo>
                    <a:pt x="2322" y="1453"/>
                    <a:pt x="2441" y="1215"/>
                    <a:pt x="2441" y="965"/>
                  </a:cubicBezTo>
                  <a:cubicBezTo>
                    <a:pt x="2441" y="430"/>
                    <a:pt x="2012" y="1"/>
                    <a:pt x="1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4" name="Google Shape;13604;p64"/>
            <p:cNvSpPr/>
            <p:nvPr/>
          </p:nvSpPr>
          <p:spPr>
            <a:xfrm>
              <a:off x="4426167" y="2098561"/>
              <a:ext cx="114111" cy="113474"/>
            </a:xfrm>
            <a:custGeom>
              <a:avLst/>
              <a:gdLst/>
              <a:ahLst/>
              <a:cxnLst/>
              <a:rect l="l" t="t" r="r" b="b"/>
              <a:pathLst>
                <a:path w="3585" h="3565" extrusionOk="0">
                  <a:moveTo>
                    <a:pt x="3401" y="1"/>
                  </a:moveTo>
                  <a:cubicBezTo>
                    <a:pt x="3330" y="1"/>
                    <a:pt x="3272" y="73"/>
                    <a:pt x="3251" y="136"/>
                  </a:cubicBezTo>
                  <a:cubicBezTo>
                    <a:pt x="3097" y="1767"/>
                    <a:pt x="1799" y="3077"/>
                    <a:pt x="144" y="3244"/>
                  </a:cubicBezTo>
                  <a:cubicBezTo>
                    <a:pt x="61" y="3255"/>
                    <a:pt x="1" y="3339"/>
                    <a:pt x="13" y="3422"/>
                  </a:cubicBezTo>
                  <a:cubicBezTo>
                    <a:pt x="25" y="3494"/>
                    <a:pt x="84" y="3565"/>
                    <a:pt x="180" y="3565"/>
                  </a:cubicBezTo>
                  <a:lnTo>
                    <a:pt x="191" y="3565"/>
                  </a:lnTo>
                  <a:cubicBezTo>
                    <a:pt x="1966" y="3398"/>
                    <a:pt x="3394" y="1970"/>
                    <a:pt x="3573" y="184"/>
                  </a:cubicBezTo>
                  <a:cubicBezTo>
                    <a:pt x="3585" y="88"/>
                    <a:pt x="3513" y="17"/>
                    <a:pt x="3430" y="5"/>
                  </a:cubicBezTo>
                  <a:cubicBezTo>
                    <a:pt x="3420" y="2"/>
                    <a:pt x="3410" y="1"/>
                    <a:pt x="34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05" name="Google Shape;13605;p64"/>
          <p:cNvGrpSpPr/>
          <p:nvPr/>
        </p:nvGrpSpPr>
        <p:grpSpPr>
          <a:xfrm>
            <a:off x="4674791" y="1977447"/>
            <a:ext cx="344528" cy="344114"/>
            <a:chOff x="4674791" y="1977447"/>
            <a:chExt cx="344528" cy="344114"/>
          </a:xfrm>
        </p:grpSpPr>
        <p:sp>
          <p:nvSpPr>
            <p:cNvPr id="13606" name="Google Shape;13606;p64"/>
            <p:cNvSpPr/>
            <p:nvPr/>
          </p:nvSpPr>
          <p:spPr>
            <a:xfrm>
              <a:off x="4696022" y="1996768"/>
              <a:ext cx="29570" cy="29220"/>
            </a:xfrm>
            <a:custGeom>
              <a:avLst/>
              <a:gdLst/>
              <a:ahLst/>
              <a:cxnLst/>
              <a:rect l="l" t="t" r="r" b="b"/>
              <a:pathLst>
                <a:path w="929" h="918" extrusionOk="0">
                  <a:moveTo>
                    <a:pt x="476" y="310"/>
                  </a:moveTo>
                  <a:cubicBezTo>
                    <a:pt x="548" y="310"/>
                    <a:pt x="631" y="369"/>
                    <a:pt x="631" y="465"/>
                  </a:cubicBezTo>
                  <a:cubicBezTo>
                    <a:pt x="631" y="536"/>
                    <a:pt x="572" y="607"/>
                    <a:pt x="476" y="607"/>
                  </a:cubicBezTo>
                  <a:cubicBezTo>
                    <a:pt x="405" y="607"/>
                    <a:pt x="334" y="548"/>
                    <a:pt x="334" y="465"/>
                  </a:cubicBezTo>
                  <a:cubicBezTo>
                    <a:pt x="334" y="381"/>
                    <a:pt x="393" y="310"/>
                    <a:pt x="476"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7" name="Google Shape;13607;p64"/>
            <p:cNvSpPr/>
            <p:nvPr/>
          </p:nvSpPr>
          <p:spPr>
            <a:xfrm>
              <a:off x="4733899" y="1996768"/>
              <a:ext cx="29602" cy="29220"/>
            </a:xfrm>
            <a:custGeom>
              <a:avLst/>
              <a:gdLst/>
              <a:ahLst/>
              <a:cxnLst/>
              <a:rect l="l" t="t" r="r" b="b"/>
              <a:pathLst>
                <a:path w="930" h="918" extrusionOk="0">
                  <a:moveTo>
                    <a:pt x="465" y="310"/>
                  </a:moveTo>
                  <a:cubicBezTo>
                    <a:pt x="549" y="310"/>
                    <a:pt x="608" y="369"/>
                    <a:pt x="608" y="465"/>
                  </a:cubicBezTo>
                  <a:cubicBezTo>
                    <a:pt x="608" y="536"/>
                    <a:pt x="549" y="607"/>
                    <a:pt x="465" y="607"/>
                  </a:cubicBezTo>
                  <a:cubicBezTo>
                    <a:pt x="394" y="607"/>
                    <a:pt x="310" y="548"/>
                    <a:pt x="310" y="465"/>
                  </a:cubicBezTo>
                  <a:cubicBezTo>
                    <a:pt x="310" y="381"/>
                    <a:pt x="370" y="310"/>
                    <a:pt x="465" y="310"/>
                  </a:cubicBezTo>
                  <a:close/>
                  <a:moveTo>
                    <a:pt x="465" y="0"/>
                  </a:moveTo>
                  <a:cubicBezTo>
                    <a:pt x="215" y="0"/>
                    <a:pt x="1" y="203"/>
                    <a:pt x="1" y="465"/>
                  </a:cubicBezTo>
                  <a:cubicBezTo>
                    <a:pt x="1" y="715"/>
                    <a:pt x="215" y="917"/>
                    <a:pt x="465" y="917"/>
                  </a:cubicBezTo>
                  <a:cubicBezTo>
                    <a:pt x="715" y="917"/>
                    <a:pt x="930" y="715"/>
                    <a:pt x="930" y="465"/>
                  </a:cubicBezTo>
                  <a:cubicBezTo>
                    <a:pt x="930"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8" name="Google Shape;13608;p64"/>
            <p:cNvSpPr/>
            <p:nvPr/>
          </p:nvSpPr>
          <p:spPr>
            <a:xfrm>
              <a:off x="4771809" y="1996768"/>
              <a:ext cx="29602" cy="29220"/>
            </a:xfrm>
            <a:custGeom>
              <a:avLst/>
              <a:gdLst/>
              <a:ahLst/>
              <a:cxnLst/>
              <a:rect l="l" t="t" r="r" b="b"/>
              <a:pathLst>
                <a:path w="930" h="918" extrusionOk="0">
                  <a:moveTo>
                    <a:pt x="465" y="310"/>
                  </a:moveTo>
                  <a:cubicBezTo>
                    <a:pt x="536" y="310"/>
                    <a:pt x="608" y="369"/>
                    <a:pt x="608" y="465"/>
                  </a:cubicBezTo>
                  <a:cubicBezTo>
                    <a:pt x="608" y="536"/>
                    <a:pt x="548" y="607"/>
                    <a:pt x="465" y="607"/>
                  </a:cubicBezTo>
                  <a:cubicBezTo>
                    <a:pt x="393" y="607"/>
                    <a:pt x="310" y="548"/>
                    <a:pt x="310" y="465"/>
                  </a:cubicBezTo>
                  <a:cubicBezTo>
                    <a:pt x="310" y="381"/>
                    <a:pt x="370" y="310"/>
                    <a:pt x="465" y="310"/>
                  </a:cubicBezTo>
                  <a:close/>
                  <a:moveTo>
                    <a:pt x="465" y="0"/>
                  </a:moveTo>
                  <a:cubicBezTo>
                    <a:pt x="215" y="0"/>
                    <a:pt x="0" y="203"/>
                    <a:pt x="0" y="465"/>
                  </a:cubicBezTo>
                  <a:cubicBezTo>
                    <a:pt x="0" y="715"/>
                    <a:pt x="215" y="917"/>
                    <a:pt x="465" y="917"/>
                  </a:cubicBezTo>
                  <a:cubicBezTo>
                    <a:pt x="715" y="917"/>
                    <a:pt x="929" y="715"/>
                    <a:pt x="929" y="465"/>
                  </a:cubicBezTo>
                  <a:cubicBezTo>
                    <a:pt x="929" y="203"/>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9" name="Google Shape;13609;p64"/>
            <p:cNvSpPr/>
            <p:nvPr/>
          </p:nvSpPr>
          <p:spPr>
            <a:xfrm>
              <a:off x="4674791" y="1977447"/>
              <a:ext cx="344528" cy="344114"/>
            </a:xfrm>
            <a:custGeom>
              <a:avLst/>
              <a:gdLst/>
              <a:ahLst/>
              <a:cxnLst/>
              <a:rect l="l" t="t" r="r" b="b"/>
              <a:pathLst>
                <a:path w="10824" h="10811" extrusionOk="0">
                  <a:moveTo>
                    <a:pt x="10466" y="2155"/>
                  </a:moveTo>
                  <a:lnTo>
                    <a:pt x="10466" y="10120"/>
                  </a:lnTo>
                  <a:lnTo>
                    <a:pt x="10478" y="10120"/>
                  </a:lnTo>
                  <a:cubicBezTo>
                    <a:pt x="10478" y="10323"/>
                    <a:pt x="10311" y="10501"/>
                    <a:pt x="10085" y="10501"/>
                  </a:cubicBezTo>
                  <a:lnTo>
                    <a:pt x="667" y="10501"/>
                  </a:lnTo>
                  <a:cubicBezTo>
                    <a:pt x="465" y="10501"/>
                    <a:pt x="286" y="10335"/>
                    <a:pt x="286" y="10120"/>
                  </a:cubicBezTo>
                  <a:lnTo>
                    <a:pt x="286" y="2155"/>
                  </a:lnTo>
                  <a:close/>
                  <a:moveTo>
                    <a:pt x="703" y="0"/>
                  </a:moveTo>
                  <a:cubicBezTo>
                    <a:pt x="310" y="0"/>
                    <a:pt x="0" y="310"/>
                    <a:pt x="0" y="691"/>
                  </a:cubicBezTo>
                  <a:lnTo>
                    <a:pt x="0" y="10120"/>
                  </a:lnTo>
                  <a:cubicBezTo>
                    <a:pt x="0" y="10501"/>
                    <a:pt x="310" y="10811"/>
                    <a:pt x="703" y="10811"/>
                  </a:cubicBezTo>
                  <a:lnTo>
                    <a:pt x="10121" y="10811"/>
                  </a:lnTo>
                  <a:cubicBezTo>
                    <a:pt x="10502" y="10811"/>
                    <a:pt x="10823" y="10501"/>
                    <a:pt x="10823" y="10120"/>
                  </a:cubicBezTo>
                  <a:lnTo>
                    <a:pt x="10823" y="691"/>
                  </a:lnTo>
                  <a:cubicBezTo>
                    <a:pt x="10799" y="310"/>
                    <a:pt x="10490" y="0"/>
                    <a:pt x="10109" y="0"/>
                  </a:cubicBezTo>
                  <a:lnTo>
                    <a:pt x="5025" y="0"/>
                  </a:lnTo>
                  <a:cubicBezTo>
                    <a:pt x="4942" y="0"/>
                    <a:pt x="4870" y="71"/>
                    <a:pt x="4870" y="155"/>
                  </a:cubicBezTo>
                  <a:cubicBezTo>
                    <a:pt x="4870" y="250"/>
                    <a:pt x="4942" y="321"/>
                    <a:pt x="5025" y="321"/>
                  </a:cubicBezTo>
                  <a:lnTo>
                    <a:pt x="10109" y="321"/>
                  </a:lnTo>
                  <a:cubicBezTo>
                    <a:pt x="10311" y="321"/>
                    <a:pt x="10490" y="488"/>
                    <a:pt x="10490" y="714"/>
                  </a:cubicBezTo>
                  <a:lnTo>
                    <a:pt x="10490" y="1857"/>
                  </a:lnTo>
                  <a:lnTo>
                    <a:pt x="310" y="1857"/>
                  </a:lnTo>
                  <a:lnTo>
                    <a:pt x="310" y="714"/>
                  </a:lnTo>
                  <a:cubicBezTo>
                    <a:pt x="310" y="500"/>
                    <a:pt x="477" y="321"/>
                    <a:pt x="703" y="321"/>
                  </a:cubicBezTo>
                  <a:lnTo>
                    <a:pt x="4049" y="321"/>
                  </a:lnTo>
                  <a:cubicBezTo>
                    <a:pt x="4132" y="321"/>
                    <a:pt x="4215" y="250"/>
                    <a:pt x="4215" y="155"/>
                  </a:cubicBezTo>
                  <a:cubicBezTo>
                    <a:pt x="4215" y="71"/>
                    <a:pt x="4132" y="0"/>
                    <a:pt x="40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0" name="Google Shape;13610;p64"/>
            <p:cNvSpPr/>
            <p:nvPr/>
          </p:nvSpPr>
          <p:spPr>
            <a:xfrm>
              <a:off x="4696022" y="2073160"/>
              <a:ext cx="13655" cy="27469"/>
            </a:xfrm>
            <a:custGeom>
              <a:avLst/>
              <a:gdLst/>
              <a:ahLst/>
              <a:cxnLst/>
              <a:rect l="l" t="t" r="r" b="b"/>
              <a:pathLst>
                <a:path w="429" h="863" extrusionOk="0">
                  <a:moveTo>
                    <a:pt x="249" y="1"/>
                  </a:moveTo>
                  <a:cubicBezTo>
                    <a:pt x="198" y="1"/>
                    <a:pt x="148" y="22"/>
                    <a:pt x="119" y="65"/>
                  </a:cubicBezTo>
                  <a:cubicBezTo>
                    <a:pt x="48" y="184"/>
                    <a:pt x="0" y="327"/>
                    <a:pt x="0" y="470"/>
                  </a:cubicBezTo>
                  <a:lnTo>
                    <a:pt x="0" y="708"/>
                  </a:lnTo>
                  <a:cubicBezTo>
                    <a:pt x="0" y="779"/>
                    <a:pt x="72" y="863"/>
                    <a:pt x="167" y="863"/>
                  </a:cubicBezTo>
                  <a:cubicBezTo>
                    <a:pt x="250" y="863"/>
                    <a:pt x="334" y="779"/>
                    <a:pt x="334" y="696"/>
                  </a:cubicBezTo>
                  <a:lnTo>
                    <a:pt x="334" y="470"/>
                  </a:lnTo>
                  <a:cubicBezTo>
                    <a:pt x="334" y="398"/>
                    <a:pt x="357" y="303"/>
                    <a:pt x="393" y="243"/>
                  </a:cubicBezTo>
                  <a:cubicBezTo>
                    <a:pt x="429" y="172"/>
                    <a:pt x="417" y="65"/>
                    <a:pt x="346" y="29"/>
                  </a:cubicBezTo>
                  <a:cubicBezTo>
                    <a:pt x="317" y="10"/>
                    <a:pt x="283" y="1"/>
                    <a:pt x="24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1" name="Google Shape;13611;p64"/>
            <p:cNvSpPr/>
            <p:nvPr/>
          </p:nvSpPr>
          <p:spPr>
            <a:xfrm>
              <a:off x="4711173" y="2279419"/>
              <a:ext cx="28456" cy="10695"/>
            </a:xfrm>
            <a:custGeom>
              <a:avLst/>
              <a:gdLst/>
              <a:ahLst/>
              <a:cxnLst/>
              <a:rect l="l" t="t" r="r" b="b"/>
              <a:pathLst>
                <a:path w="894" h="336" extrusionOk="0">
                  <a:moveTo>
                    <a:pt x="170" y="1"/>
                  </a:moveTo>
                  <a:cubicBezTo>
                    <a:pt x="96" y="1"/>
                    <a:pt x="34" y="57"/>
                    <a:pt x="12" y="133"/>
                  </a:cubicBezTo>
                  <a:cubicBezTo>
                    <a:pt x="0" y="228"/>
                    <a:pt x="60" y="300"/>
                    <a:pt x="131" y="312"/>
                  </a:cubicBezTo>
                  <a:cubicBezTo>
                    <a:pt x="179" y="312"/>
                    <a:pt x="215" y="336"/>
                    <a:pt x="251" y="336"/>
                  </a:cubicBezTo>
                  <a:lnTo>
                    <a:pt x="727" y="336"/>
                  </a:lnTo>
                  <a:cubicBezTo>
                    <a:pt x="822" y="336"/>
                    <a:pt x="893" y="252"/>
                    <a:pt x="893" y="169"/>
                  </a:cubicBezTo>
                  <a:cubicBezTo>
                    <a:pt x="893" y="74"/>
                    <a:pt x="822" y="2"/>
                    <a:pt x="727" y="2"/>
                  </a:cubicBezTo>
                  <a:lnTo>
                    <a:pt x="191" y="2"/>
                  </a:lnTo>
                  <a:cubicBezTo>
                    <a:pt x="184" y="1"/>
                    <a:pt x="177" y="1"/>
                    <a:pt x="1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2" name="Google Shape;13612;p64"/>
            <p:cNvSpPr/>
            <p:nvPr/>
          </p:nvSpPr>
          <p:spPr>
            <a:xfrm>
              <a:off x="4714197" y="2064216"/>
              <a:ext cx="28456" cy="10631"/>
            </a:xfrm>
            <a:custGeom>
              <a:avLst/>
              <a:gdLst/>
              <a:ahLst/>
              <a:cxnLst/>
              <a:rect l="l" t="t" r="r" b="b"/>
              <a:pathLst>
                <a:path w="894" h="334" extrusionOk="0">
                  <a:moveTo>
                    <a:pt x="156" y="1"/>
                  </a:moveTo>
                  <a:cubicBezTo>
                    <a:pt x="72" y="1"/>
                    <a:pt x="1" y="84"/>
                    <a:pt x="1" y="167"/>
                  </a:cubicBezTo>
                  <a:cubicBezTo>
                    <a:pt x="13"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3" name="Google Shape;13613;p64"/>
            <p:cNvSpPr/>
            <p:nvPr/>
          </p:nvSpPr>
          <p:spPr>
            <a:xfrm>
              <a:off x="4747173" y="2279482"/>
              <a:ext cx="28456" cy="10631"/>
            </a:xfrm>
            <a:custGeom>
              <a:avLst/>
              <a:gdLst/>
              <a:ahLst/>
              <a:cxnLst/>
              <a:rect l="l" t="t" r="r" b="b"/>
              <a:pathLst>
                <a:path w="894" h="334" extrusionOk="0">
                  <a:moveTo>
                    <a:pt x="167" y="0"/>
                  </a:moveTo>
                  <a:cubicBezTo>
                    <a:pt x="72" y="0"/>
                    <a:pt x="1" y="72"/>
                    <a:pt x="1" y="167"/>
                  </a:cubicBezTo>
                  <a:cubicBezTo>
                    <a:pt x="1"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4" name="Google Shape;13614;p64"/>
            <p:cNvSpPr/>
            <p:nvPr/>
          </p:nvSpPr>
          <p:spPr>
            <a:xfrm>
              <a:off x="4750196" y="2064216"/>
              <a:ext cx="28456" cy="10631"/>
            </a:xfrm>
            <a:custGeom>
              <a:avLst/>
              <a:gdLst/>
              <a:ahLst/>
              <a:cxnLst/>
              <a:rect l="l" t="t" r="r" b="b"/>
              <a:pathLst>
                <a:path w="894" h="334" extrusionOk="0">
                  <a:moveTo>
                    <a:pt x="156" y="1"/>
                  </a:moveTo>
                  <a:cubicBezTo>
                    <a:pt x="72" y="1"/>
                    <a:pt x="1" y="84"/>
                    <a:pt x="1" y="167"/>
                  </a:cubicBezTo>
                  <a:cubicBezTo>
                    <a:pt x="1" y="262"/>
                    <a:pt x="72" y="334"/>
                    <a:pt x="156" y="334"/>
                  </a:cubicBezTo>
                  <a:lnTo>
                    <a:pt x="727" y="334"/>
                  </a:lnTo>
                  <a:cubicBezTo>
                    <a:pt x="810" y="334"/>
                    <a:pt x="894" y="262"/>
                    <a:pt x="894" y="167"/>
                  </a:cubicBezTo>
                  <a:cubicBezTo>
                    <a:pt x="894" y="84"/>
                    <a:pt x="810" y="1"/>
                    <a:pt x="7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5" name="Google Shape;13615;p64"/>
            <p:cNvSpPr/>
            <p:nvPr/>
          </p:nvSpPr>
          <p:spPr>
            <a:xfrm>
              <a:off x="4696022" y="2107791"/>
              <a:ext cx="10631" cy="28838"/>
            </a:xfrm>
            <a:custGeom>
              <a:avLst/>
              <a:gdLst/>
              <a:ahLst/>
              <a:cxnLst/>
              <a:rect l="l" t="t" r="r" b="b"/>
              <a:pathLst>
                <a:path w="334" h="906" extrusionOk="0">
                  <a:moveTo>
                    <a:pt x="167" y="1"/>
                  </a:moveTo>
                  <a:cubicBezTo>
                    <a:pt x="72" y="1"/>
                    <a:pt x="0" y="84"/>
                    <a:pt x="0" y="167"/>
                  </a:cubicBezTo>
                  <a:lnTo>
                    <a:pt x="0" y="739"/>
                  </a:lnTo>
                  <a:cubicBezTo>
                    <a:pt x="0" y="822"/>
                    <a:pt x="72" y="906"/>
                    <a:pt x="167" y="906"/>
                  </a:cubicBezTo>
                  <a:cubicBezTo>
                    <a:pt x="250" y="906"/>
                    <a:pt x="334" y="822"/>
                    <a:pt x="334" y="739"/>
                  </a:cubicBezTo>
                  <a:lnTo>
                    <a:pt x="334" y="167"/>
                  </a:lnTo>
                  <a:cubicBezTo>
                    <a:pt x="334" y="84"/>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6" name="Google Shape;13616;p64"/>
            <p:cNvSpPr/>
            <p:nvPr/>
          </p:nvSpPr>
          <p:spPr>
            <a:xfrm>
              <a:off x="4695640" y="2251058"/>
              <a:ext cx="12541" cy="28074"/>
            </a:xfrm>
            <a:custGeom>
              <a:avLst/>
              <a:gdLst/>
              <a:ahLst/>
              <a:cxnLst/>
              <a:rect l="l" t="t" r="r" b="b"/>
              <a:pathLst>
                <a:path w="394" h="882" extrusionOk="0">
                  <a:moveTo>
                    <a:pt x="155" y="0"/>
                  </a:moveTo>
                  <a:cubicBezTo>
                    <a:pt x="72" y="0"/>
                    <a:pt x="0" y="72"/>
                    <a:pt x="0" y="167"/>
                  </a:cubicBezTo>
                  <a:lnTo>
                    <a:pt x="0" y="488"/>
                  </a:lnTo>
                  <a:cubicBezTo>
                    <a:pt x="0" y="596"/>
                    <a:pt x="12" y="703"/>
                    <a:pt x="60" y="786"/>
                  </a:cubicBezTo>
                  <a:cubicBezTo>
                    <a:pt x="107" y="846"/>
                    <a:pt x="167" y="881"/>
                    <a:pt x="227" y="881"/>
                  </a:cubicBezTo>
                  <a:cubicBezTo>
                    <a:pt x="238" y="881"/>
                    <a:pt x="262" y="881"/>
                    <a:pt x="286" y="869"/>
                  </a:cubicBezTo>
                  <a:cubicBezTo>
                    <a:pt x="358" y="834"/>
                    <a:pt x="393" y="727"/>
                    <a:pt x="358" y="655"/>
                  </a:cubicBezTo>
                  <a:cubicBezTo>
                    <a:pt x="322" y="596"/>
                    <a:pt x="322" y="548"/>
                    <a:pt x="322" y="488"/>
                  </a:cubicBezTo>
                  <a:lnTo>
                    <a:pt x="322" y="167"/>
                  </a:lnTo>
                  <a:cubicBezTo>
                    <a:pt x="322" y="72"/>
                    <a:pt x="250" y="0"/>
                    <a:pt x="1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7" name="Google Shape;13617;p64"/>
            <p:cNvSpPr/>
            <p:nvPr/>
          </p:nvSpPr>
          <p:spPr>
            <a:xfrm>
              <a:off x="4782790" y="2279482"/>
              <a:ext cx="28456" cy="10631"/>
            </a:xfrm>
            <a:custGeom>
              <a:avLst/>
              <a:gdLst/>
              <a:ahLst/>
              <a:cxnLst/>
              <a:rect l="l" t="t" r="r" b="b"/>
              <a:pathLst>
                <a:path w="894" h="334" extrusionOk="0">
                  <a:moveTo>
                    <a:pt x="167" y="0"/>
                  </a:moveTo>
                  <a:cubicBezTo>
                    <a:pt x="72" y="0"/>
                    <a:pt x="1" y="72"/>
                    <a:pt x="1" y="167"/>
                  </a:cubicBezTo>
                  <a:cubicBezTo>
                    <a:pt x="13" y="250"/>
                    <a:pt x="72" y="334"/>
                    <a:pt x="167"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8" name="Google Shape;13618;p64"/>
            <p:cNvSpPr/>
            <p:nvPr/>
          </p:nvSpPr>
          <p:spPr>
            <a:xfrm>
              <a:off x="4696022" y="2143409"/>
              <a:ext cx="10631" cy="28456"/>
            </a:xfrm>
            <a:custGeom>
              <a:avLst/>
              <a:gdLst/>
              <a:ahLst/>
              <a:cxnLst/>
              <a:rect l="l" t="t" r="r" b="b"/>
              <a:pathLst>
                <a:path w="334" h="894" extrusionOk="0">
                  <a:moveTo>
                    <a:pt x="167" y="1"/>
                  </a:moveTo>
                  <a:cubicBezTo>
                    <a:pt x="72" y="1"/>
                    <a:pt x="0" y="72"/>
                    <a:pt x="0" y="168"/>
                  </a:cubicBezTo>
                  <a:lnTo>
                    <a:pt x="0" y="739"/>
                  </a:lnTo>
                  <a:cubicBezTo>
                    <a:pt x="0" y="822"/>
                    <a:pt x="72" y="894"/>
                    <a:pt x="167" y="894"/>
                  </a:cubicBezTo>
                  <a:cubicBezTo>
                    <a:pt x="250" y="894"/>
                    <a:pt x="334" y="822"/>
                    <a:pt x="334" y="739"/>
                  </a:cubicBezTo>
                  <a:lnTo>
                    <a:pt x="334" y="168"/>
                  </a:lnTo>
                  <a:cubicBezTo>
                    <a:pt x="334" y="72"/>
                    <a:pt x="250"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9" name="Google Shape;13619;p64"/>
            <p:cNvSpPr/>
            <p:nvPr/>
          </p:nvSpPr>
          <p:spPr>
            <a:xfrm>
              <a:off x="4696022" y="2215440"/>
              <a:ext cx="10631" cy="28074"/>
            </a:xfrm>
            <a:custGeom>
              <a:avLst/>
              <a:gdLst/>
              <a:ahLst/>
              <a:cxnLst/>
              <a:rect l="l" t="t" r="r" b="b"/>
              <a:pathLst>
                <a:path w="334" h="882" extrusionOk="0">
                  <a:moveTo>
                    <a:pt x="167" y="0"/>
                  </a:moveTo>
                  <a:cubicBezTo>
                    <a:pt x="72" y="0"/>
                    <a:pt x="0" y="83"/>
                    <a:pt x="0" y="167"/>
                  </a:cubicBezTo>
                  <a:lnTo>
                    <a:pt x="0" y="738"/>
                  </a:lnTo>
                  <a:cubicBezTo>
                    <a:pt x="0" y="810"/>
                    <a:pt x="72" y="881"/>
                    <a:pt x="167" y="881"/>
                  </a:cubicBezTo>
                  <a:cubicBezTo>
                    <a:pt x="250" y="881"/>
                    <a:pt x="334" y="810"/>
                    <a:pt x="334" y="715"/>
                  </a:cubicBezTo>
                  <a:lnTo>
                    <a:pt x="334" y="167"/>
                  </a:lnTo>
                  <a:cubicBezTo>
                    <a:pt x="334" y="83"/>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0" name="Google Shape;13620;p64"/>
            <p:cNvSpPr/>
            <p:nvPr/>
          </p:nvSpPr>
          <p:spPr>
            <a:xfrm>
              <a:off x="4696022" y="2179441"/>
              <a:ext cx="10631" cy="28424"/>
            </a:xfrm>
            <a:custGeom>
              <a:avLst/>
              <a:gdLst/>
              <a:ahLst/>
              <a:cxnLst/>
              <a:rect l="l" t="t" r="r" b="b"/>
              <a:pathLst>
                <a:path w="334" h="893" extrusionOk="0">
                  <a:moveTo>
                    <a:pt x="167" y="0"/>
                  </a:moveTo>
                  <a:cubicBezTo>
                    <a:pt x="72" y="0"/>
                    <a:pt x="0" y="71"/>
                    <a:pt x="0" y="167"/>
                  </a:cubicBezTo>
                  <a:lnTo>
                    <a:pt x="0" y="738"/>
                  </a:lnTo>
                  <a:cubicBezTo>
                    <a:pt x="0" y="822"/>
                    <a:pt x="72" y="893"/>
                    <a:pt x="167" y="893"/>
                  </a:cubicBezTo>
                  <a:cubicBezTo>
                    <a:pt x="250" y="893"/>
                    <a:pt x="334" y="822"/>
                    <a:pt x="334" y="738"/>
                  </a:cubicBezTo>
                  <a:lnTo>
                    <a:pt x="334" y="167"/>
                  </a:lnTo>
                  <a:cubicBezTo>
                    <a:pt x="334" y="71"/>
                    <a:pt x="250"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1" name="Google Shape;13621;p64"/>
            <p:cNvSpPr/>
            <p:nvPr/>
          </p:nvSpPr>
          <p:spPr>
            <a:xfrm>
              <a:off x="4854790" y="2146847"/>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2" name="Google Shape;13622;p64"/>
            <p:cNvSpPr/>
            <p:nvPr/>
          </p:nvSpPr>
          <p:spPr>
            <a:xfrm>
              <a:off x="4854790" y="2110847"/>
              <a:ext cx="10281" cy="28424"/>
            </a:xfrm>
            <a:custGeom>
              <a:avLst/>
              <a:gdLst/>
              <a:ahLst/>
              <a:cxnLst/>
              <a:rect l="l" t="t" r="r" b="b"/>
              <a:pathLst>
                <a:path w="323" h="893" extrusionOk="0">
                  <a:moveTo>
                    <a:pt x="168" y="0"/>
                  </a:moveTo>
                  <a:cubicBezTo>
                    <a:pt x="72" y="0"/>
                    <a:pt x="1" y="71"/>
                    <a:pt x="1" y="167"/>
                  </a:cubicBezTo>
                  <a:lnTo>
                    <a:pt x="1" y="726"/>
                  </a:lnTo>
                  <a:cubicBezTo>
                    <a:pt x="1" y="822"/>
                    <a:pt x="72" y="893"/>
                    <a:pt x="168" y="893"/>
                  </a:cubicBezTo>
                  <a:cubicBezTo>
                    <a:pt x="251" y="893"/>
                    <a:pt x="322" y="822"/>
                    <a:pt x="322" y="726"/>
                  </a:cubicBezTo>
                  <a:lnTo>
                    <a:pt x="322" y="167"/>
                  </a:lnTo>
                  <a:cubicBezTo>
                    <a:pt x="311" y="71"/>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3" name="Google Shape;13623;p64"/>
            <p:cNvSpPr/>
            <p:nvPr/>
          </p:nvSpPr>
          <p:spPr>
            <a:xfrm>
              <a:off x="4854790" y="2182846"/>
              <a:ext cx="10281" cy="28456"/>
            </a:xfrm>
            <a:custGeom>
              <a:avLst/>
              <a:gdLst/>
              <a:ahLst/>
              <a:cxnLst/>
              <a:rect l="l" t="t" r="r" b="b"/>
              <a:pathLst>
                <a:path w="323" h="894" extrusionOk="0">
                  <a:moveTo>
                    <a:pt x="168" y="0"/>
                  </a:moveTo>
                  <a:cubicBezTo>
                    <a:pt x="72" y="0"/>
                    <a:pt x="1" y="72"/>
                    <a:pt x="1" y="167"/>
                  </a:cubicBezTo>
                  <a:lnTo>
                    <a:pt x="1" y="726"/>
                  </a:lnTo>
                  <a:cubicBezTo>
                    <a:pt x="1" y="822"/>
                    <a:pt x="72" y="893"/>
                    <a:pt x="168" y="893"/>
                  </a:cubicBezTo>
                  <a:cubicBezTo>
                    <a:pt x="251" y="893"/>
                    <a:pt x="322" y="822"/>
                    <a:pt x="322" y="726"/>
                  </a:cubicBezTo>
                  <a:lnTo>
                    <a:pt x="322" y="155"/>
                  </a:lnTo>
                  <a:cubicBezTo>
                    <a:pt x="311" y="60"/>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4" name="Google Shape;13624;p64"/>
            <p:cNvSpPr/>
            <p:nvPr/>
          </p:nvSpPr>
          <p:spPr>
            <a:xfrm>
              <a:off x="4852912" y="2075738"/>
              <a:ext cx="12159" cy="27915"/>
            </a:xfrm>
            <a:custGeom>
              <a:avLst/>
              <a:gdLst/>
              <a:ahLst/>
              <a:cxnLst/>
              <a:rect l="l" t="t" r="r" b="b"/>
              <a:pathLst>
                <a:path w="382" h="877" extrusionOk="0">
                  <a:moveTo>
                    <a:pt x="185" y="0"/>
                  </a:moveTo>
                  <a:cubicBezTo>
                    <a:pt x="162" y="0"/>
                    <a:pt x="139" y="6"/>
                    <a:pt x="119" y="20"/>
                  </a:cubicBezTo>
                  <a:cubicBezTo>
                    <a:pt x="48" y="43"/>
                    <a:pt x="0" y="151"/>
                    <a:pt x="48" y="222"/>
                  </a:cubicBezTo>
                  <a:cubicBezTo>
                    <a:pt x="48" y="270"/>
                    <a:pt x="60" y="329"/>
                    <a:pt x="60" y="389"/>
                  </a:cubicBezTo>
                  <a:lnTo>
                    <a:pt x="60" y="722"/>
                  </a:lnTo>
                  <a:cubicBezTo>
                    <a:pt x="60" y="805"/>
                    <a:pt x="131" y="877"/>
                    <a:pt x="227" y="877"/>
                  </a:cubicBezTo>
                  <a:cubicBezTo>
                    <a:pt x="310" y="877"/>
                    <a:pt x="381" y="805"/>
                    <a:pt x="381" y="722"/>
                  </a:cubicBezTo>
                  <a:lnTo>
                    <a:pt x="381" y="389"/>
                  </a:lnTo>
                  <a:cubicBezTo>
                    <a:pt x="381" y="281"/>
                    <a:pt x="370" y="186"/>
                    <a:pt x="322" y="91"/>
                  </a:cubicBezTo>
                  <a:cubicBezTo>
                    <a:pt x="305" y="39"/>
                    <a:pt x="244" y="0"/>
                    <a:pt x="18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5" name="Google Shape;13625;p64"/>
            <p:cNvSpPr/>
            <p:nvPr/>
          </p:nvSpPr>
          <p:spPr>
            <a:xfrm>
              <a:off x="4854790" y="2218464"/>
              <a:ext cx="10281" cy="28456"/>
            </a:xfrm>
            <a:custGeom>
              <a:avLst/>
              <a:gdLst/>
              <a:ahLst/>
              <a:cxnLst/>
              <a:rect l="l" t="t" r="r" b="b"/>
              <a:pathLst>
                <a:path w="323" h="894" extrusionOk="0">
                  <a:moveTo>
                    <a:pt x="168" y="0"/>
                  </a:moveTo>
                  <a:cubicBezTo>
                    <a:pt x="72" y="0"/>
                    <a:pt x="1" y="72"/>
                    <a:pt x="1" y="167"/>
                  </a:cubicBezTo>
                  <a:lnTo>
                    <a:pt x="1" y="727"/>
                  </a:lnTo>
                  <a:cubicBezTo>
                    <a:pt x="1" y="822"/>
                    <a:pt x="72" y="893"/>
                    <a:pt x="168" y="893"/>
                  </a:cubicBezTo>
                  <a:cubicBezTo>
                    <a:pt x="251" y="893"/>
                    <a:pt x="322" y="822"/>
                    <a:pt x="322" y="727"/>
                  </a:cubicBezTo>
                  <a:lnTo>
                    <a:pt x="322" y="167"/>
                  </a:lnTo>
                  <a:cubicBezTo>
                    <a:pt x="311"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6" name="Google Shape;13626;p64"/>
            <p:cNvSpPr/>
            <p:nvPr/>
          </p:nvSpPr>
          <p:spPr>
            <a:xfrm>
              <a:off x="4821464" y="2064598"/>
              <a:ext cx="29188" cy="10249"/>
            </a:xfrm>
            <a:custGeom>
              <a:avLst/>
              <a:gdLst/>
              <a:ahLst/>
              <a:cxnLst/>
              <a:rect l="l" t="t" r="r" b="b"/>
              <a:pathLst>
                <a:path w="917" h="322" extrusionOk="0">
                  <a:moveTo>
                    <a:pt x="167" y="0"/>
                  </a:moveTo>
                  <a:cubicBezTo>
                    <a:pt x="84" y="0"/>
                    <a:pt x="0" y="72"/>
                    <a:pt x="0" y="155"/>
                  </a:cubicBezTo>
                  <a:cubicBezTo>
                    <a:pt x="0" y="250"/>
                    <a:pt x="84" y="322"/>
                    <a:pt x="167" y="322"/>
                  </a:cubicBezTo>
                  <a:lnTo>
                    <a:pt x="738" y="322"/>
                  </a:lnTo>
                  <a:cubicBezTo>
                    <a:pt x="810" y="322"/>
                    <a:pt x="881" y="262"/>
                    <a:pt x="893" y="191"/>
                  </a:cubicBezTo>
                  <a:cubicBezTo>
                    <a:pt x="917" y="96"/>
                    <a:pt x="857" y="24"/>
                    <a:pt x="762" y="12"/>
                  </a:cubicBezTo>
                  <a:cubicBezTo>
                    <a:pt x="715" y="12"/>
                    <a:pt x="691" y="0"/>
                    <a:pt x="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7" name="Google Shape;13627;p64"/>
            <p:cNvSpPr/>
            <p:nvPr/>
          </p:nvSpPr>
          <p:spPr>
            <a:xfrm>
              <a:off x="4785464" y="2064216"/>
              <a:ext cx="28456" cy="10631"/>
            </a:xfrm>
            <a:custGeom>
              <a:avLst/>
              <a:gdLst/>
              <a:ahLst/>
              <a:cxnLst/>
              <a:rect l="l" t="t" r="r" b="b"/>
              <a:pathLst>
                <a:path w="894" h="334" extrusionOk="0">
                  <a:moveTo>
                    <a:pt x="167" y="1"/>
                  </a:moveTo>
                  <a:cubicBezTo>
                    <a:pt x="83" y="1"/>
                    <a:pt x="0" y="84"/>
                    <a:pt x="0" y="167"/>
                  </a:cubicBezTo>
                  <a:cubicBezTo>
                    <a:pt x="24" y="262"/>
                    <a:pt x="83" y="334"/>
                    <a:pt x="167" y="334"/>
                  </a:cubicBezTo>
                  <a:lnTo>
                    <a:pt x="738" y="334"/>
                  </a:lnTo>
                  <a:cubicBezTo>
                    <a:pt x="822" y="334"/>
                    <a:pt x="893" y="262"/>
                    <a:pt x="893" y="167"/>
                  </a:cubicBezTo>
                  <a:cubicBezTo>
                    <a:pt x="893" y="84"/>
                    <a:pt x="822" y="1"/>
                    <a:pt x="73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8" name="Google Shape;13628;p64"/>
            <p:cNvSpPr/>
            <p:nvPr/>
          </p:nvSpPr>
          <p:spPr>
            <a:xfrm>
              <a:off x="4818790" y="2279482"/>
              <a:ext cx="28456" cy="10631"/>
            </a:xfrm>
            <a:custGeom>
              <a:avLst/>
              <a:gdLst/>
              <a:ahLst/>
              <a:cxnLst/>
              <a:rect l="l" t="t" r="r" b="b"/>
              <a:pathLst>
                <a:path w="894" h="334" extrusionOk="0">
                  <a:moveTo>
                    <a:pt x="168" y="0"/>
                  </a:moveTo>
                  <a:cubicBezTo>
                    <a:pt x="72" y="0"/>
                    <a:pt x="1" y="72"/>
                    <a:pt x="1" y="167"/>
                  </a:cubicBezTo>
                  <a:cubicBezTo>
                    <a:pt x="1" y="250"/>
                    <a:pt x="72" y="334"/>
                    <a:pt x="168" y="334"/>
                  </a:cubicBezTo>
                  <a:lnTo>
                    <a:pt x="727" y="334"/>
                  </a:lnTo>
                  <a:cubicBezTo>
                    <a:pt x="822" y="334"/>
                    <a:pt x="894" y="250"/>
                    <a:pt x="894" y="167"/>
                  </a:cubicBezTo>
                  <a:cubicBezTo>
                    <a:pt x="894" y="72"/>
                    <a:pt x="822" y="0"/>
                    <a:pt x="72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9" name="Google Shape;13629;p64"/>
            <p:cNvSpPr/>
            <p:nvPr/>
          </p:nvSpPr>
          <p:spPr>
            <a:xfrm>
              <a:off x="4851002" y="2253700"/>
              <a:ext cx="14069" cy="28074"/>
            </a:xfrm>
            <a:custGeom>
              <a:avLst/>
              <a:gdLst/>
              <a:ahLst/>
              <a:cxnLst/>
              <a:rect l="l" t="t" r="r" b="b"/>
              <a:pathLst>
                <a:path w="442" h="882" extrusionOk="0">
                  <a:moveTo>
                    <a:pt x="275" y="1"/>
                  </a:moveTo>
                  <a:cubicBezTo>
                    <a:pt x="191" y="1"/>
                    <a:pt x="120" y="84"/>
                    <a:pt x="120" y="167"/>
                  </a:cubicBezTo>
                  <a:lnTo>
                    <a:pt x="120" y="405"/>
                  </a:lnTo>
                  <a:cubicBezTo>
                    <a:pt x="120" y="489"/>
                    <a:pt x="84" y="572"/>
                    <a:pt x="60" y="632"/>
                  </a:cubicBezTo>
                  <a:cubicBezTo>
                    <a:pt x="1" y="703"/>
                    <a:pt x="25" y="810"/>
                    <a:pt x="108" y="858"/>
                  </a:cubicBezTo>
                  <a:cubicBezTo>
                    <a:pt x="132" y="870"/>
                    <a:pt x="168" y="882"/>
                    <a:pt x="191" y="882"/>
                  </a:cubicBezTo>
                  <a:cubicBezTo>
                    <a:pt x="239" y="882"/>
                    <a:pt x="299" y="858"/>
                    <a:pt x="322" y="810"/>
                  </a:cubicBezTo>
                  <a:cubicBezTo>
                    <a:pt x="406" y="691"/>
                    <a:pt x="441" y="560"/>
                    <a:pt x="441" y="405"/>
                  </a:cubicBezTo>
                  <a:lnTo>
                    <a:pt x="441" y="167"/>
                  </a:lnTo>
                  <a:cubicBezTo>
                    <a:pt x="441" y="84"/>
                    <a:pt x="370" y="1"/>
                    <a:pt x="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0" name="Google Shape;13630;p64"/>
            <p:cNvSpPr/>
            <p:nvPr/>
          </p:nvSpPr>
          <p:spPr>
            <a:xfrm>
              <a:off x="4883596" y="2064980"/>
              <a:ext cx="107299" cy="99310"/>
            </a:xfrm>
            <a:custGeom>
              <a:avLst/>
              <a:gdLst/>
              <a:ahLst/>
              <a:cxnLst/>
              <a:rect l="l" t="t" r="r" b="b"/>
              <a:pathLst>
                <a:path w="3371" h="3120" extrusionOk="0">
                  <a:moveTo>
                    <a:pt x="2620" y="310"/>
                  </a:moveTo>
                  <a:cubicBezTo>
                    <a:pt x="2680" y="310"/>
                    <a:pt x="2739" y="322"/>
                    <a:pt x="2787" y="346"/>
                  </a:cubicBezTo>
                  <a:lnTo>
                    <a:pt x="1656" y="1334"/>
                  </a:lnTo>
                  <a:lnTo>
                    <a:pt x="525" y="346"/>
                  </a:lnTo>
                  <a:cubicBezTo>
                    <a:pt x="584" y="322"/>
                    <a:pt x="644" y="310"/>
                    <a:pt x="703" y="310"/>
                  </a:cubicBezTo>
                  <a:close/>
                  <a:moveTo>
                    <a:pt x="3013" y="572"/>
                  </a:moveTo>
                  <a:cubicBezTo>
                    <a:pt x="3025" y="619"/>
                    <a:pt x="3037" y="667"/>
                    <a:pt x="3037" y="727"/>
                  </a:cubicBezTo>
                  <a:lnTo>
                    <a:pt x="3037" y="2394"/>
                  </a:lnTo>
                  <a:cubicBezTo>
                    <a:pt x="3037" y="2453"/>
                    <a:pt x="3025" y="2501"/>
                    <a:pt x="3013" y="2548"/>
                  </a:cubicBezTo>
                  <a:lnTo>
                    <a:pt x="1906" y="1560"/>
                  </a:lnTo>
                  <a:lnTo>
                    <a:pt x="3013" y="572"/>
                  </a:lnTo>
                  <a:close/>
                  <a:moveTo>
                    <a:pt x="310" y="596"/>
                  </a:moveTo>
                  <a:lnTo>
                    <a:pt x="1418" y="1572"/>
                  </a:lnTo>
                  <a:lnTo>
                    <a:pt x="310" y="2560"/>
                  </a:lnTo>
                  <a:cubicBezTo>
                    <a:pt x="298" y="2513"/>
                    <a:pt x="287" y="2465"/>
                    <a:pt x="287" y="2405"/>
                  </a:cubicBezTo>
                  <a:lnTo>
                    <a:pt x="287" y="727"/>
                  </a:lnTo>
                  <a:cubicBezTo>
                    <a:pt x="287" y="679"/>
                    <a:pt x="298" y="619"/>
                    <a:pt x="310" y="596"/>
                  </a:cubicBezTo>
                  <a:close/>
                  <a:moveTo>
                    <a:pt x="715" y="0"/>
                  </a:moveTo>
                  <a:cubicBezTo>
                    <a:pt x="501" y="0"/>
                    <a:pt x="322" y="84"/>
                    <a:pt x="191" y="227"/>
                  </a:cubicBezTo>
                  <a:lnTo>
                    <a:pt x="179" y="238"/>
                  </a:lnTo>
                  <a:cubicBezTo>
                    <a:pt x="60" y="369"/>
                    <a:pt x="1" y="536"/>
                    <a:pt x="1" y="715"/>
                  </a:cubicBezTo>
                  <a:lnTo>
                    <a:pt x="1" y="2382"/>
                  </a:lnTo>
                  <a:cubicBezTo>
                    <a:pt x="1" y="2560"/>
                    <a:pt x="60" y="2727"/>
                    <a:pt x="168" y="2846"/>
                  </a:cubicBezTo>
                  <a:cubicBezTo>
                    <a:pt x="156" y="2870"/>
                    <a:pt x="156" y="2870"/>
                    <a:pt x="168" y="2882"/>
                  </a:cubicBezTo>
                  <a:lnTo>
                    <a:pt x="191" y="2917"/>
                  </a:lnTo>
                  <a:cubicBezTo>
                    <a:pt x="334" y="3048"/>
                    <a:pt x="513" y="3120"/>
                    <a:pt x="703" y="3120"/>
                  </a:cubicBezTo>
                  <a:lnTo>
                    <a:pt x="1132" y="3120"/>
                  </a:lnTo>
                  <a:cubicBezTo>
                    <a:pt x="1227" y="3120"/>
                    <a:pt x="1299" y="3048"/>
                    <a:pt x="1299" y="2953"/>
                  </a:cubicBezTo>
                  <a:cubicBezTo>
                    <a:pt x="1299" y="2870"/>
                    <a:pt x="1227" y="2798"/>
                    <a:pt x="1132" y="2798"/>
                  </a:cubicBezTo>
                  <a:lnTo>
                    <a:pt x="703" y="2798"/>
                  </a:lnTo>
                  <a:cubicBezTo>
                    <a:pt x="644" y="2798"/>
                    <a:pt x="584" y="2775"/>
                    <a:pt x="537" y="2763"/>
                  </a:cubicBezTo>
                  <a:lnTo>
                    <a:pt x="1668" y="1762"/>
                  </a:lnTo>
                  <a:lnTo>
                    <a:pt x="2799" y="2763"/>
                  </a:lnTo>
                  <a:cubicBezTo>
                    <a:pt x="2751" y="2775"/>
                    <a:pt x="2692" y="2798"/>
                    <a:pt x="2632" y="2798"/>
                  </a:cubicBezTo>
                  <a:lnTo>
                    <a:pt x="2096" y="2798"/>
                  </a:lnTo>
                  <a:cubicBezTo>
                    <a:pt x="2013" y="2798"/>
                    <a:pt x="1942" y="2870"/>
                    <a:pt x="1942" y="2953"/>
                  </a:cubicBezTo>
                  <a:cubicBezTo>
                    <a:pt x="1942" y="3048"/>
                    <a:pt x="2013" y="3120"/>
                    <a:pt x="2096" y="3120"/>
                  </a:cubicBezTo>
                  <a:lnTo>
                    <a:pt x="2632" y="3120"/>
                  </a:lnTo>
                  <a:cubicBezTo>
                    <a:pt x="2846" y="3120"/>
                    <a:pt x="3025" y="3036"/>
                    <a:pt x="3156" y="2905"/>
                  </a:cubicBezTo>
                  <a:lnTo>
                    <a:pt x="3168" y="2882"/>
                  </a:lnTo>
                  <a:cubicBezTo>
                    <a:pt x="3287" y="2751"/>
                    <a:pt x="3370" y="2584"/>
                    <a:pt x="3370" y="2394"/>
                  </a:cubicBezTo>
                  <a:lnTo>
                    <a:pt x="3370" y="727"/>
                  </a:lnTo>
                  <a:cubicBezTo>
                    <a:pt x="3370" y="322"/>
                    <a:pt x="3037" y="0"/>
                    <a:pt x="263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1" name="Google Shape;13631;p64"/>
            <p:cNvSpPr/>
            <p:nvPr/>
          </p:nvSpPr>
          <p:spPr>
            <a:xfrm>
              <a:off x="4882864" y="2190422"/>
              <a:ext cx="107267" cy="99692"/>
            </a:xfrm>
            <a:custGeom>
              <a:avLst/>
              <a:gdLst/>
              <a:ahLst/>
              <a:cxnLst/>
              <a:rect l="l" t="t" r="r" b="b"/>
              <a:pathLst>
                <a:path w="3370" h="3132" extrusionOk="0">
                  <a:moveTo>
                    <a:pt x="2643" y="310"/>
                  </a:moveTo>
                  <a:cubicBezTo>
                    <a:pt x="2703" y="310"/>
                    <a:pt x="2762" y="334"/>
                    <a:pt x="2810" y="346"/>
                  </a:cubicBezTo>
                  <a:lnTo>
                    <a:pt x="1679" y="1346"/>
                  </a:lnTo>
                  <a:lnTo>
                    <a:pt x="548" y="346"/>
                  </a:lnTo>
                  <a:cubicBezTo>
                    <a:pt x="607" y="334"/>
                    <a:pt x="667" y="310"/>
                    <a:pt x="726" y="310"/>
                  </a:cubicBezTo>
                  <a:close/>
                  <a:moveTo>
                    <a:pt x="333" y="584"/>
                  </a:moveTo>
                  <a:lnTo>
                    <a:pt x="1441" y="1560"/>
                  </a:lnTo>
                  <a:lnTo>
                    <a:pt x="333" y="2548"/>
                  </a:lnTo>
                  <a:cubicBezTo>
                    <a:pt x="321" y="2501"/>
                    <a:pt x="310" y="2453"/>
                    <a:pt x="310" y="2393"/>
                  </a:cubicBezTo>
                  <a:lnTo>
                    <a:pt x="310" y="727"/>
                  </a:lnTo>
                  <a:cubicBezTo>
                    <a:pt x="310" y="691"/>
                    <a:pt x="321" y="631"/>
                    <a:pt x="333" y="584"/>
                  </a:cubicBezTo>
                  <a:close/>
                  <a:moveTo>
                    <a:pt x="3036" y="584"/>
                  </a:moveTo>
                  <a:cubicBezTo>
                    <a:pt x="3048" y="631"/>
                    <a:pt x="3060" y="667"/>
                    <a:pt x="3060" y="727"/>
                  </a:cubicBezTo>
                  <a:lnTo>
                    <a:pt x="3060" y="2393"/>
                  </a:lnTo>
                  <a:cubicBezTo>
                    <a:pt x="3060" y="2441"/>
                    <a:pt x="3048" y="2501"/>
                    <a:pt x="3036" y="2548"/>
                  </a:cubicBezTo>
                  <a:lnTo>
                    <a:pt x="1929" y="1560"/>
                  </a:lnTo>
                  <a:lnTo>
                    <a:pt x="3036" y="584"/>
                  </a:lnTo>
                  <a:close/>
                  <a:moveTo>
                    <a:pt x="1691" y="1786"/>
                  </a:moveTo>
                  <a:lnTo>
                    <a:pt x="2822" y="2786"/>
                  </a:lnTo>
                  <a:cubicBezTo>
                    <a:pt x="2762" y="2798"/>
                    <a:pt x="2703" y="2810"/>
                    <a:pt x="2643" y="2810"/>
                  </a:cubicBezTo>
                  <a:lnTo>
                    <a:pt x="726" y="2810"/>
                  </a:lnTo>
                  <a:cubicBezTo>
                    <a:pt x="667" y="2810"/>
                    <a:pt x="607" y="2798"/>
                    <a:pt x="560" y="2786"/>
                  </a:cubicBezTo>
                  <a:lnTo>
                    <a:pt x="1691" y="1786"/>
                  </a:lnTo>
                  <a:close/>
                  <a:moveTo>
                    <a:pt x="726" y="0"/>
                  </a:moveTo>
                  <a:cubicBezTo>
                    <a:pt x="512" y="0"/>
                    <a:pt x="333" y="96"/>
                    <a:pt x="202" y="227"/>
                  </a:cubicBezTo>
                  <a:lnTo>
                    <a:pt x="191" y="238"/>
                  </a:lnTo>
                  <a:cubicBezTo>
                    <a:pt x="71" y="369"/>
                    <a:pt x="0" y="536"/>
                    <a:pt x="0" y="727"/>
                  </a:cubicBezTo>
                  <a:lnTo>
                    <a:pt x="0" y="2393"/>
                  </a:lnTo>
                  <a:cubicBezTo>
                    <a:pt x="0" y="2596"/>
                    <a:pt x="71" y="2751"/>
                    <a:pt x="191" y="2894"/>
                  </a:cubicBezTo>
                  <a:cubicBezTo>
                    <a:pt x="333" y="3036"/>
                    <a:pt x="512" y="3132"/>
                    <a:pt x="726" y="3132"/>
                  </a:cubicBezTo>
                  <a:lnTo>
                    <a:pt x="2643" y="3132"/>
                  </a:lnTo>
                  <a:cubicBezTo>
                    <a:pt x="2858" y="3132"/>
                    <a:pt x="3036" y="3036"/>
                    <a:pt x="3167" y="2905"/>
                  </a:cubicBezTo>
                  <a:lnTo>
                    <a:pt x="3179" y="2894"/>
                  </a:lnTo>
                  <a:cubicBezTo>
                    <a:pt x="3298" y="2751"/>
                    <a:pt x="3369" y="2596"/>
                    <a:pt x="3369" y="2393"/>
                  </a:cubicBezTo>
                  <a:lnTo>
                    <a:pt x="3369" y="727"/>
                  </a:lnTo>
                  <a:cubicBezTo>
                    <a:pt x="3369" y="536"/>
                    <a:pt x="3298" y="369"/>
                    <a:pt x="3179" y="238"/>
                  </a:cubicBezTo>
                  <a:lnTo>
                    <a:pt x="3167" y="227"/>
                  </a:lnTo>
                  <a:cubicBezTo>
                    <a:pt x="3036" y="96"/>
                    <a:pt x="2858" y="0"/>
                    <a:pt x="264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32" name="Google Shape;13632;p64"/>
          <p:cNvGrpSpPr/>
          <p:nvPr/>
        </p:nvGrpSpPr>
        <p:grpSpPr>
          <a:xfrm>
            <a:off x="6083810" y="1547297"/>
            <a:ext cx="382819" cy="310788"/>
            <a:chOff x="6083810" y="1547297"/>
            <a:chExt cx="382819" cy="310788"/>
          </a:xfrm>
        </p:grpSpPr>
        <p:sp>
          <p:nvSpPr>
            <p:cNvPr id="13633" name="Google Shape;13633;p64"/>
            <p:cNvSpPr/>
            <p:nvPr/>
          </p:nvSpPr>
          <p:spPr>
            <a:xfrm>
              <a:off x="6083810" y="1547297"/>
              <a:ext cx="382819" cy="310788"/>
            </a:xfrm>
            <a:custGeom>
              <a:avLst/>
              <a:gdLst/>
              <a:ahLst/>
              <a:cxnLst/>
              <a:rect l="l" t="t" r="r" b="b"/>
              <a:pathLst>
                <a:path w="12027" h="9764" extrusionOk="0">
                  <a:moveTo>
                    <a:pt x="1834" y="334"/>
                  </a:moveTo>
                  <a:cubicBezTo>
                    <a:pt x="1834" y="334"/>
                    <a:pt x="1846" y="334"/>
                    <a:pt x="1846" y="358"/>
                  </a:cubicBezTo>
                  <a:lnTo>
                    <a:pt x="1846" y="1108"/>
                  </a:lnTo>
                  <a:cubicBezTo>
                    <a:pt x="1846" y="1108"/>
                    <a:pt x="1846" y="1132"/>
                    <a:pt x="1834" y="1132"/>
                  </a:cubicBezTo>
                  <a:lnTo>
                    <a:pt x="1465" y="1132"/>
                  </a:lnTo>
                  <a:cubicBezTo>
                    <a:pt x="1465" y="1132"/>
                    <a:pt x="1453" y="1132"/>
                    <a:pt x="1453" y="1108"/>
                  </a:cubicBezTo>
                  <a:lnTo>
                    <a:pt x="1453" y="358"/>
                  </a:lnTo>
                  <a:lnTo>
                    <a:pt x="1834" y="334"/>
                  </a:lnTo>
                  <a:close/>
                  <a:moveTo>
                    <a:pt x="10502" y="334"/>
                  </a:moveTo>
                  <a:cubicBezTo>
                    <a:pt x="10502" y="334"/>
                    <a:pt x="10514" y="334"/>
                    <a:pt x="10514" y="358"/>
                  </a:cubicBezTo>
                  <a:lnTo>
                    <a:pt x="10514" y="1108"/>
                  </a:lnTo>
                  <a:cubicBezTo>
                    <a:pt x="10514" y="1108"/>
                    <a:pt x="10514" y="1132"/>
                    <a:pt x="10502" y="1132"/>
                  </a:cubicBezTo>
                  <a:lnTo>
                    <a:pt x="10133" y="1132"/>
                  </a:lnTo>
                  <a:cubicBezTo>
                    <a:pt x="10133" y="1132"/>
                    <a:pt x="10109" y="1132"/>
                    <a:pt x="10109" y="1108"/>
                  </a:cubicBezTo>
                  <a:lnTo>
                    <a:pt x="10109" y="358"/>
                  </a:lnTo>
                  <a:lnTo>
                    <a:pt x="10502" y="334"/>
                  </a:lnTo>
                  <a:close/>
                  <a:moveTo>
                    <a:pt x="11229" y="1096"/>
                  </a:moveTo>
                  <a:cubicBezTo>
                    <a:pt x="11443" y="1096"/>
                    <a:pt x="11621" y="1274"/>
                    <a:pt x="11621" y="1477"/>
                  </a:cubicBezTo>
                  <a:lnTo>
                    <a:pt x="11621" y="9013"/>
                  </a:lnTo>
                  <a:cubicBezTo>
                    <a:pt x="11645" y="9240"/>
                    <a:pt x="11467" y="9406"/>
                    <a:pt x="11264" y="9406"/>
                  </a:cubicBezTo>
                  <a:lnTo>
                    <a:pt x="727" y="9406"/>
                  </a:lnTo>
                  <a:cubicBezTo>
                    <a:pt x="513" y="9406"/>
                    <a:pt x="334" y="9228"/>
                    <a:pt x="334" y="9013"/>
                  </a:cubicBezTo>
                  <a:lnTo>
                    <a:pt x="334" y="1477"/>
                  </a:lnTo>
                  <a:cubicBezTo>
                    <a:pt x="334" y="1274"/>
                    <a:pt x="513" y="1096"/>
                    <a:pt x="727" y="1096"/>
                  </a:cubicBezTo>
                  <a:lnTo>
                    <a:pt x="1108" y="1096"/>
                  </a:lnTo>
                  <a:lnTo>
                    <a:pt x="1108" y="1108"/>
                  </a:lnTo>
                  <a:cubicBezTo>
                    <a:pt x="1108" y="1322"/>
                    <a:pt x="1275" y="1465"/>
                    <a:pt x="1465" y="1465"/>
                  </a:cubicBezTo>
                  <a:lnTo>
                    <a:pt x="1834" y="1465"/>
                  </a:lnTo>
                  <a:cubicBezTo>
                    <a:pt x="2049" y="1465"/>
                    <a:pt x="2192" y="1298"/>
                    <a:pt x="2192" y="1108"/>
                  </a:cubicBezTo>
                  <a:lnTo>
                    <a:pt x="2192" y="1096"/>
                  </a:lnTo>
                  <a:lnTo>
                    <a:pt x="9752" y="1096"/>
                  </a:lnTo>
                  <a:lnTo>
                    <a:pt x="9752" y="1108"/>
                  </a:lnTo>
                  <a:cubicBezTo>
                    <a:pt x="9752" y="1322"/>
                    <a:pt x="9919" y="1465"/>
                    <a:pt x="10109" y="1465"/>
                  </a:cubicBezTo>
                  <a:lnTo>
                    <a:pt x="10490" y="1465"/>
                  </a:lnTo>
                  <a:cubicBezTo>
                    <a:pt x="10693" y="1465"/>
                    <a:pt x="10848" y="1298"/>
                    <a:pt x="10848" y="1108"/>
                  </a:cubicBezTo>
                  <a:lnTo>
                    <a:pt x="10848" y="1096"/>
                  </a:lnTo>
                  <a:close/>
                  <a:moveTo>
                    <a:pt x="1489" y="0"/>
                  </a:moveTo>
                  <a:cubicBezTo>
                    <a:pt x="1287" y="0"/>
                    <a:pt x="1132" y="155"/>
                    <a:pt x="1132" y="358"/>
                  </a:cubicBezTo>
                  <a:lnTo>
                    <a:pt x="1132" y="739"/>
                  </a:lnTo>
                  <a:lnTo>
                    <a:pt x="751" y="739"/>
                  </a:lnTo>
                  <a:cubicBezTo>
                    <a:pt x="346" y="739"/>
                    <a:pt x="1" y="1072"/>
                    <a:pt x="1" y="1489"/>
                  </a:cubicBezTo>
                  <a:lnTo>
                    <a:pt x="1" y="9013"/>
                  </a:lnTo>
                  <a:cubicBezTo>
                    <a:pt x="1" y="9418"/>
                    <a:pt x="334" y="9764"/>
                    <a:pt x="751" y="9764"/>
                  </a:cubicBezTo>
                  <a:lnTo>
                    <a:pt x="11288" y="9764"/>
                  </a:lnTo>
                  <a:cubicBezTo>
                    <a:pt x="11693" y="9764"/>
                    <a:pt x="12026" y="9430"/>
                    <a:pt x="12026" y="9013"/>
                  </a:cubicBezTo>
                  <a:lnTo>
                    <a:pt x="12026" y="1489"/>
                  </a:lnTo>
                  <a:cubicBezTo>
                    <a:pt x="12002" y="1084"/>
                    <a:pt x="11657" y="739"/>
                    <a:pt x="11264" y="739"/>
                  </a:cubicBezTo>
                  <a:lnTo>
                    <a:pt x="10871" y="739"/>
                  </a:lnTo>
                  <a:lnTo>
                    <a:pt x="10871" y="358"/>
                  </a:lnTo>
                  <a:cubicBezTo>
                    <a:pt x="10871" y="143"/>
                    <a:pt x="10705" y="0"/>
                    <a:pt x="10514" y="0"/>
                  </a:cubicBezTo>
                  <a:lnTo>
                    <a:pt x="10145" y="0"/>
                  </a:lnTo>
                  <a:cubicBezTo>
                    <a:pt x="9931" y="0"/>
                    <a:pt x="9788" y="155"/>
                    <a:pt x="9788" y="358"/>
                  </a:cubicBezTo>
                  <a:lnTo>
                    <a:pt x="9788" y="739"/>
                  </a:lnTo>
                  <a:lnTo>
                    <a:pt x="2227" y="739"/>
                  </a:lnTo>
                  <a:lnTo>
                    <a:pt x="2227" y="358"/>
                  </a:lnTo>
                  <a:cubicBezTo>
                    <a:pt x="2227" y="143"/>
                    <a:pt x="2061" y="0"/>
                    <a:pt x="187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4" name="Google Shape;13634;p64"/>
            <p:cNvSpPr/>
            <p:nvPr/>
          </p:nvSpPr>
          <p:spPr>
            <a:xfrm>
              <a:off x="6106950" y="1606787"/>
              <a:ext cx="334661" cy="11395"/>
            </a:xfrm>
            <a:custGeom>
              <a:avLst/>
              <a:gdLst/>
              <a:ahLst/>
              <a:cxnLst/>
              <a:rect l="l" t="t" r="r" b="b"/>
              <a:pathLst>
                <a:path w="10514" h="358" extrusionOk="0">
                  <a:moveTo>
                    <a:pt x="179" y="1"/>
                  </a:moveTo>
                  <a:cubicBezTo>
                    <a:pt x="72" y="1"/>
                    <a:pt x="0" y="72"/>
                    <a:pt x="0" y="179"/>
                  </a:cubicBezTo>
                  <a:cubicBezTo>
                    <a:pt x="0" y="286"/>
                    <a:pt x="72" y="358"/>
                    <a:pt x="179" y="358"/>
                  </a:cubicBezTo>
                  <a:lnTo>
                    <a:pt x="10335" y="358"/>
                  </a:lnTo>
                  <a:cubicBezTo>
                    <a:pt x="10442" y="358"/>
                    <a:pt x="10513" y="286"/>
                    <a:pt x="10513" y="179"/>
                  </a:cubicBezTo>
                  <a:cubicBezTo>
                    <a:pt x="10513" y="72"/>
                    <a:pt x="10442" y="1"/>
                    <a:pt x="10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5" name="Google Shape;13635;p64"/>
            <p:cNvSpPr/>
            <p:nvPr/>
          </p:nvSpPr>
          <p:spPr>
            <a:xfrm>
              <a:off x="6124743" y="1655296"/>
              <a:ext cx="47427" cy="11395"/>
            </a:xfrm>
            <a:custGeom>
              <a:avLst/>
              <a:gdLst/>
              <a:ahLst/>
              <a:cxnLst/>
              <a:rect l="l" t="t" r="r" b="b"/>
              <a:pathLst>
                <a:path w="1490" h="358" extrusionOk="0">
                  <a:moveTo>
                    <a:pt x="179" y="1"/>
                  </a:moveTo>
                  <a:cubicBezTo>
                    <a:pt x="72" y="1"/>
                    <a:pt x="1" y="72"/>
                    <a:pt x="1" y="179"/>
                  </a:cubicBezTo>
                  <a:cubicBezTo>
                    <a:pt x="1" y="275"/>
                    <a:pt x="72" y="358"/>
                    <a:pt x="179" y="358"/>
                  </a:cubicBezTo>
                  <a:lnTo>
                    <a:pt x="1310" y="358"/>
                  </a:lnTo>
                  <a:cubicBezTo>
                    <a:pt x="1418" y="358"/>
                    <a:pt x="1489" y="275"/>
                    <a:pt x="1489" y="179"/>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6" name="Google Shape;13636;p64"/>
            <p:cNvSpPr/>
            <p:nvPr/>
          </p:nvSpPr>
          <p:spPr>
            <a:xfrm>
              <a:off x="6208520" y="1655296"/>
              <a:ext cx="47395" cy="11395"/>
            </a:xfrm>
            <a:custGeom>
              <a:avLst/>
              <a:gdLst/>
              <a:ahLst/>
              <a:cxnLst/>
              <a:rect l="l" t="t" r="r" b="b"/>
              <a:pathLst>
                <a:path w="1489" h="358" extrusionOk="0">
                  <a:moveTo>
                    <a:pt x="179" y="1"/>
                  </a:moveTo>
                  <a:cubicBezTo>
                    <a:pt x="83" y="1"/>
                    <a:pt x="0" y="72"/>
                    <a:pt x="0" y="179"/>
                  </a:cubicBezTo>
                  <a:cubicBezTo>
                    <a:pt x="0" y="275"/>
                    <a:pt x="83" y="358"/>
                    <a:pt x="179" y="358"/>
                  </a:cubicBezTo>
                  <a:lnTo>
                    <a:pt x="1310" y="358"/>
                  </a:lnTo>
                  <a:cubicBezTo>
                    <a:pt x="1417" y="358"/>
                    <a:pt x="1488" y="275"/>
                    <a:pt x="1488" y="179"/>
                  </a:cubicBezTo>
                  <a:cubicBezTo>
                    <a:pt x="1488"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7" name="Google Shape;13637;p64"/>
            <p:cNvSpPr/>
            <p:nvPr/>
          </p:nvSpPr>
          <p:spPr>
            <a:xfrm>
              <a:off x="6376391" y="1655296"/>
              <a:ext cx="47395" cy="11395"/>
            </a:xfrm>
            <a:custGeom>
              <a:avLst/>
              <a:gdLst/>
              <a:ahLst/>
              <a:cxnLst/>
              <a:rect l="l" t="t" r="r" b="b"/>
              <a:pathLst>
                <a:path w="1489" h="358" extrusionOk="0">
                  <a:moveTo>
                    <a:pt x="179" y="1"/>
                  </a:moveTo>
                  <a:cubicBezTo>
                    <a:pt x="72" y="1"/>
                    <a:pt x="1" y="72"/>
                    <a:pt x="1" y="179"/>
                  </a:cubicBezTo>
                  <a:cubicBezTo>
                    <a:pt x="1" y="275"/>
                    <a:pt x="72" y="358"/>
                    <a:pt x="179" y="358"/>
                  </a:cubicBezTo>
                  <a:lnTo>
                    <a:pt x="1310" y="358"/>
                  </a:lnTo>
                  <a:cubicBezTo>
                    <a:pt x="1417" y="358"/>
                    <a:pt x="1489" y="275"/>
                    <a:pt x="1489" y="179"/>
                  </a:cubicBezTo>
                  <a:cubicBezTo>
                    <a:pt x="1489" y="72"/>
                    <a:pt x="1417"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8" name="Google Shape;13638;p64"/>
            <p:cNvSpPr/>
            <p:nvPr/>
          </p:nvSpPr>
          <p:spPr>
            <a:xfrm>
              <a:off x="6124743" y="1703041"/>
              <a:ext cx="47427" cy="11427"/>
            </a:xfrm>
            <a:custGeom>
              <a:avLst/>
              <a:gdLst/>
              <a:ahLst/>
              <a:cxnLst/>
              <a:rect l="l" t="t" r="r" b="b"/>
              <a:pathLst>
                <a:path w="1490" h="359" extrusionOk="0">
                  <a:moveTo>
                    <a:pt x="179" y="1"/>
                  </a:moveTo>
                  <a:cubicBezTo>
                    <a:pt x="72" y="1"/>
                    <a:pt x="1" y="72"/>
                    <a:pt x="1" y="180"/>
                  </a:cubicBezTo>
                  <a:cubicBezTo>
                    <a:pt x="1" y="275"/>
                    <a:pt x="72" y="358"/>
                    <a:pt x="179" y="358"/>
                  </a:cubicBezTo>
                  <a:lnTo>
                    <a:pt x="1310" y="358"/>
                  </a:lnTo>
                  <a:cubicBezTo>
                    <a:pt x="1418" y="358"/>
                    <a:pt x="1489" y="275"/>
                    <a:pt x="1489" y="180"/>
                  </a:cubicBezTo>
                  <a:cubicBezTo>
                    <a:pt x="1489" y="72"/>
                    <a:pt x="1406"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9" name="Google Shape;13639;p64"/>
            <p:cNvSpPr/>
            <p:nvPr/>
          </p:nvSpPr>
          <p:spPr>
            <a:xfrm>
              <a:off x="6292646" y="1703041"/>
              <a:ext cx="47395" cy="11427"/>
            </a:xfrm>
            <a:custGeom>
              <a:avLst/>
              <a:gdLst/>
              <a:ahLst/>
              <a:cxnLst/>
              <a:rect l="l" t="t" r="r" b="b"/>
              <a:pathLst>
                <a:path w="1489" h="359" extrusionOk="0">
                  <a:moveTo>
                    <a:pt x="179" y="1"/>
                  </a:moveTo>
                  <a:cubicBezTo>
                    <a:pt x="72" y="1"/>
                    <a:pt x="0" y="72"/>
                    <a:pt x="0" y="180"/>
                  </a:cubicBezTo>
                  <a:cubicBezTo>
                    <a:pt x="0" y="275"/>
                    <a:pt x="72" y="358"/>
                    <a:pt x="179" y="358"/>
                  </a:cubicBezTo>
                  <a:lnTo>
                    <a:pt x="1310" y="358"/>
                  </a:lnTo>
                  <a:cubicBezTo>
                    <a:pt x="1405" y="358"/>
                    <a:pt x="1489" y="275"/>
                    <a:pt x="1489" y="180"/>
                  </a:cubicBezTo>
                  <a:cubicBezTo>
                    <a:pt x="1489" y="72"/>
                    <a:pt x="1405" y="1"/>
                    <a:pt x="13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0" name="Google Shape;13640;p64"/>
            <p:cNvSpPr/>
            <p:nvPr/>
          </p:nvSpPr>
          <p:spPr>
            <a:xfrm>
              <a:off x="6124743" y="1750818"/>
              <a:ext cx="47427" cy="11395"/>
            </a:xfrm>
            <a:custGeom>
              <a:avLst/>
              <a:gdLst/>
              <a:ahLst/>
              <a:cxnLst/>
              <a:rect l="l" t="t" r="r" b="b"/>
              <a:pathLst>
                <a:path w="1490" h="358" extrusionOk="0">
                  <a:moveTo>
                    <a:pt x="179" y="0"/>
                  </a:moveTo>
                  <a:cubicBezTo>
                    <a:pt x="72" y="0"/>
                    <a:pt x="1" y="72"/>
                    <a:pt x="1" y="179"/>
                  </a:cubicBezTo>
                  <a:cubicBezTo>
                    <a:pt x="1" y="286"/>
                    <a:pt x="72" y="357"/>
                    <a:pt x="179" y="357"/>
                  </a:cubicBezTo>
                  <a:lnTo>
                    <a:pt x="1310" y="357"/>
                  </a:lnTo>
                  <a:cubicBezTo>
                    <a:pt x="1418" y="357"/>
                    <a:pt x="1489" y="286"/>
                    <a:pt x="1489" y="179"/>
                  </a:cubicBezTo>
                  <a:cubicBezTo>
                    <a:pt x="1489" y="72"/>
                    <a:pt x="1406"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1" name="Google Shape;13641;p64"/>
            <p:cNvSpPr/>
            <p:nvPr/>
          </p:nvSpPr>
          <p:spPr>
            <a:xfrm>
              <a:off x="6208520" y="1750818"/>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2" name="Google Shape;13642;p64"/>
            <p:cNvSpPr/>
            <p:nvPr/>
          </p:nvSpPr>
          <p:spPr>
            <a:xfrm>
              <a:off x="6376391" y="1750818"/>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3" name="Google Shape;13643;p64"/>
            <p:cNvSpPr/>
            <p:nvPr/>
          </p:nvSpPr>
          <p:spPr>
            <a:xfrm>
              <a:off x="6208520" y="1798563"/>
              <a:ext cx="47395" cy="11395"/>
            </a:xfrm>
            <a:custGeom>
              <a:avLst/>
              <a:gdLst/>
              <a:ahLst/>
              <a:cxnLst/>
              <a:rect l="l" t="t" r="r" b="b"/>
              <a:pathLst>
                <a:path w="1489" h="358" extrusionOk="0">
                  <a:moveTo>
                    <a:pt x="179" y="0"/>
                  </a:moveTo>
                  <a:cubicBezTo>
                    <a:pt x="83" y="0"/>
                    <a:pt x="0" y="72"/>
                    <a:pt x="0" y="179"/>
                  </a:cubicBezTo>
                  <a:cubicBezTo>
                    <a:pt x="0" y="286"/>
                    <a:pt x="83" y="357"/>
                    <a:pt x="179" y="357"/>
                  </a:cubicBezTo>
                  <a:lnTo>
                    <a:pt x="1310" y="357"/>
                  </a:lnTo>
                  <a:cubicBezTo>
                    <a:pt x="1417" y="357"/>
                    <a:pt x="1488" y="286"/>
                    <a:pt x="1488" y="179"/>
                  </a:cubicBezTo>
                  <a:cubicBezTo>
                    <a:pt x="1488"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4" name="Google Shape;13644;p64"/>
            <p:cNvSpPr/>
            <p:nvPr/>
          </p:nvSpPr>
          <p:spPr>
            <a:xfrm>
              <a:off x="6292646" y="1798563"/>
              <a:ext cx="47395" cy="11395"/>
            </a:xfrm>
            <a:custGeom>
              <a:avLst/>
              <a:gdLst/>
              <a:ahLst/>
              <a:cxnLst/>
              <a:rect l="l" t="t" r="r" b="b"/>
              <a:pathLst>
                <a:path w="1489" h="358" extrusionOk="0">
                  <a:moveTo>
                    <a:pt x="179" y="0"/>
                  </a:moveTo>
                  <a:cubicBezTo>
                    <a:pt x="72" y="0"/>
                    <a:pt x="0" y="72"/>
                    <a:pt x="0" y="179"/>
                  </a:cubicBezTo>
                  <a:cubicBezTo>
                    <a:pt x="0" y="286"/>
                    <a:pt x="72" y="357"/>
                    <a:pt x="179" y="357"/>
                  </a:cubicBezTo>
                  <a:lnTo>
                    <a:pt x="1310" y="357"/>
                  </a:lnTo>
                  <a:cubicBezTo>
                    <a:pt x="1405" y="357"/>
                    <a:pt x="1489" y="286"/>
                    <a:pt x="1489" y="179"/>
                  </a:cubicBezTo>
                  <a:cubicBezTo>
                    <a:pt x="1489" y="72"/>
                    <a:pt x="1405"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5" name="Google Shape;13645;p64"/>
            <p:cNvSpPr/>
            <p:nvPr/>
          </p:nvSpPr>
          <p:spPr>
            <a:xfrm>
              <a:off x="6376391" y="1798563"/>
              <a:ext cx="47395" cy="11395"/>
            </a:xfrm>
            <a:custGeom>
              <a:avLst/>
              <a:gdLst/>
              <a:ahLst/>
              <a:cxnLst/>
              <a:rect l="l" t="t" r="r" b="b"/>
              <a:pathLst>
                <a:path w="1489" h="358" extrusionOk="0">
                  <a:moveTo>
                    <a:pt x="179" y="0"/>
                  </a:moveTo>
                  <a:cubicBezTo>
                    <a:pt x="72" y="0"/>
                    <a:pt x="1" y="72"/>
                    <a:pt x="1" y="179"/>
                  </a:cubicBezTo>
                  <a:cubicBezTo>
                    <a:pt x="1" y="286"/>
                    <a:pt x="72" y="357"/>
                    <a:pt x="179" y="357"/>
                  </a:cubicBezTo>
                  <a:lnTo>
                    <a:pt x="1310" y="357"/>
                  </a:lnTo>
                  <a:cubicBezTo>
                    <a:pt x="1417" y="357"/>
                    <a:pt x="1489" y="286"/>
                    <a:pt x="1489" y="179"/>
                  </a:cubicBezTo>
                  <a:cubicBezTo>
                    <a:pt x="1489" y="72"/>
                    <a:pt x="1417" y="0"/>
                    <a:pt x="1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6" name="Google Shape;13646;p64"/>
            <p:cNvSpPr/>
            <p:nvPr/>
          </p:nvSpPr>
          <p:spPr>
            <a:xfrm>
              <a:off x="6207756" y="1690723"/>
              <a:ext cx="48923" cy="35108"/>
            </a:xfrm>
            <a:custGeom>
              <a:avLst/>
              <a:gdLst/>
              <a:ahLst/>
              <a:cxnLst/>
              <a:rect l="l" t="t" r="r" b="b"/>
              <a:pathLst>
                <a:path w="1537" h="1103" extrusionOk="0">
                  <a:moveTo>
                    <a:pt x="1328" y="1"/>
                  </a:moveTo>
                  <a:cubicBezTo>
                    <a:pt x="1283" y="1"/>
                    <a:pt x="1239" y="19"/>
                    <a:pt x="1203" y="55"/>
                  </a:cubicBezTo>
                  <a:lnTo>
                    <a:pt x="584" y="686"/>
                  </a:lnTo>
                  <a:lnTo>
                    <a:pt x="322" y="436"/>
                  </a:lnTo>
                  <a:cubicBezTo>
                    <a:pt x="286" y="394"/>
                    <a:pt x="241" y="373"/>
                    <a:pt x="197" y="373"/>
                  </a:cubicBezTo>
                  <a:cubicBezTo>
                    <a:pt x="152" y="373"/>
                    <a:pt x="107" y="394"/>
                    <a:pt x="72" y="436"/>
                  </a:cubicBezTo>
                  <a:cubicBezTo>
                    <a:pt x="0" y="507"/>
                    <a:pt x="0" y="614"/>
                    <a:pt x="72" y="686"/>
                  </a:cubicBezTo>
                  <a:lnTo>
                    <a:pt x="441" y="1055"/>
                  </a:lnTo>
                  <a:cubicBezTo>
                    <a:pt x="477" y="1078"/>
                    <a:pt x="512" y="1102"/>
                    <a:pt x="560" y="1102"/>
                  </a:cubicBezTo>
                  <a:cubicBezTo>
                    <a:pt x="607" y="1102"/>
                    <a:pt x="655" y="1078"/>
                    <a:pt x="679" y="1055"/>
                  </a:cubicBezTo>
                  <a:lnTo>
                    <a:pt x="1441" y="293"/>
                  </a:lnTo>
                  <a:cubicBezTo>
                    <a:pt x="1536" y="233"/>
                    <a:pt x="1536" y="138"/>
                    <a:pt x="1453" y="55"/>
                  </a:cubicBezTo>
                  <a:cubicBezTo>
                    <a:pt x="1417" y="19"/>
                    <a:pt x="1372"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7" name="Google Shape;13647;p64"/>
            <p:cNvSpPr/>
            <p:nvPr/>
          </p:nvSpPr>
          <p:spPr>
            <a:xfrm>
              <a:off x="6376009" y="1690723"/>
              <a:ext cx="48159" cy="35108"/>
            </a:xfrm>
            <a:custGeom>
              <a:avLst/>
              <a:gdLst/>
              <a:ahLst/>
              <a:cxnLst/>
              <a:rect l="l" t="t" r="r" b="b"/>
              <a:pathLst>
                <a:path w="1513" h="1103" extrusionOk="0">
                  <a:moveTo>
                    <a:pt x="1328" y="1"/>
                  </a:moveTo>
                  <a:cubicBezTo>
                    <a:pt x="1284" y="1"/>
                    <a:pt x="1239" y="19"/>
                    <a:pt x="1203" y="55"/>
                  </a:cubicBezTo>
                  <a:lnTo>
                    <a:pt x="572" y="686"/>
                  </a:lnTo>
                  <a:lnTo>
                    <a:pt x="322" y="436"/>
                  </a:lnTo>
                  <a:cubicBezTo>
                    <a:pt x="286" y="394"/>
                    <a:pt x="242" y="373"/>
                    <a:pt x="197" y="373"/>
                  </a:cubicBezTo>
                  <a:cubicBezTo>
                    <a:pt x="152" y="373"/>
                    <a:pt x="108" y="394"/>
                    <a:pt x="72" y="436"/>
                  </a:cubicBezTo>
                  <a:cubicBezTo>
                    <a:pt x="1" y="507"/>
                    <a:pt x="1" y="614"/>
                    <a:pt x="72" y="686"/>
                  </a:cubicBezTo>
                  <a:lnTo>
                    <a:pt x="441" y="1055"/>
                  </a:lnTo>
                  <a:cubicBezTo>
                    <a:pt x="477" y="1078"/>
                    <a:pt x="513" y="1102"/>
                    <a:pt x="560" y="1102"/>
                  </a:cubicBezTo>
                  <a:cubicBezTo>
                    <a:pt x="608" y="1102"/>
                    <a:pt x="644" y="1078"/>
                    <a:pt x="679" y="1055"/>
                  </a:cubicBezTo>
                  <a:lnTo>
                    <a:pt x="1441" y="293"/>
                  </a:lnTo>
                  <a:cubicBezTo>
                    <a:pt x="1513" y="233"/>
                    <a:pt x="1513" y="138"/>
                    <a:pt x="1453" y="55"/>
                  </a:cubicBezTo>
                  <a:cubicBezTo>
                    <a:pt x="1417" y="19"/>
                    <a:pt x="1373" y="1"/>
                    <a:pt x="132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8" name="Google Shape;13648;p64"/>
            <p:cNvSpPr/>
            <p:nvPr/>
          </p:nvSpPr>
          <p:spPr>
            <a:xfrm>
              <a:off x="6291500" y="1738595"/>
              <a:ext cx="48923" cy="34981"/>
            </a:xfrm>
            <a:custGeom>
              <a:avLst/>
              <a:gdLst/>
              <a:ahLst/>
              <a:cxnLst/>
              <a:rect l="l" t="t" r="r" b="b"/>
              <a:pathLst>
                <a:path w="1537" h="1099" extrusionOk="0">
                  <a:moveTo>
                    <a:pt x="1334" y="0"/>
                  </a:moveTo>
                  <a:cubicBezTo>
                    <a:pt x="1289" y="0"/>
                    <a:pt x="1245" y="21"/>
                    <a:pt x="1203" y="63"/>
                  </a:cubicBezTo>
                  <a:lnTo>
                    <a:pt x="584" y="682"/>
                  </a:lnTo>
                  <a:lnTo>
                    <a:pt x="322" y="432"/>
                  </a:lnTo>
                  <a:cubicBezTo>
                    <a:pt x="286" y="396"/>
                    <a:pt x="242" y="378"/>
                    <a:pt x="197" y="378"/>
                  </a:cubicBezTo>
                  <a:cubicBezTo>
                    <a:pt x="152" y="378"/>
                    <a:pt x="108" y="396"/>
                    <a:pt x="72" y="432"/>
                  </a:cubicBezTo>
                  <a:cubicBezTo>
                    <a:pt x="1" y="503"/>
                    <a:pt x="1" y="610"/>
                    <a:pt x="72" y="682"/>
                  </a:cubicBezTo>
                  <a:lnTo>
                    <a:pt x="441" y="1051"/>
                  </a:lnTo>
                  <a:cubicBezTo>
                    <a:pt x="477" y="1087"/>
                    <a:pt x="524" y="1098"/>
                    <a:pt x="560" y="1098"/>
                  </a:cubicBezTo>
                  <a:cubicBezTo>
                    <a:pt x="608" y="1098"/>
                    <a:pt x="655" y="1087"/>
                    <a:pt x="679" y="1051"/>
                  </a:cubicBezTo>
                  <a:lnTo>
                    <a:pt x="1441" y="301"/>
                  </a:lnTo>
                  <a:cubicBezTo>
                    <a:pt x="1536" y="241"/>
                    <a:pt x="1536" y="134"/>
                    <a:pt x="1465" y="63"/>
                  </a:cubicBezTo>
                  <a:cubicBezTo>
                    <a:pt x="1423" y="21"/>
                    <a:pt x="1379" y="0"/>
                    <a:pt x="133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9" name="Google Shape;13649;p64"/>
            <p:cNvSpPr/>
            <p:nvPr/>
          </p:nvSpPr>
          <p:spPr>
            <a:xfrm>
              <a:off x="6123629" y="1786627"/>
              <a:ext cx="48891" cy="34695"/>
            </a:xfrm>
            <a:custGeom>
              <a:avLst/>
              <a:gdLst/>
              <a:ahLst/>
              <a:cxnLst/>
              <a:rect l="l" t="t" r="r" b="b"/>
              <a:pathLst>
                <a:path w="1536" h="1090" extrusionOk="0">
                  <a:moveTo>
                    <a:pt x="1340" y="0"/>
                  </a:moveTo>
                  <a:cubicBezTo>
                    <a:pt x="1295" y="0"/>
                    <a:pt x="1250" y="18"/>
                    <a:pt x="1215" y="54"/>
                  </a:cubicBezTo>
                  <a:lnTo>
                    <a:pt x="583" y="673"/>
                  </a:lnTo>
                  <a:lnTo>
                    <a:pt x="333" y="423"/>
                  </a:lnTo>
                  <a:cubicBezTo>
                    <a:pt x="298" y="387"/>
                    <a:pt x="253" y="369"/>
                    <a:pt x="208" y="369"/>
                  </a:cubicBezTo>
                  <a:cubicBezTo>
                    <a:pt x="164" y="369"/>
                    <a:pt x="119" y="387"/>
                    <a:pt x="83" y="423"/>
                  </a:cubicBezTo>
                  <a:cubicBezTo>
                    <a:pt x="0" y="494"/>
                    <a:pt x="0" y="601"/>
                    <a:pt x="83" y="673"/>
                  </a:cubicBezTo>
                  <a:lnTo>
                    <a:pt x="453" y="1042"/>
                  </a:lnTo>
                  <a:cubicBezTo>
                    <a:pt x="476" y="1078"/>
                    <a:pt x="524" y="1090"/>
                    <a:pt x="572" y="1090"/>
                  </a:cubicBezTo>
                  <a:cubicBezTo>
                    <a:pt x="619" y="1090"/>
                    <a:pt x="655" y="1078"/>
                    <a:pt x="691" y="1042"/>
                  </a:cubicBezTo>
                  <a:lnTo>
                    <a:pt x="1453" y="292"/>
                  </a:lnTo>
                  <a:cubicBezTo>
                    <a:pt x="1536" y="232"/>
                    <a:pt x="1536" y="125"/>
                    <a:pt x="1465" y="54"/>
                  </a:cubicBezTo>
                  <a:cubicBezTo>
                    <a:pt x="1429" y="18"/>
                    <a:pt x="1384" y="0"/>
                    <a:pt x="1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0" name="Google Shape;13650;p64"/>
            <p:cNvSpPr/>
            <p:nvPr/>
          </p:nvSpPr>
          <p:spPr>
            <a:xfrm>
              <a:off x="6291500" y="1642978"/>
              <a:ext cx="48923" cy="34727"/>
            </a:xfrm>
            <a:custGeom>
              <a:avLst/>
              <a:gdLst/>
              <a:ahLst/>
              <a:cxnLst/>
              <a:rect l="l" t="t" r="r" b="b"/>
              <a:pathLst>
                <a:path w="1537" h="1091" extrusionOk="0">
                  <a:moveTo>
                    <a:pt x="1334" y="1"/>
                  </a:moveTo>
                  <a:cubicBezTo>
                    <a:pt x="1289" y="1"/>
                    <a:pt x="1245" y="19"/>
                    <a:pt x="1203" y="54"/>
                  </a:cubicBezTo>
                  <a:lnTo>
                    <a:pt x="584" y="673"/>
                  </a:lnTo>
                  <a:lnTo>
                    <a:pt x="322" y="423"/>
                  </a:lnTo>
                  <a:cubicBezTo>
                    <a:pt x="286" y="388"/>
                    <a:pt x="242" y="370"/>
                    <a:pt x="197" y="370"/>
                  </a:cubicBezTo>
                  <a:cubicBezTo>
                    <a:pt x="152" y="370"/>
                    <a:pt x="108" y="388"/>
                    <a:pt x="72" y="423"/>
                  </a:cubicBezTo>
                  <a:cubicBezTo>
                    <a:pt x="1" y="495"/>
                    <a:pt x="1" y="602"/>
                    <a:pt x="72" y="673"/>
                  </a:cubicBezTo>
                  <a:lnTo>
                    <a:pt x="441" y="1054"/>
                  </a:lnTo>
                  <a:cubicBezTo>
                    <a:pt x="477" y="1078"/>
                    <a:pt x="524" y="1090"/>
                    <a:pt x="560" y="1090"/>
                  </a:cubicBezTo>
                  <a:cubicBezTo>
                    <a:pt x="608" y="1090"/>
                    <a:pt x="655" y="1078"/>
                    <a:pt x="679" y="1054"/>
                  </a:cubicBezTo>
                  <a:lnTo>
                    <a:pt x="1441" y="292"/>
                  </a:lnTo>
                  <a:cubicBezTo>
                    <a:pt x="1536" y="233"/>
                    <a:pt x="1536" y="114"/>
                    <a:pt x="1465" y="54"/>
                  </a:cubicBezTo>
                  <a:cubicBezTo>
                    <a:pt x="1423" y="19"/>
                    <a:pt x="1379" y="1"/>
                    <a:pt x="133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1" name="Google Shape;13651;p64"/>
          <p:cNvGrpSpPr/>
          <p:nvPr/>
        </p:nvGrpSpPr>
        <p:grpSpPr>
          <a:xfrm>
            <a:off x="6558300" y="1538193"/>
            <a:ext cx="382788" cy="328613"/>
            <a:chOff x="6558300" y="1538193"/>
            <a:chExt cx="382788" cy="328613"/>
          </a:xfrm>
        </p:grpSpPr>
        <p:sp>
          <p:nvSpPr>
            <p:cNvPr id="13652" name="Google Shape;13652;p64"/>
            <p:cNvSpPr/>
            <p:nvPr/>
          </p:nvSpPr>
          <p:spPr>
            <a:xfrm>
              <a:off x="6558300" y="1538193"/>
              <a:ext cx="382788" cy="328613"/>
            </a:xfrm>
            <a:custGeom>
              <a:avLst/>
              <a:gdLst/>
              <a:ahLst/>
              <a:cxnLst/>
              <a:rect l="l" t="t" r="r" b="b"/>
              <a:pathLst>
                <a:path w="12026" h="10324" extrusionOk="0">
                  <a:moveTo>
                    <a:pt x="6859" y="358"/>
                  </a:moveTo>
                  <a:cubicBezTo>
                    <a:pt x="7037" y="358"/>
                    <a:pt x="7204" y="477"/>
                    <a:pt x="7228" y="656"/>
                  </a:cubicBezTo>
                  <a:lnTo>
                    <a:pt x="7454" y="1691"/>
                  </a:lnTo>
                  <a:lnTo>
                    <a:pt x="4513" y="1691"/>
                  </a:lnTo>
                  <a:lnTo>
                    <a:pt x="4763" y="656"/>
                  </a:lnTo>
                  <a:cubicBezTo>
                    <a:pt x="4811" y="477"/>
                    <a:pt x="4954" y="358"/>
                    <a:pt x="5132" y="358"/>
                  </a:cubicBezTo>
                  <a:close/>
                  <a:moveTo>
                    <a:pt x="2822" y="2037"/>
                  </a:moveTo>
                  <a:lnTo>
                    <a:pt x="2822" y="5835"/>
                  </a:lnTo>
                  <a:lnTo>
                    <a:pt x="2429" y="5835"/>
                  </a:lnTo>
                  <a:lnTo>
                    <a:pt x="2429" y="2037"/>
                  </a:lnTo>
                  <a:close/>
                  <a:moveTo>
                    <a:pt x="9597" y="2037"/>
                  </a:moveTo>
                  <a:lnTo>
                    <a:pt x="9597" y="5835"/>
                  </a:lnTo>
                  <a:lnTo>
                    <a:pt x="9192" y="5835"/>
                  </a:lnTo>
                  <a:lnTo>
                    <a:pt x="9192" y="2037"/>
                  </a:lnTo>
                  <a:close/>
                  <a:moveTo>
                    <a:pt x="8835" y="2037"/>
                  </a:moveTo>
                  <a:lnTo>
                    <a:pt x="8835" y="5835"/>
                  </a:lnTo>
                  <a:lnTo>
                    <a:pt x="8823" y="5835"/>
                  </a:lnTo>
                  <a:cubicBezTo>
                    <a:pt x="8621" y="5835"/>
                    <a:pt x="8466" y="6001"/>
                    <a:pt x="8466" y="6192"/>
                  </a:cubicBezTo>
                  <a:lnTo>
                    <a:pt x="8466" y="6573"/>
                  </a:lnTo>
                  <a:lnTo>
                    <a:pt x="3561" y="6573"/>
                  </a:lnTo>
                  <a:lnTo>
                    <a:pt x="3561" y="6192"/>
                  </a:lnTo>
                  <a:cubicBezTo>
                    <a:pt x="3561" y="5978"/>
                    <a:pt x="3394" y="5835"/>
                    <a:pt x="3203" y="5835"/>
                  </a:cubicBezTo>
                  <a:lnTo>
                    <a:pt x="3180" y="5835"/>
                  </a:lnTo>
                  <a:lnTo>
                    <a:pt x="3180" y="2037"/>
                  </a:lnTo>
                  <a:close/>
                  <a:moveTo>
                    <a:pt x="2084" y="2037"/>
                  </a:moveTo>
                  <a:lnTo>
                    <a:pt x="2084" y="5835"/>
                  </a:lnTo>
                  <a:lnTo>
                    <a:pt x="2072" y="5835"/>
                  </a:lnTo>
                  <a:cubicBezTo>
                    <a:pt x="1858" y="5835"/>
                    <a:pt x="1715" y="6001"/>
                    <a:pt x="1715" y="6192"/>
                  </a:cubicBezTo>
                  <a:lnTo>
                    <a:pt x="1715" y="6573"/>
                  </a:lnTo>
                  <a:lnTo>
                    <a:pt x="1691" y="6573"/>
                  </a:lnTo>
                  <a:cubicBezTo>
                    <a:pt x="1677" y="6573"/>
                    <a:pt x="1663" y="6574"/>
                    <a:pt x="1648" y="6574"/>
                  </a:cubicBezTo>
                  <a:cubicBezTo>
                    <a:pt x="930" y="6574"/>
                    <a:pt x="358" y="5987"/>
                    <a:pt x="358" y="5251"/>
                  </a:cubicBezTo>
                  <a:lnTo>
                    <a:pt x="358" y="2620"/>
                  </a:lnTo>
                  <a:cubicBezTo>
                    <a:pt x="358" y="2299"/>
                    <a:pt x="608" y="2037"/>
                    <a:pt x="941" y="2037"/>
                  </a:cubicBezTo>
                  <a:close/>
                  <a:moveTo>
                    <a:pt x="11097" y="2049"/>
                  </a:moveTo>
                  <a:cubicBezTo>
                    <a:pt x="11419" y="2049"/>
                    <a:pt x="11681" y="2299"/>
                    <a:pt x="11681" y="2632"/>
                  </a:cubicBezTo>
                  <a:lnTo>
                    <a:pt x="11681" y="5263"/>
                  </a:lnTo>
                  <a:cubicBezTo>
                    <a:pt x="11669" y="6001"/>
                    <a:pt x="11073" y="6597"/>
                    <a:pt x="10347" y="6597"/>
                  </a:cubicBezTo>
                  <a:lnTo>
                    <a:pt x="10323" y="6204"/>
                  </a:lnTo>
                  <a:cubicBezTo>
                    <a:pt x="10323" y="6001"/>
                    <a:pt x="10168" y="5847"/>
                    <a:pt x="9966" y="5847"/>
                  </a:cubicBezTo>
                  <a:lnTo>
                    <a:pt x="9954" y="5847"/>
                  </a:lnTo>
                  <a:lnTo>
                    <a:pt x="9954" y="2049"/>
                  </a:lnTo>
                  <a:close/>
                  <a:moveTo>
                    <a:pt x="3180" y="6192"/>
                  </a:moveTo>
                  <a:cubicBezTo>
                    <a:pt x="3180" y="6192"/>
                    <a:pt x="3203" y="6192"/>
                    <a:pt x="3203" y="6204"/>
                  </a:cubicBezTo>
                  <a:lnTo>
                    <a:pt x="3203" y="7144"/>
                  </a:lnTo>
                  <a:cubicBezTo>
                    <a:pt x="3203" y="7144"/>
                    <a:pt x="3203" y="7156"/>
                    <a:pt x="3180" y="7156"/>
                  </a:cubicBezTo>
                  <a:lnTo>
                    <a:pt x="2048" y="7156"/>
                  </a:lnTo>
                  <a:cubicBezTo>
                    <a:pt x="2048" y="7156"/>
                    <a:pt x="2037" y="7156"/>
                    <a:pt x="2037" y="7144"/>
                  </a:cubicBezTo>
                  <a:lnTo>
                    <a:pt x="2037" y="6204"/>
                  </a:lnTo>
                  <a:cubicBezTo>
                    <a:pt x="2037" y="6204"/>
                    <a:pt x="2037" y="6192"/>
                    <a:pt x="2048" y="6192"/>
                  </a:cubicBezTo>
                  <a:lnTo>
                    <a:pt x="2441" y="6192"/>
                  </a:lnTo>
                  <a:lnTo>
                    <a:pt x="2441" y="6573"/>
                  </a:lnTo>
                  <a:cubicBezTo>
                    <a:pt x="2441" y="6668"/>
                    <a:pt x="2525" y="6752"/>
                    <a:pt x="2620" y="6752"/>
                  </a:cubicBezTo>
                  <a:cubicBezTo>
                    <a:pt x="2727" y="6752"/>
                    <a:pt x="2799" y="6680"/>
                    <a:pt x="2799" y="6573"/>
                  </a:cubicBezTo>
                  <a:lnTo>
                    <a:pt x="2799" y="6192"/>
                  </a:lnTo>
                  <a:close/>
                  <a:moveTo>
                    <a:pt x="9966" y="6192"/>
                  </a:moveTo>
                  <a:cubicBezTo>
                    <a:pt x="9966" y="6192"/>
                    <a:pt x="9978" y="6192"/>
                    <a:pt x="9978" y="6204"/>
                  </a:cubicBezTo>
                  <a:lnTo>
                    <a:pt x="9990" y="7144"/>
                  </a:lnTo>
                  <a:lnTo>
                    <a:pt x="8835" y="7156"/>
                  </a:lnTo>
                  <a:cubicBezTo>
                    <a:pt x="8835" y="7156"/>
                    <a:pt x="8823" y="7156"/>
                    <a:pt x="8823" y="7144"/>
                  </a:cubicBezTo>
                  <a:lnTo>
                    <a:pt x="8823" y="6204"/>
                  </a:lnTo>
                  <a:cubicBezTo>
                    <a:pt x="8823" y="6204"/>
                    <a:pt x="8823" y="6192"/>
                    <a:pt x="8835" y="6192"/>
                  </a:cubicBezTo>
                  <a:lnTo>
                    <a:pt x="9228" y="6192"/>
                  </a:lnTo>
                  <a:lnTo>
                    <a:pt x="9228" y="6573"/>
                  </a:lnTo>
                  <a:cubicBezTo>
                    <a:pt x="9228" y="6680"/>
                    <a:pt x="9299" y="6752"/>
                    <a:pt x="9406" y="6752"/>
                  </a:cubicBezTo>
                  <a:cubicBezTo>
                    <a:pt x="9514" y="6752"/>
                    <a:pt x="9585" y="6680"/>
                    <a:pt x="9585" y="6573"/>
                  </a:cubicBezTo>
                  <a:lnTo>
                    <a:pt x="9585" y="6192"/>
                  </a:lnTo>
                  <a:close/>
                  <a:moveTo>
                    <a:pt x="727" y="6632"/>
                  </a:moveTo>
                  <a:cubicBezTo>
                    <a:pt x="989" y="6823"/>
                    <a:pt x="1322" y="6930"/>
                    <a:pt x="1679" y="6930"/>
                  </a:cubicBezTo>
                  <a:lnTo>
                    <a:pt x="1691" y="6930"/>
                  </a:lnTo>
                  <a:lnTo>
                    <a:pt x="1691" y="7121"/>
                  </a:lnTo>
                  <a:cubicBezTo>
                    <a:pt x="1691" y="7335"/>
                    <a:pt x="1858" y="7478"/>
                    <a:pt x="2048" y="7478"/>
                  </a:cubicBezTo>
                  <a:lnTo>
                    <a:pt x="2810" y="7478"/>
                  </a:lnTo>
                  <a:lnTo>
                    <a:pt x="2810" y="9966"/>
                  </a:lnTo>
                  <a:lnTo>
                    <a:pt x="2429" y="9966"/>
                  </a:lnTo>
                  <a:lnTo>
                    <a:pt x="2429" y="8085"/>
                  </a:lnTo>
                  <a:cubicBezTo>
                    <a:pt x="2429" y="7978"/>
                    <a:pt x="2346" y="7906"/>
                    <a:pt x="2239" y="7906"/>
                  </a:cubicBezTo>
                  <a:cubicBezTo>
                    <a:pt x="2144" y="7906"/>
                    <a:pt x="2060" y="7978"/>
                    <a:pt x="2060" y="8085"/>
                  </a:cubicBezTo>
                  <a:lnTo>
                    <a:pt x="2060" y="9966"/>
                  </a:lnTo>
                  <a:lnTo>
                    <a:pt x="1108" y="9966"/>
                  </a:lnTo>
                  <a:cubicBezTo>
                    <a:pt x="905" y="9966"/>
                    <a:pt x="727" y="9788"/>
                    <a:pt x="727" y="9585"/>
                  </a:cubicBezTo>
                  <a:lnTo>
                    <a:pt x="727" y="6632"/>
                  </a:lnTo>
                  <a:close/>
                  <a:moveTo>
                    <a:pt x="8466" y="6942"/>
                  </a:moveTo>
                  <a:lnTo>
                    <a:pt x="8466" y="7144"/>
                  </a:lnTo>
                  <a:cubicBezTo>
                    <a:pt x="8466" y="7347"/>
                    <a:pt x="8633" y="7502"/>
                    <a:pt x="8823" y="7502"/>
                  </a:cubicBezTo>
                  <a:lnTo>
                    <a:pt x="9585" y="7502"/>
                  </a:lnTo>
                  <a:lnTo>
                    <a:pt x="9597" y="9966"/>
                  </a:lnTo>
                  <a:lnTo>
                    <a:pt x="9192" y="9966"/>
                  </a:lnTo>
                  <a:lnTo>
                    <a:pt x="9192" y="8085"/>
                  </a:lnTo>
                  <a:cubicBezTo>
                    <a:pt x="9192" y="7978"/>
                    <a:pt x="9121" y="7906"/>
                    <a:pt x="9014" y="7906"/>
                  </a:cubicBezTo>
                  <a:cubicBezTo>
                    <a:pt x="8906" y="7906"/>
                    <a:pt x="8835" y="7978"/>
                    <a:pt x="8835" y="8085"/>
                  </a:cubicBezTo>
                  <a:lnTo>
                    <a:pt x="8835" y="9966"/>
                  </a:lnTo>
                  <a:lnTo>
                    <a:pt x="3168" y="9966"/>
                  </a:lnTo>
                  <a:lnTo>
                    <a:pt x="3168" y="7502"/>
                  </a:lnTo>
                  <a:lnTo>
                    <a:pt x="3180" y="7502"/>
                  </a:lnTo>
                  <a:cubicBezTo>
                    <a:pt x="3394" y="7502"/>
                    <a:pt x="3537" y="7335"/>
                    <a:pt x="3537" y="7144"/>
                  </a:cubicBezTo>
                  <a:lnTo>
                    <a:pt x="3537" y="6942"/>
                  </a:lnTo>
                  <a:close/>
                  <a:moveTo>
                    <a:pt x="11300" y="6656"/>
                  </a:moveTo>
                  <a:lnTo>
                    <a:pt x="11300" y="9585"/>
                  </a:lnTo>
                  <a:cubicBezTo>
                    <a:pt x="11300" y="9788"/>
                    <a:pt x="11121" y="9966"/>
                    <a:pt x="10907" y="9966"/>
                  </a:cubicBezTo>
                  <a:lnTo>
                    <a:pt x="9954" y="9966"/>
                  </a:lnTo>
                  <a:lnTo>
                    <a:pt x="9954" y="7502"/>
                  </a:lnTo>
                  <a:lnTo>
                    <a:pt x="9966" y="7502"/>
                  </a:lnTo>
                  <a:cubicBezTo>
                    <a:pt x="10180" y="7502"/>
                    <a:pt x="10323" y="7335"/>
                    <a:pt x="10323" y="7144"/>
                  </a:cubicBezTo>
                  <a:lnTo>
                    <a:pt x="10323" y="6954"/>
                  </a:lnTo>
                  <a:lnTo>
                    <a:pt x="10347" y="6954"/>
                  </a:lnTo>
                  <a:cubicBezTo>
                    <a:pt x="10704" y="6954"/>
                    <a:pt x="11026" y="6847"/>
                    <a:pt x="11300" y="6656"/>
                  </a:cubicBezTo>
                  <a:close/>
                  <a:moveTo>
                    <a:pt x="5144" y="1"/>
                  </a:moveTo>
                  <a:cubicBezTo>
                    <a:pt x="4787" y="1"/>
                    <a:pt x="4489" y="239"/>
                    <a:pt x="4418" y="584"/>
                  </a:cubicBezTo>
                  <a:lnTo>
                    <a:pt x="4168" y="1691"/>
                  </a:lnTo>
                  <a:lnTo>
                    <a:pt x="917" y="1691"/>
                  </a:lnTo>
                  <a:cubicBezTo>
                    <a:pt x="417" y="1691"/>
                    <a:pt x="1" y="2108"/>
                    <a:pt x="1" y="2620"/>
                  </a:cubicBezTo>
                  <a:lnTo>
                    <a:pt x="1" y="5251"/>
                  </a:lnTo>
                  <a:cubicBezTo>
                    <a:pt x="1" y="5656"/>
                    <a:pt x="132" y="6025"/>
                    <a:pt x="370" y="6311"/>
                  </a:cubicBezTo>
                  <a:lnTo>
                    <a:pt x="370" y="9585"/>
                  </a:lnTo>
                  <a:cubicBezTo>
                    <a:pt x="370" y="9990"/>
                    <a:pt x="703" y="10323"/>
                    <a:pt x="1120" y="10323"/>
                  </a:cubicBezTo>
                  <a:lnTo>
                    <a:pt x="10907" y="10323"/>
                  </a:lnTo>
                  <a:cubicBezTo>
                    <a:pt x="11311" y="10323"/>
                    <a:pt x="11657" y="10002"/>
                    <a:pt x="11657" y="9585"/>
                  </a:cubicBezTo>
                  <a:lnTo>
                    <a:pt x="11657" y="6311"/>
                  </a:lnTo>
                  <a:cubicBezTo>
                    <a:pt x="11883" y="6025"/>
                    <a:pt x="12026" y="5656"/>
                    <a:pt x="12026" y="5251"/>
                  </a:cubicBezTo>
                  <a:lnTo>
                    <a:pt x="12026" y="2620"/>
                  </a:lnTo>
                  <a:cubicBezTo>
                    <a:pt x="12026" y="2108"/>
                    <a:pt x="11609" y="1691"/>
                    <a:pt x="11097" y="1691"/>
                  </a:cubicBezTo>
                  <a:lnTo>
                    <a:pt x="7859" y="1691"/>
                  </a:lnTo>
                  <a:lnTo>
                    <a:pt x="7609" y="584"/>
                  </a:lnTo>
                  <a:cubicBezTo>
                    <a:pt x="7525" y="239"/>
                    <a:pt x="7228" y="1"/>
                    <a:pt x="687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3" name="Google Shape;13653;p64"/>
            <p:cNvSpPr/>
            <p:nvPr/>
          </p:nvSpPr>
          <p:spPr>
            <a:xfrm>
              <a:off x="6714426" y="1699635"/>
              <a:ext cx="70917" cy="34536"/>
            </a:xfrm>
            <a:custGeom>
              <a:avLst/>
              <a:gdLst/>
              <a:ahLst/>
              <a:cxnLst/>
              <a:rect l="l" t="t" r="r" b="b"/>
              <a:pathLst>
                <a:path w="2228" h="1085" extrusionOk="0">
                  <a:moveTo>
                    <a:pt x="358" y="1"/>
                  </a:moveTo>
                  <a:cubicBezTo>
                    <a:pt x="156" y="1"/>
                    <a:pt x="1" y="167"/>
                    <a:pt x="1" y="358"/>
                  </a:cubicBezTo>
                  <a:lnTo>
                    <a:pt x="1" y="727"/>
                  </a:lnTo>
                  <a:cubicBezTo>
                    <a:pt x="1" y="941"/>
                    <a:pt x="168" y="1084"/>
                    <a:pt x="358" y="1084"/>
                  </a:cubicBezTo>
                  <a:lnTo>
                    <a:pt x="1870" y="1084"/>
                  </a:lnTo>
                  <a:cubicBezTo>
                    <a:pt x="2073" y="1084"/>
                    <a:pt x="2227" y="918"/>
                    <a:pt x="2227" y="727"/>
                  </a:cubicBezTo>
                  <a:lnTo>
                    <a:pt x="2227" y="358"/>
                  </a:lnTo>
                  <a:cubicBezTo>
                    <a:pt x="2227" y="167"/>
                    <a:pt x="2061" y="1"/>
                    <a:pt x="1870" y="1"/>
                  </a:cubicBezTo>
                  <a:lnTo>
                    <a:pt x="1668" y="1"/>
                  </a:lnTo>
                  <a:cubicBezTo>
                    <a:pt x="1573" y="1"/>
                    <a:pt x="1489" y="72"/>
                    <a:pt x="1489" y="179"/>
                  </a:cubicBezTo>
                  <a:cubicBezTo>
                    <a:pt x="1489" y="287"/>
                    <a:pt x="1573" y="358"/>
                    <a:pt x="1668" y="358"/>
                  </a:cubicBezTo>
                  <a:lnTo>
                    <a:pt x="1870" y="358"/>
                  </a:lnTo>
                  <a:cubicBezTo>
                    <a:pt x="1870" y="358"/>
                    <a:pt x="1882" y="358"/>
                    <a:pt x="1882" y="370"/>
                  </a:cubicBezTo>
                  <a:lnTo>
                    <a:pt x="1882" y="751"/>
                  </a:lnTo>
                  <a:cubicBezTo>
                    <a:pt x="1882" y="751"/>
                    <a:pt x="1882" y="763"/>
                    <a:pt x="1870" y="763"/>
                  </a:cubicBezTo>
                  <a:lnTo>
                    <a:pt x="358" y="763"/>
                  </a:lnTo>
                  <a:cubicBezTo>
                    <a:pt x="358" y="763"/>
                    <a:pt x="346" y="763"/>
                    <a:pt x="346" y="751"/>
                  </a:cubicBezTo>
                  <a:lnTo>
                    <a:pt x="346" y="370"/>
                  </a:lnTo>
                  <a:cubicBezTo>
                    <a:pt x="346" y="370"/>
                    <a:pt x="346" y="358"/>
                    <a:pt x="358" y="358"/>
                  </a:cubicBezTo>
                  <a:lnTo>
                    <a:pt x="930" y="358"/>
                  </a:lnTo>
                  <a:cubicBezTo>
                    <a:pt x="1037" y="358"/>
                    <a:pt x="1108" y="287"/>
                    <a:pt x="1108" y="179"/>
                  </a:cubicBezTo>
                  <a:cubicBezTo>
                    <a:pt x="1108" y="72"/>
                    <a:pt x="1037" y="1"/>
                    <a:pt x="9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4" name="Google Shape;13654;p64"/>
          <p:cNvGrpSpPr/>
          <p:nvPr/>
        </p:nvGrpSpPr>
        <p:grpSpPr>
          <a:xfrm>
            <a:off x="5194002" y="1511297"/>
            <a:ext cx="259605" cy="346024"/>
            <a:chOff x="5194002" y="1511297"/>
            <a:chExt cx="259605" cy="346024"/>
          </a:xfrm>
        </p:grpSpPr>
        <p:sp>
          <p:nvSpPr>
            <p:cNvPr id="13655" name="Google Shape;13655;p64"/>
            <p:cNvSpPr/>
            <p:nvPr/>
          </p:nvSpPr>
          <p:spPr>
            <a:xfrm>
              <a:off x="5216729" y="1543636"/>
              <a:ext cx="169431" cy="159436"/>
            </a:xfrm>
            <a:custGeom>
              <a:avLst/>
              <a:gdLst/>
              <a:ahLst/>
              <a:cxnLst/>
              <a:rect l="l" t="t" r="r" b="b"/>
              <a:pathLst>
                <a:path w="5323" h="5009" extrusionOk="0">
                  <a:moveTo>
                    <a:pt x="3353" y="0"/>
                  </a:moveTo>
                  <a:cubicBezTo>
                    <a:pt x="2568" y="0"/>
                    <a:pt x="1788" y="303"/>
                    <a:pt x="1203" y="901"/>
                  </a:cubicBezTo>
                  <a:cubicBezTo>
                    <a:pt x="96" y="1997"/>
                    <a:pt x="0" y="3747"/>
                    <a:pt x="965" y="4949"/>
                  </a:cubicBezTo>
                  <a:cubicBezTo>
                    <a:pt x="1001" y="4997"/>
                    <a:pt x="1036" y="5009"/>
                    <a:pt x="1084" y="5009"/>
                  </a:cubicBezTo>
                  <a:cubicBezTo>
                    <a:pt x="1120" y="5009"/>
                    <a:pt x="1155" y="4985"/>
                    <a:pt x="1191" y="4973"/>
                  </a:cubicBezTo>
                  <a:cubicBezTo>
                    <a:pt x="1262" y="4914"/>
                    <a:pt x="1262" y="4830"/>
                    <a:pt x="1215" y="4759"/>
                  </a:cubicBezTo>
                  <a:cubicBezTo>
                    <a:pt x="358" y="3664"/>
                    <a:pt x="441" y="2104"/>
                    <a:pt x="1429" y="1127"/>
                  </a:cubicBezTo>
                  <a:cubicBezTo>
                    <a:pt x="1957" y="594"/>
                    <a:pt x="2658" y="324"/>
                    <a:pt x="3362" y="324"/>
                  </a:cubicBezTo>
                  <a:cubicBezTo>
                    <a:pt x="3961" y="324"/>
                    <a:pt x="4562" y="519"/>
                    <a:pt x="5061" y="913"/>
                  </a:cubicBezTo>
                  <a:cubicBezTo>
                    <a:pt x="5091" y="939"/>
                    <a:pt x="5127" y="951"/>
                    <a:pt x="5162" y="951"/>
                  </a:cubicBezTo>
                  <a:cubicBezTo>
                    <a:pt x="5208" y="951"/>
                    <a:pt x="5253" y="930"/>
                    <a:pt x="5287" y="889"/>
                  </a:cubicBezTo>
                  <a:cubicBezTo>
                    <a:pt x="5323" y="806"/>
                    <a:pt x="5311" y="711"/>
                    <a:pt x="5251" y="663"/>
                  </a:cubicBezTo>
                  <a:cubicBezTo>
                    <a:pt x="4693" y="220"/>
                    <a:pt x="4021" y="0"/>
                    <a:pt x="33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6" name="Google Shape;13656;p64"/>
            <p:cNvSpPr/>
            <p:nvPr/>
          </p:nvSpPr>
          <p:spPr>
            <a:xfrm>
              <a:off x="5194002" y="1511297"/>
              <a:ext cx="259605" cy="346024"/>
            </a:xfrm>
            <a:custGeom>
              <a:avLst/>
              <a:gdLst/>
              <a:ahLst/>
              <a:cxnLst/>
              <a:rect l="l" t="t" r="r" b="b"/>
              <a:pathLst>
                <a:path w="8156" h="10871" extrusionOk="0">
                  <a:moveTo>
                    <a:pt x="4060" y="322"/>
                  </a:moveTo>
                  <a:cubicBezTo>
                    <a:pt x="6132" y="322"/>
                    <a:pt x="7822" y="2001"/>
                    <a:pt x="7822" y="4084"/>
                  </a:cubicBezTo>
                  <a:cubicBezTo>
                    <a:pt x="7822" y="4977"/>
                    <a:pt x="7632" y="5894"/>
                    <a:pt x="7227" y="6763"/>
                  </a:cubicBezTo>
                  <a:cubicBezTo>
                    <a:pt x="6918" y="7466"/>
                    <a:pt x="6477" y="8168"/>
                    <a:pt x="5906" y="8823"/>
                  </a:cubicBezTo>
                  <a:cubicBezTo>
                    <a:pt x="5120" y="9740"/>
                    <a:pt x="4310" y="10335"/>
                    <a:pt x="4060" y="10537"/>
                  </a:cubicBezTo>
                  <a:cubicBezTo>
                    <a:pt x="3810" y="10359"/>
                    <a:pt x="3000" y="9763"/>
                    <a:pt x="2215" y="8835"/>
                  </a:cubicBezTo>
                  <a:cubicBezTo>
                    <a:pt x="1643" y="8180"/>
                    <a:pt x="1203" y="7477"/>
                    <a:pt x="893" y="6787"/>
                  </a:cubicBezTo>
                  <a:cubicBezTo>
                    <a:pt x="488" y="5906"/>
                    <a:pt x="298" y="5001"/>
                    <a:pt x="298" y="4084"/>
                  </a:cubicBezTo>
                  <a:cubicBezTo>
                    <a:pt x="298" y="2024"/>
                    <a:pt x="1976" y="322"/>
                    <a:pt x="4060" y="322"/>
                  </a:cubicBezTo>
                  <a:close/>
                  <a:moveTo>
                    <a:pt x="4072" y="0"/>
                  </a:moveTo>
                  <a:cubicBezTo>
                    <a:pt x="1834" y="0"/>
                    <a:pt x="0" y="1822"/>
                    <a:pt x="0" y="4072"/>
                  </a:cubicBezTo>
                  <a:cubicBezTo>
                    <a:pt x="0" y="5025"/>
                    <a:pt x="202" y="5977"/>
                    <a:pt x="619" y="6894"/>
                  </a:cubicBezTo>
                  <a:cubicBezTo>
                    <a:pt x="953" y="7632"/>
                    <a:pt x="1405" y="8359"/>
                    <a:pt x="1988" y="9025"/>
                  </a:cubicBezTo>
                  <a:cubicBezTo>
                    <a:pt x="2977" y="10192"/>
                    <a:pt x="3941" y="10835"/>
                    <a:pt x="3989" y="10847"/>
                  </a:cubicBezTo>
                  <a:cubicBezTo>
                    <a:pt x="4012" y="10859"/>
                    <a:pt x="4048" y="10871"/>
                    <a:pt x="4072" y="10871"/>
                  </a:cubicBezTo>
                  <a:cubicBezTo>
                    <a:pt x="4108" y="10871"/>
                    <a:pt x="4132" y="10859"/>
                    <a:pt x="4167" y="10847"/>
                  </a:cubicBezTo>
                  <a:cubicBezTo>
                    <a:pt x="4203" y="10811"/>
                    <a:pt x="5179" y="10168"/>
                    <a:pt x="6156" y="9025"/>
                  </a:cubicBezTo>
                  <a:cubicBezTo>
                    <a:pt x="6739" y="8347"/>
                    <a:pt x="7203" y="7632"/>
                    <a:pt x="7525" y="6894"/>
                  </a:cubicBezTo>
                  <a:cubicBezTo>
                    <a:pt x="7942" y="5977"/>
                    <a:pt x="8156" y="5025"/>
                    <a:pt x="8156" y="4072"/>
                  </a:cubicBezTo>
                  <a:cubicBezTo>
                    <a:pt x="8156" y="1822"/>
                    <a:pt x="6322" y="0"/>
                    <a:pt x="40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7" name="Google Shape;13657;p64"/>
            <p:cNvSpPr/>
            <p:nvPr/>
          </p:nvSpPr>
          <p:spPr>
            <a:xfrm>
              <a:off x="5296304" y="1607105"/>
              <a:ext cx="55002" cy="17156"/>
            </a:xfrm>
            <a:custGeom>
              <a:avLst/>
              <a:gdLst/>
              <a:ahLst/>
              <a:cxnLst/>
              <a:rect l="l" t="t" r="r" b="b"/>
              <a:pathLst>
                <a:path w="1728" h="539" extrusionOk="0">
                  <a:moveTo>
                    <a:pt x="629" y="0"/>
                  </a:moveTo>
                  <a:cubicBezTo>
                    <a:pt x="478" y="0"/>
                    <a:pt x="312" y="15"/>
                    <a:pt x="132" y="50"/>
                  </a:cubicBezTo>
                  <a:cubicBezTo>
                    <a:pt x="60" y="62"/>
                    <a:pt x="1" y="122"/>
                    <a:pt x="1" y="217"/>
                  </a:cubicBezTo>
                  <a:lnTo>
                    <a:pt x="1" y="384"/>
                  </a:lnTo>
                  <a:cubicBezTo>
                    <a:pt x="1" y="467"/>
                    <a:pt x="72" y="538"/>
                    <a:pt x="156" y="538"/>
                  </a:cubicBezTo>
                  <a:cubicBezTo>
                    <a:pt x="251" y="538"/>
                    <a:pt x="322" y="467"/>
                    <a:pt x="322" y="384"/>
                  </a:cubicBezTo>
                  <a:lnTo>
                    <a:pt x="322" y="348"/>
                  </a:lnTo>
                  <a:cubicBezTo>
                    <a:pt x="437" y="332"/>
                    <a:pt x="543" y="325"/>
                    <a:pt x="640" y="325"/>
                  </a:cubicBezTo>
                  <a:cubicBezTo>
                    <a:pt x="833" y="325"/>
                    <a:pt x="989" y="352"/>
                    <a:pt x="1108" y="384"/>
                  </a:cubicBezTo>
                  <a:cubicBezTo>
                    <a:pt x="1322" y="443"/>
                    <a:pt x="1441" y="515"/>
                    <a:pt x="1441" y="515"/>
                  </a:cubicBezTo>
                  <a:cubicBezTo>
                    <a:pt x="1465" y="527"/>
                    <a:pt x="1501" y="538"/>
                    <a:pt x="1525" y="538"/>
                  </a:cubicBezTo>
                  <a:cubicBezTo>
                    <a:pt x="1572" y="538"/>
                    <a:pt x="1632" y="515"/>
                    <a:pt x="1668" y="467"/>
                  </a:cubicBezTo>
                  <a:cubicBezTo>
                    <a:pt x="1727" y="396"/>
                    <a:pt x="1691" y="300"/>
                    <a:pt x="1620" y="241"/>
                  </a:cubicBezTo>
                  <a:cubicBezTo>
                    <a:pt x="1591" y="231"/>
                    <a:pt x="1235" y="0"/>
                    <a:pt x="6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8" name="Google Shape;13658;p64"/>
            <p:cNvSpPr/>
            <p:nvPr/>
          </p:nvSpPr>
          <p:spPr>
            <a:xfrm>
              <a:off x="5260686" y="1576103"/>
              <a:ext cx="169813" cy="162970"/>
            </a:xfrm>
            <a:custGeom>
              <a:avLst/>
              <a:gdLst/>
              <a:ahLst/>
              <a:cxnLst/>
              <a:rect l="l" t="t" r="r" b="b"/>
              <a:pathLst>
                <a:path w="5335" h="5120" extrusionOk="0">
                  <a:moveTo>
                    <a:pt x="3191" y="322"/>
                  </a:moveTo>
                  <a:lnTo>
                    <a:pt x="3191" y="1108"/>
                  </a:lnTo>
                  <a:cubicBezTo>
                    <a:pt x="3191" y="1250"/>
                    <a:pt x="3156" y="1381"/>
                    <a:pt x="3096" y="1501"/>
                  </a:cubicBezTo>
                  <a:lnTo>
                    <a:pt x="3037" y="1620"/>
                  </a:lnTo>
                  <a:cubicBezTo>
                    <a:pt x="3025" y="1631"/>
                    <a:pt x="3025" y="1667"/>
                    <a:pt x="3025" y="1691"/>
                  </a:cubicBezTo>
                  <a:lnTo>
                    <a:pt x="3025" y="2036"/>
                  </a:lnTo>
                  <a:cubicBezTo>
                    <a:pt x="3025" y="2322"/>
                    <a:pt x="2918" y="2584"/>
                    <a:pt x="2715" y="2786"/>
                  </a:cubicBezTo>
                  <a:cubicBezTo>
                    <a:pt x="2501" y="2977"/>
                    <a:pt x="2239" y="3084"/>
                    <a:pt x="1953" y="3084"/>
                  </a:cubicBezTo>
                  <a:cubicBezTo>
                    <a:pt x="1382" y="3048"/>
                    <a:pt x="941" y="2572"/>
                    <a:pt x="941" y="1989"/>
                  </a:cubicBezTo>
                  <a:lnTo>
                    <a:pt x="941" y="1691"/>
                  </a:lnTo>
                  <a:cubicBezTo>
                    <a:pt x="941" y="1667"/>
                    <a:pt x="941" y="1655"/>
                    <a:pt x="929" y="1620"/>
                  </a:cubicBezTo>
                  <a:lnTo>
                    <a:pt x="870" y="1501"/>
                  </a:lnTo>
                  <a:cubicBezTo>
                    <a:pt x="798" y="1381"/>
                    <a:pt x="774" y="1250"/>
                    <a:pt x="774" y="1108"/>
                  </a:cubicBezTo>
                  <a:cubicBezTo>
                    <a:pt x="774" y="679"/>
                    <a:pt x="1132" y="322"/>
                    <a:pt x="1560" y="322"/>
                  </a:cubicBezTo>
                  <a:close/>
                  <a:moveTo>
                    <a:pt x="2489" y="3286"/>
                  </a:moveTo>
                  <a:lnTo>
                    <a:pt x="2489" y="3513"/>
                  </a:lnTo>
                  <a:cubicBezTo>
                    <a:pt x="2489" y="3560"/>
                    <a:pt x="2489" y="3596"/>
                    <a:pt x="2501" y="3644"/>
                  </a:cubicBezTo>
                  <a:lnTo>
                    <a:pt x="1965" y="4048"/>
                  </a:lnTo>
                  <a:lnTo>
                    <a:pt x="1429" y="3644"/>
                  </a:lnTo>
                  <a:cubicBezTo>
                    <a:pt x="1441" y="3596"/>
                    <a:pt x="1441" y="3548"/>
                    <a:pt x="1441" y="3513"/>
                  </a:cubicBezTo>
                  <a:lnTo>
                    <a:pt x="1441" y="3286"/>
                  </a:lnTo>
                  <a:cubicBezTo>
                    <a:pt x="1596" y="3346"/>
                    <a:pt x="1751" y="3394"/>
                    <a:pt x="1917" y="3394"/>
                  </a:cubicBezTo>
                  <a:lnTo>
                    <a:pt x="1965" y="3394"/>
                  </a:lnTo>
                  <a:cubicBezTo>
                    <a:pt x="2144" y="3394"/>
                    <a:pt x="2322" y="3358"/>
                    <a:pt x="2489" y="3286"/>
                  </a:cubicBezTo>
                  <a:close/>
                  <a:moveTo>
                    <a:pt x="1251" y="3917"/>
                  </a:moveTo>
                  <a:lnTo>
                    <a:pt x="1822" y="4346"/>
                  </a:lnTo>
                  <a:lnTo>
                    <a:pt x="1822" y="4775"/>
                  </a:lnTo>
                  <a:cubicBezTo>
                    <a:pt x="1322" y="4751"/>
                    <a:pt x="834" y="4584"/>
                    <a:pt x="405" y="4287"/>
                  </a:cubicBezTo>
                  <a:cubicBezTo>
                    <a:pt x="429" y="4251"/>
                    <a:pt x="477" y="4227"/>
                    <a:pt x="513" y="4215"/>
                  </a:cubicBezTo>
                  <a:lnTo>
                    <a:pt x="1132" y="3965"/>
                  </a:lnTo>
                  <a:cubicBezTo>
                    <a:pt x="1179" y="3953"/>
                    <a:pt x="1227" y="3929"/>
                    <a:pt x="1251" y="3917"/>
                  </a:cubicBezTo>
                  <a:close/>
                  <a:moveTo>
                    <a:pt x="2691" y="3894"/>
                  </a:moveTo>
                  <a:cubicBezTo>
                    <a:pt x="2727" y="3929"/>
                    <a:pt x="2775" y="3941"/>
                    <a:pt x="2810" y="3953"/>
                  </a:cubicBezTo>
                  <a:lnTo>
                    <a:pt x="3572" y="4239"/>
                  </a:lnTo>
                  <a:cubicBezTo>
                    <a:pt x="3144" y="4572"/>
                    <a:pt x="2656" y="4751"/>
                    <a:pt x="2132" y="4775"/>
                  </a:cubicBezTo>
                  <a:lnTo>
                    <a:pt x="2132" y="4334"/>
                  </a:lnTo>
                  <a:lnTo>
                    <a:pt x="2691" y="3894"/>
                  </a:lnTo>
                  <a:close/>
                  <a:moveTo>
                    <a:pt x="1572" y="0"/>
                  </a:moveTo>
                  <a:cubicBezTo>
                    <a:pt x="965" y="0"/>
                    <a:pt x="465" y="488"/>
                    <a:pt x="465" y="1108"/>
                  </a:cubicBezTo>
                  <a:cubicBezTo>
                    <a:pt x="465" y="1286"/>
                    <a:pt x="501" y="1489"/>
                    <a:pt x="584" y="1655"/>
                  </a:cubicBezTo>
                  <a:lnTo>
                    <a:pt x="620" y="1739"/>
                  </a:lnTo>
                  <a:lnTo>
                    <a:pt x="620" y="1989"/>
                  </a:lnTo>
                  <a:cubicBezTo>
                    <a:pt x="620" y="2429"/>
                    <a:pt x="822" y="2822"/>
                    <a:pt x="1132" y="3096"/>
                  </a:cubicBezTo>
                  <a:lnTo>
                    <a:pt x="1132" y="3525"/>
                  </a:lnTo>
                  <a:cubicBezTo>
                    <a:pt x="1132" y="3596"/>
                    <a:pt x="1084" y="3667"/>
                    <a:pt x="1013" y="3691"/>
                  </a:cubicBezTo>
                  <a:lnTo>
                    <a:pt x="382" y="3929"/>
                  </a:lnTo>
                  <a:cubicBezTo>
                    <a:pt x="227" y="3989"/>
                    <a:pt x="84" y="4108"/>
                    <a:pt x="24" y="4275"/>
                  </a:cubicBezTo>
                  <a:cubicBezTo>
                    <a:pt x="1" y="4334"/>
                    <a:pt x="12" y="4418"/>
                    <a:pt x="72" y="4465"/>
                  </a:cubicBezTo>
                  <a:cubicBezTo>
                    <a:pt x="620" y="4906"/>
                    <a:pt x="1298" y="5120"/>
                    <a:pt x="1965" y="5120"/>
                  </a:cubicBezTo>
                  <a:cubicBezTo>
                    <a:pt x="2751" y="5120"/>
                    <a:pt x="3525" y="4822"/>
                    <a:pt x="4120" y="4227"/>
                  </a:cubicBezTo>
                  <a:cubicBezTo>
                    <a:pt x="5227" y="3108"/>
                    <a:pt x="5335" y="1370"/>
                    <a:pt x="4370" y="143"/>
                  </a:cubicBezTo>
                  <a:cubicBezTo>
                    <a:pt x="4337" y="104"/>
                    <a:pt x="4297" y="86"/>
                    <a:pt x="4256" y="86"/>
                  </a:cubicBezTo>
                  <a:cubicBezTo>
                    <a:pt x="4222" y="86"/>
                    <a:pt x="4188" y="98"/>
                    <a:pt x="4156" y="119"/>
                  </a:cubicBezTo>
                  <a:cubicBezTo>
                    <a:pt x="4072" y="179"/>
                    <a:pt x="4072" y="262"/>
                    <a:pt x="4120" y="346"/>
                  </a:cubicBezTo>
                  <a:cubicBezTo>
                    <a:pt x="4989" y="1429"/>
                    <a:pt x="4894" y="2989"/>
                    <a:pt x="3918" y="3965"/>
                  </a:cubicBezTo>
                  <a:lnTo>
                    <a:pt x="3858" y="4025"/>
                  </a:lnTo>
                  <a:cubicBezTo>
                    <a:pt x="3822" y="4013"/>
                    <a:pt x="3775" y="3989"/>
                    <a:pt x="3751" y="3989"/>
                  </a:cubicBezTo>
                  <a:lnTo>
                    <a:pt x="2941" y="3691"/>
                  </a:lnTo>
                  <a:cubicBezTo>
                    <a:pt x="2870" y="3656"/>
                    <a:pt x="2822" y="3596"/>
                    <a:pt x="2822" y="3525"/>
                  </a:cubicBezTo>
                  <a:lnTo>
                    <a:pt x="2822" y="3120"/>
                  </a:lnTo>
                  <a:cubicBezTo>
                    <a:pt x="2858" y="3096"/>
                    <a:pt x="2906" y="3060"/>
                    <a:pt x="2929" y="3036"/>
                  </a:cubicBezTo>
                  <a:cubicBezTo>
                    <a:pt x="3203" y="2774"/>
                    <a:pt x="3346" y="2441"/>
                    <a:pt x="3346" y="2060"/>
                  </a:cubicBezTo>
                  <a:lnTo>
                    <a:pt x="3346" y="1762"/>
                  </a:lnTo>
                  <a:lnTo>
                    <a:pt x="3394" y="1679"/>
                  </a:lnTo>
                  <a:cubicBezTo>
                    <a:pt x="3465" y="1512"/>
                    <a:pt x="3513" y="1334"/>
                    <a:pt x="3513" y="1143"/>
                  </a:cubicBezTo>
                  <a:lnTo>
                    <a:pt x="3513" y="167"/>
                  </a:lnTo>
                  <a:cubicBezTo>
                    <a:pt x="3513" y="72"/>
                    <a:pt x="3441" y="0"/>
                    <a:pt x="33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59" name="Google Shape;13659;p64"/>
          <p:cNvGrpSpPr/>
          <p:nvPr/>
        </p:nvGrpSpPr>
        <p:grpSpPr>
          <a:xfrm>
            <a:off x="1394741" y="1512061"/>
            <a:ext cx="252444" cy="351722"/>
            <a:chOff x="1394741" y="1512061"/>
            <a:chExt cx="252444" cy="351722"/>
          </a:xfrm>
        </p:grpSpPr>
        <p:sp>
          <p:nvSpPr>
            <p:cNvPr id="13660" name="Google Shape;13660;p64"/>
            <p:cNvSpPr/>
            <p:nvPr/>
          </p:nvSpPr>
          <p:spPr>
            <a:xfrm>
              <a:off x="1394741" y="1512061"/>
              <a:ext cx="252444" cy="351722"/>
            </a:xfrm>
            <a:custGeom>
              <a:avLst/>
              <a:gdLst/>
              <a:ahLst/>
              <a:cxnLst/>
              <a:rect l="l" t="t" r="r" b="b"/>
              <a:pathLst>
                <a:path w="7931" h="11050" extrusionOk="0">
                  <a:moveTo>
                    <a:pt x="3942" y="334"/>
                  </a:moveTo>
                  <a:cubicBezTo>
                    <a:pt x="4132" y="334"/>
                    <a:pt x="4299" y="429"/>
                    <a:pt x="4406" y="595"/>
                  </a:cubicBezTo>
                  <a:cubicBezTo>
                    <a:pt x="4430" y="643"/>
                    <a:pt x="4490" y="667"/>
                    <a:pt x="4537" y="667"/>
                  </a:cubicBezTo>
                  <a:lnTo>
                    <a:pt x="5144" y="667"/>
                  </a:lnTo>
                  <a:cubicBezTo>
                    <a:pt x="5252" y="667"/>
                    <a:pt x="5323" y="762"/>
                    <a:pt x="5323" y="846"/>
                  </a:cubicBezTo>
                  <a:lnTo>
                    <a:pt x="5323" y="1381"/>
                  </a:lnTo>
                  <a:lnTo>
                    <a:pt x="2549" y="1381"/>
                  </a:lnTo>
                  <a:lnTo>
                    <a:pt x="2549" y="846"/>
                  </a:lnTo>
                  <a:lnTo>
                    <a:pt x="2561" y="846"/>
                  </a:lnTo>
                  <a:cubicBezTo>
                    <a:pt x="2561" y="750"/>
                    <a:pt x="2644" y="667"/>
                    <a:pt x="2739" y="667"/>
                  </a:cubicBezTo>
                  <a:lnTo>
                    <a:pt x="3347" y="667"/>
                  </a:lnTo>
                  <a:cubicBezTo>
                    <a:pt x="3406" y="667"/>
                    <a:pt x="3454" y="643"/>
                    <a:pt x="3478" y="595"/>
                  </a:cubicBezTo>
                  <a:cubicBezTo>
                    <a:pt x="3573" y="429"/>
                    <a:pt x="3751" y="334"/>
                    <a:pt x="3942" y="334"/>
                  </a:cubicBezTo>
                  <a:close/>
                  <a:moveTo>
                    <a:pt x="7228" y="1000"/>
                  </a:moveTo>
                  <a:cubicBezTo>
                    <a:pt x="7430" y="1000"/>
                    <a:pt x="7585" y="1167"/>
                    <a:pt x="7585" y="1357"/>
                  </a:cubicBezTo>
                  <a:lnTo>
                    <a:pt x="7585" y="10347"/>
                  </a:lnTo>
                  <a:cubicBezTo>
                    <a:pt x="7585" y="10537"/>
                    <a:pt x="7430" y="10704"/>
                    <a:pt x="7228" y="10704"/>
                  </a:cubicBezTo>
                  <a:lnTo>
                    <a:pt x="668" y="10704"/>
                  </a:lnTo>
                  <a:cubicBezTo>
                    <a:pt x="477" y="10704"/>
                    <a:pt x="310" y="10537"/>
                    <a:pt x="310" y="10347"/>
                  </a:cubicBezTo>
                  <a:lnTo>
                    <a:pt x="310" y="1357"/>
                  </a:lnTo>
                  <a:cubicBezTo>
                    <a:pt x="310" y="1155"/>
                    <a:pt x="477" y="1000"/>
                    <a:pt x="668" y="1000"/>
                  </a:cubicBezTo>
                  <a:lnTo>
                    <a:pt x="2227" y="1000"/>
                  </a:lnTo>
                  <a:lnTo>
                    <a:pt x="2227" y="1536"/>
                  </a:lnTo>
                  <a:cubicBezTo>
                    <a:pt x="2227" y="1619"/>
                    <a:pt x="2311" y="1703"/>
                    <a:pt x="2394" y="1703"/>
                  </a:cubicBezTo>
                  <a:lnTo>
                    <a:pt x="5502" y="1703"/>
                  </a:lnTo>
                  <a:cubicBezTo>
                    <a:pt x="5597" y="1703"/>
                    <a:pt x="5668" y="1619"/>
                    <a:pt x="5668" y="1536"/>
                  </a:cubicBezTo>
                  <a:lnTo>
                    <a:pt x="5668" y="1000"/>
                  </a:lnTo>
                  <a:close/>
                  <a:moveTo>
                    <a:pt x="3954" y="0"/>
                  </a:moveTo>
                  <a:cubicBezTo>
                    <a:pt x="3692" y="0"/>
                    <a:pt x="3442" y="131"/>
                    <a:pt x="3275" y="345"/>
                  </a:cubicBezTo>
                  <a:lnTo>
                    <a:pt x="2751" y="345"/>
                  </a:lnTo>
                  <a:cubicBezTo>
                    <a:pt x="2525" y="345"/>
                    <a:pt x="2335" y="488"/>
                    <a:pt x="2275" y="691"/>
                  </a:cubicBezTo>
                  <a:lnTo>
                    <a:pt x="680" y="691"/>
                  </a:lnTo>
                  <a:cubicBezTo>
                    <a:pt x="310" y="691"/>
                    <a:pt x="1" y="988"/>
                    <a:pt x="1" y="1369"/>
                  </a:cubicBezTo>
                  <a:lnTo>
                    <a:pt x="1" y="10359"/>
                  </a:lnTo>
                  <a:cubicBezTo>
                    <a:pt x="1" y="10728"/>
                    <a:pt x="299" y="11049"/>
                    <a:pt x="680" y="11049"/>
                  </a:cubicBezTo>
                  <a:lnTo>
                    <a:pt x="7252" y="11049"/>
                  </a:lnTo>
                  <a:cubicBezTo>
                    <a:pt x="7621" y="11049"/>
                    <a:pt x="7930" y="10751"/>
                    <a:pt x="7930" y="10359"/>
                  </a:cubicBezTo>
                  <a:lnTo>
                    <a:pt x="7930" y="1369"/>
                  </a:lnTo>
                  <a:cubicBezTo>
                    <a:pt x="7919" y="1000"/>
                    <a:pt x="7609" y="691"/>
                    <a:pt x="7228" y="691"/>
                  </a:cubicBezTo>
                  <a:lnTo>
                    <a:pt x="5644" y="691"/>
                  </a:lnTo>
                  <a:cubicBezTo>
                    <a:pt x="5561" y="488"/>
                    <a:pt x="5383" y="345"/>
                    <a:pt x="5168" y="345"/>
                  </a:cubicBezTo>
                  <a:lnTo>
                    <a:pt x="4644" y="345"/>
                  </a:lnTo>
                  <a:cubicBezTo>
                    <a:pt x="4478" y="131"/>
                    <a:pt x="4228" y="0"/>
                    <a:pt x="395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1" name="Google Shape;13661;p64"/>
            <p:cNvSpPr/>
            <p:nvPr/>
          </p:nvSpPr>
          <p:spPr>
            <a:xfrm>
              <a:off x="1515282" y="1534024"/>
              <a:ext cx="10631" cy="10281"/>
            </a:xfrm>
            <a:custGeom>
              <a:avLst/>
              <a:gdLst/>
              <a:ahLst/>
              <a:cxnLst/>
              <a:rect l="l" t="t" r="r" b="b"/>
              <a:pathLst>
                <a:path w="334" h="323" extrusionOk="0">
                  <a:moveTo>
                    <a:pt x="167" y="1"/>
                  </a:moveTo>
                  <a:cubicBezTo>
                    <a:pt x="83" y="1"/>
                    <a:pt x="0" y="72"/>
                    <a:pt x="0" y="156"/>
                  </a:cubicBezTo>
                  <a:cubicBezTo>
                    <a:pt x="0" y="251"/>
                    <a:pt x="83" y="322"/>
                    <a:pt x="167" y="322"/>
                  </a:cubicBezTo>
                  <a:cubicBezTo>
                    <a:pt x="262" y="322"/>
                    <a:pt x="333" y="251"/>
                    <a:pt x="333" y="156"/>
                  </a:cubicBezTo>
                  <a:cubicBezTo>
                    <a:pt x="322" y="72"/>
                    <a:pt x="262" y="1"/>
                    <a:pt x="16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2" name="Google Shape;13662;p64"/>
            <p:cNvSpPr/>
            <p:nvPr/>
          </p:nvSpPr>
          <p:spPr>
            <a:xfrm>
              <a:off x="1415972" y="1556018"/>
              <a:ext cx="208486" cy="274406"/>
            </a:xfrm>
            <a:custGeom>
              <a:avLst/>
              <a:gdLst/>
              <a:ahLst/>
              <a:cxnLst/>
              <a:rect l="l" t="t" r="r" b="b"/>
              <a:pathLst>
                <a:path w="6550" h="8621" extrusionOk="0">
                  <a:moveTo>
                    <a:pt x="167" y="0"/>
                  </a:moveTo>
                  <a:cubicBezTo>
                    <a:pt x="72" y="0"/>
                    <a:pt x="1" y="84"/>
                    <a:pt x="1" y="167"/>
                  </a:cubicBezTo>
                  <a:lnTo>
                    <a:pt x="1" y="8454"/>
                  </a:lnTo>
                  <a:cubicBezTo>
                    <a:pt x="1" y="8549"/>
                    <a:pt x="72" y="8620"/>
                    <a:pt x="167" y="8620"/>
                  </a:cubicBezTo>
                  <a:lnTo>
                    <a:pt x="6382" y="8620"/>
                  </a:lnTo>
                  <a:cubicBezTo>
                    <a:pt x="6478" y="8620"/>
                    <a:pt x="6549" y="8549"/>
                    <a:pt x="6549" y="8454"/>
                  </a:cubicBezTo>
                  <a:lnTo>
                    <a:pt x="6549" y="167"/>
                  </a:lnTo>
                  <a:cubicBezTo>
                    <a:pt x="6549" y="60"/>
                    <a:pt x="6478" y="0"/>
                    <a:pt x="6382" y="0"/>
                  </a:cubicBezTo>
                  <a:lnTo>
                    <a:pt x="5525" y="0"/>
                  </a:lnTo>
                  <a:cubicBezTo>
                    <a:pt x="5430" y="0"/>
                    <a:pt x="5358" y="84"/>
                    <a:pt x="5358" y="167"/>
                  </a:cubicBezTo>
                  <a:cubicBezTo>
                    <a:pt x="5358" y="262"/>
                    <a:pt x="5430" y="334"/>
                    <a:pt x="5525" y="334"/>
                  </a:cubicBezTo>
                  <a:lnTo>
                    <a:pt x="6228" y="334"/>
                  </a:lnTo>
                  <a:lnTo>
                    <a:pt x="6228" y="8311"/>
                  </a:lnTo>
                  <a:lnTo>
                    <a:pt x="322" y="8311"/>
                  </a:lnTo>
                  <a:lnTo>
                    <a:pt x="322" y="334"/>
                  </a:lnTo>
                  <a:lnTo>
                    <a:pt x="1025" y="334"/>
                  </a:lnTo>
                  <a:cubicBezTo>
                    <a:pt x="1120" y="334"/>
                    <a:pt x="1191" y="262"/>
                    <a:pt x="1191" y="167"/>
                  </a:cubicBezTo>
                  <a:cubicBezTo>
                    <a:pt x="1191" y="84"/>
                    <a:pt x="1120" y="0"/>
                    <a:pt x="102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3" name="Google Shape;13663;p64"/>
            <p:cNvSpPr/>
            <p:nvPr/>
          </p:nvSpPr>
          <p:spPr>
            <a:xfrm>
              <a:off x="1449330" y="1665927"/>
              <a:ext cx="31862" cy="32244"/>
            </a:xfrm>
            <a:custGeom>
              <a:avLst/>
              <a:gdLst/>
              <a:ahLst/>
              <a:cxnLst/>
              <a:rect l="l" t="t" r="r" b="b"/>
              <a:pathLst>
                <a:path w="1001" h="1013" extrusionOk="0">
                  <a:moveTo>
                    <a:pt x="500" y="333"/>
                  </a:moveTo>
                  <a:cubicBezTo>
                    <a:pt x="608" y="333"/>
                    <a:pt x="679" y="417"/>
                    <a:pt x="679" y="512"/>
                  </a:cubicBezTo>
                  <a:cubicBezTo>
                    <a:pt x="679" y="595"/>
                    <a:pt x="608" y="691"/>
                    <a:pt x="500" y="691"/>
                  </a:cubicBezTo>
                  <a:cubicBezTo>
                    <a:pt x="393" y="691"/>
                    <a:pt x="322" y="595"/>
                    <a:pt x="322" y="512"/>
                  </a:cubicBezTo>
                  <a:cubicBezTo>
                    <a:pt x="322" y="417"/>
                    <a:pt x="417" y="333"/>
                    <a:pt x="500" y="333"/>
                  </a:cubicBezTo>
                  <a:close/>
                  <a:moveTo>
                    <a:pt x="500" y="0"/>
                  </a:moveTo>
                  <a:cubicBezTo>
                    <a:pt x="215" y="0"/>
                    <a:pt x="0" y="226"/>
                    <a:pt x="0" y="512"/>
                  </a:cubicBezTo>
                  <a:cubicBezTo>
                    <a:pt x="0" y="786"/>
                    <a:pt x="215" y="1012"/>
                    <a:pt x="500" y="1012"/>
                  </a:cubicBezTo>
                  <a:cubicBezTo>
                    <a:pt x="786" y="1012"/>
                    <a:pt x="1001" y="786"/>
                    <a:pt x="1001" y="512"/>
                  </a:cubicBezTo>
                  <a:cubicBezTo>
                    <a:pt x="1001" y="226"/>
                    <a:pt x="786" y="0"/>
                    <a:pt x="50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4" name="Google Shape;13664;p64"/>
            <p:cNvSpPr/>
            <p:nvPr/>
          </p:nvSpPr>
          <p:spPr>
            <a:xfrm>
              <a:off x="1449330" y="1715168"/>
              <a:ext cx="31862" cy="32244"/>
            </a:xfrm>
            <a:custGeom>
              <a:avLst/>
              <a:gdLst/>
              <a:ahLst/>
              <a:cxnLst/>
              <a:rect l="l" t="t" r="r" b="b"/>
              <a:pathLst>
                <a:path w="1001" h="1013" extrusionOk="0">
                  <a:moveTo>
                    <a:pt x="500" y="346"/>
                  </a:moveTo>
                  <a:cubicBezTo>
                    <a:pt x="608" y="346"/>
                    <a:pt x="679" y="441"/>
                    <a:pt x="679" y="525"/>
                  </a:cubicBezTo>
                  <a:cubicBezTo>
                    <a:pt x="679" y="608"/>
                    <a:pt x="608" y="703"/>
                    <a:pt x="500" y="703"/>
                  </a:cubicBezTo>
                  <a:cubicBezTo>
                    <a:pt x="393" y="703"/>
                    <a:pt x="322" y="608"/>
                    <a:pt x="322" y="525"/>
                  </a:cubicBezTo>
                  <a:cubicBezTo>
                    <a:pt x="322" y="441"/>
                    <a:pt x="417" y="346"/>
                    <a:pt x="500" y="346"/>
                  </a:cubicBezTo>
                  <a:close/>
                  <a:moveTo>
                    <a:pt x="500" y="1"/>
                  </a:moveTo>
                  <a:cubicBezTo>
                    <a:pt x="215" y="1"/>
                    <a:pt x="0" y="227"/>
                    <a:pt x="0" y="513"/>
                  </a:cubicBezTo>
                  <a:cubicBezTo>
                    <a:pt x="0" y="787"/>
                    <a:pt x="215" y="1013"/>
                    <a:pt x="500" y="1013"/>
                  </a:cubicBezTo>
                  <a:cubicBezTo>
                    <a:pt x="786" y="1013"/>
                    <a:pt x="1001" y="787"/>
                    <a:pt x="1001" y="513"/>
                  </a:cubicBezTo>
                  <a:cubicBezTo>
                    <a:pt x="1001" y="227"/>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5" name="Google Shape;13665;p64"/>
            <p:cNvSpPr/>
            <p:nvPr/>
          </p:nvSpPr>
          <p:spPr>
            <a:xfrm>
              <a:off x="1449330" y="1765205"/>
              <a:ext cx="31862" cy="31862"/>
            </a:xfrm>
            <a:custGeom>
              <a:avLst/>
              <a:gdLst/>
              <a:ahLst/>
              <a:cxnLst/>
              <a:rect l="l" t="t" r="r" b="b"/>
              <a:pathLst>
                <a:path w="1001" h="1001" extrusionOk="0">
                  <a:moveTo>
                    <a:pt x="500" y="322"/>
                  </a:moveTo>
                  <a:cubicBezTo>
                    <a:pt x="608" y="322"/>
                    <a:pt x="679" y="417"/>
                    <a:pt x="679" y="501"/>
                  </a:cubicBezTo>
                  <a:cubicBezTo>
                    <a:pt x="691" y="608"/>
                    <a:pt x="608" y="679"/>
                    <a:pt x="500" y="679"/>
                  </a:cubicBezTo>
                  <a:cubicBezTo>
                    <a:pt x="393" y="679"/>
                    <a:pt x="322" y="584"/>
                    <a:pt x="322" y="501"/>
                  </a:cubicBezTo>
                  <a:cubicBezTo>
                    <a:pt x="322" y="393"/>
                    <a:pt x="417" y="322"/>
                    <a:pt x="500" y="322"/>
                  </a:cubicBezTo>
                  <a:close/>
                  <a:moveTo>
                    <a:pt x="500" y="1"/>
                  </a:moveTo>
                  <a:cubicBezTo>
                    <a:pt x="215" y="1"/>
                    <a:pt x="0" y="215"/>
                    <a:pt x="0" y="501"/>
                  </a:cubicBezTo>
                  <a:cubicBezTo>
                    <a:pt x="0" y="786"/>
                    <a:pt x="215" y="1001"/>
                    <a:pt x="500" y="1001"/>
                  </a:cubicBezTo>
                  <a:cubicBezTo>
                    <a:pt x="786" y="1001"/>
                    <a:pt x="1001" y="786"/>
                    <a:pt x="1001" y="501"/>
                  </a:cubicBezTo>
                  <a:cubicBezTo>
                    <a:pt x="1001" y="215"/>
                    <a:pt x="786" y="1"/>
                    <a:pt x="50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6" name="Google Shape;13666;p64"/>
            <p:cNvSpPr/>
            <p:nvPr/>
          </p:nvSpPr>
          <p:spPr>
            <a:xfrm>
              <a:off x="1493287" y="1665927"/>
              <a:ext cx="59522" cy="10631"/>
            </a:xfrm>
            <a:custGeom>
              <a:avLst/>
              <a:gdLst/>
              <a:ahLst/>
              <a:cxnLst/>
              <a:rect l="l" t="t" r="r" b="b"/>
              <a:pathLst>
                <a:path w="1870" h="334" extrusionOk="0">
                  <a:moveTo>
                    <a:pt x="167" y="0"/>
                  </a:moveTo>
                  <a:cubicBezTo>
                    <a:pt x="72" y="0"/>
                    <a:pt x="1" y="72"/>
                    <a:pt x="1" y="167"/>
                  </a:cubicBezTo>
                  <a:cubicBezTo>
                    <a:pt x="1" y="262"/>
                    <a:pt x="72" y="333"/>
                    <a:pt x="167" y="333"/>
                  </a:cubicBezTo>
                  <a:lnTo>
                    <a:pt x="1703" y="333"/>
                  </a:lnTo>
                  <a:cubicBezTo>
                    <a:pt x="1798" y="333"/>
                    <a:pt x="1870" y="262"/>
                    <a:pt x="1870" y="167"/>
                  </a:cubicBezTo>
                  <a:cubicBezTo>
                    <a:pt x="1870" y="72"/>
                    <a:pt x="1798" y="0"/>
                    <a:pt x="17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7" name="Google Shape;13667;p64"/>
            <p:cNvSpPr/>
            <p:nvPr/>
          </p:nvSpPr>
          <p:spPr>
            <a:xfrm>
              <a:off x="1493287" y="1687890"/>
              <a:ext cx="98578" cy="10281"/>
            </a:xfrm>
            <a:custGeom>
              <a:avLst/>
              <a:gdLst/>
              <a:ahLst/>
              <a:cxnLst/>
              <a:rect l="l" t="t" r="r" b="b"/>
              <a:pathLst>
                <a:path w="3097" h="323" extrusionOk="0">
                  <a:moveTo>
                    <a:pt x="167" y="1"/>
                  </a:moveTo>
                  <a:cubicBezTo>
                    <a:pt x="72" y="1"/>
                    <a:pt x="1" y="72"/>
                    <a:pt x="1" y="167"/>
                  </a:cubicBezTo>
                  <a:cubicBezTo>
                    <a:pt x="1" y="251"/>
                    <a:pt x="72" y="322"/>
                    <a:pt x="167" y="322"/>
                  </a:cubicBezTo>
                  <a:lnTo>
                    <a:pt x="2929" y="322"/>
                  </a:lnTo>
                  <a:cubicBezTo>
                    <a:pt x="3025" y="322"/>
                    <a:pt x="3096" y="251"/>
                    <a:pt x="3096" y="167"/>
                  </a:cubicBezTo>
                  <a:cubicBezTo>
                    <a:pt x="3096" y="72"/>
                    <a:pt x="3025" y="1"/>
                    <a:pt x="292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8" name="Google Shape;13668;p64"/>
            <p:cNvSpPr/>
            <p:nvPr/>
          </p:nvSpPr>
          <p:spPr>
            <a:xfrm>
              <a:off x="1493287" y="1715168"/>
              <a:ext cx="59522" cy="10663"/>
            </a:xfrm>
            <a:custGeom>
              <a:avLst/>
              <a:gdLst/>
              <a:ahLst/>
              <a:cxnLst/>
              <a:rect l="l" t="t" r="r" b="b"/>
              <a:pathLst>
                <a:path w="1870" h="335" extrusionOk="0">
                  <a:moveTo>
                    <a:pt x="167" y="1"/>
                  </a:moveTo>
                  <a:cubicBezTo>
                    <a:pt x="72" y="1"/>
                    <a:pt x="1" y="84"/>
                    <a:pt x="1" y="168"/>
                  </a:cubicBezTo>
                  <a:cubicBezTo>
                    <a:pt x="1" y="263"/>
                    <a:pt x="72" y="334"/>
                    <a:pt x="167" y="334"/>
                  </a:cubicBezTo>
                  <a:lnTo>
                    <a:pt x="1703" y="334"/>
                  </a:lnTo>
                  <a:cubicBezTo>
                    <a:pt x="1798" y="334"/>
                    <a:pt x="1870" y="263"/>
                    <a:pt x="1870" y="168"/>
                  </a:cubicBezTo>
                  <a:cubicBezTo>
                    <a:pt x="1870" y="84"/>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9" name="Google Shape;13669;p64"/>
            <p:cNvSpPr/>
            <p:nvPr/>
          </p:nvSpPr>
          <p:spPr>
            <a:xfrm>
              <a:off x="1493287" y="1737545"/>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0" name="Google Shape;13670;p64"/>
            <p:cNvSpPr/>
            <p:nvPr/>
          </p:nvSpPr>
          <p:spPr>
            <a:xfrm>
              <a:off x="1493287" y="1765205"/>
              <a:ext cx="59522" cy="10249"/>
            </a:xfrm>
            <a:custGeom>
              <a:avLst/>
              <a:gdLst/>
              <a:ahLst/>
              <a:cxnLst/>
              <a:rect l="l" t="t" r="r" b="b"/>
              <a:pathLst>
                <a:path w="1870" h="322" extrusionOk="0">
                  <a:moveTo>
                    <a:pt x="167" y="1"/>
                  </a:moveTo>
                  <a:cubicBezTo>
                    <a:pt x="72" y="1"/>
                    <a:pt x="1" y="72"/>
                    <a:pt x="1" y="155"/>
                  </a:cubicBezTo>
                  <a:cubicBezTo>
                    <a:pt x="1" y="251"/>
                    <a:pt x="72" y="322"/>
                    <a:pt x="167" y="322"/>
                  </a:cubicBezTo>
                  <a:lnTo>
                    <a:pt x="1703" y="322"/>
                  </a:lnTo>
                  <a:cubicBezTo>
                    <a:pt x="1798" y="322"/>
                    <a:pt x="1870" y="251"/>
                    <a:pt x="1870" y="155"/>
                  </a:cubicBezTo>
                  <a:cubicBezTo>
                    <a:pt x="1870" y="72"/>
                    <a:pt x="1798" y="1"/>
                    <a:pt x="170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1" name="Google Shape;13671;p64"/>
            <p:cNvSpPr/>
            <p:nvPr/>
          </p:nvSpPr>
          <p:spPr>
            <a:xfrm>
              <a:off x="1493287" y="1786818"/>
              <a:ext cx="98578" cy="10631"/>
            </a:xfrm>
            <a:custGeom>
              <a:avLst/>
              <a:gdLst/>
              <a:ahLst/>
              <a:cxnLst/>
              <a:rect l="l" t="t" r="r" b="b"/>
              <a:pathLst>
                <a:path w="3097" h="334" extrusionOk="0">
                  <a:moveTo>
                    <a:pt x="167" y="0"/>
                  </a:moveTo>
                  <a:cubicBezTo>
                    <a:pt x="72" y="0"/>
                    <a:pt x="1" y="72"/>
                    <a:pt x="1" y="167"/>
                  </a:cubicBezTo>
                  <a:cubicBezTo>
                    <a:pt x="1" y="250"/>
                    <a:pt x="72" y="334"/>
                    <a:pt x="167" y="334"/>
                  </a:cubicBezTo>
                  <a:lnTo>
                    <a:pt x="2929" y="334"/>
                  </a:lnTo>
                  <a:cubicBezTo>
                    <a:pt x="3025" y="334"/>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2" name="Google Shape;13672;p64"/>
            <p:cNvSpPr/>
            <p:nvPr/>
          </p:nvSpPr>
          <p:spPr>
            <a:xfrm>
              <a:off x="1493287" y="1583679"/>
              <a:ext cx="98578" cy="10249"/>
            </a:xfrm>
            <a:custGeom>
              <a:avLst/>
              <a:gdLst/>
              <a:ahLst/>
              <a:cxnLst/>
              <a:rect l="l" t="t" r="r" b="b"/>
              <a:pathLst>
                <a:path w="3097" h="322" extrusionOk="0">
                  <a:moveTo>
                    <a:pt x="167" y="0"/>
                  </a:moveTo>
                  <a:cubicBezTo>
                    <a:pt x="72" y="0"/>
                    <a:pt x="1" y="72"/>
                    <a:pt x="1" y="167"/>
                  </a:cubicBezTo>
                  <a:cubicBezTo>
                    <a:pt x="1" y="250"/>
                    <a:pt x="72" y="322"/>
                    <a:pt x="167" y="322"/>
                  </a:cubicBezTo>
                  <a:lnTo>
                    <a:pt x="2929" y="322"/>
                  </a:lnTo>
                  <a:cubicBezTo>
                    <a:pt x="3025" y="322"/>
                    <a:pt x="3096" y="250"/>
                    <a:pt x="3096" y="167"/>
                  </a:cubicBezTo>
                  <a:cubicBezTo>
                    <a:pt x="3096" y="72"/>
                    <a:pt x="3025" y="0"/>
                    <a:pt x="292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3" name="Google Shape;13673;p64"/>
            <p:cNvSpPr/>
            <p:nvPr/>
          </p:nvSpPr>
          <p:spPr>
            <a:xfrm>
              <a:off x="1449330" y="1632951"/>
              <a:ext cx="142535" cy="10249"/>
            </a:xfrm>
            <a:custGeom>
              <a:avLst/>
              <a:gdLst/>
              <a:ahLst/>
              <a:cxnLst/>
              <a:rect l="l" t="t" r="r" b="b"/>
              <a:pathLst>
                <a:path w="4478" h="322" extrusionOk="0">
                  <a:moveTo>
                    <a:pt x="155" y="0"/>
                  </a:moveTo>
                  <a:cubicBezTo>
                    <a:pt x="72" y="0"/>
                    <a:pt x="0" y="72"/>
                    <a:pt x="0" y="167"/>
                  </a:cubicBezTo>
                  <a:cubicBezTo>
                    <a:pt x="0" y="250"/>
                    <a:pt x="72" y="322"/>
                    <a:pt x="155" y="322"/>
                  </a:cubicBezTo>
                  <a:lnTo>
                    <a:pt x="4310" y="322"/>
                  </a:lnTo>
                  <a:cubicBezTo>
                    <a:pt x="4406" y="322"/>
                    <a:pt x="4477" y="250"/>
                    <a:pt x="4477" y="167"/>
                  </a:cubicBezTo>
                  <a:cubicBezTo>
                    <a:pt x="4477" y="72"/>
                    <a:pt x="4406" y="0"/>
                    <a:pt x="4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4" name="Google Shape;13674;p64"/>
            <p:cNvSpPr/>
            <p:nvPr/>
          </p:nvSpPr>
          <p:spPr>
            <a:xfrm>
              <a:off x="1493287" y="1605291"/>
              <a:ext cx="26928" cy="10631"/>
            </a:xfrm>
            <a:custGeom>
              <a:avLst/>
              <a:gdLst/>
              <a:ahLst/>
              <a:cxnLst/>
              <a:rect l="l" t="t" r="r" b="b"/>
              <a:pathLst>
                <a:path w="846" h="334" extrusionOk="0">
                  <a:moveTo>
                    <a:pt x="167" y="0"/>
                  </a:moveTo>
                  <a:cubicBezTo>
                    <a:pt x="72" y="0"/>
                    <a:pt x="1" y="83"/>
                    <a:pt x="1" y="167"/>
                  </a:cubicBezTo>
                  <a:cubicBezTo>
                    <a:pt x="1" y="262"/>
                    <a:pt x="72" y="333"/>
                    <a:pt x="167" y="333"/>
                  </a:cubicBezTo>
                  <a:lnTo>
                    <a:pt x="679" y="333"/>
                  </a:lnTo>
                  <a:cubicBezTo>
                    <a:pt x="774" y="333"/>
                    <a:pt x="846" y="262"/>
                    <a:pt x="846" y="167"/>
                  </a:cubicBezTo>
                  <a:cubicBezTo>
                    <a:pt x="846" y="83"/>
                    <a:pt x="774" y="0"/>
                    <a:pt x="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5" name="Google Shape;13675;p64"/>
            <p:cNvSpPr/>
            <p:nvPr/>
          </p:nvSpPr>
          <p:spPr>
            <a:xfrm>
              <a:off x="1531579" y="1605291"/>
              <a:ext cx="26928" cy="10631"/>
            </a:xfrm>
            <a:custGeom>
              <a:avLst/>
              <a:gdLst/>
              <a:ahLst/>
              <a:cxnLst/>
              <a:rect l="l" t="t" r="r" b="b"/>
              <a:pathLst>
                <a:path w="846" h="334" extrusionOk="0">
                  <a:moveTo>
                    <a:pt x="167" y="0"/>
                  </a:moveTo>
                  <a:cubicBezTo>
                    <a:pt x="71" y="0"/>
                    <a:pt x="0" y="83"/>
                    <a:pt x="0" y="167"/>
                  </a:cubicBezTo>
                  <a:cubicBezTo>
                    <a:pt x="0" y="262"/>
                    <a:pt x="71" y="333"/>
                    <a:pt x="167" y="333"/>
                  </a:cubicBezTo>
                  <a:lnTo>
                    <a:pt x="691" y="333"/>
                  </a:lnTo>
                  <a:cubicBezTo>
                    <a:pt x="774" y="333"/>
                    <a:pt x="845" y="262"/>
                    <a:pt x="845" y="167"/>
                  </a:cubicBezTo>
                  <a:cubicBezTo>
                    <a:pt x="845" y="83"/>
                    <a:pt x="774" y="0"/>
                    <a:pt x="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6" name="Google Shape;13676;p64"/>
            <p:cNvSpPr/>
            <p:nvPr/>
          </p:nvSpPr>
          <p:spPr>
            <a:xfrm>
              <a:off x="1449712" y="1583679"/>
              <a:ext cx="32244" cy="32244"/>
            </a:xfrm>
            <a:custGeom>
              <a:avLst/>
              <a:gdLst/>
              <a:ahLst/>
              <a:cxnLst/>
              <a:rect l="l" t="t" r="r" b="b"/>
              <a:pathLst>
                <a:path w="1013" h="1013" extrusionOk="0">
                  <a:moveTo>
                    <a:pt x="679" y="310"/>
                  </a:moveTo>
                  <a:lnTo>
                    <a:pt x="679" y="679"/>
                  </a:lnTo>
                  <a:lnTo>
                    <a:pt x="310" y="679"/>
                  </a:lnTo>
                  <a:lnTo>
                    <a:pt x="310" y="310"/>
                  </a:lnTo>
                  <a:close/>
                  <a:moveTo>
                    <a:pt x="155" y="0"/>
                  </a:moveTo>
                  <a:cubicBezTo>
                    <a:pt x="72" y="0"/>
                    <a:pt x="0" y="72"/>
                    <a:pt x="0" y="167"/>
                  </a:cubicBezTo>
                  <a:lnTo>
                    <a:pt x="0" y="846"/>
                  </a:lnTo>
                  <a:cubicBezTo>
                    <a:pt x="0" y="941"/>
                    <a:pt x="72" y="1012"/>
                    <a:pt x="155" y="1012"/>
                  </a:cubicBezTo>
                  <a:lnTo>
                    <a:pt x="846" y="1012"/>
                  </a:lnTo>
                  <a:cubicBezTo>
                    <a:pt x="941" y="1012"/>
                    <a:pt x="1012" y="941"/>
                    <a:pt x="1012" y="846"/>
                  </a:cubicBezTo>
                  <a:lnTo>
                    <a:pt x="1012" y="167"/>
                  </a:lnTo>
                  <a:cubicBezTo>
                    <a:pt x="989" y="60"/>
                    <a:pt x="941" y="0"/>
                    <a:pt x="84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77" name="Google Shape;13677;p64"/>
          <p:cNvGrpSpPr/>
          <p:nvPr/>
        </p:nvGrpSpPr>
        <p:grpSpPr>
          <a:xfrm>
            <a:off x="855096" y="1504485"/>
            <a:ext cx="380910" cy="339594"/>
            <a:chOff x="855096" y="1504485"/>
            <a:chExt cx="380910" cy="339594"/>
          </a:xfrm>
        </p:grpSpPr>
        <p:sp>
          <p:nvSpPr>
            <p:cNvPr id="13678" name="Google Shape;13678;p64"/>
            <p:cNvSpPr/>
            <p:nvPr/>
          </p:nvSpPr>
          <p:spPr>
            <a:xfrm>
              <a:off x="1092707" y="1504485"/>
              <a:ext cx="107299" cy="136837"/>
            </a:xfrm>
            <a:custGeom>
              <a:avLst/>
              <a:gdLst/>
              <a:ahLst/>
              <a:cxnLst/>
              <a:rect l="l" t="t" r="r" b="b"/>
              <a:pathLst>
                <a:path w="3371" h="4299" extrusionOk="0">
                  <a:moveTo>
                    <a:pt x="1691" y="357"/>
                  </a:moveTo>
                  <a:cubicBezTo>
                    <a:pt x="2418" y="357"/>
                    <a:pt x="3013" y="953"/>
                    <a:pt x="3013" y="1679"/>
                  </a:cubicBezTo>
                  <a:cubicBezTo>
                    <a:pt x="3013" y="2250"/>
                    <a:pt x="2644" y="2750"/>
                    <a:pt x="2108" y="2929"/>
                  </a:cubicBezTo>
                  <a:lnTo>
                    <a:pt x="2418" y="1726"/>
                  </a:lnTo>
                  <a:cubicBezTo>
                    <a:pt x="2453" y="1643"/>
                    <a:pt x="2394" y="1536"/>
                    <a:pt x="2287" y="1512"/>
                  </a:cubicBezTo>
                  <a:cubicBezTo>
                    <a:pt x="2273" y="1509"/>
                    <a:pt x="2258" y="1507"/>
                    <a:pt x="2244" y="1507"/>
                  </a:cubicBezTo>
                  <a:cubicBezTo>
                    <a:pt x="2162" y="1507"/>
                    <a:pt x="2082" y="1564"/>
                    <a:pt x="2072" y="1655"/>
                  </a:cubicBezTo>
                  <a:lnTo>
                    <a:pt x="2060" y="1715"/>
                  </a:lnTo>
                  <a:lnTo>
                    <a:pt x="1322" y="1715"/>
                  </a:lnTo>
                  <a:lnTo>
                    <a:pt x="1298" y="1655"/>
                  </a:lnTo>
                  <a:cubicBezTo>
                    <a:pt x="1277" y="1568"/>
                    <a:pt x="1195" y="1511"/>
                    <a:pt x="1117" y="1511"/>
                  </a:cubicBezTo>
                  <a:cubicBezTo>
                    <a:pt x="1110" y="1511"/>
                    <a:pt x="1103" y="1511"/>
                    <a:pt x="1096" y="1512"/>
                  </a:cubicBezTo>
                  <a:cubicBezTo>
                    <a:pt x="1001" y="1548"/>
                    <a:pt x="941" y="1631"/>
                    <a:pt x="965" y="1726"/>
                  </a:cubicBezTo>
                  <a:lnTo>
                    <a:pt x="1275" y="2929"/>
                  </a:lnTo>
                  <a:cubicBezTo>
                    <a:pt x="751" y="2750"/>
                    <a:pt x="370" y="2262"/>
                    <a:pt x="370" y="1679"/>
                  </a:cubicBezTo>
                  <a:cubicBezTo>
                    <a:pt x="370" y="953"/>
                    <a:pt x="965" y="357"/>
                    <a:pt x="1691" y="357"/>
                  </a:cubicBezTo>
                  <a:close/>
                  <a:moveTo>
                    <a:pt x="1989" y="2036"/>
                  </a:moveTo>
                  <a:lnTo>
                    <a:pt x="1751" y="3012"/>
                  </a:lnTo>
                  <a:lnTo>
                    <a:pt x="1656" y="3012"/>
                  </a:lnTo>
                  <a:lnTo>
                    <a:pt x="1406" y="2036"/>
                  </a:lnTo>
                  <a:close/>
                  <a:moveTo>
                    <a:pt x="2072" y="3310"/>
                  </a:moveTo>
                  <a:lnTo>
                    <a:pt x="2072" y="3739"/>
                  </a:lnTo>
                  <a:lnTo>
                    <a:pt x="1322" y="3751"/>
                  </a:lnTo>
                  <a:cubicBezTo>
                    <a:pt x="1322" y="3751"/>
                    <a:pt x="1298" y="3751"/>
                    <a:pt x="1298" y="3739"/>
                  </a:cubicBezTo>
                  <a:lnTo>
                    <a:pt x="1298" y="3310"/>
                  </a:lnTo>
                  <a:cubicBezTo>
                    <a:pt x="1417" y="3334"/>
                    <a:pt x="1560" y="3346"/>
                    <a:pt x="1691" y="3346"/>
                  </a:cubicBezTo>
                  <a:cubicBezTo>
                    <a:pt x="1822" y="3346"/>
                    <a:pt x="1953" y="3334"/>
                    <a:pt x="2072" y="3310"/>
                  </a:cubicBezTo>
                  <a:close/>
                  <a:moveTo>
                    <a:pt x="1691" y="0"/>
                  </a:moveTo>
                  <a:cubicBezTo>
                    <a:pt x="763" y="0"/>
                    <a:pt x="1" y="750"/>
                    <a:pt x="1" y="1679"/>
                  </a:cubicBezTo>
                  <a:cubicBezTo>
                    <a:pt x="1" y="2334"/>
                    <a:pt x="394" y="2917"/>
                    <a:pt x="941" y="3191"/>
                  </a:cubicBezTo>
                  <a:lnTo>
                    <a:pt x="941" y="3751"/>
                  </a:lnTo>
                  <a:cubicBezTo>
                    <a:pt x="941" y="3941"/>
                    <a:pt x="1108" y="4108"/>
                    <a:pt x="1298" y="4108"/>
                  </a:cubicBezTo>
                  <a:lnTo>
                    <a:pt x="1501" y="4108"/>
                  </a:lnTo>
                  <a:lnTo>
                    <a:pt x="1501" y="4120"/>
                  </a:lnTo>
                  <a:cubicBezTo>
                    <a:pt x="1501" y="4227"/>
                    <a:pt x="1572" y="4298"/>
                    <a:pt x="1679" y="4298"/>
                  </a:cubicBezTo>
                  <a:cubicBezTo>
                    <a:pt x="1775" y="4298"/>
                    <a:pt x="1858" y="4227"/>
                    <a:pt x="1858" y="4120"/>
                  </a:cubicBezTo>
                  <a:lnTo>
                    <a:pt x="1858" y="4108"/>
                  </a:lnTo>
                  <a:lnTo>
                    <a:pt x="2048" y="4108"/>
                  </a:lnTo>
                  <a:cubicBezTo>
                    <a:pt x="2239" y="4108"/>
                    <a:pt x="2406" y="3941"/>
                    <a:pt x="2406" y="3751"/>
                  </a:cubicBezTo>
                  <a:lnTo>
                    <a:pt x="2406" y="3191"/>
                  </a:lnTo>
                  <a:cubicBezTo>
                    <a:pt x="2953" y="2917"/>
                    <a:pt x="3346" y="2334"/>
                    <a:pt x="3346" y="1679"/>
                  </a:cubicBezTo>
                  <a:cubicBezTo>
                    <a:pt x="3370" y="750"/>
                    <a:pt x="2608" y="0"/>
                    <a:pt x="169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9" name="Google Shape;13679;p64"/>
            <p:cNvSpPr/>
            <p:nvPr/>
          </p:nvSpPr>
          <p:spPr>
            <a:xfrm>
              <a:off x="855096" y="1521896"/>
              <a:ext cx="214152" cy="322183"/>
            </a:xfrm>
            <a:custGeom>
              <a:avLst/>
              <a:gdLst/>
              <a:ahLst/>
              <a:cxnLst/>
              <a:rect l="l" t="t" r="r" b="b"/>
              <a:pathLst>
                <a:path w="6728" h="10122" extrusionOk="0">
                  <a:moveTo>
                    <a:pt x="3346" y="358"/>
                  </a:moveTo>
                  <a:cubicBezTo>
                    <a:pt x="3870" y="358"/>
                    <a:pt x="4299" y="703"/>
                    <a:pt x="4299" y="1120"/>
                  </a:cubicBezTo>
                  <a:cubicBezTo>
                    <a:pt x="4001" y="1001"/>
                    <a:pt x="3691" y="941"/>
                    <a:pt x="3346" y="941"/>
                  </a:cubicBezTo>
                  <a:cubicBezTo>
                    <a:pt x="3001" y="941"/>
                    <a:pt x="2691" y="1001"/>
                    <a:pt x="2394" y="1120"/>
                  </a:cubicBezTo>
                  <a:cubicBezTo>
                    <a:pt x="2394" y="703"/>
                    <a:pt x="2810" y="358"/>
                    <a:pt x="3346" y="358"/>
                  </a:cubicBezTo>
                  <a:close/>
                  <a:moveTo>
                    <a:pt x="3370" y="1299"/>
                  </a:moveTo>
                  <a:cubicBezTo>
                    <a:pt x="4620" y="1299"/>
                    <a:pt x="5620" y="2311"/>
                    <a:pt x="5620" y="3561"/>
                  </a:cubicBezTo>
                  <a:cubicBezTo>
                    <a:pt x="5620" y="3882"/>
                    <a:pt x="5549" y="4216"/>
                    <a:pt x="5418" y="4513"/>
                  </a:cubicBezTo>
                  <a:lnTo>
                    <a:pt x="5418" y="4347"/>
                  </a:lnTo>
                  <a:cubicBezTo>
                    <a:pt x="5418" y="4144"/>
                    <a:pt x="5322" y="3930"/>
                    <a:pt x="5168" y="3799"/>
                  </a:cubicBezTo>
                  <a:cubicBezTo>
                    <a:pt x="4811" y="3489"/>
                    <a:pt x="4025" y="2953"/>
                    <a:pt x="2632" y="2811"/>
                  </a:cubicBezTo>
                  <a:cubicBezTo>
                    <a:pt x="2626" y="2810"/>
                    <a:pt x="2619" y="2809"/>
                    <a:pt x="2613" y="2809"/>
                  </a:cubicBezTo>
                  <a:cubicBezTo>
                    <a:pt x="2535" y="2809"/>
                    <a:pt x="2452" y="2878"/>
                    <a:pt x="2441" y="2977"/>
                  </a:cubicBezTo>
                  <a:cubicBezTo>
                    <a:pt x="2429" y="3073"/>
                    <a:pt x="2501" y="3156"/>
                    <a:pt x="2608" y="3168"/>
                  </a:cubicBezTo>
                  <a:cubicBezTo>
                    <a:pt x="3882" y="3311"/>
                    <a:pt x="4632" y="3787"/>
                    <a:pt x="4941" y="4061"/>
                  </a:cubicBezTo>
                  <a:cubicBezTo>
                    <a:pt x="5013" y="4144"/>
                    <a:pt x="5072" y="4239"/>
                    <a:pt x="5072" y="4347"/>
                  </a:cubicBezTo>
                  <a:lnTo>
                    <a:pt x="5072" y="4680"/>
                  </a:lnTo>
                  <a:cubicBezTo>
                    <a:pt x="5072" y="5609"/>
                    <a:pt x="4310" y="6371"/>
                    <a:pt x="3382" y="6371"/>
                  </a:cubicBezTo>
                  <a:cubicBezTo>
                    <a:pt x="3374" y="6371"/>
                    <a:pt x="3367" y="6371"/>
                    <a:pt x="3359" y="6371"/>
                  </a:cubicBezTo>
                  <a:cubicBezTo>
                    <a:pt x="2405" y="6371"/>
                    <a:pt x="1643" y="5625"/>
                    <a:pt x="1643" y="4692"/>
                  </a:cubicBezTo>
                  <a:lnTo>
                    <a:pt x="1643" y="4549"/>
                  </a:lnTo>
                  <a:cubicBezTo>
                    <a:pt x="1643" y="4466"/>
                    <a:pt x="1679" y="4406"/>
                    <a:pt x="1739" y="4382"/>
                  </a:cubicBezTo>
                  <a:cubicBezTo>
                    <a:pt x="1965" y="4263"/>
                    <a:pt x="2251" y="4025"/>
                    <a:pt x="2382" y="3620"/>
                  </a:cubicBezTo>
                  <a:cubicBezTo>
                    <a:pt x="2405" y="3525"/>
                    <a:pt x="2370" y="3430"/>
                    <a:pt x="2274" y="3394"/>
                  </a:cubicBezTo>
                  <a:cubicBezTo>
                    <a:pt x="2258" y="3389"/>
                    <a:pt x="2240" y="3387"/>
                    <a:pt x="2222" y="3387"/>
                  </a:cubicBezTo>
                  <a:cubicBezTo>
                    <a:pt x="2152" y="3387"/>
                    <a:pt x="2079" y="3425"/>
                    <a:pt x="2060" y="3501"/>
                  </a:cubicBezTo>
                  <a:cubicBezTo>
                    <a:pt x="1953" y="3799"/>
                    <a:pt x="1739" y="3966"/>
                    <a:pt x="1584" y="4061"/>
                  </a:cubicBezTo>
                  <a:cubicBezTo>
                    <a:pt x="1417" y="4156"/>
                    <a:pt x="1310" y="4335"/>
                    <a:pt x="1310" y="4513"/>
                  </a:cubicBezTo>
                  <a:cubicBezTo>
                    <a:pt x="1179" y="4216"/>
                    <a:pt x="1108" y="3882"/>
                    <a:pt x="1108" y="3561"/>
                  </a:cubicBezTo>
                  <a:cubicBezTo>
                    <a:pt x="1108" y="2311"/>
                    <a:pt x="2120" y="1299"/>
                    <a:pt x="3370" y="1299"/>
                  </a:cubicBezTo>
                  <a:close/>
                  <a:moveTo>
                    <a:pt x="4108" y="6585"/>
                  </a:moveTo>
                  <a:lnTo>
                    <a:pt x="4108" y="7002"/>
                  </a:lnTo>
                  <a:cubicBezTo>
                    <a:pt x="4108" y="7228"/>
                    <a:pt x="4239" y="7418"/>
                    <a:pt x="4430" y="7502"/>
                  </a:cubicBezTo>
                  <a:lnTo>
                    <a:pt x="4691" y="7621"/>
                  </a:lnTo>
                  <a:cubicBezTo>
                    <a:pt x="4441" y="8133"/>
                    <a:pt x="3918" y="8442"/>
                    <a:pt x="3346" y="8442"/>
                  </a:cubicBezTo>
                  <a:cubicBezTo>
                    <a:pt x="2786" y="8442"/>
                    <a:pt x="2263" y="8133"/>
                    <a:pt x="2013" y="7621"/>
                  </a:cubicBezTo>
                  <a:lnTo>
                    <a:pt x="2263" y="7502"/>
                  </a:lnTo>
                  <a:cubicBezTo>
                    <a:pt x="2453" y="7418"/>
                    <a:pt x="2584" y="7228"/>
                    <a:pt x="2584" y="7002"/>
                  </a:cubicBezTo>
                  <a:lnTo>
                    <a:pt x="2584" y="6585"/>
                  </a:lnTo>
                  <a:cubicBezTo>
                    <a:pt x="2822" y="6668"/>
                    <a:pt x="3084" y="6728"/>
                    <a:pt x="3346" y="6728"/>
                  </a:cubicBezTo>
                  <a:cubicBezTo>
                    <a:pt x="3620" y="6728"/>
                    <a:pt x="3870" y="6668"/>
                    <a:pt x="4108" y="6585"/>
                  </a:cubicBezTo>
                  <a:close/>
                  <a:moveTo>
                    <a:pt x="3346" y="1"/>
                  </a:moveTo>
                  <a:cubicBezTo>
                    <a:pt x="2632" y="1"/>
                    <a:pt x="2060" y="513"/>
                    <a:pt x="2060" y="1120"/>
                  </a:cubicBezTo>
                  <a:cubicBezTo>
                    <a:pt x="2060" y="1179"/>
                    <a:pt x="2060" y="1227"/>
                    <a:pt x="2072" y="1287"/>
                  </a:cubicBezTo>
                  <a:cubicBezTo>
                    <a:pt x="1286" y="1727"/>
                    <a:pt x="750" y="2572"/>
                    <a:pt x="750" y="3561"/>
                  </a:cubicBezTo>
                  <a:cubicBezTo>
                    <a:pt x="750" y="4204"/>
                    <a:pt x="989" y="4811"/>
                    <a:pt x="1405" y="5287"/>
                  </a:cubicBezTo>
                  <a:cubicBezTo>
                    <a:pt x="1548" y="5751"/>
                    <a:pt x="1846" y="6156"/>
                    <a:pt x="2251" y="6406"/>
                  </a:cubicBezTo>
                  <a:lnTo>
                    <a:pt x="2251" y="7014"/>
                  </a:lnTo>
                  <a:cubicBezTo>
                    <a:pt x="2251" y="7085"/>
                    <a:pt x="2203" y="7168"/>
                    <a:pt x="2132" y="7192"/>
                  </a:cubicBezTo>
                  <a:lnTo>
                    <a:pt x="548" y="7895"/>
                  </a:lnTo>
                  <a:cubicBezTo>
                    <a:pt x="203" y="8037"/>
                    <a:pt x="0" y="8371"/>
                    <a:pt x="0" y="8740"/>
                  </a:cubicBezTo>
                  <a:lnTo>
                    <a:pt x="0" y="9942"/>
                  </a:lnTo>
                  <a:cubicBezTo>
                    <a:pt x="0" y="10050"/>
                    <a:pt x="72" y="10121"/>
                    <a:pt x="179" y="10121"/>
                  </a:cubicBezTo>
                  <a:cubicBezTo>
                    <a:pt x="286" y="10121"/>
                    <a:pt x="358" y="10050"/>
                    <a:pt x="358" y="9942"/>
                  </a:cubicBezTo>
                  <a:lnTo>
                    <a:pt x="358" y="8740"/>
                  </a:lnTo>
                  <a:cubicBezTo>
                    <a:pt x="358" y="8514"/>
                    <a:pt x="489" y="8311"/>
                    <a:pt x="703" y="8216"/>
                  </a:cubicBezTo>
                  <a:lnTo>
                    <a:pt x="1691" y="7776"/>
                  </a:lnTo>
                  <a:cubicBezTo>
                    <a:pt x="2013" y="8395"/>
                    <a:pt x="2644" y="8799"/>
                    <a:pt x="3358" y="8799"/>
                  </a:cubicBezTo>
                  <a:cubicBezTo>
                    <a:pt x="4072" y="8799"/>
                    <a:pt x="4715" y="8395"/>
                    <a:pt x="5025" y="7776"/>
                  </a:cubicBezTo>
                  <a:lnTo>
                    <a:pt x="6025" y="8216"/>
                  </a:lnTo>
                  <a:cubicBezTo>
                    <a:pt x="6239" y="8311"/>
                    <a:pt x="6370" y="8514"/>
                    <a:pt x="6370" y="8740"/>
                  </a:cubicBezTo>
                  <a:lnTo>
                    <a:pt x="6370" y="9942"/>
                  </a:lnTo>
                  <a:cubicBezTo>
                    <a:pt x="6370" y="10050"/>
                    <a:pt x="6442" y="10121"/>
                    <a:pt x="6549" y="10121"/>
                  </a:cubicBezTo>
                  <a:cubicBezTo>
                    <a:pt x="6656" y="10121"/>
                    <a:pt x="6727" y="10050"/>
                    <a:pt x="6727" y="9942"/>
                  </a:cubicBezTo>
                  <a:lnTo>
                    <a:pt x="6727" y="8740"/>
                  </a:lnTo>
                  <a:cubicBezTo>
                    <a:pt x="6704" y="8371"/>
                    <a:pt x="6489" y="8037"/>
                    <a:pt x="6144" y="7895"/>
                  </a:cubicBezTo>
                  <a:lnTo>
                    <a:pt x="4572" y="7192"/>
                  </a:lnTo>
                  <a:cubicBezTo>
                    <a:pt x="4501" y="7168"/>
                    <a:pt x="4453" y="7085"/>
                    <a:pt x="4453" y="7014"/>
                  </a:cubicBezTo>
                  <a:lnTo>
                    <a:pt x="4453" y="6406"/>
                  </a:lnTo>
                  <a:cubicBezTo>
                    <a:pt x="4858" y="6156"/>
                    <a:pt x="5156" y="5751"/>
                    <a:pt x="5299" y="5287"/>
                  </a:cubicBezTo>
                  <a:cubicBezTo>
                    <a:pt x="5715" y="4811"/>
                    <a:pt x="5954" y="4204"/>
                    <a:pt x="5954" y="3561"/>
                  </a:cubicBezTo>
                  <a:cubicBezTo>
                    <a:pt x="5954" y="2596"/>
                    <a:pt x="5418" y="1727"/>
                    <a:pt x="4632" y="1287"/>
                  </a:cubicBezTo>
                  <a:cubicBezTo>
                    <a:pt x="4644" y="1227"/>
                    <a:pt x="4644" y="1179"/>
                    <a:pt x="4644" y="1120"/>
                  </a:cubicBezTo>
                  <a:cubicBezTo>
                    <a:pt x="4644" y="513"/>
                    <a:pt x="4060" y="1"/>
                    <a:pt x="334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0" name="Google Shape;13680;p64"/>
            <p:cNvSpPr/>
            <p:nvPr/>
          </p:nvSpPr>
          <p:spPr>
            <a:xfrm>
              <a:off x="896411" y="1808780"/>
              <a:ext cx="11395" cy="34918"/>
            </a:xfrm>
            <a:custGeom>
              <a:avLst/>
              <a:gdLst/>
              <a:ahLst/>
              <a:cxnLst/>
              <a:rect l="l" t="t" r="r" b="b"/>
              <a:pathLst>
                <a:path w="358" h="1097" extrusionOk="0">
                  <a:moveTo>
                    <a:pt x="179" y="1"/>
                  </a:moveTo>
                  <a:cubicBezTo>
                    <a:pt x="72" y="1"/>
                    <a:pt x="0" y="72"/>
                    <a:pt x="0" y="179"/>
                  </a:cubicBezTo>
                  <a:lnTo>
                    <a:pt x="0" y="918"/>
                  </a:lnTo>
                  <a:cubicBezTo>
                    <a:pt x="0" y="1025"/>
                    <a:pt x="72" y="1096"/>
                    <a:pt x="179" y="1096"/>
                  </a:cubicBezTo>
                  <a:cubicBezTo>
                    <a:pt x="286" y="1096"/>
                    <a:pt x="357" y="1025"/>
                    <a:pt x="357" y="918"/>
                  </a:cubicBezTo>
                  <a:lnTo>
                    <a:pt x="357" y="179"/>
                  </a:lnTo>
                  <a:cubicBezTo>
                    <a:pt x="345" y="84"/>
                    <a:pt x="262"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1" name="Google Shape;13681;p64"/>
            <p:cNvSpPr/>
            <p:nvPr/>
          </p:nvSpPr>
          <p:spPr>
            <a:xfrm>
              <a:off x="1015391" y="1808780"/>
              <a:ext cx="11395" cy="34918"/>
            </a:xfrm>
            <a:custGeom>
              <a:avLst/>
              <a:gdLst/>
              <a:ahLst/>
              <a:cxnLst/>
              <a:rect l="l" t="t" r="r" b="b"/>
              <a:pathLst>
                <a:path w="358" h="1097" extrusionOk="0">
                  <a:moveTo>
                    <a:pt x="179" y="1"/>
                  </a:moveTo>
                  <a:cubicBezTo>
                    <a:pt x="72" y="1"/>
                    <a:pt x="1" y="72"/>
                    <a:pt x="1" y="179"/>
                  </a:cubicBezTo>
                  <a:lnTo>
                    <a:pt x="1" y="918"/>
                  </a:lnTo>
                  <a:cubicBezTo>
                    <a:pt x="1" y="1025"/>
                    <a:pt x="72" y="1096"/>
                    <a:pt x="179" y="1096"/>
                  </a:cubicBezTo>
                  <a:cubicBezTo>
                    <a:pt x="275" y="1096"/>
                    <a:pt x="346" y="1025"/>
                    <a:pt x="346" y="918"/>
                  </a:cubicBezTo>
                  <a:lnTo>
                    <a:pt x="346" y="179"/>
                  </a:lnTo>
                  <a:cubicBezTo>
                    <a:pt x="358" y="84"/>
                    <a:pt x="275" y="1"/>
                    <a:pt x="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2" name="Google Shape;13682;p64"/>
            <p:cNvSpPr/>
            <p:nvPr/>
          </p:nvSpPr>
          <p:spPr>
            <a:xfrm>
              <a:off x="1057471" y="1522660"/>
              <a:ext cx="178534" cy="186110"/>
            </a:xfrm>
            <a:custGeom>
              <a:avLst/>
              <a:gdLst/>
              <a:ahLst/>
              <a:cxnLst/>
              <a:rect l="l" t="t" r="r" b="b"/>
              <a:pathLst>
                <a:path w="5609" h="5847" extrusionOk="0">
                  <a:moveTo>
                    <a:pt x="739" y="1"/>
                  </a:moveTo>
                  <a:cubicBezTo>
                    <a:pt x="346" y="1"/>
                    <a:pt x="0" y="322"/>
                    <a:pt x="0" y="739"/>
                  </a:cubicBezTo>
                  <a:lnTo>
                    <a:pt x="0" y="3751"/>
                  </a:lnTo>
                  <a:cubicBezTo>
                    <a:pt x="0" y="4144"/>
                    <a:pt x="322" y="4489"/>
                    <a:pt x="739" y="4489"/>
                  </a:cubicBezTo>
                  <a:lnTo>
                    <a:pt x="1084" y="4489"/>
                  </a:lnTo>
                  <a:lnTo>
                    <a:pt x="834" y="5513"/>
                  </a:lnTo>
                  <a:cubicBezTo>
                    <a:pt x="798" y="5620"/>
                    <a:pt x="846" y="5739"/>
                    <a:pt x="941" y="5799"/>
                  </a:cubicBezTo>
                  <a:cubicBezTo>
                    <a:pt x="977" y="5823"/>
                    <a:pt x="1036" y="5847"/>
                    <a:pt x="1084" y="5847"/>
                  </a:cubicBezTo>
                  <a:cubicBezTo>
                    <a:pt x="1143" y="5847"/>
                    <a:pt x="1191" y="5823"/>
                    <a:pt x="1250" y="5799"/>
                  </a:cubicBezTo>
                  <a:lnTo>
                    <a:pt x="3048" y="4489"/>
                  </a:lnTo>
                  <a:lnTo>
                    <a:pt x="4870" y="4489"/>
                  </a:lnTo>
                  <a:cubicBezTo>
                    <a:pt x="5263" y="4489"/>
                    <a:pt x="5608" y="4156"/>
                    <a:pt x="5608" y="3739"/>
                  </a:cubicBezTo>
                  <a:lnTo>
                    <a:pt x="5608" y="739"/>
                  </a:lnTo>
                  <a:cubicBezTo>
                    <a:pt x="5596" y="322"/>
                    <a:pt x="5263" y="1"/>
                    <a:pt x="4870" y="1"/>
                  </a:cubicBezTo>
                  <a:cubicBezTo>
                    <a:pt x="4763" y="1"/>
                    <a:pt x="4691" y="72"/>
                    <a:pt x="4691" y="179"/>
                  </a:cubicBezTo>
                  <a:cubicBezTo>
                    <a:pt x="4691" y="274"/>
                    <a:pt x="4763" y="346"/>
                    <a:pt x="4870" y="346"/>
                  </a:cubicBezTo>
                  <a:cubicBezTo>
                    <a:pt x="5072" y="346"/>
                    <a:pt x="5251" y="524"/>
                    <a:pt x="5251" y="739"/>
                  </a:cubicBezTo>
                  <a:lnTo>
                    <a:pt x="5251" y="3739"/>
                  </a:lnTo>
                  <a:cubicBezTo>
                    <a:pt x="5251" y="3953"/>
                    <a:pt x="5072" y="4132"/>
                    <a:pt x="4870" y="4132"/>
                  </a:cubicBezTo>
                  <a:lnTo>
                    <a:pt x="2989" y="4132"/>
                  </a:lnTo>
                  <a:cubicBezTo>
                    <a:pt x="2965" y="4132"/>
                    <a:pt x="2917" y="4144"/>
                    <a:pt x="2882" y="4156"/>
                  </a:cubicBezTo>
                  <a:lnTo>
                    <a:pt x="1215" y="5382"/>
                  </a:lnTo>
                  <a:lnTo>
                    <a:pt x="1477" y="4358"/>
                  </a:lnTo>
                  <a:cubicBezTo>
                    <a:pt x="1489" y="4299"/>
                    <a:pt x="1477" y="4251"/>
                    <a:pt x="1441" y="4203"/>
                  </a:cubicBezTo>
                  <a:cubicBezTo>
                    <a:pt x="1417" y="4156"/>
                    <a:pt x="1358" y="4132"/>
                    <a:pt x="1310" y="4132"/>
                  </a:cubicBezTo>
                  <a:lnTo>
                    <a:pt x="739" y="4132"/>
                  </a:lnTo>
                  <a:cubicBezTo>
                    <a:pt x="536" y="4132"/>
                    <a:pt x="358" y="3953"/>
                    <a:pt x="358" y="3739"/>
                  </a:cubicBezTo>
                  <a:lnTo>
                    <a:pt x="358" y="739"/>
                  </a:lnTo>
                  <a:cubicBezTo>
                    <a:pt x="358" y="524"/>
                    <a:pt x="536" y="346"/>
                    <a:pt x="739" y="346"/>
                  </a:cubicBezTo>
                  <a:cubicBezTo>
                    <a:pt x="846" y="346"/>
                    <a:pt x="917" y="274"/>
                    <a:pt x="917" y="179"/>
                  </a:cubicBezTo>
                  <a:cubicBezTo>
                    <a:pt x="917" y="72"/>
                    <a:pt x="846" y="1"/>
                    <a:pt x="7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3" name="Google Shape;13683;p64"/>
          <p:cNvGrpSpPr/>
          <p:nvPr/>
        </p:nvGrpSpPr>
        <p:grpSpPr>
          <a:xfrm>
            <a:off x="1819576" y="1511679"/>
            <a:ext cx="352103" cy="352103"/>
            <a:chOff x="1819576" y="1511679"/>
            <a:chExt cx="352103" cy="352103"/>
          </a:xfrm>
        </p:grpSpPr>
        <p:sp>
          <p:nvSpPr>
            <p:cNvPr id="13684" name="Google Shape;13684;p64"/>
            <p:cNvSpPr/>
            <p:nvPr/>
          </p:nvSpPr>
          <p:spPr>
            <a:xfrm>
              <a:off x="1819576" y="1511679"/>
              <a:ext cx="352103" cy="352103"/>
            </a:xfrm>
            <a:custGeom>
              <a:avLst/>
              <a:gdLst/>
              <a:ahLst/>
              <a:cxnLst/>
              <a:rect l="l" t="t" r="r" b="b"/>
              <a:pathLst>
                <a:path w="11062" h="11062" extrusionOk="0">
                  <a:moveTo>
                    <a:pt x="6216" y="310"/>
                  </a:moveTo>
                  <a:cubicBezTo>
                    <a:pt x="6216" y="310"/>
                    <a:pt x="6240" y="310"/>
                    <a:pt x="6240" y="322"/>
                  </a:cubicBezTo>
                  <a:lnTo>
                    <a:pt x="6240" y="786"/>
                  </a:lnTo>
                  <a:cubicBezTo>
                    <a:pt x="6240" y="953"/>
                    <a:pt x="6335" y="1084"/>
                    <a:pt x="6502" y="1108"/>
                  </a:cubicBezTo>
                  <a:cubicBezTo>
                    <a:pt x="7025" y="1227"/>
                    <a:pt x="7514" y="1429"/>
                    <a:pt x="7966" y="1727"/>
                  </a:cubicBezTo>
                  <a:cubicBezTo>
                    <a:pt x="8022" y="1762"/>
                    <a:pt x="8086" y="1780"/>
                    <a:pt x="8150" y="1780"/>
                  </a:cubicBezTo>
                  <a:cubicBezTo>
                    <a:pt x="8236" y="1780"/>
                    <a:pt x="8321" y="1747"/>
                    <a:pt x="8383" y="1679"/>
                  </a:cubicBezTo>
                  <a:lnTo>
                    <a:pt x="8704" y="1346"/>
                  </a:lnTo>
                  <a:lnTo>
                    <a:pt x="8716" y="1346"/>
                  </a:lnTo>
                  <a:lnTo>
                    <a:pt x="9704" y="2334"/>
                  </a:lnTo>
                  <a:lnTo>
                    <a:pt x="9704" y="2346"/>
                  </a:lnTo>
                  <a:lnTo>
                    <a:pt x="9371" y="2679"/>
                  </a:lnTo>
                  <a:cubicBezTo>
                    <a:pt x="9252" y="2798"/>
                    <a:pt x="9240" y="2953"/>
                    <a:pt x="9335" y="3096"/>
                  </a:cubicBezTo>
                  <a:cubicBezTo>
                    <a:pt x="9609" y="3536"/>
                    <a:pt x="9823" y="4025"/>
                    <a:pt x="9943" y="4548"/>
                  </a:cubicBezTo>
                  <a:cubicBezTo>
                    <a:pt x="9966" y="4703"/>
                    <a:pt x="10109" y="4822"/>
                    <a:pt x="10264" y="4822"/>
                  </a:cubicBezTo>
                  <a:lnTo>
                    <a:pt x="10728" y="4822"/>
                  </a:lnTo>
                  <a:cubicBezTo>
                    <a:pt x="10728" y="4822"/>
                    <a:pt x="10752" y="4822"/>
                    <a:pt x="10752" y="4834"/>
                  </a:cubicBezTo>
                  <a:lnTo>
                    <a:pt x="10728" y="6239"/>
                  </a:lnTo>
                  <a:lnTo>
                    <a:pt x="10264" y="6239"/>
                  </a:lnTo>
                  <a:cubicBezTo>
                    <a:pt x="10109" y="6239"/>
                    <a:pt x="9966" y="6334"/>
                    <a:pt x="9943" y="6501"/>
                  </a:cubicBezTo>
                  <a:cubicBezTo>
                    <a:pt x="9823" y="7025"/>
                    <a:pt x="9633" y="7513"/>
                    <a:pt x="9335" y="7966"/>
                  </a:cubicBezTo>
                  <a:cubicBezTo>
                    <a:pt x="9240" y="8097"/>
                    <a:pt x="9252" y="8275"/>
                    <a:pt x="9371" y="8382"/>
                  </a:cubicBezTo>
                  <a:lnTo>
                    <a:pt x="9704" y="8704"/>
                  </a:lnTo>
                  <a:lnTo>
                    <a:pt x="9704" y="8716"/>
                  </a:lnTo>
                  <a:lnTo>
                    <a:pt x="8716" y="9704"/>
                  </a:lnTo>
                  <a:lnTo>
                    <a:pt x="8704" y="9704"/>
                  </a:lnTo>
                  <a:lnTo>
                    <a:pt x="8383" y="9370"/>
                  </a:lnTo>
                  <a:cubicBezTo>
                    <a:pt x="8317" y="9304"/>
                    <a:pt x="8236" y="9271"/>
                    <a:pt x="8155" y="9271"/>
                  </a:cubicBezTo>
                  <a:cubicBezTo>
                    <a:pt x="8090" y="9271"/>
                    <a:pt x="8024" y="9292"/>
                    <a:pt x="7966" y="9335"/>
                  </a:cubicBezTo>
                  <a:cubicBezTo>
                    <a:pt x="7514" y="9609"/>
                    <a:pt x="7025" y="9823"/>
                    <a:pt x="6502" y="9942"/>
                  </a:cubicBezTo>
                  <a:cubicBezTo>
                    <a:pt x="6359" y="9966"/>
                    <a:pt x="6240" y="10109"/>
                    <a:pt x="6240" y="10263"/>
                  </a:cubicBezTo>
                  <a:lnTo>
                    <a:pt x="6240" y="10728"/>
                  </a:lnTo>
                  <a:cubicBezTo>
                    <a:pt x="6240" y="10728"/>
                    <a:pt x="6240" y="10740"/>
                    <a:pt x="6216" y="10740"/>
                  </a:cubicBezTo>
                  <a:lnTo>
                    <a:pt x="4835" y="10740"/>
                  </a:lnTo>
                  <a:cubicBezTo>
                    <a:pt x="4835" y="10740"/>
                    <a:pt x="4823" y="10740"/>
                    <a:pt x="4823" y="10728"/>
                  </a:cubicBezTo>
                  <a:lnTo>
                    <a:pt x="4823" y="10263"/>
                  </a:lnTo>
                  <a:cubicBezTo>
                    <a:pt x="4823" y="10109"/>
                    <a:pt x="4716" y="9966"/>
                    <a:pt x="4549" y="9942"/>
                  </a:cubicBezTo>
                  <a:cubicBezTo>
                    <a:pt x="4037" y="9823"/>
                    <a:pt x="3537" y="9632"/>
                    <a:pt x="3096" y="9335"/>
                  </a:cubicBezTo>
                  <a:cubicBezTo>
                    <a:pt x="3037" y="9299"/>
                    <a:pt x="2977" y="9275"/>
                    <a:pt x="2918" y="9275"/>
                  </a:cubicBezTo>
                  <a:cubicBezTo>
                    <a:pt x="2823" y="9275"/>
                    <a:pt x="2751" y="9299"/>
                    <a:pt x="2680" y="9370"/>
                  </a:cubicBezTo>
                  <a:lnTo>
                    <a:pt x="2346" y="9704"/>
                  </a:lnTo>
                  <a:lnTo>
                    <a:pt x="2334" y="9704"/>
                  </a:lnTo>
                  <a:lnTo>
                    <a:pt x="1358" y="8716"/>
                  </a:lnTo>
                  <a:lnTo>
                    <a:pt x="1358" y="8704"/>
                  </a:lnTo>
                  <a:lnTo>
                    <a:pt x="1680" y="8382"/>
                  </a:lnTo>
                  <a:cubicBezTo>
                    <a:pt x="1799" y="8263"/>
                    <a:pt x="1811" y="8097"/>
                    <a:pt x="1727" y="7966"/>
                  </a:cubicBezTo>
                  <a:cubicBezTo>
                    <a:pt x="1441" y="7513"/>
                    <a:pt x="1239" y="7025"/>
                    <a:pt x="1120" y="6501"/>
                  </a:cubicBezTo>
                  <a:cubicBezTo>
                    <a:pt x="1084" y="6358"/>
                    <a:pt x="953" y="6239"/>
                    <a:pt x="787" y="6239"/>
                  </a:cubicBezTo>
                  <a:lnTo>
                    <a:pt x="322" y="6239"/>
                  </a:lnTo>
                  <a:cubicBezTo>
                    <a:pt x="322" y="6239"/>
                    <a:pt x="310" y="6239"/>
                    <a:pt x="310" y="6215"/>
                  </a:cubicBezTo>
                  <a:lnTo>
                    <a:pt x="310" y="4834"/>
                  </a:lnTo>
                  <a:cubicBezTo>
                    <a:pt x="310" y="4834"/>
                    <a:pt x="310" y="4822"/>
                    <a:pt x="322" y="4822"/>
                  </a:cubicBezTo>
                  <a:lnTo>
                    <a:pt x="787" y="4822"/>
                  </a:lnTo>
                  <a:cubicBezTo>
                    <a:pt x="953" y="4822"/>
                    <a:pt x="1084" y="4715"/>
                    <a:pt x="1120" y="4548"/>
                  </a:cubicBezTo>
                  <a:cubicBezTo>
                    <a:pt x="1239" y="4025"/>
                    <a:pt x="1430" y="3536"/>
                    <a:pt x="1727" y="3096"/>
                  </a:cubicBezTo>
                  <a:cubicBezTo>
                    <a:pt x="1811" y="2953"/>
                    <a:pt x="1799" y="2774"/>
                    <a:pt x="1680" y="2679"/>
                  </a:cubicBezTo>
                  <a:lnTo>
                    <a:pt x="1358" y="2346"/>
                  </a:lnTo>
                  <a:lnTo>
                    <a:pt x="1358" y="2334"/>
                  </a:lnTo>
                  <a:lnTo>
                    <a:pt x="2334" y="1346"/>
                  </a:lnTo>
                  <a:lnTo>
                    <a:pt x="2346" y="1346"/>
                  </a:lnTo>
                  <a:lnTo>
                    <a:pt x="2680" y="1679"/>
                  </a:lnTo>
                  <a:cubicBezTo>
                    <a:pt x="2748" y="1747"/>
                    <a:pt x="2832" y="1780"/>
                    <a:pt x="2916" y="1780"/>
                  </a:cubicBezTo>
                  <a:cubicBezTo>
                    <a:pt x="2978" y="1780"/>
                    <a:pt x="3041" y="1762"/>
                    <a:pt x="3096" y="1727"/>
                  </a:cubicBezTo>
                  <a:cubicBezTo>
                    <a:pt x="3537" y="1441"/>
                    <a:pt x="4037" y="1227"/>
                    <a:pt x="4549" y="1108"/>
                  </a:cubicBezTo>
                  <a:cubicBezTo>
                    <a:pt x="4704" y="1084"/>
                    <a:pt x="4823" y="953"/>
                    <a:pt x="4823" y="786"/>
                  </a:cubicBezTo>
                  <a:lnTo>
                    <a:pt x="4823" y="322"/>
                  </a:lnTo>
                  <a:cubicBezTo>
                    <a:pt x="4823" y="322"/>
                    <a:pt x="4823" y="310"/>
                    <a:pt x="4835" y="310"/>
                  </a:cubicBezTo>
                  <a:close/>
                  <a:moveTo>
                    <a:pt x="4835" y="0"/>
                  </a:moveTo>
                  <a:cubicBezTo>
                    <a:pt x="4656" y="0"/>
                    <a:pt x="4513" y="143"/>
                    <a:pt x="4513" y="322"/>
                  </a:cubicBezTo>
                  <a:lnTo>
                    <a:pt x="4513" y="786"/>
                  </a:lnTo>
                  <a:cubicBezTo>
                    <a:pt x="4513" y="786"/>
                    <a:pt x="4513" y="798"/>
                    <a:pt x="4489" y="798"/>
                  </a:cubicBezTo>
                  <a:cubicBezTo>
                    <a:pt x="3930" y="917"/>
                    <a:pt x="3406" y="1143"/>
                    <a:pt x="2930" y="1453"/>
                  </a:cubicBezTo>
                  <a:lnTo>
                    <a:pt x="2918" y="1453"/>
                  </a:lnTo>
                  <a:lnTo>
                    <a:pt x="2584" y="1131"/>
                  </a:lnTo>
                  <a:cubicBezTo>
                    <a:pt x="2519" y="1066"/>
                    <a:pt x="2436" y="1033"/>
                    <a:pt x="2351" y="1033"/>
                  </a:cubicBezTo>
                  <a:cubicBezTo>
                    <a:pt x="2266" y="1033"/>
                    <a:pt x="2180" y="1066"/>
                    <a:pt x="2108" y="1131"/>
                  </a:cubicBezTo>
                  <a:lnTo>
                    <a:pt x="1132" y="2108"/>
                  </a:lnTo>
                  <a:cubicBezTo>
                    <a:pt x="1001" y="2251"/>
                    <a:pt x="1001" y="2453"/>
                    <a:pt x="1132" y="2584"/>
                  </a:cubicBezTo>
                  <a:lnTo>
                    <a:pt x="1453" y="2917"/>
                  </a:lnTo>
                  <a:lnTo>
                    <a:pt x="1453" y="2929"/>
                  </a:lnTo>
                  <a:cubicBezTo>
                    <a:pt x="1144" y="3405"/>
                    <a:pt x="941" y="3941"/>
                    <a:pt x="799" y="4489"/>
                  </a:cubicBezTo>
                  <a:cubicBezTo>
                    <a:pt x="799" y="4489"/>
                    <a:pt x="799" y="4513"/>
                    <a:pt x="787" y="4513"/>
                  </a:cubicBezTo>
                  <a:lnTo>
                    <a:pt x="322" y="4513"/>
                  </a:lnTo>
                  <a:cubicBezTo>
                    <a:pt x="144" y="4513"/>
                    <a:pt x="1" y="4656"/>
                    <a:pt x="1" y="4834"/>
                  </a:cubicBezTo>
                  <a:lnTo>
                    <a:pt x="1" y="6215"/>
                  </a:lnTo>
                  <a:cubicBezTo>
                    <a:pt x="1" y="6394"/>
                    <a:pt x="144" y="6549"/>
                    <a:pt x="322" y="6549"/>
                  </a:cubicBezTo>
                  <a:lnTo>
                    <a:pt x="787" y="6549"/>
                  </a:lnTo>
                  <a:cubicBezTo>
                    <a:pt x="787" y="6549"/>
                    <a:pt x="799" y="6549"/>
                    <a:pt x="799" y="6561"/>
                  </a:cubicBezTo>
                  <a:cubicBezTo>
                    <a:pt x="918" y="7132"/>
                    <a:pt x="1144" y="7644"/>
                    <a:pt x="1453" y="8120"/>
                  </a:cubicBezTo>
                  <a:lnTo>
                    <a:pt x="1453" y="8144"/>
                  </a:lnTo>
                  <a:lnTo>
                    <a:pt x="1132" y="8466"/>
                  </a:lnTo>
                  <a:cubicBezTo>
                    <a:pt x="1001" y="8597"/>
                    <a:pt x="1001" y="8811"/>
                    <a:pt x="1132" y="8942"/>
                  </a:cubicBezTo>
                  <a:lnTo>
                    <a:pt x="2108" y="9930"/>
                  </a:lnTo>
                  <a:cubicBezTo>
                    <a:pt x="2180" y="9996"/>
                    <a:pt x="2266" y="10028"/>
                    <a:pt x="2351" y="10028"/>
                  </a:cubicBezTo>
                  <a:cubicBezTo>
                    <a:pt x="2436" y="10028"/>
                    <a:pt x="2519" y="9996"/>
                    <a:pt x="2584" y="9930"/>
                  </a:cubicBezTo>
                  <a:lnTo>
                    <a:pt x="2918" y="9597"/>
                  </a:lnTo>
                  <a:lnTo>
                    <a:pt x="2930" y="9597"/>
                  </a:lnTo>
                  <a:cubicBezTo>
                    <a:pt x="3406" y="9906"/>
                    <a:pt x="3942" y="10121"/>
                    <a:pt x="4489" y="10252"/>
                  </a:cubicBezTo>
                  <a:cubicBezTo>
                    <a:pt x="4489" y="10252"/>
                    <a:pt x="4513" y="10252"/>
                    <a:pt x="4513" y="10263"/>
                  </a:cubicBezTo>
                  <a:lnTo>
                    <a:pt x="4513" y="10728"/>
                  </a:lnTo>
                  <a:cubicBezTo>
                    <a:pt x="4513" y="10906"/>
                    <a:pt x="4656" y="11061"/>
                    <a:pt x="4835" y="11061"/>
                  </a:cubicBezTo>
                  <a:lnTo>
                    <a:pt x="6216" y="11061"/>
                  </a:lnTo>
                  <a:cubicBezTo>
                    <a:pt x="6394" y="11061"/>
                    <a:pt x="6549" y="10906"/>
                    <a:pt x="6549" y="10728"/>
                  </a:cubicBezTo>
                  <a:lnTo>
                    <a:pt x="6549" y="10263"/>
                  </a:lnTo>
                  <a:cubicBezTo>
                    <a:pt x="6549" y="10263"/>
                    <a:pt x="6549" y="10252"/>
                    <a:pt x="6561" y="10252"/>
                  </a:cubicBezTo>
                  <a:cubicBezTo>
                    <a:pt x="7133" y="10132"/>
                    <a:pt x="7645" y="9906"/>
                    <a:pt x="8121" y="9597"/>
                  </a:cubicBezTo>
                  <a:lnTo>
                    <a:pt x="8145" y="9597"/>
                  </a:lnTo>
                  <a:lnTo>
                    <a:pt x="8466" y="9930"/>
                  </a:lnTo>
                  <a:cubicBezTo>
                    <a:pt x="8532" y="9996"/>
                    <a:pt x="8618" y="10028"/>
                    <a:pt x="8704" y="10028"/>
                  </a:cubicBezTo>
                  <a:cubicBezTo>
                    <a:pt x="8791" y="10028"/>
                    <a:pt x="8877" y="9996"/>
                    <a:pt x="8942" y="9930"/>
                  </a:cubicBezTo>
                  <a:lnTo>
                    <a:pt x="9931" y="8942"/>
                  </a:lnTo>
                  <a:cubicBezTo>
                    <a:pt x="10062" y="8811"/>
                    <a:pt x="10062" y="8597"/>
                    <a:pt x="9931" y="8466"/>
                  </a:cubicBezTo>
                  <a:lnTo>
                    <a:pt x="9597" y="8144"/>
                  </a:lnTo>
                  <a:lnTo>
                    <a:pt x="9597" y="8120"/>
                  </a:lnTo>
                  <a:cubicBezTo>
                    <a:pt x="9919" y="7644"/>
                    <a:pt x="10121" y="7108"/>
                    <a:pt x="10252" y="6561"/>
                  </a:cubicBezTo>
                  <a:cubicBezTo>
                    <a:pt x="10252" y="6561"/>
                    <a:pt x="10252" y="6549"/>
                    <a:pt x="10264" y="6549"/>
                  </a:cubicBezTo>
                  <a:lnTo>
                    <a:pt x="10728" y="6549"/>
                  </a:lnTo>
                  <a:cubicBezTo>
                    <a:pt x="10907" y="6549"/>
                    <a:pt x="11062" y="6394"/>
                    <a:pt x="11062" y="6215"/>
                  </a:cubicBezTo>
                  <a:lnTo>
                    <a:pt x="11062" y="4834"/>
                  </a:lnTo>
                  <a:cubicBezTo>
                    <a:pt x="11062" y="4656"/>
                    <a:pt x="10907" y="4513"/>
                    <a:pt x="10728" y="4513"/>
                  </a:cubicBezTo>
                  <a:lnTo>
                    <a:pt x="10264" y="4513"/>
                  </a:lnTo>
                  <a:cubicBezTo>
                    <a:pt x="10264" y="4513"/>
                    <a:pt x="10252" y="4513"/>
                    <a:pt x="10252" y="4489"/>
                  </a:cubicBezTo>
                  <a:cubicBezTo>
                    <a:pt x="10133" y="3929"/>
                    <a:pt x="9907" y="3405"/>
                    <a:pt x="9597" y="2929"/>
                  </a:cubicBezTo>
                  <a:lnTo>
                    <a:pt x="9597" y="2917"/>
                  </a:lnTo>
                  <a:lnTo>
                    <a:pt x="9931" y="2584"/>
                  </a:lnTo>
                  <a:cubicBezTo>
                    <a:pt x="10062" y="2453"/>
                    <a:pt x="10062" y="2239"/>
                    <a:pt x="9931" y="2108"/>
                  </a:cubicBezTo>
                  <a:lnTo>
                    <a:pt x="8942" y="1131"/>
                  </a:lnTo>
                  <a:cubicBezTo>
                    <a:pt x="8877" y="1066"/>
                    <a:pt x="8791" y="1033"/>
                    <a:pt x="8704" y="1033"/>
                  </a:cubicBezTo>
                  <a:cubicBezTo>
                    <a:pt x="8618" y="1033"/>
                    <a:pt x="8532" y="1066"/>
                    <a:pt x="8466" y="1131"/>
                  </a:cubicBezTo>
                  <a:lnTo>
                    <a:pt x="8145" y="1453"/>
                  </a:lnTo>
                  <a:lnTo>
                    <a:pt x="8121" y="1453"/>
                  </a:lnTo>
                  <a:cubicBezTo>
                    <a:pt x="7645" y="1143"/>
                    <a:pt x="7109" y="941"/>
                    <a:pt x="6561" y="798"/>
                  </a:cubicBezTo>
                  <a:cubicBezTo>
                    <a:pt x="6561" y="798"/>
                    <a:pt x="6549" y="798"/>
                    <a:pt x="6549" y="786"/>
                  </a:cubicBezTo>
                  <a:lnTo>
                    <a:pt x="6549" y="322"/>
                  </a:lnTo>
                  <a:cubicBezTo>
                    <a:pt x="6549" y="143"/>
                    <a:pt x="6394" y="0"/>
                    <a:pt x="621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5" name="Google Shape;13685;p64"/>
            <p:cNvSpPr/>
            <p:nvPr/>
          </p:nvSpPr>
          <p:spPr>
            <a:xfrm>
              <a:off x="1885146" y="1578204"/>
              <a:ext cx="182322" cy="180603"/>
            </a:xfrm>
            <a:custGeom>
              <a:avLst/>
              <a:gdLst/>
              <a:ahLst/>
              <a:cxnLst/>
              <a:rect l="l" t="t" r="r" b="b"/>
              <a:pathLst>
                <a:path w="5728" h="5674" extrusionOk="0">
                  <a:moveTo>
                    <a:pt x="3502" y="0"/>
                  </a:moveTo>
                  <a:cubicBezTo>
                    <a:pt x="3438" y="0"/>
                    <a:pt x="3374" y="2"/>
                    <a:pt x="3311" y="6"/>
                  </a:cubicBezTo>
                  <a:cubicBezTo>
                    <a:pt x="2453" y="53"/>
                    <a:pt x="1644" y="411"/>
                    <a:pt x="1048" y="1018"/>
                  </a:cubicBezTo>
                  <a:cubicBezTo>
                    <a:pt x="441" y="1625"/>
                    <a:pt x="84" y="2435"/>
                    <a:pt x="36" y="3280"/>
                  </a:cubicBezTo>
                  <a:cubicBezTo>
                    <a:pt x="1" y="4125"/>
                    <a:pt x="263" y="4959"/>
                    <a:pt x="798" y="5614"/>
                  </a:cubicBezTo>
                  <a:cubicBezTo>
                    <a:pt x="834" y="5661"/>
                    <a:pt x="870" y="5673"/>
                    <a:pt x="917" y="5673"/>
                  </a:cubicBezTo>
                  <a:cubicBezTo>
                    <a:pt x="953" y="5673"/>
                    <a:pt x="989" y="5661"/>
                    <a:pt x="1025" y="5649"/>
                  </a:cubicBezTo>
                  <a:cubicBezTo>
                    <a:pt x="1096" y="5590"/>
                    <a:pt x="1096" y="5483"/>
                    <a:pt x="1048" y="5423"/>
                  </a:cubicBezTo>
                  <a:cubicBezTo>
                    <a:pt x="572" y="4828"/>
                    <a:pt x="322" y="4066"/>
                    <a:pt x="370" y="3304"/>
                  </a:cubicBezTo>
                  <a:cubicBezTo>
                    <a:pt x="417" y="2530"/>
                    <a:pt x="727" y="1804"/>
                    <a:pt x="1275" y="1256"/>
                  </a:cubicBezTo>
                  <a:cubicBezTo>
                    <a:pt x="1822" y="708"/>
                    <a:pt x="2560" y="375"/>
                    <a:pt x="3334" y="351"/>
                  </a:cubicBezTo>
                  <a:cubicBezTo>
                    <a:pt x="3397" y="347"/>
                    <a:pt x="3459" y="345"/>
                    <a:pt x="3521" y="345"/>
                  </a:cubicBezTo>
                  <a:cubicBezTo>
                    <a:pt x="4227" y="345"/>
                    <a:pt x="4895" y="592"/>
                    <a:pt x="5442" y="1030"/>
                  </a:cubicBezTo>
                  <a:cubicBezTo>
                    <a:pt x="5473" y="1055"/>
                    <a:pt x="5510" y="1068"/>
                    <a:pt x="5547" y="1068"/>
                  </a:cubicBezTo>
                  <a:cubicBezTo>
                    <a:pt x="5595" y="1068"/>
                    <a:pt x="5641" y="1046"/>
                    <a:pt x="5668" y="1006"/>
                  </a:cubicBezTo>
                  <a:cubicBezTo>
                    <a:pt x="5727" y="911"/>
                    <a:pt x="5716" y="815"/>
                    <a:pt x="5656" y="768"/>
                  </a:cubicBezTo>
                  <a:cubicBezTo>
                    <a:pt x="5050" y="272"/>
                    <a:pt x="4291" y="0"/>
                    <a:pt x="350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6" name="Google Shape;13686;p64"/>
            <p:cNvSpPr/>
            <p:nvPr/>
          </p:nvSpPr>
          <p:spPr>
            <a:xfrm>
              <a:off x="1923820" y="1610193"/>
              <a:ext cx="183054" cy="186874"/>
            </a:xfrm>
            <a:custGeom>
              <a:avLst/>
              <a:gdLst/>
              <a:ahLst/>
              <a:cxnLst/>
              <a:rect l="l" t="t" r="r" b="b"/>
              <a:pathLst>
                <a:path w="5751" h="5871" extrusionOk="0">
                  <a:moveTo>
                    <a:pt x="3310" y="358"/>
                  </a:moveTo>
                  <a:lnTo>
                    <a:pt x="3310" y="1025"/>
                  </a:lnTo>
                  <a:cubicBezTo>
                    <a:pt x="3310" y="1132"/>
                    <a:pt x="3274" y="1251"/>
                    <a:pt x="3227" y="1334"/>
                  </a:cubicBezTo>
                  <a:lnTo>
                    <a:pt x="3155" y="1501"/>
                  </a:lnTo>
                  <a:cubicBezTo>
                    <a:pt x="3143" y="1525"/>
                    <a:pt x="3143" y="1549"/>
                    <a:pt x="3143" y="1573"/>
                  </a:cubicBezTo>
                  <a:lnTo>
                    <a:pt x="3143" y="1918"/>
                  </a:lnTo>
                  <a:cubicBezTo>
                    <a:pt x="3143" y="2156"/>
                    <a:pt x="3048" y="2382"/>
                    <a:pt x="2869" y="2549"/>
                  </a:cubicBezTo>
                  <a:cubicBezTo>
                    <a:pt x="2691" y="2704"/>
                    <a:pt x="2477" y="2799"/>
                    <a:pt x="2226" y="2799"/>
                  </a:cubicBezTo>
                  <a:cubicBezTo>
                    <a:pt x="1774" y="2787"/>
                    <a:pt x="1381" y="2370"/>
                    <a:pt x="1381" y="1870"/>
                  </a:cubicBezTo>
                  <a:lnTo>
                    <a:pt x="1381" y="1573"/>
                  </a:lnTo>
                  <a:cubicBezTo>
                    <a:pt x="1381" y="1549"/>
                    <a:pt x="1381" y="1525"/>
                    <a:pt x="1369" y="1501"/>
                  </a:cubicBezTo>
                  <a:lnTo>
                    <a:pt x="1262" y="1311"/>
                  </a:lnTo>
                  <a:cubicBezTo>
                    <a:pt x="1238" y="1227"/>
                    <a:pt x="1203" y="1156"/>
                    <a:pt x="1203" y="1072"/>
                  </a:cubicBezTo>
                  <a:lnTo>
                    <a:pt x="1203" y="1049"/>
                  </a:lnTo>
                  <a:cubicBezTo>
                    <a:pt x="1203" y="668"/>
                    <a:pt x="1524" y="358"/>
                    <a:pt x="1905" y="358"/>
                  </a:cubicBezTo>
                  <a:close/>
                  <a:moveTo>
                    <a:pt x="1905" y="3049"/>
                  </a:moveTo>
                  <a:cubicBezTo>
                    <a:pt x="2012" y="3085"/>
                    <a:pt x="2119" y="3108"/>
                    <a:pt x="2238" y="3108"/>
                  </a:cubicBezTo>
                  <a:lnTo>
                    <a:pt x="2274" y="3108"/>
                  </a:lnTo>
                  <a:cubicBezTo>
                    <a:pt x="2393" y="3108"/>
                    <a:pt x="2512" y="3097"/>
                    <a:pt x="2631" y="3049"/>
                  </a:cubicBezTo>
                  <a:lnTo>
                    <a:pt x="2631" y="3049"/>
                  </a:lnTo>
                  <a:cubicBezTo>
                    <a:pt x="2619" y="3108"/>
                    <a:pt x="2631" y="3156"/>
                    <a:pt x="2655" y="3204"/>
                  </a:cubicBezTo>
                  <a:lnTo>
                    <a:pt x="2512" y="3335"/>
                  </a:lnTo>
                  <a:cubicBezTo>
                    <a:pt x="2441" y="3406"/>
                    <a:pt x="2357" y="3442"/>
                    <a:pt x="2262" y="3442"/>
                  </a:cubicBezTo>
                  <a:cubicBezTo>
                    <a:pt x="2179" y="3442"/>
                    <a:pt x="2084" y="3406"/>
                    <a:pt x="2012" y="3335"/>
                  </a:cubicBezTo>
                  <a:lnTo>
                    <a:pt x="1881" y="3204"/>
                  </a:lnTo>
                  <a:cubicBezTo>
                    <a:pt x="1893" y="3156"/>
                    <a:pt x="1905" y="3108"/>
                    <a:pt x="1905" y="3049"/>
                  </a:cubicBezTo>
                  <a:close/>
                  <a:moveTo>
                    <a:pt x="2810" y="3466"/>
                  </a:moveTo>
                  <a:cubicBezTo>
                    <a:pt x="2858" y="3501"/>
                    <a:pt x="2905" y="3513"/>
                    <a:pt x="2941" y="3525"/>
                  </a:cubicBezTo>
                  <a:lnTo>
                    <a:pt x="3524" y="3692"/>
                  </a:lnTo>
                  <a:cubicBezTo>
                    <a:pt x="3679" y="3739"/>
                    <a:pt x="3774" y="3870"/>
                    <a:pt x="3774" y="4037"/>
                  </a:cubicBezTo>
                  <a:lnTo>
                    <a:pt x="3774" y="5132"/>
                  </a:lnTo>
                  <a:lnTo>
                    <a:pt x="3822" y="5132"/>
                  </a:lnTo>
                  <a:cubicBezTo>
                    <a:pt x="3703" y="5204"/>
                    <a:pt x="3584" y="5263"/>
                    <a:pt x="3453" y="5311"/>
                  </a:cubicBezTo>
                  <a:lnTo>
                    <a:pt x="3453" y="4335"/>
                  </a:lnTo>
                  <a:cubicBezTo>
                    <a:pt x="3453" y="4240"/>
                    <a:pt x="3381" y="4168"/>
                    <a:pt x="3286" y="4168"/>
                  </a:cubicBezTo>
                  <a:cubicBezTo>
                    <a:pt x="3203" y="4168"/>
                    <a:pt x="3119" y="4240"/>
                    <a:pt x="3119" y="4335"/>
                  </a:cubicBezTo>
                  <a:lnTo>
                    <a:pt x="3119" y="5430"/>
                  </a:lnTo>
                  <a:cubicBezTo>
                    <a:pt x="2881" y="5502"/>
                    <a:pt x="2655" y="5537"/>
                    <a:pt x="2405" y="5549"/>
                  </a:cubicBezTo>
                  <a:lnTo>
                    <a:pt x="2262" y="5549"/>
                  </a:lnTo>
                  <a:cubicBezTo>
                    <a:pt x="1965" y="5549"/>
                    <a:pt x="1667" y="5502"/>
                    <a:pt x="1381" y="5430"/>
                  </a:cubicBezTo>
                  <a:lnTo>
                    <a:pt x="1381" y="4335"/>
                  </a:lnTo>
                  <a:cubicBezTo>
                    <a:pt x="1381" y="4240"/>
                    <a:pt x="1310" y="4168"/>
                    <a:pt x="1214" y="4168"/>
                  </a:cubicBezTo>
                  <a:cubicBezTo>
                    <a:pt x="1131" y="4168"/>
                    <a:pt x="1060" y="4240"/>
                    <a:pt x="1060" y="4335"/>
                  </a:cubicBezTo>
                  <a:lnTo>
                    <a:pt x="1060" y="5311"/>
                  </a:lnTo>
                  <a:cubicBezTo>
                    <a:pt x="941" y="5252"/>
                    <a:pt x="798" y="5192"/>
                    <a:pt x="679" y="5132"/>
                  </a:cubicBezTo>
                  <a:lnTo>
                    <a:pt x="679" y="4037"/>
                  </a:lnTo>
                  <a:cubicBezTo>
                    <a:pt x="679" y="3870"/>
                    <a:pt x="786" y="3739"/>
                    <a:pt x="941" y="3692"/>
                  </a:cubicBezTo>
                  <a:lnTo>
                    <a:pt x="1512" y="3525"/>
                  </a:lnTo>
                  <a:cubicBezTo>
                    <a:pt x="1560" y="3513"/>
                    <a:pt x="1619" y="3501"/>
                    <a:pt x="1655" y="3466"/>
                  </a:cubicBezTo>
                  <a:lnTo>
                    <a:pt x="1750" y="3573"/>
                  </a:lnTo>
                  <a:cubicBezTo>
                    <a:pt x="1893" y="3704"/>
                    <a:pt x="2072" y="3763"/>
                    <a:pt x="2226" y="3763"/>
                  </a:cubicBezTo>
                  <a:cubicBezTo>
                    <a:pt x="2405" y="3763"/>
                    <a:pt x="2572" y="3704"/>
                    <a:pt x="2703" y="3573"/>
                  </a:cubicBezTo>
                  <a:lnTo>
                    <a:pt x="2810" y="3466"/>
                  </a:lnTo>
                  <a:close/>
                  <a:moveTo>
                    <a:pt x="1893" y="1"/>
                  </a:moveTo>
                  <a:cubicBezTo>
                    <a:pt x="1322" y="1"/>
                    <a:pt x="869" y="465"/>
                    <a:pt x="869" y="1025"/>
                  </a:cubicBezTo>
                  <a:lnTo>
                    <a:pt x="869" y="1037"/>
                  </a:lnTo>
                  <a:cubicBezTo>
                    <a:pt x="869" y="1168"/>
                    <a:pt x="893" y="1311"/>
                    <a:pt x="953" y="1430"/>
                  </a:cubicBezTo>
                  <a:lnTo>
                    <a:pt x="1048" y="1596"/>
                  </a:lnTo>
                  <a:lnTo>
                    <a:pt x="1048" y="1858"/>
                  </a:lnTo>
                  <a:cubicBezTo>
                    <a:pt x="1048" y="2275"/>
                    <a:pt x="1250" y="2644"/>
                    <a:pt x="1560" y="2882"/>
                  </a:cubicBezTo>
                  <a:lnTo>
                    <a:pt x="1560" y="3037"/>
                  </a:lnTo>
                  <a:cubicBezTo>
                    <a:pt x="1560" y="3108"/>
                    <a:pt x="1500" y="3180"/>
                    <a:pt x="1429" y="3216"/>
                  </a:cubicBezTo>
                  <a:lnTo>
                    <a:pt x="845" y="3382"/>
                  </a:lnTo>
                  <a:cubicBezTo>
                    <a:pt x="548" y="3466"/>
                    <a:pt x="357" y="3739"/>
                    <a:pt x="357" y="4037"/>
                  </a:cubicBezTo>
                  <a:lnTo>
                    <a:pt x="357" y="4906"/>
                  </a:lnTo>
                  <a:cubicBezTo>
                    <a:pt x="333" y="4894"/>
                    <a:pt x="310" y="4859"/>
                    <a:pt x="286" y="4847"/>
                  </a:cubicBezTo>
                  <a:cubicBezTo>
                    <a:pt x="256" y="4822"/>
                    <a:pt x="220" y="4810"/>
                    <a:pt x="185" y="4810"/>
                  </a:cubicBezTo>
                  <a:cubicBezTo>
                    <a:pt x="135" y="4810"/>
                    <a:pt x="87" y="4834"/>
                    <a:pt x="60" y="4882"/>
                  </a:cubicBezTo>
                  <a:cubicBezTo>
                    <a:pt x="0" y="4954"/>
                    <a:pt x="12" y="5061"/>
                    <a:pt x="95" y="5097"/>
                  </a:cubicBezTo>
                  <a:cubicBezTo>
                    <a:pt x="702" y="5597"/>
                    <a:pt x="1476" y="5871"/>
                    <a:pt x="2262" y="5871"/>
                  </a:cubicBezTo>
                  <a:lnTo>
                    <a:pt x="2429" y="5871"/>
                  </a:lnTo>
                  <a:cubicBezTo>
                    <a:pt x="3286" y="5835"/>
                    <a:pt x="4096" y="5478"/>
                    <a:pt x="4691" y="4859"/>
                  </a:cubicBezTo>
                  <a:cubicBezTo>
                    <a:pt x="5298" y="4251"/>
                    <a:pt x="5655" y="3454"/>
                    <a:pt x="5703" y="2596"/>
                  </a:cubicBezTo>
                  <a:cubicBezTo>
                    <a:pt x="5751" y="1751"/>
                    <a:pt x="5477" y="918"/>
                    <a:pt x="4941" y="263"/>
                  </a:cubicBezTo>
                  <a:cubicBezTo>
                    <a:pt x="4908" y="223"/>
                    <a:pt x="4861" y="206"/>
                    <a:pt x="4815" y="206"/>
                  </a:cubicBezTo>
                  <a:cubicBezTo>
                    <a:pt x="4778" y="206"/>
                    <a:pt x="4742" y="218"/>
                    <a:pt x="4715" y="239"/>
                  </a:cubicBezTo>
                  <a:cubicBezTo>
                    <a:pt x="4643" y="299"/>
                    <a:pt x="4643" y="406"/>
                    <a:pt x="4691" y="465"/>
                  </a:cubicBezTo>
                  <a:cubicBezTo>
                    <a:pt x="5167" y="1061"/>
                    <a:pt x="5417" y="1811"/>
                    <a:pt x="5370" y="2573"/>
                  </a:cubicBezTo>
                  <a:cubicBezTo>
                    <a:pt x="5334" y="3347"/>
                    <a:pt x="5013" y="4073"/>
                    <a:pt x="4465" y="4632"/>
                  </a:cubicBezTo>
                  <a:cubicBezTo>
                    <a:pt x="4358" y="4728"/>
                    <a:pt x="4262" y="4823"/>
                    <a:pt x="4155" y="4906"/>
                  </a:cubicBezTo>
                  <a:lnTo>
                    <a:pt x="4155" y="4037"/>
                  </a:lnTo>
                  <a:cubicBezTo>
                    <a:pt x="4155" y="3739"/>
                    <a:pt x="3941" y="3466"/>
                    <a:pt x="3667" y="3382"/>
                  </a:cubicBezTo>
                  <a:lnTo>
                    <a:pt x="3084" y="3216"/>
                  </a:lnTo>
                  <a:cubicBezTo>
                    <a:pt x="3012" y="3180"/>
                    <a:pt x="2953" y="3120"/>
                    <a:pt x="2953" y="3037"/>
                  </a:cubicBezTo>
                  <a:lnTo>
                    <a:pt x="2953" y="2906"/>
                  </a:lnTo>
                  <a:cubicBezTo>
                    <a:pt x="3012" y="2858"/>
                    <a:pt x="3048" y="2823"/>
                    <a:pt x="3096" y="2763"/>
                  </a:cubicBezTo>
                  <a:cubicBezTo>
                    <a:pt x="3334" y="2549"/>
                    <a:pt x="3453" y="2227"/>
                    <a:pt x="3453" y="1906"/>
                  </a:cubicBezTo>
                  <a:lnTo>
                    <a:pt x="3453" y="1596"/>
                  </a:lnTo>
                  <a:lnTo>
                    <a:pt x="3512" y="1453"/>
                  </a:lnTo>
                  <a:cubicBezTo>
                    <a:pt x="3584" y="1311"/>
                    <a:pt x="3620" y="1156"/>
                    <a:pt x="3620" y="1001"/>
                  </a:cubicBezTo>
                  <a:lnTo>
                    <a:pt x="3620" y="168"/>
                  </a:lnTo>
                  <a:cubicBezTo>
                    <a:pt x="3620" y="72"/>
                    <a:pt x="3548" y="1"/>
                    <a:pt x="3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7" name="Google Shape;13687;p64"/>
            <p:cNvSpPr/>
            <p:nvPr/>
          </p:nvSpPr>
          <p:spPr>
            <a:xfrm>
              <a:off x="1974207" y="1638617"/>
              <a:ext cx="43989" cy="15597"/>
            </a:xfrm>
            <a:custGeom>
              <a:avLst/>
              <a:gdLst/>
              <a:ahLst/>
              <a:cxnLst/>
              <a:rect l="l" t="t" r="r" b="b"/>
              <a:pathLst>
                <a:path w="1382" h="490" extrusionOk="0">
                  <a:moveTo>
                    <a:pt x="155" y="1"/>
                  </a:moveTo>
                  <a:cubicBezTo>
                    <a:pt x="72" y="1"/>
                    <a:pt x="1" y="72"/>
                    <a:pt x="1" y="168"/>
                  </a:cubicBezTo>
                  <a:cubicBezTo>
                    <a:pt x="1" y="251"/>
                    <a:pt x="72" y="322"/>
                    <a:pt x="155" y="322"/>
                  </a:cubicBezTo>
                  <a:cubicBezTo>
                    <a:pt x="334" y="322"/>
                    <a:pt x="870" y="358"/>
                    <a:pt x="1132" y="477"/>
                  </a:cubicBezTo>
                  <a:cubicBezTo>
                    <a:pt x="1155" y="489"/>
                    <a:pt x="1167" y="489"/>
                    <a:pt x="1203" y="489"/>
                  </a:cubicBezTo>
                  <a:cubicBezTo>
                    <a:pt x="1263" y="489"/>
                    <a:pt x="1322" y="465"/>
                    <a:pt x="1346" y="406"/>
                  </a:cubicBezTo>
                  <a:cubicBezTo>
                    <a:pt x="1382" y="322"/>
                    <a:pt x="1346" y="227"/>
                    <a:pt x="1275" y="191"/>
                  </a:cubicBezTo>
                  <a:cubicBezTo>
                    <a:pt x="905" y="1"/>
                    <a:pt x="191" y="1"/>
                    <a:pt x="15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88" name="Google Shape;13688;p64"/>
          <p:cNvGrpSpPr/>
          <p:nvPr/>
        </p:nvGrpSpPr>
        <p:grpSpPr>
          <a:xfrm>
            <a:off x="5621097" y="1500761"/>
            <a:ext cx="371424" cy="355446"/>
            <a:chOff x="5621097" y="1500761"/>
            <a:chExt cx="371424" cy="355446"/>
          </a:xfrm>
        </p:grpSpPr>
        <p:sp>
          <p:nvSpPr>
            <p:cNvPr id="13689" name="Google Shape;13689;p64"/>
            <p:cNvSpPr/>
            <p:nvPr/>
          </p:nvSpPr>
          <p:spPr>
            <a:xfrm>
              <a:off x="5621097" y="1539721"/>
              <a:ext cx="324061" cy="316486"/>
            </a:xfrm>
            <a:custGeom>
              <a:avLst/>
              <a:gdLst/>
              <a:ahLst/>
              <a:cxnLst/>
              <a:rect l="l" t="t" r="r" b="b"/>
              <a:pathLst>
                <a:path w="10181" h="9943" extrusionOk="0">
                  <a:moveTo>
                    <a:pt x="8811" y="0"/>
                  </a:moveTo>
                  <a:cubicBezTo>
                    <a:pt x="8454" y="0"/>
                    <a:pt x="8109" y="143"/>
                    <a:pt x="7847" y="393"/>
                  </a:cubicBezTo>
                  <a:lnTo>
                    <a:pt x="6906" y="1334"/>
                  </a:lnTo>
                  <a:cubicBezTo>
                    <a:pt x="6835" y="1405"/>
                    <a:pt x="6835" y="1512"/>
                    <a:pt x="6906" y="1584"/>
                  </a:cubicBezTo>
                  <a:cubicBezTo>
                    <a:pt x="6942" y="1620"/>
                    <a:pt x="6986" y="1637"/>
                    <a:pt x="7031" y="1637"/>
                  </a:cubicBezTo>
                  <a:cubicBezTo>
                    <a:pt x="7076" y="1637"/>
                    <a:pt x="7120" y="1620"/>
                    <a:pt x="7156" y="1584"/>
                  </a:cubicBezTo>
                  <a:lnTo>
                    <a:pt x="8097" y="643"/>
                  </a:lnTo>
                  <a:cubicBezTo>
                    <a:pt x="8287" y="453"/>
                    <a:pt x="8549" y="346"/>
                    <a:pt x="8811" y="346"/>
                  </a:cubicBezTo>
                  <a:cubicBezTo>
                    <a:pt x="9085" y="346"/>
                    <a:pt x="9335" y="453"/>
                    <a:pt x="9525" y="643"/>
                  </a:cubicBezTo>
                  <a:cubicBezTo>
                    <a:pt x="9716" y="846"/>
                    <a:pt x="9823" y="1096"/>
                    <a:pt x="9823" y="1358"/>
                  </a:cubicBezTo>
                  <a:cubicBezTo>
                    <a:pt x="9823" y="1631"/>
                    <a:pt x="9716" y="1882"/>
                    <a:pt x="9525" y="2084"/>
                  </a:cubicBezTo>
                  <a:lnTo>
                    <a:pt x="8228" y="3370"/>
                  </a:lnTo>
                  <a:cubicBezTo>
                    <a:pt x="8097" y="3060"/>
                    <a:pt x="7906" y="2763"/>
                    <a:pt x="7668" y="2524"/>
                  </a:cubicBezTo>
                  <a:cubicBezTo>
                    <a:pt x="7162" y="2018"/>
                    <a:pt x="6498" y="1765"/>
                    <a:pt x="5834" y="1765"/>
                  </a:cubicBezTo>
                  <a:cubicBezTo>
                    <a:pt x="5171" y="1765"/>
                    <a:pt x="4507" y="2018"/>
                    <a:pt x="4001" y="2524"/>
                  </a:cubicBezTo>
                  <a:lnTo>
                    <a:pt x="1012" y="5513"/>
                  </a:lnTo>
                  <a:cubicBezTo>
                    <a:pt x="0" y="6525"/>
                    <a:pt x="0" y="8168"/>
                    <a:pt x="1012" y="9180"/>
                  </a:cubicBezTo>
                  <a:cubicBezTo>
                    <a:pt x="1524" y="9680"/>
                    <a:pt x="2191" y="9942"/>
                    <a:pt x="2846" y="9942"/>
                  </a:cubicBezTo>
                  <a:cubicBezTo>
                    <a:pt x="3501" y="9942"/>
                    <a:pt x="4168" y="9680"/>
                    <a:pt x="4680" y="9180"/>
                  </a:cubicBezTo>
                  <a:lnTo>
                    <a:pt x="6263" y="7585"/>
                  </a:lnTo>
                  <a:cubicBezTo>
                    <a:pt x="6346" y="7513"/>
                    <a:pt x="6346" y="7406"/>
                    <a:pt x="6263" y="7335"/>
                  </a:cubicBezTo>
                  <a:cubicBezTo>
                    <a:pt x="6239" y="7305"/>
                    <a:pt x="6201" y="7290"/>
                    <a:pt x="6159" y="7290"/>
                  </a:cubicBezTo>
                  <a:cubicBezTo>
                    <a:pt x="6117" y="7290"/>
                    <a:pt x="6073" y="7305"/>
                    <a:pt x="6037" y="7335"/>
                  </a:cubicBezTo>
                  <a:lnTo>
                    <a:pt x="4441" y="8930"/>
                  </a:lnTo>
                  <a:cubicBezTo>
                    <a:pt x="4025" y="9347"/>
                    <a:pt x="3453" y="9573"/>
                    <a:pt x="2858" y="9573"/>
                  </a:cubicBezTo>
                  <a:cubicBezTo>
                    <a:pt x="2263" y="9573"/>
                    <a:pt x="1703" y="9335"/>
                    <a:pt x="1286" y="8930"/>
                  </a:cubicBezTo>
                  <a:cubicBezTo>
                    <a:pt x="405" y="8049"/>
                    <a:pt x="405" y="6632"/>
                    <a:pt x="1286" y="5775"/>
                  </a:cubicBezTo>
                  <a:lnTo>
                    <a:pt x="4275" y="2774"/>
                  </a:lnTo>
                  <a:cubicBezTo>
                    <a:pt x="4691" y="2358"/>
                    <a:pt x="5251" y="2120"/>
                    <a:pt x="5846" y="2120"/>
                  </a:cubicBezTo>
                  <a:cubicBezTo>
                    <a:pt x="6442" y="2120"/>
                    <a:pt x="7013" y="2358"/>
                    <a:pt x="7430" y="2774"/>
                  </a:cubicBezTo>
                  <a:cubicBezTo>
                    <a:pt x="7680" y="3025"/>
                    <a:pt x="7859" y="3322"/>
                    <a:pt x="7966" y="3656"/>
                  </a:cubicBezTo>
                  <a:lnTo>
                    <a:pt x="6549" y="5072"/>
                  </a:lnTo>
                  <a:cubicBezTo>
                    <a:pt x="6358" y="5263"/>
                    <a:pt x="6108" y="5370"/>
                    <a:pt x="5834" y="5370"/>
                  </a:cubicBezTo>
                  <a:cubicBezTo>
                    <a:pt x="5573" y="5370"/>
                    <a:pt x="5311" y="5263"/>
                    <a:pt x="5120" y="5072"/>
                  </a:cubicBezTo>
                  <a:cubicBezTo>
                    <a:pt x="5037" y="4977"/>
                    <a:pt x="4953" y="4858"/>
                    <a:pt x="4894" y="4739"/>
                  </a:cubicBezTo>
                  <a:cubicBezTo>
                    <a:pt x="4874" y="4670"/>
                    <a:pt x="4798" y="4626"/>
                    <a:pt x="4711" y="4626"/>
                  </a:cubicBezTo>
                  <a:cubicBezTo>
                    <a:pt x="4693" y="4626"/>
                    <a:pt x="4674" y="4628"/>
                    <a:pt x="4656" y="4632"/>
                  </a:cubicBezTo>
                  <a:cubicBezTo>
                    <a:pt x="4572" y="4668"/>
                    <a:pt x="4525" y="4775"/>
                    <a:pt x="4560" y="4882"/>
                  </a:cubicBezTo>
                  <a:cubicBezTo>
                    <a:pt x="4632" y="5037"/>
                    <a:pt x="4715" y="5203"/>
                    <a:pt x="4858" y="5322"/>
                  </a:cubicBezTo>
                  <a:cubicBezTo>
                    <a:pt x="5108" y="5572"/>
                    <a:pt x="5453" y="5727"/>
                    <a:pt x="5823" y="5727"/>
                  </a:cubicBezTo>
                  <a:cubicBezTo>
                    <a:pt x="6192" y="5727"/>
                    <a:pt x="6525" y="5572"/>
                    <a:pt x="6787" y="5322"/>
                  </a:cubicBezTo>
                  <a:lnTo>
                    <a:pt x="9775" y="2334"/>
                  </a:lnTo>
                  <a:cubicBezTo>
                    <a:pt x="10037" y="2084"/>
                    <a:pt x="10180" y="1739"/>
                    <a:pt x="10180" y="1358"/>
                  </a:cubicBezTo>
                  <a:cubicBezTo>
                    <a:pt x="10180" y="989"/>
                    <a:pt x="10037" y="667"/>
                    <a:pt x="9775" y="393"/>
                  </a:cubicBezTo>
                  <a:cubicBezTo>
                    <a:pt x="9525" y="131"/>
                    <a:pt x="9180" y="0"/>
                    <a:pt x="881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0" name="Google Shape;13690;p64"/>
            <p:cNvSpPr/>
            <p:nvPr/>
          </p:nvSpPr>
          <p:spPr>
            <a:xfrm>
              <a:off x="5669606" y="1500761"/>
              <a:ext cx="322915" cy="316390"/>
            </a:xfrm>
            <a:custGeom>
              <a:avLst/>
              <a:gdLst/>
              <a:ahLst/>
              <a:cxnLst/>
              <a:rect l="l" t="t" r="r" b="b"/>
              <a:pathLst>
                <a:path w="10145" h="9940" extrusionOk="0">
                  <a:moveTo>
                    <a:pt x="7323" y="1"/>
                  </a:moveTo>
                  <a:cubicBezTo>
                    <a:pt x="6659" y="1"/>
                    <a:pt x="5995" y="254"/>
                    <a:pt x="5489" y="760"/>
                  </a:cubicBezTo>
                  <a:lnTo>
                    <a:pt x="3894" y="2355"/>
                  </a:lnTo>
                  <a:cubicBezTo>
                    <a:pt x="3822" y="2427"/>
                    <a:pt x="3822" y="2534"/>
                    <a:pt x="3894" y="2605"/>
                  </a:cubicBezTo>
                  <a:cubicBezTo>
                    <a:pt x="3935" y="2641"/>
                    <a:pt x="3980" y="2659"/>
                    <a:pt x="4025" y="2659"/>
                  </a:cubicBezTo>
                  <a:cubicBezTo>
                    <a:pt x="4069" y="2659"/>
                    <a:pt x="4114" y="2641"/>
                    <a:pt x="4156" y="2605"/>
                  </a:cubicBezTo>
                  <a:lnTo>
                    <a:pt x="5739" y="1010"/>
                  </a:lnTo>
                  <a:cubicBezTo>
                    <a:pt x="6180" y="569"/>
                    <a:pt x="6754" y="349"/>
                    <a:pt x="7326" y="349"/>
                  </a:cubicBezTo>
                  <a:cubicBezTo>
                    <a:pt x="7897" y="349"/>
                    <a:pt x="8466" y="569"/>
                    <a:pt x="8894" y="1010"/>
                  </a:cubicBezTo>
                  <a:cubicBezTo>
                    <a:pt x="9775" y="1891"/>
                    <a:pt x="9775" y="3308"/>
                    <a:pt x="8894" y="4165"/>
                  </a:cubicBezTo>
                  <a:lnTo>
                    <a:pt x="5906" y="7154"/>
                  </a:lnTo>
                  <a:cubicBezTo>
                    <a:pt x="5489" y="7570"/>
                    <a:pt x="4930" y="7808"/>
                    <a:pt x="4334" y="7808"/>
                  </a:cubicBezTo>
                  <a:cubicBezTo>
                    <a:pt x="3739" y="7808"/>
                    <a:pt x="3167" y="7570"/>
                    <a:pt x="2751" y="7154"/>
                  </a:cubicBezTo>
                  <a:cubicBezTo>
                    <a:pt x="2501" y="6904"/>
                    <a:pt x="2322" y="6606"/>
                    <a:pt x="2215" y="6284"/>
                  </a:cubicBezTo>
                  <a:lnTo>
                    <a:pt x="3632" y="4868"/>
                  </a:lnTo>
                  <a:cubicBezTo>
                    <a:pt x="3822" y="4677"/>
                    <a:pt x="4072" y="4570"/>
                    <a:pt x="4346" y="4570"/>
                  </a:cubicBezTo>
                  <a:cubicBezTo>
                    <a:pt x="4608" y="4570"/>
                    <a:pt x="4870" y="4677"/>
                    <a:pt x="5061" y="4868"/>
                  </a:cubicBezTo>
                  <a:cubicBezTo>
                    <a:pt x="5144" y="4951"/>
                    <a:pt x="5227" y="5070"/>
                    <a:pt x="5287" y="5189"/>
                  </a:cubicBezTo>
                  <a:cubicBezTo>
                    <a:pt x="5305" y="5263"/>
                    <a:pt x="5374" y="5308"/>
                    <a:pt x="5453" y="5308"/>
                  </a:cubicBezTo>
                  <a:cubicBezTo>
                    <a:pt x="5477" y="5308"/>
                    <a:pt x="5501" y="5304"/>
                    <a:pt x="5525" y="5296"/>
                  </a:cubicBezTo>
                  <a:cubicBezTo>
                    <a:pt x="5608" y="5272"/>
                    <a:pt x="5656" y="5165"/>
                    <a:pt x="5620" y="5058"/>
                  </a:cubicBezTo>
                  <a:cubicBezTo>
                    <a:pt x="5549" y="4891"/>
                    <a:pt x="5465" y="4737"/>
                    <a:pt x="5322" y="4618"/>
                  </a:cubicBezTo>
                  <a:cubicBezTo>
                    <a:pt x="5072" y="4356"/>
                    <a:pt x="4727" y="4213"/>
                    <a:pt x="4358" y="4213"/>
                  </a:cubicBezTo>
                  <a:cubicBezTo>
                    <a:pt x="3989" y="4213"/>
                    <a:pt x="3656" y="4356"/>
                    <a:pt x="3394" y="4618"/>
                  </a:cubicBezTo>
                  <a:lnTo>
                    <a:pt x="1929" y="6070"/>
                  </a:lnTo>
                  <a:cubicBezTo>
                    <a:pt x="1905" y="6082"/>
                    <a:pt x="1893" y="6106"/>
                    <a:pt x="1870" y="6130"/>
                  </a:cubicBezTo>
                  <a:lnTo>
                    <a:pt x="405" y="7606"/>
                  </a:lnTo>
                  <a:cubicBezTo>
                    <a:pt x="143" y="7856"/>
                    <a:pt x="0" y="8201"/>
                    <a:pt x="0" y="8570"/>
                  </a:cubicBezTo>
                  <a:cubicBezTo>
                    <a:pt x="0" y="8928"/>
                    <a:pt x="143" y="9273"/>
                    <a:pt x="405" y="9535"/>
                  </a:cubicBezTo>
                  <a:cubicBezTo>
                    <a:pt x="655" y="9785"/>
                    <a:pt x="1001" y="9940"/>
                    <a:pt x="1370" y="9940"/>
                  </a:cubicBezTo>
                  <a:cubicBezTo>
                    <a:pt x="1739" y="9940"/>
                    <a:pt x="2072" y="9785"/>
                    <a:pt x="2334" y="9535"/>
                  </a:cubicBezTo>
                  <a:lnTo>
                    <a:pt x="3275" y="8594"/>
                  </a:lnTo>
                  <a:cubicBezTo>
                    <a:pt x="3346" y="8523"/>
                    <a:pt x="3346" y="8416"/>
                    <a:pt x="3275" y="8344"/>
                  </a:cubicBezTo>
                  <a:cubicBezTo>
                    <a:pt x="3239" y="8309"/>
                    <a:pt x="3194" y="8291"/>
                    <a:pt x="3150" y="8291"/>
                  </a:cubicBezTo>
                  <a:cubicBezTo>
                    <a:pt x="3105" y="8291"/>
                    <a:pt x="3060" y="8309"/>
                    <a:pt x="3025" y="8344"/>
                  </a:cubicBezTo>
                  <a:lnTo>
                    <a:pt x="2084" y="9285"/>
                  </a:lnTo>
                  <a:cubicBezTo>
                    <a:pt x="1893" y="9475"/>
                    <a:pt x="1632" y="9582"/>
                    <a:pt x="1370" y="9582"/>
                  </a:cubicBezTo>
                  <a:cubicBezTo>
                    <a:pt x="1096" y="9582"/>
                    <a:pt x="846" y="9475"/>
                    <a:pt x="655" y="9285"/>
                  </a:cubicBezTo>
                  <a:cubicBezTo>
                    <a:pt x="465" y="9094"/>
                    <a:pt x="358" y="8832"/>
                    <a:pt x="358" y="8570"/>
                  </a:cubicBezTo>
                  <a:cubicBezTo>
                    <a:pt x="358" y="8297"/>
                    <a:pt x="465" y="8047"/>
                    <a:pt x="655" y="7856"/>
                  </a:cubicBezTo>
                  <a:lnTo>
                    <a:pt x="1953" y="6558"/>
                  </a:lnTo>
                  <a:cubicBezTo>
                    <a:pt x="2084" y="6880"/>
                    <a:pt x="2274" y="7177"/>
                    <a:pt x="2513" y="7404"/>
                  </a:cubicBezTo>
                  <a:cubicBezTo>
                    <a:pt x="3001" y="7904"/>
                    <a:pt x="3656" y="8166"/>
                    <a:pt x="4346" y="8166"/>
                  </a:cubicBezTo>
                  <a:cubicBezTo>
                    <a:pt x="5049" y="8166"/>
                    <a:pt x="5680" y="7904"/>
                    <a:pt x="6180" y="7404"/>
                  </a:cubicBezTo>
                  <a:lnTo>
                    <a:pt x="9168" y="4415"/>
                  </a:lnTo>
                  <a:cubicBezTo>
                    <a:pt x="10145" y="3403"/>
                    <a:pt x="10145" y="1772"/>
                    <a:pt x="9156" y="760"/>
                  </a:cubicBezTo>
                  <a:cubicBezTo>
                    <a:pt x="8650" y="254"/>
                    <a:pt x="7987" y="1"/>
                    <a:pt x="732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1" name="Google Shape;13691;p64"/>
          <p:cNvGrpSpPr/>
          <p:nvPr/>
        </p:nvGrpSpPr>
        <p:grpSpPr>
          <a:xfrm>
            <a:off x="4670239" y="1541599"/>
            <a:ext cx="359679" cy="321833"/>
            <a:chOff x="4670239" y="1541599"/>
            <a:chExt cx="359679" cy="321833"/>
          </a:xfrm>
        </p:grpSpPr>
        <p:sp>
          <p:nvSpPr>
            <p:cNvPr id="13692" name="Google Shape;13692;p64"/>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3" name="Google Shape;13693;p64"/>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4" name="Google Shape;13694;p64"/>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5" name="Google Shape;13695;p64"/>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6" name="Google Shape;13696;p64"/>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97" name="Google Shape;13697;p64"/>
          <p:cNvGrpSpPr/>
          <p:nvPr/>
        </p:nvGrpSpPr>
        <p:grpSpPr>
          <a:xfrm>
            <a:off x="4212429" y="1502385"/>
            <a:ext cx="321037" cy="353822"/>
            <a:chOff x="4212429" y="1502385"/>
            <a:chExt cx="321037" cy="353822"/>
          </a:xfrm>
        </p:grpSpPr>
        <p:sp>
          <p:nvSpPr>
            <p:cNvPr id="13698" name="Google Shape;13698;p64"/>
            <p:cNvSpPr/>
            <p:nvPr/>
          </p:nvSpPr>
          <p:spPr>
            <a:xfrm>
              <a:off x="4310592" y="1585938"/>
              <a:ext cx="125092" cy="163001"/>
            </a:xfrm>
            <a:custGeom>
              <a:avLst/>
              <a:gdLst/>
              <a:ahLst/>
              <a:cxnLst/>
              <a:rect l="l" t="t" r="r" b="b"/>
              <a:pathLst>
                <a:path w="3930" h="5121" extrusionOk="0">
                  <a:moveTo>
                    <a:pt x="1941" y="310"/>
                  </a:moveTo>
                  <a:cubicBezTo>
                    <a:pt x="2227" y="310"/>
                    <a:pt x="2477" y="489"/>
                    <a:pt x="2584" y="751"/>
                  </a:cubicBezTo>
                  <a:cubicBezTo>
                    <a:pt x="2620" y="834"/>
                    <a:pt x="2644" y="930"/>
                    <a:pt x="2644" y="1013"/>
                  </a:cubicBezTo>
                  <a:lnTo>
                    <a:pt x="2644" y="1192"/>
                  </a:lnTo>
                  <a:cubicBezTo>
                    <a:pt x="2370" y="1096"/>
                    <a:pt x="2275" y="834"/>
                    <a:pt x="2251" y="822"/>
                  </a:cubicBezTo>
                  <a:cubicBezTo>
                    <a:pt x="2227" y="763"/>
                    <a:pt x="2179" y="715"/>
                    <a:pt x="2108" y="715"/>
                  </a:cubicBezTo>
                  <a:cubicBezTo>
                    <a:pt x="2048" y="715"/>
                    <a:pt x="1989" y="751"/>
                    <a:pt x="1953" y="811"/>
                  </a:cubicBezTo>
                  <a:cubicBezTo>
                    <a:pt x="1953" y="811"/>
                    <a:pt x="1763" y="1168"/>
                    <a:pt x="1239" y="1227"/>
                  </a:cubicBezTo>
                  <a:lnTo>
                    <a:pt x="1239" y="1025"/>
                  </a:lnTo>
                  <a:cubicBezTo>
                    <a:pt x="1263" y="930"/>
                    <a:pt x="1275" y="834"/>
                    <a:pt x="1310" y="751"/>
                  </a:cubicBezTo>
                  <a:cubicBezTo>
                    <a:pt x="1406" y="489"/>
                    <a:pt x="1667" y="310"/>
                    <a:pt x="1941" y="310"/>
                  </a:cubicBezTo>
                  <a:close/>
                  <a:moveTo>
                    <a:pt x="2108" y="1180"/>
                  </a:moveTo>
                  <a:cubicBezTo>
                    <a:pt x="2215" y="1322"/>
                    <a:pt x="2394" y="1489"/>
                    <a:pt x="2656" y="1549"/>
                  </a:cubicBezTo>
                  <a:lnTo>
                    <a:pt x="2656" y="1775"/>
                  </a:lnTo>
                  <a:cubicBezTo>
                    <a:pt x="2656" y="2144"/>
                    <a:pt x="2358" y="2454"/>
                    <a:pt x="1989" y="2477"/>
                  </a:cubicBezTo>
                  <a:lnTo>
                    <a:pt x="1929" y="2477"/>
                  </a:lnTo>
                  <a:cubicBezTo>
                    <a:pt x="1560" y="2442"/>
                    <a:pt x="1263" y="2144"/>
                    <a:pt x="1263" y="1763"/>
                  </a:cubicBezTo>
                  <a:lnTo>
                    <a:pt x="1263" y="1549"/>
                  </a:lnTo>
                  <a:cubicBezTo>
                    <a:pt x="1679" y="1501"/>
                    <a:pt x="1941" y="1322"/>
                    <a:pt x="2108" y="1180"/>
                  </a:cubicBezTo>
                  <a:close/>
                  <a:moveTo>
                    <a:pt x="2132" y="2799"/>
                  </a:moveTo>
                  <a:lnTo>
                    <a:pt x="2048" y="2966"/>
                  </a:lnTo>
                  <a:lnTo>
                    <a:pt x="1846" y="2966"/>
                  </a:lnTo>
                  <a:lnTo>
                    <a:pt x="1751" y="2799"/>
                  </a:lnTo>
                  <a:close/>
                  <a:moveTo>
                    <a:pt x="2025" y="3287"/>
                  </a:moveTo>
                  <a:lnTo>
                    <a:pt x="2215" y="4109"/>
                  </a:lnTo>
                  <a:lnTo>
                    <a:pt x="1941" y="4347"/>
                  </a:lnTo>
                  <a:lnTo>
                    <a:pt x="1679" y="4109"/>
                  </a:lnTo>
                  <a:lnTo>
                    <a:pt x="1870" y="3287"/>
                  </a:lnTo>
                  <a:close/>
                  <a:moveTo>
                    <a:pt x="2453" y="2870"/>
                  </a:moveTo>
                  <a:cubicBezTo>
                    <a:pt x="2668" y="2954"/>
                    <a:pt x="2894" y="3085"/>
                    <a:pt x="3072" y="3263"/>
                  </a:cubicBezTo>
                  <a:cubicBezTo>
                    <a:pt x="3394" y="3561"/>
                    <a:pt x="3561" y="3966"/>
                    <a:pt x="3561" y="4359"/>
                  </a:cubicBezTo>
                  <a:lnTo>
                    <a:pt x="3596" y="4775"/>
                  </a:lnTo>
                  <a:lnTo>
                    <a:pt x="322" y="4775"/>
                  </a:lnTo>
                  <a:lnTo>
                    <a:pt x="322" y="4359"/>
                  </a:lnTo>
                  <a:cubicBezTo>
                    <a:pt x="322" y="3942"/>
                    <a:pt x="501" y="3561"/>
                    <a:pt x="810" y="3263"/>
                  </a:cubicBezTo>
                  <a:cubicBezTo>
                    <a:pt x="989" y="3097"/>
                    <a:pt x="1215" y="2966"/>
                    <a:pt x="1441" y="2870"/>
                  </a:cubicBezTo>
                  <a:lnTo>
                    <a:pt x="1572" y="3144"/>
                  </a:lnTo>
                  <a:lnTo>
                    <a:pt x="1346" y="4120"/>
                  </a:lnTo>
                  <a:cubicBezTo>
                    <a:pt x="1334" y="4180"/>
                    <a:pt x="1346" y="4240"/>
                    <a:pt x="1394" y="4287"/>
                  </a:cubicBezTo>
                  <a:lnTo>
                    <a:pt x="1834" y="4692"/>
                  </a:lnTo>
                  <a:cubicBezTo>
                    <a:pt x="1870" y="4716"/>
                    <a:pt x="1917" y="4740"/>
                    <a:pt x="1941" y="4740"/>
                  </a:cubicBezTo>
                  <a:cubicBezTo>
                    <a:pt x="1989" y="4740"/>
                    <a:pt x="2025" y="4716"/>
                    <a:pt x="2048" y="4692"/>
                  </a:cubicBezTo>
                  <a:lnTo>
                    <a:pt x="2501" y="4287"/>
                  </a:lnTo>
                  <a:cubicBezTo>
                    <a:pt x="2537" y="4240"/>
                    <a:pt x="2560" y="4180"/>
                    <a:pt x="2537" y="4120"/>
                  </a:cubicBezTo>
                  <a:lnTo>
                    <a:pt x="2322" y="3144"/>
                  </a:lnTo>
                  <a:lnTo>
                    <a:pt x="2453" y="2870"/>
                  </a:lnTo>
                  <a:close/>
                  <a:moveTo>
                    <a:pt x="1965" y="1"/>
                  </a:moveTo>
                  <a:cubicBezTo>
                    <a:pt x="1394" y="1"/>
                    <a:pt x="929" y="465"/>
                    <a:pt x="929" y="1025"/>
                  </a:cubicBezTo>
                  <a:lnTo>
                    <a:pt x="929" y="1406"/>
                  </a:lnTo>
                  <a:lnTo>
                    <a:pt x="929" y="1775"/>
                  </a:lnTo>
                  <a:cubicBezTo>
                    <a:pt x="929" y="2096"/>
                    <a:pt x="1084" y="2394"/>
                    <a:pt x="1334" y="2573"/>
                  </a:cubicBezTo>
                  <a:cubicBezTo>
                    <a:pt x="560" y="2846"/>
                    <a:pt x="1" y="3561"/>
                    <a:pt x="1" y="4382"/>
                  </a:cubicBezTo>
                  <a:lnTo>
                    <a:pt x="1" y="4954"/>
                  </a:lnTo>
                  <a:cubicBezTo>
                    <a:pt x="1" y="5049"/>
                    <a:pt x="72" y="5121"/>
                    <a:pt x="155" y="5121"/>
                  </a:cubicBezTo>
                  <a:lnTo>
                    <a:pt x="3763" y="5121"/>
                  </a:lnTo>
                  <a:cubicBezTo>
                    <a:pt x="3846" y="5121"/>
                    <a:pt x="3930" y="5049"/>
                    <a:pt x="3930" y="4954"/>
                  </a:cubicBezTo>
                  <a:lnTo>
                    <a:pt x="3930" y="4382"/>
                  </a:lnTo>
                  <a:cubicBezTo>
                    <a:pt x="3930" y="3561"/>
                    <a:pt x="3346" y="2846"/>
                    <a:pt x="2584" y="2573"/>
                  </a:cubicBezTo>
                  <a:cubicBezTo>
                    <a:pt x="2822" y="2382"/>
                    <a:pt x="2989" y="2096"/>
                    <a:pt x="2989" y="1775"/>
                  </a:cubicBezTo>
                  <a:lnTo>
                    <a:pt x="2989" y="1406"/>
                  </a:lnTo>
                  <a:lnTo>
                    <a:pt x="2989" y="1025"/>
                  </a:lnTo>
                  <a:cubicBezTo>
                    <a:pt x="2989" y="465"/>
                    <a:pt x="2525" y="1"/>
                    <a:pt x="196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9" name="Google Shape;13699;p64"/>
            <p:cNvSpPr/>
            <p:nvPr/>
          </p:nvSpPr>
          <p:spPr>
            <a:xfrm>
              <a:off x="4248428" y="1536124"/>
              <a:ext cx="253972" cy="152179"/>
            </a:xfrm>
            <a:custGeom>
              <a:avLst/>
              <a:gdLst/>
              <a:ahLst/>
              <a:cxnLst/>
              <a:rect l="l" t="t" r="r" b="b"/>
              <a:pathLst>
                <a:path w="7979" h="4781" extrusionOk="0">
                  <a:moveTo>
                    <a:pt x="3906" y="0"/>
                  </a:moveTo>
                  <a:cubicBezTo>
                    <a:pt x="3876" y="0"/>
                    <a:pt x="3847" y="6"/>
                    <a:pt x="3823" y="18"/>
                  </a:cubicBezTo>
                  <a:cubicBezTo>
                    <a:pt x="3811" y="30"/>
                    <a:pt x="1775" y="1244"/>
                    <a:pt x="239" y="1244"/>
                  </a:cubicBezTo>
                  <a:cubicBezTo>
                    <a:pt x="156" y="1244"/>
                    <a:pt x="84" y="1304"/>
                    <a:pt x="72" y="1375"/>
                  </a:cubicBezTo>
                  <a:cubicBezTo>
                    <a:pt x="72" y="1387"/>
                    <a:pt x="1" y="1875"/>
                    <a:pt x="1" y="2614"/>
                  </a:cubicBezTo>
                  <a:cubicBezTo>
                    <a:pt x="1" y="2697"/>
                    <a:pt x="72" y="2768"/>
                    <a:pt x="156" y="2768"/>
                  </a:cubicBezTo>
                  <a:cubicBezTo>
                    <a:pt x="251" y="2768"/>
                    <a:pt x="322" y="2697"/>
                    <a:pt x="322" y="2614"/>
                  </a:cubicBezTo>
                  <a:cubicBezTo>
                    <a:pt x="322" y="2137"/>
                    <a:pt x="358" y="1744"/>
                    <a:pt x="382" y="1566"/>
                  </a:cubicBezTo>
                  <a:cubicBezTo>
                    <a:pt x="1037" y="1542"/>
                    <a:pt x="1835" y="1328"/>
                    <a:pt x="2739" y="923"/>
                  </a:cubicBezTo>
                  <a:cubicBezTo>
                    <a:pt x="3299" y="685"/>
                    <a:pt x="3728" y="435"/>
                    <a:pt x="3906" y="351"/>
                  </a:cubicBezTo>
                  <a:cubicBezTo>
                    <a:pt x="4085" y="447"/>
                    <a:pt x="4525" y="685"/>
                    <a:pt x="5085" y="923"/>
                  </a:cubicBezTo>
                  <a:cubicBezTo>
                    <a:pt x="5990" y="1316"/>
                    <a:pt x="6788" y="1542"/>
                    <a:pt x="7442" y="1566"/>
                  </a:cubicBezTo>
                  <a:cubicBezTo>
                    <a:pt x="7478" y="1971"/>
                    <a:pt x="7585" y="3233"/>
                    <a:pt x="7288" y="4590"/>
                  </a:cubicBezTo>
                  <a:cubicBezTo>
                    <a:pt x="7276" y="4673"/>
                    <a:pt x="7323" y="4769"/>
                    <a:pt x="7407" y="4781"/>
                  </a:cubicBezTo>
                  <a:lnTo>
                    <a:pt x="7442" y="4781"/>
                  </a:lnTo>
                  <a:cubicBezTo>
                    <a:pt x="7514" y="4781"/>
                    <a:pt x="7585" y="4733"/>
                    <a:pt x="7597" y="4650"/>
                  </a:cubicBezTo>
                  <a:cubicBezTo>
                    <a:pt x="7978" y="2947"/>
                    <a:pt x="7752" y="1435"/>
                    <a:pt x="7740" y="1375"/>
                  </a:cubicBezTo>
                  <a:cubicBezTo>
                    <a:pt x="7728" y="1304"/>
                    <a:pt x="7669" y="1244"/>
                    <a:pt x="7573" y="1244"/>
                  </a:cubicBezTo>
                  <a:cubicBezTo>
                    <a:pt x="6037" y="1244"/>
                    <a:pt x="4001" y="30"/>
                    <a:pt x="3990" y="18"/>
                  </a:cubicBezTo>
                  <a:cubicBezTo>
                    <a:pt x="3966" y="6"/>
                    <a:pt x="3936" y="0"/>
                    <a:pt x="390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0" name="Google Shape;13700;p64"/>
            <p:cNvSpPr/>
            <p:nvPr/>
          </p:nvSpPr>
          <p:spPr>
            <a:xfrm>
              <a:off x="4248428" y="1633270"/>
              <a:ext cx="238407" cy="187288"/>
            </a:xfrm>
            <a:custGeom>
              <a:avLst/>
              <a:gdLst/>
              <a:ahLst/>
              <a:cxnLst/>
              <a:rect l="l" t="t" r="r" b="b"/>
              <a:pathLst>
                <a:path w="7490" h="5884" extrusionOk="0">
                  <a:moveTo>
                    <a:pt x="186" y="1"/>
                  </a:moveTo>
                  <a:cubicBezTo>
                    <a:pt x="180" y="1"/>
                    <a:pt x="174" y="1"/>
                    <a:pt x="168" y="2"/>
                  </a:cubicBezTo>
                  <a:cubicBezTo>
                    <a:pt x="72" y="2"/>
                    <a:pt x="1" y="97"/>
                    <a:pt x="13" y="181"/>
                  </a:cubicBezTo>
                  <a:cubicBezTo>
                    <a:pt x="84" y="1383"/>
                    <a:pt x="370" y="2455"/>
                    <a:pt x="846" y="3348"/>
                  </a:cubicBezTo>
                  <a:cubicBezTo>
                    <a:pt x="1501" y="4574"/>
                    <a:pt x="2513" y="5419"/>
                    <a:pt x="3859" y="5860"/>
                  </a:cubicBezTo>
                  <a:cubicBezTo>
                    <a:pt x="3870" y="5860"/>
                    <a:pt x="3882" y="5884"/>
                    <a:pt x="3894" y="5884"/>
                  </a:cubicBezTo>
                  <a:cubicBezTo>
                    <a:pt x="3918" y="5884"/>
                    <a:pt x="3930" y="5884"/>
                    <a:pt x="3942" y="5860"/>
                  </a:cubicBezTo>
                  <a:cubicBezTo>
                    <a:pt x="4811" y="5586"/>
                    <a:pt x="5549" y="5110"/>
                    <a:pt x="6133" y="4503"/>
                  </a:cubicBezTo>
                  <a:cubicBezTo>
                    <a:pt x="6716" y="3872"/>
                    <a:pt x="7157" y="3086"/>
                    <a:pt x="7442" y="2145"/>
                  </a:cubicBezTo>
                  <a:cubicBezTo>
                    <a:pt x="7490" y="2062"/>
                    <a:pt x="7442" y="1967"/>
                    <a:pt x="7347" y="1955"/>
                  </a:cubicBezTo>
                  <a:cubicBezTo>
                    <a:pt x="7330" y="1948"/>
                    <a:pt x="7313" y="1944"/>
                    <a:pt x="7296" y="1944"/>
                  </a:cubicBezTo>
                  <a:cubicBezTo>
                    <a:pt x="7228" y="1944"/>
                    <a:pt x="7164" y="1996"/>
                    <a:pt x="7145" y="2062"/>
                  </a:cubicBezTo>
                  <a:cubicBezTo>
                    <a:pt x="6871" y="2931"/>
                    <a:pt x="6454" y="3693"/>
                    <a:pt x="5906" y="4277"/>
                  </a:cubicBezTo>
                  <a:cubicBezTo>
                    <a:pt x="5371" y="4836"/>
                    <a:pt x="4704" y="5265"/>
                    <a:pt x="3894" y="5539"/>
                  </a:cubicBezTo>
                  <a:cubicBezTo>
                    <a:pt x="2668" y="5122"/>
                    <a:pt x="1727" y="4336"/>
                    <a:pt x="1132" y="3181"/>
                  </a:cubicBezTo>
                  <a:cubicBezTo>
                    <a:pt x="680" y="2336"/>
                    <a:pt x="418" y="1312"/>
                    <a:pt x="346" y="157"/>
                  </a:cubicBezTo>
                  <a:cubicBezTo>
                    <a:pt x="346" y="69"/>
                    <a:pt x="264" y="1"/>
                    <a:pt x="1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1" name="Google Shape;13701;p64"/>
            <p:cNvSpPr/>
            <p:nvPr/>
          </p:nvSpPr>
          <p:spPr>
            <a:xfrm>
              <a:off x="4212429" y="1502385"/>
              <a:ext cx="321037" cy="353822"/>
            </a:xfrm>
            <a:custGeom>
              <a:avLst/>
              <a:gdLst/>
              <a:ahLst/>
              <a:cxnLst/>
              <a:rect l="l" t="t" r="r" b="b"/>
              <a:pathLst>
                <a:path w="10086" h="11116" extrusionOk="0">
                  <a:moveTo>
                    <a:pt x="5061" y="316"/>
                  </a:moveTo>
                  <a:cubicBezTo>
                    <a:pt x="5263" y="435"/>
                    <a:pt x="5811" y="757"/>
                    <a:pt x="6549" y="1066"/>
                  </a:cubicBezTo>
                  <a:cubicBezTo>
                    <a:pt x="7692" y="1554"/>
                    <a:pt x="8692" y="1828"/>
                    <a:pt x="9526" y="1852"/>
                  </a:cubicBezTo>
                  <a:cubicBezTo>
                    <a:pt x="9550" y="2328"/>
                    <a:pt x="9693" y="3876"/>
                    <a:pt x="9335" y="5579"/>
                  </a:cubicBezTo>
                  <a:cubicBezTo>
                    <a:pt x="9073" y="6745"/>
                    <a:pt x="8645" y="7757"/>
                    <a:pt x="8049" y="8591"/>
                  </a:cubicBezTo>
                  <a:cubicBezTo>
                    <a:pt x="7311" y="9603"/>
                    <a:pt x="6299" y="10341"/>
                    <a:pt x="5049" y="10770"/>
                  </a:cubicBezTo>
                  <a:cubicBezTo>
                    <a:pt x="3799" y="10341"/>
                    <a:pt x="2775" y="9603"/>
                    <a:pt x="2037" y="8591"/>
                  </a:cubicBezTo>
                  <a:cubicBezTo>
                    <a:pt x="1430" y="7781"/>
                    <a:pt x="989" y="6745"/>
                    <a:pt x="751" y="5579"/>
                  </a:cubicBezTo>
                  <a:cubicBezTo>
                    <a:pt x="394" y="3876"/>
                    <a:pt x="537" y="2316"/>
                    <a:pt x="596" y="1852"/>
                  </a:cubicBezTo>
                  <a:cubicBezTo>
                    <a:pt x="1406" y="1828"/>
                    <a:pt x="2418" y="1554"/>
                    <a:pt x="3573" y="1066"/>
                  </a:cubicBezTo>
                  <a:cubicBezTo>
                    <a:pt x="4299" y="757"/>
                    <a:pt x="4847" y="435"/>
                    <a:pt x="5061" y="316"/>
                  </a:cubicBezTo>
                  <a:close/>
                  <a:moveTo>
                    <a:pt x="5037" y="1"/>
                  </a:moveTo>
                  <a:cubicBezTo>
                    <a:pt x="5007" y="1"/>
                    <a:pt x="4978" y="7"/>
                    <a:pt x="4954" y="18"/>
                  </a:cubicBezTo>
                  <a:cubicBezTo>
                    <a:pt x="4930" y="30"/>
                    <a:pt x="2370" y="1554"/>
                    <a:pt x="441" y="1554"/>
                  </a:cubicBezTo>
                  <a:cubicBezTo>
                    <a:pt x="370" y="1554"/>
                    <a:pt x="299" y="1614"/>
                    <a:pt x="287" y="1685"/>
                  </a:cubicBezTo>
                  <a:cubicBezTo>
                    <a:pt x="263" y="1769"/>
                    <a:pt x="1" y="3578"/>
                    <a:pt x="429" y="5650"/>
                  </a:cubicBezTo>
                  <a:cubicBezTo>
                    <a:pt x="680" y="6865"/>
                    <a:pt x="1132" y="7924"/>
                    <a:pt x="1775" y="8793"/>
                  </a:cubicBezTo>
                  <a:cubicBezTo>
                    <a:pt x="2561" y="9877"/>
                    <a:pt x="3644" y="10651"/>
                    <a:pt x="5001" y="11091"/>
                  </a:cubicBezTo>
                  <a:cubicBezTo>
                    <a:pt x="5013" y="11091"/>
                    <a:pt x="5025" y="11115"/>
                    <a:pt x="5049" y="11115"/>
                  </a:cubicBezTo>
                  <a:cubicBezTo>
                    <a:pt x="5061" y="11115"/>
                    <a:pt x="5073" y="11115"/>
                    <a:pt x="5085" y="11091"/>
                  </a:cubicBezTo>
                  <a:cubicBezTo>
                    <a:pt x="6430" y="10651"/>
                    <a:pt x="7514" y="9877"/>
                    <a:pt x="8323" y="8793"/>
                  </a:cubicBezTo>
                  <a:cubicBezTo>
                    <a:pt x="8954" y="7924"/>
                    <a:pt x="9407" y="6865"/>
                    <a:pt x="9657" y="5650"/>
                  </a:cubicBezTo>
                  <a:cubicBezTo>
                    <a:pt x="10085" y="3566"/>
                    <a:pt x="9812" y="1769"/>
                    <a:pt x="9788" y="1685"/>
                  </a:cubicBezTo>
                  <a:cubicBezTo>
                    <a:pt x="9776" y="1614"/>
                    <a:pt x="9716" y="1554"/>
                    <a:pt x="9633" y="1554"/>
                  </a:cubicBezTo>
                  <a:cubicBezTo>
                    <a:pt x="7692" y="1554"/>
                    <a:pt x="5132" y="42"/>
                    <a:pt x="5121" y="18"/>
                  </a:cubicBezTo>
                  <a:cubicBezTo>
                    <a:pt x="5097" y="7"/>
                    <a:pt x="5067" y="1"/>
                    <a:pt x="503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02" name="Google Shape;13702;p64"/>
          <p:cNvGrpSpPr/>
          <p:nvPr/>
        </p:nvGrpSpPr>
        <p:grpSpPr>
          <a:xfrm>
            <a:off x="2302788" y="1505981"/>
            <a:ext cx="336188" cy="335425"/>
            <a:chOff x="2302788" y="1505981"/>
            <a:chExt cx="336188" cy="335425"/>
          </a:xfrm>
        </p:grpSpPr>
        <p:sp>
          <p:nvSpPr>
            <p:cNvPr id="13703" name="Google Shape;13703;p64"/>
            <p:cNvSpPr/>
            <p:nvPr/>
          </p:nvSpPr>
          <p:spPr>
            <a:xfrm>
              <a:off x="2302788" y="1505981"/>
              <a:ext cx="336188" cy="335425"/>
            </a:xfrm>
            <a:custGeom>
              <a:avLst/>
              <a:gdLst/>
              <a:ahLst/>
              <a:cxnLst/>
              <a:rect l="l" t="t" r="r" b="b"/>
              <a:pathLst>
                <a:path w="10562" h="10538" extrusionOk="0">
                  <a:moveTo>
                    <a:pt x="5275" y="1"/>
                  </a:moveTo>
                  <a:cubicBezTo>
                    <a:pt x="3858" y="1"/>
                    <a:pt x="2536" y="548"/>
                    <a:pt x="1548" y="1548"/>
                  </a:cubicBezTo>
                  <a:cubicBezTo>
                    <a:pt x="548" y="2549"/>
                    <a:pt x="0" y="3870"/>
                    <a:pt x="0" y="5263"/>
                  </a:cubicBezTo>
                  <a:cubicBezTo>
                    <a:pt x="0" y="6668"/>
                    <a:pt x="548" y="8002"/>
                    <a:pt x="1548" y="8990"/>
                  </a:cubicBezTo>
                  <a:cubicBezTo>
                    <a:pt x="2548" y="9990"/>
                    <a:pt x="3870" y="10538"/>
                    <a:pt x="5275" y="10538"/>
                  </a:cubicBezTo>
                  <a:cubicBezTo>
                    <a:pt x="6680" y="10538"/>
                    <a:pt x="8013" y="9990"/>
                    <a:pt x="8989" y="8990"/>
                  </a:cubicBezTo>
                  <a:cubicBezTo>
                    <a:pt x="9990" y="7990"/>
                    <a:pt x="10537" y="6668"/>
                    <a:pt x="10537" y="5263"/>
                  </a:cubicBezTo>
                  <a:cubicBezTo>
                    <a:pt x="10561" y="5192"/>
                    <a:pt x="10549" y="5085"/>
                    <a:pt x="10549" y="5001"/>
                  </a:cubicBezTo>
                  <a:cubicBezTo>
                    <a:pt x="10549" y="4906"/>
                    <a:pt x="10478" y="4847"/>
                    <a:pt x="10394" y="4847"/>
                  </a:cubicBezTo>
                  <a:cubicBezTo>
                    <a:pt x="10299" y="4847"/>
                    <a:pt x="10240" y="4930"/>
                    <a:pt x="10240" y="5013"/>
                  </a:cubicBezTo>
                  <a:lnTo>
                    <a:pt x="10240" y="5287"/>
                  </a:lnTo>
                  <a:cubicBezTo>
                    <a:pt x="10240" y="6609"/>
                    <a:pt x="9716" y="7859"/>
                    <a:pt x="8787" y="8799"/>
                  </a:cubicBezTo>
                  <a:cubicBezTo>
                    <a:pt x="7846" y="9728"/>
                    <a:pt x="6596" y="10252"/>
                    <a:pt x="5275" y="10252"/>
                  </a:cubicBezTo>
                  <a:cubicBezTo>
                    <a:pt x="3941" y="10252"/>
                    <a:pt x="2691" y="9728"/>
                    <a:pt x="1762" y="8799"/>
                  </a:cubicBezTo>
                  <a:cubicBezTo>
                    <a:pt x="822" y="7859"/>
                    <a:pt x="298" y="6609"/>
                    <a:pt x="298" y="5287"/>
                  </a:cubicBezTo>
                  <a:cubicBezTo>
                    <a:pt x="298" y="3954"/>
                    <a:pt x="822" y="2703"/>
                    <a:pt x="1762" y="1775"/>
                  </a:cubicBezTo>
                  <a:cubicBezTo>
                    <a:pt x="2691" y="834"/>
                    <a:pt x="3941" y="310"/>
                    <a:pt x="5275" y="310"/>
                  </a:cubicBezTo>
                  <a:cubicBezTo>
                    <a:pt x="6442" y="310"/>
                    <a:pt x="7573" y="727"/>
                    <a:pt x="8466" y="1477"/>
                  </a:cubicBezTo>
                  <a:cubicBezTo>
                    <a:pt x="9347" y="2215"/>
                    <a:pt x="9942" y="3239"/>
                    <a:pt x="10156" y="4370"/>
                  </a:cubicBezTo>
                  <a:cubicBezTo>
                    <a:pt x="10167" y="4454"/>
                    <a:pt x="10223" y="4492"/>
                    <a:pt x="10301" y="4492"/>
                  </a:cubicBezTo>
                  <a:cubicBezTo>
                    <a:pt x="10312" y="4492"/>
                    <a:pt x="10323" y="4491"/>
                    <a:pt x="10335" y="4489"/>
                  </a:cubicBezTo>
                  <a:cubicBezTo>
                    <a:pt x="10418" y="4477"/>
                    <a:pt x="10466" y="4406"/>
                    <a:pt x="10454" y="4311"/>
                  </a:cubicBezTo>
                  <a:cubicBezTo>
                    <a:pt x="10228" y="3108"/>
                    <a:pt x="9597" y="2025"/>
                    <a:pt x="8668" y="1239"/>
                  </a:cubicBezTo>
                  <a:cubicBezTo>
                    <a:pt x="7716" y="429"/>
                    <a:pt x="6501" y="1"/>
                    <a:pt x="527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4" name="Google Shape;13704;p64"/>
            <p:cNvSpPr/>
            <p:nvPr/>
          </p:nvSpPr>
          <p:spPr>
            <a:xfrm>
              <a:off x="2327806" y="1530618"/>
              <a:ext cx="287266" cy="286916"/>
            </a:xfrm>
            <a:custGeom>
              <a:avLst/>
              <a:gdLst/>
              <a:ahLst/>
              <a:cxnLst/>
              <a:rect l="l" t="t" r="r" b="b"/>
              <a:pathLst>
                <a:path w="9025" h="9014" extrusionOk="0">
                  <a:moveTo>
                    <a:pt x="4513" y="1"/>
                  </a:moveTo>
                  <a:cubicBezTo>
                    <a:pt x="3870" y="1"/>
                    <a:pt x="3262" y="132"/>
                    <a:pt x="2679" y="382"/>
                  </a:cubicBezTo>
                  <a:cubicBezTo>
                    <a:pt x="2119" y="644"/>
                    <a:pt x="1619" y="1001"/>
                    <a:pt x="1215" y="1441"/>
                  </a:cubicBezTo>
                  <a:cubicBezTo>
                    <a:pt x="1155" y="1501"/>
                    <a:pt x="1155" y="1608"/>
                    <a:pt x="1226" y="1667"/>
                  </a:cubicBezTo>
                  <a:cubicBezTo>
                    <a:pt x="1255" y="1696"/>
                    <a:pt x="1294" y="1711"/>
                    <a:pt x="1334" y="1711"/>
                  </a:cubicBezTo>
                  <a:cubicBezTo>
                    <a:pt x="1377" y="1711"/>
                    <a:pt x="1422" y="1693"/>
                    <a:pt x="1453" y="1656"/>
                  </a:cubicBezTo>
                  <a:cubicBezTo>
                    <a:pt x="1834" y="1239"/>
                    <a:pt x="2298" y="894"/>
                    <a:pt x="2822" y="667"/>
                  </a:cubicBezTo>
                  <a:cubicBezTo>
                    <a:pt x="3358" y="429"/>
                    <a:pt x="3929" y="310"/>
                    <a:pt x="4524" y="310"/>
                  </a:cubicBezTo>
                  <a:cubicBezTo>
                    <a:pt x="6834" y="310"/>
                    <a:pt x="8727" y="2191"/>
                    <a:pt x="8727" y="4513"/>
                  </a:cubicBezTo>
                  <a:cubicBezTo>
                    <a:pt x="8727" y="6811"/>
                    <a:pt x="6846" y="8704"/>
                    <a:pt x="4524" y="8704"/>
                  </a:cubicBezTo>
                  <a:cubicBezTo>
                    <a:pt x="2227" y="8704"/>
                    <a:pt x="333" y="6835"/>
                    <a:pt x="333" y="4513"/>
                  </a:cubicBezTo>
                  <a:cubicBezTo>
                    <a:pt x="333" y="3692"/>
                    <a:pt x="572" y="2882"/>
                    <a:pt x="1036" y="2203"/>
                  </a:cubicBezTo>
                  <a:cubicBezTo>
                    <a:pt x="1048" y="2132"/>
                    <a:pt x="1036" y="2037"/>
                    <a:pt x="953" y="1977"/>
                  </a:cubicBezTo>
                  <a:cubicBezTo>
                    <a:pt x="927" y="1960"/>
                    <a:pt x="900" y="1952"/>
                    <a:pt x="874" y="1952"/>
                  </a:cubicBezTo>
                  <a:cubicBezTo>
                    <a:pt x="827" y="1952"/>
                    <a:pt x="781" y="1979"/>
                    <a:pt x="750" y="2025"/>
                  </a:cubicBezTo>
                  <a:cubicBezTo>
                    <a:pt x="262" y="2751"/>
                    <a:pt x="0" y="3620"/>
                    <a:pt x="0" y="4513"/>
                  </a:cubicBezTo>
                  <a:cubicBezTo>
                    <a:pt x="0" y="5716"/>
                    <a:pt x="464" y="6847"/>
                    <a:pt x="1334" y="7692"/>
                  </a:cubicBezTo>
                  <a:cubicBezTo>
                    <a:pt x="2191" y="8537"/>
                    <a:pt x="3310" y="9014"/>
                    <a:pt x="4513" y="9014"/>
                  </a:cubicBezTo>
                  <a:cubicBezTo>
                    <a:pt x="5715" y="9014"/>
                    <a:pt x="6846" y="8549"/>
                    <a:pt x="7692" y="7692"/>
                  </a:cubicBezTo>
                  <a:cubicBezTo>
                    <a:pt x="8549" y="6835"/>
                    <a:pt x="9025" y="5716"/>
                    <a:pt x="9025" y="4513"/>
                  </a:cubicBezTo>
                  <a:cubicBezTo>
                    <a:pt x="9025" y="3299"/>
                    <a:pt x="8561" y="2168"/>
                    <a:pt x="7692" y="1322"/>
                  </a:cubicBezTo>
                  <a:cubicBezTo>
                    <a:pt x="6846" y="477"/>
                    <a:pt x="5715" y="1"/>
                    <a:pt x="4513"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5" name="Google Shape;13705;p64"/>
            <p:cNvSpPr/>
            <p:nvPr/>
          </p:nvSpPr>
          <p:spPr>
            <a:xfrm>
              <a:off x="2352061" y="1669333"/>
              <a:ext cx="16679" cy="9485"/>
            </a:xfrm>
            <a:custGeom>
              <a:avLst/>
              <a:gdLst/>
              <a:ahLst/>
              <a:cxnLst/>
              <a:rect l="l" t="t" r="r" b="b"/>
              <a:pathLst>
                <a:path w="524" h="298" extrusionOk="0">
                  <a:moveTo>
                    <a:pt x="155" y="0"/>
                  </a:moveTo>
                  <a:cubicBezTo>
                    <a:pt x="60" y="0"/>
                    <a:pt x="0" y="60"/>
                    <a:pt x="0" y="155"/>
                  </a:cubicBezTo>
                  <a:cubicBezTo>
                    <a:pt x="0" y="238"/>
                    <a:pt x="72" y="298"/>
                    <a:pt x="155" y="298"/>
                  </a:cubicBezTo>
                  <a:lnTo>
                    <a:pt x="369" y="298"/>
                  </a:lnTo>
                  <a:cubicBezTo>
                    <a:pt x="464" y="298"/>
                    <a:pt x="524" y="226"/>
                    <a:pt x="524" y="155"/>
                  </a:cubicBezTo>
                  <a:cubicBezTo>
                    <a:pt x="524" y="60"/>
                    <a:pt x="453" y="0"/>
                    <a:pt x="36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6" name="Google Shape;13706;p64"/>
            <p:cNvSpPr/>
            <p:nvPr/>
          </p:nvSpPr>
          <p:spPr>
            <a:xfrm>
              <a:off x="2466871" y="1554490"/>
              <a:ext cx="123946" cy="124328"/>
            </a:xfrm>
            <a:custGeom>
              <a:avLst/>
              <a:gdLst/>
              <a:ahLst/>
              <a:cxnLst/>
              <a:rect l="l" t="t" r="r" b="b"/>
              <a:pathLst>
                <a:path w="3894" h="3906" extrusionOk="0">
                  <a:moveTo>
                    <a:pt x="144" y="1"/>
                  </a:moveTo>
                  <a:cubicBezTo>
                    <a:pt x="48" y="1"/>
                    <a:pt x="1" y="84"/>
                    <a:pt x="1" y="155"/>
                  </a:cubicBezTo>
                  <a:lnTo>
                    <a:pt x="1" y="3751"/>
                  </a:lnTo>
                  <a:cubicBezTo>
                    <a:pt x="1" y="3846"/>
                    <a:pt x="72" y="3906"/>
                    <a:pt x="144" y="3906"/>
                  </a:cubicBezTo>
                  <a:lnTo>
                    <a:pt x="3751" y="3906"/>
                  </a:lnTo>
                  <a:cubicBezTo>
                    <a:pt x="3834" y="3906"/>
                    <a:pt x="3894" y="3834"/>
                    <a:pt x="3894" y="3751"/>
                  </a:cubicBezTo>
                  <a:cubicBezTo>
                    <a:pt x="3894" y="3668"/>
                    <a:pt x="3823" y="3608"/>
                    <a:pt x="3751" y="3608"/>
                  </a:cubicBezTo>
                  <a:lnTo>
                    <a:pt x="310" y="3608"/>
                  </a:lnTo>
                  <a:lnTo>
                    <a:pt x="310" y="155"/>
                  </a:lnTo>
                  <a:lnTo>
                    <a:pt x="298" y="155"/>
                  </a:lnTo>
                  <a:cubicBezTo>
                    <a:pt x="298" y="72"/>
                    <a:pt x="215" y="1"/>
                    <a:pt x="14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7" name="Google Shape;13707;p64"/>
            <p:cNvSpPr/>
            <p:nvPr/>
          </p:nvSpPr>
          <p:spPr>
            <a:xfrm>
              <a:off x="2466107" y="1776950"/>
              <a:ext cx="9517" cy="16711"/>
            </a:xfrm>
            <a:custGeom>
              <a:avLst/>
              <a:gdLst/>
              <a:ahLst/>
              <a:cxnLst/>
              <a:rect l="l" t="t" r="r" b="b"/>
              <a:pathLst>
                <a:path w="299" h="525" extrusionOk="0">
                  <a:moveTo>
                    <a:pt x="156" y="1"/>
                  </a:moveTo>
                  <a:cubicBezTo>
                    <a:pt x="60" y="1"/>
                    <a:pt x="1" y="72"/>
                    <a:pt x="1" y="144"/>
                  </a:cubicBezTo>
                  <a:lnTo>
                    <a:pt x="1" y="370"/>
                  </a:lnTo>
                  <a:cubicBezTo>
                    <a:pt x="1" y="465"/>
                    <a:pt x="84" y="525"/>
                    <a:pt x="156" y="525"/>
                  </a:cubicBezTo>
                  <a:cubicBezTo>
                    <a:pt x="239" y="525"/>
                    <a:pt x="299" y="441"/>
                    <a:pt x="299" y="370"/>
                  </a:cubicBezTo>
                  <a:lnTo>
                    <a:pt x="299" y="144"/>
                  </a:lnTo>
                  <a:cubicBezTo>
                    <a:pt x="299" y="60"/>
                    <a:pt x="227" y="1"/>
                    <a:pt x="1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8" name="Google Shape;13708;p64"/>
            <p:cNvSpPr/>
            <p:nvPr/>
          </p:nvSpPr>
          <p:spPr>
            <a:xfrm>
              <a:off x="2384272" y="1587944"/>
              <a:ext cx="16329" cy="15087"/>
            </a:xfrm>
            <a:custGeom>
              <a:avLst/>
              <a:gdLst/>
              <a:ahLst/>
              <a:cxnLst/>
              <a:rect l="l" t="t" r="r" b="b"/>
              <a:pathLst>
                <a:path w="513" h="474" extrusionOk="0">
                  <a:moveTo>
                    <a:pt x="173" y="0"/>
                  </a:moveTo>
                  <a:cubicBezTo>
                    <a:pt x="131" y="0"/>
                    <a:pt x="89" y="15"/>
                    <a:pt x="60" y="45"/>
                  </a:cubicBezTo>
                  <a:cubicBezTo>
                    <a:pt x="0" y="105"/>
                    <a:pt x="0" y="212"/>
                    <a:pt x="60" y="271"/>
                  </a:cubicBezTo>
                  <a:lnTo>
                    <a:pt x="238" y="426"/>
                  </a:lnTo>
                  <a:cubicBezTo>
                    <a:pt x="274" y="462"/>
                    <a:pt x="310" y="474"/>
                    <a:pt x="345" y="474"/>
                  </a:cubicBezTo>
                  <a:cubicBezTo>
                    <a:pt x="393" y="474"/>
                    <a:pt x="417" y="462"/>
                    <a:pt x="453" y="426"/>
                  </a:cubicBezTo>
                  <a:cubicBezTo>
                    <a:pt x="512" y="367"/>
                    <a:pt x="512" y="271"/>
                    <a:pt x="453" y="212"/>
                  </a:cubicBezTo>
                  <a:lnTo>
                    <a:pt x="286" y="45"/>
                  </a:lnTo>
                  <a:cubicBezTo>
                    <a:pt x="256" y="15"/>
                    <a:pt x="214" y="0"/>
                    <a:pt x="1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9" name="Google Shape;13709;p64"/>
            <p:cNvSpPr/>
            <p:nvPr/>
          </p:nvSpPr>
          <p:spPr>
            <a:xfrm>
              <a:off x="2541544" y="1745216"/>
              <a:ext cx="15565" cy="15087"/>
            </a:xfrm>
            <a:custGeom>
              <a:avLst/>
              <a:gdLst/>
              <a:ahLst/>
              <a:cxnLst/>
              <a:rect l="l" t="t" r="r" b="b"/>
              <a:pathLst>
                <a:path w="489" h="474" extrusionOk="0">
                  <a:moveTo>
                    <a:pt x="171" y="0"/>
                  </a:moveTo>
                  <a:cubicBezTo>
                    <a:pt x="131" y="0"/>
                    <a:pt x="89" y="15"/>
                    <a:pt x="60" y="45"/>
                  </a:cubicBezTo>
                  <a:cubicBezTo>
                    <a:pt x="0" y="105"/>
                    <a:pt x="0" y="212"/>
                    <a:pt x="60" y="259"/>
                  </a:cubicBezTo>
                  <a:lnTo>
                    <a:pt x="226" y="426"/>
                  </a:lnTo>
                  <a:cubicBezTo>
                    <a:pt x="250" y="462"/>
                    <a:pt x="298" y="474"/>
                    <a:pt x="334" y="474"/>
                  </a:cubicBezTo>
                  <a:cubicBezTo>
                    <a:pt x="369" y="474"/>
                    <a:pt x="405" y="462"/>
                    <a:pt x="429" y="426"/>
                  </a:cubicBezTo>
                  <a:cubicBezTo>
                    <a:pt x="488" y="367"/>
                    <a:pt x="488" y="259"/>
                    <a:pt x="429" y="212"/>
                  </a:cubicBezTo>
                  <a:lnTo>
                    <a:pt x="274" y="45"/>
                  </a:lnTo>
                  <a:cubicBezTo>
                    <a:pt x="250" y="15"/>
                    <a:pt x="212" y="0"/>
                    <a:pt x="17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0" name="Google Shape;13710;p64"/>
            <p:cNvSpPr/>
            <p:nvPr/>
          </p:nvSpPr>
          <p:spPr>
            <a:xfrm>
              <a:off x="2541544" y="1587944"/>
              <a:ext cx="16329" cy="15087"/>
            </a:xfrm>
            <a:custGeom>
              <a:avLst/>
              <a:gdLst/>
              <a:ahLst/>
              <a:cxnLst/>
              <a:rect l="l" t="t" r="r" b="b"/>
              <a:pathLst>
                <a:path w="513" h="474" extrusionOk="0">
                  <a:moveTo>
                    <a:pt x="340" y="0"/>
                  </a:moveTo>
                  <a:cubicBezTo>
                    <a:pt x="298" y="0"/>
                    <a:pt x="256" y="15"/>
                    <a:pt x="226" y="45"/>
                  </a:cubicBezTo>
                  <a:lnTo>
                    <a:pt x="60" y="212"/>
                  </a:lnTo>
                  <a:cubicBezTo>
                    <a:pt x="0" y="271"/>
                    <a:pt x="0" y="367"/>
                    <a:pt x="60" y="426"/>
                  </a:cubicBezTo>
                  <a:cubicBezTo>
                    <a:pt x="95" y="462"/>
                    <a:pt x="131" y="474"/>
                    <a:pt x="167" y="474"/>
                  </a:cubicBezTo>
                  <a:cubicBezTo>
                    <a:pt x="215" y="474"/>
                    <a:pt x="250" y="462"/>
                    <a:pt x="286" y="426"/>
                  </a:cubicBezTo>
                  <a:lnTo>
                    <a:pt x="453" y="271"/>
                  </a:lnTo>
                  <a:cubicBezTo>
                    <a:pt x="512" y="212"/>
                    <a:pt x="512" y="105"/>
                    <a:pt x="453" y="45"/>
                  </a:cubicBezTo>
                  <a:cubicBezTo>
                    <a:pt x="423" y="15"/>
                    <a:pt x="381" y="0"/>
                    <a:pt x="34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1" name="Google Shape;13711;p64"/>
            <p:cNvSpPr/>
            <p:nvPr/>
          </p:nvSpPr>
          <p:spPr>
            <a:xfrm>
              <a:off x="2384654" y="1744452"/>
              <a:ext cx="15947" cy="15469"/>
            </a:xfrm>
            <a:custGeom>
              <a:avLst/>
              <a:gdLst/>
              <a:ahLst/>
              <a:cxnLst/>
              <a:rect l="l" t="t" r="r" b="b"/>
              <a:pathLst>
                <a:path w="501" h="486" extrusionOk="0">
                  <a:moveTo>
                    <a:pt x="327" y="1"/>
                  </a:moveTo>
                  <a:cubicBezTo>
                    <a:pt x="286" y="1"/>
                    <a:pt x="244" y="16"/>
                    <a:pt x="214" y="45"/>
                  </a:cubicBezTo>
                  <a:lnTo>
                    <a:pt x="48" y="212"/>
                  </a:lnTo>
                  <a:cubicBezTo>
                    <a:pt x="0" y="272"/>
                    <a:pt x="0" y="379"/>
                    <a:pt x="60" y="438"/>
                  </a:cubicBezTo>
                  <a:cubicBezTo>
                    <a:pt x="95" y="462"/>
                    <a:pt x="143" y="486"/>
                    <a:pt x="167" y="486"/>
                  </a:cubicBezTo>
                  <a:cubicBezTo>
                    <a:pt x="202" y="486"/>
                    <a:pt x="238" y="462"/>
                    <a:pt x="274" y="438"/>
                  </a:cubicBezTo>
                  <a:lnTo>
                    <a:pt x="441" y="272"/>
                  </a:lnTo>
                  <a:cubicBezTo>
                    <a:pt x="500" y="212"/>
                    <a:pt x="500" y="105"/>
                    <a:pt x="441" y="45"/>
                  </a:cubicBezTo>
                  <a:cubicBezTo>
                    <a:pt x="411" y="16"/>
                    <a:pt x="369" y="1"/>
                    <a:pt x="3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2" name="Google Shape;13712;p64"/>
            <p:cNvSpPr/>
            <p:nvPr/>
          </p:nvSpPr>
          <p:spPr>
            <a:xfrm>
              <a:off x="2360018" y="1624548"/>
              <a:ext cx="18207" cy="12605"/>
            </a:xfrm>
            <a:custGeom>
              <a:avLst/>
              <a:gdLst/>
              <a:ahLst/>
              <a:cxnLst/>
              <a:rect l="l" t="t" r="r" b="b"/>
              <a:pathLst>
                <a:path w="572" h="396" extrusionOk="0">
                  <a:moveTo>
                    <a:pt x="179" y="0"/>
                  </a:moveTo>
                  <a:cubicBezTo>
                    <a:pt x="125" y="0"/>
                    <a:pt x="71" y="33"/>
                    <a:pt x="36" y="86"/>
                  </a:cubicBezTo>
                  <a:cubicBezTo>
                    <a:pt x="0" y="157"/>
                    <a:pt x="36" y="252"/>
                    <a:pt x="107" y="288"/>
                  </a:cubicBezTo>
                  <a:lnTo>
                    <a:pt x="322" y="383"/>
                  </a:lnTo>
                  <a:cubicBezTo>
                    <a:pt x="333" y="395"/>
                    <a:pt x="357" y="395"/>
                    <a:pt x="381" y="395"/>
                  </a:cubicBezTo>
                  <a:cubicBezTo>
                    <a:pt x="429" y="395"/>
                    <a:pt x="500" y="371"/>
                    <a:pt x="524" y="312"/>
                  </a:cubicBezTo>
                  <a:cubicBezTo>
                    <a:pt x="572" y="217"/>
                    <a:pt x="524" y="133"/>
                    <a:pt x="453" y="98"/>
                  </a:cubicBezTo>
                  <a:lnTo>
                    <a:pt x="238" y="14"/>
                  </a:lnTo>
                  <a:cubicBezTo>
                    <a:pt x="219" y="5"/>
                    <a:pt x="199" y="0"/>
                    <a:pt x="1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3" name="Google Shape;13713;p64"/>
            <p:cNvSpPr/>
            <p:nvPr/>
          </p:nvSpPr>
          <p:spPr>
            <a:xfrm>
              <a:off x="2564271" y="1711126"/>
              <a:ext cx="17475" cy="12796"/>
            </a:xfrm>
            <a:custGeom>
              <a:avLst/>
              <a:gdLst/>
              <a:ahLst/>
              <a:cxnLst/>
              <a:rect l="l" t="t" r="r" b="b"/>
              <a:pathLst>
                <a:path w="549" h="402" extrusionOk="0">
                  <a:moveTo>
                    <a:pt x="184" y="0"/>
                  </a:moveTo>
                  <a:cubicBezTo>
                    <a:pt x="125" y="0"/>
                    <a:pt x="63" y="29"/>
                    <a:pt x="36" y="92"/>
                  </a:cubicBezTo>
                  <a:cubicBezTo>
                    <a:pt x="1" y="164"/>
                    <a:pt x="36" y="247"/>
                    <a:pt x="108" y="295"/>
                  </a:cubicBezTo>
                  <a:lnTo>
                    <a:pt x="310" y="390"/>
                  </a:lnTo>
                  <a:cubicBezTo>
                    <a:pt x="334" y="402"/>
                    <a:pt x="358" y="402"/>
                    <a:pt x="370" y="402"/>
                  </a:cubicBezTo>
                  <a:cubicBezTo>
                    <a:pt x="429" y="402"/>
                    <a:pt x="489" y="366"/>
                    <a:pt x="524" y="307"/>
                  </a:cubicBezTo>
                  <a:cubicBezTo>
                    <a:pt x="548" y="235"/>
                    <a:pt x="524" y="140"/>
                    <a:pt x="453" y="104"/>
                  </a:cubicBezTo>
                  <a:lnTo>
                    <a:pt x="239" y="9"/>
                  </a:lnTo>
                  <a:cubicBezTo>
                    <a:pt x="221" y="3"/>
                    <a:pt x="203"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4" name="Google Shape;13714;p64"/>
            <p:cNvSpPr/>
            <p:nvPr/>
          </p:nvSpPr>
          <p:spPr>
            <a:xfrm>
              <a:off x="2507805" y="1563912"/>
              <a:ext cx="14069" cy="16392"/>
            </a:xfrm>
            <a:custGeom>
              <a:avLst/>
              <a:gdLst/>
              <a:ahLst/>
              <a:cxnLst/>
              <a:rect l="l" t="t" r="r" b="b"/>
              <a:pathLst>
                <a:path w="442" h="515" extrusionOk="0">
                  <a:moveTo>
                    <a:pt x="273" y="0"/>
                  </a:moveTo>
                  <a:cubicBezTo>
                    <a:pt x="215" y="0"/>
                    <a:pt x="154" y="33"/>
                    <a:pt x="120" y="86"/>
                  </a:cubicBezTo>
                  <a:lnTo>
                    <a:pt x="36" y="288"/>
                  </a:lnTo>
                  <a:cubicBezTo>
                    <a:pt x="1" y="371"/>
                    <a:pt x="36" y="455"/>
                    <a:pt x="108" y="502"/>
                  </a:cubicBezTo>
                  <a:cubicBezTo>
                    <a:pt x="120" y="514"/>
                    <a:pt x="155" y="514"/>
                    <a:pt x="167" y="514"/>
                  </a:cubicBezTo>
                  <a:cubicBezTo>
                    <a:pt x="227" y="514"/>
                    <a:pt x="286" y="490"/>
                    <a:pt x="322" y="431"/>
                  </a:cubicBezTo>
                  <a:lnTo>
                    <a:pt x="405" y="217"/>
                  </a:lnTo>
                  <a:cubicBezTo>
                    <a:pt x="441" y="145"/>
                    <a:pt x="405" y="50"/>
                    <a:pt x="334" y="14"/>
                  </a:cubicBezTo>
                  <a:cubicBezTo>
                    <a:pt x="315" y="5"/>
                    <a:pt x="294" y="0"/>
                    <a:pt x="27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5" name="Google Shape;13715;p64"/>
            <p:cNvSpPr/>
            <p:nvPr/>
          </p:nvSpPr>
          <p:spPr>
            <a:xfrm>
              <a:off x="2420654" y="1767974"/>
              <a:ext cx="14419" cy="16583"/>
            </a:xfrm>
            <a:custGeom>
              <a:avLst/>
              <a:gdLst/>
              <a:ahLst/>
              <a:cxnLst/>
              <a:rect l="l" t="t" r="r" b="b"/>
              <a:pathLst>
                <a:path w="453" h="521" extrusionOk="0">
                  <a:moveTo>
                    <a:pt x="290" y="0"/>
                  </a:moveTo>
                  <a:cubicBezTo>
                    <a:pt x="231" y="0"/>
                    <a:pt x="170" y="29"/>
                    <a:pt x="143" y="92"/>
                  </a:cubicBezTo>
                  <a:lnTo>
                    <a:pt x="48" y="295"/>
                  </a:lnTo>
                  <a:cubicBezTo>
                    <a:pt x="0" y="366"/>
                    <a:pt x="48" y="473"/>
                    <a:pt x="119" y="509"/>
                  </a:cubicBezTo>
                  <a:cubicBezTo>
                    <a:pt x="143" y="521"/>
                    <a:pt x="167" y="521"/>
                    <a:pt x="179" y="521"/>
                  </a:cubicBezTo>
                  <a:cubicBezTo>
                    <a:pt x="238" y="521"/>
                    <a:pt x="298" y="485"/>
                    <a:pt x="333" y="426"/>
                  </a:cubicBezTo>
                  <a:lnTo>
                    <a:pt x="417" y="223"/>
                  </a:lnTo>
                  <a:cubicBezTo>
                    <a:pt x="453" y="152"/>
                    <a:pt x="417" y="56"/>
                    <a:pt x="345" y="9"/>
                  </a:cubicBezTo>
                  <a:cubicBezTo>
                    <a:pt x="328" y="3"/>
                    <a:pt x="309" y="0"/>
                    <a:pt x="29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6" name="Google Shape;13716;p64"/>
            <p:cNvSpPr/>
            <p:nvPr/>
          </p:nvSpPr>
          <p:spPr>
            <a:xfrm>
              <a:off x="2422532" y="1562448"/>
              <a:ext cx="14451" cy="17093"/>
            </a:xfrm>
            <a:custGeom>
              <a:avLst/>
              <a:gdLst/>
              <a:ahLst/>
              <a:cxnLst/>
              <a:rect l="l" t="t" r="r" b="b"/>
              <a:pathLst>
                <a:path w="454" h="537" extrusionOk="0">
                  <a:moveTo>
                    <a:pt x="184" y="0"/>
                  </a:moveTo>
                  <a:cubicBezTo>
                    <a:pt x="164" y="0"/>
                    <a:pt x="142" y="4"/>
                    <a:pt x="120" y="13"/>
                  </a:cubicBezTo>
                  <a:cubicBezTo>
                    <a:pt x="48" y="36"/>
                    <a:pt x="1" y="132"/>
                    <a:pt x="36" y="215"/>
                  </a:cubicBezTo>
                  <a:lnTo>
                    <a:pt x="120" y="429"/>
                  </a:lnTo>
                  <a:cubicBezTo>
                    <a:pt x="155" y="501"/>
                    <a:pt x="215" y="536"/>
                    <a:pt x="274" y="536"/>
                  </a:cubicBezTo>
                  <a:cubicBezTo>
                    <a:pt x="286" y="536"/>
                    <a:pt x="322" y="536"/>
                    <a:pt x="334" y="513"/>
                  </a:cubicBezTo>
                  <a:cubicBezTo>
                    <a:pt x="405" y="489"/>
                    <a:pt x="453" y="394"/>
                    <a:pt x="417" y="310"/>
                  </a:cubicBezTo>
                  <a:lnTo>
                    <a:pt x="334" y="96"/>
                  </a:lnTo>
                  <a:cubicBezTo>
                    <a:pt x="307" y="41"/>
                    <a:pt x="251" y="0"/>
                    <a:pt x="1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7" name="Google Shape;13717;p64"/>
            <p:cNvSpPr/>
            <p:nvPr/>
          </p:nvSpPr>
          <p:spPr>
            <a:xfrm>
              <a:off x="2505545" y="1768770"/>
              <a:ext cx="14037" cy="16552"/>
            </a:xfrm>
            <a:custGeom>
              <a:avLst/>
              <a:gdLst/>
              <a:ahLst/>
              <a:cxnLst/>
              <a:rect l="l" t="t" r="r" b="b"/>
              <a:pathLst>
                <a:path w="441" h="520" extrusionOk="0">
                  <a:moveTo>
                    <a:pt x="195" y="0"/>
                  </a:moveTo>
                  <a:cubicBezTo>
                    <a:pt x="171" y="0"/>
                    <a:pt x="146" y="6"/>
                    <a:pt x="119" y="20"/>
                  </a:cubicBezTo>
                  <a:cubicBezTo>
                    <a:pt x="48" y="43"/>
                    <a:pt x="0" y="139"/>
                    <a:pt x="24" y="222"/>
                  </a:cubicBezTo>
                  <a:lnTo>
                    <a:pt x="119" y="436"/>
                  </a:lnTo>
                  <a:cubicBezTo>
                    <a:pt x="155" y="496"/>
                    <a:pt x="214" y="520"/>
                    <a:pt x="274" y="520"/>
                  </a:cubicBezTo>
                  <a:cubicBezTo>
                    <a:pt x="286" y="520"/>
                    <a:pt x="310" y="520"/>
                    <a:pt x="322" y="508"/>
                  </a:cubicBezTo>
                  <a:cubicBezTo>
                    <a:pt x="405" y="472"/>
                    <a:pt x="441" y="389"/>
                    <a:pt x="417" y="293"/>
                  </a:cubicBezTo>
                  <a:lnTo>
                    <a:pt x="322" y="91"/>
                  </a:lnTo>
                  <a:cubicBezTo>
                    <a:pt x="304" y="39"/>
                    <a:pt x="256" y="0"/>
                    <a:pt x="19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8" name="Google Shape;13718;p64"/>
            <p:cNvSpPr/>
            <p:nvPr/>
          </p:nvSpPr>
          <p:spPr>
            <a:xfrm>
              <a:off x="2565417" y="1625885"/>
              <a:ext cx="17825" cy="13146"/>
            </a:xfrm>
            <a:custGeom>
              <a:avLst/>
              <a:gdLst/>
              <a:ahLst/>
              <a:cxnLst/>
              <a:rect l="l" t="t" r="r" b="b"/>
              <a:pathLst>
                <a:path w="560" h="413" extrusionOk="0">
                  <a:moveTo>
                    <a:pt x="378" y="1"/>
                  </a:moveTo>
                  <a:cubicBezTo>
                    <a:pt x="360" y="1"/>
                    <a:pt x="341" y="3"/>
                    <a:pt x="322" y="8"/>
                  </a:cubicBezTo>
                  <a:lnTo>
                    <a:pt x="119" y="103"/>
                  </a:lnTo>
                  <a:cubicBezTo>
                    <a:pt x="36" y="127"/>
                    <a:pt x="0" y="222"/>
                    <a:pt x="24" y="306"/>
                  </a:cubicBezTo>
                  <a:cubicBezTo>
                    <a:pt x="60" y="365"/>
                    <a:pt x="96" y="413"/>
                    <a:pt x="179" y="413"/>
                  </a:cubicBezTo>
                  <a:cubicBezTo>
                    <a:pt x="191" y="413"/>
                    <a:pt x="215" y="413"/>
                    <a:pt x="227" y="401"/>
                  </a:cubicBezTo>
                  <a:lnTo>
                    <a:pt x="441" y="306"/>
                  </a:lnTo>
                  <a:cubicBezTo>
                    <a:pt x="512" y="282"/>
                    <a:pt x="560" y="187"/>
                    <a:pt x="524" y="103"/>
                  </a:cubicBezTo>
                  <a:cubicBezTo>
                    <a:pt x="505" y="37"/>
                    <a:pt x="449" y="1"/>
                    <a:pt x="37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9" name="Google Shape;13719;p64"/>
            <p:cNvSpPr/>
            <p:nvPr/>
          </p:nvSpPr>
          <p:spPr>
            <a:xfrm>
              <a:off x="2359254" y="1709312"/>
              <a:ext cx="17825" cy="12732"/>
            </a:xfrm>
            <a:custGeom>
              <a:avLst/>
              <a:gdLst/>
              <a:ahLst/>
              <a:cxnLst/>
              <a:rect l="l" t="t" r="r" b="b"/>
              <a:pathLst>
                <a:path w="560" h="400" extrusionOk="0">
                  <a:moveTo>
                    <a:pt x="372" y="0"/>
                  </a:moveTo>
                  <a:cubicBezTo>
                    <a:pt x="356" y="0"/>
                    <a:pt x="339" y="2"/>
                    <a:pt x="322" y="6"/>
                  </a:cubicBezTo>
                  <a:lnTo>
                    <a:pt x="119" y="102"/>
                  </a:lnTo>
                  <a:cubicBezTo>
                    <a:pt x="48" y="125"/>
                    <a:pt x="0" y="221"/>
                    <a:pt x="24" y="304"/>
                  </a:cubicBezTo>
                  <a:cubicBezTo>
                    <a:pt x="60" y="364"/>
                    <a:pt x="119" y="399"/>
                    <a:pt x="179" y="399"/>
                  </a:cubicBezTo>
                  <a:cubicBezTo>
                    <a:pt x="191" y="399"/>
                    <a:pt x="227" y="399"/>
                    <a:pt x="238" y="387"/>
                  </a:cubicBezTo>
                  <a:lnTo>
                    <a:pt x="441" y="292"/>
                  </a:lnTo>
                  <a:cubicBezTo>
                    <a:pt x="512" y="268"/>
                    <a:pt x="560" y="173"/>
                    <a:pt x="536" y="90"/>
                  </a:cubicBezTo>
                  <a:cubicBezTo>
                    <a:pt x="507" y="41"/>
                    <a:pt x="445" y="0"/>
                    <a:pt x="3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20" name="Google Shape;13720;p64"/>
          <p:cNvGrpSpPr/>
          <p:nvPr/>
        </p:nvGrpSpPr>
        <p:grpSpPr>
          <a:xfrm>
            <a:off x="2780301" y="1521896"/>
            <a:ext cx="333133" cy="321037"/>
            <a:chOff x="2780301" y="1521896"/>
            <a:chExt cx="333133" cy="321037"/>
          </a:xfrm>
        </p:grpSpPr>
        <p:sp>
          <p:nvSpPr>
            <p:cNvPr id="13721" name="Google Shape;13721;p64"/>
            <p:cNvSpPr/>
            <p:nvPr/>
          </p:nvSpPr>
          <p:spPr>
            <a:xfrm>
              <a:off x="3009573" y="1542745"/>
              <a:ext cx="72031" cy="9517"/>
            </a:xfrm>
            <a:custGeom>
              <a:avLst/>
              <a:gdLst/>
              <a:ahLst/>
              <a:cxnLst/>
              <a:rect l="l" t="t" r="r" b="b"/>
              <a:pathLst>
                <a:path w="2263" h="299" extrusionOk="0">
                  <a:moveTo>
                    <a:pt x="155" y="1"/>
                  </a:moveTo>
                  <a:cubicBezTo>
                    <a:pt x="60" y="1"/>
                    <a:pt x="0" y="84"/>
                    <a:pt x="0" y="155"/>
                  </a:cubicBezTo>
                  <a:cubicBezTo>
                    <a:pt x="0" y="227"/>
                    <a:pt x="72" y="298"/>
                    <a:pt x="155" y="298"/>
                  </a:cubicBezTo>
                  <a:lnTo>
                    <a:pt x="2120" y="298"/>
                  </a:lnTo>
                  <a:cubicBezTo>
                    <a:pt x="2203" y="298"/>
                    <a:pt x="2263" y="227"/>
                    <a:pt x="2263" y="155"/>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2" name="Google Shape;13722;p64"/>
            <p:cNvSpPr/>
            <p:nvPr/>
          </p:nvSpPr>
          <p:spPr>
            <a:xfrm>
              <a:off x="2967876" y="1542745"/>
              <a:ext cx="30366" cy="9517"/>
            </a:xfrm>
            <a:custGeom>
              <a:avLst/>
              <a:gdLst/>
              <a:ahLst/>
              <a:cxnLst/>
              <a:rect l="l" t="t" r="r" b="b"/>
              <a:pathLst>
                <a:path w="954" h="299" extrusionOk="0">
                  <a:moveTo>
                    <a:pt x="156" y="1"/>
                  </a:moveTo>
                  <a:cubicBezTo>
                    <a:pt x="60" y="1"/>
                    <a:pt x="1" y="84"/>
                    <a:pt x="1" y="155"/>
                  </a:cubicBezTo>
                  <a:cubicBezTo>
                    <a:pt x="1" y="227"/>
                    <a:pt x="72" y="298"/>
                    <a:pt x="156" y="298"/>
                  </a:cubicBezTo>
                  <a:lnTo>
                    <a:pt x="810" y="298"/>
                  </a:lnTo>
                  <a:cubicBezTo>
                    <a:pt x="894" y="298"/>
                    <a:pt x="953" y="227"/>
                    <a:pt x="953" y="155"/>
                  </a:cubicBezTo>
                  <a:cubicBezTo>
                    <a:pt x="953" y="60"/>
                    <a:pt x="894" y="1"/>
                    <a:pt x="81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3" name="Google Shape;13723;p64"/>
            <p:cNvSpPr/>
            <p:nvPr/>
          </p:nvSpPr>
          <p:spPr>
            <a:xfrm>
              <a:off x="3061870" y="1563594"/>
              <a:ext cx="19735" cy="9517"/>
            </a:xfrm>
            <a:custGeom>
              <a:avLst/>
              <a:gdLst/>
              <a:ahLst/>
              <a:cxnLst/>
              <a:rect l="l" t="t" r="r" b="b"/>
              <a:pathLst>
                <a:path w="620" h="299" extrusionOk="0">
                  <a:moveTo>
                    <a:pt x="143" y="0"/>
                  </a:moveTo>
                  <a:cubicBezTo>
                    <a:pt x="60" y="0"/>
                    <a:pt x="0" y="84"/>
                    <a:pt x="0" y="155"/>
                  </a:cubicBezTo>
                  <a:cubicBezTo>
                    <a:pt x="0" y="239"/>
                    <a:pt x="72" y="298"/>
                    <a:pt x="143" y="298"/>
                  </a:cubicBezTo>
                  <a:lnTo>
                    <a:pt x="477" y="298"/>
                  </a:lnTo>
                  <a:cubicBezTo>
                    <a:pt x="560" y="298"/>
                    <a:pt x="620" y="227"/>
                    <a:pt x="620" y="155"/>
                  </a:cubicBezTo>
                  <a:cubicBezTo>
                    <a:pt x="620" y="60"/>
                    <a:pt x="560" y="0"/>
                    <a:pt x="47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4" name="Google Shape;13724;p64"/>
            <p:cNvSpPr/>
            <p:nvPr/>
          </p:nvSpPr>
          <p:spPr>
            <a:xfrm>
              <a:off x="2967876" y="1563594"/>
              <a:ext cx="82663" cy="9517"/>
            </a:xfrm>
            <a:custGeom>
              <a:avLst/>
              <a:gdLst/>
              <a:ahLst/>
              <a:cxnLst/>
              <a:rect l="l" t="t" r="r" b="b"/>
              <a:pathLst>
                <a:path w="2597" h="299" extrusionOk="0">
                  <a:moveTo>
                    <a:pt x="156" y="0"/>
                  </a:moveTo>
                  <a:cubicBezTo>
                    <a:pt x="60" y="0"/>
                    <a:pt x="1" y="84"/>
                    <a:pt x="1" y="155"/>
                  </a:cubicBezTo>
                  <a:cubicBezTo>
                    <a:pt x="1" y="239"/>
                    <a:pt x="72" y="298"/>
                    <a:pt x="156" y="298"/>
                  </a:cubicBezTo>
                  <a:lnTo>
                    <a:pt x="2442" y="298"/>
                  </a:lnTo>
                  <a:cubicBezTo>
                    <a:pt x="2537" y="298"/>
                    <a:pt x="2596" y="227"/>
                    <a:pt x="2596" y="155"/>
                  </a:cubicBezTo>
                  <a:cubicBezTo>
                    <a:pt x="2596" y="60"/>
                    <a:pt x="2537" y="0"/>
                    <a:pt x="244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5" name="Google Shape;13725;p64"/>
            <p:cNvSpPr/>
            <p:nvPr/>
          </p:nvSpPr>
          <p:spPr>
            <a:xfrm>
              <a:off x="2936809" y="1521896"/>
              <a:ext cx="176625" cy="96286"/>
            </a:xfrm>
            <a:custGeom>
              <a:avLst/>
              <a:gdLst/>
              <a:ahLst/>
              <a:cxnLst/>
              <a:rect l="l" t="t" r="r" b="b"/>
              <a:pathLst>
                <a:path w="5549" h="3025" extrusionOk="0">
                  <a:moveTo>
                    <a:pt x="4894" y="298"/>
                  </a:moveTo>
                  <a:cubicBezTo>
                    <a:pt x="5084" y="298"/>
                    <a:pt x="5227" y="453"/>
                    <a:pt x="5227" y="644"/>
                  </a:cubicBezTo>
                  <a:lnTo>
                    <a:pt x="5227" y="1620"/>
                  </a:lnTo>
                  <a:cubicBezTo>
                    <a:pt x="5227" y="1822"/>
                    <a:pt x="5084" y="1965"/>
                    <a:pt x="4894" y="1965"/>
                  </a:cubicBezTo>
                  <a:lnTo>
                    <a:pt x="4406" y="1965"/>
                  </a:lnTo>
                  <a:cubicBezTo>
                    <a:pt x="4358" y="1965"/>
                    <a:pt x="4310" y="1989"/>
                    <a:pt x="4287" y="2025"/>
                  </a:cubicBezTo>
                  <a:cubicBezTo>
                    <a:pt x="4251" y="2061"/>
                    <a:pt x="4239" y="2096"/>
                    <a:pt x="4251" y="2144"/>
                  </a:cubicBezTo>
                  <a:lnTo>
                    <a:pt x="4346" y="2727"/>
                  </a:lnTo>
                  <a:lnTo>
                    <a:pt x="4346" y="2739"/>
                  </a:lnTo>
                  <a:lnTo>
                    <a:pt x="4322" y="2739"/>
                  </a:lnTo>
                  <a:lnTo>
                    <a:pt x="3346" y="2001"/>
                  </a:lnTo>
                  <a:cubicBezTo>
                    <a:pt x="3310" y="1977"/>
                    <a:pt x="3287" y="1965"/>
                    <a:pt x="3251" y="1965"/>
                  </a:cubicBezTo>
                  <a:lnTo>
                    <a:pt x="631" y="1965"/>
                  </a:lnTo>
                  <a:cubicBezTo>
                    <a:pt x="441" y="1965"/>
                    <a:pt x="298" y="1822"/>
                    <a:pt x="298" y="1620"/>
                  </a:cubicBezTo>
                  <a:lnTo>
                    <a:pt x="298" y="644"/>
                  </a:lnTo>
                  <a:cubicBezTo>
                    <a:pt x="298" y="453"/>
                    <a:pt x="441" y="298"/>
                    <a:pt x="631" y="298"/>
                  </a:cubicBezTo>
                  <a:close/>
                  <a:moveTo>
                    <a:pt x="631" y="1"/>
                  </a:moveTo>
                  <a:cubicBezTo>
                    <a:pt x="274" y="1"/>
                    <a:pt x="0" y="286"/>
                    <a:pt x="0" y="644"/>
                  </a:cubicBezTo>
                  <a:lnTo>
                    <a:pt x="0" y="1632"/>
                  </a:lnTo>
                  <a:cubicBezTo>
                    <a:pt x="0" y="1989"/>
                    <a:pt x="274" y="2263"/>
                    <a:pt x="631" y="2263"/>
                  </a:cubicBezTo>
                  <a:lnTo>
                    <a:pt x="3203" y="2263"/>
                  </a:lnTo>
                  <a:lnTo>
                    <a:pt x="4144" y="2965"/>
                  </a:lnTo>
                  <a:cubicBezTo>
                    <a:pt x="4203" y="3013"/>
                    <a:pt x="4263" y="3025"/>
                    <a:pt x="4334" y="3025"/>
                  </a:cubicBezTo>
                  <a:cubicBezTo>
                    <a:pt x="4394" y="3025"/>
                    <a:pt x="4453" y="3013"/>
                    <a:pt x="4501" y="2977"/>
                  </a:cubicBezTo>
                  <a:cubicBezTo>
                    <a:pt x="4608" y="2906"/>
                    <a:pt x="4668" y="2787"/>
                    <a:pt x="4656" y="2656"/>
                  </a:cubicBezTo>
                  <a:lnTo>
                    <a:pt x="4596" y="2251"/>
                  </a:lnTo>
                  <a:lnTo>
                    <a:pt x="4906" y="2251"/>
                  </a:lnTo>
                  <a:cubicBezTo>
                    <a:pt x="5263" y="2251"/>
                    <a:pt x="5549" y="1965"/>
                    <a:pt x="5549" y="1608"/>
                  </a:cubicBezTo>
                  <a:lnTo>
                    <a:pt x="5549" y="632"/>
                  </a:lnTo>
                  <a:cubicBezTo>
                    <a:pt x="5525" y="286"/>
                    <a:pt x="5251" y="1"/>
                    <a:pt x="4894"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6" name="Google Shape;13726;p64"/>
            <p:cNvSpPr/>
            <p:nvPr/>
          </p:nvSpPr>
          <p:spPr>
            <a:xfrm>
              <a:off x="2811367" y="1767115"/>
              <a:ext cx="72413" cy="9485"/>
            </a:xfrm>
            <a:custGeom>
              <a:avLst/>
              <a:gdLst/>
              <a:ahLst/>
              <a:cxnLst/>
              <a:rect l="l" t="t" r="r" b="b"/>
              <a:pathLst>
                <a:path w="2275" h="298" extrusionOk="0">
                  <a:moveTo>
                    <a:pt x="155" y="0"/>
                  </a:moveTo>
                  <a:cubicBezTo>
                    <a:pt x="60" y="0"/>
                    <a:pt x="0" y="72"/>
                    <a:pt x="0" y="143"/>
                  </a:cubicBezTo>
                  <a:cubicBezTo>
                    <a:pt x="0" y="214"/>
                    <a:pt x="84" y="298"/>
                    <a:pt x="155" y="298"/>
                  </a:cubicBezTo>
                  <a:lnTo>
                    <a:pt x="2120" y="298"/>
                  </a:lnTo>
                  <a:cubicBezTo>
                    <a:pt x="2215" y="298"/>
                    <a:pt x="2275" y="214"/>
                    <a:pt x="2275" y="143"/>
                  </a:cubicBezTo>
                  <a:cubicBezTo>
                    <a:pt x="2275" y="72"/>
                    <a:pt x="2215" y="0"/>
                    <a:pt x="212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7" name="Google Shape;13727;p64"/>
            <p:cNvSpPr/>
            <p:nvPr/>
          </p:nvSpPr>
          <p:spPr>
            <a:xfrm>
              <a:off x="2894730" y="1767115"/>
              <a:ext cx="20117" cy="9485"/>
            </a:xfrm>
            <a:custGeom>
              <a:avLst/>
              <a:gdLst/>
              <a:ahLst/>
              <a:cxnLst/>
              <a:rect l="l" t="t" r="r" b="b"/>
              <a:pathLst>
                <a:path w="632" h="298" extrusionOk="0">
                  <a:moveTo>
                    <a:pt x="156" y="0"/>
                  </a:moveTo>
                  <a:cubicBezTo>
                    <a:pt x="60" y="0"/>
                    <a:pt x="1" y="72"/>
                    <a:pt x="1" y="143"/>
                  </a:cubicBezTo>
                  <a:cubicBezTo>
                    <a:pt x="1" y="214"/>
                    <a:pt x="84" y="298"/>
                    <a:pt x="156" y="298"/>
                  </a:cubicBezTo>
                  <a:lnTo>
                    <a:pt x="489" y="298"/>
                  </a:lnTo>
                  <a:cubicBezTo>
                    <a:pt x="572" y="298"/>
                    <a:pt x="632" y="214"/>
                    <a:pt x="632" y="143"/>
                  </a:cubicBezTo>
                  <a:cubicBezTo>
                    <a:pt x="632" y="72"/>
                    <a:pt x="572" y="0"/>
                    <a:pt x="48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8" name="Google Shape;13728;p64"/>
            <p:cNvSpPr/>
            <p:nvPr/>
          </p:nvSpPr>
          <p:spPr>
            <a:xfrm>
              <a:off x="2811367" y="1787932"/>
              <a:ext cx="20117" cy="9517"/>
            </a:xfrm>
            <a:custGeom>
              <a:avLst/>
              <a:gdLst/>
              <a:ahLst/>
              <a:cxnLst/>
              <a:rect l="l" t="t" r="r" b="b"/>
              <a:pathLst>
                <a:path w="632" h="299" extrusionOk="0">
                  <a:moveTo>
                    <a:pt x="155" y="1"/>
                  </a:moveTo>
                  <a:cubicBezTo>
                    <a:pt x="60" y="1"/>
                    <a:pt x="0" y="72"/>
                    <a:pt x="0" y="144"/>
                  </a:cubicBezTo>
                  <a:cubicBezTo>
                    <a:pt x="0" y="239"/>
                    <a:pt x="84" y="299"/>
                    <a:pt x="155" y="299"/>
                  </a:cubicBezTo>
                  <a:lnTo>
                    <a:pt x="489" y="299"/>
                  </a:lnTo>
                  <a:cubicBezTo>
                    <a:pt x="572" y="299"/>
                    <a:pt x="631" y="215"/>
                    <a:pt x="631" y="144"/>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9" name="Google Shape;13729;p64"/>
            <p:cNvSpPr/>
            <p:nvPr/>
          </p:nvSpPr>
          <p:spPr>
            <a:xfrm>
              <a:off x="2842815" y="1787932"/>
              <a:ext cx="72031" cy="9517"/>
            </a:xfrm>
            <a:custGeom>
              <a:avLst/>
              <a:gdLst/>
              <a:ahLst/>
              <a:cxnLst/>
              <a:rect l="l" t="t" r="r" b="b"/>
              <a:pathLst>
                <a:path w="2263" h="299" extrusionOk="0">
                  <a:moveTo>
                    <a:pt x="144" y="1"/>
                  </a:moveTo>
                  <a:cubicBezTo>
                    <a:pt x="60" y="1"/>
                    <a:pt x="1" y="72"/>
                    <a:pt x="1" y="144"/>
                  </a:cubicBezTo>
                  <a:cubicBezTo>
                    <a:pt x="1" y="239"/>
                    <a:pt x="72" y="299"/>
                    <a:pt x="144" y="299"/>
                  </a:cubicBezTo>
                  <a:lnTo>
                    <a:pt x="2120" y="299"/>
                  </a:lnTo>
                  <a:cubicBezTo>
                    <a:pt x="2203" y="299"/>
                    <a:pt x="2263" y="215"/>
                    <a:pt x="2263" y="144"/>
                  </a:cubicBezTo>
                  <a:cubicBezTo>
                    <a:pt x="2263" y="60"/>
                    <a:pt x="2203"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0" name="Google Shape;13730;p64"/>
            <p:cNvSpPr/>
            <p:nvPr/>
          </p:nvSpPr>
          <p:spPr>
            <a:xfrm>
              <a:off x="2780301" y="1746266"/>
              <a:ext cx="166375" cy="96668"/>
            </a:xfrm>
            <a:custGeom>
              <a:avLst/>
              <a:gdLst/>
              <a:ahLst/>
              <a:cxnLst/>
              <a:rect l="l" t="t" r="r" b="b"/>
              <a:pathLst>
                <a:path w="5227" h="3037" extrusionOk="0">
                  <a:moveTo>
                    <a:pt x="4572" y="286"/>
                  </a:moveTo>
                  <a:cubicBezTo>
                    <a:pt x="4763" y="286"/>
                    <a:pt x="4917" y="441"/>
                    <a:pt x="4917" y="631"/>
                  </a:cubicBezTo>
                  <a:lnTo>
                    <a:pt x="4917" y="1619"/>
                  </a:lnTo>
                  <a:cubicBezTo>
                    <a:pt x="4917" y="1810"/>
                    <a:pt x="4763" y="1965"/>
                    <a:pt x="4572" y="1965"/>
                  </a:cubicBezTo>
                  <a:lnTo>
                    <a:pt x="2274" y="1965"/>
                  </a:lnTo>
                  <a:cubicBezTo>
                    <a:pt x="2250" y="1965"/>
                    <a:pt x="2215" y="1977"/>
                    <a:pt x="2191" y="1989"/>
                  </a:cubicBezTo>
                  <a:lnTo>
                    <a:pt x="1203" y="2739"/>
                  </a:lnTo>
                  <a:lnTo>
                    <a:pt x="1191" y="2739"/>
                  </a:lnTo>
                  <a:lnTo>
                    <a:pt x="1191" y="2715"/>
                  </a:lnTo>
                  <a:lnTo>
                    <a:pt x="1286" y="2143"/>
                  </a:lnTo>
                  <a:cubicBezTo>
                    <a:pt x="1286" y="2096"/>
                    <a:pt x="1286" y="2048"/>
                    <a:pt x="1250" y="2012"/>
                  </a:cubicBezTo>
                  <a:cubicBezTo>
                    <a:pt x="1215" y="1989"/>
                    <a:pt x="1179" y="1965"/>
                    <a:pt x="1131" y="1965"/>
                  </a:cubicBezTo>
                  <a:lnTo>
                    <a:pt x="643" y="1965"/>
                  </a:lnTo>
                  <a:cubicBezTo>
                    <a:pt x="453" y="1965"/>
                    <a:pt x="298" y="1810"/>
                    <a:pt x="298" y="1619"/>
                  </a:cubicBezTo>
                  <a:lnTo>
                    <a:pt x="298" y="631"/>
                  </a:lnTo>
                  <a:cubicBezTo>
                    <a:pt x="298" y="441"/>
                    <a:pt x="453" y="286"/>
                    <a:pt x="643" y="286"/>
                  </a:cubicBezTo>
                  <a:close/>
                  <a:moveTo>
                    <a:pt x="643" y="0"/>
                  </a:moveTo>
                  <a:cubicBezTo>
                    <a:pt x="286" y="0"/>
                    <a:pt x="0" y="274"/>
                    <a:pt x="0" y="631"/>
                  </a:cubicBezTo>
                  <a:lnTo>
                    <a:pt x="0" y="1619"/>
                  </a:lnTo>
                  <a:cubicBezTo>
                    <a:pt x="0" y="1977"/>
                    <a:pt x="286" y="2262"/>
                    <a:pt x="643" y="2262"/>
                  </a:cubicBezTo>
                  <a:lnTo>
                    <a:pt x="953" y="2262"/>
                  </a:lnTo>
                  <a:lnTo>
                    <a:pt x="893" y="2655"/>
                  </a:lnTo>
                  <a:cubicBezTo>
                    <a:pt x="881" y="2798"/>
                    <a:pt x="929" y="2917"/>
                    <a:pt x="1048" y="2989"/>
                  </a:cubicBezTo>
                  <a:cubicBezTo>
                    <a:pt x="1084" y="3012"/>
                    <a:pt x="1143" y="3036"/>
                    <a:pt x="1203" y="3036"/>
                  </a:cubicBezTo>
                  <a:cubicBezTo>
                    <a:pt x="1262" y="3036"/>
                    <a:pt x="1346" y="3012"/>
                    <a:pt x="1405" y="2977"/>
                  </a:cubicBezTo>
                  <a:lnTo>
                    <a:pt x="2334" y="2274"/>
                  </a:lnTo>
                  <a:lnTo>
                    <a:pt x="4584" y="2274"/>
                  </a:lnTo>
                  <a:cubicBezTo>
                    <a:pt x="4941" y="2274"/>
                    <a:pt x="5227" y="1989"/>
                    <a:pt x="5227" y="1631"/>
                  </a:cubicBezTo>
                  <a:lnTo>
                    <a:pt x="5227" y="655"/>
                  </a:lnTo>
                  <a:cubicBezTo>
                    <a:pt x="5215" y="274"/>
                    <a:pt x="4929" y="0"/>
                    <a:pt x="457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1" name="Google Shape;13731;p64"/>
            <p:cNvSpPr/>
            <p:nvPr/>
          </p:nvSpPr>
          <p:spPr>
            <a:xfrm>
              <a:off x="3020172" y="1720102"/>
              <a:ext cx="61432" cy="9517"/>
            </a:xfrm>
            <a:custGeom>
              <a:avLst/>
              <a:gdLst/>
              <a:ahLst/>
              <a:cxnLst/>
              <a:rect l="l" t="t" r="r" b="b"/>
              <a:pathLst>
                <a:path w="1930" h="299" extrusionOk="0">
                  <a:moveTo>
                    <a:pt x="144" y="1"/>
                  </a:moveTo>
                  <a:cubicBezTo>
                    <a:pt x="60" y="1"/>
                    <a:pt x="1" y="72"/>
                    <a:pt x="1" y="144"/>
                  </a:cubicBezTo>
                  <a:cubicBezTo>
                    <a:pt x="1" y="239"/>
                    <a:pt x="72" y="298"/>
                    <a:pt x="144" y="298"/>
                  </a:cubicBezTo>
                  <a:lnTo>
                    <a:pt x="1787" y="298"/>
                  </a:lnTo>
                  <a:cubicBezTo>
                    <a:pt x="1870" y="298"/>
                    <a:pt x="1930" y="227"/>
                    <a:pt x="1930" y="144"/>
                  </a:cubicBezTo>
                  <a:cubicBezTo>
                    <a:pt x="1930" y="60"/>
                    <a:pt x="1870" y="1"/>
                    <a:pt x="178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2" name="Google Shape;13732;p64"/>
            <p:cNvSpPr/>
            <p:nvPr/>
          </p:nvSpPr>
          <p:spPr>
            <a:xfrm>
              <a:off x="2988724" y="1720102"/>
              <a:ext cx="19735" cy="9517"/>
            </a:xfrm>
            <a:custGeom>
              <a:avLst/>
              <a:gdLst/>
              <a:ahLst/>
              <a:cxnLst/>
              <a:rect l="l" t="t" r="r" b="b"/>
              <a:pathLst>
                <a:path w="620" h="299" extrusionOk="0">
                  <a:moveTo>
                    <a:pt x="143" y="1"/>
                  </a:moveTo>
                  <a:cubicBezTo>
                    <a:pt x="60" y="1"/>
                    <a:pt x="1" y="72"/>
                    <a:pt x="1" y="144"/>
                  </a:cubicBezTo>
                  <a:cubicBezTo>
                    <a:pt x="1" y="239"/>
                    <a:pt x="72" y="298"/>
                    <a:pt x="143" y="298"/>
                  </a:cubicBezTo>
                  <a:lnTo>
                    <a:pt x="477" y="298"/>
                  </a:lnTo>
                  <a:cubicBezTo>
                    <a:pt x="572" y="298"/>
                    <a:pt x="620" y="227"/>
                    <a:pt x="620" y="144"/>
                  </a:cubicBezTo>
                  <a:cubicBezTo>
                    <a:pt x="620" y="60"/>
                    <a:pt x="572" y="1"/>
                    <a:pt x="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3" name="Google Shape;13733;p64"/>
            <p:cNvSpPr/>
            <p:nvPr/>
          </p:nvSpPr>
          <p:spPr>
            <a:xfrm>
              <a:off x="2957658" y="1699253"/>
              <a:ext cx="155776" cy="75087"/>
            </a:xfrm>
            <a:custGeom>
              <a:avLst/>
              <a:gdLst/>
              <a:ahLst/>
              <a:cxnLst/>
              <a:rect l="l" t="t" r="r" b="b"/>
              <a:pathLst>
                <a:path w="4894" h="2359" extrusionOk="0">
                  <a:moveTo>
                    <a:pt x="4239" y="299"/>
                  </a:moveTo>
                  <a:cubicBezTo>
                    <a:pt x="4429" y="299"/>
                    <a:pt x="4572" y="441"/>
                    <a:pt x="4572" y="644"/>
                  </a:cubicBezTo>
                  <a:lnTo>
                    <a:pt x="4572" y="965"/>
                  </a:lnTo>
                  <a:cubicBezTo>
                    <a:pt x="4572" y="1156"/>
                    <a:pt x="4429" y="1311"/>
                    <a:pt x="4239" y="1311"/>
                  </a:cubicBezTo>
                  <a:lnTo>
                    <a:pt x="3751" y="1311"/>
                  </a:lnTo>
                  <a:cubicBezTo>
                    <a:pt x="3703" y="1311"/>
                    <a:pt x="3655" y="1322"/>
                    <a:pt x="3632" y="1370"/>
                  </a:cubicBezTo>
                  <a:cubicBezTo>
                    <a:pt x="3596" y="1394"/>
                    <a:pt x="3584" y="1442"/>
                    <a:pt x="3596" y="1489"/>
                  </a:cubicBezTo>
                  <a:lnTo>
                    <a:pt x="3691" y="2061"/>
                  </a:lnTo>
                  <a:lnTo>
                    <a:pt x="3691" y="2084"/>
                  </a:lnTo>
                  <a:cubicBezTo>
                    <a:pt x="3691" y="2088"/>
                    <a:pt x="3689" y="2090"/>
                    <a:pt x="3685" y="2090"/>
                  </a:cubicBezTo>
                  <a:cubicBezTo>
                    <a:pt x="3678" y="2090"/>
                    <a:pt x="3667" y="2084"/>
                    <a:pt x="3667" y="2084"/>
                  </a:cubicBezTo>
                  <a:lnTo>
                    <a:pt x="2691" y="1334"/>
                  </a:lnTo>
                  <a:cubicBezTo>
                    <a:pt x="2655" y="1322"/>
                    <a:pt x="2632" y="1311"/>
                    <a:pt x="2596" y="1311"/>
                  </a:cubicBezTo>
                  <a:lnTo>
                    <a:pt x="631" y="1311"/>
                  </a:lnTo>
                  <a:cubicBezTo>
                    <a:pt x="441" y="1311"/>
                    <a:pt x="298" y="1156"/>
                    <a:pt x="298" y="965"/>
                  </a:cubicBezTo>
                  <a:lnTo>
                    <a:pt x="298" y="644"/>
                  </a:lnTo>
                  <a:cubicBezTo>
                    <a:pt x="298" y="441"/>
                    <a:pt x="441" y="299"/>
                    <a:pt x="631" y="299"/>
                  </a:cubicBezTo>
                  <a:close/>
                  <a:moveTo>
                    <a:pt x="631" y="1"/>
                  </a:moveTo>
                  <a:cubicBezTo>
                    <a:pt x="274" y="1"/>
                    <a:pt x="0" y="275"/>
                    <a:pt x="0" y="644"/>
                  </a:cubicBezTo>
                  <a:lnTo>
                    <a:pt x="0" y="965"/>
                  </a:lnTo>
                  <a:cubicBezTo>
                    <a:pt x="0" y="1322"/>
                    <a:pt x="274" y="1608"/>
                    <a:pt x="631" y="1608"/>
                  </a:cubicBezTo>
                  <a:lnTo>
                    <a:pt x="2548" y="1608"/>
                  </a:lnTo>
                  <a:lnTo>
                    <a:pt x="3489" y="2299"/>
                  </a:lnTo>
                  <a:cubicBezTo>
                    <a:pt x="3548" y="2346"/>
                    <a:pt x="3608" y="2358"/>
                    <a:pt x="3679" y="2358"/>
                  </a:cubicBezTo>
                  <a:cubicBezTo>
                    <a:pt x="3739" y="2358"/>
                    <a:pt x="3798" y="2346"/>
                    <a:pt x="3846" y="2323"/>
                  </a:cubicBezTo>
                  <a:cubicBezTo>
                    <a:pt x="3953" y="2239"/>
                    <a:pt x="4013" y="2120"/>
                    <a:pt x="4001" y="1989"/>
                  </a:cubicBezTo>
                  <a:lnTo>
                    <a:pt x="3941" y="1584"/>
                  </a:lnTo>
                  <a:lnTo>
                    <a:pt x="4251" y="1584"/>
                  </a:lnTo>
                  <a:cubicBezTo>
                    <a:pt x="4608" y="1584"/>
                    <a:pt x="4894" y="1311"/>
                    <a:pt x="4894" y="953"/>
                  </a:cubicBezTo>
                  <a:lnTo>
                    <a:pt x="4894" y="620"/>
                  </a:lnTo>
                  <a:cubicBezTo>
                    <a:pt x="4870" y="287"/>
                    <a:pt x="4596" y="1"/>
                    <a:pt x="423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4" name="Google Shape;13734;p64"/>
            <p:cNvSpPr/>
            <p:nvPr/>
          </p:nvSpPr>
          <p:spPr>
            <a:xfrm>
              <a:off x="2811367" y="1626108"/>
              <a:ext cx="72413" cy="9517"/>
            </a:xfrm>
            <a:custGeom>
              <a:avLst/>
              <a:gdLst/>
              <a:ahLst/>
              <a:cxnLst/>
              <a:rect l="l" t="t" r="r" b="b"/>
              <a:pathLst>
                <a:path w="2275" h="299" extrusionOk="0">
                  <a:moveTo>
                    <a:pt x="155" y="1"/>
                  </a:moveTo>
                  <a:cubicBezTo>
                    <a:pt x="60" y="1"/>
                    <a:pt x="0" y="84"/>
                    <a:pt x="0" y="156"/>
                  </a:cubicBezTo>
                  <a:cubicBezTo>
                    <a:pt x="0" y="227"/>
                    <a:pt x="84" y="299"/>
                    <a:pt x="155" y="299"/>
                  </a:cubicBezTo>
                  <a:lnTo>
                    <a:pt x="2120" y="299"/>
                  </a:lnTo>
                  <a:cubicBezTo>
                    <a:pt x="2215" y="299"/>
                    <a:pt x="2275" y="227"/>
                    <a:pt x="2275" y="156"/>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5" name="Google Shape;13735;p64"/>
            <p:cNvSpPr/>
            <p:nvPr/>
          </p:nvSpPr>
          <p:spPr>
            <a:xfrm>
              <a:off x="2895112" y="1626108"/>
              <a:ext cx="30366" cy="9517"/>
            </a:xfrm>
            <a:custGeom>
              <a:avLst/>
              <a:gdLst/>
              <a:ahLst/>
              <a:cxnLst/>
              <a:rect l="l" t="t" r="r" b="b"/>
              <a:pathLst>
                <a:path w="954" h="299" extrusionOk="0">
                  <a:moveTo>
                    <a:pt x="144" y="1"/>
                  </a:moveTo>
                  <a:cubicBezTo>
                    <a:pt x="60" y="1"/>
                    <a:pt x="1" y="84"/>
                    <a:pt x="1" y="156"/>
                  </a:cubicBezTo>
                  <a:cubicBezTo>
                    <a:pt x="1" y="227"/>
                    <a:pt x="72" y="299"/>
                    <a:pt x="144" y="299"/>
                  </a:cubicBezTo>
                  <a:lnTo>
                    <a:pt x="798" y="299"/>
                  </a:lnTo>
                  <a:cubicBezTo>
                    <a:pt x="894" y="299"/>
                    <a:pt x="953" y="227"/>
                    <a:pt x="953" y="156"/>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6" name="Google Shape;13736;p64"/>
            <p:cNvSpPr/>
            <p:nvPr/>
          </p:nvSpPr>
          <p:spPr>
            <a:xfrm>
              <a:off x="2811367" y="1667805"/>
              <a:ext cx="72413" cy="9517"/>
            </a:xfrm>
            <a:custGeom>
              <a:avLst/>
              <a:gdLst/>
              <a:ahLst/>
              <a:cxnLst/>
              <a:rect l="l" t="t" r="r" b="b"/>
              <a:pathLst>
                <a:path w="2275" h="299" extrusionOk="0">
                  <a:moveTo>
                    <a:pt x="155" y="1"/>
                  </a:moveTo>
                  <a:cubicBezTo>
                    <a:pt x="60" y="1"/>
                    <a:pt x="0" y="84"/>
                    <a:pt x="0" y="155"/>
                  </a:cubicBezTo>
                  <a:cubicBezTo>
                    <a:pt x="0" y="227"/>
                    <a:pt x="84" y="298"/>
                    <a:pt x="155" y="298"/>
                  </a:cubicBezTo>
                  <a:lnTo>
                    <a:pt x="2120" y="298"/>
                  </a:lnTo>
                  <a:cubicBezTo>
                    <a:pt x="2215" y="298"/>
                    <a:pt x="2275" y="227"/>
                    <a:pt x="2275" y="155"/>
                  </a:cubicBezTo>
                  <a:cubicBezTo>
                    <a:pt x="2275" y="60"/>
                    <a:pt x="2215" y="1"/>
                    <a:pt x="212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7" name="Google Shape;13737;p64"/>
            <p:cNvSpPr/>
            <p:nvPr/>
          </p:nvSpPr>
          <p:spPr>
            <a:xfrm>
              <a:off x="2895112" y="1667805"/>
              <a:ext cx="30366" cy="9517"/>
            </a:xfrm>
            <a:custGeom>
              <a:avLst/>
              <a:gdLst/>
              <a:ahLst/>
              <a:cxnLst/>
              <a:rect l="l" t="t" r="r" b="b"/>
              <a:pathLst>
                <a:path w="954" h="299" extrusionOk="0">
                  <a:moveTo>
                    <a:pt x="144" y="1"/>
                  </a:moveTo>
                  <a:cubicBezTo>
                    <a:pt x="60" y="1"/>
                    <a:pt x="1" y="84"/>
                    <a:pt x="1" y="155"/>
                  </a:cubicBezTo>
                  <a:cubicBezTo>
                    <a:pt x="1" y="227"/>
                    <a:pt x="72" y="298"/>
                    <a:pt x="144" y="298"/>
                  </a:cubicBezTo>
                  <a:lnTo>
                    <a:pt x="798" y="298"/>
                  </a:lnTo>
                  <a:cubicBezTo>
                    <a:pt x="894" y="298"/>
                    <a:pt x="953" y="227"/>
                    <a:pt x="953" y="155"/>
                  </a:cubicBezTo>
                  <a:cubicBezTo>
                    <a:pt x="953" y="60"/>
                    <a:pt x="882" y="1"/>
                    <a:pt x="79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8" name="Google Shape;13738;p64"/>
            <p:cNvSpPr/>
            <p:nvPr/>
          </p:nvSpPr>
          <p:spPr>
            <a:xfrm>
              <a:off x="2811367" y="1646957"/>
              <a:ext cx="20117" cy="9517"/>
            </a:xfrm>
            <a:custGeom>
              <a:avLst/>
              <a:gdLst/>
              <a:ahLst/>
              <a:cxnLst/>
              <a:rect l="l" t="t" r="r" b="b"/>
              <a:pathLst>
                <a:path w="632" h="299" extrusionOk="0">
                  <a:moveTo>
                    <a:pt x="155" y="1"/>
                  </a:moveTo>
                  <a:cubicBezTo>
                    <a:pt x="60" y="1"/>
                    <a:pt x="0" y="72"/>
                    <a:pt x="0" y="156"/>
                  </a:cubicBezTo>
                  <a:cubicBezTo>
                    <a:pt x="0" y="239"/>
                    <a:pt x="84" y="298"/>
                    <a:pt x="155" y="298"/>
                  </a:cubicBezTo>
                  <a:lnTo>
                    <a:pt x="489" y="298"/>
                  </a:lnTo>
                  <a:cubicBezTo>
                    <a:pt x="572" y="298"/>
                    <a:pt x="631" y="227"/>
                    <a:pt x="631" y="156"/>
                  </a:cubicBezTo>
                  <a:cubicBezTo>
                    <a:pt x="631" y="60"/>
                    <a:pt x="572" y="1"/>
                    <a:pt x="48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9" name="Google Shape;13739;p64"/>
            <p:cNvSpPr/>
            <p:nvPr/>
          </p:nvSpPr>
          <p:spPr>
            <a:xfrm>
              <a:off x="2842815" y="1646957"/>
              <a:ext cx="82663" cy="9517"/>
            </a:xfrm>
            <a:custGeom>
              <a:avLst/>
              <a:gdLst/>
              <a:ahLst/>
              <a:cxnLst/>
              <a:rect l="l" t="t" r="r" b="b"/>
              <a:pathLst>
                <a:path w="2597" h="299" extrusionOk="0">
                  <a:moveTo>
                    <a:pt x="155" y="1"/>
                  </a:moveTo>
                  <a:cubicBezTo>
                    <a:pt x="60" y="1"/>
                    <a:pt x="1" y="72"/>
                    <a:pt x="1" y="156"/>
                  </a:cubicBezTo>
                  <a:cubicBezTo>
                    <a:pt x="1" y="239"/>
                    <a:pt x="72" y="298"/>
                    <a:pt x="155" y="298"/>
                  </a:cubicBezTo>
                  <a:lnTo>
                    <a:pt x="2441" y="298"/>
                  </a:lnTo>
                  <a:cubicBezTo>
                    <a:pt x="2537" y="298"/>
                    <a:pt x="2596" y="227"/>
                    <a:pt x="2596" y="156"/>
                  </a:cubicBezTo>
                  <a:cubicBezTo>
                    <a:pt x="2596" y="60"/>
                    <a:pt x="2525" y="1"/>
                    <a:pt x="24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0" name="Google Shape;13740;p64"/>
            <p:cNvSpPr/>
            <p:nvPr/>
          </p:nvSpPr>
          <p:spPr>
            <a:xfrm>
              <a:off x="2780301" y="1605291"/>
              <a:ext cx="176625" cy="117516"/>
            </a:xfrm>
            <a:custGeom>
              <a:avLst/>
              <a:gdLst/>
              <a:ahLst/>
              <a:cxnLst/>
              <a:rect l="l" t="t" r="r" b="b"/>
              <a:pathLst>
                <a:path w="5549" h="3692" extrusionOk="0">
                  <a:moveTo>
                    <a:pt x="4894" y="298"/>
                  </a:moveTo>
                  <a:cubicBezTo>
                    <a:pt x="5084" y="298"/>
                    <a:pt x="5239" y="453"/>
                    <a:pt x="5239" y="643"/>
                  </a:cubicBezTo>
                  <a:lnTo>
                    <a:pt x="5239" y="2274"/>
                  </a:lnTo>
                  <a:cubicBezTo>
                    <a:pt x="5239" y="2477"/>
                    <a:pt x="5084" y="2619"/>
                    <a:pt x="4894" y="2619"/>
                  </a:cubicBezTo>
                  <a:lnTo>
                    <a:pt x="2274" y="2619"/>
                  </a:lnTo>
                  <a:cubicBezTo>
                    <a:pt x="2250" y="2619"/>
                    <a:pt x="2215" y="2643"/>
                    <a:pt x="2191" y="2655"/>
                  </a:cubicBezTo>
                  <a:lnTo>
                    <a:pt x="1203" y="3393"/>
                  </a:lnTo>
                  <a:lnTo>
                    <a:pt x="1191" y="3393"/>
                  </a:lnTo>
                  <a:lnTo>
                    <a:pt x="1191" y="3381"/>
                  </a:lnTo>
                  <a:lnTo>
                    <a:pt x="1274" y="2798"/>
                  </a:lnTo>
                  <a:cubicBezTo>
                    <a:pt x="1274" y="2750"/>
                    <a:pt x="1274" y="2715"/>
                    <a:pt x="1250" y="2679"/>
                  </a:cubicBezTo>
                  <a:cubicBezTo>
                    <a:pt x="1215" y="2655"/>
                    <a:pt x="1179" y="2619"/>
                    <a:pt x="1131" y="2619"/>
                  </a:cubicBezTo>
                  <a:lnTo>
                    <a:pt x="643" y="2619"/>
                  </a:lnTo>
                  <a:cubicBezTo>
                    <a:pt x="453" y="2619"/>
                    <a:pt x="298" y="2477"/>
                    <a:pt x="298" y="2274"/>
                  </a:cubicBezTo>
                  <a:lnTo>
                    <a:pt x="298" y="643"/>
                  </a:lnTo>
                  <a:cubicBezTo>
                    <a:pt x="298" y="453"/>
                    <a:pt x="453" y="298"/>
                    <a:pt x="643" y="298"/>
                  </a:cubicBezTo>
                  <a:close/>
                  <a:moveTo>
                    <a:pt x="643" y="0"/>
                  </a:moveTo>
                  <a:cubicBezTo>
                    <a:pt x="286" y="0"/>
                    <a:pt x="0" y="286"/>
                    <a:pt x="0" y="643"/>
                  </a:cubicBezTo>
                  <a:lnTo>
                    <a:pt x="0" y="2286"/>
                  </a:lnTo>
                  <a:cubicBezTo>
                    <a:pt x="0" y="2643"/>
                    <a:pt x="286" y="2917"/>
                    <a:pt x="643" y="2917"/>
                  </a:cubicBezTo>
                  <a:lnTo>
                    <a:pt x="953" y="2917"/>
                  </a:lnTo>
                  <a:lnTo>
                    <a:pt x="893" y="3322"/>
                  </a:lnTo>
                  <a:cubicBezTo>
                    <a:pt x="881" y="3453"/>
                    <a:pt x="929" y="3572"/>
                    <a:pt x="1048" y="3655"/>
                  </a:cubicBezTo>
                  <a:cubicBezTo>
                    <a:pt x="1084" y="3679"/>
                    <a:pt x="1143" y="3691"/>
                    <a:pt x="1203" y="3691"/>
                  </a:cubicBezTo>
                  <a:cubicBezTo>
                    <a:pt x="1262" y="3691"/>
                    <a:pt x="1346" y="3679"/>
                    <a:pt x="1405" y="3632"/>
                  </a:cubicBezTo>
                  <a:lnTo>
                    <a:pt x="2334" y="2941"/>
                  </a:lnTo>
                  <a:lnTo>
                    <a:pt x="4906" y="2941"/>
                  </a:lnTo>
                  <a:cubicBezTo>
                    <a:pt x="5263" y="2941"/>
                    <a:pt x="5548" y="2655"/>
                    <a:pt x="5548" y="2298"/>
                  </a:cubicBezTo>
                  <a:lnTo>
                    <a:pt x="5548" y="655"/>
                  </a:lnTo>
                  <a:cubicBezTo>
                    <a:pt x="5537" y="286"/>
                    <a:pt x="5251" y="0"/>
                    <a:pt x="489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41" name="Google Shape;13741;p64"/>
          <p:cNvGrpSpPr/>
          <p:nvPr/>
        </p:nvGrpSpPr>
        <p:grpSpPr>
          <a:xfrm>
            <a:off x="3316159" y="1515085"/>
            <a:ext cx="211892" cy="339594"/>
            <a:chOff x="3316159" y="1515085"/>
            <a:chExt cx="211892" cy="339594"/>
          </a:xfrm>
        </p:grpSpPr>
        <p:sp>
          <p:nvSpPr>
            <p:cNvPr id="13742" name="Google Shape;13742;p64"/>
            <p:cNvSpPr/>
            <p:nvPr/>
          </p:nvSpPr>
          <p:spPr>
            <a:xfrm>
              <a:off x="3358621" y="1823199"/>
              <a:ext cx="15183" cy="9485"/>
            </a:xfrm>
            <a:custGeom>
              <a:avLst/>
              <a:gdLst/>
              <a:ahLst/>
              <a:cxnLst/>
              <a:rect l="l" t="t" r="r" b="b"/>
              <a:pathLst>
                <a:path w="477" h="298" extrusionOk="0">
                  <a:moveTo>
                    <a:pt x="155" y="0"/>
                  </a:moveTo>
                  <a:cubicBezTo>
                    <a:pt x="60" y="0"/>
                    <a:pt x="0" y="84"/>
                    <a:pt x="0" y="155"/>
                  </a:cubicBezTo>
                  <a:cubicBezTo>
                    <a:pt x="0" y="238"/>
                    <a:pt x="83" y="298"/>
                    <a:pt x="155" y="298"/>
                  </a:cubicBezTo>
                  <a:lnTo>
                    <a:pt x="322" y="298"/>
                  </a:lnTo>
                  <a:cubicBezTo>
                    <a:pt x="405" y="298"/>
                    <a:pt x="464" y="226"/>
                    <a:pt x="464" y="155"/>
                  </a:cubicBezTo>
                  <a:cubicBezTo>
                    <a:pt x="476" y="84"/>
                    <a:pt x="405" y="0"/>
                    <a:pt x="3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3" name="Google Shape;13743;p64"/>
            <p:cNvSpPr/>
            <p:nvPr/>
          </p:nvSpPr>
          <p:spPr>
            <a:xfrm>
              <a:off x="3427946" y="1823199"/>
              <a:ext cx="15215" cy="9485"/>
            </a:xfrm>
            <a:custGeom>
              <a:avLst/>
              <a:gdLst/>
              <a:ahLst/>
              <a:cxnLst/>
              <a:rect l="l" t="t" r="r" b="b"/>
              <a:pathLst>
                <a:path w="478" h="298" extrusionOk="0">
                  <a:moveTo>
                    <a:pt x="144" y="0"/>
                  </a:moveTo>
                  <a:cubicBezTo>
                    <a:pt x="60" y="0"/>
                    <a:pt x="1" y="84"/>
                    <a:pt x="1" y="155"/>
                  </a:cubicBezTo>
                  <a:cubicBezTo>
                    <a:pt x="1" y="238"/>
                    <a:pt x="72" y="298"/>
                    <a:pt x="144" y="298"/>
                  </a:cubicBezTo>
                  <a:lnTo>
                    <a:pt x="310" y="298"/>
                  </a:lnTo>
                  <a:cubicBezTo>
                    <a:pt x="406" y="298"/>
                    <a:pt x="465" y="226"/>
                    <a:pt x="465" y="155"/>
                  </a:cubicBezTo>
                  <a:cubicBezTo>
                    <a:pt x="477" y="84"/>
                    <a:pt x="406" y="0"/>
                    <a:pt x="310"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4" name="Google Shape;13744;p64"/>
            <p:cNvSpPr/>
            <p:nvPr/>
          </p:nvSpPr>
          <p:spPr>
            <a:xfrm>
              <a:off x="3385135" y="1823199"/>
              <a:ext cx="31480" cy="9485"/>
            </a:xfrm>
            <a:custGeom>
              <a:avLst/>
              <a:gdLst/>
              <a:ahLst/>
              <a:cxnLst/>
              <a:rect l="l" t="t" r="r" b="b"/>
              <a:pathLst>
                <a:path w="989" h="298" extrusionOk="0">
                  <a:moveTo>
                    <a:pt x="155" y="0"/>
                  </a:moveTo>
                  <a:cubicBezTo>
                    <a:pt x="60" y="0"/>
                    <a:pt x="1" y="84"/>
                    <a:pt x="1" y="155"/>
                  </a:cubicBezTo>
                  <a:cubicBezTo>
                    <a:pt x="1" y="238"/>
                    <a:pt x="84" y="298"/>
                    <a:pt x="155" y="298"/>
                  </a:cubicBezTo>
                  <a:lnTo>
                    <a:pt x="822" y="298"/>
                  </a:lnTo>
                  <a:cubicBezTo>
                    <a:pt x="917" y="298"/>
                    <a:pt x="977" y="226"/>
                    <a:pt x="977" y="155"/>
                  </a:cubicBezTo>
                  <a:cubicBezTo>
                    <a:pt x="989" y="84"/>
                    <a:pt x="917" y="0"/>
                    <a:pt x="82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45" name="Google Shape;13745;p64"/>
            <p:cNvGrpSpPr/>
            <p:nvPr/>
          </p:nvGrpSpPr>
          <p:grpSpPr>
            <a:xfrm>
              <a:off x="3316159" y="1515085"/>
              <a:ext cx="211892" cy="339594"/>
              <a:chOff x="3316159" y="1515085"/>
              <a:chExt cx="211892" cy="339594"/>
            </a:xfrm>
          </p:grpSpPr>
          <p:sp>
            <p:nvSpPr>
              <p:cNvPr id="13746" name="Google Shape;13746;p64"/>
              <p:cNvSpPr/>
              <p:nvPr/>
            </p:nvSpPr>
            <p:spPr>
              <a:xfrm>
                <a:off x="3316159" y="1557514"/>
                <a:ext cx="169049" cy="297165"/>
              </a:xfrm>
              <a:custGeom>
                <a:avLst/>
                <a:gdLst/>
                <a:ahLst/>
                <a:cxnLst/>
                <a:rect l="l" t="t" r="r" b="b"/>
                <a:pathLst>
                  <a:path w="5311" h="9336" extrusionOk="0">
                    <a:moveTo>
                      <a:pt x="4656" y="310"/>
                    </a:moveTo>
                    <a:cubicBezTo>
                      <a:pt x="4846" y="310"/>
                      <a:pt x="5001" y="477"/>
                      <a:pt x="5001" y="668"/>
                    </a:cubicBezTo>
                    <a:lnTo>
                      <a:pt x="298" y="668"/>
                    </a:lnTo>
                    <a:lnTo>
                      <a:pt x="298" y="656"/>
                    </a:lnTo>
                    <a:cubicBezTo>
                      <a:pt x="298" y="465"/>
                      <a:pt x="441" y="310"/>
                      <a:pt x="632" y="310"/>
                    </a:cubicBezTo>
                    <a:close/>
                    <a:moveTo>
                      <a:pt x="5001" y="989"/>
                    </a:moveTo>
                    <a:lnTo>
                      <a:pt x="5001" y="7680"/>
                    </a:lnTo>
                    <a:lnTo>
                      <a:pt x="298" y="7680"/>
                    </a:lnTo>
                    <a:lnTo>
                      <a:pt x="298" y="989"/>
                    </a:lnTo>
                    <a:close/>
                    <a:moveTo>
                      <a:pt x="5013" y="7990"/>
                    </a:moveTo>
                    <a:lnTo>
                      <a:pt x="5013" y="8681"/>
                    </a:lnTo>
                    <a:lnTo>
                      <a:pt x="5001" y="8681"/>
                    </a:lnTo>
                    <a:cubicBezTo>
                      <a:pt x="5001" y="8871"/>
                      <a:pt x="4846" y="9026"/>
                      <a:pt x="4656" y="9026"/>
                    </a:cubicBezTo>
                    <a:lnTo>
                      <a:pt x="655" y="9026"/>
                    </a:lnTo>
                    <a:cubicBezTo>
                      <a:pt x="465" y="9026"/>
                      <a:pt x="310" y="8871"/>
                      <a:pt x="310" y="8681"/>
                    </a:cubicBezTo>
                    <a:lnTo>
                      <a:pt x="310" y="7990"/>
                    </a:lnTo>
                    <a:close/>
                    <a:moveTo>
                      <a:pt x="655" y="1"/>
                    </a:moveTo>
                    <a:cubicBezTo>
                      <a:pt x="298" y="1"/>
                      <a:pt x="1" y="299"/>
                      <a:pt x="1" y="656"/>
                    </a:cubicBezTo>
                    <a:lnTo>
                      <a:pt x="1" y="8681"/>
                    </a:lnTo>
                    <a:cubicBezTo>
                      <a:pt x="1" y="9038"/>
                      <a:pt x="298" y="9335"/>
                      <a:pt x="655" y="9335"/>
                    </a:cubicBezTo>
                    <a:lnTo>
                      <a:pt x="4656" y="9335"/>
                    </a:lnTo>
                    <a:cubicBezTo>
                      <a:pt x="5013" y="9335"/>
                      <a:pt x="5311" y="9038"/>
                      <a:pt x="5311" y="8681"/>
                    </a:cubicBezTo>
                    <a:lnTo>
                      <a:pt x="5311" y="656"/>
                    </a:lnTo>
                    <a:cubicBezTo>
                      <a:pt x="5311" y="299"/>
                      <a:pt x="5025" y="1"/>
                      <a:pt x="465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7" name="Google Shape;13747;p64"/>
              <p:cNvSpPr/>
              <p:nvPr/>
            </p:nvSpPr>
            <p:spPr>
              <a:xfrm>
                <a:off x="3337772" y="1610161"/>
                <a:ext cx="132667" cy="127415"/>
              </a:xfrm>
              <a:custGeom>
                <a:avLst/>
                <a:gdLst/>
                <a:ahLst/>
                <a:cxnLst/>
                <a:rect l="l" t="t" r="r" b="b"/>
                <a:pathLst>
                  <a:path w="4168" h="4003" extrusionOk="0">
                    <a:moveTo>
                      <a:pt x="2131" y="1014"/>
                    </a:moveTo>
                    <a:cubicBezTo>
                      <a:pt x="2322" y="1014"/>
                      <a:pt x="2477" y="1157"/>
                      <a:pt x="2477" y="1359"/>
                    </a:cubicBezTo>
                    <a:lnTo>
                      <a:pt x="2477" y="1681"/>
                    </a:lnTo>
                    <a:cubicBezTo>
                      <a:pt x="2477" y="1966"/>
                      <a:pt x="2251" y="2181"/>
                      <a:pt x="1965" y="2181"/>
                    </a:cubicBezTo>
                    <a:cubicBezTo>
                      <a:pt x="1958" y="2181"/>
                      <a:pt x="1952" y="2181"/>
                      <a:pt x="1945" y="2181"/>
                    </a:cubicBezTo>
                    <a:cubicBezTo>
                      <a:pt x="1691" y="2181"/>
                      <a:pt x="1465" y="1959"/>
                      <a:pt x="1465" y="1681"/>
                    </a:cubicBezTo>
                    <a:lnTo>
                      <a:pt x="1465" y="1359"/>
                    </a:lnTo>
                    <a:cubicBezTo>
                      <a:pt x="1465" y="1157"/>
                      <a:pt x="1608" y="1014"/>
                      <a:pt x="1810" y="1014"/>
                    </a:cubicBezTo>
                    <a:close/>
                    <a:moveTo>
                      <a:pt x="2143" y="2478"/>
                    </a:moveTo>
                    <a:lnTo>
                      <a:pt x="2143" y="2574"/>
                    </a:lnTo>
                    <a:cubicBezTo>
                      <a:pt x="2167" y="2633"/>
                      <a:pt x="2179" y="2693"/>
                      <a:pt x="2191" y="2740"/>
                    </a:cubicBezTo>
                    <a:lnTo>
                      <a:pt x="1989" y="2943"/>
                    </a:lnTo>
                    <a:lnTo>
                      <a:pt x="1953" y="2943"/>
                    </a:lnTo>
                    <a:lnTo>
                      <a:pt x="1750" y="2740"/>
                    </a:lnTo>
                    <a:cubicBezTo>
                      <a:pt x="1774" y="2693"/>
                      <a:pt x="1786" y="2633"/>
                      <a:pt x="1786" y="2574"/>
                    </a:cubicBezTo>
                    <a:lnTo>
                      <a:pt x="1786" y="2478"/>
                    </a:lnTo>
                    <a:cubicBezTo>
                      <a:pt x="1846" y="2502"/>
                      <a:pt x="1905" y="2502"/>
                      <a:pt x="1965" y="2502"/>
                    </a:cubicBezTo>
                    <a:cubicBezTo>
                      <a:pt x="2024" y="2502"/>
                      <a:pt x="2084" y="2502"/>
                      <a:pt x="2143" y="2478"/>
                    </a:cubicBezTo>
                    <a:close/>
                    <a:moveTo>
                      <a:pt x="2441" y="2931"/>
                    </a:moveTo>
                    <a:lnTo>
                      <a:pt x="2715" y="3062"/>
                    </a:lnTo>
                    <a:cubicBezTo>
                      <a:pt x="2774" y="3098"/>
                      <a:pt x="2822" y="3157"/>
                      <a:pt x="2822" y="3228"/>
                    </a:cubicBezTo>
                    <a:lnTo>
                      <a:pt x="2822" y="3467"/>
                    </a:lnTo>
                    <a:cubicBezTo>
                      <a:pt x="2560" y="3609"/>
                      <a:pt x="2262" y="3693"/>
                      <a:pt x="1965" y="3693"/>
                    </a:cubicBezTo>
                    <a:cubicBezTo>
                      <a:pt x="1667" y="3693"/>
                      <a:pt x="1369" y="3609"/>
                      <a:pt x="1119" y="3467"/>
                    </a:cubicBezTo>
                    <a:lnTo>
                      <a:pt x="1119" y="3228"/>
                    </a:lnTo>
                    <a:cubicBezTo>
                      <a:pt x="1119" y="3157"/>
                      <a:pt x="1167" y="3098"/>
                      <a:pt x="1227" y="3062"/>
                    </a:cubicBezTo>
                    <a:lnTo>
                      <a:pt x="1489" y="2931"/>
                    </a:lnTo>
                    <a:lnTo>
                      <a:pt x="1750" y="3181"/>
                    </a:lnTo>
                    <a:cubicBezTo>
                      <a:pt x="1810" y="3240"/>
                      <a:pt x="1893" y="3276"/>
                      <a:pt x="1965" y="3276"/>
                    </a:cubicBezTo>
                    <a:cubicBezTo>
                      <a:pt x="2048" y="3276"/>
                      <a:pt x="2131" y="3240"/>
                      <a:pt x="2191" y="3181"/>
                    </a:cubicBezTo>
                    <a:lnTo>
                      <a:pt x="2441" y="2931"/>
                    </a:lnTo>
                    <a:close/>
                    <a:moveTo>
                      <a:pt x="2009" y="0"/>
                    </a:moveTo>
                    <a:cubicBezTo>
                      <a:pt x="1492" y="0"/>
                      <a:pt x="976" y="204"/>
                      <a:pt x="584" y="597"/>
                    </a:cubicBezTo>
                    <a:cubicBezTo>
                      <a:pt x="215" y="966"/>
                      <a:pt x="0" y="1466"/>
                      <a:pt x="0" y="2002"/>
                    </a:cubicBezTo>
                    <a:cubicBezTo>
                      <a:pt x="0" y="2550"/>
                      <a:pt x="215" y="3038"/>
                      <a:pt x="584" y="3419"/>
                    </a:cubicBezTo>
                    <a:cubicBezTo>
                      <a:pt x="977" y="3812"/>
                      <a:pt x="1477" y="4002"/>
                      <a:pt x="2000" y="4002"/>
                    </a:cubicBezTo>
                    <a:cubicBezTo>
                      <a:pt x="2501" y="4002"/>
                      <a:pt x="3024" y="3812"/>
                      <a:pt x="3417" y="3419"/>
                    </a:cubicBezTo>
                    <a:cubicBezTo>
                      <a:pt x="4072" y="2740"/>
                      <a:pt x="4167" y="1681"/>
                      <a:pt x="3620" y="883"/>
                    </a:cubicBezTo>
                    <a:cubicBezTo>
                      <a:pt x="3590" y="832"/>
                      <a:pt x="3543" y="807"/>
                      <a:pt x="3492" y="807"/>
                    </a:cubicBezTo>
                    <a:cubicBezTo>
                      <a:pt x="3459" y="807"/>
                      <a:pt x="3426" y="817"/>
                      <a:pt x="3394" y="835"/>
                    </a:cubicBezTo>
                    <a:cubicBezTo>
                      <a:pt x="3322" y="883"/>
                      <a:pt x="3310" y="978"/>
                      <a:pt x="3358" y="1062"/>
                    </a:cubicBezTo>
                    <a:cubicBezTo>
                      <a:pt x="3810" y="1728"/>
                      <a:pt x="3727" y="2621"/>
                      <a:pt x="3155" y="3193"/>
                    </a:cubicBezTo>
                    <a:lnTo>
                      <a:pt x="3132" y="3228"/>
                    </a:lnTo>
                    <a:lnTo>
                      <a:pt x="3132" y="3217"/>
                    </a:lnTo>
                    <a:cubicBezTo>
                      <a:pt x="3132" y="3014"/>
                      <a:pt x="3024" y="2859"/>
                      <a:pt x="2858" y="2776"/>
                    </a:cubicBezTo>
                    <a:lnTo>
                      <a:pt x="2477" y="2586"/>
                    </a:lnTo>
                    <a:lnTo>
                      <a:pt x="2477" y="2574"/>
                    </a:lnTo>
                    <a:lnTo>
                      <a:pt x="2477" y="2336"/>
                    </a:lnTo>
                    <a:cubicBezTo>
                      <a:pt x="2679" y="2181"/>
                      <a:pt x="2798" y="1943"/>
                      <a:pt x="2798" y="1681"/>
                    </a:cubicBezTo>
                    <a:lnTo>
                      <a:pt x="2798" y="1347"/>
                    </a:lnTo>
                    <a:cubicBezTo>
                      <a:pt x="2798" y="990"/>
                      <a:pt x="2501" y="692"/>
                      <a:pt x="2143" y="692"/>
                    </a:cubicBezTo>
                    <a:lnTo>
                      <a:pt x="1822" y="692"/>
                    </a:lnTo>
                    <a:cubicBezTo>
                      <a:pt x="1465" y="692"/>
                      <a:pt x="1167" y="990"/>
                      <a:pt x="1167" y="1347"/>
                    </a:cubicBezTo>
                    <a:lnTo>
                      <a:pt x="1167" y="1681"/>
                    </a:lnTo>
                    <a:cubicBezTo>
                      <a:pt x="1167" y="1943"/>
                      <a:pt x="1298" y="2181"/>
                      <a:pt x="1489" y="2336"/>
                    </a:cubicBezTo>
                    <a:lnTo>
                      <a:pt x="1489" y="2574"/>
                    </a:lnTo>
                    <a:lnTo>
                      <a:pt x="1489" y="2586"/>
                    </a:lnTo>
                    <a:lnTo>
                      <a:pt x="1108" y="2776"/>
                    </a:lnTo>
                    <a:cubicBezTo>
                      <a:pt x="941" y="2871"/>
                      <a:pt x="834" y="3038"/>
                      <a:pt x="834" y="3217"/>
                    </a:cubicBezTo>
                    <a:lnTo>
                      <a:pt x="834" y="3228"/>
                    </a:lnTo>
                    <a:lnTo>
                      <a:pt x="810" y="3193"/>
                    </a:lnTo>
                    <a:cubicBezTo>
                      <a:pt x="500" y="2883"/>
                      <a:pt x="322" y="2455"/>
                      <a:pt x="322" y="2002"/>
                    </a:cubicBezTo>
                    <a:cubicBezTo>
                      <a:pt x="322" y="1562"/>
                      <a:pt x="500" y="1133"/>
                      <a:pt x="810" y="812"/>
                    </a:cubicBezTo>
                    <a:cubicBezTo>
                      <a:pt x="1139" y="489"/>
                      <a:pt x="1566" y="326"/>
                      <a:pt x="1996" y="326"/>
                    </a:cubicBezTo>
                    <a:cubicBezTo>
                      <a:pt x="2328" y="326"/>
                      <a:pt x="2662" y="424"/>
                      <a:pt x="2953" y="621"/>
                    </a:cubicBezTo>
                    <a:cubicBezTo>
                      <a:pt x="2980" y="639"/>
                      <a:pt x="3012" y="649"/>
                      <a:pt x="3043" y="649"/>
                    </a:cubicBezTo>
                    <a:cubicBezTo>
                      <a:pt x="3092" y="649"/>
                      <a:pt x="3143" y="625"/>
                      <a:pt x="3179" y="573"/>
                    </a:cubicBezTo>
                    <a:cubicBezTo>
                      <a:pt x="3215" y="502"/>
                      <a:pt x="3203" y="419"/>
                      <a:pt x="3132" y="359"/>
                    </a:cubicBezTo>
                    <a:cubicBezTo>
                      <a:pt x="2793" y="118"/>
                      <a:pt x="2401" y="0"/>
                      <a:pt x="200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8" name="Google Shape;13748;p64"/>
              <p:cNvSpPr/>
              <p:nvPr/>
            </p:nvSpPr>
            <p:spPr>
              <a:xfrm>
                <a:off x="3343056" y="1749290"/>
                <a:ext cx="41729" cy="41729"/>
              </a:xfrm>
              <a:custGeom>
                <a:avLst/>
                <a:gdLst/>
                <a:ahLst/>
                <a:cxnLst/>
                <a:rect l="l" t="t" r="r" b="b"/>
                <a:pathLst>
                  <a:path w="1311" h="1311" extrusionOk="0">
                    <a:moveTo>
                      <a:pt x="656" y="0"/>
                    </a:moveTo>
                    <a:cubicBezTo>
                      <a:pt x="299" y="0"/>
                      <a:pt x="1" y="298"/>
                      <a:pt x="1" y="655"/>
                    </a:cubicBezTo>
                    <a:cubicBezTo>
                      <a:pt x="1" y="1013"/>
                      <a:pt x="299" y="1310"/>
                      <a:pt x="656" y="1310"/>
                    </a:cubicBezTo>
                    <a:cubicBezTo>
                      <a:pt x="1013" y="1310"/>
                      <a:pt x="1311" y="1013"/>
                      <a:pt x="1311" y="655"/>
                    </a:cubicBezTo>
                    <a:cubicBezTo>
                      <a:pt x="1299" y="560"/>
                      <a:pt x="1227" y="501"/>
                      <a:pt x="1144" y="501"/>
                    </a:cubicBezTo>
                    <a:cubicBezTo>
                      <a:pt x="1061" y="501"/>
                      <a:pt x="1001" y="572"/>
                      <a:pt x="1001" y="643"/>
                    </a:cubicBezTo>
                    <a:cubicBezTo>
                      <a:pt x="1001" y="834"/>
                      <a:pt x="846" y="989"/>
                      <a:pt x="656" y="989"/>
                    </a:cubicBezTo>
                    <a:cubicBezTo>
                      <a:pt x="465" y="989"/>
                      <a:pt x="310" y="834"/>
                      <a:pt x="310" y="643"/>
                    </a:cubicBezTo>
                    <a:cubicBezTo>
                      <a:pt x="310" y="453"/>
                      <a:pt x="465" y="298"/>
                      <a:pt x="656" y="298"/>
                    </a:cubicBezTo>
                    <a:cubicBezTo>
                      <a:pt x="751" y="298"/>
                      <a:pt x="811" y="227"/>
                      <a:pt x="811" y="155"/>
                    </a:cubicBezTo>
                    <a:cubicBezTo>
                      <a:pt x="811" y="84"/>
                      <a:pt x="727" y="0"/>
                      <a:pt x="6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9" name="Google Shape;13749;p64"/>
              <p:cNvSpPr/>
              <p:nvPr/>
            </p:nvSpPr>
            <p:spPr>
              <a:xfrm>
                <a:off x="3417347" y="1749290"/>
                <a:ext cx="41729" cy="41729"/>
              </a:xfrm>
              <a:custGeom>
                <a:avLst/>
                <a:gdLst/>
                <a:ahLst/>
                <a:cxnLst/>
                <a:rect l="l" t="t" r="r" b="b"/>
                <a:pathLst>
                  <a:path w="1311" h="1311" extrusionOk="0">
                    <a:moveTo>
                      <a:pt x="655" y="0"/>
                    </a:moveTo>
                    <a:cubicBezTo>
                      <a:pt x="298" y="0"/>
                      <a:pt x="1" y="298"/>
                      <a:pt x="1" y="655"/>
                    </a:cubicBezTo>
                    <a:cubicBezTo>
                      <a:pt x="1" y="1013"/>
                      <a:pt x="298" y="1310"/>
                      <a:pt x="655" y="1310"/>
                    </a:cubicBezTo>
                    <a:cubicBezTo>
                      <a:pt x="1013" y="1310"/>
                      <a:pt x="1310" y="1013"/>
                      <a:pt x="1310" y="655"/>
                    </a:cubicBezTo>
                    <a:cubicBezTo>
                      <a:pt x="1298" y="560"/>
                      <a:pt x="1239" y="501"/>
                      <a:pt x="1155" y="501"/>
                    </a:cubicBezTo>
                    <a:cubicBezTo>
                      <a:pt x="1060" y="501"/>
                      <a:pt x="1001" y="572"/>
                      <a:pt x="1001" y="643"/>
                    </a:cubicBezTo>
                    <a:cubicBezTo>
                      <a:pt x="1001" y="834"/>
                      <a:pt x="858" y="989"/>
                      <a:pt x="655" y="989"/>
                    </a:cubicBezTo>
                    <a:cubicBezTo>
                      <a:pt x="465" y="989"/>
                      <a:pt x="322" y="834"/>
                      <a:pt x="322" y="643"/>
                    </a:cubicBezTo>
                    <a:cubicBezTo>
                      <a:pt x="322" y="453"/>
                      <a:pt x="465" y="298"/>
                      <a:pt x="655" y="298"/>
                    </a:cubicBezTo>
                    <a:cubicBezTo>
                      <a:pt x="751" y="298"/>
                      <a:pt x="810" y="227"/>
                      <a:pt x="810" y="155"/>
                    </a:cubicBezTo>
                    <a:cubicBezTo>
                      <a:pt x="810" y="84"/>
                      <a:pt x="739" y="0"/>
                      <a:pt x="65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0" name="Google Shape;13750;p64"/>
              <p:cNvSpPr/>
              <p:nvPr/>
            </p:nvSpPr>
            <p:spPr>
              <a:xfrm>
                <a:off x="3464710" y="1536315"/>
                <a:ext cx="41729" cy="41315"/>
              </a:xfrm>
              <a:custGeom>
                <a:avLst/>
                <a:gdLst/>
                <a:ahLst/>
                <a:cxnLst/>
                <a:rect l="l" t="t" r="r" b="b"/>
                <a:pathLst>
                  <a:path w="1311" h="1298" extrusionOk="0">
                    <a:moveTo>
                      <a:pt x="156" y="0"/>
                    </a:moveTo>
                    <a:cubicBezTo>
                      <a:pt x="60" y="0"/>
                      <a:pt x="1" y="72"/>
                      <a:pt x="1" y="143"/>
                    </a:cubicBezTo>
                    <a:cubicBezTo>
                      <a:pt x="1" y="238"/>
                      <a:pt x="84" y="298"/>
                      <a:pt x="156" y="298"/>
                    </a:cubicBezTo>
                    <a:cubicBezTo>
                      <a:pt x="620" y="298"/>
                      <a:pt x="1001" y="667"/>
                      <a:pt x="1001" y="1143"/>
                    </a:cubicBezTo>
                    <a:cubicBezTo>
                      <a:pt x="1001" y="1238"/>
                      <a:pt x="1072" y="1298"/>
                      <a:pt x="1156" y="1298"/>
                    </a:cubicBezTo>
                    <a:cubicBezTo>
                      <a:pt x="1239" y="1298"/>
                      <a:pt x="1299" y="1215"/>
                      <a:pt x="1299" y="1143"/>
                    </a:cubicBezTo>
                    <a:cubicBezTo>
                      <a:pt x="1311" y="524"/>
                      <a:pt x="799"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1" name="Google Shape;13751;p64"/>
              <p:cNvSpPr/>
              <p:nvPr/>
            </p:nvSpPr>
            <p:spPr>
              <a:xfrm>
                <a:off x="3464710" y="1515085"/>
                <a:ext cx="63342" cy="62546"/>
              </a:xfrm>
              <a:custGeom>
                <a:avLst/>
                <a:gdLst/>
                <a:ahLst/>
                <a:cxnLst/>
                <a:rect l="l" t="t" r="r" b="b"/>
                <a:pathLst>
                  <a:path w="1990" h="1965" extrusionOk="0">
                    <a:moveTo>
                      <a:pt x="156" y="0"/>
                    </a:moveTo>
                    <a:cubicBezTo>
                      <a:pt x="60" y="0"/>
                      <a:pt x="1" y="72"/>
                      <a:pt x="1" y="143"/>
                    </a:cubicBezTo>
                    <a:cubicBezTo>
                      <a:pt x="1" y="239"/>
                      <a:pt x="84" y="298"/>
                      <a:pt x="156" y="298"/>
                    </a:cubicBezTo>
                    <a:cubicBezTo>
                      <a:pt x="989" y="298"/>
                      <a:pt x="1668" y="977"/>
                      <a:pt x="1668" y="1810"/>
                    </a:cubicBezTo>
                    <a:cubicBezTo>
                      <a:pt x="1668" y="1905"/>
                      <a:pt x="1751" y="1965"/>
                      <a:pt x="1822" y="1965"/>
                    </a:cubicBezTo>
                    <a:cubicBezTo>
                      <a:pt x="1894" y="1965"/>
                      <a:pt x="1965" y="1882"/>
                      <a:pt x="1965" y="1810"/>
                    </a:cubicBezTo>
                    <a:cubicBezTo>
                      <a:pt x="1989" y="810"/>
                      <a:pt x="1168" y="0"/>
                      <a:pt x="156"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52" name="Google Shape;13752;p64"/>
          <p:cNvGrpSpPr/>
          <p:nvPr/>
        </p:nvGrpSpPr>
        <p:grpSpPr>
          <a:xfrm>
            <a:off x="3716358" y="1544655"/>
            <a:ext cx="361971" cy="314958"/>
            <a:chOff x="3716358" y="1544655"/>
            <a:chExt cx="361971" cy="314958"/>
          </a:xfrm>
        </p:grpSpPr>
        <p:sp>
          <p:nvSpPr>
            <p:cNvPr id="13753" name="Google Shape;13753;p64"/>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4" name="Google Shape;13754;p64"/>
            <p:cNvSpPr/>
            <p:nvPr/>
          </p:nvSpPr>
          <p:spPr>
            <a:xfrm>
              <a:off x="3767509" y="1618532"/>
              <a:ext cx="152020" cy="10663"/>
            </a:xfrm>
            <a:custGeom>
              <a:avLst/>
              <a:gdLst/>
              <a:ahLst/>
              <a:cxnLst/>
              <a:rect l="l" t="t" r="r" b="b"/>
              <a:pathLst>
                <a:path w="4776" h="335" extrusionOk="0">
                  <a:moveTo>
                    <a:pt x="168" y="1"/>
                  </a:moveTo>
                  <a:cubicBezTo>
                    <a:pt x="72" y="1"/>
                    <a:pt x="1" y="72"/>
                    <a:pt x="1" y="168"/>
                  </a:cubicBezTo>
                  <a:cubicBezTo>
                    <a:pt x="1" y="263"/>
                    <a:pt x="72" y="334"/>
                    <a:pt x="168" y="334"/>
                  </a:cubicBezTo>
                  <a:lnTo>
                    <a:pt x="4621" y="334"/>
                  </a:lnTo>
                  <a:cubicBezTo>
                    <a:pt x="4704" y="334"/>
                    <a:pt x="4775" y="263"/>
                    <a:pt x="4775" y="168"/>
                  </a:cubicBezTo>
                  <a:cubicBezTo>
                    <a:pt x="4775" y="72"/>
                    <a:pt x="4704" y="1"/>
                    <a:pt x="462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5" name="Google Shape;13755;p64"/>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6" name="Google Shape;13756;p64"/>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7" name="Google Shape;13757;p64"/>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758" name="Google Shape;13758;p64"/>
            <p:cNvGrpSpPr/>
            <p:nvPr/>
          </p:nvGrpSpPr>
          <p:grpSpPr>
            <a:xfrm>
              <a:off x="3716358" y="1544655"/>
              <a:ext cx="361971" cy="314958"/>
              <a:chOff x="3716358" y="1544655"/>
              <a:chExt cx="361971" cy="314958"/>
            </a:xfrm>
          </p:grpSpPr>
          <p:sp>
            <p:nvSpPr>
              <p:cNvPr id="13759" name="Google Shape;13759;p64"/>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0" name="Google Shape;13760;p64"/>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1" name="Google Shape;13761;p64"/>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2" name="Google Shape;13762;p64"/>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3" name="Google Shape;13763;p64"/>
              <p:cNvSpPr/>
              <p:nvPr/>
            </p:nvSpPr>
            <p:spPr>
              <a:xfrm>
                <a:off x="3716358" y="1544655"/>
                <a:ext cx="361971" cy="314958"/>
              </a:xfrm>
              <a:custGeom>
                <a:avLst/>
                <a:gdLst/>
                <a:ahLst/>
                <a:cxnLst/>
                <a:rect l="l" t="t" r="r" b="b"/>
                <a:pathLst>
                  <a:path w="11372" h="9895" extrusionOk="0">
                    <a:moveTo>
                      <a:pt x="3513" y="6751"/>
                    </a:moveTo>
                    <a:lnTo>
                      <a:pt x="3346" y="7477"/>
                    </a:lnTo>
                    <a:lnTo>
                      <a:pt x="1953" y="7477"/>
                    </a:lnTo>
                    <a:lnTo>
                      <a:pt x="1953" y="7489"/>
                    </a:lnTo>
                    <a:cubicBezTo>
                      <a:pt x="1656" y="7489"/>
                      <a:pt x="1394" y="7251"/>
                      <a:pt x="1394" y="6941"/>
                    </a:cubicBezTo>
                    <a:lnTo>
                      <a:pt x="1394" y="6751"/>
                    </a:lnTo>
                    <a:close/>
                    <a:moveTo>
                      <a:pt x="9430" y="333"/>
                    </a:moveTo>
                    <a:cubicBezTo>
                      <a:pt x="9728" y="333"/>
                      <a:pt x="9990" y="572"/>
                      <a:pt x="9990" y="881"/>
                    </a:cubicBezTo>
                    <a:lnTo>
                      <a:pt x="9990" y="5870"/>
                    </a:lnTo>
                    <a:cubicBezTo>
                      <a:pt x="9990" y="6168"/>
                      <a:pt x="9752" y="6418"/>
                      <a:pt x="9430" y="6418"/>
                    </a:cubicBezTo>
                    <a:lnTo>
                      <a:pt x="6597" y="6418"/>
                    </a:lnTo>
                    <a:cubicBezTo>
                      <a:pt x="6561" y="6418"/>
                      <a:pt x="6537" y="6429"/>
                      <a:pt x="6501" y="6441"/>
                    </a:cubicBezTo>
                    <a:lnTo>
                      <a:pt x="3489" y="8501"/>
                    </a:lnTo>
                    <a:cubicBezTo>
                      <a:pt x="3465" y="8501"/>
                      <a:pt x="3465" y="8489"/>
                      <a:pt x="3465" y="8489"/>
                    </a:cubicBezTo>
                    <a:lnTo>
                      <a:pt x="3906" y="6608"/>
                    </a:lnTo>
                    <a:cubicBezTo>
                      <a:pt x="3918" y="6560"/>
                      <a:pt x="3906" y="6501"/>
                      <a:pt x="3870" y="6477"/>
                    </a:cubicBezTo>
                    <a:cubicBezTo>
                      <a:pt x="3834" y="6429"/>
                      <a:pt x="3799" y="6418"/>
                      <a:pt x="3739" y="6418"/>
                    </a:cubicBezTo>
                    <a:lnTo>
                      <a:pt x="894" y="6418"/>
                    </a:lnTo>
                    <a:cubicBezTo>
                      <a:pt x="596" y="6418"/>
                      <a:pt x="346" y="6179"/>
                      <a:pt x="346" y="5870"/>
                    </a:cubicBezTo>
                    <a:lnTo>
                      <a:pt x="346" y="881"/>
                    </a:lnTo>
                    <a:cubicBezTo>
                      <a:pt x="346" y="584"/>
                      <a:pt x="584" y="333"/>
                      <a:pt x="894" y="333"/>
                    </a:cubicBezTo>
                    <a:close/>
                    <a:moveTo>
                      <a:pt x="10502" y="1405"/>
                    </a:moveTo>
                    <a:cubicBezTo>
                      <a:pt x="10800" y="1405"/>
                      <a:pt x="11061" y="1643"/>
                      <a:pt x="11061" y="1953"/>
                    </a:cubicBezTo>
                    <a:lnTo>
                      <a:pt x="11061" y="6941"/>
                    </a:lnTo>
                    <a:cubicBezTo>
                      <a:pt x="11050" y="7239"/>
                      <a:pt x="10788" y="7489"/>
                      <a:pt x="10490" y="7489"/>
                    </a:cubicBezTo>
                    <a:lnTo>
                      <a:pt x="7656" y="7489"/>
                    </a:lnTo>
                    <a:cubicBezTo>
                      <a:pt x="7609" y="7489"/>
                      <a:pt x="7549" y="7525"/>
                      <a:pt x="7513" y="7549"/>
                    </a:cubicBezTo>
                    <a:cubicBezTo>
                      <a:pt x="7490" y="7596"/>
                      <a:pt x="7478" y="7644"/>
                      <a:pt x="7490" y="7680"/>
                    </a:cubicBezTo>
                    <a:lnTo>
                      <a:pt x="7918" y="9561"/>
                    </a:lnTo>
                    <a:lnTo>
                      <a:pt x="7918" y="9573"/>
                    </a:lnTo>
                    <a:lnTo>
                      <a:pt x="7906" y="9573"/>
                    </a:lnTo>
                    <a:lnTo>
                      <a:pt x="5216" y="7727"/>
                    </a:lnTo>
                    <a:lnTo>
                      <a:pt x="6644" y="6751"/>
                    </a:lnTo>
                    <a:lnTo>
                      <a:pt x="9430" y="6751"/>
                    </a:lnTo>
                    <a:cubicBezTo>
                      <a:pt x="9930" y="6751"/>
                      <a:pt x="10311" y="6358"/>
                      <a:pt x="10311" y="5870"/>
                    </a:cubicBezTo>
                    <a:lnTo>
                      <a:pt x="10311" y="1405"/>
                    </a:lnTo>
                    <a:close/>
                    <a:moveTo>
                      <a:pt x="882" y="0"/>
                    </a:moveTo>
                    <a:cubicBezTo>
                      <a:pt x="393" y="0"/>
                      <a:pt x="1" y="393"/>
                      <a:pt x="1" y="881"/>
                    </a:cubicBezTo>
                    <a:lnTo>
                      <a:pt x="1" y="5870"/>
                    </a:lnTo>
                    <a:cubicBezTo>
                      <a:pt x="1" y="6358"/>
                      <a:pt x="393" y="6739"/>
                      <a:pt x="882" y="6739"/>
                    </a:cubicBezTo>
                    <a:lnTo>
                      <a:pt x="1072" y="6739"/>
                    </a:lnTo>
                    <a:lnTo>
                      <a:pt x="1072" y="6941"/>
                    </a:lnTo>
                    <a:cubicBezTo>
                      <a:pt x="1072" y="7430"/>
                      <a:pt x="1465" y="7811"/>
                      <a:pt x="1953" y="7811"/>
                    </a:cubicBezTo>
                    <a:lnTo>
                      <a:pt x="3275" y="7811"/>
                    </a:lnTo>
                    <a:lnTo>
                      <a:pt x="3144" y="8406"/>
                    </a:lnTo>
                    <a:cubicBezTo>
                      <a:pt x="3108" y="8549"/>
                      <a:pt x="3168" y="8692"/>
                      <a:pt x="3287" y="8763"/>
                    </a:cubicBezTo>
                    <a:cubicBezTo>
                      <a:pt x="3346" y="8811"/>
                      <a:pt x="3430" y="8823"/>
                      <a:pt x="3489" y="8823"/>
                    </a:cubicBezTo>
                    <a:cubicBezTo>
                      <a:pt x="3561" y="8823"/>
                      <a:pt x="3620" y="8811"/>
                      <a:pt x="3680" y="8763"/>
                    </a:cubicBezTo>
                    <a:lnTo>
                      <a:pt x="4918" y="7918"/>
                    </a:lnTo>
                    <a:lnTo>
                      <a:pt x="7704" y="9835"/>
                    </a:lnTo>
                    <a:cubicBezTo>
                      <a:pt x="7763" y="9882"/>
                      <a:pt x="7847" y="9894"/>
                      <a:pt x="7906" y="9894"/>
                    </a:cubicBezTo>
                    <a:cubicBezTo>
                      <a:pt x="7978" y="9894"/>
                      <a:pt x="8037" y="9882"/>
                      <a:pt x="8097" y="9835"/>
                    </a:cubicBezTo>
                    <a:cubicBezTo>
                      <a:pt x="8216" y="9763"/>
                      <a:pt x="8275" y="9620"/>
                      <a:pt x="8240" y="9477"/>
                    </a:cubicBezTo>
                    <a:lnTo>
                      <a:pt x="7859" y="7811"/>
                    </a:lnTo>
                    <a:lnTo>
                      <a:pt x="10490" y="7811"/>
                    </a:lnTo>
                    <a:cubicBezTo>
                      <a:pt x="10978" y="7811"/>
                      <a:pt x="11371" y="7430"/>
                      <a:pt x="11371" y="6941"/>
                    </a:cubicBezTo>
                    <a:lnTo>
                      <a:pt x="11371" y="1953"/>
                    </a:lnTo>
                    <a:cubicBezTo>
                      <a:pt x="11371" y="1476"/>
                      <a:pt x="10966" y="1072"/>
                      <a:pt x="10490" y="1072"/>
                    </a:cubicBezTo>
                    <a:lnTo>
                      <a:pt x="10299" y="1072"/>
                    </a:lnTo>
                    <a:lnTo>
                      <a:pt x="10299" y="881"/>
                    </a:lnTo>
                    <a:cubicBezTo>
                      <a:pt x="10299" y="393"/>
                      <a:pt x="9918" y="0"/>
                      <a:pt x="941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764" name="Google Shape;13764;p64"/>
          <p:cNvGrpSpPr/>
          <p:nvPr/>
        </p:nvGrpSpPr>
        <p:grpSpPr>
          <a:xfrm>
            <a:off x="7011924" y="1557552"/>
            <a:ext cx="499533" cy="305136"/>
            <a:chOff x="7009649" y="1541981"/>
            <a:chExt cx="524940" cy="320655"/>
          </a:xfrm>
        </p:grpSpPr>
        <p:sp>
          <p:nvSpPr>
            <p:cNvPr id="13765" name="Google Shape;13765;p64"/>
            <p:cNvSpPr/>
            <p:nvPr/>
          </p:nvSpPr>
          <p:spPr>
            <a:xfrm>
              <a:off x="7009649" y="1541981"/>
              <a:ext cx="524940" cy="320655"/>
            </a:xfrm>
            <a:custGeom>
              <a:avLst/>
              <a:gdLst/>
              <a:ahLst/>
              <a:cxnLst/>
              <a:rect l="l" t="t" r="r" b="b"/>
              <a:pathLst>
                <a:path w="16492" h="10074" extrusionOk="0">
                  <a:moveTo>
                    <a:pt x="13979" y="1227"/>
                  </a:moveTo>
                  <a:lnTo>
                    <a:pt x="13979" y="6764"/>
                  </a:lnTo>
                  <a:lnTo>
                    <a:pt x="11348" y="6764"/>
                  </a:lnTo>
                  <a:cubicBezTo>
                    <a:pt x="11205" y="6764"/>
                    <a:pt x="11109" y="6871"/>
                    <a:pt x="11109" y="7002"/>
                  </a:cubicBezTo>
                  <a:cubicBezTo>
                    <a:pt x="11109" y="7145"/>
                    <a:pt x="11205" y="7240"/>
                    <a:pt x="11348" y="7240"/>
                  </a:cubicBezTo>
                  <a:lnTo>
                    <a:pt x="13979" y="7240"/>
                  </a:lnTo>
                  <a:lnTo>
                    <a:pt x="13979" y="7514"/>
                  </a:lnTo>
                  <a:lnTo>
                    <a:pt x="2537" y="7514"/>
                  </a:lnTo>
                  <a:lnTo>
                    <a:pt x="2537" y="7240"/>
                  </a:lnTo>
                  <a:lnTo>
                    <a:pt x="10336" y="7240"/>
                  </a:lnTo>
                  <a:cubicBezTo>
                    <a:pt x="10466" y="7240"/>
                    <a:pt x="10574" y="7145"/>
                    <a:pt x="10574" y="7002"/>
                  </a:cubicBezTo>
                  <a:cubicBezTo>
                    <a:pt x="10574" y="6871"/>
                    <a:pt x="10466" y="6764"/>
                    <a:pt x="10336" y="6764"/>
                  </a:cubicBezTo>
                  <a:lnTo>
                    <a:pt x="7014" y="6764"/>
                  </a:lnTo>
                  <a:lnTo>
                    <a:pt x="7014" y="1227"/>
                  </a:lnTo>
                  <a:close/>
                  <a:moveTo>
                    <a:pt x="14169" y="7990"/>
                  </a:moveTo>
                  <a:lnTo>
                    <a:pt x="14943" y="8287"/>
                  </a:lnTo>
                  <a:lnTo>
                    <a:pt x="1537" y="8287"/>
                  </a:lnTo>
                  <a:lnTo>
                    <a:pt x="2323" y="7990"/>
                  </a:lnTo>
                  <a:close/>
                  <a:moveTo>
                    <a:pt x="10240" y="8776"/>
                  </a:moveTo>
                  <a:lnTo>
                    <a:pt x="10014" y="9002"/>
                  </a:lnTo>
                  <a:lnTo>
                    <a:pt x="6526" y="9002"/>
                  </a:lnTo>
                  <a:lnTo>
                    <a:pt x="6299" y="8776"/>
                  </a:lnTo>
                  <a:close/>
                  <a:moveTo>
                    <a:pt x="16003" y="8776"/>
                  </a:moveTo>
                  <a:lnTo>
                    <a:pt x="16003" y="8823"/>
                  </a:lnTo>
                  <a:lnTo>
                    <a:pt x="16015" y="8823"/>
                  </a:lnTo>
                  <a:cubicBezTo>
                    <a:pt x="16015" y="9252"/>
                    <a:pt x="15658" y="9609"/>
                    <a:pt x="15229" y="9609"/>
                  </a:cubicBezTo>
                  <a:lnTo>
                    <a:pt x="1287" y="9609"/>
                  </a:lnTo>
                  <a:cubicBezTo>
                    <a:pt x="846" y="9609"/>
                    <a:pt x="489" y="9252"/>
                    <a:pt x="489" y="8823"/>
                  </a:cubicBezTo>
                  <a:lnTo>
                    <a:pt x="489" y="8776"/>
                  </a:lnTo>
                  <a:lnTo>
                    <a:pt x="5633" y="8776"/>
                  </a:lnTo>
                  <a:lnTo>
                    <a:pt x="6252" y="9407"/>
                  </a:lnTo>
                  <a:cubicBezTo>
                    <a:pt x="6299" y="9454"/>
                    <a:pt x="6359" y="9478"/>
                    <a:pt x="6418" y="9478"/>
                  </a:cubicBezTo>
                  <a:lnTo>
                    <a:pt x="10121" y="9478"/>
                  </a:lnTo>
                  <a:cubicBezTo>
                    <a:pt x="10181" y="9478"/>
                    <a:pt x="10240" y="9454"/>
                    <a:pt x="10288" y="9407"/>
                  </a:cubicBezTo>
                  <a:lnTo>
                    <a:pt x="10907" y="8776"/>
                  </a:lnTo>
                  <a:close/>
                  <a:moveTo>
                    <a:pt x="2811" y="1"/>
                  </a:moveTo>
                  <a:cubicBezTo>
                    <a:pt x="2382" y="1"/>
                    <a:pt x="2037" y="346"/>
                    <a:pt x="2037" y="775"/>
                  </a:cubicBezTo>
                  <a:lnTo>
                    <a:pt x="2037" y="3799"/>
                  </a:lnTo>
                  <a:cubicBezTo>
                    <a:pt x="2037" y="3930"/>
                    <a:pt x="2144" y="4037"/>
                    <a:pt x="2275" y="4037"/>
                  </a:cubicBezTo>
                  <a:cubicBezTo>
                    <a:pt x="2418" y="4037"/>
                    <a:pt x="2513" y="3930"/>
                    <a:pt x="2513" y="3799"/>
                  </a:cubicBezTo>
                  <a:lnTo>
                    <a:pt x="2513" y="1215"/>
                  </a:lnTo>
                  <a:lnTo>
                    <a:pt x="6526" y="1215"/>
                  </a:lnTo>
                  <a:lnTo>
                    <a:pt x="6526" y="6752"/>
                  </a:lnTo>
                  <a:lnTo>
                    <a:pt x="2513" y="6752"/>
                  </a:lnTo>
                  <a:lnTo>
                    <a:pt x="2513" y="4763"/>
                  </a:lnTo>
                  <a:cubicBezTo>
                    <a:pt x="2513" y="4632"/>
                    <a:pt x="2418" y="4525"/>
                    <a:pt x="2275" y="4525"/>
                  </a:cubicBezTo>
                  <a:cubicBezTo>
                    <a:pt x="2144" y="4525"/>
                    <a:pt x="2037" y="4632"/>
                    <a:pt x="2037" y="4763"/>
                  </a:cubicBezTo>
                  <a:lnTo>
                    <a:pt x="2037" y="7573"/>
                  </a:lnTo>
                  <a:lnTo>
                    <a:pt x="156" y="8299"/>
                  </a:lnTo>
                  <a:cubicBezTo>
                    <a:pt x="60" y="8335"/>
                    <a:pt x="1" y="8430"/>
                    <a:pt x="1" y="8526"/>
                  </a:cubicBezTo>
                  <a:lnTo>
                    <a:pt x="1" y="8811"/>
                  </a:lnTo>
                  <a:cubicBezTo>
                    <a:pt x="1" y="9502"/>
                    <a:pt x="572" y="10073"/>
                    <a:pt x="1263" y="10073"/>
                  </a:cubicBezTo>
                  <a:lnTo>
                    <a:pt x="15217" y="10073"/>
                  </a:lnTo>
                  <a:cubicBezTo>
                    <a:pt x="15908" y="10073"/>
                    <a:pt x="16479" y="9502"/>
                    <a:pt x="16479" y="8811"/>
                  </a:cubicBezTo>
                  <a:lnTo>
                    <a:pt x="16479" y="8526"/>
                  </a:lnTo>
                  <a:cubicBezTo>
                    <a:pt x="16491" y="8430"/>
                    <a:pt x="16432" y="8347"/>
                    <a:pt x="16348" y="8323"/>
                  </a:cubicBezTo>
                  <a:lnTo>
                    <a:pt x="14467" y="7585"/>
                  </a:lnTo>
                  <a:lnTo>
                    <a:pt x="14467" y="775"/>
                  </a:lnTo>
                  <a:cubicBezTo>
                    <a:pt x="14467" y="346"/>
                    <a:pt x="14122" y="1"/>
                    <a:pt x="13693" y="1"/>
                  </a:cubicBezTo>
                  <a:lnTo>
                    <a:pt x="11550" y="1"/>
                  </a:lnTo>
                  <a:cubicBezTo>
                    <a:pt x="11419" y="1"/>
                    <a:pt x="11312" y="108"/>
                    <a:pt x="11312" y="239"/>
                  </a:cubicBezTo>
                  <a:cubicBezTo>
                    <a:pt x="11312" y="370"/>
                    <a:pt x="11419" y="477"/>
                    <a:pt x="11550" y="477"/>
                  </a:cubicBezTo>
                  <a:lnTo>
                    <a:pt x="13693" y="477"/>
                  </a:lnTo>
                  <a:cubicBezTo>
                    <a:pt x="13848" y="477"/>
                    <a:pt x="13967" y="596"/>
                    <a:pt x="13979" y="739"/>
                  </a:cubicBezTo>
                  <a:lnTo>
                    <a:pt x="2537" y="739"/>
                  </a:lnTo>
                  <a:cubicBezTo>
                    <a:pt x="2549" y="596"/>
                    <a:pt x="2668" y="477"/>
                    <a:pt x="2811" y="477"/>
                  </a:cubicBezTo>
                  <a:lnTo>
                    <a:pt x="10586" y="477"/>
                  </a:lnTo>
                  <a:cubicBezTo>
                    <a:pt x="10717" y="477"/>
                    <a:pt x="10824" y="370"/>
                    <a:pt x="10824" y="239"/>
                  </a:cubicBezTo>
                  <a:cubicBezTo>
                    <a:pt x="10824" y="108"/>
                    <a:pt x="10717" y="1"/>
                    <a:pt x="1058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6" name="Google Shape;13766;p64"/>
            <p:cNvSpPr/>
            <p:nvPr/>
          </p:nvSpPr>
          <p:spPr>
            <a:xfrm>
              <a:off x="7110104" y="1604909"/>
              <a:ext cx="61782" cy="41697"/>
            </a:xfrm>
            <a:custGeom>
              <a:avLst/>
              <a:gdLst/>
              <a:ahLst/>
              <a:cxnLst/>
              <a:rect l="l" t="t" r="r" b="b"/>
              <a:pathLst>
                <a:path w="1941" h="1310" extrusionOk="0">
                  <a:moveTo>
                    <a:pt x="1441" y="488"/>
                  </a:moveTo>
                  <a:lnTo>
                    <a:pt x="1441" y="834"/>
                  </a:lnTo>
                  <a:lnTo>
                    <a:pt x="488" y="834"/>
                  </a:lnTo>
                  <a:lnTo>
                    <a:pt x="488" y="488"/>
                  </a:lnTo>
                  <a:close/>
                  <a:moveTo>
                    <a:pt x="238" y="0"/>
                  </a:moveTo>
                  <a:cubicBezTo>
                    <a:pt x="107" y="0"/>
                    <a:pt x="0" y="107"/>
                    <a:pt x="0" y="238"/>
                  </a:cubicBezTo>
                  <a:lnTo>
                    <a:pt x="0" y="1072"/>
                  </a:lnTo>
                  <a:cubicBezTo>
                    <a:pt x="0" y="1203"/>
                    <a:pt x="107" y="1310"/>
                    <a:pt x="238" y="1310"/>
                  </a:cubicBezTo>
                  <a:lnTo>
                    <a:pt x="1679" y="1310"/>
                  </a:lnTo>
                  <a:cubicBezTo>
                    <a:pt x="1822" y="1310"/>
                    <a:pt x="1917" y="1203"/>
                    <a:pt x="1917" y="1072"/>
                  </a:cubicBezTo>
                  <a:lnTo>
                    <a:pt x="1917" y="238"/>
                  </a:lnTo>
                  <a:cubicBezTo>
                    <a:pt x="1941" y="119"/>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7" name="Google Shape;13767;p64"/>
            <p:cNvSpPr/>
            <p:nvPr/>
          </p:nvSpPr>
          <p:spPr>
            <a:xfrm>
              <a:off x="7110455" y="1655296"/>
              <a:ext cx="96700" cy="15183"/>
            </a:xfrm>
            <a:custGeom>
              <a:avLst/>
              <a:gdLst/>
              <a:ahLst/>
              <a:cxnLst/>
              <a:rect l="l" t="t" r="r" b="b"/>
              <a:pathLst>
                <a:path w="3038" h="477" extrusionOk="0">
                  <a:moveTo>
                    <a:pt x="239" y="1"/>
                  </a:moveTo>
                  <a:cubicBezTo>
                    <a:pt x="108" y="1"/>
                    <a:pt x="1" y="96"/>
                    <a:pt x="1" y="239"/>
                  </a:cubicBezTo>
                  <a:cubicBezTo>
                    <a:pt x="1" y="370"/>
                    <a:pt x="108" y="477"/>
                    <a:pt x="239" y="477"/>
                  </a:cubicBezTo>
                  <a:lnTo>
                    <a:pt x="2799" y="477"/>
                  </a:lnTo>
                  <a:cubicBezTo>
                    <a:pt x="2942" y="477"/>
                    <a:pt x="3037" y="370"/>
                    <a:pt x="3037" y="239"/>
                  </a:cubicBezTo>
                  <a:cubicBezTo>
                    <a:pt x="3037" y="96"/>
                    <a:pt x="2942" y="1"/>
                    <a:pt x="2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8" name="Google Shape;13768;p64"/>
            <p:cNvSpPr/>
            <p:nvPr/>
          </p:nvSpPr>
          <p:spPr>
            <a:xfrm>
              <a:off x="7146104" y="1676909"/>
              <a:ext cx="61050" cy="41729"/>
            </a:xfrm>
            <a:custGeom>
              <a:avLst/>
              <a:gdLst/>
              <a:ahLst/>
              <a:cxnLst/>
              <a:rect l="l" t="t" r="r" b="b"/>
              <a:pathLst>
                <a:path w="1918" h="1311" extrusionOk="0">
                  <a:moveTo>
                    <a:pt x="1441" y="489"/>
                  </a:moveTo>
                  <a:lnTo>
                    <a:pt x="1441" y="834"/>
                  </a:lnTo>
                  <a:lnTo>
                    <a:pt x="488" y="834"/>
                  </a:lnTo>
                  <a:lnTo>
                    <a:pt x="488" y="489"/>
                  </a:lnTo>
                  <a:close/>
                  <a:moveTo>
                    <a:pt x="238" y="0"/>
                  </a:moveTo>
                  <a:cubicBezTo>
                    <a:pt x="107" y="0"/>
                    <a:pt x="0" y="108"/>
                    <a:pt x="0" y="239"/>
                  </a:cubicBezTo>
                  <a:lnTo>
                    <a:pt x="0" y="1072"/>
                  </a:lnTo>
                  <a:cubicBezTo>
                    <a:pt x="0" y="1203"/>
                    <a:pt x="107" y="1310"/>
                    <a:pt x="238" y="1310"/>
                  </a:cubicBezTo>
                  <a:lnTo>
                    <a:pt x="1679" y="1310"/>
                  </a:lnTo>
                  <a:cubicBezTo>
                    <a:pt x="1822" y="1310"/>
                    <a:pt x="1917" y="1203"/>
                    <a:pt x="1917" y="1072"/>
                  </a:cubicBezTo>
                  <a:lnTo>
                    <a:pt x="1917" y="239"/>
                  </a:lnTo>
                  <a:cubicBezTo>
                    <a:pt x="1917" y="108"/>
                    <a:pt x="1822" y="0"/>
                    <a:pt x="167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9" name="Google Shape;13769;p64"/>
            <p:cNvSpPr/>
            <p:nvPr/>
          </p:nvSpPr>
          <p:spPr>
            <a:xfrm>
              <a:off x="7110455" y="1726563"/>
              <a:ext cx="96700" cy="15183"/>
            </a:xfrm>
            <a:custGeom>
              <a:avLst/>
              <a:gdLst/>
              <a:ahLst/>
              <a:cxnLst/>
              <a:rect l="l" t="t" r="r" b="b"/>
              <a:pathLst>
                <a:path w="3038" h="477" extrusionOk="0">
                  <a:moveTo>
                    <a:pt x="239" y="0"/>
                  </a:moveTo>
                  <a:cubicBezTo>
                    <a:pt x="108" y="0"/>
                    <a:pt x="1" y="107"/>
                    <a:pt x="1" y="238"/>
                  </a:cubicBezTo>
                  <a:cubicBezTo>
                    <a:pt x="1" y="381"/>
                    <a:pt x="108" y="476"/>
                    <a:pt x="239" y="476"/>
                  </a:cubicBezTo>
                  <a:lnTo>
                    <a:pt x="2799" y="476"/>
                  </a:lnTo>
                  <a:cubicBezTo>
                    <a:pt x="2942" y="476"/>
                    <a:pt x="3037" y="381"/>
                    <a:pt x="3037" y="238"/>
                  </a:cubicBezTo>
                  <a:cubicBezTo>
                    <a:pt x="3037" y="107"/>
                    <a:pt x="2942" y="0"/>
                    <a:pt x="279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0" name="Google Shape;13770;p64"/>
            <p:cNvSpPr/>
            <p:nvPr/>
          </p:nvSpPr>
          <p:spPr>
            <a:xfrm>
              <a:off x="7262825" y="1636739"/>
              <a:ext cx="48541" cy="80371"/>
            </a:xfrm>
            <a:custGeom>
              <a:avLst/>
              <a:gdLst/>
              <a:ahLst/>
              <a:cxnLst/>
              <a:rect l="l" t="t" r="r" b="b"/>
              <a:pathLst>
                <a:path w="1525" h="2525" extrusionOk="0">
                  <a:moveTo>
                    <a:pt x="1268" y="0"/>
                  </a:moveTo>
                  <a:cubicBezTo>
                    <a:pt x="1206" y="0"/>
                    <a:pt x="1143" y="24"/>
                    <a:pt x="1096" y="72"/>
                  </a:cubicBezTo>
                  <a:lnTo>
                    <a:pt x="72" y="1096"/>
                  </a:lnTo>
                  <a:cubicBezTo>
                    <a:pt x="24" y="1143"/>
                    <a:pt x="0" y="1203"/>
                    <a:pt x="0" y="1262"/>
                  </a:cubicBezTo>
                  <a:cubicBezTo>
                    <a:pt x="0" y="1322"/>
                    <a:pt x="24" y="1381"/>
                    <a:pt x="72" y="1429"/>
                  </a:cubicBezTo>
                  <a:lnTo>
                    <a:pt x="1096" y="2453"/>
                  </a:lnTo>
                  <a:cubicBezTo>
                    <a:pt x="1143" y="2501"/>
                    <a:pt x="1203" y="2524"/>
                    <a:pt x="1262" y="2524"/>
                  </a:cubicBezTo>
                  <a:cubicBezTo>
                    <a:pt x="1322" y="2524"/>
                    <a:pt x="1381" y="2501"/>
                    <a:pt x="1429" y="2453"/>
                  </a:cubicBezTo>
                  <a:cubicBezTo>
                    <a:pt x="1524" y="2370"/>
                    <a:pt x="1524" y="2215"/>
                    <a:pt x="1441" y="2108"/>
                  </a:cubicBezTo>
                  <a:lnTo>
                    <a:pt x="596" y="1262"/>
                  </a:lnTo>
                  <a:lnTo>
                    <a:pt x="1441" y="417"/>
                  </a:lnTo>
                  <a:cubicBezTo>
                    <a:pt x="1524" y="322"/>
                    <a:pt x="1524" y="167"/>
                    <a:pt x="1441" y="72"/>
                  </a:cubicBezTo>
                  <a:cubicBezTo>
                    <a:pt x="1393" y="24"/>
                    <a:pt x="1331" y="0"/>
                    <a:pt x="12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1" name="Google Shape;13771;p64"/>
            <p:cNvSpPr/>
            <p:nvPr/>
          </p:nvSpPr>
          <p:spPr>
            <a:xfrm>
              <a:off x="7380691" y="1636357"/>
              <a:ext cx="48891" cy="80371"/>
            </a:xfrm>
            <a:custGeom>
              <a:avLst/>
              <a:gdLst/>
              <a:ahLst/>
              <a:cxnLst/>
              <a:rect l="l" t="t" r="r" b="b"/>
              <a:pathLst>
                <a:path w="1536" h="2525" extrusionOk="0">
                  <a:moveTo>
                    <a:pt x="261" y="0"/>
                  </a:moveTo>
                  <a:cubicBezTo>
                    <a:pt x="197" y="0"/>
                    <a:pt x="131" y="24"/>
                    <a:pt x="83" y="72"/>
                  </a:cubicBezTo>
                  <a:cubicBezTo>
                    <a:pt x="0" y="155"/>
                    <a:pt x="0" y="322"/>
                    <a:pt x="83" y="417"/>
                  </a:cubicBezTo>
                  <a:lnTo>
                    <a:pt x="941" y="1262"/>
                  </a:lnTo>
                  <a:lnTo>
                    <a:pt x="83" y="2108"/>
                  </a:lnTo>
                  <a:cubicBezTo>
                    <a:pt x="0" y="2203"/>
                    <a:pt x="0" y="2358"/>
                    <a:pt x="83" y="2453"/>
                  </a:cubicBezTo>
                  <a:cubicBezTo>
                    <a:pt x="131" y="2501"/>
                    <a:pt x="191" y="2525"/>
                    <a:pt x="250" y="2525"/>
                  </a:cubicBezTo>
                  <a:cubicBezTo>
                    <a:pt x="310" y="2525"/>
                    <a:pt x="369" y="2501"/>
                    <a:pt x="417" y="2453"/>
                  </a:cubicBezTo>
                  <a:lnTo>
                    <a:pt x="1441" y="1429"/>
                  </a:lnTo>
                  <a:cubicBezTo>
                    <a:pt x="1488" y="1382"/>
                    <a:pt x="1512" y="1322"/>
                    <a:pt x="1512" y="1262"/>
                  </a:cubicBezTo>
                  <a:cubicBezTo>
                    <a:pt x="1536" y="1203"/>
                    <a:pt x="1500" y="1143"/>
                    <a:pt x="1453" y="1096"/>
                  </a:cubicBezTo>
                  <a:lnTo>
                    <a:pt x="429" y="72"/>
                  </a:lnTo>
                  <a:cubicBezTo>
                    <a:pt x="387" y="24"/>
                    <a:pt x="325" y="0"/>
                    <a:pt x="261"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2" name="Google Shape;13772;p64"/>
            <p:cNvSpPr/>
            <p:nvPr/>
          </p:nvSpPr>
          <p:spPr>
            <a:xfrm>
              <a:off x="7321933" y="1626744"/>
              <a:ext cx="48923" cy="99851"/>
            </a:xfrm>
            <a:custGeom>
              <a:avLst/>
              <a:gdLst/>
              <a:ahLst/>
              <a:cxnLst/>
              <a:rect l="l" t="t" r="r" b="b"/>
              <a:pathLst>
                <a:path w="1537" h="3137" extrusionOk="0">
                  <a:moveTo>
                    <a:pt x="1249" y="0"/>
                  </a:moveTo>
                  <a:cubicBezTo>
                    <a:pt x="1154" y="0"/>
                    <a:pt x="1061" y="59"/>
                    <a:pt x="1025" y="160"/>
                  </a:cubicBezTo>
                  <a:lnTo>
                    <a:pt x="48" y="2815"/>
                  </a:lnTo>
                  <a:cubicBezTo>
                    <a:pt x="1" y="2934"/>
                    <a:pt x="60" y="3077"/>
                    <a:pt x="191" y="3124"/>
                  </a:cubicBezTo>
                  <a:cubicBezTo>
                    <a:pt x="227" y="3136"/>
                    <a:pt x="251" y="3136"/>
                    <a:pt x="286" y="3136"/>
                  </a:cubicBezTo>
                  <a:cubicBezTo>
                    <a:pt x="382" y="3136"/>
                    <a:pt x="477" y="3077"/>
                    <a:pt x="501" y="2981"/>
                  </a:cubicBezTo>
                  <a:lnTo>
                    <a:pt x="1489" y="326"/>
                  </a:lnTo>
                  <a:cubicBezTo>
                    <a:pt x="1537" y="207"/>
                    <a:pt x="1477" y="64"/>
                    <a:pt x="1334" y="17"/>
                  </a:cubicBezTo>
                  <a:cubicBezTo>
                    <a:pt x="1307" y="6"/>
                    <a:pt x="1278" y="0"/>
                    <a:pt x="1249"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3" name="Google Shape;13773;p64"/>
          <p:cNvGrpSpPr/>
          <p:nvPr/>
        </p:nvGrpSpPr>
        <p:grpSpPr>
          <a:xfrm>
            <a:off x="8034034" y="1518109"/>
            <a:ext cx="282746" cy="340358"/>
            <a:chOff x="8034034" y="1518109"/>
            <a:chExt cx="282746" cy="340358"/>
          </a:xfrm>
        </p:grpSpPr>
        <p:sp>
          <p:nvSpPr>
            <p:cNvPr id="13774" name="Google Shape;13774;p64"/>
            <p:cNvSpPr/>
            <p:nvPr/>
          </p:nvSpPr>
          <p:spPr>
            <a:xfrm>
              <a:off x="8034034" y="1518109"/>
              <a:ext cx="282746" cy="340358"/>
            </a:xfrm>
            <a:custGeom>
              <a:avLst/>
              <a:gdLst/>
              <a:ahLst/>
              <a:cxnLst/>
              <a:rect l="l" t="t" r="r" b="b"/>
              <a:pathLst>
                <a:path w="8883" h="10693" extrusionOk="0">
                  <a:moveTo>
                    <a:pt x="4525" y="322"/>
                  </a:moveTo>
                  <a:cubicBezTo>
                    <a:pt x="4858" y="322"/>
                    <a:pt x="5144" y="560"/>
                    <a:pt x="5204" y="882"/>
                  </a:cubicBezTo>
                  <a:lnTo>
                    <a:pt x="3715" y="882"/>
                  </a:lnTo>
                  <a:cubicBezTo>
                    <a:pt x="3775" y="560"/>
                    <a:pt x="4061" y="322"/>
                    <a:pt x="4406" y="322"/>
                  </a:cubicBezTo>
                  <a:close/>
                  <a:moveTo>
                    <a:pt x="6347" y="1191"/>
                  </a:moveTo>
                  <a:cubicBezTo>
                    <a:pt x="6728" y="1191"/>
                    <a:pt x="7085" y="1370"/>
                    <a:pt x="7287" y="1668"/>
                  </a:cubicBezTo>
                  <a:lnTo>
                    <a:pt x="1608" y="1668"/>
                  </a:lnTo>
                  <a:cubicBezTo>
                    <a:pt x="1810" y="1370"/>
                    <a:pt x="2167" y="1191"/>
                    <a:pt x="2537" y="1191"/>
                  </a:cubicBezTo>
                  <a:close/>
                  <a:moveTo>
                    <a:pt x="4382" y="1"/>
                  </a:moveTo>
                  <a:cubicBezTo>
                    <a:pt x="3882" y="1"/>
                    <a:pt x="3453" y="394"/>
                    <a:pt x="3370" y="882"/>
                  </a:cubicBezTo>
                  <a:lnTo>
                    <a:pt x="2525" y="882"/>
                  </a:lnTo>
                  <a:cubicBezTo>
                    <a:pt x="1977" y="882"/>
                    <a:pt x="1465" y="1191"/>
                    <a:pt x="1215" y="1668"/>
                  </a:cubicBezTo>
                  <a:lnTo>
                    <a:pt x="632" y="1668"/>
                  </a:lnTo>
                  <a:cubicBezTo>
                    <a:pt x="274" y="1668"/>
                    <a:pt x="0" y="1953"/>
                    <a:pt x="0" y="2310"/>
                  </a:cubicBezTo>
                  <a:cubicBezTo>
                    <a:pt x="0" y="2668"/>
                    <a:pt x="274" y="2953"/>
                    <a:pt x="632" y="2953"/>
                  </a:cubicBezTo>
                  <a:lnTo>
                    <a:pt x="1072" y="2953"/>
                  </a:lnTo>
                  <a:lnTo>
                    <a:pt x="1453" y="10002"/>
                  </a:lnTo>
                  <a:cubicBezTo>
                    <a:pt x="1465" y="10395"/>
                    <a:pt x="1798" y="10692"/>
                    <a:pt x="2167" y="10692"/>
                  </a:cubicBezTo>
                  <a:lnTo>
                    <a:pt x="4763" y="10692"/>
                  </a:lnTo>
                  <a:cubicBezTo>
                    <a:pt x="4846" y="10692"/>
                    <a:pt x="4906" y="10621"/>
                    <a:pt x="4906" y="10538"/>
                  </a:cubicBezTo>
                  <a:cubicBezTo>
                    <a:pt x="4906" y="10454"/>
                    <a:pt x="4834" y="10395"/>
                    <a:pt x="4763" y="10395"/>
                  </a:cubicBezTo>
                  <a:lnTo>
                    <a:pt x="2167" y="10395"/>
                  </a:lnTo>
                  <a:cubicBezTo>
                    <a:pt x="1941" y="10395"/>
                    <a:pt x="1763" y="10228"/>
                    <a:pt x="1763" y="10002"/>
                  </a:cubicBezTo>
                  <a:lnTo>
                    <a:pt x="1382" y="2965"/>
                  </a:lnTo>
                  <a:lnTo>
                    <a:pt x="2215" y="2965"/>
                  </a:lnTo>
                  <a:cubicBezTo>
                    <a:pt x="2298" y="2965"/>
                    <a:pt x="2358" y="2894"/>
                    <a:pt x="2358" y="2811"/>
                  </a:cubicBezTo>
                  <a:cubicBezTo>
                    <a:pt x="2358" y="2727"/>
                    <a:pt x="2286" y="2668"/>
                    <a:pt x="2215" y="2668"/>
                  </a:cubicBezTo>
                  <a:lnTo>
                    <a:pt x="620" y="2668"/>
                  </a:lnTo>
                  <a:cubicBezTo>
                    <a:pt x="441" y="2668"/>
                    <a:pt x="298" y="2513"/>
                    <a:pt x="298" y="2334"/>
                  </a:cubicBezTo>
                  <a:cubicBezTo>
                    <a:pt x="298" y="2168"/>
                    <a:pt x="441" y="2013"/>
                    <a:pt x="620" y="2013"/>
                  </a:cubicBezTo>
                  <a:lnTo>
                    <a:pt x="8216" y="2013"/>
                  </a:lnTo>
                  <a:cubicBezTo>
                    <a:pt x="8394" y="2013"/>
                    <a:pt x="8537" y="2168"/>
                    <a:pt x="8537" y="2334"/>
                  </a:cubicBezTo>
                  <a:cubicBezTo>
                    <a:pt x="8537" y="2513"/>
                    <a:pt x="8394" y="2668"/>
                    <a:pt x="8216" y="2668"/>
                  </a:cubicBezTo>
                  <a:lnTo>
                    <a:pt x="2941" y="2668"/>
                  </a:lnTo>
                  <a:cubicBezTo>
                    <a:pt x="2858" y="2668"/>
                    <a:pt x="2798" y="2739"/>
                    <a:pt x="2798" y="2811"/>
                  </a:cubicBezTo>
                  <a:cubicBezTo>
                    <a:pt x="2798" y="2906"/>
                    <a:pt x="2870" y="2965"/>
                    <a:pt x="2941" y="2965"/>
                  </a:cubicBezTo>
                  <a:lnTo>
                    <a:pt x="7466" y="2965"/>
                  </a:lnTo>
                  <a:lnTo>
                    <a:pt x="7061" y="10002"/>
                  </a:lnTo>
                  <a:cubicBezTo>
                    <a:pt x="7049" y="10228"/>
                    <a:pt x="6870" y="10395"/>
                    <a:pt x="6668" y="10395"/>
                  </a:cubicBezTo>
                  <a:lnTo>
                    <a:pt x="5501" y="10395"/>
                  </a:lnTo>
                  <a:cubicBezTo>
                    <a:pt x="5418" y="10395"/>
                    <a:pt x="5358" y="10466"/>
                    <a:pt x="5358" y="10538"/>
                  </a:cubicBezTo>
                  <a:cubicBezTo>
                    <a:pt x="5358" y="10633"/>
                    <a:pt x="5430" y="10692"/>
                    <a:pt x="5501" y="10692"/>
                  </a:cubicBezTo>
                  <a:lnTo>
                    <a:pt x="6668" y="10692"/>
                  </a:lnTo>
                  <a:cubicBezTo>
                    <a:pt x="7049" y="10692"/>
                    <a:pt x="7359" y="10395"/>
                    <a:pt x="7370" y="10002"/>
                  </a:cubicBezTo>
                  <a:lnTo>
                    <a:pt x="7775" y="2930"/>
                  </a:lnTo>
                  <a:lnTo>
                    <a:pt x="8216" y="2930"/>
                  </a:lnTo>
                  <a:cubicBezTo>
                    <a:pt x="8573" y="2930"/>
                    <a:pt x="8847" y="2656"/>
                    <a:pt x="8847" y="2299"/>
                  </a:cubicBezTo>
                  <a:cubicBezTo>
                    <a:pt x="8883" y="1953"/>
                    <a:pt x="8597" y="1668"/>
                    <a:pt x="8252" y="1668"/>
                  </a:cubicBezTo>
                  <a:lnTo>
                    <a:pt x="7656" y="1668"/>
                  </a:lnTo>
                  <a:cubicBezTo>
                    <a:pt x="7406" y="1179"/>
                    <a:pt x="6918" y="882"/>
                    <a:pt x="6347" y="882"/>
                  </a:cubicBezTo>
                  <a:lnTo>
                    <a:pt x="5513" y="882"/>
                  </a:lnTo>
                  <a:cubicBezTo>
                    <a:pt x="5442" y="394"/>
                    <a:pt x="5025" y="1"/>
                    <a:pt x="450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5" name="Google Shape;13775;p64"/>
            <p:cNvSpPr/>
            <p:nvPr/>
          </p:nvSpPr>
          <p:spPr>
            <a:xfrm>
              <a:off x="8161736" y="1632569"/>
              <a:ext cx="28456" cy="173601"/>
            </a:xfrm>
            <a:custGeom>
              <a:avLst/>
              <a:gdLst/>
              <a:ahLst/>
              <a:cxnLst/>
              <a:rect l="l" t="t" r="r" b="b"/>
              <a:pathLst>
                <a:path w="894" h="5454" extrusionOk="0">
                  <a:moveTo>
                    <a:pt x="469" y="321"/>
                  </a:moveTo>
                  <a:cubicBezTo>
                    <a:pt x="533" y="321"/>
                    <a:pt x="584" y="387"/>
                    <a:pt x="584" y="453"/>
                  </a:cubicBezTo>
                  <a:lnTo>
                    <a:pt x="584" y="5025"/>
                  </a:lnTo>
                  <a:cubicBezTo>
                    <a:pt x="584" y="5096"/>
                    <a:pt x="525" y="5156"/>
                    <a:pt x="453" y="5156"/>
                  </a:cubicBezTo>
                  <a:cubicBezTo>
                    <a:pt x="370" y="5156"/>
                    <a:pt x="310" y="5096"/>
                    <a:pt x="310" y="5025"/>
                  </a:cubicBezTo>
                  <a:lnTo>
                    <a:pt x="310" y="453"/>
                  </a:lnTo>
                  <a:cubicBezTo>
                    <a:pt x="310" y="381"/>
                    <a:pt x="370" y="322"/>
                    <a:pt x="453" y="322"/>
                  </a:cubicBezTo>
                  <a:cubicBezTo>
                    <a:pt x="459" y="321"/>
                    <a:pt x="464" y="321"/>
                    <a:pt x="469" y="321"/>
                  </a:cubicBezTo>
                  <a:close/>
                  <a:moveTo>
                    <a:pt x="453" y="0"/>
                  </a:moveTo>
                  <a:cubicBezTo>
                    <a:pt x="191" y="0"/>
                    <a:pt x="1" y="203"/>
                    <a:pt x="1" y="441"/>
                  </a:cubicBezTo>
                  <a:lnTo>
                    <a:pt x="1" y="5013"/>
                  </a:lnTo>
                  <a:cubicBezTo>
                    <a:pt x="1" y="5263"/>
                    <a:pt x="215" y="5453"/>
                    <a:pt x="453" y="5453"/>
                  </a:cubicBezTo>
                  <a:cubicBezTo>
                    <a:pt x="703" y="5453"/>
                    <a:pt x="894" y="5251"/>
                    <a:pt x="894" y="5013"/>
                  </a:cubicBezTo>
                  <a:lnTo>
                    <a:pt x="894" y="441"/>
                  </a:lnTo>
                  <a:cubicBezTo>
                    <a:pt x="894" y="203"/>
                    <a:pt x="691" y="0"/>
                    <a:pt x="45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6" name="Google Shape;13776;p64"/>
            <p:cNvSpPr/>
            <p:nvPr/>
          </p:nvSpPr>
          <p:spPr>
            <a:xfrm>
              <a:off x="8214796" y="1632951"/>
              <a:ext cx="33008" cy="173601"/>
            </a:xfrm>
            <a:custGeom>
              <a:avLst/>
              <a:gdLst/>
              <a:ahLst/>
              <a:cxnLst/>
              <a:rect l="l" t="t" r="r" b="b"/>
              <a:pathLst>
                <a:path w="1037" h="5454" extrusionOk="0">
                  <a:moveTo>
                    <a:pt x="584" y="0"/>
                  </a:moveTo>
                  <a:cubicBezTo>
                    <a:pt x="322" y="0"/>
                    <a:pt x="132" y="191"/>
                    <a:pt x="132" y="429"/>
                  </a:cubicBezTo>
                  <a:lnTo>
                    <a:pt x="1" y="5001"/>
                  </a:lnTo>
                  <a:cubicBezTo>
                    <a:pt x="1" y="5120"/>
                    <a:pt x="48" y="5239"/>
                    <a:pt x="132" y="5322"/>
                  </a:cubicBezTo>
                  <a:cubicBezTo>
                    <a:pt x="227" y="5418"/>
                    <a:pt x="322" y="5453"/>
                    <a:pt x="465" y="5453"/>
                  </a:cubicBezTo>
                  <a:cubicBezTo>
                    <a:pt x="715" y="5453"/>
                    <a:pt x="906" y="5263"/>
                    <a:pt x="906" y="5025"/>
                  </a:cubicBezTo>
                  <a:lnTo>
                    <a:pt x="918" y="4298"/>
                  </a:lnTo>
                  <a:cubicBezTo>
                    <a:pt x="918" y="4215"/>
                    <a:pt x="858" y="4132"/>
                    <a:pt x="775" y="4132"/>
                  </a:cubicBezTo>
                  <a:cubicBezTo>
                    <a:pt x="679" y="4132"/>
                    <a:pt x="608" y="4191"/>
                    <a:pt x="608" y="4287"/>
                  </a:cubicBezTo>
                  <a:lnTo>
                    <a:pt x="596" y="5013"/>
                  </a:lnTo>
                  <a:cubicBezTo>
                    <a:pt x="596" y="5084"/>
                    <a:pt x="537" y="5144"/>
                    <a:pt x="465" y="5144"/>
                  </a:cubicBezTo>
                  <a:cubicBezTo>
                    <a:pt x="417" y="5144"/>
                    <a:pt x="382" y="5132"/>
                    <a:pt x="358" y="5096"/>
                  </a:cubicBezTo>
                  <a:cubicBezTo>
                    <a:pt x="322" y="5072"/>
                    <a:pt x="310" y="5037"/>
                    <a:pt x="310" y="5001"/>
                  </a:cubicBezTo>
                  <a:lnTo>
                    <a:pt x="441" y="429"/>
                  </a:lnTo>
                  <a:cubicBezTo>
                    <a:pt x="441" y="357"/>
                    <a:pt x="501" y="298"/>
                    <a:pt x="584" y="298"/>
                  </a:cubicBezTo>
                  <a:cubicBezTo>
                    <a:pt x="620" y="298"/>
                    <a:pt x="656" y="310"/>
                    <a:pt x="691" y="346"/>
                  </a:cubicBezTo>
                  <a:cubicBezTo>
                    <a:pt x="715" y="369"/>
                    <a:pt x="727" y="393"/>
                    <a:pt x="727" y="441"/>
                  </a:cubicBezTo>
                  <a:lnTo>
                    <a:pt x="644" y="3548"/>
                  </a:lnTo>
                  <a:cubicBezTo>
                    <a:pt x="632" y="3644"/>
                    <a:pt x="703" y="3715"/>
                    <a:pt x="787" y="3715"/>
                  </a:cubicBezTo>
                  <a:cubicBezTo>
                    <a:pt x="882" y="3715"/>
                    <a:pt x="953" y="3655"/>
                    <a:pt x="953" y="3572"/>
                  </a:cubicBezTo>
                  <a:lnTo>
                    <a:pt x="1037" y="465"/>
                  </a:lnTo>
                  <a:cubicBezTo>
                    <a:pt x="1037" y="346"/>
                    <a:pt x="1001" y="215"/>
                    <a:pt x="906" y="131"/>
                  </a:cubicBezTo>
                  <a:cubicBezTo>
                    <a:pt x="822" y="48"/>
                    <a:pt x="715" y="0"/>
                    <a:pt x="584"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7" name="Google Shape;13777;p64"/>
            <p:cNvSpPr/>
            <p:nvPr/>
          </p:nvSpPr>
          <p:spPr>
            <a:xfrm>
              <a:off x="8103391" y="1632569"/>
              <a:ext cx="33390" cy="173601"/>
            </a:xfrm>
            <a:custGeom>
              <a:avLst/>
              <a:gdLst/>
              <a:ahLst/>
              <a:cxnLst/>
              <a:rect l="l" t="t" r="r" b="b"/>
              <a:pathLst>
                <a:path w="1049" h="5454" extrusionOk="0">
                  <a:moveTo>
                    <a:pt x="465" y="310"/>
                  </a:moveTo>
                  <a:cubicBezTo>
                    <a:pt x="536" y="310"/>
                    <a:pt x="596" y="369"/>
                    <a:pt x="596" y="441"/>
                  </a:cubicBezTo>
                  <a:lnTo>
                    <a:pt x="739" y="5013"/>
                  </a:lnTo>
                  <a:cubicBezTo>
                    <a:pt x="739" y="5061"/>
                    <a:pt x="715" y="5084"/>
                    <a:pt x="691" y="5120"/>
                  </a:cubicBezTo>
                  <a:cubicBezTo>
                    <a:pt x="655" y="5144"/>
                    <a:pt x="631" y="5156"/>
                    <a:pt x="584" y="5156"/>
                  </a:cubicBezTo>
                  <a:cubicBezTo>
                    <a:pt x="512" y="5156"/>
                    <a:pt x="453" y="5096"/>
                    <a:pt x="453" y="5025"/>
                  </a:cubicBezTo>
                  <a:lnTo>
                    <a:pt x="322" y="453"/>
                  </a:lnTo>
                  <a:cubicBezTo>
                    <a:pt x="322" y="417"/>
                    <a:pt x="334" y="381"/>
                    <a:pt x="358" y="358"/>
                  </a:cubicBezTo>
                  <a:cubicBezTo>
                    <a:pt x="393" y="322"/>
                    <a:pt x="417" y="310"/>
                    <a:pt x="465" y="310"/>
                  </a:cubicBezTo>
                  <a:close/>
                  <a:moveTo>
                    <a:pt x="465" y="0"/>
                  </a:moveTo>
                  <a:cubicBezTo>
                    <a:pt x="346" y="0"/>
                    <a:pt x="227" y="36"/>
                    <a:pt x="143" y="131"/>
                  </a:cubicBezTo>
                  <a:cubicBezTo>
                    <a:pt x="48" y="215"/>
                    <a:pt x="0" y="334"/>
                    <a:pt x="0" y="453"/>
                  </a:cubicBezTo>
                  <a:lnTo>
                    <a:pt x="143" y="5025"/>
                  </a:lnTo>
                  <a:cubicBezTo>
                    <a:pt x="143" y="5275"/>
                    <a:pt x="346" y="5453"/>
                    <a:pt x="584" y="5453"/>
                  </a:cubicBezTo>
                  <a:cubicBezTo>
                    <a:pt x="703" y="5453"/>
                    <a:pt x="822" y="5406"/>
                    <a:pt x="917" y="5322"/>
                  </a:cubicBezTo>
                  <a:cubicBezTo>
                    <a:pt x="1000" y="5227"/>
                    <a:pt x="1048" y="5120"/>
                    <a:pt x="1048" y="4989"/>
                  </a:cubicBezTo>
                  <a:lnTo>
                    <a:pt x="917" y="429"/>
                  </a:lnTo>
                  <a:cubicBezTo>
                    <a:pt x="917" y="191"/>
                    <a:pt x="715" y="0"/>
                    <a:pt x="465"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78" name="Google Shape;13778;p64"/>
          <p:cNvGrpSpPr/>
          <p:nvPr/>
        </p:nvGrpSpPr>
        <p:grpSpPr>
          <a:xfrm>
            <a:off x="7582302" y="1499934"/>
            <a:ext cx="369133" cy="360411"/>
            <a:chOff x="7582302" y="1499934"/>
            <a:chExt cx="369133" cy="360411"/>
          </a:xfrm>
        </p:grpSpPr>
        <p:sp>
          <p:nvSpPr>
            <p:cNvPr id="13779" name="Google Shape;13779;p64"/>
            <p:cNvSpPr/>
            <p:nvPr/>
          </p:nvSpPr>
          <p:spPr>
            <a:xfrm>
              <a:off x="7582302" y="1499934"/>
              <a:ext cx="369133" cy="360411"/>
            </a:xfrm>
            <a:custGeom>
              <a:avLst/>
              <a:gdLst/>
              <a:ahLst/>
              <a:cxnLst/>
              <a:rect l="l" t="t" r="r" b="b"/>
              <a:pathLst>
                <a:path w="11597" h="11323" extrusionOk="0">
                  <a:moveTo>
                    <a:pt x="7204" y="595"/>
                  </a:moveTo>
                  <a:cubicBezTo>
                    <a:pt x="7418" y="595"/>
                    <a:pt x="7573" y="738"/>
                    <a:pt x="7608" y="917"/>
                  </a:cubicBezTo>
                  <a:cubicBezTo>
                    <a:pt x="7608" y="941"/>
                    <a:pt x="7620" y="976"/>
                    <a:pt x="7620" y="1000"/>
                  </a:cubicBezTo>
                  <a:lnTo>
                    <a:pt x="7620" y="1750"/>
                  </a:lnTo>
                  <a:lnTo>
                    <a:pt x="3322" y="1750"/>
                  </a:lnTo>
                  <a:lnTo>
                    <a:pt x="3322" y="1631"/>
                  </a:lnTo>
                  <a:cubicBezTo>
                    <a:pt x="3322" y="1227"/>
                    <a:pt x="3191" y="869"/>
                    <a:pt x="2953" y="595"/>
                  </a:cubicBezTo>
                  <a:close/>
                  <a:moveTo>
                    <a:pt x="1667" y="310"/>
                  </a:moveTo>
                  <a:cubicBezTo>
                    <a:pt x="2405" y="310"/>
                    <a:pt x="3001" y="905"/>
                    <a:pt x="3001" y="1631"/>
                  </a:cubicBezTo>
                  <a:cubicBezTo>
                    <a:pt x="3001" y="2358"/>
                    <a:pt x="2405" y="2953"/>
                    <a:pt x="1667" y="2953"/>
                  </a:cubicBezTo>
                  <a:cubicBezTo>
                    <a:pt x="941" y="2953"/>
                    <a:pt x="346" y="2358"/>
                    <a:pt x="346" y="1631"/>
                  </a:cubicBezTo>
                  <a:cubicBezTo>
                    <a:pt x="346" y="905"/>
                    <a:pt x="941" y="310"/>
                    <a:pt x="1667" y="310"/>
                  </a:cubicBezTo>
                  <a:close/>
                  <a:moveTo>
                    <a:pt x="7644" y="9775"/>
                  </a:moveTo>
                  <a:lnTo>
                    <a:pt x="7644" y="10513"/>
                  </a:lnTo>
                  <a:cubicBezTo>
                    <a:pt x="7644" y="10549"/>
                    <a:pt x="7644" y="10573"/>
                    <a:pt x="7620" y="10609"/>
                  </a:cubicBezTo>
                  <a:cubicBezTo>
                    <a:pt x="7585" y="10799"/>
                    <a:pt x="7418" y="10930"/>
                    <a:pt x="7227" y="10930"/>
                  </a:cubicBezTo>
                  <a:lnTo>
                    <a:pt x="2358" y="10930"/>
                  </a:lnTo>
                  <a:cubicBezTo>
                    <a:pt x="2131" y="10930"/>
                    <a:pt x="1941" y="10740"/>
                    <a:pt x="1941" y="10513"/>
                  </a:cubicBezTo>
                  <a:lnTo>
                    <a:pt x="1941" y="9775"/>
                  </a:lnTo>
                  <a:close/>
                  <a:moveTo>
                    <a:pt x="1667" y="0"/>
                  </a:moveTo>
                  <a:cubicBezTo>
                    <a:pt x="750" y="0"/>
                    <a:pt x="0" y="738"/>
                    <a:pt x="0" y="1667"/>
                  </a:cubicBezTo>
                  <a:cubicBezTo>
                    <a:pt x="0" y="2560"/>
                    <a:pt x="715" y="3298"/>
                    <a:pt x="1608" y="3334"/>
                  </a:cubicBezTo>
                  <a:lnTo>
                    <a:pt x="1608" y="4917"/>
                  </a:lnTo>
                  <a:cubicBezTo>
                    <a:pt x="1608" y="5013"/>
                    <a:pt x="1691" y="5084"/>
                    <a:pt x="1774" y="5084"/>
                  </a:cubicBezTo>
                  <a:cubicBezTo>
                    <a:pt x="1858" y="5084"/>
                    <a:pt x="1941" y="5013"/>
                    <a:pt x="1941" y="4917"/>
                  </a:cubicBezTo>
                  <a:lnTo>
                    <a:pt x="1941" y="3310"/>
                  </a:lnTo>
                  <a:cubicBezTo>
                    <a:pt x="2572" y="3203"/>
                    <a:pt x="3096" y="2739"/>
                    <a:pt x="3263" y="2119"/>
                  </a:cubicBezTo>
                  <a:lnTo>
                    <a:pt x="7644" y="2119"/>
                  </a:lnTo>
                  <a:lnTo>
                    <a:pt x="7644" y="3489"/>
                  </a:lnTo>
                  <a:lnTo>
                    <a:pt x="4929" y="3489"/>
                  </a:lnTo>
                  <a:lnTo>
                    <a:pt x="4929" y="2905"/>
                  </a:lnTo>
                  <a:cubicBezTo>
                    <a:pt x="4929" y="2822"/>
                    <a:pt x="4858" y="2751"/>
                    <a:pt x="4763" y="2751"/>
                  </a:cubicBezTo>
                  <a:cubicBezTo>
                    <a:pt x="4679" y="2751"/>
                    <a:pt x="4608" y="2822"/>
                    <a:pt x="4608" y="2905"/>
                  </a:cubicBezTo>
                  <a:lnTo>
                    <a:pt x="4608" y="3882"/>
                  </a:lnTo>
                  <a:lnTo>
                    <a:pt x="4608" y="7715"/>
                  </a:lnTo>
                  <a:lnTo>
                    <a:pt x="4608" y="8692"/>
                  </a:lnTo>
                  <a:cubicBezTo>
                    <a:pt x="4608" y="8775"/>
                    <a:pt x="4679" y="8847"/>
                    <a:pt x="4763" y="8847"/>
                  </a:cubicBezTo>
                  <a:cubicBezTo>
                    <a:pt x="4858" y="8847"/>
                    <a:pt x="4929" y="8775"/>
                    <a:pt x="4929" y="8692"/>
                  </a:cubicBezTo>
                  <a:lnTo>
                    <a:pt x="4929" y="8096"/>
                  </a:lnTo>
                  <a:lnTo>
                    <a:pt x="7644" y="8096"/>
                  </a:lnTo>
                  <a:lnTo>
                    <a:pt x="7644" y="9478"/>
                  </a:lnTo>
                  <a:lnTo>
                    <a:pt x="1941" y="9478"/>
                  </a:lnTo>
                  <a:lnTo>
                    <a:pt x="1941" y="5668"/>
                  </a:lnTo>
                  <a:cubicBezTo>
                    <a:pt x="1941" y="5572"/>
                    <a:pt x="1870" y="5501"/>
                    <a:pt x="1774" y="5501"/>
                  </a:cubicBezTo>
                  <a:cubicBezTo>
                    <a:pt x="1691" y="5501"/>
                    <a:pt x="1608" y="5572"/>
                    <a:pt x="1608" y="5668"/>
                  </a:cubicBezTo>
                  <a:lnTo>
                    <a:pt x="1608" y="9656"/>
                  </a:lnTo>
                  <a:lnTo>
                    <a:pt x="1608" y="10561"/>
                  </a:lnTo>
                  <a:cubicBezTo>
                    <a:pt x="1608" y="10978"/>
                    <a:pt x="1953" y="11323"/>
                    <a:pt x="2370" y="11323"/>
                  </a:cubicBezTo>
                  <a:lnTo>
                    <a:pt x="7239" y="11323"/>
                  </a:lnTo>
                  <a:cubicBezTo>
                    <a:pt x="7620" y="11323"/>
                    <a:pt x="7954" y="11025"/>
                    <a:pt x="8001" y="10632"/>
                  </a:cubicBezTo>
                  <a:lnTo>
                    <a:pt x="8001" y="10561"/>
                  </a:lnTo>
                  <a:lnTo>
                    <a:pt x="8001" y="9656"/>
                  </a:lnTo>
                  <a:lnTo>
                    <a:pt x="8001" y="8096"/>
                  </a:lnTo>
                  <a:lnTo>
                    <a:pt x="9025" y="8096"/>
                  </a:lnTo>
                  <a:cubicBezTo>
                    <a:pt x="9109" y="8096"/>
                    <a:pt x="9192" y="8013"/>
                    <a:pt x="9192" y="7930"/>
                  </a:cubicBezTo>
                  <a:cubicBezTo>
                    <a:pt x="9192" y="7834"/>
                    <a:pt x="9109" y="7763"/>
                    <a:pt x="9025" y="7763"/>
                  </a:cubicBezTo>
                  <a:lnTo>
                    <a:pt x="4977" y="7763"/>
                  </a:lnTo>
                  <a:cubicBezTo>
                    <a:pt x="4965" y="7763"/>
                    <a:pt x="4941" y="7751"/>
                    <a:pt x="4941" y="7727"/>
                  </a:cubicBezTo>
                  <a:lnTo>
                    <a:pt x="4941" y="3894"/>
                  </a:lnTo>
                  <a:cubicBezTo>
                    <a:pt x="4941" y="3882"/>
                    <a:pt x="4965" y="3858"/>
                    <a:pt x="4977" y="3858"/>
                  </a:cubicBezTo>
                  <a:lnTo>
                    <a:pt x="11228" y="3858"/>
                  </a:lnTo>
                  <a:cubicBezTo>
                    <a:pt x="11240" y="3858"/>
                    <a:pt x="11252" y="3882"/>
                    <a:pt x="11252" y="3894"/>
                  </a:cubicBezTo>
                  <a:lnTo>
                    <a:pt x="11252" y="7727"/>
                  </a:lnTo>
                  <a:cubicBezTo>
                    <a:pt x="11252" y="7751"/>
                    <a:pt x="11240" y="7763"/>
                    <a:pt x="11228" y="7763"/>
                  </a:cubicBezTo>
                  <a:lnTo>
                    <a:pt x="9763" y="7763"/>
                  </a:lnTo>
                  <a:cubicBezTo>
                    <a:pt x="9680" y="7763"/>
                    <a:pt x="9609" y="7834"/>
                    <a:pt x="9609" y="7930"/>
                  </a:cubicBezTo>
                  <a:cubicBezTo>
                    <a:pt x="9609" y="8013"/>
                    <a:pt x="9680" y="8096"/>
                    <a:pt x="9763" y="8096"/>
                  </a:cubicBezTo>
                  <a:lnTo>
                    <a:pt x="11228" y="8096"/>
                  </a:lnTo>
                  <a:cubicBezTo>
                    <a:pt x="11430" y="8096"/>
                    <a:pt x="11597" y="7930"/>
                    <a:pt x="11597" y="7715"/>
                  </a:cubicBezTo>
                  <a:lnTo>
                    <a:pt x="11597" y="3882"/>
                  </a:lnTo>
                  <a:cubicBezTo>
                    <a:pt x="11585" y="3632"/>
                    <a:pt x="11418" y="3465"/>
                    <a:pt x="11216" y="3465"/>
                  </a:cubicBezTo>
                  <a:lnTo>
                    <a:pt x="7977" y="3465"/>
                  </a:lnTo>
                  <a:lnTo>
                    <a:pt x="7977" y="1929"/>
                  </a:lnTo>
                  <a:lnTo>
                    <a:pt x="7977" y="1024"/>
                  </a:lnTo>
                  <a:lnTo>
                    <a:pt x="7977" y="953"/>
                  </a:lnTo>
                  <a:cubicBezTo>
                    <a:pt x="7942" y="560"/>
                    <a:pt x="7620" y="262"/>
                    <a:pt x="7227" y="262"/>
                  </a:cubicBezTo>
                  <a:lnTo>
                    <a:pt x="2655" y="262"/>
                  </a:lnTo>
                  <a:cubicBezTo>
                    <a:pt x="2643" y="262"/>
                    <a:pt x="2620" y="262"/>
                    <a:pt x="2608" y="274"/>
                  </a:cubicBezTo>
                  <a:cubicBezTo>
                    <a:pt x="2346" y="95"/>
                    <a:pt x="2012" y="0"/>
                    <a:pt x="16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0" name="Google Shape;13780;p64"/>
            <p:cNvSpPr/>
            <p:nvPr/>
          </p:nvSpPr>
          <p:spPr>
            <a:xfrm>
              <a:off x="7850598" y="1634829"/>
              <a:ext cx="77729" cy="51214"/>
            </a:xfrm>
            <a:custGeom>
              <a:avLst/>
              <a:gdLst/>
              <a:ahLst/>
              <a:cxnLst/>
              <a:rect l="l" t="t" r="r" b="b"/>
              <a:pathLst>
                <a:path w="2442" h="1609" extrusionOk="0">
                  <a:moveTo>
                    <a:pt x="1656" y="322"/>
                  </a:moveTo>
                  <a:cubicBezTo>
                    <a:pt x="1906" y="322"/>
                    <a:pt x="2108" y="537"/>
                    <a:pt x="2108" y="787"/>
                  </a:cubicBezTo>
                  <a:cubicBezTo>
                    <a:pt x="2108" y="1037"/>
                    <a:pt x="1906" y="1251"/>
                    <a:pt x="1656" y="1251"/>
                  </a:cubicBezTo>
                  <a:cubicBezTo>
                    <a:pt x="1394" y="1251"/>
                    <a:pt x="1191" y="1037"/>
                    <a:pt x="1191" y="787"/>
                  </a:cubicBezTo>
                  <a:cubicBezTo>
                    <a:pt x="1191" y="537"/>
                    <a:pt x="1394" y="322"/>
                    <a:pt x="1656" y="322"/>
                  </a:cubicBezTo>
                  <a:close/>
                  <a:moveTo>
                    <a:pt x="799" y="322"/>
                  </a:moveTo>
                  <a:cubicBezTo>
                    <a:pt x="858" y="322"/>
                    <a:pt x="906" y="346"/>
                    <a:pt x="965" y="358"/>
                  </a:cubicBezTo>
                  <a:cubicBezTo>
                    <a:pt x="894" y="477"/>
                    <a:pt x="834" y="632"/>
                    <a:pt x="834" y="787"/>
                  </a:cubicBezTo>
                  <a:cubicBezTo>
                    <a:pt x="834" y="929"/>
                    <a:pt x="870" y="1096"/>
                    <a:pt x="965" y="1215"/>
                  </a:cubicBezTo>
                  <a:cubicBezTo>
                    <a:pt x="918" y="1227"/>
                    <a:pt x="858" y="1251"/>
                    <a:pt x="799" y="1251"/>
                  </a:cubicBezTo>
                  <a:cubicBezTo>
                    <a:pt x="792" y="1251"/>
                    <a:pt x="785" y="1251"/>
                    <a:pt x="779" y="1251"/>
                  </a:cubicBezTo>
                  <a:cubicBezTo>
                    <a:pt x="538" y="1251"/>
                    <a:pt x="346" y="1042"/>
                    <a:pt x="346" y="787"/>
                  </a:cubicBezTo>
                  <a:cubicBezTo>
                    <a:pt x="346" y="537"/>
                    <a:pt x="549" y="322"/>
                    <a:pt x="799" y="322"/>
                  </a:cubicBezTo>
                  <a:close/>
                  <a:moveTo>
                    <a:pt x="799" y="1"/>
                  </a:moveTo>
                  <a:cubicBezTo>
                    <a:pt x="358" y="1"/>
                    <a:pt x="1" y="358"/>
                    <a:pt x="1" y="799"/>
                  </a:cubicBezTo>
                  <a:cubicBezTo>
                    <a:pt x="1" y="1251"/>
                    <a:pt x="358" y="1608"/>
                    <a:pt x="799" y="1608"/>
                  </a:cubicBezTo>
                  <a:cubicBezTo>
                    <a:pt x="953" y="1596"/>
                    <a:pt x="1096" y="1561"/>
                    <a:pt x="1215" y="1489"/>
                  </a:cubicBezTo>
                  <a:cubicBezTo>
                    <a:pt x="1334" y="1561"/>
                    <a:pt x="1489" y="1608"/>
                    <a:pt x="1632" y="1608"/>
                  </a:cubicBezTo>
                  <a:cubicBezTo>
                    <a:pt x="2084" y="1608"/>
                    <a:pt x="2442" y="1251"/>
                    <a:pt x="2442" y="799"/>
                  </a:cubicBezTo>
                  <a:cubicBezTo>
                    <a:pt x="2442" y="358"/>
                    <a:pt x="2084" y="1"/>
                    <a:pt x="1632" y="1"/>
                  </a:cubicBezTo>
                  <a:cubicBezTo>
                    <a:pt x="1489" y="1"/>
                    <a:pt x="1334" y="48"/>
                    <a:pt x="1215" y="120"/>
                  </a:cubicBezTo>
                  <a:cubicBezTo>
                    <a:pt x="1096" y="48"/>
                    <a:pt x="953" y="1"/>
                    <a:pt x="7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1" name="Google Shape;13781;p64"/>
            <p:cNvSpPr/>
            <p:nvPr/>
          </p:nvSpPr>
          <p:spPr>
            <a:xfrm>
              <a:off x="7753962" y="1635593"/>
              <a:ext cx="70917" cy="48541"/>
            </a:xfrm>
            <a:custGeom>
              <a:avLst/>
              <a:gdLst/>
              <a:ahLst/>
              <a:cxnLst/>
              <a:rect l="l" t="t" r="r" b="b"/>
              <a:pathLst>
                <a:path w="2228" h="1525" extrusionOk="0">
                  <a:moveTo>
                    <a:pt x="1858" y="346"/>
                  </a:moveTo>
                  <a:cubicBezTo>
                    <a:pt x="1870" y="346"/>
                    <a:pt x="1894" y="358"/>
                    <a:pt x="1894" y="382"/>
                  </a:cubicBezTo>
                  <a:lnTo>
                    <a:pt x="1894" y="1156"/>
                  </a:lnTo>
                  <a:cubicBezTo>
                    <a:pt x="1894" y="1167"/>
                    <a:pt x="1870" y="1179"/>
                    <a:pt x="1858" y="1179"/>
                  </a:cubicBezTo>
                  <a:lnTo>
                    <a:pt x="370" y="1179"/>
                  </a:lnTo>
                  <a:cubicBezTo>
                    <a:pt x="358" y="1179"/>
                    <a:pt x="346" y="1167"/>
                    <a:pt x="346" y="1156"/>
                  </a:cubicBezTo>
                  <a:lnTo>
                    <a:pt x="346" y="382"/>
                  </a:lnTo>
                  <a:cubicBezTo>
                    <a:pt x="346" y="358"/>
                    <a:pt x="358" y="346"/>
                    <a:pt x="370" y="346"/>
                  </a:cubicBezTo>
                  <a:close/>
                  <a:moveTo>
                    <a:pt x="370" y="1"/>
                  </a:moveTo>
                  <a:cubicBezTo>
                    <a:pt x="167" y="1"/>
                    <a:pt x="1" y="167"/>
                    <a:pt x="1" y="382"/>
                  </a:cubicBezTo>
                  <a:lnTo>
                    <a:pt x="1" y="1156"/>
                  </a:lnTo>
                  <a:cubicBezTo>
                    <a:pt x="1" y="1358"/>
                    <a:pt x="167" y="1525"/>
                    <a:pt x="370" y="1525"/>
                  </a:cubicBezTo>
                  <a:lnTo>
                    <a:pt x="1858" y="1525"/>
                  </a:lnTo>
                  <a:cubicBezTo>
                    <a:pt x="2072" y="1525"/>
                    <a:pt x="2227" y="1358"/>
                    <a:pt x="2227" y="1156"/>
                  </a:cubicBezTo>
                  <a:lnTo>
                    <a:pt x="2227" y="382"/>
                  </a:lnTo>
                  <a:cubicBezTo>
                    <a:pt x="2227" y="167"/>
                    <a:pt x="2072" y="1"/>
                    <a:pt x="1858"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2" name="Google Shape;13782;p64"/>
            <p:cNvSpPr/>
            <p:nvPr/>
          </p:nvSpPr>
          <p:spPr>
            <a:xfrm>
              <a:off x="7750174" y="1695465"/>
              <a:ext cx="180794" cy="31862"/>
            </a:xfrm>
            <a:custGeom>
              <a:avLst/>
              <a:gdLst/>
              <a:ahLst/>
              <a:cxnLst/>
              <a:rect l="l" t="t" r="r" b="b"/>
              <a:pathLst>
                <a:path w="5680" h="1001" extrusionOk="0">
                  <a:moveTo>
                    <a:pt x="5311" y="346"/>
                  </a:moveTo>
                  <a:cubicBezTo>
                    <a:pt x="5323" y="346"/>
                    <a:pt x="5347" y="358"/>
                    <a:pt x="5347" y="370"/>
                  </a:cubicBezTo>
                  <a:lnTo>
                    <a:pt x="5347" y="620"/>
                  </a:lnTo>
                  <a:cubicBezTo>
                    <a:pt x="5347" y="644"/>
                    <a:pt x="5323" y="656"/>
                    <a:pt x="5311" y="656"/>
                  </a:cubicBezTo>
                  <a:lnTo>
                    <a:pt x="370" y="656"/>
                  </a:lnTo>
                  <a:cubicBezTo>
                    <a:pt x="358" y="656"/>
                    <a:pt x="346" y="632"/>
                    <a:pt x="346" y="620"/>
                  </a:cubicBezTo>
                  <a:lnTo>
                    <a:pt x="346" y="370"/>
                  </a:lnTo>
                  <a:cubicBezTo>
                    <a:pt x="346" y="358"/>
                    <a:pt x="358" y="346"/>
                    <a:pt x="370" y="346"/>
                  </a:cubicBezTo>
                  <a:close/>
                  <a:moveTo>
                    <a:pt x="352" y="0"/>
                  </a:moveTo>
                  <a:cubicBezTo>
                    <a:pt x="168" y="0"/>
                    <a:pt x="1" y="174"/>
                    <a:pt x="1" y="370"/>
                  </a:cubicBezTo>
                  <a:lnTo>
                    <a:pt x="1" y="620"/>
                  </a:lnTo>
                  <a:cubicBezTo>
                    <a:pt x="1" y="834"/>
                    <a:pt x="167" y="1001"/>
                    <a:pt x="370" y="1001"/>
                  </a:cubicBezTo>
                  <a:lnTo>
                    <a:pt x="5311" y="1001"/>
                  </a:lnTo>
                  <a:cubicBezTo>
                    <a:pt x="5525" y="1001"/>
                    <a:pt x="5680" y="834"/>
                    <a:pt x="5680" y="620"/>
                  </a:cubicBezTo>
                  <a:lnTo>
                    <a:pt x="5680" y="370"/>
                  </a:lnTo>
                  <a:cubicBezTo>
                    <a:pt x="5680" y="167"/>
                    <a:pt x="5525" y="1"/>
                    <a:pt x="5311" y="1"/>
                  </a:cubicBezTo>
                  <a:lnTo>
                    <a:pt x="370" y="1"/>
                  </a:lnTo>
                  <a:cubicBezTo>
                    <a:pt x="364" y="0"/>
                    <a:pt x="358" y="0"/>
                    <a:pt x="352"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3" name="Google Shape;13783;p64"/>
            <p:cNvSpPr/>
            <p:nvPr/>
          </p:nvSpPr>
          <p:spPr>
            <a:xfrm>
              <a:off x="7613750" y="1535424"/>
              <a:ext cx="43225" cy="32371"/>
            </a:xfrm>
            <a:custGeom>
              <a:avLst/>
              <a:gdLst/>
              <a:ahLst/>
              <a:cxnLst/>
              <a:rect l="l" t="t" r="r" b="b"/>
              <a:pathLst>
                <a:path w="1358" h="1017" extrusionOk="0">
                  <a:moveTo>
                    <a:pt x="1179" y="1"/>
                  </a:moveTo>
                  <a:cubicBezTo>
                    <a:pt x="1136" y="1"/>
                    <a:pt x="1093" y="19"/>
                    <a:pt x="1060" y="52"/>
                  </a:cubicBezTo>
                  <a:lnTo>
                    <a:pt x="548" y="600"/>
                  </a:lnTo>
                  <a:lnTo>
                    <a:pt x="322" y="326"/>
                  </a:lnTo>
                  <a:cubicBezTo>
                    <a:pt x="287" y="277"/>
                    <a:pt x="240" y="253"/>
                    <a:pt x="191" y="253"/>
                  </a:cubicBezTo>
                  <a:cubicBezTo>
                    <a:pt x="155" y="253"/>
                    <a:pt x="119" y="265"/>
                    <a:pt x="84" y="290"/>
                  </a:cubicBezTo>
                  <a:cubicBezTo>
                    <a:pt x="12" y="350"/>
                    <a:pt x="0" y="457"/>
                    <a:pt x="60" y="528"/>
                  </a:cubicBezTo>
                  <a:lnTo>
                    <a:pt x="405" y="957"/>
                  </a:lnTo>
                  <a:cubicBezTo>
                    <a:pt x="429" y="1004"/>
                    <a:pt x="477" y="1016"/>
                    <a:pt x="536" y="1016"/>
                  </a:cubicBezTo>
                  <a:cubicBezTo>
                    <a:pt x="584" y="1016"/>
                    <a:pt x="620" y="1004"/>
                    <a:pt x="655" y="957"/>
                  </a:cubicBezTo>
                  <a:lnTo>
                    <a:pt x="1298" y="278"/>
                  </a:lnTo>
                  <a:cubicBezTo>
                    <a:pt x="1358" y="207"/>
                    <a:pt x="1358" y="100"/>
                    <a:pt x="1274" y="40"/>
                  </a:cubicBezTo>
                  <a:cubicBezTo>
                    <a:pt x="1248" y="13"/>
                    <a:pt x="1214" y="1"/>
                    <a:pt x="117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784" name="Google Shape;13784;p64"/>
          <p:cNvGrpSpPr/>
          <p:nvPr/>
        </p:nvGrpSpPr>
        <p:grpSpPr>
          <a:xfrm>
            <a:off x="6196089" y="3817152"/>
            <a:ext cx="346056" cy="345674"/>
            <a:chOff x="2238181" y="4120624"/>
            <a:chExt cx="346056" cy="345674"/>
          </a:xfrm>
        </p:grpSpPr>
        <p:grpSp>
          <p:nvGrpSpPr>
            <p:cNvPr id="13785" name="Google Shape;13785;p64"/>
            <p:cNvGrpSpPr/>
            <p:nvPr/>
          </p:nvGrpSpPr>
          <p:grpSpPr>
            <a:xfrm>
              <a:off x="2309155" y="4177413"/>
              <a:ext cx="203862" cy="231903"/>
              <a:chOff x="1512725" y="258500"/>
              <a:chExt cx="4570900" cy="5199625"/>
            </a:xfrm>
          </p:grpSpPr>
          <p:sp>
            <p:nvSpPr>
              <p:cNvPr id="13786" name="Google Shape;13786;p64"/>
              <p:cNvSpPr/>
              <p:nvPr/>
            </p:nvSpPr>
            <p:spPr>
              <a:xfrm>
                <a:off x="1512725" y="2700900"/>
                <a:ext cx="2654475" cy="2757225"/>
              </a:xfrm>
              <a:custGeom>
                <a:avLst/>
                <a:gdLst/>
                <a:ahLst/>
                <a:cxnLst/>
                <a:rect l="l" t="t" r="r" b="b"/>
                <a:pathLst>
                  <a:path w="106179" h="110289" extrusionOk="0">
                    <a:moveTo>
                      <a:pt x="19199" y="1"/>
                    </a:moveTo>
                    <a:cubicBezTo>
                      <a:pt x="18076" y="1"/>
                      <a:pt x="16954" y="466"/>
                      <a:pt x="16148" y="1404"/>
                    </a:cubicBezTo>
                    <a:cubicBezTo>
                      <a:pt x="5840" y="13310"/>
                      <a:pt x="1" y="28739"/>
                      <a:pt x="33" y="44494"/>
                    </a:cubicBezTo>
                    <a:cubicBezTo>
                      <a:pt x="33" y="62077"/>
                      <a:pt x="6916" y="78582"/>
                      <a:pt x="19442" y="91010"/>
                    </a:cubicBezTo>
                    <a:cubicBezTo>
                      <a:pt x="31968" y="103439"/>
                      <a:pt x="48572" y="110289"/>
                      <a:pt x="66252" y="110289"/>
                    </a:cubicBezTo>
                    <a:cubicBezTo>
                      <a:pt x="69546" y="110289"/>
                      <a:pt x="72939" y="110060"/>
                      <a:pt x="76201" y="109571"/>
                    </a:cubicBezTo>
                    <a:cubicBezTo>
                      <a:pt x="86248" y="108071"/>
                      <a:pt x="95675" y="104352"/>
                      <a:pt x="103895" y="98643"/>
                    </a:cubicBezTo>
                    <a:cubicBezTo>
                      <a:pt x="105983" y="97208"/>
                      <a:pt x="106179" y="94272"/>
                      <a:pt x="104417" y="92478"/>
                    </a:cubicBezTo>
                    <a:cubicBezTo>
                      <a:pt x="104384" y="92348"/>
                      <a:pt x="104384" y="92315"/>
                      <a:pt x="104352" y="92315"/>
                    </a:cubicBezTo>
                    <a:cubicBezTo>
                      <a:pt x="103555" y="91537"/>
                      <a:pt x="102517" y="91128"/>
                      <a:pt x="101470" y="91128"/>
                    </a:cubicBezTo>
                    <a:cubicBezTo>
                      <a:pt x="100673" y="91128"/>
                      <a:pt x="99870" y="91365"/>
                      <a:pt x="99165" y="91859"/>
                    </a:cubicBezTo>
                    <a:cubicBezTo>
                      <a:pt x="91956" y="96849"/>
                      <a:pt x="83769" y="100111"/>
                      <a:pt x="74994" y="101416"/>
                    </a:cubicBezTo>
                    <a:cubicBezTo>
                      <a:pt x="72091" y="101808"/>
                      <a:pt x="69155" y="102069"/>
                      <a:pt x="66252" y="102069"/>
                    </a:cubicBezTo>
                    <a:cubicBezTo>
                      <a:pt x="50757" y="102069"/>
                      <a:pt x="36176" y="96066"/>
                      <a:pt x="25216" y="85171"/>
                    </a:cubicBezTo>
                    <a:cubicBezTo>
                      <a:pt x="14256" y="74309"/>
                      <a:pt x="8221" y="59826"/>
                      <a:pt x="8188" y="44462"/>
                    </a:cubicBezTo>
                    <a:cubicBezTo>
                      <a:pt x="8188" y="30664"/>
                      <a:pt x="13277" y="17126"/>
                      <a:pt x="22313" y="6721"/>
                    </a:cubicBezTo>
                    <a:cubicBezTo>
                      <a:pt x="23650" y="5188"/>
                      <a:pt x="23650" y="2904"/>
                      <a:pt x="22248" y="1404"/>
                    </a:cubicBezTo>
                    <a:lnTo>
                      <a:pt x="22215" y="1338"/>
                    </a:lnTo>
                    <a:cubicBezTo>
                      <a:pt x="21407" y="449"/>
                      <a:pt x="20302" y="1"/>
                      <a:pt x="1919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7" name="Google Shape;13787;p64"/>
              <p:cNvSpPr/>
              <p:nvPr/>
            </p:nvSpPr>
            <p:spPr>
              <a:xfrm>
                <a:off x="2323325" y="258500"/>
                <a:ext cx="3760300" cy="4390225"/>
              </a:xfrm>
              <a:custGeom>
                <a:avLst/>
                <a:gdLst/>
                <a:ahLst/>
                <a:cxnLst/>
                <a:rect l="l" t="t" r="r" b="b"/>
                <a:pathLst>
                  <a:path w="150412" h="175609" extrusionOk="0">
                    <a:moveTo>
                      <a:pt x="63610" y="0"/>
                    </a:moveTo>
                    <a:cubicBezTo>
                      <a:pt x="61359" y="0"/>
                      <a:pt x="59532" y="1827"/>
                      <a:pt x="59532" y="4078"/>
                    </a:cubicBezTo>
                    <a:lnTo>
                      <a:pt x="59532" y="93228"/>
                    </a:lnTo>
                    <a:lnTo>
                      <a:pt x="59467" y="142060"/>
                    </a:lnTo>
                    <a:cubicBezTo>
                      <a:pt x="59467" y="153020"/>
                      <a:pt x="52421" y="162741"/>
                      <a:pt x="41950" y="166199"/>
                    </a:cubicBezTo>
                    <a:cubicBezTo>
                      <a:pt x="39320" y="167047"/>
                      <a:pt x="36616" y="167503"/>
                      <a:pt x="33881" y="167503"/>
                    </a:cubicBezTo>
                    <a:cubicBezTo>
                      <a:pt x="33462" y="167503"/>
                      <a:pt x="33042" y="167493"/>
                      <a:pt x="32621" y="167471"/>
                    </a:cubicBezTo>
                    <a:cubicBezTo>
                      <a:pt x="19181" y="166818"/>
                      <a:pt x="8515" y="155793"/>
                      <a:pt x="8319" y="142419"/>
                    </a:cubicBezTo>
                    <a:cubicBezTo>
                      <a:pt x="8221" y="135569"/>
                      <a:pt x="10798" y="129143"/>
                      <a:pt x="15593" y="124250"/>
                    </a:cubicBezTo>
                    <a:cubicBezTo>
                      <a:pt x="20454" y="119291"/>
                      <a:pt x="26978" y="116584"/>
                      <a:pt x="33926" y="116584"/>
                    </a:cubicBezTo>
                    <a:cubicBezTo>
                      <a:pt x="36633" y="116584"/>
                      <a:pt x="39373" y="117041"/>
                      <a:pt x="41983" y="117889"/>
                    </a:cubicBezTo>
                    <a:cubicBezTo>
                      <a:pt x="42399" y="118019"/>
                      <a:pt x="42825" y="118082"/>
                      <a:pt x="43246" y="118082"/>
                    </a:cubicBezTo>
                    <a:cubicBezTo>
                      <a:pt x="44409" y="118082"/>
                      <a:pt x="45540" y="117600"/>
                      <a:pt x="46354" y="116714"/>
                    </a:cubicBezTo>
                    <a:cubicBezTo>
                      <a:pt x="47006" y="115931"/>
                      <a:pt x="47332" y="114920"/>
                      <a:pt x="47332" y="113909"/>
                    </a:cubicBezTo>
                    <a:lnTo>
                      <a:pt x="47332" y="81028"/>
                    </a:lnTo>
                    <a:cubicBezTo>
                      <a:pt x="47332" y="79038"/>
                      <a:pt x="45865" y="77277"/>
                      <a:pt x="43875" y="76983"/>
                    </a:cubicBezTo>
                    <a:cubicBezTo>
                      <a:pt x="40547" y="76494"/>
                      <a:pt x="37220" y="76233"/>
                      <a:pt x="33926" y="76233"/>
                    </a:cubicBezTo>
                    <a:cubicBezTo>
                      <a:pt x="26651" y="76233"/>
                      <a:pt x="19638" y="77407"/>
                      <a:pt x="12984" y="79593"/>
                    </a:cubicBezTo>
                    <a:cubicBezTo>
                      <a:pt x="10831" y="80311"/>
                      <a:pt x="9820" y="82724"/>
                      <a:pt x="10831" y="84780"/>
                    </a:cubicBezTo>
                    <a:lnTo>
                      <a:pt x="10831" y="84812"/>
                    </a:lnTo>
                    <a:cubicBezTo>
                      <a:pt x="10961" y="85008"/>
                      <a:pt x="11092" y="85269"/>
                      <a:pt x="11157" y="85465"/>
                    </a:cubicBezTo>
                    <a:cubicBezTo>
                      <a:pt x="11790" y="86730"/>
                      <a:pt x="13091" y="87485"/>
                      <a:pt x="14435" y="87485"/>
                    </a:cubicBezTo>
                    <a:cubicBezTo>
                      <a:pt x="14823" y="87485"/>
                      <a:pt x="15214" y="87423"/>
                      <a:pt x="15593" y="87291"/>
                    </a:cubicBezTo>
                    <a:cubicBezTo>
                      <a:pt x="21400" y="85367"/>
                      <a:pt x="27565" y="84388"/>
                      <a:pt x="33860" y="84388"/>
                    </a:cubicBezTo>
                    <a:cubicBezTo>
                      <a:pt x="35622" y="84388"/>
                      <a:pt x="37383" y="84486"/>
                      <a:pt x="39145" y="84649"/>
                    </a:cubicBezTo>
                    <a:lnTo>
                      <a:pt x="39145" y="108853"/>
                    </a:lnTo>
                    <a:cubicBezTo>
                      <a:pt x="37383" y="108592"/>
                      <a:pt x="35622" y="108462"/>
                      <a:pt x="33860" y="108462"/>
                    </a:cubicBezTo>
                    <a:cubicBezTo>
                      <a:pt x="24727" y="108462"/>
                      <a:pt x="16180" y="112050"/>
                      <a:pt x="9787" y="118541"/>
                    </a:cubicBezTo>
                    <a:cubicBezTo>
                      <a:pt x="3426" y="124967"/>
                      <a:pt x="1" y="133481"/>
                      <a:pt x="99" y="142549"/>
                    </a:cubicBezTo>
                    <a:cubicBezTo>
                      <a:pt x="360" y="160197"/>
                      <a:pt x="14452" y="174712"/>
                      <a:pt x="32164" y="175561"/>
                    </a:cubicBezTo>
                    <a:cubicBezTo>
                      <a:pt x="32758" y="175593"/>
                      <a:pt x="33351" y="175609"/>
                      <a:pt x="33941" y="175609"/>
                    </a:cubicBezTo>
                    <a:cubicBezTo>
                      <a:pt x="37530" y="175609"/>
                      <a:pt x="41044" y="175018"/>
                      <a:pt x="44462" y="173897"/>
                    </a:cubicBezTo>
                    <a:cubicBezTo>
                      <a:pt x="58325" y="169330"/>
                      <a:pt x="67622" y="156543"/>
                      <a:pt x="67622" y="142027"/>
                    </a:cubicBezTo>
                    <a:lnTo>
                      <a:pt x="67687" y="93163"/>
                    </a:lnTo>
                    <a:lnTo>
                      <a:pt x="67687" y="8155"/>
                    </a:lnTo>
                    <a:lnTo>
                      <a:pt x="78321" y="8155"/>
                    </a:lnTo>
                    <a:cubicBezTo>
                      <a:pt x="81697" y="8133"/>
                      <a:pt x="85305" y="8095"/>
                      <a:pt x="88344" y="8095"/>
                    </a:cubicBezTo>
                    <a:cubicBezTo>
                      <a:pt x="89709" y="8095"/>
                      <a:pt x="90960" y="8103"/>
                      <a:pt x="92022" y="8123"/>
                    </a:cubicBezTo>
                    <a:cubicBezTo>
                      <a:pt x="93098" y="21073"/>
                      <a:pt x="98643" y="33110"/>
                      <a:pt x="107973" y="42374"/>
                    </a:cubicBezTo>
                    <a:cubicBezTo>
                      <a:pt x="117269" y="51573"/>
                      <a:pt x="129339" y="57053"/>
                      <a:pt x="142256" y="58031"/>
                    </a:cubicBezTo>
                    <a:cubicBezTo>
                      <a:pt x="142256" y="64131"/>
                      <a:pt x="142289" y="76005"/>
                      <a:pt x="142354" y="82333"/>
                    </a:cubicBezTo>
                    <a:cubicBezTo>
                      <a:pt x="133155" y="81876"/>
                      <a:pt x="124250" y="79821"/>
                      <a:pt x="115769" y="76233"/>
                    </a:cubicBezTo>
                    <a:cubicBezTo>
                      <a:pt x="109506" y="73624"/>
                      <a:pt x="103700" y="70198"/>
                      <a:pt x="98350" y="66088"/>
                    </a:cubicBezTo>
                    <a:cubicBezTo>
                      <a:pt x="97610" y="65524"/>
                      <a:pt x="96719" y="65238"/>
                      <a:pt x="95830" y="65238"/>
                    </a:cubicBezTo>
                    <a:cubicBezTo>
                      <a:pt x="95229" y="65238"/>
                      <a:pt x="94629" y="65369"/>
                      <a:pt x="94077" y="65632"/>
                    </a:cubicBezTo>
                    <a:cubicBezTo>
                      <a:pt x="92674" y="66284"/>
                      <a:pt x="91793" y="67752"/>
                      <a:pt x="91793" y="69318"/>
                    </a:cubicBezTo>
                    <a:lnTo>
                      <a:pt x="91956" y="142354"/>
                    </a:lnTo>
                    <a:cubicBezTo>
                      <a:pt x="91891" y="150443"/>
                      <a:pt x="90195" y="158272"/>
                      <a:pt x="86966" y="165514"/>
                    </a:cubicBezTo>
                    <a:cubicBezTo>
                      <a:pt x="86150" y="167308"/>
                      <a:pt x="86802" y="169428"/>
                      <a:pt x="88433" y="170472"/>
                    </a:cubicBezTo>
                    <a:cubicBezTo>
                      <a:pt x="88466" y="170472"/>
                      <a:pt x="88466" y="170505"/>
                      <a:pt x="88531" y="170505"/>
                    </a:cubicBezTo>
                    <a:cubicBezTo>
                      <a:pt x="89214" y="170960"/>
                      <a:pt x="89984" y="171174"/>
                      <a:pt x="90744" y="171174"/>
                    </a:cubicBezTo>
                    <a:cubicBezTo>
                      <a:pt x="92271" y="171174"/>
                      <a:pt x="93760" y="170311"/>
                      <a:pt x="94436" y="168808"/>
                    </a:cubicBezTo>
                    <a:cubicBezTo>
                      <a:pt x="98089" y="160555"/>
                      <a:pt x="100046" y="151650"/>
                      <a:pt x="100111" y="142354"/>
                    </a:cubicBezTo>
                    <a:lnTo>
                      <a:pt x="99850" y="77049"/>
                    </a:lnTo>
                    <a:lnTo>
                      <a:pt x="99850" y="77049"/>
                    </a:lnTo>
                    <a:cubicBezTo>
                      <a:pt x="103895" y="79593"/>
                      <a:pt x="108071" y="81844"/>
                      <a:pt x="112474" y="83670"/>
                    </a:cubicBezTo>
                    <a:cubicBezTo>
                      <a:pt x="123206" y="88205"/>
                      <a:pt x="134591" y="90521"/>
                      <a:pt x="146301" y="90521"/>
                    </a:cubicBezTo>
                    <a:cubicBezTo>
                      <a:pt x="147410" y="90521"/>
                      <a:pt x="148454" y="90097"/>
                      <a:pt x="149237" y="89346"/>
                    </a:cubicBezTo>
                    <a:cubicBezTo>
                      <a:pt x="149987" y="88563"/>
                      <a:pt x="150411" y="87552"/>
                      <a:pt x="150411" y="86443"/>
                    </a:cubicBezTo>
                    <a:lnTo>
                      <a:pt x="150379" y="70231"/>
                    </a:lnTo>
                    <a:lnTo>
                      <a:pt x="150313" y="54345"/>
                    </a:lnTo>
                    <a:cubicBezTo>
                      <a:pt x="150281" y="49974"/>
                      <a:pt x="146301" y="49942"/>
                      <a:pt x="146236" y="49942"/>
                    </a:cubicBezTo>
                    <a:cubicBezTo>
                      <a:pt x="120955" y="49942"/>
                      <a:pt x="100177" y="29358"/>
                      <a:pt x="99981" y="4045"/>
                    </a:cubicBezTo>
                    <a:cubicBezTo>
                      <a:pt x="99981" y="2121"/>
                      <a:pt x="98546" y="131"/>
                      <a:pt x="95903"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788" name="Google Shape;13788;p64"/>
            <p:cNvSpPr/>
            <p:nvPr/>
          </p:nvSpPr>
          <p:spPr>
            <a:xfrm>
              <a:off x="2238181" y="4120624"/>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65280A3-16C3-ACF5-6FC9-458E8CCD58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6" name="Objekt 5" hidden="1">
                        <a:extLst>
                          <a:ext uri="{FF2B5EF4-FFF2-40B4-BE49-F238E27FC236}">
                            <a16:creationId xmlns:a16="http://schemas.microsoft.com/office/drawing/2014/main" id="{965280A3-16C3-ACF5-6FC9-458E8CCD58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EFB477B-4E8C-28BA-48B0-D5A2A688CA11}"/>
              </a:ext>
            </a:extLst>
          </p:cNvPr>
          <p:cNvSpPr>
            <a:spLocks noGrp="1"/>
          </p:cNvSpPr>
          <p:nvPr>
            <p:ph type="ctrTitle"/>
          </p:nvPr>
        </p:nvSpPr>
        <p:spPr>
          <a:xfrm>
            <a:off x="618824" y="411675"/>
            <a:ext cx="6681135" cy="577800"/>
          </a:xfrm>
        </p:spPr>
        <p:txBody>
          <a:bodyPr vert="horz"/>
          <a:lstStyle/>
          <a:p>
            <a:r>
              <a:rPr lang="de-DE" dirty="0" err="1"/>
              <a:t>Scope</a:t>
            </a:r>
            <a:r>
              <a:rPr lang="de-DE" dirty="0"/>
              <a:t> - Unterstützende Forschungsfragen</a:t>
            </a:r>
          </a:p>
        </p:txBody>
      </p:sp>
      <p:sp>
        <p:nvSpPr>
          <p:cNvPr id="4" name="Google Shape;465;p26">
            <a:extLst>
              <a:ext uri="{FF2B5EF4-FFF2-40B4-BE49-F238E27FC236}">
                <a16:creationId xmlns:a16="http://schemas.microsoft.com/office/drawing/2014/main" id="{5033B99C-6439-D055-1E3C-2372C102137B}"/>
              </a:ext>
            </a:extLst>
          </p:cNvPr>
          <p:cNvSpPr txBox="1">
            <a:spLocks/>
          </p:cNvSpPr>
          <p:nvPr/>
        </p:nvSpPr>
        <p:spPr>
          <a:xfrm>
            <a:off x="597375" y="1063525"/>
            <a:ext cx="7866900" cy="37869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solidFill>
                  <a:schemeClr val="bg1"/>
                </a:solidFill>
                <a:latin typeface="Maven Pro" panose="020B0604020202020204" charset="0"/>
              </a:rPr>
              <a:t>Die </a:t>
            </a:r>
            <a:r>
              <a:rPr lang="en-US" dirty="0" err="1">
                <a:solidFill>
                  <a:schemeClr val="bg1"/>
                </a:solidFill>
                <a:latin typeface="Maven Pro" panose="020B0604020202020204" charset="0"/>
              </a:rPr>
              <a:t>folgend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Forschungsfr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terstütz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unser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ielsetzung</a:t>
            </a:r>
            <a:r>
              <a:rPr lang="en-US" dirty="0">
                <a:solidFill>
                  <a:schemeClr val="bg1"/>
                </a:solidFill>
                <a:latin typeface="Maven Pro" panose="020B0604020202020204" charset="0"/>
              </a:rPr>
              <a:t>:</a:t>
            </a:r>
          </a:p>
          <a:p>
            <a:pPr>
              <a:spcBef>
                <a:spcPts val="1600"/>
              </a:spcBef>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Gibt</a:t>
            </a:r>
            <a:r>
              <a:rPr lang="en-US" dirty="0">
                <a:solidFill>
                  <a:schemeClr val="bg1"/>
                </a:solidFill>
                <a:latin typeface="Maven Pro" panose="020B0604020202020204" charset="0"/>
              </a:rPr>
              <a:t> es </a:t>
            </a:r>
            <a:r>
              <a:rPr lang="en-US" dirty="0" err="1">
                <a:solidFill>
                  <a:schemeClr val="bg1"/>
                </a:solidFill>
                <a:latin typeface="Maven Pro" panose="020B0604020202020204" charset="0"/>
              </a:rPr>
              <a:t>Auffälligkeiten</a:t>
            </a:r>
            <a:r>
              <a:rPr lang="en-US" dirty="0">
                <a:solidFill>
                  <a:schemeClr val="bg1"/>
                </a:solidFill>
                <a:latin typeface="Maven Pro" panose="020B0604020202020204" charset="0"/>
              </a:rPr>
              <a:t> in der </a:t>
            </a:r>
            <a:r>
              <a:rPr lang="en-US" dirty="0" err="1">
                <a:solidFill>
                  <a:schemeClr val="bg1"/>
                </a:solidFill>
                <a:latin typeface="Maven Pro" panose="020B0604020202020204" charset="0"/>
              </a:rPr>
              <a:t>Verkaufszahlen</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unterschiedli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onaten</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In </a:t>
            </a:r>
            <a:r>
              <a:rPr lang="en-US" dirty="0" err="1">
                <a:solidFill>
                  <a:schemeClr val="bg1"/>
                </a:solidFill>
                <a:latin typeface="Maven Pro" panose="020B0604020202020204" charset="0"/>
              </a:rPr>
              <a:t>Wintermonat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zwischen</a:t>
            </a:r>
            <a:r>
              <a:rPr lang="en-US" dirty="0">
                <a:solidFill>
                  <a:schemeClr val="bg1"/>
                </a:solidFill>
                <a:latin typeface="Maven Pro" panose="020B0604020202020204" charset="0"/>
              </a:rPr>
              <a:t> November und </a:t>
            </a:r>
            <a:r>
              <a:rPr lang="en-US" dirty="0" err="1">
                <a:solidFill>
                  <a:schemeClr val="bg1"/>
                </a:solidFill>
                <a:latin typeface="Maven Pro" panose="020B0604020202020204" charset="0"/>
              </a:rPr>
              <a:t>Februa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n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zeichnet</a:t>
            </a:r>
            <a:r>
              <a:rPr lang="en-US" dirty="0">
                <a:solidFill>
                  <a:schemeClr val="bg1"/>
                </a:solidFill>
                <a:latin typeface="Maven Pro" panose="020B0604020202020204" charset="0"/>
              </a:rPr>
              <a:t> </a:t>
            </a: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lch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Produkt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lass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sich</a:t>
            </a:r>
            <a:r>
              <a:rPr lang="en-US" dirty="0">
                <a:solidFill>
                  <a:schemeClr val="bg1"/>
                </a:solidFill>
                <a:latin typeface="Maven Pro" panose="020B0604020202020204" charset="0"/>
              </a:rPr>
              <a:t> am </a:t>
            </a:r>
            <a:r>
              <a:rPr lang="en-US" dirty="0" err="1">
                <a:solidFill>
                  <a:schemeClr val="bg1"/>
                </a:solidFill>
                <a:latin typeface="Maven Pro" panose="020B0604020202020204" charset="0"/>
              </a:rPr>
              <a:t>Wochenend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besse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en</a:t>
            </a:r>
            <a:r>
              <a:rPr lang="en-US" dirty="0">
                <a:solidFill>
                  <a:schemeClr val="bg1"/>
                </a:solidFill>
                <a:latin typeface="Maven Pro" panose="020B0604020202020204" charset="0"/>
              </a:rPr>
              <a:t>?</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5</a:t>
            </a:r>
            <a:r>
              <a:rPr lang="en-US" dirty="0">
                <a:solidFill>
                  <a:schemeClr val="bg1"/>
                </a:solidFill>
                <a:latin typeface="Maven Pro" panose="020B0604020202020204" charset="0"/>
              </a:rPr>
              <a:t>: Mehr </a:t>
            </a:r>
            <a:r>
              <a:rPr lang="en-US" dirty="0" err="1">
                <a:solidFill>
                  <a:schemeClr val="bg1"/>
                </a:solidFill>
                <a:latin typeface="Maven Pro" panose="020B0604020202020204" charset="0"/>
              </a:rPr>
              <a:t>Gebäck</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als</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Kaffee</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Werden</a:t>
            </a:r>
            <a:r>
              <a:rPr lang="en-US" dirty="0">
                <a:solidFill>
                  <a:schemeClr val="bg1"/>
                </a:solidFill>
                <a:latin typeface="Maven Pro" panose="020B0604020202020204" charset="0"/>
              </a:rPr>
              <a:t> an </a:t>
            </a:r>
            <a:r>
              <a:rPr lang="en-US" dirty="0" err="1">
                <a:solidFill>
                  <a:schemeClr val="bg1"/>
                </a:solidFill>
                <a:latin typeface="Maven Pro" panose="020B0604020202020204" charset="0"/>
              </a:rPr>
              <a:t>Feier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äufe</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getätigt</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6</a:t>
            </a:r>
            <a:r>
              <a:rPr lang="en-US" dirty="0">
                <a:solidFill>
                  <a:schemeClr val="bg1"/>
                </a:solidFill>
                <a:latin typeface="Maven Pro" panose="020B0604020202020204" charset="0"/>
              </a:rPr>
              <a:t>: Ja, significant </a:t>
            </a:r>
            <a:r>
              <a:rPr lang="en-US" dirty="0" err="1">
                <a:solidFill>
                  <a:schemeClr val="bg1"/>
                </a:solidFill>
                <a:latin typeface="Maven Pro" panose="020B0604020202020204" charset="0"/>
              </a:rPr>
              <a:t>mehr</a:t>
            </a:r>
            <a:endParaRPr lang="en-US" dirty="0">
              <a:solidFill>
                <a:schemeClr val="bg1"/>
              </a:solidFill>
              <a:latin typeface="Maven Pro" panose="020B0604020202020204" charset="0"/>
            </a:endParaRPr>
          </a:p>
          <a:p>
            <a:pPr marL="152400">
              <a:buClr>
                <a:schemeClr val="lt1"/>
              </a:buClr>
              <a:buSzPts val="1200"/>
            </a:pPr>
            <a:endParaRPr lang="en-US" dirty="0">
              <a:solidFill>
                <a:schemeClr val="bg1"/>
              </a:solidFill>
              <a:latin typeface="Maven Pro" panose="020B0604020202020204" charset="0"/>
            </a:endParaRPr>
          </a:p>
          <a:p>
            <a:pPr marL="152400">
              <a:buClr>
                <a:schemeClr val="lt1"/>
              </a:buClr>
              <a:buSzPts val="1200"/>
            </a:pPr>
            <a:r>
              <a:rPr lang="en-US" dirty="0" err="1">
                <a:solidFill>
                  <a:schemeClr val="bg1"/>
                </a:solidFill>
                <a:latin typeface="Maven Pro" panose="020B0604020202020204" charset="0"/>
              </a:rPr>
              <a:t>Beeinflusst</a:t>
            </a:r>
            <a:r>
              <a:rPr lang="en-US" dirty="0">
                <a:solidFill>
                  <a:schemeClr val="bg1"/>
                </a:solidFill>
                <a:latin typeface="Maven Pro" panose="020B0604020202020204" charset="0"/>
              </a:rPr>
              <a:t> das Wetter die </a:t>
            </a:r>
            <a:r>
              <a:rPr lang="en-US" dirty="0" err="1">
                <a:solidFill>
                  <a:schemeClr val="bg1"/>
                </a:solidFill>
                <a:latin typeface="Maven Pro" panose="020B0604020202020204" charset="0"/>
              </a:rPr>
              <a:t>Anzahl</a:t>
            </a:r>
            <a:r>
              <a:rPr lang="en-US" dirty="0">
                <a:solidFill>
                  <a:schemeClr val="bg1"/>
                </a:solidFill>
                <a:latin typeface="Maven Pro" panose="020B0604020202020204" charset="0"/>
              </a:rPr>
              <a:t> der </a:t>
            </a:r>
            <a:r>
              <a:rPr lang="en-US" dirty="0" err="1">
                <a:solidFill>
                  <a:schemeClr val="bg1"/>
                </a:solidFill>
                <a:latin typeface="Maven Pro" panose="020B0604020202020204" charset="0"/>
              </a:rPr>
              <a:t>Verkäùfe</a:t>
            </a:r>
            <a:r>
              <a:rPr lang="en-US" dirty="0">
                <a:solidFill>
                  <a:schemeClr val="bg1"/>
                </a:solidFill>
                <a:latin typeface="Maven Pro" panose="020B0604020202020204" charset="0"/>
              </a:rPr>
              <a:t>? </a:t>
            </a:r>
          </a:p>
          <a:p>
            <a:pPr marL="152400">
              <a:buClr>
                <a:schemeClr val="lt1"/>
              </a:buClr>
              <a:buSzPts val="1200"/>
            </a:pPr>
            <a:r>
              <a:rPr lang="en-US" b="1" dirty="0" err="1">
                <a:solidFill>
                  <a:schemeClr val="bg1"/>
                </a:solidFill>
                <a:latin typeface="Maven Pro" panose="020B0604020202020204" charset="0"/>
              </a:rPr>
              <a:t>Hypothese</a:t>
            </a:r>
            <a:r>
              <a:rPr lang="en-US" b="1" dirty="0">
                <a:solidFill>
                  <a:schemeClr val="bg1"/>
                </a:solidFill>
                <a:latin typeface="Maven Pro" panose="020B0604020202020204" charset="0"/>
              </a:rPr>
              <a:t> 7</a:t>
            </a:r>
            <a:r>
              <a:rPr lang="en-US" dirty="0">
                <a:solidFill>
                  <a:schemeClr val="bg1"/>
                </a:solidFill>
                <a:latin typeface="Maven Pro" panose="020B0604020202020204" charset="0"/>
              </a:rPr>
              <a:t>: Ja, an </a:t>
            </a:r>
            <a:r>
              <a:rPr lang="en-US" dirty="0" err="1">
                <a:solidFill>
                  <a:schemeClr val="bg1"/>
                </a:solidFill>
                <a:latin typeface="Maven Pro" panose="020B0604020202020204" charset="0"/>
              </a:rPr>
              <a:t>regnerisch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Tagen</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wird</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mehr</a:t>
            </a:r>
            <a:r>
              <a:rPr lang="en-US" dirty="0">
                <a:solidFill>
                  <a:schemeClr val="bg1"/>
                </a:solidFill>
                <a:latin typeface="Maven Pro" panose="020B0604020202020204" charset="0"/>
              </a:rPr>
              <a:t> </a:t>
            </a:r>
            <a:r>
              <a:rPr lang="en-US" dirty="0" err="1">
                <a:solidFill>
                  <a:schemeClr val="bg1"/>
                </a:solidFill>
                <a:latin typeface="Maven Pro" panose="020B0604020202020204" charset="0"/>
              </a:rPr>
              <a:t>verkauft</a:t>
            </a:r>
            <a:endParaRPr lang="en-US" dirty="0">
              <a:solidFill>
                <a:schemeClr val="bg1"/>
              </a:solidFill>
              <a:latin typeface="Maven Pro" panose="020B0604020202020204" charset="0"/>
            </a:endParaRPr>
          </a:p>
        </p:txBody>
      </p:sp>
    </p:spTree>
    <p:extLst>
      <p:ext uri="{BB962C8B-B14F-4D97-AF65-F5344CB8AC3E}">
        <p14:creationId xmlns:p14="http://schemas.microsoft.com/office/powerpoint/2010/main" val="3556377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DkrLZe3UlGN_QmkE9_O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_UNIQUEID" val="57442"/>
</p:tagLst>
</file>

<file path=ppt/tags/tag32.xml><?xml version="1.0" encoding="utf-8"?>
<p:tagLst xmlns:a="http://schemas.openxmlformats.org/drawingml/2006/main" xmlns:r="http://schemas.openxmlformats.org/officeDocument/2006/relationships" xmlns:p="http://schemas.openxmlformats.org/presentationml/2006/main">
  <p:tag name="AS_UNIQUEID" val="57468"/>
</p:tagLst>
</file>

<file path=ppt/tags/tag33.xml><?xml version="1.0" encoding="utf-8"?>
<p:tagLst xmlns:a="http://schemas.openxmlformats.org/drawingml/2006/main" xmlns:r="http://schemas.openxmlformats.org/officeDocument/2006/relationships" xmlns:p="http://schemas.openxmlformats.org/presentationml/2006/main">
  <p:tag name="AS_UNIQUEID" val="57468"/>
</p:tagLst>
</file>

<file path=ppt/tags/tag34.xml><?xml version="1.0" encoding="utf-8"?>
<p:tagLst xmlns:a="http://schemas.openxmlformats.org/drawingml/2006/main" xmlns:r="http://schemas.openxmlformats.org/officeDocument/2006/relationships" xmlns:p="http://schemas.openxmlformats.org/presentationml/2006/main">
  <p:tag name="AS_UNIQUEID" val="72503"/>
</p:tagLst>
</file>

<file path=ppt/tags/tag35.xml><?xml version="1.0" encoding="utf-8"?>
<p:tagLst xmlns:a="http://schemas.openxmlformats.org/drawingml/2006/main" xmlns:r="http://schemas.openxmlformats.org/officeDocument/2006/relationships" xmlns:p="http://schemas.openxmlformats.org/presentationml/2006/main">
  <p:tag name="AS_UNIQUEID" val="72503"/>
</p:tagLst>
</file>

<file path=ppt/tags/tag36.xml><?xml version="1.0" encoding="utf-8"?>
<p:tagLst xmlns:a="http://schemas.openxmlformats.org/drawingml/2006/main" xmlns:r="http://schemas.openxmlformats.org/officeDocument/2006/relationships" xmlns:p="http://schemas.openxmlformats.org/presentationml/2006/main">
  <p:tag name="AS_UNIQUEID" val="72503"/>
</p:tagLst>
</file>

<file path=ppt/tags/tag37.xml><?xml version="1.0" encoding="utf-8"?>
<p:tagLst xmlns:a="http://schemas.openxmlformats.org/drawingml/2006/main" xmlns:r="http://schemas.openxmlformats.org/officeDocument/2006/relationships" xmlns:p="http://schemas.openxmlformats.org/presentationml/2006/main">
  <p:tag name="AS_UNIQUEID" val="72503"/>
</p:tagLst>
</file>

<file path=ppt/tags/tag38.xml><?xml version="1.0" encoding="utf-8"?>
<p:tagLst xmlns:a="http://schemas.openxmlformats.org/drawingml/2006/main" xmlns:r="http://schemas.openxmlformats.org/officeDocument/2006/relationships" xmlns:p="http://schemas.openxmlformats.org/presentationml/2006/main">
  <p:tag name="AS_UNIQUEID" val="57443"/>
</p:tagLst>
</file>

<file path=ppt/tags/tag39.xml><?xml version="1.0" encoding="utf-8"?>
<p:tagLst xmlns:a="http://schemas.openxmlformats.org/drawingml/2006/main" xmlns:r="http://schemas.openxmlformats.org/officeDocument/2006/relationships" xmlns:p="http://schemas.openxmlformats.org/presentationml/2006/main">
  <p:tag name="AS_UNIQUEID" val="57444"/>
</p:tagLst>
</file>

<file path=ppt/tags/tag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593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59353"/>
</p:tagLst>
</file>

<file path=ppt/tags/tag8.xml><?xml version="1.0" encoding="utf-8"?>
<p:tagLst xmlns:a="http://schemas.openxmlformats.org/drawingml/2006/main" xmlns:r="http://schemas.openxmlformats.org/officeDocument/2006/relationships" xmlns:p="http://schemas.openxmlformats.org/presentationml/2006/main">
  <p:tag name="AS_UNIQUEID" val="5935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Science Consulting by Slidesgo">
  <a:themeElements>
    <a:clrScheme name="Simple Light">
      <a:dk1>
        <a:srgbClr val="1A5E8F"/>
      </a:dk1>
      <a:lt1>
        <a:srgbClr val="FFFFFF"/>
      </a:lt1>
      <a:dk2>
        <a:srgbClr val="002845"/>
      </a:dk2>
      <a:lt2>
        <a:srgbClr val="FFD6E1"/>
      </a:lt2>
      <a:accent1>
        <a:srgbClr val="E898AC"/>
      </a:accent1>
      <a:accent2>
        <a:srgbClr val="00CFCC"/>
      </a:accent2>
      <a:accent3>
        <a:srgbClr val="FF9973"/>
      </a:accent3>
      <a:accent4>
        <a:srgbClr val="F64975"/>
      </a:accent4>
      <a:accent5>
        <a:srgbClr val="5EFFFD"/>
      </a:accent5>
      <a:accent6>
        <a:srgbClr val="FC723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hite Backgrounds">
  <a:themeElements>
    <a:clrScheme name="Akkodis 2">
      <a:dk1>
        <a:srgbClr val="000000"/>
      </a:dk1>
      <a:lt1>
        <a:srgbClr val="FFFFFF"/>
      </a:lt1>
      <a:dk2>
        <a:srgbClr val="001F32"/>
      </a:dk2>
      <a:lt2>
        <a:srgbClr val="E7E6E6"/>
      </a:lt2>
      <a:accent1>
        <a:srgbClr val="001F32"/>
      </a:accent1>
      <a:accent2>
        <a:srgbClr val="FBB800"/>
      </a:accent2>
      <a:accent3>
        <a:srgbClr val="FFFFFF"/>
      </a:accent3>
      <a:accent4>
        <a:srgbClr val="001F32"/>
      </a:accent4>
      <a:accent5>
        <a:srgbClr val="FFFFFF"/>
      </a:accent5>
      <a:accent6>
        <a:srgbClr val="FBB800"/>
      </a:accent6>
      <a:hlink>
        <a:srgbClr val="0563C1"/>
      </a:hlink>
      <a:folHlink>
        <a:srgbClr val="954F72"/>
      </a:folHlink>
    </a:clrScheme>
    <a:fontScheme name="AKKA modis Interim Dark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Z5RE_16.9_SampleFile_vF.pptx" id="{91C5FECB-731B-4237-81EB-DB5E757377E6}" vid="{758C4D5D-C3E2-4A1A-9047-65C2CB5168F4}"/>
    </a:ext>
  </a:ext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366</Words>
  <Application>Microsoft Office PowerPoint</Application>
  <PresentationFormat>Bildschirmpräsentation (16:9)</PresentationFormat>
  <Paragraphs>1101</Paragraphs>
  <Slides>88</Slides>
  <Notes>56</Notes>
  <HiddenSlides>40</HiddenSlides>
  <MMClips>0</MMClips>
  <ScaleCrop>false</ScaleCrop>
  <HeadingPairs>
    <vt:vector size="8" baseType="variant">
      <vt:variant>
        <vt:lpstr>Verwendete Schriftarten</vt:lpstr>
      </vt:variant>
      <vt:variant>
        <vt:i4>16</vt:i4>
      </vt:variant>
      <vt:variant>
        <vt:lpstr>Design</vt:lpstr>
      </vt:variant>
      <vt:variant>
        <vt:i4>3</vt:i4>
      </vt:variant>
      <vt:variant>
        <vt:lpstr>Eingebettete OLE-Server</vt:lpstr>
      </vt:variant>
      <vt:variant>
        <vt:i4>1</vt:i4>
      </vt:variant>
      <vt:variant>
        <vt:lpstr>Folientitel</vt:lpstr>
      </vt:variant>
      <vt:variant>
        <vt:i4>88</vt:i4>
      </vt:variant>
    </vt:vector>
  </HeadingPairs>
  <TitlesOfParts>
    <vt:vector size="108" baseType="lpstr">
      <vt:lpstr>Share Tech</vt:lpstr>
      <vt:lpstr>Maven Pro</vt:lpstr>
      <vt:lpstr>Arial</vt:lpstr>
      <vt:lpstr>Advent Pro SemiBold</vt:lpstr>
      <vt:lpstr>Proxima Nova Semibold</vt:lpstr>
      <vt:lpstr>Livvic Light</vt:lpstr>
      <vt:lpstr>Maven Pro SemiBold</vt:lpstr>
      <vt:lpstr>Nunito Light</vt:lpstr>
      <vt:lpstr>Amatic SC</vt:lpstr>
      <vt:lpstr>Proxima Nova</vt:lpstr>
      <vt:lpstr>Advent Pro Medium</vt:lpstr>
      <vt:lpstr>Calibri</vt:lpstr>
      <vt:lpstr>Fira Sans Extra Condensed Medium</vt:lpstr>
      <vt:lpstr>Roboto</vt:lpstr>
      <vt:lpstr>Fira Sans Condensed Medium</vt:lpstr>
      <vt:lpstr>Roboto Medium</vt:lpstr>
      <vt:lpstr>Data Science Consulting by Slidesgo</vt:lpstr>
      <vt:lpstr>Slidesgo Final Pages</vt:lpstr>
      <vt:lpstr>1_White Backgrounds</vt:lpstr>
      <vt:lpstr>think-cell Folie</vt:lpstr>
      <vt:lpstr>Assoziationsanalyse einer Bäckerei</vt:lpstr>
      <vt:lpstr>Data Preparation</vt:lpstr>
      <vt:lpstr>Data Preparation</vt:lpstr>
      <vt:lpstr>Einführung in den Usecase</vt:lpstr>
      <vt:lpstr>Scope</vt:lpstr>
      <vt:lpstr>Scope</vt:lpstr>
      <vt:lpstr>Scope</vt:lpstr>
      <vt:lpstr>Scope - Unterstützende Forschungsfragen</vt:lpstr>
      <vt:lpstr>Scope - Unterstützende Forschungsfragen</vt:lpstr>
      <vt:lpstr>Domain Exploration</vt:lpstr>
      <vt:lpstr>Domain Exploration – Selection of algorithm</vt:lpstr>
      <vt:lpstr>Comparison of Frequent Pattern Mining Algorithms</vt:lpstr>
      <vt:lpstr>Domain Exploration - Best Practices</vt:lpstr>
      <vt:lpstr>Domain Exploration – Dataset Overview</vt:lpstr>
      <vt:lpstr>Domain Exploration – Product overview</vt:lpstr>
      <vt:lpstr>Domain Exploration – Combine Datasets (1/2)</vt:lpstr>
      <vt:lpstr>Domain Exploration – Combine Datasets (2/2)</vt:lpstr>
      <vt:lpstr>Data Preparation</vt:lpstr>
      <vt:lpstr>Data Exploration - Einkaufkorb</vt:lpstr>
      <vt:lpstr>Data Exploration – Übersicht Monate</vt:lpstr>
      <vt:lpstr>Data Exploration - Wochentage</vt:lpstr>
      <vt:lpstr>Data Exploration – Top 10 Items</vt:lpstr>
      <vt:lpstr>Data Exploration – Top 10 Items</vt:lpstr>
      <vt:lpstr>Data Exploration - Tagesverlauf</vt:lpstr>
      <vt:lpstr>Data Exploration - Weihnachten</vt:lpstr>
      <vt:lpstr>Data Exploration - Neujahr</vt:lpstr>
      <vt:lpstr>Data Exploration - Temperaturen</vt:lpstr>
      <vt:lpstr>Data Exploration – Regen und Sonne</vt:lpstr>
      <vt:lpstr>Data Preparation</vt:lpstr>
      <vt:lpstr>Data Preparation</vt:lpstr>
      <vt:lpstr>Modeling - Ziel</vt:lpstr>
      <vt:lpstr>Modeling - Challenges</vt:lpstr>
      <vt:lpstr>Modeling - Challenges</vt:lpstr>
      <vt:lpstr>Modeling - Process</vt:lpstr>
      <vt:lpstr>Modeling - Process</vt:lpstr>
      <vt:lpstr>Modeling - Process</vt:lpstr>
      <vt:lpstr>Modeling - Process</vt:lpstr>
      <vt:lpstr>Modeling – Additional FP Growth Process</vt:lpstr>
      <vt:lpstr>Data Preparation</vt:lpstr>
      <vt:lpstr>Results – Kenngrößen</vt:lpstr>
      <vt:lpstr>Results</vt:lpstr>
      <vt:lpstr>Results</vt:lpstr>
      <vt:lpstr>Results – Beantwortung der Forschungsfragen</vt:lpstr>
      <vt:lpstr>Results – Beantwortung der Forschungsfragen</vt:lpstr>
      <vt:lpstr>Results – Beantwortung der Forschungsfragen</vt:lpstr>
      <vt:lpstr>  Results – Examples for Business &amp; Marketing Recommendations</vt:lpstr>
      <vt:lpstr>Data Preparation</vt:lpstr>
      <vt:lpstr>Reflection</vt:lpstr>
      <vt:lpstr>Scope</vt:lpstr>
      <vt:lpstr>Selection of data set</vt:lpstr>
      <vt:lpstr>CONTENTS OF THIS TEMPLATE</vt:lpstr>
      <vt:lpstr>Data Preparation</vt:lpstr>
      <vt:lpstr>UNDERSTANDING THE PROBLEM</vt:lpstr>
      <vt:lpstr>DATASET OVERVIEW</vt:lpstr>
      <vt:lpstr>MAIN COMPETITORS</vt:lpstr>
      <vt:lpstr>COMPANY</vt:lpstr>
      <vt:lpstr>MARKET RESEARCH</vt:lpstr>
      <vt:lpstr>ANALYSIS</vt:lpstr>
      <vt:lpstr>TARGET</vt:lpstr>
      <vt:lpstr>A Picture Is Worth a Thousand Words</vt:lpstr>
      <vt:lpstr>AWESOME WORDS</vt:lpstr>
      <vt:lpstr>OUR PROCESS</vt:lpstr>
      <vt:lpstr>OUR CONSULTANTS</vt:lpstr>
      <vt:lpstr>—SOMEONE FAMOUS</vt:lpstr>
      <vt:lpstr>OUR PARTNERS</vt:lpstr>
      <vt:lpstr>TESTIMONIALS</vt:lpstr>
      <vt:lpstr>4,498,300,000</vt:lpstr>
      <vt:lpstr>AWARDS</vt:lpstr>
      <vt:lpstr>UPCOMING GOALS</vt:lpstr>
      <vt:lpstr>SNEAK PEEK</vt:lpstr>
      <vt:lpstr>THANKS</vt:lpstr>
      <vt:lpstr>ALTERNATIVE RESOURCES</vt:lpstr>
      <vt:lpstr>RESOURCES</vt:lpstr>
      <vt:lpstr>Instructions for use</vt:lpstr>
      <vt:lpstr>Fonts &amp; colors used</vt:lpstr>
      <vt:lpstr>Use our editable graphic resources...</vt:lpstr>
      <vt:lpstr>PowerPoint-Präsentation</vt:lpstr>
      <vt:lpstr>PowerPoint-Präsentation</vt:lpstr>
      <vt:lpstr>PowerPoint-Präsentation</vt:lpstr>
      <vt:lpstr>PowerPoint-Präsentation</vt:lpstr>
      <vt:lpstr>PowerPoint-Präsentation</vt:lpstr>
      <vt:lpstr>...and our sets of editable icons</vt:lpstr>
      <vt:lpstr>Educational Icons</vt:lpstr>
      <vt:lpstr>Business Icons</vt:lpstr>
      <vt:lpstr>Help &amp; Support Icons</vt:lpstr>
      <vt:lpstr>Creative Process Icons</vt:lpstr>
      <vt:lpstr>Nature Icons</vt:lpstr>
      <vt:lpstr>SEO &amp; Marketing Ic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PROTOTYPE</dc:title>
  <cp:lastModifiedBy>Niels-Janos Simmet</cp:lastModifiedBy>
  <cp:revision>84</cp:revision>
  <dcterms:modified xsi:type="dcterms:W3CDTF">2023-03-16T22:07:06Z</dcterms:modified>
</cp:coreProperties>
</file>